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4"/>
  </p:notesMasterIdLst>
  <p:sldIdLst>
    <p:sldId id="23086" r:id="rId2"/>
    <p:sldId id="23085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00"/>
    <a:srgbClr val="ACACAC"/>
    <a:srgbClr val="999999"/>
    <a:srgbClr val="FF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954" autoAdjust="0"/>
  </p:normalViewPr>
  <p:slideViewPr>
    <p:cSldViewPr snapToGrid="0">
      <p:cViewPr>
        <p:scale>
          <a:sx n="75" d="100"/>
          <a:sy n="75" d="100"/>
        </p:scale>
        <p:origin x="154" y="5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126F20-A97D-4AB2-8E43-28C3E0FEAACC}" type="datetimeFigureOut">
              <a:rPr lang="en-US" smtClean="0"/>
              <a:t>3/28/2022</a:t>
            </a:fld>
            <a:endParaRPr lang="en-US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6AEDDD-E7D1-45F1-B894-66D4860D29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752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6537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39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8E4BB8F6-032B-4FD4-9A99-EF51C8EFB72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39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643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6537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39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8E4BB8F6-032B-4FD4-9A99-EF51C8EFB725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39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4530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3505998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513736-0630-4B5B-88A5-5DCBD3A2D89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46" b="1" i="0" baseline="0" dirty="0"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9363" y="6495068"/>
            <a:ext cx="5244566" cy="17911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738" i="1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>
              <a:defRPr sz="738" i="1">
                <a:latin typeface="+mj-lt"/>
              </a:defRPr>
            </a:lvl2pPr>
            <a:lvl3pPr>
              <a:defRPr sz="738" i="1">
                <a:latin typeface="+mj-lt"/>
              </a:defRPr>
            </a:lvl3pPr>
            <a:lvl4pPr>
              <a:defRPr sz="738" i="1">
                <a:latin typeface="+mj-lt"/>
              </a:defRPr>
            </a:lvl4pPr>
            <a:lvl5pPr>
              <a:defRPr sz="738" i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55998" y="6495068"/>
            <a:ext cx="5244566" cy="179110"/>
          </a:xfrm>
          <a:prstGeom prst="rect">
            <a:avLst/>
          </a:prstGeom>
        </p:spPr>
        <p:txBody>
          <a:bodyPr lIns="0" tIns="0" rIns="0" bIns="0" anchor="t"/>
          <a:lstStyle>
            <a:lvl1pPr marL="104045" indent="-104045">
              <a:buClrTx/>
              <a:buSzPct val="100000"/>
              <a:buFont typeface="+mj-lt"/>
              <a:buAutoNum type="arabicParenR"/>
              <a:defRPr sz="738" i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  <a:lvl2pPr>
              <a:defRPr sz="738" i="1">
                <a:latin typeface="+mj-lt"/>
              </a:defRPr>
            </a:lvl2pPr>
            <a:lvl3pPr>
              <a:defRPr sz="738" i="1">
                <a:latin typeface="+mj-lt"/>
              </a:defRPr>
            </a:lvl3pPr>
            <a:lvl4pPr>
              <a:defRPr sz="738" i="1">
                <a:latin typeface="+mj-lt"/>
              </a:defRPr>
            </a:lvl4pPr>
            <a:lvl5pPr>
              <a:defRPr sz="738" i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0E60BC1-D022-4DDA-8072-5D94E981A5C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062" y="303530"/>
            <a:ext cx="11519877" cy="65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/>
          <a:lstStyle>
            <a:lvl1pPr>
              <a:defRPr sz="1662" b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0221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873534"/>
              </p:ext>
            </p:ext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513736-0630-4B5B-88A5-5DCBD3A2D89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000" b="1" i="0" baseline="0" dirty="0"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0296F108-4AB6-44AC-8EED-796740C96DE9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36062" y="303530"/>
            <a:ext cx="11519877" cy="65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/>
          <a:lstStyle>
            <a:lvl1pPr>
              <a:defRPr sz="1800" b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658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1906353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62EE44-9B03-4F5C-8781-7838422B5A6C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46" b="1" i="0" baseline="0" dirty="0">
              <a:latin typeface="EYInterstate" panose="02000503020000020004" pitchFamily="2" charset="0"/>
              <a:ea typeface="+mj-ea"/>
              <a:cs typeface="Arial" panose="020B0604020202020204" pitchFamily="34" charset="0"/>
              <a:sym typeface="EYInterstate" panose="02000503020000020004" pitchFamily="2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6063" y="274320"/>
            <a:ext cx="11505078" cy="681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EYInterstate Light"/>
              </a:rPr>
              <a:t>Click to edit Master title style</a:t>
            </a:r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336063" y="1052511"/>
            <a:ext cx="11528302" cy="0"/>
          </a:xfrm>
          <a:prstGeom prst="line">
            <a:avLst/>
          </a:prstGeom>
          <a:noFill/>
          <a:ln w="19050">
            <a:solidFill>
              <a:srgbClr val="FFD2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5229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b="0" dirty="0">
              <a:solidFill>
                <a:srgbClr val="646464"/>
              </a:solidFill>
              <a:latin typeface="EYInterstate Light"/>
              <a:cs typeface="Arial"/>
              <a:sym typeface="EYInterstate Light"/>
            </a:endParaRP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336062" y="6335078"/>
            <a:ext cx="11519877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5229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b="0" dirty="0">
              <a:solidFill>
                <a:srgbClr val="646464"/>
              </a:solidFill>
              <a:latin typeface="EYInterstate Light"/>
              <a:cs typeface="Arial"/>
              <a:sym typeface="EYInterstate Light"/>
            </a:endParaRPr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11441195" y="6460791"/>
            <a:ext cx="423168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52294" fontAlgn="auto">
                <a:spcBef>
                  <a:spcPts val="0"/>
                </a:spcBef>
                <a:spcAft>
                  <a:spcPts val="0"/>
                </a:spcAft>
              </a:pPr>
              <a:endParaRPr lang="en-GB" sz="1875" b="0" dirty="0">
                <a:solidFill>
                  <a:srgbClr val="646464"/>
                </a:solidFill>
                <a:latin typeface="EYInterstate Light"/>
                <a:sym typeface="EYInterstate Light"/>
              </a:endParaRPr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52294" fontAlgn="auto">
                <a:spcBef>
                  <a:spcPts val="0"/>
                </a:spcBef>
                <a:spcAft>
                  <a:spcPts val="0"/>
                </a:spcAft>
              </a:pPr>
              <a:endParaRPr lang="en-GB" sz="1875" b="0" dirty="0">
                <a:solidFill>
                  <a:srgbClr val="646464"/>
                </a:solidFill>
                <a:latin typeface="EYInterstate Light"/>
                <a:sym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3350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sldNum="0"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62" b="1">
          <a:solidFill>
            <a:srgbClr val="646464"/>
          </a:solidFill>
          <a:latin typeface="EYInterstate" panose="02000503020000020004" pitchFamily="2" charset="0"/>
          <a:ea typeface="+mj-ea"/>
          <a:cs typeface="Arial"/>
          <a:sym typeface="EYInterstate Light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215" b="1">
          <a:solidFill>
            <a:srgbClr val="646464"/>
          </a:solidFill>
          <a:latin typeface="EYInterstate Light"/>
          <a:cs typeface="Arial" charset="0"/>
          <a:sym typeface="EYInterstate Light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215" b="1">
          <a:solidFill>
            <a:srgbClr val="646464"/>
          </a:solidFill>
          <a:latin typeface="EYInterstate Light"/>
          <a:cs typeface="Arial" charset="0"/>
          <a:sym typeface="EYInterstate Light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215" b="1">
          <a:solidFill>
            <a:srgbClr val="646464"/>
          </a:solidFill>
          <a:latin typeface="EYInterstate Light"/>
          <a:cs typeface="Arial" charset="0"/>
          <a:sym typeface="EYInterstate Light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215" b="1">
          <a:solidFill>
            <a:srgbClr val="646464"/>
          </a:solidFill>
          <a:latin typeface="EYInterstate Light"/>
          <a:cs typeface="Arial" charset="0"/>
          <a:sym typeface="EYInterstate Light"/>
        </a:defRPr>
      </a:lvl5pPr>
      <a:lvl6pPr marL="422041" algn="l" rtl="0" fontAlgn="base">
        <a:lnSpc>
          <a:spcPct val="85000"/>
        </a:lnSpc>
        <a:spcBef>
          <a:spcPct val="0"/>
        </a:spcBef>
        <a:spcAft>
          <a:spcPct val="0"/>
        </a:spcAft>
        <a:defRPr sz="2585" b="1">
          <a:solidFill>
            <a:srgbClr val="646464"/>
          </a:solidFill>
          <a:latin typeface="Arial" charset="0"/>
        </a:defRPr>
      </a:lvl6pPr>
      <a:lvl7pPr marL="844083" algn="l" rtl="0" fontAlgn="base">
        <a:lnSpc>
          <a:spcPct val="85000"/>
        </a:lnSpc>
        <a:spcBef>
          <a:spcPct val="0"/>
        </a:spcBef>
        <a:spcAft>
          <a:spcPct val="0"/>
        </a:spcAft>
        <a:defRPr sz="2585" b="1">
          <a:solidFill>
            <a:srgbClr val="646464"/>
          </a:solidFill>
          <a:latin typeface="Arial" charset="0"/>
        </a:defRPr>
      </a:lvl7pPr>
      <a:lvl8pPr marL="1266124" algn="l" rtl="0" fontAlgn="base">
        <a:lnSpc>
          <a:spcPct val="85000"/>
        </a:lnSpc>
        <a:spcBef>
          <a:spcPct val="0"/>
        </a:spcBef>
        <a:spcAft>
          <a:spcPct val="0"/>
        </a:spcAft>
        <a:defRPr sz="2585" b="1">
          <a:solidFill>
            <a:srgbClr val="646464"/>
          </a:solidFill>
          <a:latin typeface="Arial" charset="0"/>
        </a:defRPr>
      </a:lvl8pPr>
      <a:lvl9pPr marL="1688165" algn="l" rtl="0" fontAlgn="base">
        <a:lnSpc>
          <a:spcPct val="85000"/>
        </a:lnSpc>
        <a:spcBef>
          <a:spcPct val="0"/>
        </a:spcBef>
        <a:spcAft>
          <a:spcPct val="0"/>
        </a:spcAft>
        <a:defRPr sz="2585" b="1">
          <a:solidFill>
            <a:srgbClr val="646464"/>
          </a:solidFill>
          <a:latin typeface="Arial" charset="0"/>
        </a:defRPr>
      </a:lvl9pPr>
    </p:titleStyle>
    <p:bodyStyle>
      <a:lvl1pPr marL="332651" indent="-332651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EYInterstate Light"/>
          <a:ea typeface="+mn-ea"/>
          <a:cs typeface="Arial"/>
          <a:sym typeface="EYInterstate Light"/>
        </a:defRPr>
      </a:lvl1pPr>
      <a:lvl2pPr marL="662370" indent="-328254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292">
          <a:solidFill>
            <a:srgbClr val="646464"/>
          </a:solidFill>
          <a:latin typeface="EYInterstate Light"/>
          <a:cs typeface="Arial"/>
          <a:sym typeface="EYInterstate Light"/>
        </a:defRPr>
      </a:lvl2pPr>
      <a:lvl3pPr marL="997952" indent="-334116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EYInterstate Light"/>
          <a:cs typeface="Arial"/>
          <a:sym typeface="EYInterstate Light"/>
        </a:defRPr>
      </a:lvl3pPr>
      <a:lvl4pPr marL="1330602" indent="-33118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015">
          <a:solidFill>
            <a:srgbClr val="646464"/>
          </a:solidFill>
          <a:latin typeface="EYInterstate Light"/>
          <a:cs typeface="Arial"/>
          <a:sym typeface="EYInterstate Light"/>
        </a:defRPr>
      </a:lvl4pPr>
      <a:lvl5pPr marL="1661788" indent="-32972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015">
          <a:solidFill>
            <a:srgbClr val="646464"/>
          </a:solidFill>
          <a:latin typeface="EYInterstate Light"/>
          <a:cs typeface="Arial"/>
          <a:sym typeface="EYInterstate Light"/>
        </a:defRPr>
      </a:lvl5pPr>
      <a:lvl6pPr marL="2083829" indent="-32972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+mn-lt"/>
        </a:defRPr>
      </a:lvl6pPr>
      <a:lvl7pPr marL="2505870" indent="-32972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+mn-lt"/>
        </a:defRPr>
      </a:lvl7pPr>
      <a:lvl8pPr marL="2927912" indent="-32972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+mn-lt"/>
        </a:defRPr>
      </a:lvl8pPr>
      <a:lvl9pPr marL="3349953" indent="-329720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477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hyperlink" Target="https://www.standaard.be/" TargetMode="External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vrtranspoint.fi/fi/vr-transpoint/uutiset/vr-transpoint-keskeyttaa-idan-tavaraliikenteen-toistaiseksi-pakotteiden-vuoksi-260320221420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E435C8-2AC4-4CBC-80E3-BBFAFD1D3A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236622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E435C8-2AC4-4CBC-80E3-BBFAFD1D3A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16E4AF2-19F7-4327-908A-3D4FBB63C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1800" dirty="0"/>
              <a:t>Текущая ситуация в работе морских портов и пограничных переходов России и сопредельных государств</a:t>
            </a:r>
            <a:endParaRPr lang="en-US" sz="1800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C6E4618-0D5E-49E5-B8EB-213F1C4EFA5E}"/>
              </a:ext>
            </a:extLst>
          </p:cNvPr>
          <p:cNvGrpSpPr/>
          <p:nvPr/>
        </p:nvGrpSpPr>
        <p:grpSpPr>
          <a:xfrm>
            <a:off x="502618" y="1586926"/>
            <a:ext cx="3754749" cy="3430963"/>
            <a:chOff x="502618" y="1244946"/>
            <a:chExt cx="3754749" cy="3430963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421FAC7-BBD6-4CB4-BFFB-D3F5C46C1511}"/>
                </a:ext>
              </a:extLst>
            </p:cNvPr>
            <p:cNvGrpSpPr/>
            <p:nvPr/>
          </p:nvGrpSpPr>
          <p:grpSpPr>
            <a:xfrm>
              <a:off x="502618" y="1244946"/>
              <a:ext cx="3754749" cy="3430963"/>
              <a:chOff x="502618" y="1244946"/>
              <a:chExt cx="3754749" cy="343096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93" name="Gruppieren 3">
                <a:extLst>
                  <a:ext uri="{FF2B5EF4-FFF2-40B4-BE49-F238E27FC236}">
                    <a16:creationId xmlns:a16="http://schemas.microsoft.com/office/drawing/2014/main" id="{96610761-5616-4828-99EF-5516CE7F43B3}"/>
                  </a:ext>
                </a:extLst>
              </p:cNvPr>
              <p:cNvGrpSpPr/>
              <p:nvPr/>
            </p:nvGrpSpPr>
            <p:grpSpPr>
              <a:xfrm>
                <a:off x="502618" y="1244946"/>
                <a:ext cx="3754749" cy="3430963"/>
                <a:chOff x="2125906" y="1939920"/>
                <a:chExt cx="4860871" cy="4441700"/>
              </a:xfrm>
              <a:solidFill>
                <a:srgbClr val="999999"/>
              </a:solidFill>
            </p:grpSpPr>
            <p:sp>
              <p:nvSpPr>
                <p:cNvPr id="94" name="Freeform 6">
                  <a:extLst>
                    <a:ext uri="{FF2B5EF4-FFF2-40B4-BE49-F238E27FC236}">
                      <a16:creationId xmlns:a16="http://schemas.microsoft.com/office/drawing/2014/main" id="{721AF2FC-C866-48A3-85D2-7E8AE933AB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6634" y="3694346"/>
                  <a:ext cx="480143" cy="1100517"/>
                </a:xfrm>
                <a:custGeom>
                  <a:avLst/>
                  <a:gdLst/>
                  <a:ahLst/>
                  <a:cxnLst>
                    <a:cxn ang="0">
                      <a:pos x="588" y="0"/>
                    </a:cxn>
                    <a:cxn ang="0">
                      <a:pos x="556" y="6"/>
                    </a:cxn>
                    <a:cxn ang="0">
                      <a:pos x="558" y="24"/>
                    </a:cxn>
                    <a:cxn ang="0">
                      <a:pos x="566" y="48"/>
                    </a:cxn>
                    <a:cxn ang="0">
                      <a:pos x="556" y="46"/>
                    </a:cxn>
                    <a:cxn ang="0">
                      <a:pos x="476" y="10"/>
                    </a:cxn>
                    <a:cxn ang="0">
                      <a:pos x="414" y="4"/>
                    </a:cxn>
                    <a:cxn ang="0">
                      <a:pos x="376" y="14"/>
                    </a:cxn>
                    <a:cxn ang="0">
                      <a:pos x="334" y="14"/>
                    </a:cxn>
                    <a:cxn ang="0">
                      <a:pos x="300" y="18"/>
                    </a:cxn>
                    <a:cxn ang="0">
                      <a:pos x="288" y="54"/>
                    </a:cxn>
                    <a:cxn ang="0">
                      <a:pos x="278" y="68"/>
                    </a:cxn>
                    <a:cxn ang="0">
                      <a:pos x="240" y="80"/>
                    </a:cxn>
                    <a:cxn ang="0">
                      <a:pos x="198" y="80"/>
                    </a:cxn>
                    <a:cxn ang="0">
                      <a:pos x="188" y="104"/>
                    </a:cxn>
                    <a:cxn ang="0">
                      <a:pos x="116" y="318"/>
                    </a:cxn>
                    <a:cxn ang="0">
                      <a:pos x="146" y="418"/>
                    </a:cxn>
                    <a:cxn ang="0">
                      <a:pos x="120" y="436"/>
                    </a:cxn>
                    <a:cxn ang="0">
                      <a:pos x="94" y="416"/>
                    </a:cxn>
                    <a:cxn ang="0">
                      <a:pos x="50" y="374"/>
                    </a:cxn>
                    <a:cxn ang="0">
                      <a:pos x="28" y="380"/>
                    </a:cxn>
                    <a:cxn ang="0">
                      <a:pos x="14" y="418"/>
                    </a:cxn>
                    <a:cxn ang="0">
                      <a:pos x="20" y="462"/>
                    </a:cxn>
                    <a:cxn ang="0">
                      <a:pos x="6" y="498"/>
                    </a:cxn>
                    <a:cxn ang="0">
                      <a:pos x="2" y="536"/>
                    </a:cxn>
                    <a:cxn ang="0">
                      <a:pos x="30" y="588"/>
                    </a:cxn>
                    <a:cxn ang="0">
                      <a:pos x="32" y="646"/>
                    </a:cxn>
                    <a:cxn ang="0">
                      <a:pos x="42" y="672"/>
                    </a:cxn>
                    <a:cxn ang="0">
                      <a:pos x="86" y="686"/>
                    </a:cxn>
                    <a:cxn ang="0">
                      <a:pos x="122" y="706"/>
                    </a:cxn>
                    <a:cxn ang="0">
                      <a:pos x="148" y="740"/>
                    </a:cxn>
                    <a:cxn ang="0">
                      <a:pos x="196" y="746"/>
                    </a:cxn>
                    <a:cxn ang="0">
                      <a:pos x="238" y="724"/>
                    </a:cxn>
                    <a:cxn ang="0">
                      <a:pos x="290" y="744"/>
                    </a:cxn>
                    <a:cxn ang="0">
                      <a:pos x="352" y="788"/>
                    </a:cxn>
                    <a:cxn ang="0">
                      <a:pos x="382" y="822"/>
                    </a:cxn>
                    <a:cxn ang="0">
                      <a:pos x="412" y="868"/>
                    </a:cxn>
                    <a:cxn ang="0">
                      <a:pos x="400" y="948"/>
                    </a:cxn>
                    <a:cxn ang="0">
                      <a:pos x="356" y="1006"/>
                    </a:cxn>
                    <a:cxn ang="0">
                      <a:pos x="336" y="1000"/>
                    </a:cxn>
                    <a:cxn ang="0">
                      <a:pos x="330" y="1022"/>
                    </a:cxn>
                    <a:cxn ang="0">
                      <a:pos x="356" y="1118"/>
                    </a:cxn>
                    <a:cxn ang="0">
                      <a:pos x="350" y="1146"/>
                    </a:cxn>
                    <a:cxn ang="0">
                      <a:pos x="324" y="1182"/>
                    </a:cxn>
                    <a:cxn ang="0">
                      <a:pos x="330" y="1212"/>
                    </a:cxn>
                    <a:cxn ang="0">
                      <a:pos x="360" y="1228"/>
                    </a:cxn>
                    <a:cxn ang="0">
                      <a:pos x="402" y="1246"/>
                    </a:cxn>
                    <a:cxn ang="0">
                      <a:pos x="456" y="1282"/>
                    </a:cxn>
                    <a:cxn ang="0">
                      <a:pos x="504" y="1352"/>
                    </a:cxn>
                    <a:cxn ang="0">
                      <a:pos x="506" y="1372"/>
                    </a:cxn>
                    <a:cxn ang="0">
                      <a:pos x="554" y="1406"/>
                    </a:cxn>
                    <a:cxn ang="0">
                      <a:pos x="630" y="4"/>
                    </a:cxn>
                  </a:cxnLst>
                  <a:rect l="0" t="0" r="r" b="b"/>
                  <a:pathLst>
                    <a:path w="630" h="1444">
                      <a:moveTo>
                        <a:pt x="630" y="4"/>
                      </a:moveTo>
                      <a:lnTo>
                        <a:pt x="630" y="4"/>
                      </a:lnTo>
                      <a:lnTo>
                        <a:pt x="602" y="2"/>
                      </a:lnTo>
                      <a:lnTo>
                        <a:pt x="588" y="0"/>
                      </a:lnTo>
                      <a:lnTo>
                        <a:pt x="574" y="0"/>
                      </a:lnTo>
                      <a:lnTo>
                        <a:pt x="564" y="2"/>
                      </a:lnTo>
                      <a:lnTo>
                        <a:pt x="560" y="4"/>
                      </a:lnTo>
                      <a:lnTo>
                        <a:pt x="556" y="6"/>
                      </a:lnTo>
                      <a:lnTo>
                        <a:pt x="554" y="10"/>
                      </a:lnTo>
                      <a:lnTo>
                        <a:pt x="554" y="14"/>
                      </a:lnTo>
                      <a:lnTo>
                        <a:pt x="556" y="18"/>
                      </a:lnTo>
                      <a:lnTo>
                        <a:pt x="558" y="24"/>
                      </a:lnTo>
                      <a:lnTo>
                        <a:pt x="558" y="24"/>
                      </a:lnTo>
                      <a:lnTo>
                        <a:pt x="564" y="36"/>
                      </a:lnTo>
                      <a:lnTo>
                        <a:pt x="566" y="44"/>
                      </a:lnTo>
                      <a:lnTo>
                        <a:pt x="566" y="48"/>
                      </a:lnTo>
                      <a:lnTo>
                        <a:pt x="564" y="50"/>
                      </a:lnTo>
                      <a:lnTo>
                        <a:pt x="560" y="48"/>
                      </a:lnTo>
                      <a:lnTo>
                        <a:pt x="556" y="46"/>
                      </a:lnTo>
                      <a:lnTo>
                        <a:pt x="556" y="46"/>
                      </a:lnTo>
                      <a:lnTo>
                        <a:pt x="522" y="28"/>
                      </a:lnTo>
                      <a:lnTo>
                        <a:pt x="496" y="14"/>
                      </a:lnTo>
                      <a:lnTo>
                        <a:pt x="484" y="10"/>
                      </a:lnTo>
                      <a:lnTo>
                        <a:pt x="476" y="10"/>
                      </a:lnTo>
                      <a:lnTo>
                        <a:pt x="476" y="10"/>
                      </a:lnTo>
                      <a:lnTo>
                        <a:pt x="458" y="8"/>
                      </a:lnTo>
                      <a:lnTo>
                        <a:pt x="436" y="6"/>
                      </a:lnTo>
                      <a:lnTo>
                        <a:pt x="414" y="4"/>
                      </a:lnTo>
                      <a:lnTo>
                        <a:pt x="400" y="4"/>
                      </a:lnTo>
                      <a:lnTo>
                        <a:pt x="400" y="4"/>
                      </a:lnTo>
                      <a:lnTo>
                        <a:pt x="388" y="8"/>
                      </a:lnTo>
                      <a:lnTo>
                        <a:pt x="376" y="14"/>
                      </a:lnTo>
                      <a:lnTo>
                        <a:pt x="360" y="24"/>
                      </a:lnTo>
                      <a:lnTo>
                        <a:pt x="360" y="24"/>
                      </a:lnTo>
                      <a:lnTo>
                        <a:pt x="352" y="20"/>
                      </a:lnTo>
                      <a:lnTo>
                        <a:pt x="334" y="14"/>
                      </a:lnTo>
                      <a:lnTo>
                        <a:pt x="324" y="12"/>
                      </a:lnTo>
                      <a:lnTo>
                        <a:pt x="314" y="12"/>
                      </a:lnTo>
                      <a:lnTo>
                        <a:pt x="306" y="14"/>
                      </a:lnTo>
                      <a:lnTo>
                        <a:pt x="300" y="18"/>
                      </a:lnTo>
                      <a:lnTo>
                        <a:pt x="300" y="18"/>
                      </a:lnTo>
                      <a:lnTo>
                        <a:pt x="294" y="32"/>
                      </a:lnTo>
                      <a:lnTo>
                        <a:pt x="292" y="44"/>
                      </a:lnTo>
                      <a:lnTo>
                        <a:pt x="288" y="54"/>
                      </a:lnTo>
                      <a:lnTo>
                        <a:pt x="286" y="62"/>
                      </a:lnTo>
                      <a:lnTo>
                        <a:pt x="286" y="62"/>
                      </a:lnTo>
                      <a:lnTo>
                        <a:pt x="282" y="66"/>
                      </a:lnTo>
                      <a:lnTo>
                        <a:pt x="278" y="68"/>
                      </a:lnTo>
                      <a:lnTo>
                        <a:pt x="264" y="76"/>
                      </a:lnTo>
                      <a:lnTo>
                        <a:pt x="248" y="82"/>
                      </a:lnTo>
                      <a:lnTo>
                        <a:pt x="248" y="82"/>
                      </a:lnTo>
                      <a:lnTo>
                        <a:pt x="240" y="80"/>
                      </a:lnTo>
                      <a:lnTo>
                        <a:pt x="224" y="76"/>
                      </a:lnTo>
                      <a:lnTo>
                        <a:pt x="216" y="76"/>
                      </a:lnTo>
                      <a:lnTo>
                        <a:pt x="206" y="76"/>
                      </a:lnTo>
                      <a:lnTo>
                        <a:pt x="198" y="80"/>
                      </a:lnTo>
                      <a:lnTo>
                        <a:pt x="194" y="88"/>
                      </a:lnTo>
                      <a:lnTo>
                        <a:pt x="194" y="88"/>
                      </a:lnTo>
                      <a:lnTo>
                        <a:pt x="190" y="96"/>
                      </a:lnTo>
                      <a:lnTo>
                        <a:pt x="188" y="104"/>
                      </a:lnTo>
                      <a:lnTo>
                        <a:pt x="186" y="122"/>
                      </a:lnTo>
                      <a:lnTo>
                        <a:pt x="186" y="138"/>
                      </a:lnTo>
                      <a:lnTo>
                        <a:pt x="130" y="234"/>
                      </a:lnTo>
                      <a:lnTo>
                        <a:pt x="116" y="318"/>
                      </a:lnTo>
                      <a:lnTo>
                        <a:pt x="136" y="390"/>
                      </a:lnTo>
                      <a:lnTo>
                        <a:pt x="148" y="414"/>
                      </a:lnTo>
                      <a:lnTo>
                        <a:pt x="148" y="414"/>
                      </a:lnTo>
                      <a:lnTo>
                        <a:pt x="146" y="418"/>
                      </a:lnTo>
                      <a:lnTo>
                        <a:pt x="138" y="428"/>
                      </a:lnTo>
                      <a:lnTo>
                        <a:pt x="132" y="432"/>
                      </a:lnTo>
                      <a:lnTo>
                        <a:pt x="126" y="436"/>
                      </a:lnTo>
                      <a:lnTo>
                        <a:pt x="120" y="436"/>
                      </a:lnTo>
                      <a:lnTo>
                        <a:pt x="114" y="434"/>
                      </a:lnTo>
                      <a:lnTo>
                        <a:pt x="114" y="434"/>
                      </a:lnTo>
                      <a:lnTo>
                        <a:pt x="106" y="426"/>
                      </a:lnTo>
                      <a:lnTo>
                        <a:pt x="94" y="416"/>
                      </a:lnTo>
                      <a:lnTo>
                        <a:pt x="82" y="402"/>
                      </a:lnTo>
                      <a:lnTo>
                        <a:pt x="70" y="388"/>
                      </a:lnTo>
                      <a:lnTo>
                        <a:pt x="56" y="378"/>
                      </a:lnTo>
                      <a:lnTo>
                        <a:pt x="50" y="374"/>
                      </a:lnTo>
                      <a:lnTo>
                        <a:pt x="44" y="374"/>
                      </a:lnTo>
                      <a:lnTo>
                        <a:pt x="38" y="374"/>
                      </a:lnTo>
                      <a:lnTo>
                        <a:pt x="32" y="376"/>
                      </a:lnTo>
                      <a:lnTo>
                        <a:pt x="28" y="380"/>
                      </a:lnTo>
                      <a:lnTo>
                        <a:pt x="22" y="388"/>
                      </a:lnTo>
                      <a:lnTo>
                        <a:pt x="22" y="388"/>
                      </a:lnTo>
                      <a:lnTo>
                        <a:pt x="16" y="404"/>
                      </a:lnTo>
                      <a:lnTo>
                        <a:pt x="14" y="418"/>
                      </a:lnTo>
                      <a:lnTo>
                        <a:pt x="16" y="430"/>
                      </a:lnTo>
                      <a:lnTo>
                        <a:pt x="18" y="440"/>
                      </a:lnTo>
                      <a:lnTo>
                        <a:pt x="20" y="452"/>
                      </a:lnTo>
                      <a:lnTo>
                        <a:pt x="20" y="462"/>
                      </a:lnTo>
                      <a:lnTo>
                        <a:pt x="18" y="474"/>
                      </a:lnTo>
                      <a:lnTo>
                        <a:pt x="12" y="486"/>
                      </a:lnTo>
                      <a:lnTo>
                        <a:pt x="12" y="486"/>
                      </a:lnTo>
                      <a:lnTo>
                        <a:pt x="6" y="498"/>
                      </a:lnTo>
                      <a:lnTo>
                        <a:pt x="2" y="508"/>
                      </a:lnTo>
                      <a:lnTo>
                        <a:pt x="0" y="518"/>
                      </a:lnTo>
                      <a:lnTo>
                        <a:pt x="0" y="526"/>
                      </a:lnTo>
                      <a:lnTo>
                        <a:pt x="2" y="536"/>
                      </a:lnTo>
                      <a:lnTo>
                        <a:pt x="6" y="546"/>
                      </a:lnTo>
                      <a:lnTo>
                        <a:pt x="22" y="572"/>
                      </a:lnTo>
                      <a:lnTo>
                        <a:pt x="22" y="572"/>
                      </a:lnTo>
                      <a:lnTo>
                        <a:pt x="30" y="588"/>
                      </a:lnTo>
                      <a:lnTo>
                        <a:pt x="34" y="604"/>
                      </a:lnTo>
                      <a:lnTo>
                        <a:pt x="34" y="620"/>
                      </a:lnTo>
                      <a:lnTo>
                        <a:pt x="32" y="632"/>
                      </a:lnTo>
                      <a:lnTo>
                        <a:pt x="32" y="646"/>
                      </a:lnTo>
                      <a:lnTo>
                        <a:pt x="32" y="656"/>
                      </a:lnTo>
                      <a:lnTo>
                        <a:pt x="34" y="666"/>
                      </a:lnTo>
                      <a:lnTo>
                        <a:pt x="38" y="668"/>
                      </a:lnTo>
                      <a:lnTo>
                        <a:pt x="42" y="672"/>
                      </a:lnTo>
                      <a:lnTo>
                        <a:pt x="42" y="672"/>
                      </a:lnTo>
                      <a:lnTo>
                        <a:pt x="52" y="678"/>
                      </a:lnTo>
                      <a:lnTo>
                        <a:pt x="64" y="680"/>
                      </a:lnTo>
                      <a:lnTo>
                        <a:pt x="86" y="686"/>
                      </a:lnTo>
                      <a:lnTo>
                        <a:pt x="96" y="688"/>
                      </a:lnTo>
                      <a:lnTo>
                        <a:pt x="106" y="692"/>
                      </a:lnTo>
                      <a:lnTo>
                        <a:pt x="116" y="698"/>
                      </a:lnTo>
                      <a:lnTo>
                        <a:pt x="122" y="706"/>
                      </a:lnTo>
                      <a:lnTo>
                        <a:pt x="122" y="706"/>
                      </a:lnTo>
                      <a:lnTo>
                        <a:pt x="134" y="726"/>
                      </a:lnTo>
                      <a:lnTo>
                        <a:pt x="142" y="734"/>
                      </a:lnTo>
                      <a:lnTo>
                        <a:pt x="148" y="740"/>
                      </a:lnTo>
                      <a:lnTo>
                        <a:pt x="158" y="744"/>
                      </a:lnTo>
                      <a:lnTo>
                        <a:pt x="168" y="746"/>
                      </a:lnTo>
                      <a:lnTo>
                        <a:pt x="182" y="748"/>
                      </a:lnTo>
                      <a:lnTo>
                        <a:pt x="196" y="746"/>
                      </a:lnTo>
                      <a:lnTo>
                        <a:pt x="196" y="746"/>
                      </a:lnTo>
                      <a:lnTo>
                        <a:pt x="210" y="742"/>
                      </a:lnTo>
                      <a:lnTo>
                        <a:pt x="222" y="736"/>
                      </a:lnTo>
                      <a:lnTo>
                        <a:pt x="238" y="724"/>
                      </a:lnTo>
                      <a:lnTo>
                        <a:pt x="246" y="722"/>
                      </a:lnTo>
                      <a:lnTo>
                        <a:pt x="258" y="724"/>
                      </a:lnTo>
                      <a:lnTo>
                        <a:pt x="272" y="730"/>
                      </a:lnTo>
                      <a:lnTo>
                        <a:pt x="290" y="744"/>
                      </a:lnTo>
                      <a:lnTo>
                        <a:pt x="290" y="744"/>
                      </a:lnTo>
                      <a:lnTo>
                        <a:pt x="308" y="760"/>
                      </a:lnTo>
                      <a:lnTo>
                        <a:pt x="326" y="772"/>
                      </a:lnTo>
                      <a:lnTo>
                        <a:pt x="352" y="788"/>
                      </a:lnTo>
                      <a:lnTo>
                        <a:pt x="362" y="794"/>
                      </a:lnTo>
                      <a:lnTo>
                        <a:pt x="370" y="802"/>
                      </a:lnTo>
                      <a:lnTo>
                        <a:pt x="376" y="810"/>
                      </a:lnTo>
                      <a:lnTo>
                        <a:pt x="382" y="822"/>
                      </a:lnTo>
                      <a:lnTo>
                        <a:pt x="382" y="822"/>
                      </a:lnTo>
                      <a:lnTo>
                        <a:pt x="388" y="834"/>
                      </a:lnTo>
                      <a:lnTo>
                        <a:pt x="396" y="846"/>
                      </a:lnTo>
                      <a:lnTo>
                        <a:pt x="412" y="868"/>
                      </a:lnTo>
                      <a:lnTo>
                        <a:pt x="430" y="892"/>
                      </a:lnTo>
                      <a:lnTo>
                        <a:pt x="430" y="892"/>
                      </a:lnTo>
                      <a:lnTo>
                        <a:pt x="422" y="910"/>
                      </a:lnTo>
                      <a:lnTo>
                        <a:pt x="400" y="948"/>
                      </a:lnTo>
                      <a:lnTo>
                        <a:pt x="400" y="948"/>
                      </a:lnTo>
                      <a:lnTo>
                        <a:pt x="386" y="968"/>
                      </a:lnTo>
                      <a:lnTo>
                        <a:pt x="372" y="988"/>
                      </a:lnTo>
                      <a:lnTo>
                        <a:pt x="356" y="1006"/>
                      </a:lnTo>
                      <a:lnTo>
                        <a:pt x="356" y="1006"/>
                      </a:lnTo>
                      <a:lnTo>
                        <a:pt x="352" y="1004"/>
                      </a:lnTo>
                      <a:lnTo>
                        <a:pt x="342" y="1000"/>
                      </a:lnTo>
                      <a:lnTo>
                        <a:pt x="336" y="1000"/>
                      </a:lnTo>
                      <a:lnTo>
                        <a:pt x="332" y="1004"/>
                      </a:lnTo>
                      <a:lnTo>
                        <a:pt x="330" y="1012"/>
                      </a:lnTo>
                      <a:lnTo>
                        <a:pt x="330" y="1022"/>
                      </a:lnTo>
                      <a:lnTo>
                        <a:pt x="330" y="1022"/>
                      </a:lnTo>
                      <a:lnTo>
                        <a:pt x="334" y="1038"/>
                      </a:lnTo>
                      <a:lnTo>
                        <a:pt x="338" y="1054"/>
                      </a:lnTo>
                      <a:lnTo>
                        <a:pt x="348" y="1086"/>
                      </a:lnTo>
                      <a:lnTo>
                        <a:pt x="356" y="1118"/>
                      </a:lnTo>
                      <a:lnTo>
                        <a:pt x="356" y="1130"/>
                      </a:lnTo>
                      <a:lnTo>
                        <a:pt x="354" y="1138"/>
                      </a:lnTo>
                      <a:lnTo>
                        <a:pt x="354" y="1138"/>
                      </a:lnTo>
                      <a:lnTo>
                        <a:pt x="350" y="1146"/>
                      </a:lnTo>
                      <a:lnTo>
                        <a:pt x="344" y="1154"/>
                      </a:lnTo>
                      <a:lnTo>
                        <a:pt x="334" y="1168"/>
                      </a:lnTo>
                      <a:lnTo>
                        <a:pt x="328" y="1176"/>
                      </a:lnTo>
                      <a:lnTo>
                        <a:pt x="324" y="1182"/>
                      </a:lnTo>
                      <a:lnTo>
                        <a:pt x="322" y="1190"/>
                      </a:lnTo>
                      <a:lnTo>
                        <a:pt x="324" y="1198"/>
                      </a:lnTo>
                      <a:lnTo>
                        <a:pt x="324" y="1198"/>
                      </a:lnTo>
                      <a:lnTo>
                        <a:pt x="330" y="1212"/>
                      </a:lnTo>
                      <a:lnTo>
                        <a:pt x="336" y="1222"/>
                      </a:lnTo>
                      <a:lnTo>
                        <a:pt x="340" y="1226"/>
                      </a:lnTo>
                      <a:lnTo>
                        <a:pt x="344" y="1228"/>
                      </a:lnTo>
                      <a:lnTo>
                        <a:pt x="360" y="1228"/>
                      </a:lnTo>
                      <a:lnTo>
                        <a:pt x="360" y="1228"/>
                      </a:lnTo>
                      <a:lnTo>
                        <a:pt x="368" y="1230"/>
                      </a:lnTo>
                      <a:lnTo>
                        <a:pt x="380" y="1234"/>
                      </a:lnTo>
                      <a:lnTo>
                        <a:pt x="402" y="1246"/>
                      </a:lnTo>
                      <a:lnTo>
                        <a:pt x="442" y="1270"/>
                      </a:lnTo>
                      <a:lnTo>
                        <a:pt x="442" y="1270"/>
                      </a:lnTo>
                      <a:lnTo>
                        <a:pt x="448" y="1276"/>
                      </a:lnTo>
                      <a:lnTo>
                        <a:pt x="456" y="1282"/>
                      </a:lnTo>
                      <a:lnTo>
                        <a:pt x="472" y="1304"/>
                      </a:lnTo>
                      <a:lnTo>
                        <a:pt x="490" y="1328"/>
                      </a:lnTo>
                      <a:lnTo>
                        <a:pt x="504" y="1352"/>
                      </a:lnTo>
                      <a:lnTo>
                        <a:pt x="504" y="1352"/>
                      </a:lnTo>
                      <a:lnTo>
                        <a:pt x="508" y="1362"/>
                      </a:lnTo>
                      <a:lnTo>
                        <a:pt x="508" y="1366"/>
                      </a:lnTo>
                      <a:lnTo>
                        <a:pt x="508" y="1370"/>
                      </a:lnTo>
                      <a:lnTo>
                        <a:pt x="506" y="1372"/>
                      </a:lnTo>
                      <a:lnTo>
                        <a:pt x="510" y="1376"/>
                      </a:lnTo>
                      <a:lnTo>
                        <a:pt x="516" y="1380"/>
                      </a:lnTo>
                      <a:lnTo>
                        <a:pt x="554" y="1406"/>
                      </a:lnTo>
                      <a:lnTo>
                        <a:pt x="554" y="1406"/>
                      </a:lnTo>
                      <a:lnTo>
                        <a:pt x="574" y="1418"/>
                      </a:lnTo>
                      <a:lnTo>
                        <a:pt x="594" y="1428"/>
                      </a:lnTo>
                      <a:lnTo>
                        <a:pt x="630" y="1444"/>
                      </a:lnTo>
                      <a:lnTo>
                        <a:pt x="630" y="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95" name="Freeform 7">
                  <a:extLst>
                    <a:ext uri="{FF2B5EF4-FFF2-40B4-BE49-F238E27FC236}">
                      <a16:creationId xmlns:a16="http://schemas.microsoft.com/office/drawing/2014/main" id="{3C6B9314-9DD8-486B-8DCA-FEFB53CD54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6634" y="3694346"/>
                  <a:ext cx="480143" cy="1100517"/>
                </a:xfrm>
                <a:custGeom>
                  <a:avLst/>
                  <a:gdLst/>
                  <a:ahLst/>
                  <a:cxnLst>
                    <a:cxn ang="0">
                      <a:pos x="588" y="0"/>
                    </a:cxn>
                    <a:cxn ang="0">
                      <a:pos x="556" y="6"/>
                    </a:cxn>
                    <a:cxn ang="0">
                      <a:pos x="558" y="24"/>
                    </a:cxn>
                    <a:cxn ang="0">
                      <a:pos x="566" y="48"/>
                    </a:cxn>
                    <a:cxn ang="0">
                      <a:pos x="556" y="46"/>
                    </a:cxn>
                    <a:cxn ang="0">
                      <a:pos x="476" y="10"/>
                    </a:cxn>
                    <a:cxn ang="0">
                      <a:pos x="414" y="4"/>
                    </a:cxn>
                    <a:cxn ang="0">
                      <a:pos x="376" y="14"/>
                    </a:cxn>
                    <a:cxn ang="0">
                      <a:pos x="334" y="14"/>
                    </a:cxn>
                    <a:cxn ang="0">
                      <a:pos x="300" y="18"/>
                    </a:cxn>
                    <a:cxn ang="0">
                      <a:pos x="288" y="54"/>
                    </a:cxn>
                    <a:cxn ang="0">
                      <a:pos x="278" y="68"/>
                    </a:cxn>
                    <a:cxn ang="0">
                      <a:pos x="240" y="80"/>
                    </a:cxn>
                    <a:cxn ang="0">
                      <a:pos x="198" y="80"/>
                    </a:cxn>
                    <a:cxn ang="0">
                      <a:pos x="188" y="104"/>
                    </a:cxn>
                    <a:cxn ang="0">
                      <a:pos x="116" y="318"/>
                    </a:cxn>
                    <a:cxn ang="0">
                      <a:pos x="146" y="418"/>
                    </a:cxn>
                    <a:cxn ang="0">
                      <a:pos x="120" y="436"/>
                    </a:cxn>
                    <a:cxn ang="0">
                      <a:pos x="94" y="416"/>
                    </a:cxn>
                    <a:cxn ang="0">
                      <a:pos x="50" y="374"/>
                    </a:cxn>
                    <a:cxn ang="0">
                      <a:pos x="28" y="380"/>
                    </a:cxn>
                    <a:cxn ang="0">
                      <a:pos x="14" y="418"/>
                    </a:cxn>
                    <a:cxn ang="0">
                      <a:pos x="20" y="462"/>
                    </a:cxn>
                    <a:cxn ang="0">
                      <a:pos x="6" y="498"/>
                    </a:cxn>
                    <a:cxn ang="0">
                      <a:pos x="2" y="536"/>
                    </a:cxn>
                    <a:cxn ang="0">
                      <a:pos x="30" y="588"/>
                    </a:cxn>
                    <a:cxn ang="0">
                      <a:pos x="32" y="646"/>
                    </a:cxn>
                    <a:cxn ang="0">
                      <a:pos x="42" y="672"/>
                    </a:cxn>
                    <a:cxn ang="0">
                      <a:pos x="86" y="686"/>
                    </a:cxn>
                    <a:cxn ang="0">
                      <a:pos x="122" y="706"/>
                    </a:cxn>
                    <a:cxn ang="0">
                      <a:pos x="148" y="740"/>
                    </a:cxn>
                    <a:cxn ang="0">
                      <a:pos x="196" y="746"/>
                    </a:cxn>
                    <a:cxn ang="0">
                      <a:pos x="238" y="724"/>
                    </a:cxn>
                    <a:cxn ang="0">
                      <a:pos x="290" y="744"/>
                    </a:cxn>
                    <a:cxn ang="0">
                      <a:pos x="352" y="788"/>
                    </a:cxn>
                    <a:cxn ang="0">
                      <a:pos x="382" y="822"/>
                    </a:cxn>
                    <a:cxn ang="0">
                      <a:pos x="412" y="868"/>
                    </a:cxn>
                    <a:cxn ang="0">
                      <a:pos x="400" y="948"/>
                    </a:cxn>
                    <a:cxn ang="0">
                      <a:pos x="356" y="1006"/>
                    </a:cxn>
                    <a:cxn ang="0">
                      <a:pos x="336" y="1000"/>
                    </a:cxn>
                    <a:cxn ang="0">
                      <a:pos x="330" y="1022"/>
                    </a:cxn>
                    <a:cxn ang="0">
                      <a:pos x="356" y="1118"/>
                    </a:cxn>
                    <a:cxn ang="0">
                      <a:pos x="350" y="1146"/>
                    </a:cxn>
                    <a:cxn ang="0">
                      <a:pos x="324" y="1182"/>
                    </a:cxn>
                    <a:cxn ang="0">
                      <a:pos x="330" y="1212"/>
                    </a:cxn>
                    <a:cxn ang="0">
                      <a:pos x="360" y="1228"/>
                    </a:cxn>
                    <a:cxn ang="0">
                      <a:pos x="402" y="1246"/>
                    </a:cxn>
                    <a:cxn ang="0">
                      <a:pos x="456" y="1282"/>
                    </a:cxn>
                    <a:cxn ang="0">
                      <a:pos x="504" y="1352"/>
                    </a:cxn>
                    <a:cxn ang="0">
                      <a:pos x="506" y="1372"/>
                    </a:cxn>
                    <a:cxn ang="0">
                      <a:pos x="554" y="1406"/>
                    </a:cxn>
                  </a:cxnLst>
                  <a:rect l="0" t="0" r="r" b="b"/>
                  <a:pathLst>
                    <a:path w="630" h="1444">
                      <a:moveTo>
                        <a:pt x="630" y="4"/>
                      </a:moveTo>
                      <a:lnTo>
                        <a:pt x="630" y="4"/>
                      </a:lnTo>
                      <a:lnTo>
                        <a:pt x="602" y="2"/>
                      </a:lnTo>
                      <a:lnTo>
                        <a:pt x="588" y="0"/>
                      </a:lnTo>
                      <a:lnTo>
                        <a:pt x="574" y="0"/>
                      </a:lnTo>
                      <a:lnTo>
                        <a:pt x="564" y="2"/>
                      </a:lnTo>
                      <a:lnTo>
                        <a:pt x="560" y="4"/>
                      </a:lnTo>
                      <a:lnTo>
                        <a:pt x="556" y="6"/>
                      </a:lnTo>
                      <a:lnTo>
                        <a:pt x="554" y="10"/>
                      </a:lnTo>
                      <a:lnTo>
                        <a:pt x="554" y="14"/>
                      </a:lnTo>
                      <a:lnTo>
                        <a:pt x="556" y="18"/>
                      </a:lnTo>
                      <a:lnTo>
                        <a:pt x="558" y="24"/>
                      </a:lnTo>
                      <a:lnTo>
                        <a:pt x="558" y="24"/>
                      </a:lnTo>
                      <a:lnTo>
                        <a:pt x="564" y="36"/>
                      </a:lnTo>
                      <a:lnTo>
                        <a:pt x="566" y="44"/>
                      </a:lnTo>
                      <a:lnTo>
                        <a:pt x="566" y="48"/>
                      </a:lnTo>
                      <a:lnTo>
                        <a:pt x="564" y="50"/>
                      </a:lnTo>
                      <a:lnTo>
                        <a:pt x="560" y="48"/>
                      </a:lnTo>
                      <a:lnTo>
                        <a:pt x="556" y="46"/>
                      </a:lnTo>
                      <a:lnTo>
                        <a:pt x="556" y="46"/>
                      </a:lnTo>
                      <a:lnTo>
                        <a:pt x="522" y="28"/>
                      </a:lnTo>
                      <a:lnTo>
                        <a:pt x="496" y="14"/>
                      </a:lnTo>
                      <a:lnTo>
                        <a:pt x="484" y="10"/>
                      </a:lnTo>
                      <a:lnTo>
                        <a:pt x="476" y="10"/>
                      </a:lnTo>
                      <a:lnTo>
                        <a:pt x="476" y="10"/>
                      </a:lnTo>
                      <a:lnTo>
                        <a:pt x="458" y="8"/>
                      </a:lnTo>
                      <a:lnTo>
                        <a:pt x="436" y="6"/>
                      </a:lnTo>
                      <a:lnTo>
                        <a:pt x="414" y="4"/>
                      </a:lnTo>
                      <a:lnTo>
                        <a:pt x="400" y="4"/>
                      </a:lnTo>
                      <a:lnTo>
                        <a:pt x="400" y="4"/>
                      </a:lnTo>
                      <a:lnTo>
                        <a:pt x="388" y="8"/>
                      </a:lnTo>
                      <a:lnTo>
                        <a:pt x="376" y="14"/>
                      </a:lnTo>
                      <a:lnTo>
                        <a:pt x="360" y="24"/>
                      </a:lnTo>
                      <a:lnTo>
                        <a:pt x="360" y="24"/>
                      </a:lnTo>
                      <a:lnTo>
                        <a:pt x="352" y="20"/>
                      </a:lnTo>
                      <a:lnTo>
                        <a:pt x="334" y="14"/>
                      </a:lnTo>
                      <a:lnTo>
                        <a:pt x="324" y="12"/>
                      </a:lnTo>
                      <a:lnTo>
                        <a:pt x="314" y="12"/>
                      </a:lnTo>
                      <a:lnTo>
                        <a:pt x="306" y="14"/>
                      </a:lnTo>
                      <a:lnTo>
                        <a:pt x="300" y="18"/>
                      </a:lnTo>
                      <a:lnTo>
                        <a:pt x="300" y="18"/>
                      </a:lnTo>
                      <a:lnTo>
                        <a:pt x="294" y="32"/>
                      </a:lnTo>
                      <a:lnTo>
                        <a:pt x="292" y="44"/>
                      </a:lnTo>
                      <a:lnTo>
                        <a:pt x="288" y="54"/>
                      </a:lnTo>
                      <a:lnTo>
                        <a:pt x="286" y="62"/>
                      </a:lnTo>
                      <a:lnTo>
                        <a:pt x="286" y="62"/>
                      </a:lnTo>
                      <a:lnTo>
                        <a:pt x="282" y="66"/>
                      </a:lnTo>
                      <a:lnTo>
                        <a:pt x="278" y="68"/>
                      </a:lnTo>
                      <a:lnTo>
                        <a:pt x="264" y="76"/>
                      </a:lnTo>
                      <a:lnTo>
                        <a:pt x="248" y="82"/>
                      </a:lnTo>
                      <a:lnTo>
                        <a:pt x="248" y="82"/>
                      </a:lnTo>
                      <a:lnTo>
                        <a:pt x="240" y="80"/>
                      </a:lnTo>
                      <a:lnTo>
                        <a:pt x="224" y="76"/>
                      </a:lnTo>
                      <a:lnTo>
                        <a:pt x="216" y="76"/>
                      </a:lnTo>
                      <a:lnTo>
                        <a:pt x="206" y="76"/>
                      </a:lnTo>
                      <a:lnTo>
                        <a:pt x="198" y="80"/>
                      </a:lnTo>
                      <a:lnTo>
                        <a:pt x="194" y="88"/>
                      </a:lnTo>
                      <a:lnTo>
                        <a:pt x="194" y="88"/>
                      </a:lnTo>
                      <a:lnTo>
                        <a:pt x="190" y="96"/>
                      </a:lnTo>
                      <a:lnTo>
                        <a:pt x="188" y="104"/>
                      </a:lnTo>
                      <a:lnTo>
                        <a:pt x="186" y="122"/>
                      </a:lnTo>
                      <a:lnTo>
                        <a:pt x="186" y="138"/>
                      </a:lnTo>
                      <a:lnTo>
                        <a:pt x="130" y="234"/>
                      </a:lnTo>
                      <a:lnTo>
                        <a:pt x="116" y="318"/>
                      </a:lnTo>
                      <a:lnTo>
                        <a:pt x="136" y="390"/>
                      </a:lnTo>
                      <a:lnTo>
                        <a:pt x="148" y="414"/>
                      </a:lnTo>
                      <a:lnTo>
                        <a:pt x="148" y="414"/>
                      </a:lnTo>
                      <a:lnTo>
                        <a:pt x="146" y="418"/>
                      </a:lnTo>
                      <a:lnTo>
                        <a:pt x="138" y="428"/>
                      </a:lnTo>
                      <a:lnTo>
                        <a:pt x="132" y="432"/>
                      </a:lnTo>
                      <a:lnTo>
                        <a:pt x="126" y="436"/>
                      </a:lnTo>
                      <a:lnTo>
                        <a:pt x="120" y="436"/>
                      </a:lnTo>
                      <a:lnTo>
                        <a:pt x="114" y="434"/>
                      </a:lnTo>
                      <a:lnTo>
                        <a:pt x="114" y="434"/>
                      </a:lnTo>
                      <a:lnTo>
                        <a:pt x="106" y="426"/>
                      </a:lnTo>
                      <a:lnTo>
                        <a:pt x="94" y="416"/>
                      </a:lnTo>
                      <a:lnTo>
                        <a:pt x="82" y="402"/>
                      </a:lnTo>
                      <a:lnTo>
                        <a:pt x="70" y="388"/>
                      </a:lnTo>
                      <a:lnTo>
                        <a:pt x="56" y="378"/>
                      </a:lnTo>
                      <a:lnTo>
                        <a:pt x="50" y="374"/>
                      </a:lnTo>
                      <a:lnTo>
                        <a:pt x="44" y="374"/>
                      </a:lnTo>
                      <a:lnTo>
                        <a:pt x="38" y="374"/>
                      </a:lnTo>
                      <a:lnTo>
                        <a:pt x="32" y="376"/>
                      </a:lnTo>
                      <a:lnTo>
                        <a:pt x="28" y="380"/>
                      </a:lnTo>
                      <a:lnTo>
                        <a:pt x="22" y="388"/>
                      </a:lnTo>
                      <a:lnTo>
                        <a:pt x="22" y="388"/>
                      </a:lnTo>
                      <a:lnTo>
                        <a:pt x="16" y="404"/>
                      </a:lnTo>
                      <a:lnTo>
                        <a:pt x="14" y="418"/>
                      </a:lnTo>
                      <a:lnTo>
                        <a:pt x="16" y="430"/>
                      </a:lnTo>
                      <a:lnTo>
                        <a:pt x="18" y="440"/>
                      </a:lnTo>
                      <a:lnTo>
                        <a:pt x="20" y="452"/>
                      </a:lnTo>
                      <a:lnTo>
                        <a:pt x="20" y="462"/>
                      </a:lnTo>
                      <a:lnTo>
                        <a:pt x="18" y="474"/>
                      </a:lnTo>
                      <a:lnTo>
                        <a:pt x="12" y="486"/>
                      </a:lnTo>
                      <a:lnTo>
                        <a:pt x="12" y="486"/>
                      </a:lnTo>
                      <a:lnTo>
                        <a:pt x="6" y="498"/>
                      </a:lnTo>
                      <a:lnTo>
                        <a:pt x="2" y="508"/>
                      </a:lnTo>
                      <a:lnTo>
                        <a:pt x="0" y="518"/>
                      </a:lnTo>
                      <a:lnTo>
                        <a:pt x="0" y="526"/>
                      </a:lnTo>
                      <a:lnTo>
                        <a:pt x="2" y="536"/>
                      </a:lnTo>
                      <a:lnTo>
                        <a:pt x="6" y="546"/>
                      </a:lnTo>
                      <a:lnTo>
                        <a:pt x="22" y="572"/>
                      </a:lnTo>
                      <a:lnTo>
                        <a:pt x="22" y="572"/>
                      </a:lnTo>
                      <a:lnTo>
                        <a:pt x="30" y="588"/>
                      </a:lnTo>
                      <a:lnTo>
                        <a:pt x="34" y="604"/>
                      </a:lnTo>
                      <a:lnTo>
                        <a:pt x="34" y="620"/>
                      </a:lnTo>
                      <a:lnTo>
                        <a:pt x="32" y="632"/>
                      </a:lnTo>
                      <a:lnTo>
                        <a:pt x="32" y="646"/>
                      </a:lnTo>
                      <a:lnTo>
                        <a:pt x="32" y="656"/>
                      </a:lnTo>
                      <a:lnTo>
                        <a:pt x="34" y="666"/>
                      </a:lnTo>
                      <a:lnTo>
                        <a:pt x="38" y="668"/>
                      </a:lnTo>
                      <a:lnTo>
                        <a:pt x="42" y="672"/>
                      </a:lnTo>
                      <a:lnTo>
                        <a:pt x="42" y="672"/>
                      </a:lnTo>
                      <a:lnTo>
                        <a:pt x="52" y="678"/>
                      </a:lnTo>
                      <a:lnTo>
                        <a:pt x="64" y="680"/>
                      </a:lnTo>
                      <a:lnTo>
                        <a:pt x="86" y="686"/>
                      </a:lnTo>
                      <a:lnTo>
                        <a:pt x="96" y="688"/>
                      </a:lnTo>
                      <a:lnTo>
                        <a:pt x="106" y="692"/>
                      </a:lnTo>
                      <a:lnTo>
                        <a:pt x="116" y="698"/>
                      </a:lnTo>
                      <a:lnTo>
                        <a:pt x="122" y="706"/>
                      </a:lnTo>
                      <a:lnTo>
                        <a:pt x="122" y="706"/>
                      </a:lnTo>
                      <a:lnTo>
                        <a:pt x="134" y="726"/>
                      </a:lnTo>
                      <a:lnTo>
                        <a:pt x="142" y="734"/>
                      </a:lnTo>
                      <a:lnTo>
                        <a:pt x="148" y="740"/>
                      </a:lnTo>
                      <a:lnTo>
                        <a:pt x="158" y="744"/>
                      </a:lnTo>
                      <a:lnTo>
                        <a:pt x="168" y="746"/>
                      </a:lnTo>
                      <a:lnTo>
                        <a:pt x="182" y="748"/>
                      </a:lnTo>
                      <a:lnTo>
                        <a:pt x="196" y="746"/>
                      </a:lnTo>
                      <a:lnTo>
                        <a:pt x="196" y="746"/>
                      </a:lnTo>
                      <a:lnTo>
                        <a:pt x="210" y="742"/>
                      </a:lnTo>
                      <a:lnTo>
                        <a:pt x="222" y="736"/>
                      </a:lnTo>
                      <a:lnTo>
                        <a:pt x="238" y="724"/>
                      </a:lnTo>
                      <a:lnTo>
                        <a:pt x="246" y="722"/>
                      </a:lnTo>
                      <a:lnTo>
                        <a:pt x="258" y="724"/>
                      </a:lnTo>
                      <a:lnTo>
                        <a:pt x="272" y="730"/>
                      </a:lnTo>
                      <a:lnTo>
                        <a:pt x="290" y="744"/>
                      </a:lnTo>
                      <a:lnTo>
                        <a:pt x="290" y="744"/>
                      </a:lnTo>
                      <a:lnTo>
                        <a:pt x="308" y="760"/>
                      </a:lnTo>
                      <a:lnTo>
                        <a:pt x="326" y="772"/>
                      </a:lnTo>
                      <a:lnTo>
                        <a:pt x="352" y="788"/>
                      </a:lnTo>
                      <a:lnTo>
                        <a:pt x="362" y="794"/>
                      </a:lnTo>
                      <a:lnTo>
                        <a:pt x="370" y="802"/>
                      </a:lnTo>
                      <a:lnTo>
                        <a:pt x="376" y="810"/>
                      </a:lnTo>
                      <a:lnTo>
                        <a:pt x="382" y="822"/>
                      </a:lnTo>
                      <a:lnTo>
                        <a:pt x="382" y="822"/>
                      </a:lnTo>
                      <a:lnTo>
                        <a:pt x="388" y="834"/>
                      </a:lnTo>
                      <a:lnTo>
                        <a:pt x="396" y="846"/>
                      </a:lnTo>
                      <a:lnTo>
                        <a:pt x="412" y="868"/>
                      </a:lnTo>
                      <a:lnTo>
                        <a:pt x="430" y="892"/>
                      </a:lnTo>
                      <a:lnTo>
                        <a:pt x="430" y="892"/>
                      </a:lnTo>
                      <a:lnTo>
                        <a:pt x="422" y="910"/>
                      </a:lnTo>
                      <a:lnTo>
                        <a:pt x="400" y="948"/>
                      </a:lnTo>
                      <a:lnTo>
                        <a:pt x="400" y="948"/>
                      </a:lnTo>
                      <a:lnTo>
                        <a:pt x="386" y="968"/>
                      </a:lnTo>
                      <a:lnTo>
                        <a:pt x="372" y="988"/>
                      </a:lnTo>
                      <a:lnTo>
                        <a:pt x="356" y="1006"/>
                      </a:lnTo>
                      <a:lnTo>
                        <a:pt x="356" y="1006"/>
                      </a:lnTo>
                      <a:lnTo>
                        <a:pt x="352" y="1004"/>
                      </a:lnTo>
                      <a:lnTo>
                        <a:pt x="342" y="1000"/>
                      </a:lnTo>
                      <a:lnTo>
                        <a:pt x="336" y="1000"/>
                      </a:lnTo>
                      <a:lnTo>
                        <a:pt x="332" y="1004"/>
                      </a:lnTo>
                      <a:lnTo>
                        <a:pt x="330" y="1012"/>
                      </a:lnTo>
                      <a:lnTo>
                        <a:pt x="330" y="1022"/>
                      </a:lnTo>
                      <a:lnTo>
                        <a:pt x="330" y="1022"/>
                      </a:lnTo>
                      <a:lnTo>
                        <a:pt x="334" y="1038"/>
                      </a:lnTo>
                      <a:lnTo>
                        <a:pt x="338" y="1054"/>
                      </a:lnTo>
                      <a:lnTo>
                        <a:pt x="348" y="1086"/>
                      </a:lnTo>
                      <a:lnTo>
                        <a:pt x="356" y="1118"/>
                      </a:lnTo>
                      <a:lnTo>
                        <a:pt x="356" y="1130"/>
                      </a:lnTo>
                      <a:lnTo>
                        <a:pt x="354" y="1138"/>
                      </a:lnTo>
                      <a:lnTo>
                        <a:pt x="354" y="1138"/>
                      </a:lnTo>
                      <a:lnTo>
                        <a:pt x="350" y="1146"/>
                      </a:lnTo>
                      <a:lnTo>
                        <a:pt x="344" y="1154"/>
                      </a:lnTo>
                      <a:lnTo>
                        <a:pt x="334" y="1168"/>
                      </a:lnTo>
                      <a:lnTo>
                        <a:pt x="328" y="1176"/>
                      </a:lnTo>
                      <a:lnTo>
                        <a:pt x="324" y="1182"/>
                      </a:lnTo>
                      <a:lnTo>
                        <a:pt x="322" y="1190"/>
                      </a:lnTo>
                      <a:lnTo>
                        <a:pt x="324" y="1198"/>
                      </a:lnTo>
                      <a:lnTo>
                        <a:pt x="324" y="1198"/>
                      </a:lnTo>
                      <a:lnTo>
                        <a:pt x="330" y="1212"/>
                      </a:lnTo>
                      <a:lnTo>
                        <a:pt x="336" y="1222"/>
                      </a:lnTo>
                      <a:lnTo>
                        <a:pt x="340" y="1226"/>
                      </a:lnTo>
                      <a:lnTo>
                        <a:pt x="344" y="1228"/>
                      </a:lnTo>
                      <a:lnTo>
                        <a:pt x="360" y="1228"/>
                      </a:lnTo>
                      <a:lnTo>
                        <a:pt x="360" y="1228"/>
                      </a:lnTo>
                      <a:lnTo>
                        <a:pt x="368" y="1230"/>
                      </a:lnTo>
                      <a:lnTo>
                        <a:pt x="380" y="1234"/>
                      </a:lnTo>
                      <a:lnTo>
                        <a:pt x="402" y="1246"/>
                      </a:lnTo>
                      <a:lnTo>
                        <a:pt x="442" y="1270"/>
                      </a:lnTo>
                      <a:lnTo>
                        <a:pt x="442" y="1270"/>
                      </a:lnTo>
                      <a:lnTo>
                        <a:pt x="448" y="1276"/>
                      </a:lnTo>
                      <a:lnTo>
                        <a:pt x="456" y="1282"/>
                      </a:lnTo>
                      <a:lnTo>
                        <a:pt x="472" y="1304"/>
                      </a:lnTo>
                      <a:lnTo>
                        <a:pt x="490" y="1328"/>
                      </a:lnTo>
                      <a:lnTo>
                        <a:pt x="504" y="1352"/>
                      </a:lnTo>
                      <a:lnTo>
                        <a:pt x="504" y="1352"/>
                      </a:lnTo>
                      <a:lnTo>
                        <a:pt x="508" y="1362"/>
                      </a:lnTo>
                      <a:lnTo>
                        <a:pt x="508" y="1366"/>
                      </a:lnTo>
                      <a:lnTo>
                        <a:pt x="508" y="1370"/>
                      </a:lnTo>
                      <a:lnTo>
                        <a:pt x="506" y="1372"/>
                      </a:lnTo>
                      <a:lnTo>
                        <a:pt x="510" y="1376"/>
                      </a:lnTo>
                      <a:lnTo>
                        <a:pt x="516" y="1380"/>
                      </a:lnTo>
                      <a:lnTo>
                        <a:pt x="554" y="1406"/>
                      </a:lnTo>
                      <a:lnTo>
                        <a:pt x="554" y="1406"/>
                      </a:lnTo>
                      <a:lnTo>
                        <a:pt x="574" y="1418"/>
                      </a:lnTo>
                      <a:lnTo>
                        <a:pt x="594" y="1428"/>
                      </a:lnTo>
                      <a:lnTo>
                        <a:pt x="630" y="1444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96" name="Freeform 8">
                  <a:extLst>
                    <a:ext uri="{FF2B5EF4-FFF2-40B4-BE49-F238E27FC236}">
                      <a16:creationId xmlns:a16="http://schemas.microsoft.com/office/drawing/2014/main" id="{E5143C18-670E-4809-9CF0-4D6D5008B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7129" y="1939920"/>
                  <a:ext cx="2019647" cy="3022612"/>
                </a:xfrm>
                <a:custGeom>
                  <a:avLst/>
                  <a:gdLst/>
                  <a:ahLst/>
                  <a:cxnLst>
                    <a:cxn ang="0">
                      <a:pos x="2446" y="3910"/>
                    </a:cxn>
                    <a:cxn ang="0">
                      <a:pos x="2272" y="3880"/>
                    </a:cxn>
                    <a:cxn ang="0">
                      <a:pos x="2114" y="3882"/>
                    </a:cxn>
                    <a:cxn ang="0">
                      <a:pos x="1848" y="3926"/>
                    </a:cxn>
                    <a:cxn ang="0">
                      <a:pos x="1542" y="3886"/>
                    </a:cxn>
                    <a:cxn ang="0">
                      <a:pos x="1362" y="3828"/>
                    </a:cxn>
                    <a:cxn ang="0">
                      <a:pos x="1440" y="3770"/>
                    </a:cxn>
                    <a:cxn ang="0">
                      <a:pos x="1460" y="3628"/>
                    </a:cxn>
                    <a:cxn ang="0">
                      <a:pos x="1516" y="3466"/>
                    </a:cxn>
                    <a:cxn ang="0">
                      <a:pos x="1388" y="3498"/>
                    </a:cxn>
                    <a:cxn ang="0">
                      <a:pos x="1448" y="3354"/>
                    </a:cxn>
                    <a:cxn ang="0">
                      <a:pos x="1480" y="3256"/>
                    </a:cxn>
                    <a:cxn ang="0">
                      <a:pos x="1460" y="3140"/>
                    </a:cxn>
                    <a:cxn ang="0">
                      <a:pos x="1318" y="3080"/>
                    </a:cxn>
                    <a:cxn ang="0">
                      <a:pos x="1046" y="3082"/>
                    </a:cxn>
                    <a:cxn ang="0">
                      <a:pos x="986" y="3060"/>
                    </a:cxn>
                    <a:cxn ang="0">
                      <a:pos x="874" y="3002"/>
                    </a:cxn>
                    <a:cxn ang="0">
                      <a:pos x="770" y="2864"/>
                    </a:cxn>
                    <a:cxn ang="0">
                      <a:pos x="602" y="2914"/>
                    </a:cxn>
                    <a:cxn ang="0">
                      <a:pos x="542" y="2758"/>
                    </a:cxn>
                    <a:cxn ang="0">
                      <a:pos x="582" y="2658"/>
                    </a:cxn>
                    <a:cxn ang="0">
                      <a:pos x="500" y="2602"/>
                    </a:cxn>
                    <a:cxn ang="0">
                      <a:pos x="426" y="2416"/>
                    </a:cxn>
                    <a:cxn ang="0">
                      <a:pos x="212" y="2352"/>
                    </a:cxn>
                    <a:cxn ang="0">
                      <a:pos x="110" y="2176"/>
                    </a:cxn>
                    <a:cxn ang="0">
                      <a:pos x="142" y="2088"/>
                    </a:cxn>
                    <a:cxn ang="0">
                      <a:pos x="100" y="1974"/>
                    </a:cxn>
                    <a:cxn ang="0">
                      <a:pos x="98" y="1824"/>
                    </a:cxn>
                    <a:cxn ang="0">
                      <a:pos x="252" y="1764"/>
                    </a:cxn>
                    <a:cxn ang="0">
                      <a:pos x="170" y="1706"/>
                    </a:cxn>
                    <a:cxn ang="0">
                      <a:pos x="218" y="1402"/>
                    </a:cxn>
                    <a:cxn ang="0">
                      <a:pos x="168" y="1098"/>
                    </a:cxn>
                    <a:cxn ang="0">
                      <a:pos x="118" y="958"/>
                    </a:cxn>
                    <a:cxn ang="0">
                      <a:pos x="46" y="684"/>
                    </a:cxn>
                    <a:cxn ang="0">
                      <a:pos x="32" y="486"/>
                    </a:cxn>
                    <a:cxn ang="0">
                      <a:pos x="68" y="262"/>
                    </a:cxn>
                    <a:cxn ang="0">
                      <a:pos x="320" y="258"/>
                    </a:cxn>
                    <a:cxn ang="0">
                      <a:pos x="582" y="388"/>
                    </a:cxn>
                    <a:cxn ang="0">
                      <a:pos x="720" y="492"/>
                    </a:cxn>
                    <a:cxn ang="0">
                      <a:pos x="602" y="704"/>
                    </a:cxn>
                    <a:cxn ang="0">
                      <a:pos x="332" y="686"/>
                    </a:cxn>
                    <a:cxn ang="0">
                      <a:pos x="216" y="636"/>
                    </a:cxn>
                    <a:cxn ang="0">
                      <a:pos x="430" y="806"/>
                    </a:cxn>
                    <a:cxn ang="0">
                      <a:pos x="434" y="948"/>
                    </a:cxn>
                    <a:cxn ang="0">
                      <a:pos x="604" y="1054"/>
                    </a:cxn>
                    <a:cxn ang="0">
                      <a:pos x="626" y="966"/>
                    </a:cxn>
                    <a:cxn ang="0">
                      <a:pos x="544" y="866"/>
                    </a:cxn>
                    <a:cxn ang="0">
                      <a:pos x="686" y="898"/>
                    </a:cxn>
                    <a:cxn ang="0">
                      <a:pos x="750" y="840"/>
                    </a:cxn>
                    <a:cxn ang="0">
                      <a:pos x="782" y="632"/>
                    </a:cxn>
                    <a:cxn ang="0">
                      <a:pos x="878" y="602"/>
                    </a:cxn>
                    <a:cxn ang="0">
                      <a:pos x="918" y="496"/>
                    </a:cxn>
                    <a:cxn ang="0">
                      <a:pos x="842" y="286"/>
                    </a:cxn>
                    <a:cxn ang="0">
                      <a:pos x="830" y="236"/>
                    </a:cxn>
                    <a:cxn ang="0">
                      <a:pos x="972" y="276"/>
                    </a:cxn>
                    <a:cxn ang="0">
                      <a:pos x="910" y="404"/>
                    </a:cxn>
                    <a:cxn ang="0">
                      <a:pos x="1068" y="392"/>
                    </a:cxn>
                    <a:cxn ang="0">
                      <a:pos x="1090" y="242"/>
                    </a:cxn>
                    <a:cxn ang="0">
                      <a:pos x="1216" y="108"/>
                    </a:cxn>
                    <a:cxn ang="0">
                      <a:pos x="1256" y="0"/>
                    </a:cxn>
                    <a:cxn ang="0">
                      <a:pos x="1364" y="40"/>
                    </a:cxn>
                  </a:cxnLst>
                  <a:rect l="0" t="0" r="r" b="b"/>
                  <a:pathLst>
                    <a:path w="2650" h="3966">
                      <a:moveTo>
                        <a:pt x="2650" y="3924"/>
                      </a:moveTo>
                      <a:lnTo>
                        <a:pt x="2650" y="3924"/>
                      </a:lnTo>
                      <a:lnTo>
                        <a:pt x="2628" y="3920"/>
                      </a:lnTo>
                      <a:lnTo>
                        <a:pt x="2594" y="3910"/>
                      </a:lnTo>
                      <a:lnTo>
                        <a:pt x="2594" y="3910"/>
                      </a:lnTo>
                      <a:lnTo>
                        <a:pt x="2578" y="3906"/>
                      </a:lnTo>
                      <a:lnTo>
                        <a:pt x="2564" y="3904"/>
                      </a:lnTo>
                      <a:lnTo>
                        <a:pt x="2538" y="3904"/>
                      </a:lnTo>
                      <a:lnTo>
                        <a:pt x="2516" y="3906"/>
                      </a:lnTo>
                      <a:lnTo>
                        <a:pt x="2508" y="3906"/>
                      </a:lnTo>
                      <a:lnTo>
                        <a:pt x="2500" y="3904"/>
                      </a:lnTo>
                      <a:lnTo>
                        <a:pt x="2500" y="3904"/>
                      </a:lnTo>
                      <a:lnTo>
                        <a:pt x="2492" y="3904"/>
                      </a:lnTo>
                      <a:lnTo>
                        <a:pt x="2484" y="3906"/>
                      </a:lnTo>
                      <a:lnTo>
                        <a:pt x="2468" y="3914"/>
                      </a:lnTo>
                      <a:lnTo>
                        <a:pt x="2462" y="3916"/>
                      </a:lnTo>
                      <a:lnTo>
                        <a:pt x="2454" y="3916"/>
                      </a:lnTo>
                      <a:lnTo>
                        <a:pt x="2446" y="3910"/>
                      </a:lnTo>
                      <a:lnTo>
                        <a:pt x="2440" y="3900"/>
                      </a:lnTo>
                      <a:lnTo>
                        <a:pt x="2440" y="3900"/>
                      </a:lnTo>
                      <a:lnTo>
                        <a:pt x="2436" y="3886"/>
                      </a:lnTo>
                      <a:lnTo>
                        <a:pt x="2434" y="3874"/>
                      </a:lnTo>
                      <a:lnTo>
                        <a:pt x="2432" y="3860"/>
                      </a:lnTo>
                      <a:lnTo>
                        <a:pt x="2432" y="3854"/>
                      </a:lnTo>
                      <a:lnTo>
                        <a:pt x="2428" y="3852"/>
                      </a:lnTo>
                      <a:lnTo>
                        <a:pt x="2420" y="3850"/>
                      </a:lnTo>
                      <a:lnTo>
                        <a:pt x="2408" y="3848"/>
                      </a:lnTo>
                      <a:lnTo>
                        <a:pt x="2408" y="3848"/>
                      </a:lnTo>
                      <a:lnTo>
                        <a:pt x="2382" y="3848"/>
                      </a:lnTo>
                      <a:lnTo>
                        <a:pt x="2358" y="3852"/>
                      </a:lnTo>
                      <a:lnTo>
                        <a:pt x="2340" y="3856"/>
                      </a:lnTo>
                      <a:lnTo>
                        <a:pt x="2320" y="3862"/>
                      </a:lnTo>
                      <a:lnTo>
                        <a:pt x="2320" y="3862"/>
                      </a:lnTo>
                      <a:lnTo>
                        <a:pt x="2302" y="3868"/>
                      </a:lnTo>
                      <a:lnTo>
                        <a:pt x="2286" y="3876"/>
                      </a:lnTo>
                      <a:lnTo>
                        <a:pt x="2272" y="3880"/>
                      </a:lnTo>
                      <a:lnTo>
                        <a:pt x="2266" y="3880"/>
                      </a:lnTo>
                      <a:lnTo>
                        <a:pt x="2260" y="3878"/>
                      </a:lnTo>
                      <a:lnTo>
                        <a:pt x="2260" y="3878"/>
                      </a:lnTo>
                      <a:lnTo>
                        <a:pt x="2254" y="3876"/>
                      </a:lnTo>
                      <a:lnTo>
                        <a:pt x="2248" y="3878"/>
                      </a:lnTo>
                      <a:lnTo>
                        <a:pt x="2242" y="3882"/>
                      </a:lnTo>
                      <a:lnTo>
                        <a:pt x="2234" y="3888"/>
                      </a:lnTo>
                      <a:lnTo>
                        <a:pt x="2220" y="3900"/>
                      </a:lnTo>
                      <a:lnTo>
                        <a:pt x="2212" y="3912"/>
                      </a:lnTo>
                      <a:lnTo>
                        <a:pt x="2212" y="3912"/>
                      </a:lnTo>
                      <a:lnTo>
                        <a:pt x="2208" y="3914"/>
                      </a:lnTo>
                      <a:lnTo>
                        <a:pt x="2204" y="3914"/>
                      </a:lnTo>
                      <a:lnTo>
                        <a:pt x="2188" y="3908"/>
                      </a:lnTo>
                      <a:lnTo>
                        <a:pt x="2170" y="3894"/>
                      </a:lnTo>
                      <a:lnTo>
                        <a:pt x="2170" y="3894"/>
                      </a:lnTo>
                      <a:lnTo>
                        <a:pt x="2144" y="3888"/>
                      </a:lnTo>
                      <a:lnTo>
                        <a:pt x="2124" y="3884"/>
                      </a:lnTo>
                      <a:lnTo>
                        <a:pt x="2114" y="3882"/>
                      </a:lnTo>
                      <a:lnTo>
                        <a:pt x="2108" y="3884"/>
                      </a:lnTo>
                      <a:lnTo>
                        <a:pt x="2108" y="3884"/>
                      </a:lnTo>
                      <a:lnTo>
                        <a:pt x="2096" y="3886"/>
                      </a:lnTo>
                      <a:lnTo>
                        <a:pt x="2080" y="3886"/>
                      </a:lnTo>
                      <a:lnTo>
                        <a:pt x="2062" y="3886"/>
                      </a:lnTo>
                      <a:lnTo>
                        <a:pt x="2046" y="3888"/>
                      </a:lnTo>
                      <a:lnTo>
                        <a:pt x="2046" y="3888"/>
                      </a:lnTo>
                      <a:lnTo>
                        <a:pt x="2028" y="3892"/>
                      </a:lnTo>
                      <a:lnTo>
                        <a:pt x="2008" y="3900"/>
                      </a:lnTo>
                      <a:lnTo>
                        <a:pt x="1988" y="3906"/>
                      </a:lnTo>
                      <a:lnTo>
                        <a:pt x="1970" y="3910"/>
                      </a:lnTo>
                      <a:lnTo>
                        <a:pt x="1970" y="3910"/>
                      </a:lnTo>
                      <a:lnTo>
                        <a:pt x="1938" y="3916"/>
                      </a:lnTo>
                      <a:lnTo>
                        <a:pt x="1920" y="3920"/>
                      </a:lnTo>
                      <a:lnTo>
                        <a:pt x="1898" y="3920"/>
                      </a:lnTo>
                      <a:lnTo>
                        <a:pt x="1898" y="3920"/>
                      </a:lnTo>
                      <a:lnTo>
                        <a:pt x="1872" y="3922"/>
                      </a:lnTo>
                      <a:lnTo>
                        <a:pt x="1848" y="3926"/>
                      </a:lnTo>
                      <a:lnTo>
                        <a:pt x="1826" y="3932"/>
                      </a:lnTo>
                      <a:lnTo>
                        <a:pt x="1812" y="3936"/>
                      </a:lnTo>
                      <a:lnTo>
                        <a:pt x="1812" y="3936"/>
                      </a:lnTo>
                      <a:lnTo>
                        <a:pt x="1800" y="3942"/>
                      </a:lnTo>
                      <a:lnTo>
                        <a:pt x="1786" y="3952"/>
                      </a:lnTo>
                      <a:lnTo>
                        <a:pt x="1770" y="3966"/>
                      </a:lnTo>
                      <a:lnTo>
                        <a:pt x="1770" y="3966"/>
                      </a:lnTo>
                      <a:lnTo>
                        <a:pt x="1720" y="3940"/>
                      </a:lnTo>
                      <a:lnTo>
                        <a:pt x="1662" y="3910"/>
                      </a:lnTo>
                      <a:lnTo>
                        <a:pt x="1662" y="3910"/>
                      </a:lnTo>
                      <a:lnTo>
                        <a:pt x="1650" y="3904"/>
                      </a:lnTo>
                      <a:lnTo>
                        <a:pt x="1634" y="3898"/>
                      </a:lnTo>
                      <a:lnTo>
                        <a:pt x="1614" y="3892"/>
                      </a:lnTo>
                      <a:lnTo>
                        <a:pt x="1604" y="3890"/>
                      </a:lnTo>
                      <a:lnTo>
                        <a:pt x="1594" y="3890"/>
                      </a:lnTo>
                      <a:lnTo>
                        <a:pt x="1594" y="3890"/>
                      </a:lnTo>
                      <a:lnTo>
                        <a:pt x="1558" y="3888"/>
                      </a:lnTo>
                      <a:lnTo>
                        <a:pt x="1542" y="3886"/>
                      </a:lnTo>
                      <a:lnTo>
                        <a:pt x="1542" y="3886"/>
                      </a:lnTo>
                      <a:lnTo>
                        <a:pt x="1518" y="3878"/>
                      </a:lnTo>
                      <a:lnTo>
                        <a:pt x="1498" y="3872"/>
                      </a:lnTo>
                      <a:lnTo>
                        <a:pt x="1488" y="3870"/>
                      </a:lnTo>
                      <a:lnTo>
                        <a:pt x="1478" y="3868"/>
                      </a:lnTo>
                      <a:lnTo>
                        <a:pt x="1478" y="3868"/>
                      </a:lnTo>
                      <a:lnTo>
                        <a:pt x="1462" y="3868"/>
                      </a:lnTo>
                      <a:lnTo>
                        <a:pt x="1446" y="3866"/>
                      </a:lnTo>
                      <a:lnTo>
                        <a:pt x="1432" y="3860"/>
                      </a:lnTo>
                      <a:lnTo>
                        <a:pt x="1424" y="3856"/>
                      </a:lnTo>
                      <a:lnTo>
                        <a:pt x="1424" y="3856"/>
                      </a:lnTo>
                      <a:lnTo>
                        <a:pt x="1420" y="3854"/>
                      </a:lnTo>
                      <a:lnTo>
                        <a:pt x="1412" y="3852"/>
                      </a:lnTo>
                      <a:lnTo>
                        <a:pt x="1388" y="3846"/>
                      </a:lnTo>
                      <a:lnTo>
                        <a:pt x="1378" y="3842"/>
                      </a:lnTo>
                      <a:lnTo>
                        <a:pt x="1368" y="3836"/>
                      </a:lnTo>
                      <a:lnTo>
                        <a:pt x="1364" y="3832"/>
                      </a:lnTo>
                      <a:lnTo>
                        <a:pt x="1362" y="3828"/>
                      </a:lnTo>
                      <a:lnTo>
                        <a:pt x="1362" y="3824"/>
                      </a:lnTo>
                      <a:lnTo>
                        <a:pt x="1362" y="3818"/>
                      </a:lnTo>
                      <a:lnTo>
                        <a:pt x="1362" y="3818"/>
                      </a:lnTo>
                      <a:lnTo>
                        <a:pt x="1366" y="3800"/>
                      </a:lnTo>
                      <a:lnTo>
                        <a:pt x="1368" y="3794"/>
                      </a:lnTo>
                      <a:lnTo>
                        <a:pt x="1372" y="3792"/>
                      </a:lnTo>
                      <a:lnTo>
                        <a:pt x="1376" y="3788"/>
                      </a:lnTo>
                      <a:lnTo>
                        <a:pt x="1382" y="3788"/>
                      </a:lnTo>
                      <a:lnTo>
                        <a:pt x="1398" y="3786"/>
                      </a:lnTo>
                      <a:lnTo>
                        <a:pt x="1398" y="3786"/>
                      </a:lnTo>
                      <a:lnTo>
                        <a:pt x="1408" y="3784"/>
                      </a:lnTo>
                      <a:lnTo>
                        <a:pt x="1418" y="3784"/>
                      </a:lnTo>
                      <a:lnTo>
                        <a:pt x="1432" y="3786"/>
                      </a:lnTo>
                      <a:lnTo>
                        <a:pt x="1438" y="3786"/>
                      </a:lnTo>
                      <a:lnTo>
                        <a:pt x="1440" y="3784"/>
                      </a:lnTo>
                      <a:lnTo>
                        <a:pt x="1442" y="3778"/>
                      </a:lnTo>
                      <a:lnTo>
                        <a:pt x="1440" y="3770"/>
                      </a:lnTo>
                      <a:lnTo>
                        <a:pt x="1440" y="3770"/>
                      </a:lnTo>
                      <a:lnTo>
                        <a:pt x="1434" y="3750"/>
                      </a:lnTo>
                      <a:lnTo>
                        <a:pt x="1426" y="3730"/>
                      </a:lnTo>
                      <a:lnTo>
                        <a:pt x="1422" y="3720"/>
                      </a:lnTo>
                      <a:lnTo>
                        <a:pt x="1420" y="3712"/>
                      </a:lnTo>
                      <a:lnTo>
                        <a:pt x="1420" y="3704"/>
                      </a:lnTo>
                      <a:lnTo>
                        <a:pt x="1424" y="3696"/>
                      </a:lnTo>
                      <a:lnTo>
                        <a:pt x="1424" y="3696"/>
                      </a:lnTo>
                      <a:lnTo>
                        <a:pt x="1446" y="3662"/>
                      </a:lnTo>
                      <a:lnTo>
                        <a:pt x="1456" y="3648"/>
                      </a:lnTo>
                      <a:lnTo>
                        <a:pt x="1460" y="3644"/>
                      </a:lnTo>
                      <a:lnTo>
                        <a:pt x="1464" y="3642"/>
                      </a:lnTo>
                      <a:lnTo>
                        <a:pt x="1464" y="3642"/>
                      </a:lnTo>
                      <a:lnTo>
                        <a:pt x="1472" y="3646"/>
                      </a:lnTo>
                      <a:lnTo>
                        <a:pt x="1480" y="3650"/>
                      </a:lnTo>
                      <a:lnTo>
                        <a:pt x="1482" y="3650"/>
                      </a:lnTo>
                      <a:lnTo>
                        <a:pt x="1474" y="3642"/>
                      </a:lnTo>
                      <a:lnTo>
                        <a:pt x="1474" y="3642"/>
                      </a:lnTo>
                      <a:lnTo>
                        <a:pt x="1460" y="3628"/>
                      </a:lnTo>
                      <a:lnTo>
                        <a:pt x="1444" y="3616"/>
                      </a:lnTo>
                      <a:lnTo>
                        <a:pt x="1432" y="3606"/>
                      </a:lnTo>
                      <a:lnTo>
                        <a:pt x="1426" y="3598"/>
                      </a:lnTo>
                      <a:lnTo>
                        <a:pt x="1426" y="3598"/>
                      </a:lnTo>
                      <a:lnTo>
                        <a:pt x="1426" y="3588"/>
                      </a:lnTo>
                      <a:lnTo>
                        <a:pt x="1428" y="3574"/>
                      </a:lnTo>
                      <a:lnTo>
                        <a:pt x="1432" y="3566"/>
                      </a:lnTo>
                      <a:lnTo>
                        <a:pt x="1436" y="3556"/>
                      </a:lnTo>
                      <a:lnTo>
                        <a:pt x="1442" y="3550"/>
                      </a:lnTo>
                      <a:lnTo>
                        <a:pt x="1448" y="3542"/>
                      </a:lnTo>
                      <a:lnTo>
                        <a:pt x="1448" y="3542"/>
                      </a:lnTo>
                      <a:lnTo>
                        <a:pt x="1462" y="3532"/>
                      </a:lnTo>
                      <a:lnTo>
                        <a:pt x="1468" y="3524"/>
                      </a:lnTo>
                      <a:lnTo>
                        <a:pt x="1486" y="3496"/>
                      </a:lnTo>
                      <a:lnTo>
                        <a:pt x="1486" y="3496"/>
                      </a:lnTo>
                      <a:lnTo>
                        <a:pt x="1494" y="3486"/>
                      </a:lnTo>
                      <a:lnTo>
                        <a:pt x="1502" y="3478"/>
                      </a:lnTo>
                      <a:lnTo>
                        <a:pt x="1516" y="3466"/>
                      </a:lnTo>
                      <a:lnTo>
                        <a:pt x="1520" y="3462"/>
                      </a:lnTo>
                      <a:lnTo>
                        <a:pt x="1522" y="3460"/>
                      </a:lnTo>
                      <a:lnTo>
                        <a:pt x="1520" y="3456"/>
                      </a:lnTo>
                      <a:lnTo>
                        <a:pt x="1514" y="3452"/>
                      </a:lnTo>
                      <a:lnTo>
                        <a:pt x="1514" y="3452"/>
                      </a:lnTo>
                      <a:lnTo>
                        <a:pt x="1504" y="3448"/>
                      </a:lnTo>
                      <a:lnTo>
                        <a:pt x="1494" y="3446"/>
                      </a:lnTo>
                      <a:lnTo>
                        <a:pt x="1484" y="3448"/>
                      </a:lnTo>
                      <a:lnTo>
                        <a:pt x="1476" y="3452"/>
                      </a:lnTo>
                      <a:lnTo>
                        <a:pt x="1456" y="3460"/>
                      </a:lnTo>
                      <a:lnTo>
                        <a:pt x="1438" y="3468"/>
                      </a:lnTo>
                      <a:lnTo>
                        <a:pt x="1438" y="3468"/>
                      </a:lnTo>
                      <a:lnTo>
                        <a:pt x="1428" y="3474"/>
                      </a:lnTo>
                      <a:lnTo>
                        <a:pt x="1418" y="3482"/>
                      </a:lnTo>
                      <a:lnTo>
                        <a:pt x="1402" y="3496"/>
                      </a:lnTo>
                      <a:lnTo>
                        <a:pt x="1396" y="3500"/>
                      </a:lnTo>
                      <a:lnTo>
                        <a:pt x="1390" y="3500"/>
                      </a:lnTo>
                      <a:lnTo>
                        <a:pt x="1388" y="3498"/>
                      </a:lnTo>
                      <a:lnTo>
                        <a:pt x="1386" y="3496"/>
                      </a:lnTo>
                      <a:lnTo>
                        <a:pt x="1384" y="3486"/>
                      </a:lnTo>
                      <a:lnTo>
                        <a:pt x="1384" y="3486"/>
                      </a:lnTo>
                      <a:lnTo>
                        <a:pt x="1382" y="3462"/>
                      </a:lnTo>
                      <a:lnTo>
                        <a:pt x="1382" y="3444"/>
                      </a:lnTo>
                      <a:lnTo>
                        <a:pt x="1382" y="3436"/>
                      </a:lnTo>
                      <a:lnTo>
                        <a:pt x="1384" y="3428"/>
                      </a:lnTo>
                      <a:lnTo>
                        <a:pt x="1388" y="3422"/>
                      </a:lnTo>
                      <a:lnTo>
                        <a:pt x="1396" y="3414"/>
                      </a:lnTo>
                      <a:lnTo>
                        <a:pt x="1396" y="3414"/>
                      </a:lnTo>
                      <a:lnTo>
                        <a:pt x="1404" y="3406"/>
                      </a:lnTo>
                      <a:lnTo>
                        <a:pt x="1410" y="3398"/>
                      </a:lnTo>
                      <a:lnTo>
                        <a:pt x="1420" y="3378"/>
                      </a:lnTo>
                      <a:lnTo>
                        <a:pt x="1426" y="3370"/>
                      </a:lnTo>
                      <a:lnTo>
                        <a:pt x="1432" y="3362"/>
                      </a:lnTo>
                      <a:lnTo>
                        <a:pt x="1438" y="3356"/>
                      </a:lnTo>
                      <a:lnTo>
                        <a:pt x="1448" y="3354"/>
                      </a:lnTo>
                      <a:lnTo>
                        <a:pt x="1448" y="3354"/>
                      </a:lnTo>
                      <a:lnTo>
                        <a:pt x="1458" y="3354"/>
                      </a:lnTo>
                      <a:lnTo>
                        <a:pt x="1468" y="3354"/>
                      </a:lnTo>
                      <a:lnTo>
                        <a:pt x="1484" y="3358"/>
                      </a:lnTo>
                      <a:lnTo>
                        <a:pt x="1490" y="3358"/>
                      </a:lnTo>
                      <a:lnTo>
                        <a:pt x="1494" y="3354"/>
                      </a:lnTo>
                      <a:lnTo>
                        <a:pt x="1500" y="3348"/>
                      </a:lnTo>
                      <a:lnTo>
                        <a:pt x="1502" y="3336"/>
                      </a:lnTo>
                      <a:lnTo>
                        <a:pt x="1502" y="3336"/>
                      </a:lnTo>
                      <a:lnTo>
                        <a:pt x="1506" y="3324"/>
                      </a:lnTo>
                      <a:lnTo>
                        <a:pt x="1512" y="3314"/>
                      </a:lnTo>
                      <a:lnTo>
                        <a:pt x="1522" y="3298"/>
                      </a:lnTo>
                      <a:lnTo>
                        <a:pt x="1524" y="3290"/>
                      </a:lnTo>
                      <a:lnTo>
                        <a:pt x="1524" y="3282"/>
                      </a:lnTo>
                      <a:lnTo>
                        <a:pt x="1518" y="3276"/>
                      </a:lnTo>
                      <a:lnTo>
                        <a:pt x="1506" y="3266"/>
                      </a:lnTo>
                      <a:lnTo>
                        <a:pt x="1506" y="3266"/>
                      </a:lnTo>
                      <a:lnTo>
                        <a:pt x="1492" y="3260"/>
                      </a:lnTo>
                      <a:lnTo>
                        <a:pt x="1480" y="3256"/>
                      </a:lnTo>
                      <a:lnTo>
                        <a:pt x="1458" y="3250"/>
                      </a:lnTo>
                      <a:lnTo>
                        <a:pt x="1450" y="3246"/>
                      </a:lnTo>
                      <a:lnTo>
                        <a:pt x="1446" y="3240"/>
                      </a:lnTo>
                      <a:lnTo>
                        <a:pt x="1444" y="3232"/>
                      </a:lnTo>
                      <a:lnTo>
                        <a:pt x="1446" y="3220"/>
                      </a:lnTo>
                      <a:lnTo>
                        <a:pt x="1446" y="3220"/>
                      </a:lnTo>
                      <a:lnTo>
                        <a:pt x="1448" y="3208"/>
                      </a:lnTo>
                      <a:lnTo>
                        <a:pt x="1448" y="3198"/>
                      </a:lnTo>
                      <a:lnTo>
                        <a:pt x="1446" y="3188"/>
                      </a:lnTo>
                      <a:lnTo>
                        <a:pt x="1444" y="3182"/>
                      </a:lnTo>
                      <a:lnTo>
                        <a:pt x="1440" y="3174"/>
                      </a:lnTo>
                      <a:lnTo>
                        <a:pt x="1436" y="3172"/>
                      </a:lnTo>
                      <a:lnTo>
                        <a:pt x="1436" y="3172"/>
                      </a:lnTo>
                      <a:lnTo>
                        <a:pt x="1448" y="3162"/>
                      </a:lnTo>
                      <a:lnTo>
                        <a:pt x="1454" y="3152"/>
                      </a:lnTo>
                      <a:lnTo>
                        <a:pt x="1458" y="3146"/>
                      </a:lnTo>
                      <a:lnTo>
                        <a:pt x="1460" y="3140"/>
                      </a:lnTo>
                      <a:lnTo>
                        <a:pt x="1460" y="3140"/>
                      </a:lnTo>
                      <a:lnTo>
                        <a:pt x="1464" y="3112"/>
                      </a:lnTo>
                      <a:lnTo>
                        <a:pt x="1462" y="3102"/>
                      </a:lnTo>
                      <a:lnTo>
                        <a:pt x="1462" y="3096"/>
                      </a:lnTo>
                      <a:lnTo>
                        <a:pt x="1458" y="3092"/>
                      </a:lnTo>
                      <a:lnTo>
                        <a:pt x="1458" y="3092"/>
                      </a:lnTo>
                      <a:lnTo>
                        <a:pt x="1456" y="3088"/>
                      </a:lnTo>
                      <a:lnTo>
                        <a:pt x="1456" y="3084"/>
                      </a:lnTo>
                      <a:lnTo>
                        <a:pt x="1454" y="3082"/>
                      </a:lnTo>
                      <a:lnTo>
                        <a:pt x="1452" y="3078"/>
                      </a:lnTo>
                      <a:lnTo>
                        <a:pt x="1450" y="3076"/>
                      </a:lnTo>
                      <a:lnTo>
                        <a:pt x="1444" y="3074"/>
                      </a:lnTo>
                      <a:lnTo>
                        <a:pt x="1420" y="3074"/>
                      </a:lnTo>
                      <a:lnTo>
                        <a:pt x="1420" y="3074"/>
                      </a:lnTo>
                      <a:lnTo>
                        <a:pt x="1388" y="3076"/>
                      </a:lnTo>
                      <a:lnTo>
                        <a:pt x="1360" y="3078"/>
                      </a:lnTo>
                      <a:lnTo>
                        <a:pt x="1336" y="3080"/>
                      </a:lnTo>
                      <a:lnTo>
                        <a:pt x="1318" y="3080"/>
                      </a:lnTo>
                      <a:lnTo>
                        <a:pt x="1318" y="3080"/>
                      </a:lnTo>
                      <a:lnTo>
                        <a:pt x="1286" y="3072"/>
                      </a:lnTo>
                      <a:lnTo>
                        <a:pt x="1268" y="3070"/>
                      </a:lnTo>
                      <a:lnTo>
                        <a:pt x="1260" y="3070"/>
                      </a:lnTo>
                      <a:lnTo>
                        <a:pt x="1250" y="3072"/>
                      </a:lnTo>
                      <a:lnTo>
                        <a:pt x="1250" y="3072"/>
                      </a:lnTo>
                      <a:lnTo>
                        <a:pt x="1228" y="3082"/>
                      </a:lnTo>
                      <a:lnTo>
                        <a:pt x="1164" y="3052"/>
                      </a:lnTo>
                      <a:lnTo>
                        <a:pt x="1114" y="3080"/>
                      </a:lnTo>
                      <a:lnTo>
                        <a:pt x="1114" y="3080"/>
                      </a:lnTo>
                      <a:lnTo>
                        <a:pt x="1104" y="3076"/>
                      </a:lnTo>
                      <a:lnTo>
                        <a:pt x="1094" y="3076"/>
                      </a:lnTo>
                      <a:lnTo>
                        <a:pt x="1088" y="3078"/>
                      </a:lnTo>
                      <a:lnTo>
                        <a:pt x="1082" y="3080"/>
                      </a:lnTo>
                      <a:lnTo>
                        <a:pt x="1082" y="3080"/>
                      </a:lnTo>
                      <a:lnTo>
                        <a:pt x="1074" y="3086"/>
                      </a:lnTo>
                      <a:lnTo>
                        <a:pt x="1066" y="3088"/>
                      </a:lnTo>
                      <a:lnTo>
                        <a:pt x="1058" y="3088"/>
                      </a:lnTo>
                      <a:lnTo>
                        <a:pt x="1046" y="3082"/>
                      </a:lnTo>
                      <a:lnTo>
                        <a:pt x="1046" y="3082"/>
                      </a:lnTo>
                      <a:lnTo>
                        <a:pt x="1040" y="3080"/>
                      </a:lnTo>
                      <a:lnTo>
                        <a:pt x="1034" y="3082"/>
                      </a:lnTo>
                      <a:lnTo>
                        <a:pt x="1028" y="3086"/>
                      </a:lnTo>
                      <a:lnTo>
                        <a:pt x="1022" y="3090"/>
                      </a:lnTo>
                      <a:lnTo>
                        <a:pt x="1010" y="3100"/>
                      </a:lnTo>
                      <a:lnTo>
                        <a:pt x="1004" y="3102"/>
                      </a:lnTo>
                      <a:lnTo>
                        <a:pt x="1000" y="3100"/>
                      </a:lnTo>
                      <a:lnTo>
                        <a:pt x="1000" y="3100"/>
                      </a:lnTo>
                      <a:lnTo>
                        <a:pt x="992" y="3094"/>
                      </a:lnTo>
                      <a:lnTo>
                        <a:pt x="986" y="3088"/>
                      </a:lnTo>
                      <a:lnTo>
                        <a:pt x="982" y="3082"/>
                      </a:lnTo>
                      <a:lnTo>
                        <a:pt x="982" y="3072"/>
                      </a:lnTo>
                      <a:lnTo>
                        <a:pt x="982" y="3072"/>
                      </a:lnTo>
                      <a:lnTo>
                        <a:pt x="982" y="3068"/>
                      </a:lnTo>
                      <a:lnTo>
                        <a:pt x="984" y="3064"/>
                      </a:lnTo>
                      <a:lnTo>
                        <a:pt x="986" y="3062"/>
                      </a:lnTo>
                      <a:lnTo>
                        <a:pt x="986" y="3060"/>
                      </a:lnTo>
                      <a:lnTo>
                        <a:pt x="986" y="3056"/>
                      </a:lnTo>
                      <a:lnTo>
                        <a:pt x="976" y="3040"/>
                      </a:lnTo>
                      <a:lnTo>
                        <a:pt x="976" y="3040"/>
                      </a:lnTo>
                      <a:lnTo>
                        <a:pt x="968" y="3028"/>
                      </a:lnTo>
                      <a:lnTo>
                        <a:pt x="956" y="3018"/>
                      </a:lnTo>
                      <a:lnTo>
                        <a:pt x="944" y="3010"/>
                      </a:lnTo>
                      <a:lnTo>
                        <a:pt x="932" y="3002"/>
                      </a:lnTo>
                      <a:lnTo>
                        <a:pt x="910" y="2992"/>
                      </a:lnTo>
                      <a:lnTo>
                        <a:pt x="902" y="2988"/>
                      </a:lnTo>
                      <a:lnTo>
                        <a:pt x="902" y="2988"/>
                      </a:lnTo>
                      <a:lnTo>
                        <a:pt x="894" y="2994"/>
                      </a:lnTo>
                      <a:lnTo>
                        <a:pt x="886" y="2998"/>
                      </a:lnTo>
                      <a:lnTo>
                        <a:pt x="882" y="3000"/>
                      </a:lnTo>
                      <a:lnTo>
                        <a:pt x="880" y="2998"/>
                      </a:lnTo>
                      <a:lnTo>
                        <a:pt x="880" y="2998"/>
                      </a:lnTo>
                      <a:lnTo>
                        <a:pt x="878" y="2998"/>
                      </a:lnTo>
                      <a:lnTo>
                        <a:pt x="876" y="3000"/>
                      </a:lnTo>
                      <a:lnTo>
                        <a:pt x="874" y="3002"/>
                      </a:lnTo>
                      <a:lnTo>
                        <a:pt x="870" y="3004"/>
                      </a:lnTo>
                      <a:lnTo>
                        <a:pt x="868" y="3004"/>
                      </a:lnTo>
                      <a:lnTo>
                        <a:pt x="862" y="3002"/>
                      </a:lnTo>
                      <a:lnTo>
                        <a:pt x="856" y="2992"/>
                      </a:lnTo>
                      <a:lnTo>
                        <a:pt x="848" y="2978"/>
                      </a:lnTo>
                      <a:lnTo>
                        <a:pt x="848" y="2978"/>
                      </a:lnTo>
                      <a:lnTo>
                        <a:pt x="840" y="2962"/>
                      </a:lnTo>
                      <a:lnTo>
                        <a:pt x="836" y="2950"/>
                      </a:lnTo>
                      <a:lnTo>
                        <a:pt x="834" y="2940"/>
                      </a:lnTo>
                      <a:lnTo>
                        <a:pt x="834" y="2932"/>
                      </a:lnTo>
                      <a:lnTo>
                        <a:pt x="834" y="2926"/>
                      </a:lnTo>
                      <a:lnTo>
                        <a:pt x="836" y="2924"/>
                      </a:lnTo>
                      <a:lnTo>
                        <a:pt x="838" y="2920"/>
                      </a:lnTo>
                      <a:lnTo>
                        <a:pt x="838" y="2920"/>
                      </a:lnTo>
                      <a:lnTo>
                        <a:pt x="804" y="2888"/>
                      </a:lnTo>
                      <a:lnTo>
                        <a:pt x="804" y="2888"/>
                      </a:lnTo>
                      <a:lnTo>
                        <a:pt x="788" y="2876"/>
                      </a:lnTo>
                      <a:lnTo>
                        <a:pt x="770" y="2864"/>
                      </a:lnTo>
                      <a:lnTo>
                        <a:pt x="762" y="2860"/>
                      </a:lnTo>
                      <a:lnTo>
                        <a:pt x="752" y="2858"/>
                      </a:lnTo>
                      <a:lnTo>
                        <a:pt x="742" y="2858"/>
                      </a:lnTo>
                      <a:lnTo>
                        <a:pt x="734" y="2860"/>
                      </a:lnTo>
                      <a:lnTo>
                        <a:pt x="734" y="2860"/>
                      </a:lnTo>
                      <a:lnTo>
                        <a:pt x="714" y="2866"/>
                      </a:lnTo>
                      <a:lnTo>
                        <a:pt x="696" y="2870"/>
                      </a:lnTo>
                      <a:lnTo>
                        <a:pt x="668" y="2874"/>
                      </a:lnTo>
                      <a:lnTo>
                        <a:pt x="668" y="2874"/>
                      </a:lnTo>
                      <a:lnTo>
                        <a:pt x="658" y="2878"/>
                      </a:lnTo>
                      <a:lnTo>
                        <a:pt x="646" y="2884"/>
                      </a:lnTo>
                      <a:lnTo>
                        <a:pt x="634" y="2890"/>
                      </a:lnTo>
                      <a:lnTo>
                        <a:pt x="628" y="2896"/>
                      </a:lnTo>
                      <a:lnTo>
                        <a:pt x="628" y="2896"/>
                      </a:lnTo>
                      <a:lnTo>
                        <a:pt x="622" y="2904"/>
                      </a:lnTo>
                      <a:lnTo>
                        <a:pt x="614" y="2912"/>
                      </a:lnTo>
                      <a:lnTo>
                        <a:pt x="608" y="2914"/>
                      </a:lnTo>
                      <a:lnTo>
                        <a:pt x="602" y="2914"/>
                      </a:lnTo>
                      <a:lnTo>
                        <a:pt x="596" y="2912"/>
                      </a:lnTo>
                      <a:lnTo>
                        <a:pt x="590" y="2904"/>
                      </a:lnTo>
                      <a:lnTo>
                        <a:pt x="590" y="2904"/>
                      </a:lnTo>
                      <a:lnTo>
                        <a:pt x="580" y="2882"/>
                      </a:lnTo>
                      <a:lnTo>
                        <a:pt x="570" y="2862"/>
                      </a:lnTo>
                      <a:lnTo>
                        <a:pt x="560" y="2844"/>
                      </a:lnTo>
                      <a:lnTo>
                        <a:pt x="548" y="2828"/>
                      </a:lnTo>
                      <a:lnTo>
                        <a:pt x="548" y="2828"/>
                      </a:lnTo>
                      <a:lnTo>
                        <a:pt x="534" y="2808"/>
                      </a:lnTo>
                      <a:lnTo>
                        <a:pt x="526" y="2796"/>
                      </a:lnTo>
                      <a:lnTo>
                        <a:pt x="522" y="2786"/>
                      </a:lnTo>
                      <a:lnTo>
                        <a:pt x="520" y="2774"/>
                      </a:lnTo>
                      <a:lnTo>
                        <a:pt x="520" y="2770"/>
                      </a:lnTo>
                      <a:lnTo>
                        <a:pt x="522" y="2766"/>
                      </a:lnTo>
                      <a:lnTo>
                        <a:pt x="526" y="2762"/>
                      </a:lnTo>
                      <a:lnTo>
                        <a:pt x="530" y="2760"/>
                      </a:lnTo>
                      <a:lnTo>
                        <a:pt x="536" y="2758"/>
                      </a:lnTo>
                      <a:lnTo>
                        <a:pt x="542" y="2758"/>
                      </a:lnTo>
                      <a:lnTo>
                        <a:pt x="542" y="2758"/>
                      </a:lnTo>
                      <a:lnTo>
                        <a:pt x="570" y="2760"/>
                      </a:lnTo>
                      <a:lnTo>
                        <a:pt x="586" y="2764"/>
                      </a:lnTo>
                      <a:lnTo>
                        <a:pt x="594" y="2768"/>
                      </a:lnTo>
                      <a:lnTo>
                        <a:pt x="598" y="2770"/>
                      </a:lnTo>
                      <a:lnTo>
                        <a:pt x="628" y="2720"/>
                      </a:lnTo>
                      <a:lnTo>
                        <a:pt x="628" y="2720"/>
                      </a:lnTo>
                      <a:lnTo>
                        <a:pt x="632" y="2716"/>
                      </a:lnTo>
                      <a:lnTo>
                        <a:pt x="638" y="2706"/>
                      </a:lnTo>
                      <a:lnTo>
                        <a:pt x="640" y="2698"/>
                      </a:lnTo>
                      <a:lnTo>
                        <a:pt x="640" y="2692"/>
                      </a:lnTo>
                      <a:lnTo>
                        <a:pt x="638" y="2686"/>
                      </a:lnTo>
                      <a:lnTo>
                        <a:pt x="634" y="2682"/>
                      </a:lnTo>
                      <a:lnTo>
                        <a:pt x="634" y="2682"/>
                      </a:lnTo>
                      <a:lnTo>
                        <a:pt x="608" y="2664"/>
                      </a:lnTo>
                      <a:lnTo>
                        <a:pt x="596" y="2658"/>
                      </a:lnTo>
                      <a:lnTo>
                        <a:pt x="588" y="2658"/>
                      </a:lnTo>
                      <a:lnTo>
                        <a:pt x="582" y="2658"/>
                      </a:lnTo>
                      <a:lnTo>
                        <a:pt x="582" y="2658"/>
                      </a:lnTo>
                      <a:lnTo>
                        <a:pt x="560" y="2662"/>
                      </a:lnTo>
                      <a:lnTo>
                        <a:pt x="550" y="2664"/>
                      </a:lnTo>
                      <a:lnTo>
                        <a:pt x="528" y="2644"/>
                      </a:lnTo>
                      <a:lnTo>
                        <a:pt x="528" y="2644"/>
                      </a:lnTo>
                      <a:lnTo>
                        <a:pt x="530" y="2646"/>
                      </a:lnTo>
                      <a:lnTo>
                        <a:pt x="534" y="2644"/>
                      </a:lnTo>
                      <a:lnTo>
                        <a:pt x="536" y="2640"/>
                      </a:lnTo>
                      <a:lnTo>
                        <a:pt x="534" y="2636"/>
                      </a:lnTo>
                      <a:lnTo>
                        <a:pt x="532" y="2630"/>
                      </a:lnTo>
                      <a:lnTo>
                        <a:pt x="528" y="2622"/>
                      </a:lnTo>
                      <a:lnTo>
                        <a:pt x="528" y="2622"/>
                      </a:lnTo>
                      <a:lnTo>
                        <a:pt x="522" y="2614"/>
                      </a:lnTo>
                      <a:lnTo>
                        <a:pt x="518" y="2610"/>
                      </a:lnTo>
                      <a:lnTo>
                        <a:pt x="514" y="2608"/>
                      </a:lnTo>
                      <a:lnTo>
                        <a:pt x="510" y="2608"/>
                      </a:lnTo>
                      <a:lnTo>
                        <a:pt x="506" y="2606"/>
                      </a:lnTo>
                      <a:lnTo>
                        <a:pt x="500" y="2602"/>
                      </a:lnTo>
                      <a:lnTo>
                        <a:pt x="492" y="2596"/>
                      </a:lnTo>
                      <a:lnTo>
                        <a:pt x="484" y="2582"/>
                      </a:lnTo>
                      <a:lnTo>
                        <a:pt x="484" y="2582"/>
                      </a:lnTo>
                      <a:lnTo>
                        <a:pt x="474" y="2570"/>
                      </a:lnTo>
                      <a:lnTo>
                        <a:pt x="464" y="2562"/>
                      </a:lnTo>
                      <a:lnTo>
                        <a:pt x="448" y="2556"/>
                      </a:lnTo>
                      <a:lnTo>
                        <a:pt x="442" y="2552"/>
                      </a:lnTo>
                      <a:lnTo>
                        <a:pt x="438" y="2544"/>
                      </a:lnTo>
                      <a:lnTo>
                        <a:pt x="436" y="2530"/>
                      </a:lnTo>
                      <a:lnTo>
                        <a:pt x="436" y="2510"/>
                      </a:lnTo>
                      <a:lnTo>
                        <a:pt x="436" y="2510"/>
                      </a:lnTo>
                      <a:lnTo>
                        <a:pt x="438" y="2486"/>
                      </a:lnTo>
                      <a:lnTo>
                        <a:pt x="440" y="2470"/>
                      </a:lnTo>
                      <a:lnTo>
                        <a:pt x="444" y="2446"/>
                      </a:lnTo>
                      <a:lnTo>
                        <a:pt x="444" y="2436"/>
                      </a:lnTo>
                      <a:lnTo>
                        <a:pt x="442" y="2430"/>
                      </a:lnTo>
                      <a:lnTo>
                        <a:pt x="436" y="2424"/>
                      </a:lnTo>
                      <a:lnTo>
                        <a:pt x="426" y="2416"/>
                      </a:lnTo>
                      <a:lnTo>
                        <a:pt x="426" y="2416"/>
                      </a:lnTo>
                      <a:lnTo>
                        <a:pt x="416" y="2410"/>
                      </a:lnTo>
                      <a:lnTo>
                        <a:pt x="410" y="2404"/>
                      </a:lnTo>
                      <a:lnTo>
                        <a:pt x="400" y="2396"/>
                      </a:lnTo>
                      <a:lnTo>
                        <a:pt x="396" y="2392"/>
                      </a:lnTo>
                      <a:lnTo>
                        <a:pt x="390" y="2390"/>
                      </a:lnTo>
                      <a:lnTo>
                        <a:pt x="370" y="2388"/>
                      </a:lnTo>
                      <a:lnTo>
                        <a:pt x="370" y="2388"/>
                      </a:lnTo>
                      <a:lnTo>
                        <a:pt x="350" y="2386"/>
                      </a:lnTo>
                      <a:lnTo>
                        <a:pt x="338" y="2382"/>
                      </a:lnTo>
                      <a:lnTo>
                        <a:pt x="324" y="2378"/>
                      </a:lnTo>
                      <a:lnTo>
                        <a:pt x="298" y="2374"/>
                      </a:lnTo>
                      <a:lnTo>
                        <a:pt x="298" y="2374"/>
                      </a:lnTo>
                      <a:lnTo>
                        <a:pt x="268" y="2368"/>
                      </a:lnTo>
                      <a:lnTo>
                        <a:pt x="244" y="2362"/>
                      </a:lnTo>
                      <a:lnTo>
                        <a:pt x="226" y="2356"/>
                      </a:lnTo>
                      <a:lnTo>
                        <a:pt x="212" y="2352"/>
                      </a:lnTo>
                      <a:lnTo>
                        <a:pt x="212" y="2352"/>
                      </a:lnTo>
                      <a:lnTo>
                        <a:pt x="204" y="2352"/>
                      </a:lnTo>
                      <a:lnTo>
                        <a:pt x="196" y="2348"/>
                      </a:lnTo>
                      <a:lnTo>
                        <a:pt x="190" y="2344"/>
                      </a:lnTo>
                      <a:lnTo>
                        <a:pt x="184" y="2338"/>
                      </a:lnTo>
                      <a:lnTo>
                        <a:pt x="174" y="2324"/>
                      </a:lnTo>
                      <a:lnTo>
                        <a:pt x="164" y="2306"/>
                      </a:lnTo>
                      <a:lnTo>
                        <a:pt x="164" y="2306"/>
                      </a:lnTo>
                      <a:lnTo>
                        <a:pt x="160" y="2296"/>
                      </a:lnTo>
                      <a:lnTo>
                        <a:pt x="152" y="2288"/>
                      </a:lnTo>
                      <a:lnTo>
                        <a:pt x="138" y="2272"/>
                      </a:lnTo>
                      <a:lnTo>
                        <a:pt x="132" y="2264"/>
                      </a:lnTo>
                      <a:lnTo>
                        <a:pt x="126" y="2252"/>
                      </a:lnTo>
                      <a:lnTo>
                        <a:pt x="122" y="2238"/>
                      </a:lnTo>
                      <a:lnTo>
                        <a:pt x="120" y="2222"/>
                      </a:lnTo>
                      <a:lnTo>
                        <a:pt x="120" y="2222"/>
                      </a:lnTo>
                      <a:lnTo>
                        <a:pt x="120" y="2204"/>
                      </a:lnTo>
                      <a:lnTo>
                        <a:pt x="116" y="2190"/>
                      </a:lnTo>
                      <a:lnTo>
                        <a:pt x="110" y="2176"/>
                      </a:lnTo>
                      <a:lnTo>
                        <a:pt x="106" y="2166"/>
                      </a:lnTo>
                      <a:lnTo>
                        <a:pt x="96" y="2148"/>
                      </a:lnTo>
                      <a:lnTo>
                        <a:pt x="92" y="2142"/>
                      </a:lnTo>
                      <a:lnTo>
                        <a:pt x="92" y="2134"/>
                      </a:lnTo>
                      <a:lnTo>
                        <a:pt x="92" y="2134"/>
                      </a:lnTo>
                      <a:lnTo>
                        <a:pt x="90" y="2100"/>
                      </a:lnTo>
                      <a:lnTo>
                        <a:pt x="92" y="2090"/>
                      </a:lnTo>
                      <a:lnTo>
                        <a:pt x="94" y="2084"/>
                      </a:lnTo>
                      <a:lnTo>
                        <a:pt x="96" y="2082"/>
                      </a:lnTo>
                      <a:lnTo>
                        <a:pt x="96" y="2082"/>
                      </a:lnTo>
                      <a:lnTo>
                        <a:pt x="98" y="2084"/>
                      </a:lnTo>
                      <a:lnTo>
                        <a:pt x="98" y="2084"/>
                      </a:lnTo>
                      <a:lnTo>
                        <a:pt x="106" y="2086"/>
                      </a:lnTo>
                      <a:lnTo>
                        <a:pt x="120" y="2092"/>
                      </a:lnTo>
                      <a:lnTo>
                        <a:pt x="130" y="2092"/>
                      </a:lnTo>
                      <a:lnTo>
                        <a:pt x="136" y="2092"/>
                      </a:lnTo>
                      <a:lnTo>
                        <a:pt x="142" y="2090"/>
                      </a:lnTo>
                      <a:lnTo>
                        <a:pt x="142" y="2088"/>
                      </a:lnTo>
                      <a:lnTo>
                        <a:pt x="142" y="2086"/>
                      </a:lnTo>
                      <a:lnTo>
                        <a:pt x="142" y="2086"/>
                      </a:lnTo>
                      <a:lnTo>
                        <a:pt x="142" y="2078"/>
                      </a:lnTo>
                      <a:lnTo>
                        <a:pt x="138" y="2072"/>
                      </a:lnTo>
                      <a:lnTo>
                        <a:pt x="128" y="2058"/>
                      </a:lnTo>
                      <a:lnTo>
                        <a:pt x="108" y="2038"/>
                      </a:lnTo>
                      <a:lnTo>
                        <a:pt x="108" y="2038"/>
                      </a:lnTo>
                      <a:lnTo>
                        <a:pt x="96" y="2020"/>
                      </a:lnTo>
                      <a:lnTo>
                        <a:pt x="94" y="2014"/>
                      </a:lnTo>
                      <a:lnTo>
                        <a:pt x="94" y="2008"/>
                      </a:lnTo>
                      <a:lnTo>
                        <a:pt x="94" y="2008"/>
                      </a:lnTo>
                      <a:lnTo>
                        <a:pt x="96" y="2006"/>
                      </a:lnTo>
                      <a:lnTo>
                        <a:pt x="98" y="2004"/>
                      </a:lnTo>
                      <a:lnTo>
                        <a:pt x="100" y="2004"/>
                      </a:lnTo>
                      <a:lnTo>
                        <a:pt x="102" y="2002"/>
                      </a:lnTo>
                      <a:lnTo>
                        <a:pt x="102" y="1998"/>
                      </a:lnTo>
                      <a:lnTo>
                        <a:pt x="100" y="1974"/>
                      </a:lnTo>
                      <a:lnTo>
                        <a:pt x="100" y="1974"/>
                      </a:lnTo>
                      <a:lnTo>
                        <a:pt x="96" y="1940"/>
                      </a:lnTo>
                      <a:lnTo>
                        <a:pt x="94" y="1926"/>
                      </a:lnTo>
                      <a:lnTo>
                        <a:pt x="94" y="1926"/>
                      </a:lnTo>
                      <a:lnTo>
                        <a:pt x="90" y="1918"/>
                      </a:lnTo>
                      <a:lnTo>
                        <a:pt x="86" y="1912"/>
                      </a:lnTo>
                      <a:lnTo>
                        <a:pt x="80" y="1900"/>
                      </a:lnTo>
                      <a:lnTo>
                        <a:pt x="76" y="1896"/>
                      </a:lnTo>
                      <a:lnTo>
                        <a:pt x="74" y="1890"/>
                      </a:lnTo>
                      <a:lnTo>
                        <a:pt x="76" y="1882"/>
                      </a:lnTo>
                      <a:lnTo>
                        <a:pt x="78" y="1874"/>
                      </a:lnTo>
                      <a:lnTo>
                        <a:pt x="78" y="1874"/>
                      </a:lnTo>
                      <a:lnTo>
                        <a:pt x="80" y="1864"/>
                      </a:lnTo>
                      <a:lnTo>
                        <a:pt x="82" y="1858"/>
                      </a:lnTo>
                      <a:lnTo>
                        <a:pt x="80" y="1852"/>
                      </a:lnTo>
                      <a:lnTo>
                        <a:pt x="80" y="1848"/>
                      </a:lnTo>
                      <a:lnTo>
                        <a:pt x="82" y="1844"/>
                      </a:lnTo>
                      <a:lnTo>
                        <a:pt x="98" y="1824"/>
                      </a:lnTo>
                      <a:lnTo>
                        <a:pt x="98" y="1824"/>
                      </a:lnTo>
                      <a:lnTo>
                        <a:pt x="120" y="1804"/>
                      </a:lnTo>
                      <a:lnTo>
                        <a:pt x="134" y="1790"/>
                      </a:lnTo>
                      <a:lnTo>
                        <a:pt x="162" y="1770"/>
                      </a:lnTo>
                      <a:lnTo>
                        <a:pt x="162" y="1770"/>
                      </a:lnTo>
                      <a:lnTo>
                        <a:pt x="168" y="1762"/>
                      </a:lnTo>
                      <a:lnTo>
                        <a:pt x="170" y="1756"/>
                      </a:lnTo>
                      <a:lnTo>
                        <a:pt x="170" y="1752"/>
                      </a:lnTo>
                      <a:lnTo>
                        <a:pt x="168" y="1748"/>
                      </a:lnTo>
                      <a:lnTo>
                        <a:pt x="166" y="1746"/>
                      </a:lnTo>
                      <a:lnTo>
                        <a:pt x="168" y="1746"/>
                      </a:lnTo>
                      <a:lnTo>
                        <a:pt x="186" y="1750"/>
                      </a:lnTo>
                      <a:lnTo>
                        <a:pt x="186" y="1750"/>
                      </a:lnTo>
                      <a:lnTo>
                        <a:pt x="212" y="1758"/>
                      </a:lnTo>
                      <a:lnTo>
                        <a:pt x="230" y="1766"/>
                      </a:lnTo>
                      <a:lnTo>
                        <a:pt x="236" y="1768"/>
                      </a:lnTo>
                      <a:lnTo>
                        <a:pt x="242" y="1768"/>
                      </a:lnTo>
                      <a:lnTo>
                        <a:pt x="246" y="1768"/>
                      </a:lnTo>
                      <a:lnTo>
                        <a:pt x="252" y="1764"/>
                      </a:lnTo>
                      <a:lnTo>
                        <a:pt x="252" y="1764"/>
                      </a:lnTo>
                      <a:lnTo>
                        <a:pt x="258" y="1760"/>
                      </a:lnTo>
                      <a:lnTo>
                        <a:pt x="264" y="1758"/>
                      </a:lnTo>
                      <a:lnTo>
                        <a:pt x="276" y="1756"/>
                      </a:lnTo>
                      <a:lnTo>
                        <a:pt x="280" y="1754"/>
                      </a:lnTo>
                      <a:lnTo>
                        <a:pt x="282" y="1752"/>
                      </a:lnTo>
                      <a:lnTo>
                        <a:pt x="280" y="1748"/>
                      </a:lnTo>
                      <a:lnTo>
                        <a:pt x="274" y="1742"/>
                      </a:lnTo>
                      <a:lnTo>
                        <a:pt x="274" y="1742"/>
                      </a:lnTo>
                      <a:lnTo>
                        <a:pt x="256" y="1728"/>
                      </a:lnTo>
                      <a:lnTo>
                        <a:pt x="238" y="1718"/>
                      </a:lnTo>
                      <a:lnTo>
                        <a:pt x="230" y="1712"/>
                      </a:lnTo>
                      <a:lnTo>
                        <a:pt x="220" y="1710"/>
                      </a:lnTo>
                      <a:lnTo>
                        <a:pt x="212" y="1708"/>
                      </a:lnTo>
                      <a:lnTo>
                        <a:pt x="202" y="1708"/>
                      </a:lnTo>
                      <a:lnTo>
                        <a:pt x="202" y="1708"/>
                      </a:lnTo>
                      <a:lnTo>
                        <a:pt x="184" y="1708"/>
                      </a:lnTo>
                      <a:lnTo>
                        <a:pt x="170" y="1706"/>
                      </a:lnTo>
                      <a:lnTo>
                        <a:pt x="158" y="1700"/>
                      </a:lnTo>
                      <a:lnTo>
                        <a:pt x="148" y="1694"/>
                      </a:lnTo>
                      <a:lnTo>
                        <a:pt x="148" y="1694"/>
                      </a:lnTo>
                      <a:lnTo>
                        <a:pt x="126" y="1672"/>
                      </a:lnTo>
                      <a:lnTo>
                        <a:pt x="112" y="1656"/>
                      </a:lnTo>
                      <a:lnTo>
                        <a:pt x="84" y="1644"/>
                      </a:lnTo>
                      <a:lnTo>
                        <a:pt x="84" y="1644"/>
                      </a:lnTo>
                      <a:lnTo>
                        <a:pt x="102" y="1620"/>
                      </a:lnTo>
                      <a:lnTo>
                        <a:pt x="144" y="1562"/>
                      </a:lnTo>
                      <a:lnTo>
                        <a:pt x="166" y="1530"/>
                      </a:lnTo>
                      <a:lnTo>
                        <a:pt x="186" y="1498"/>
                      </a:lnTo>
                      <a:lnTo>
                        <a:pt x="202" y="1472"/>
                      </a:lnTo>
                      <a:lnTo>
                        <a:pt x="206" y="1460"/>
                      </a:lnTo>
                      <a:lnTo>
                        <a:pt x="210" y="1452"/>
                      </a:lnTo>
                      <a:lnTo>
                        <a:pt x="210" y="1452"/>
                      </a:lnTo>
                      <a:lnTo>
                        <a:pt x="212" y="1430"/>
                      </a:lnTo>
                      <a:lnTo>
                        <a:pt x="212" y="1416"/>
                      </a:lnTo>
                      <a:lnTo>
                        <a:pt x="218" y="1402"/>
                      </a:lnTo>
                      <a:lnTo>
                        <a:pt x="230" y="1380"/>
                      </a:lnTo>
                      <a:lnTo>
                        <a:pt x="230" y="1380"/>
                      </a:lnTo>
                      <a:lnTo>
                        <a:pt x="244" y="1352"/>
                      </a:lnTo>
                      <a:lnTo>
                        <a:pt x="254" y="1326"/>
                      </a:lnTo>
                      <a:lnTo>
                        <a:pt x="260" y="1304"/>
                      </a:lnTo>
                      <a:lnTo>
                        <a:pt x="264" y="1284"/>
                      </a:lnTo>
                      <a:lnTo>
                        <a:pt x="264" y="1284"/>
                      </a:lnTo>
                      <a:lnTo>
                        <a:pt x="262" y="1274"/>
                      </a:lnTo>
                      <a:lnTo>
                        <a:pt x="256" y="1262"/>
                      </a:lnTo>
                      <a:lnTo>
                        <a:pt x="248" y="1246"/>
                      </a:lnTo>
                      <a:lnTo>
                        <a:pt x="236" y="1230"/>
                      </a:lnTo>
                      <a:lnTo>
                        <a:pt x="192" y="1170"/>
                      </a:lnTo>
                      <a:lnTo>
                        <a:pt x="192" y="1170"/>
                      </a:lnTo>
                      <a:lnTo>
                        <a:pt x="184" y="1158"/>
                      </a:lnTo>
                      <a:lnTo>
                        <a:pt x="178" y="1144"/>
                      </a:lnTo>
                      <a:lnTo>
                        <a:pt x="174" y="1132"/>
                      </a:lnTo>
                      <a:lnTo>
                        <a:pt x="172" y="1120"/>
                      </a:lnTo>
                      <a:lnTo>
                        <a:pt x="168" y="1098"/>
                      </a:lnTo>
                      <a:lnTo>
                        <a:pt x="168" y="1078"/>
                      </a:lnTo>
                      <a:lnTo>
                        <a:pt x="168" y="1078"/>
                      </a:lnTo>
                      <a:lnTo>
                        <a:pt x="166" y="1072"/>
                      </a:lnTo>
                      <a:lnTo>
                        <a:pt x="162" y="1068"/>
                      </a:lnTo>
                      <a:lnTo>
                        <a:pt x="152" y="1064"/>
                      </a:lnTo>
                      <a:lnTo>
                        <a:pt x="146" y="1062"/>
                      </a:lnTo>
                      <a:lnTo>
                        <a:pt x="142" y="1056"/>
                      </a:lnTo>
                      <a:lnTo>
                        <a:pt x="138" y="1046"/>
                      </a:lnTo>
                      <a:lnTo>
                        <a:pt x="136" y="1032"/>
                      </a:lnTo>
                      <a:lnTo>
                        <a:pt x="136" y="1032"/>
                      </a:lnTo>
                      <a:lnTo>
                        <a:pt x="136" y="1018"/>
                      </a:lnTo>
                      <a:lnTo>
                        <a:pt x="134" y="1010"/>
                      </a:lnTo>
                      <a:lnTo>
                        <a:pt x="130" y="1006"/>
                      </a:lnTo>
                      <a:lnTo>
                        <a:pt x="128" y="1002"/>
                      </a:lnTo>
                      <a:lnTo>
                        <a:pt x="124" y="998"/>
                      </a:lnTo>
                      <a:lnTo>
                        <a:pt x="122" y="990"/>
                      </a:lnTo>
                      <a:lnTo>
                        <a:pt x="120" y="978"/>
                      </a:lnTo>
                      <a:lnTo>
                        <a:pt x="118" y="958"/>
                      </a:lnTo>
                      <a:lnTo>
                        <a:pt x="118" y="958"/>
                      </a:lnTo>
                      <a:lnTo>
                        <a:pt x="118" y="938"/>
                      </a:lnTo>
                      <a:lnTo>
                        <a:pt x="120" y="926"/>
                      </a:lnTo>
                      <a:lnTo>
                        <a:pt x="124" y="912"/>
                      </a:lnTo>
                      <a:lnTo>
                        <a:pt x="124" y="906"/>
                      </a:lnTo>
                      <a:lnTo>
                        <a:pt x="124" y="894"/>
                      </a:lnTo>
                      <a:lnTo>
                        <a:pt x="112" y="848"/>
                      </a:lnTo>
                      <a:lnTo>
                        <a:pt x="112" y="848"/>
                      </a:lnTo>
                      <a:lnTo>
                        <a:pt x="102" y="818"/>
                      </a:lnTo>
                      <a:lnTo>
                        <a:pt x="92" y="794"/>
                      </a:lnTo>
                      <a:lnTo>
                        <a:pt x="82" y="778"/>
                      </a:lnTo>
                      <a:lnTo>
                        <a:pt x="72" y="762"/>
                      </a:lnTo>
                      <a:lnTo>
                        <a:pt x="64" y="750"/>
                      </a:lnTo>
                      <a:lnTo>
                        <a:pt x="56" y="738"/>
                      </a:lnTo>
                      <a:lnTo>
                        <a:pt x="50" y="722"/>
                      </a:lnTo>
                      <a:lnTo>
                        <a:pt x="48" y="704"/>
                      </a:lnTo>
                      <a:lnTo>
                        <a:pt x="48" y="704"/>
                      </a:lnTo>
                      <a:lnTo>
                        <a:pt x="46" y="684"/>
                      </a:lnTo>
                      <a:lnTo>
                        <a:pt x="46" y="668"/>
                      </a:lnTo>
                      <a:lnTo>
                        <a:pt x="50" y="654"/>
                      </a:lnTo>
                      <a:lnTo>
                        <a:pt x="54" y="640"/>
                      </a:lnTo>
                      <a:lnTo>
                        <a:pt x="66" y="618"/>
                      </a:lnTo>
                      <a:lnTo>
                        <a:pt x="78" y="596"/>
                      </a:lnTo>
                      <a:lnTo>
                        <a:pt x="78" y="596"/>
                      </a:lnTo>
                      <a:lnTo>
                        <a:pt x="86" y="586"/>
                      </a:lnTo>
                      <a:lnTo>
                        <a:pt x="92" y="580"/>
                      </a:lnTo>
                      <a:lnTo>
                        <a:pt x="98" y="574"/>
                      </a:lnTo>
                      <a:lnTo>
                        <a:pt x="104" y="568"/>
                      </a:lnTo>
                      <a:lnTo>
                        <a:pt x="106" y="564"/>
                      </a:lnTo>
                      <a:lnTo>
                        <a:pt x="104" y="556"/>
                      </a:lnTo>
                      <a:lnTo>
                        <a:pt x="96" y="544"/>
                      </a:lnTo>
                      <a:lnTo>
                        <a:pt x="84" y="528"/>
                      </a:lnTo>
                      <a:lnTo>
                        <a:pt x="84" y="528"/>
                      </a:lnTo>
                      <a:lnTo>
                        <a:pt x="68" y="512"/>
                      </a:lnTo>
                      <a:lnTo>
                        <a:pt x="54" y="502"/>
                      </a:lnTo>
                      <a:lnTo>
                        <a:pt x="32" y="486"/>
                      </a:lnTo>
                      <a:lnTo>
                        <a:pt x="24" y="480"/>
                      </a:lnTo>
                      <a:lnTo>
                        <a:pt x="16" y="468"/>
                      </a:lnTo>
                      <a:lnTo>
                        <a:pt x="12" y="454"/>
                      </a:lnTo>
                      <a:lnTo>
                        <a:pt x="10" y="434"/>
                      </a:lnTo>
                      <a:lnTo>
                        <a:pt x="10" y="434"/>
                      </a:lnTo>
                      <a:lnTo>
                        <a:pt x="8" y="412"/>
                      </a:lnTo>
                      <a:lnTo>
                        <a:pt x="6" y="392"/>
                      </a:lnTo>
                      <a:lnTo>
                        <a:pt x="2" y="374"/>
                      </a:lnTo>
                      <a:lnTo>
                        <a:pt x="0" y="358"/>
                      </a:lnTo>
                      <a:lnTo>
                        <a:pt x="0" y="342"/>
                      </a:lnTo>
                      <a:lnTo>
                        <a:pt x="2" y="334"/>
                      </a:lnTo>
                      <a:lnTo>
                        <a:pt x="6" y="326"/>
                      </a:lnTo>
                      <a:lnTo>
                        <a:pt x="10" y="318"/>
                      </a:lnTo>
                      <a:lnTo>
                        <a:pt x="16" y="310"/>
                      </a:lnTo>
                      <a:lnTo>
                        <a:pt x="36" y="292"/>
                      </a:lnTo>
                      <a:lnTo>
                        <a:pt x="36" y="292"/>
                      </a:lnTo>
                      <a:lnTo>
                        <a:pt x="54" y="276"/>
                      </a:lnTo>
                      <a:lnTo>
                        <a:pt x="68" y="262"/>
                      </a:lnTo>
                      <a:lnTo>
                        <a:pt x="90" y="240"/>
                      </a:lnTo>
                      <a:lnTo>
                        <a:pt x="100" y="232"/>
                      </a:lnTo>
                      <a:lnTo>
                        <a:pt x="110" y="228"/>
                      </a:lnTo>
                      <a:lnTo>
                        <a:pt x="124" y="228"/>
                      </a:lnTo>
                      <a:lnTo>
                        <a:pt x="142" y="232"/>
                      </a:lnTo>
                      <a:lnTo>
                        <a:pt x="142" y="232"/>
                      </a:lnTo>
                      <a:lnTo>
                        <a:pt x="164" y="238"/>
                      </a:lnTo>
                      <a:lnTo>
                        <a:pt x="184" y="246"/>
                      </a:lnTo>
                      <a:lnTo>
                        <a:pt x="226" y="264"/>
                      </a:lnTo>
                      <a:lnTo>
                        <a:pt x="244" y="270"/>
                      </a:lnTo>
                      <a:lnTo>
                        <a:pt x="262" y="276"/>
                      </a:lnTo>
                      <a:lnTo>
                        <a:pt x="278" y="278"/>
                      </a:lnTo>
                      <a:lnTo>
                        <a:pt x="284" y="278"/>
                      </a:lnTo>
                      <a:lnTo>
                        <a:pt x="290" y="276"/>
                      </a:lnTo>
                      <a:lnTo>
                        <a:pt x="290" y="276"/>
                      </a:lnTo>
                      <a:lnTo>
                        <a:pt x="302" y="272"/>
                      </a:lnTo>
                      <a:lnTo>
                        <a:pt x="310" y="266"/>
                      </a:lnTo>
                      <a:lnTo>
                        <a:pt x="320" y="258"/>
                      </a:lnTo>
                      <a:lnTo>
                        <a:pt x="326" y="256"/>
                      </a:lnTo>
                      <a:lnTo>
                        <a:pt x="334" y="254"/>
                      </a:lnTo>
                      <a:lnTo>
                        <a:pt x="344" y="254"/>
                      </a:lnTo>
                      <a:lnTo>
                        <a:pt x="360" y="256"/>
                      </a:lnTo>
                      <a:lnTo>
                        <a:pt x="360" y="256"/>
                      </a:lnTo>
                      <a:lnTo>
                        <a:pt x="376" y="262"/>
                      </a:lnTo>
                      <a:lnTo>
                        <a:pt x="396" y="270"/>
                      </a:lnTo>
                      <a:lnTo>
                        <a:pt x="414" y="280"/>
                      </a:lnTo>
                      <a:lnTo>
                        <a:pt x="434" y="292"/>
                      </a:lnTo>
                      <a:lnTo>
                        <a:pt x="472" y="318"/>
                      </a:lnTo>
                      <a:lnTo>
                        <a:pt x="504" y="340"/>
                      </a:lnTo>
                      <a:lnTo>
                        <a:pt x="504" y="340"/>
                      </a:lnTo>
                      <a:lnTo>
                        <a:pt x="530" y="358"/>
                      </a:lnTo>
                      <a:lnTo>
                        <a:pt x="548" y="372"/>
                      </a:lnTo>
                      <a:lnTo>
                        <a:pt x="558" y="380"/>
                      </a:lnTo>
                      <a:lnTo>
                        <a:pt x="566" y="384"/>
                      </a:lnTo>
                      <a:lnTo>
                        <a:pt x="574" y="386"/>
                      </a:lnTo>
                      <a:lnTo>
                        <a:pt x="582" y="388"/>
                      </a:lnTo>
                      <a:lnTo>
                        <a:pt x="582" y="388"/>
                      </a:lnTo>
                      <a:lnTo>
                        <a:pt x="590" y="386"/>
                      </a:lnTo>
                      <a:lnTo>
                        <a:pt x="596" y="384"/>
                      </a:lnTo>
                      <a:lnTo>
                        <a:pt x="602" y="382"/>
                      </a:lnTo>
                      <a:lnTo>
                        <a:pt x="606" y="382"/>
                      </a:lnTo>
                      <a:lnTo>
                        <a:pt x="614" y="384"/>
                      </a:lnTo>
                      <a:lnTo>
                        <a:pt x="636" y="396"/>
                      </a:lnTo>
                      <a:lnTo>
                        <a:pt x="636" y="396"/>
                      </a:lnTo>
                      <a:lnTo>
                        <a:pt x="650" y="406"/>
                      </a:lnTo>
                      <a:lnTo>
                        <a:pt x="662" y="416"/>
                      </a:lnTo>
                      <a:lnTo>
                        <a:pt x="670" y="426"/>
                      </a:lnTo>
                      <a:lnTo>
                        <a:pt x="676" y="434"/>
                      </a:lnTo>
                      <a:lnTo>
                        <a:pt x="684" y="452"/>
                      </a:lnTo>
                      <a:lnTo>
                        <a:pt x="690" y="460"/>
                      </a:lnTo>
                      <a:lnTo>
                        <a:pt x="696" y="468"/>
                      </a:lnTo>
                      <a:lnTo>
                        <a:pt x="696" y="468"/>
                      </a:lnTo>
                      <a:lnTo>
                        <a:pt x="712" y="484"/>
                      </a:lnTo>
                      <a:lnTo>
                        <a:pt x="720" y="492"/>
                      </a:lnTo>
                      <a:lnTo>
                        <a:pt x="728" y="502"/>
                      </a:lnTo>
                      <a:lnTo>
                        <a:pt x="734" y="512"/>
                      </a:lnTo>
                      <a:lnTo>
                        <a:pt x="736" y="522"/>
                      </a:lnTo>
                      <a:lnTo>
                        <a:pt x="736" y="532"/>
                      </a:lnTo>
                      <a:lnTo>
                        <a:pt x="732" y="546"/>
                      </a:lnTo>
                      <a:lnTo>
                        <a:pt x="732" y="546"/>
                      </a:lnTo>
                      <a:lnTo>
                        <a:pt x="718" y="578"/>
                      </a:lnTo>
                      <a:lnTo>
                        <a:pt x="702" y="618"/>
                      </a:lnTo>
                      <a:lnTo>
                        <a:pt x="692" y="636"/>
                      </a:lnTo>
                      <a:lnTo>
                        <a:pt x="682" y="654"/>
                      </a:lnTo>
                      <a:lnTo>
                        <a:pt x="672" y="666"/>
                      </a:lnTo>
                      <a:lnTo>
                        <a:pt x="662" y="674"/>
                      </a:lnTo>
                      <a:lnTo>
                        <a:pt x="662" y="674"/>
                      </a:lnTo>
                      <a:lnTo>
                        <a:pt x="646" y="684"/>
                      </a:lnTo>
                      <a:lnTo>
                        <a:pt x="630" y="694"/>
                      </a:lnTo>
                      <a:lnTo>
                        <a:pt x="622" y="698"/>
                      </a:lnTo>
                      <a:lnTo>
                        <a:pt x="612" y="702"/>
                      </a:lnTo>
                      <a:lnTo>
                        <a:pt x="602" y="704"/>
                      </a:lnTo>
                      <a:lnTo>
                        <a:pt x="592" y="704"/>
                      </a:lnTo>
                      <a:lnTo>
                        <a:pt x="592" y="704"/>
                      </a:lnTo>
                      <a:lnTo>
                        <a:pt x="574" y="702"/>
                      </a:lnTo>
                      <a:lnTo>
                        <a:pt x="562" y="698"/>
                      </a:lnTo>
                      <a:lnTo>
                        <a:pt x="544" y="696"/>
                      </a:lnTo>
                      <a:lnTo>
                        <a:pt x="510" y="698"/>
                      </a:lnTo>
                      <a:lnTo>
                        <a:pt x="510" y="698"/>
                      </a:lnTo>
                      <a:lnTo>
                        <a:pt x="470" y="702"/>
                      </a:lnTo>
                      <a:lnTo>
                        <a:pt x="442" y="708"/>
                      </a:lnTo>
                      <a:lnTo>
                        <a:pt x="430" y="708"/>
                      </a:lnTo>
                      <a:lnTo>
                        <a:pt x="418" y="706"/>
                      </a:lnTo>
                      <a:lnTo>
                        <a:pt x="406" y="704"/>
                      </a:lnTo>
                      <a:lnTo>
                        <a:pt x="394" y="696"/>
                      </a:lnTo>
                      <a:lnTo>
                        <a:pt x="394" y="696"/>
                      </a:lnTo>
                      <a:lnTo>
                        <a:pt x="380" y="690"/>
                      </a:lnTo>
                      <a:lnTo>
                        <a:pt x="368" y="688"/>
                      </a:lnTo>
                      <a:lnTo>
                        <a:pt x="344" y="686"/>
                      </a:lnTo>
                      <a:lnTo>
                        <a:pt x="332" y="686"/>
                      </a:lnTo>
                      <a:lnTo>
                        <a:pt x="320" y="684"/>
                      </a:lnTo>
                      <a:lnTo>
                        <a:pt x="310" y="678"/>
                      </a:lnTo>
                      <a:lnTo>
                        <a:pt x="298" y="668"/>
                      </a:lnTo>
                      <a:lnTo>
                        <a:pt x="298" y="668"/>
                      </a:lnTo>
                      <a:lnTo>
                        <a:pt x="280" y="644"/>
                      </a:lnTo>
                      <a:lnTo>
                        <a:pt x="268" y="628"/>
                      </a:lnTo>
                      <a:lnTo>
                        <a:pt x="262" y="622"/>
                      </a:lnTo>
                      <a:lnTo>
                        <a:pt x="256" y="618"/>
                      </a:lnTo>
                      <a:lnTo>
                        <a:pt x="248" y="616"/>
                      </a:lnTo>
                      <a:lnTo>
                        <a:pt x="240" y="614"/>
                      </a:lnTo>
                      <a:lnTo>
                        <a:pt x="240" y="614"/>
                      </a:lnTo>
                      <a:lnTo>
                        <a:pt x="230" y="614"/>
                      </a:lnTo>
                      <a:lnTo>
                        <a:pt x="222" y="616"/>
                      </a:lnTo>
                      <a:lnTo>
                        <a:pt x="216" y="618"/>
                      </a:lnTo>
                      <a:lnTo>
                        <a:pt x="214" y="622"/>
                      </a:lnTo>
                      <a:lnTo>
                        <a:pt x="212" y="626"/>
                      </a:lnTo>
                      <a:lnTo>
                        <a:pt x="212" y="632"/>
                      </a:lnTo>
                      <a:lnTo>
                        <a:pt x="216" y="636"/>
                      </a:lnTo>
                      <a:lnTo>
                        <a:pt x="222" y="642"/>
                      </a:lnTo>
                      <a:lnTo>
                        <a:pt x="222" y="642"/>
                      </a:lnTo>
                      <a:lnTo>
                        <a:pt x="244" y="654"/>
                      </a:lnTo>
                      <a:lnTo>
                        <a:pt x="244" y="654"/>
                      </a:lnTo>
                      <a:lnTo>
                        <a:pt x="256" y="666"/>
                      </a:lnTo>
                      <a:lnTo>
                        <a:pt x="268" y="680"/>
                      </a:lnTo>
                      <a:lnTo>
                        <a:pt x="280" y="698"/>
                      </a:lnTo>
                      <a:lnTo>
                        <a:pt x="280" y="698"/>
                      </a:lnTo>
                      <a:lnTo>
                        <a:pt x="288" y="706"/>
                      </a:lnTo>
                      <a:lnTo>
                        <a:pt x="296" y="714"/>
                      </a:lnTo>
                      <a:lnTo>
                        <a:pt x="318" y="728"/>
                      </a:lnTo>
                      <a:lnTo>
                        <a:pt x="370" y="756"/>
                      </a:lnTo>
                      <a:lnTo>
                        <a:pt x="370" y="756"/>
                      </a:lnTo>
                      <a:lnTo>
                        <a:pt x="396" y="772"/>
                      </a:lnTo>
                      <a:lnTo>
                        <a:pt x="410" y="780"/>
                      </a:lnTo>
                      <a:lnTo>
                        <a:pt x="420" y="788"/>
                      </a:lnTo>
                      <a:lnTo>
                        <a:pt x="428" y="796"/>
                      </a:lnTo>
                      <a:lnTo>
                        <a:pt x="430" y="806"/>
                      </a:lnTo>
                      <a:lnTo>
                        <a:pt x="430" y="810"/>
                      </a:lnTo>
                      <a:lnTo>
                        <a:pt x="428" y="816"/>
                      </a:lnTo>
                      <a:lnTo>
                        <a:pt x="422" y="826"/>
                      </a:lnTo>
                      <a:lnTo>
                        <a:pt x="422" y="826"/>
                      </a:lnTo>
                      <a:lnTo>
                        <a:pt x="404" y="846"/>
                      </a:lnTo>
                      <a:lnTo>
                        <a:pt x="394" y="860"/>
                      </a:lnTo>
                      <a:lnTo>
                        <a:pt x="392" y="864"/>
                      </a:lnTo>
                      <a:lnTo>
                        <a:pt x="392" y="870"/>
                      </a:lnTo>
                      <a:lnTo>
                        <a:pt x="396" y="876"/>
                      </a:lnTo>
                      <a:lnTo>
                        <a:pt x="400" y="880"/>
                      </a:lnTo>
                      <a:lnTo>
                        <a:pt x="400" y="880"/>
                      </a:lnTo>
                      <a:lnTo>
                        <a:pt x="410" y="890"/>
                      </a:lnTo>
                      <a:lnTo>
                        <a:pt x="418" y="894"/>
                      </a:lnTo>
                      <a:lnTo>
                        <a:pt x="424" y="904"/>
                      </a:lnTo>
                      <a:lnTo>
                        <a:pt x="430" y="924"/>
                      </a:lnTo>
                      <a:lnTo>
                        <a:pt x="430" y="924"/>
                      </a:lnTo>
                      <a:lnTo>
                        <a:pt x="432" y="938"/>
                      </a:lnTo>
                      <a:lnTo>
                        <a:pt x="434" y="948"/>
                      </a:lnTo>
                      <a:lnTo>
                        <a:pt x="434" y="964"/>
                      </a:lnTo>
                      <a:lnTo>
                        <a:pt x="434" y="970"/>
                      </a:lnTo>
                      <a:lnTo>
                        <a:pt x="436" y="976"/>
                      </a:lnTo>
                      <a:lnTo>
                        <a:pt x="442" y="982"/>
                      </a:lnTo>
                      <a:lnTo>
                        <a:pt x="448" y="988"/>
                      </a:lnTo>
                      <a:lnTo>
                        <a:pt x="448" y="988"/>
                      </a:lnTo>
                      <a:lnTo>
                        <a:pt x="462" y="998"/>
                      </a:lnTo>
                      <a:lnTo>
                        <a:pt x="472" y="1002"/>
                      </a:lnTo>
                      <a:lnTo>
                        <a:pt x="502" y="1010"/>
                      </a:lnTo>
                      <a:lnTo>
                        <a:pt x="502" y="1010"/>
                      </a:lnTo>
                      <a:lnTo>
                        <a:pt x="534" y="1020"/>
                      </a:lnTo>
                      <a:lnTo>
                        <a:pt x="546" y="1026"/>
                      </a:lnTo>
                      <a:lnTo>
                        <a:pt x="558" y="1038"/>
                      </a:lnTo>
                      <a:lnTo>
                        <a:pt x="558" y="1038"/>
                      </a:lnTo>
                      <a:lnTo>
                        <a:pt x="568" y="1048"/>
                      </a:lnTo>
                      <a:lnTo>
                        <a:pt x="574" y="1054"/>
                      </a:lnTo>
                      <a:lnTo>
                        <a:pt x="584" y="1054"/>
                      </a:lnTo>
                      <a:lnTo>
                        <a:pt x="604" y="1054"/>
                      </a:lnTo>
                      <a:lnTo>
                        <a:pt x="604" y="1054"/>
                      </a:lnTo>
                      <a:lnTo>
                        <a:pt x="618" y="1052"/>
                      </a:lnTo>
                      <a:lnTo>
                        <a:pt x="630" y="1048"/>
                      </a:lnTo>
                      <a:lnTo>
                        <a:pt x="642" y="1040"/>
                      </a:lnTo>
                      <a:lnTo>
                        <a:pt x="652" y="1032"/>
                      </a:lnTo>
                      <a:lnTo>
                        <a:pt x="660" y="1024"/>
                      </a:lnTo>
                      <a:lnTo>
                        <a:pt x="664" y="1014"/>
                      </a:lnTo>
                      <a:lnTo>
                        <a:pt x="664" y="1004"/>
                      </a:lnTo>
                      <a:lnTo>
                        <a:pt x="662" y="1000"/>
                      </a:lnTo>
                      <a:lnTo>
                        <a:pt x="660" y="996"/>
                      </a:lnTo>
                      <a:lnTo>
                        <a:pt x="660" y="996"/>
                      </a:lnTo>
                      <a:lnTo>
                        <a:pt x="650" y="982"/>
                      </a:lnTo>
                      <a:lnTo>
                        <a:pt x="644" y="972"/>
                      </a:lnTo>
                      <a:lnTo>
                        <a:pt x="642" y="968"/>
                      </a:lnTo>
                      <a:lnTo>
                        <a:pt x="638" y="966"/>
                      </a:lnTo>
                      <a:lnTo>
                        <a:pt x="632" y="966"/>
                      </a:lnTo>
                      <a:lnTo>
                        <a:pt x="626" y="966"/>
                      </a:lnTo>
                      <a:lnTo>
                        <a:pt x="626" y="966"/>
                      </a:lnTo>
                      <a:lnTo>
                        <a:pt x="618" y="966"/>
                      </a:lnTo>
                      <a:lnTo>
                        <a:pt x="612" y="970"/>
                      </a:lnTo>
                      <a:lnTo>
                        <a:pt x="602" y="974"/>
                      </a:lnTo>
                      <a:lnTo>
                        <a:pt x="598" y="976"/>
                      </a:lnTo>
                      <a:lnTo>
                        <a:pt x="592" y="972"/>
                      </a:lnTo>
                      <a:lnTo>
                        <a:pt x="584" y="966"/>
                      </a:lnTo>
                      <a:lnTo>
                        <a:pt x="576" y="956"/>
                      </a:lnTo>
                      <a:lnTo>
                        <a:pt x="576" y="956"/>
                      </a:lnTo>
                      <a:lnTo>
                        <a:pt x="554" y="926"/>
                      </a:lnTo>
                      <a:lnTo>
                        <a:pt x="546" y="912"/>
                      </a:lnTo>
                      <a:lnTo>
                        <a:pt x="538" y="900"/>
                      </a:lnTo>
                      <a:lnTo>
                        <a:pt x="534" y="888"/>
                      </a:lnTo>
                      <a:lnTo>
                        <a:pt x="532" y="878"/>
                      </a:lnTo>
                      <a:lnTo>
                        <a:pt x="532" y="874"/>
                      </a:lnTo>
                      <a:lnTo>
                        <a:pt x="536" y="870"/>
                      </a:lnTo>
                      <a:lnTo>
                        <a:pt x="538" y="868"/>
                      </a:lnTo>
                      <a:lnTo>
                        <a:pt x="544" y="866"/>
                      </a:lnTo>
                      <a:lnTo>
                        <a:pt x="544" y="866"/>
                      </a:lnTo>
                      <a:lnTo>
                        <a:pt x="564" y="862"/>
                      </a:lnTo>
                      <a:lnTo>
                        <a:pt x="580" y="862"/>
                      </a:lnTo>
                      <a:lnTo>
                        <a:pt x="596" y="868"/>
                      </a:lnTo>
                      <a:lnTo>
                        <a:pt x="612" y="876"/>
                      </a:lnTo>
                      <a:lnTo>
                        <a:pt x="612" y="876"/>
                      </a:lnTo>
                      <a:lnTo>
                        <a:pt x="618" y="882"/>
                      </a:lnTo>
                      <a:lnTo>
                        <a:pt x="624" y="890"/>
                      </a:lnTo>
                      <a:lnTo>
                        <a:pt x="632" y="904"/>
                      </a:lnTo>
                      <a:lnTo>
                        <a:pt x="634" y="910"/>
                      </a:lnTo>
                      <a:lnTo>
                        <a:pt x="638" y="914"/>
                      </a:lnTo>
                      <a:lnTo>
                        <a:pt x="642" y="914"/>
                      </a:lnTo>
                      <a:lnTo>
                        <a:pt x="646" y="912"/>
                      </a:lnTo>
                      <a:lnTo>
                        <a:pt x="646" y="912"/>
                      </a:lnTo>
                      <a:lnTo>
                        <a:pt x="654" y="900"/>
                      </a:lnTo>
                      <a:lnTo>
                        <a:pt x="660" y="892"/>
                      </a:lnTo>
                      <a:lnTo>
                        <a:pt x="664" y="890"/>
                      </a:lnTo>
                      <a:lnTo>
                        <a:pt x="670" y="892"/>
                      </a:lnTo>
                      <a:lnTo>
                        <a:pt x="686" y="898"/>
                      </a:lnTo>
                      <a:lnTo>
                        <a:pt x="686" y="898"/>
                      </a:lnTo>
                      <a:lnTo>
                        <a:pt x="712" y="912"/>
                      </a:lnTo>
                      <a:lnTo>
                        <a:pt x="738" y="924"/>
                      </a:lnTo>
                      <a:lnTo>
                        <a:pt x="750" y="928"/>
                      </a:lnTo>
                      <a:lnTo>
                        <a:pt x="762" y="928"/>
                      </a:lnTo>
                      <a:lnTo>
                        <a:pt x="772" y="926"/>
                      </a:lnTo>
                      <a:lnTo>
                        <a:pt x="774" y="924"/>
                      </a:lnTo>
                      <a:lnTo>
                        <a:pt x="778" y="918"/>
                      </a:lnTo>
                      <a:lnTo>
                        <a:pt x="778" y="918"/>
                      </a:lnTo>
                      <a:lnTo>
                        <a:pt x="790" y="902"/>
                      </a:lnTo>
                      <a:lnTo>
                        <a:pt x="794" y="894"/>
                      </a:lnTo>
                      <a:lnTo>
                        <a:pt x="796" y="888"/>
                      </a:lnTo>
                      <a:lnTo>
                        <a:pt x="796" y="882"/>
                      </a:lnTo>
                      <a:lnTo>
                        <a:pt x="792" y="874"/>
                      </a:lnTo>
                      <a:lnTo>
                        <a:pt x="786" y="866"/>
                      </a:lnTo>
                      <a:lnTo>
                        <a:pt x="778" y="858"/>
                      </a:lnTo>
                      <a:lnTo>
                        <a:pt x="778" y="858"/>
                      </a:lnTo>
                      <a:lnTo>
                        <a:pt x="750" y="840"/>
                      </a:lnTo>
                      <a:lnTo>
                        <a:pt x="738" y="830"/>
                      </a:lnTo>
                      <a:lnTo>
                        <a:pt x="724" y="822"/>
                      </a:lnTo>
                      <a:lnTo>
                        <a:pt x="714" y="812"/>
                      </a:lnTo>
                      <a:lnTo>
                        <a:pt x="708" y="800"/>
                      </a:lnTo>
                      <a:lnTo>
                        <a:pt x="706" y="794"/>
                      </a:lnTo>
                      <a:lnTo>
                        <a:pt x="704" y="788"/>
                      </a:lnTo>
                      <a:lnTo>
                        <a:pt x="704" y="782"/>
                      </a:lnTo>
                      <a:lnTo>
                        <a:pt x="706" y="774"/>
                      </a:lnTo>
                      <a:lnTo>
                        <a:pt x="706" y="774"/>
                      </a:lnTo>
                      <a:lnTo>
                        <a:pt x="716" y="744"/>
                      </a:lnTo>
                      <a:lnTo>
                        <a:pt x="728" y="720"/>
                      </a:lnTo>
                      <a:lnTo>
                        <a:pt x="744" y="694"/>
                      </a:lnTo>
                      <a:lnTo>
                        <a:pt x="764" y="670"/>
                      </a:lnTo>
                      <a:lnTo>
                        <a:pt x="764" y="670"/>
                      </a:lnTo>
                      <a:lnTo>
                        <a:pt x="774" y="656"/>
                      </a:lnTo>
                      <a:lnTo>
                        <a:pt x="778" y="648"/>
                      </a:lnTo>
                      <a:lnTo>
                        <a:pt x="780" y="640"/>
                      </a:lnTo>
                      <a:lnTo>
                        <a:pt x="782" y="632"/>
                      </a:lnTo>
                      <a:lnTo>
                        <a:pt x="782" y="620"/>
                      </a:lnTo>
                      <a:lnTo>
                        <a:pt x="786" y="612"/>
                      </a:lnTo>
                      <a:lnTo>
                        <a:pt x="792" y="604"/>
                      </a:lnTo>
                      <a:lnTo>
                        <a:pt x="792" y="604"/>
                      </a:lnTo>
                      <a:lnTo>
                        <a:pt x="804" y="588"/>
                      </a:lnTo>
                      <a:lnTo>
                        <a:pt x="810" y="578"/>
                      </a:lnTo>
                      <a:lnTo>
                        <a:pt x="814" y="574"/>
                      </a:lnTo>
                      <a:lnTo>
                        <a:pt x="818" y="572"/>
                      </a:lnTo>
                      <a:lnTo>
                        <a:pt x="824" y="572"/>
                      </a:lnTo>
                      <a:lnTo>
                        <a:pt x="832" y="572"/>
                      </a:lnTo>
                      <a:lnTo>
                        <a:pt x="832" y="572"/>
                      </a:lnTo>
                      <a:lnTo>
                        <a:pt x="850" y="572"/>
                      </a:lnTo>
                      <a:lnTo>
                        <a:pt x="860" y="576"/>
                      </a:lnTo>
                      <a:lnTo>
                        <a:pt x="866" y="578"/>
                      </a:lnTo>
                      <a:lnTo>
                        <a:pt x="868" y="582"/>
                      </a:lnTo>
                      <a:lnTo>
                        <a:pt x="876" y="594"/>
                      </a:lnTo>
                      <a:lnTo>
                        <a:pt x="876" y="594"/>
                      </a:lnTo>
                      <a:lnTo>
                        <a:pt x="878" y="602"/>
                      </a:lnTo>
                      <a:lnTo>
                        <a:pt x="878" y="612"/>
                      </a:lnTo>
                      <a:lnTo>
                        <a:pt x="878" y="626"/>
                      </a:lnTo>
                      <a:lnTo>
                        <a:pt x="878" y="632"/>
                      </a:lnTo>
                      <a:lnTo>
                        <a:pt x="880" y="634"/>
                      </a:lnTo>
                      <a:lnTo>
                        <a:pt x="882" y="634"/>
                      </a:lnTo>
                      <a:lnTo>
                        <a:pt x="888" y="628"/>
                      </a:lnTo>
                      <a:lnTo>
                        <a:pt x="888" y="628"/>
                      </a:lnTo>
                      <a:lnTo>
                        <a:pt x="900" y="614"/>
                      </a:lnTo>
                      <a:lnTo>
                        <a:pt x="910" y="602"/>
                      </a:lnTo>
                      <a:lnTo>
                        <a:pt x="916" y="596"/>
                      </a:lnTo>
                      <a:lnTo>
                        <a:pt x="918" y="590"/>
                      </a:lnTo>
                      <a:lnTo>
                        <a:pt x="920" y="582"/>
                      </a:lnTo>
                      <a:lnTo>
                        <a:pt x="920" y="572"/>
                      </a:lnTo>
                      <a:lnTo>
                        <a:pt x="920" y="572"/>
                      </a:lnTo>
                      <a:lnTo>
                        <a:pt x="920" y="554"/>
                      </a:lnTo>
                      <a:lnTo>
                        <a:pt x="920" y="536"/>
                      </a:lnTo>
                      <a:lnTo>
                        <a:pt x="920" y="516"/>
                      </a:lnTo>
                      <a:lnTo>
                        <a:pt x="918" y="496"/>
                      </a:lnTo>
                      <a:lnTo>
                        <a:pt x="918" y="496"/>
                      </a:lnTo>
                      <a:lnTo>
                        <a:pt x="912" y="478"/>
                      </a:lnTo>
                      <a:lnTo>
                        <a:pt x="904" y="466"/>
                      </a:lnTo>
                      <a:lnTo>
                        <a:pt x="894" y="456"/>
                      </a:lnTo>
                      <a:lnTo>
                        <a:pt x="882" y="446"/>
                      </a:lnTo>
                      <a:lnTo>
                        <a:pt x="882" y="446"/>
                      </a:lnTo>
                      <a:lnTo>
                        <a:pt x="876" y="438"/>
                      </a:lnTo>
                      <a:lnTo>
                        <a:pt x="870" y="430"/>
                      </a:lnTo>
                      <a:lnTo>
                        <a:pt x="860" y="408"/>
                      </a:lnTo>
                      <a:lnTo>
                        <a:pt x="852" y="386"/>
                      </a:lnTo>
                      <a:lnTo>
                        <a:pt x="848" y="376"/>
                      </a:lnTo>
                      <a:lnTo>
                        <a:pt x="848" y="366"/>
                      </a:lnTo>
                      <a:lnTo>
                        <a:pt x="848" y="366"/>
                      </a:lnTo>
                      <a:lnTo>
                        <a:pt x="848" y="322"/>
                      </a:lnTo>
                      <a:lnTo>
                        <a:pt x="846" y="302"/>
                      </a:lnTo>
                      <a:lnTo>
                        <a:pt x="844" y="292"/>
                      </a:lnTo>
                      <a:lnTo>
                        <a:pt x="842" y="286"/>
                      </a:lnTo>
                      <a:lnTo>
                        <a:pt x="842" y="286"/>
                      </a:lnTo>
                      <a:lnTo>
                        <a:pt x="836" y="272"/>
                      </a:lnTo>
                      <a:lnTo>
                        <a:pt x="830" y="266"/>
                      </a:lnTo>
                      <a:lnTo>
                        <a:pt x="820" y="262"/>
                      </a:lnTo>
                      <a:lnTo>
                        <a:pt x="820" y="262"/>
                      </a:lnTo>
                      <a:lnTo>
                        <a:pt x="804" y="260"/>
                      </a:lnTo>
                      <a:lnTo>
                        <a:pt x="786" y="258"/>
                      </a:lnTo>
                      <a:lnTo>
                        <a:pt x="780" y="258"/>
                      </a:lnTo>
                      <a:lnTo>
                        <a:pt x="774" y="256"/>
                      </a:lnTo>
                      <a:lnTo>
                        <a:pt x="772" y="252"/>
                      </a:lnTo>
                      <a:lnTo>
                        <a:pt x="774" y="248"/>
                      </a:lnTo>
                      <a:lnTo>
                        <a:pt x="774" y="248"/>
                      </a:lnTo>
                      <a:lnTo>
                        <a:pt x="780" y="238"/>
                      </a:lnTo>
                      <a:lnTo>
                        <a:pt x="784" y="234"/>
                      </a:lnTo>
                      <a:lnTo>
                        <a:pt x="790" y="230"/>
                      </a:lnTo>
                      <a:lnTo>
                        <a:pt x="804" y="232"/>
                      </a:lnTo>
                      <a:lnTo>
                        <a:pt x="804" y="232"/>
                      </a:lnTo>
                      <a:lnTo>
                        <a:pt x="820" y="234"/>
                      </a:lnTo>
                      <a:lnTo>
                        <a:pt x="830" y="236"/>
                      </a:lnTo>
                      <a:lnTo>
                        <a:pt x="838" y="234"/>
                      </a:lnTo>
                      <a:lnTo>
                        <a:pt x="852" y="228"/>
                      </a:lnTo>
                      <a:lnTo>
                        <a:pt x="852" y="228"/>
                      </a:lnTo>
                      <a:lnTo>
                        <a:pt x="864" y="220"/>
                      </a:lnTo>
                      <a:lnTo>
                        <a:pt x="868" y="218"/>
                      </a:lnTo>
                      <a:lnTo>
                        <a:pt x="874" y="216"/>
                      </a:lnTo>
                      <a:lnTo>
                        <a:pt x="878" y="214"/>
                      </a:lnTo>
                      <a:lnTo>
                        <a:pt x="886" y="216"/>
                      </a:lnTo>
                      <a:lnTo>
                        <a:pt x="896" y="220"/>
                      </a:lnTo>
                      <a:lnTo>
                        <a:pt x="908" y="228"/>
                      </a:lnTo>
                      <a:lnTo>
                        <a:pt x="908" y="228"/>
                      </a:lnTo>
                      <a:lnTo>
                        <a:pt x="922" y="236"/>
                      </a:lnTo>
                      <a:lnTo>
                        <a:pt x="934" y="242"/>
                      </a:lnTo>
                      <a:lnTo>
                        <a:pt x="956" y="250"/>
                      </a:lnTo>
                      <a:lnTo>
                        <a:pt x="962" y="254"/>
                      </a:lnTo>
                      <a:lnTo>
                        <a:pt x="968" y="260"/>
                      </a:lnTo>
                      <a:lnTo>
                        <a:pt x="970" y="266"/>
                      </a:lnTo>
                      <a:lnTo>
                        <a:pt x="972" y="276"/>
                      </a:lnTo>
                      <a:lnTo>
                        <a:pt x="972" y="276"/>
                      </a:lnTo>
                      <a:lnTo>
                        <a:pt x="970" y="292"/>
                      </a:lnTo>
                      <a:lnTo>
                        <a:pt x="968" y="304"/>
                      </a:lnTo>
                      <a:lnTo>
                        <a:pt x="966" y="308"/>
                      </a:lnTo>
                      <a:lnTo>
                        <a:pt x="962" y="312"/>
                      </a:lnTo>
                      <a:lnTo>
                        <a:pt x="950" y="320"/>
                      </a:lnTo>
                      <a:lnTo>
                        <a:pt x="950" y="320"/>
                      </a:lnTo>
                      <a:lnTo>
                        <a:pt x="934" y="328"/>
                      </a:lnTo>
                      <a:lnTo>
                        <a:pt x="922" y="336"/>
                      </a:lnTo>
                      <a:lnTo>
                        <a:pt x="916" y="342"/>
                      </a:lnTo>
                      <a:lnTo>
                        <a:pt x="912" y="348"/>
                      </a:lnTo>
                      <a:lnTo>
                        <a:pt x="910" y="356"/>
                      </a:lnTo>
                      <a:lnTo>
                        <a:pt x="908" y="364"/>
                      </a:lnTo>
                      <a:lnTo>
                        <a:pt x="908" y="364"/>
                      </a:lnTo>
                      <a:lnTo>
                        <a:pt x="906" y="382"/>
                      </a:lnTo>
                      <a:lnTo>
                        <a:pt x="906" y="394"/>
                      </a:lnTo>
                      <a:lnTo>
                        <a:pt x="906" y="400"/>
                      </a:lnTo>
                      <a:lnTo>
                        <a:pt x="910" y="404"/>
                      </a:lnTo>
                      <a:lnTo>
                        <a:pt x="916" y="410"/>
                      </a:lnTo>
                      <a:lnTo>
                        <a:pt x="924" y="416"/>
                      </a:lnTo>
                      <a:lnTo>
                        <a:pt x="924" y="416"/>
                      </a:lnTo>
                      <a:lnTo>
                        <a:pt x="936" y="422"/>
                      </a:lnTo>
                      <a:lnTo>
                        <a:pt x="946" y="432"/>
                      </a:lnTo>
                      <a:lnTo>
                        <a:pt x="964" y="448"/>
                      </a:lnTo>
                      <a:lnTo>
                        <a:pt x="974" y="456"/>
                      </a:lnTo>
                      <a:lnTo>
                        <a:pt x="984" y="460"/>
                      </a:lnTo>
                      <a:lnTo>
                        <a:pt x="996" y="460"/>
                      </a:lnTo>
                      <a:lnTo>
                        <a:pt x="1006" y="456"/>
                      </a:lnTo>
                      <a:lnTo>
                        <a:pt x="1006" y="456"/>
                      </a:lnTo>
                      <a:lnTo>
                        <a:pt x="1026" y="448"/>
                      </a:lnTo>
                      <a:lnTo>
                        <a:pt x="1038" y="440"/>
                      </a:lnTo>
                      <a:lnTo>
                        <a:pt x="1048" y="430"/>
                      </a:lnTo>
                      <a:lnTo>
                        <a:pt x="1060" y="414"/>
                      </a:lnTo>
                      <a:lnTo>
                        <a:pt x="1060" y="414"/>
                      </a:lnTo>
                      <a:lnTo>
                        <a:pt x="1068" y="398"/>
                      </a:lnTo>
                      <a:lnTo>
                        <a:pt x="1068" y="392"/>
                      </a:lnTo>
                      <a:lnTo>
                        <a:pt x="1068" y="388"/>
                      </a:lnTo>
                      <a:lnTo>
                        <a:pt x="1064" y="374"/>
                      </a:lnTo>
                      <a:lnTo>
                        <a:pt x="1062" y="364"/>
                      </a:lnTo>
                      <a:lnTo>
                        <a:pt x="1060" y="350"/>
                      </a:lnTo>
                      <a:lnTo>
                        <a:pt x="1060" y="350"/>
                      </a:lnTo>
                      <a:lnTo>
                        <a:pt x="1058" y="324"/>
                      </a:lnTo>
                      <a:lnTo>
                        <a:pt x="1058" y="310"/>
                      </a:lnTo>
                      <a:lnTo>
                        <a:pt x="1062" y="300"/>
                      </a:lnTo>
                      <a:lnTo>
                        <a:pt x="1072" y="284"/>
                      </a:lnTo>
                      <a:lnTo>
                        <a:pt x="1072" y="284"/>
                      </a:lnTo>
                      <a:lnTo>
                        <a:pt x="1078" y="276"/>
                      </a:lnTo>
                      <a:lnTo>
                        <a:pt x="1078" y="270"/>
                      </a:lnTo>
                      <a:lnTo>
                        <a:pt x="1078" y="266"/>
                      </a:lnTo>
                      <a:lnTo>
                        <a:pt x="1078" y="264"/>
                      </a:lnTo>
                      <a:lnTo>
                        <a:pt x="1078" y="260"/>
                      </a:lnTo>
                      <a:lnTo>
                        <a:pt x="1078" y="256"/>
                      </a:lnTo>
                      <a:lnTo>
                        <a:pt x="1082" y="252"/>
                      </a:lnTo>
                      <a:lnTo>
                        <a:pt x="1090" y="242"/>
                      </a:lnTo>
                      <a:lnTo>
                        <a:pt x="1090" y="242"/>
                      </a:lnTo>
                      <a:lnTo>
                        <a:pt x="1106" y="226"/>
                      </a:lnTo>
                      <a:lnTo>
                        <a:pt x="1116" y="214"/>
                      </a:lnTo>
                      <a:lnTo>
                        <a:pt x="1126" y="198"/>
                      </a:lnTo>
                      <a:lnTo>
                        <a:pt x="1136" y="170"/>
                      </a:lnTo>
                      <a:lnTo>
                        <a:pt x="1136" y="170"/>
                      </a:lnTo>
                      <a:lnTo>
                        <a:pt x="1148" y="138"/>
                      </a:lnTo>
                      <a:lnTo>
                        <a:pt x="1154" y="116"/>
                      </a:lnTo>
                      <a:lnTo>
                        <a:pt x="1160" y="106"/>
                      </a:lnTo>
                      <a:lnTo>
                        <a:pt x="1164" y="100"/>
                      </a:lnTo>
                      <a:lnTo>
                        <a:pt x="1172" y="96"/>
                      </a:lnTo>
                      <a:lnTo>
                        <a:pt x="1182" y="92"/>
                      </a:lnTo>
                      <a:lnTo>
                        <a:pt x="1182" y="92"/>
                      </a:lnTo>
                      <a:lnTo>
                        <a:pt x="1186" y="92"/>
                      </a:lnTo>
                      <a:lnTo>
                        <a:pt x="1192" y="92"/>
                      </a:lnTo>
                      <a:lnTo>
                        <a:pt x="1200" y="96"/>
                      </a:lnTo>
                      <a:lnTo>
                        <a:pt x="1208" y="102"/>
                      </a:lnTo>
                      <a:lnTo>
                        <a:pt x="1216" y="108"/>
                      </a:lnTo>
                      <a:lnTo>
                        <a:pt x="1222" y="114"/>
                      </a:lnTo>
                      <a:lnTo>
                        <a:pt x="1224" y="114"/>
                      </a:lnTo>
                      <a:lnTo>
                        <a:pt x="1226" y="114"/>
                      </a:lnTo>
                      <a:lnTo>
                        <a:pt x="1228" y="112"/>
                      </a:lnTo>
                      <a:lnTo>
                        <a:pt x="1228" y="108"/>
                      </a:lnTo>
                      <a:lnTo>
                        <a:pt x="1230" y="96"/>
                      </a:lnTo>
                      <a:lnTo>
                        <a:pt x="1230" y="96"/>
                      </a:lnTo>
                      <a:lnTo>
                        <a:pt x="1228" y="80"/>
                      </a:lnTo>
                      <a:lnTo>
                        <a:pt x="1224" y="68"/>
                      </a:lnTo>
                      <a:lnTo>
                        <a:pt x="1214" y="50"/>
                      </a:lnTo>
                      <a:lnTo>
                        <a:pt x="1212" y="42"/>
                      </a:lnTo>
                      <a:lnTo>
                        <a:pt x="1214" y="32"/>
                      </a:lnTo>
                      <a:lnTo>
                        <a:pt x="1222" y="22"/>
                      </a:lnTo>
                      <a:lnTo>
                        <a:pt x="1238" y="10"/>
                      </a:lnTo>
                      <a:lnTo>
                        <a:pt x="1238" y="10"/>
                      </a:lnTo>
                      <a:lnTo>
                        <a:pt x="1244" y="4"/>
                      </a:lnTo>
                      <a:lnTo>
                        <a:pt x="1250" y="2"/>
                      </a:lnTo>
                      <a:lnTo>
                        <a:pt x="1256" y="0"/>
                      </a:lnTo>
                      <a:lnTo>
                        <a:pt x="1266" y="0"/>
                      </a:lnTo>
                      <a:lnTo>
                        <a:pt x="1266" y="0"/>
                      </a:lnTo>
                      <a:lnTo>
                        <a:pt x="1272" y="2"/>
                      </a:lnTo>
                      <a:lnTo>
                        <a:pt x="1278" y="4"/>
                      </a:lnTo>
                      <a:lnTo>
                        <a:pt x="1282" y="8"/>
                      </a:lnTo>
                      <a:lnTo>
                        <a:pt x="1284" y="12"/>
                      </a:lnTo>
                      <a:lnTo>
                        <a:pt x="1286" y="24"/>
                      </a:lnTo>
                      <a:lnTo>
                        <a:pt x="1288" y="38"/>
                      </a:lnTo>
                      <a:lnTo>
                        <a:pt x="1288" y="50"/>
                      </a:lnTo>
                      <a:lnTo>
                        <a:pt x="1292" y="60"/>
                      </a:lnTo>
                      <a:lnTo>
                        <a:pt x="1294" y="62"/>
                      </a:lnTo>
                      <a:lnTo>
                        <a:pt x="1298" y="64"/>
                      </a:lnTo>
                      <a:lnTo>
                        <a:pt x="1304" y="64"/>
                      </a:lnTo>
                      <a:lnTo>
                        <a:pt x="1312" y="62"/>
                      </a:lnTo>
                      <a:lnTo>
                        <a:pt x="1312" y="62"/>
                      </a:lnTo>
                      <a:lnTo>
                        <a:pt x="1342" y="50"/>
                      </a:lnTo>
                      <a:lnTo>
                        <a:pt x="1360" y="44"/>
                      </a:lnTo>
                      <a:lnTo>
                        <a:pt x="1364" y="40"/>
                      </a:lnTo>
                      <a:lnTo>
                        <a:pt x="1366" y="36"/>
                      </a:lnTo>
                      <a:lnTo>
                        <a:pt x="1366" y="30"/>
                      </a:lnTo>
                      <a:lnTo>
                        <a:pt x="1362" y="22"/>
                      </a:lnTo>
                      <a:lnTo>
                        <a:pt x="1362" y="22"/>
                      </a:lnTo>
                      <a:lnTo>
                        <a:pt x="1356" y="10"/>
                      </a:lnTo>
                      <a:lnTo>
                        <a:pt x="1352" y="0"/>
                      </a:lnTo>
                      <a:lnTo>
                        <a:pt x="2650" y="0"/>
                      </a:lnTo>
                      <a:lnTo>
                        <a:pt x="2650" y="3926"/>
                      </a:lnTo>
                      <a:lnTo>
                        <a:pt x="2650" y="392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97" name="Freeform 9">
                  <a:extLst>
                    <a:ext uri="{FF2B5EF4-FFF2-40B4-BE49-F238E27FC236}">
                      <a16:creationId xmlns:a16="http://schemas.microsoft.com/office/drawing/2014/main" id="{6A09C39C-7CEF-45AA-8F31-4628207D6B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7129" y="1939920"/>
                  <a:ext cx="2019647" cy="3022612"/>
                </a:xfrm>
                <a:custGeom>
                  <a:avLst/>
                  <a:gdLst/>
                  <a:ahLst/>
                  <a:cxnLst>
                    <a:cxn ang="0">
                      <a:pos x="2446" y="3910"/>
                    </a:cxn>
                    <a:cxn ang="0">
                      <a:pos x="2272" y="3880"/>
                    </a:cxn>
                    <a:cxn ang="0">
                      <a:pos x="2114" y="3882"/>
                    </a:cxn>
                    <a:cxn ang="0">
                      <a:pos x="1848" y="3926"/>
                    </a:cxn>
                    <a:cxn ang="0">
                      <a:pos x="1542" y="3886"/>
                    </a:cxn>
                    <a:cxn ang="0">
                      <a:pos x="1362" y="3828"/>
                    </a:cxn>
                    <a:cxn ang="0">
                      <a:pos x="1440" y="3770"/>
                    </a:cxn>
                    <a:cxn ang="0">
                      <a:pos x="1460" y="3628"/>
                    </a:cxn>
                    <a:cxn ang="0">
                      <a:pos x="1516" y="3466"/>
                    </a:cxn>
                    <a:cxn ang="0">
                      <a:pos x="1388" y="3498"/>
                    </a:cxn>
                    <a:cxn ang="0">
                      <a:pos x="1448" y="3354"/>
                    </a:cxn>
                    <a:cxn ang="0">
                      <a:pos x="1480" y="3256"/>
                    </a:cxn>
                    <a:cxn ang="0">
                      <a:pos x="1460" y="3140"/>
                    </a:cxn>
                    <a:cxn ang="0">
                      <a:pos x="1318" y="3080"/>
                    </a:cxn>
                    <a:cxn ang="0">
                      <a:pos x="1046" y="3082"/>
                    </a:cxn>
                    <a:cxn ang="0">
                      <a:pos x="986" y="3060"/>
                    </a:cxn>
                    <a:cxn ang="0">
                      <a:pos x="874" y="3002"/>
                    </a:cxn>
                    <a:cxn ang="0">
                      <a:pos x="770" y="2864"/>
                    </a:cxn>
                    <a:cxn ang="0">
                      <a:pos x="602" y="2914"/>
                    </a:cxn>
                    <a:cxn ang="0">
                      <a:pos x="542" y="2758"/>
                    </a:cxn>
                    <a:cxn ang="0">
                      <a:pos x="582" y="2658"/>
                    </a:cxn>
                    <a:cxn ang="0">
                      <a:pos x="500" y="2602"/>
                    </a:cxn>
                    <a:cxn ang="0">
                      <a:pos x="426" y="2416"/>
                    </a:cxn>
                    <a:cxn ang="0">
                      <a:pos x="212" y="2352"/>
                    </a:cxn>
                    <a:cxn ang="0">
                      <a:pos x="110" y="2176"/>
                    </a:cxn>
                    <a:cxn ang="0">
                      <a:pos x="142" y="2088"/>
                    </a:cxn>
                    <a:cxn ang="0">
                      <a:pos x="100" y="1974"/>
                    </a:cxn>
                    <a:cxn ang="0">
                      <a:pos x="98" y="1824"/>
                    </a:cxn>
                    <a:cxn ang="0">
                      <a:pos x="252" y="1764"/>
                    </a:cxn>
                    <a:cxn ang="0">
                      <a:pos x="170" y="1706"/>
                    </a:cxn>
                    <a:cxn ang="0">
                      <a:pos x="218" y="1402"/>
                    </a:cxn>
                    <a:cxn ang="0">
                      <a:pos x="168" y="1098"/>
                    </a:cxn>
                    <a:cxn ang="0">
                      <a:pos x="118" y="958"/>
                    </a:cxn>
                    <a:cxn ang="0">
                      <a:pos x="46" y="684"/>
                    </a:cxn>
                    <a:cxn ang="0">
                      <a:pos x="32" y="486"/>
                    </a:cxn>
                    <a:cxn ang="0">
                      <a:pos x="68" y="262"/>
                    </a:cxn>
                    <a:cxn ang="0">
                      <a:pos x="320" y="258"/>
                    </a:cxn>
                    <a:cxn ang="0">
                      <a:pos x="582" y="388"/>
                    </a:cxn>
                    <a:cxn ang="0">
                      <a:pos x="720" y="492"/>
                    </a:cxn>
                    <a:cxn ang="0">
                      <a:pos x="602" y="704"/>
                    </a:cxn>
                    <a:cxn ang="0">
                      <a:pos x="332" y="686"/>
                    </a:cxn>
                    <a:cxn ang="0">
                      <a:pos x="216" y="636"/>
                    </a:cxn>
                    <a:cxn ang="0">
                      <a:pos x="430" y="806"/>
                    </a:cxn>
                    <a:cxn ang="0">
                      <a:pos x="434" y="948"/>
                    </a:cxn>
                    <a:cxn ang="0">
                      <a:pos x="604" y="1054"/>
                    </a:cxn>
                    <a:cxn ang="0">
                      <a:pos x="626" y="966"/>
                    </a:cxn>
                    <a:cxn ang="0">
                      <a:pos x="544" y="866"/>
                    </a:cxn>
                    <a:cxn ang="0">
                      <a:pos x="686" y="898"/>
                    </a:cxn>
                    <a:cxn ang="0">
                      <a:pos x="750" y="840"/>
                    </a:cxn>
                    <a:cxn ang="0">
                      <a:pos x="782" y="632"/>
                    </a:cxn>
                    <a:cxn ang="0">
                      <a:pos x="878" y="602"/>
                    </a:cxn>
                    <a:cxn ang="0">
                      <a:pos x="918" y="496"/>
                    </a:cxn>
                    <a:cxn ang="0">
                      <a:pos x="842" y="286"/>
                    </a:cxn>
                    <a:cxn ang="0">
                      <a:pos x="830" y="236"/>
                    </a:cxn>
                    <a:cxn ang="0">
                      <a:pos x="972" y="276"/>
                    </a:cxn>
                    <a:cxn ang="0">
                      <a:pos x="910" y="404"/>
                    </a:cxn>
                    <a:cxn ang="0">
                      <a:pos x="1068" y="392"/>
                    </a:cxn>
                    <a:cxn ang="0">
                      <a:pos x="1090" y="242"/>
                    </a:cxn>
                    <a:cxn ang="0">
                      <a:pos x="1216" y="108"/>
                    </a:cxn>
                    <a:cxn ang="0">
                      <a:pos x="1256" y="0"/>
                    </a:cxn>
                    <a:cxn ang="0">
                      <a:pos x="1364" y="40"/>
                    </a:cxn>
                  </a:cxnLst>
                  <a:rect l="0" t="0" r="r" b="b"/>
                  <a:pathLst>
                    <a:path w="2650" h="3966">
                      <a:moveTo>
                        <a:pt x="2650" y="3924"/>
                      </a:moveTo>
                      <a:lnTo>
                        <a:pt x="2650" y="3924"/>
                      </a:lnTo>
                      <a:lnTo>
                        <a:pt x="2628" y="3920"/>
                      </a:lnTo>
                      <a:lnTo>
                        <a:pt x="2594" y="3910"/>
                      </a:lnTo>
                      <a:lnTo>
                        <a:pt x="2594" y="3910"/>
                      </a:lnTo>
                      <a:lnTo>
                        <a:pt x="2578" y="3906"/>
                      </a:lnTo>
                      <a:lnTo>
                        <a:pt x="2564" y="3904"/>
                      </a:lnTo>
                      <a:lnTo>
                        <a:pt x="2538" y="3904"/>
                      </a:lnTo>
                      <a:lnTo>
                        <a:pt x="2516" y="3906"/>
                      </a:lnTo>
                      <a:lnTo>
                        <a:pt x="2508" y="3906"/>
                      </a:lnTo>
                      <a:lnTo>
                        <a:pt x="2500" y="3904"/>
                      </a:lnTo>
                      <a:lnTo>
                        <a:pt x="2500" y="3904"/>
                      </a:lnTo>
                      <a:lnTo>
                        <a:pt x="2492" y="3904"/>
                      </a:lnTo>
                      <a:lnTo>
                        <a:pt x="2484" y="3906"/>
                      </a:lnTo>
                      <a:lnTo>
                        <a:pt x="2468" y="3914"/>
                      </a:lnTo>
                      <a:lnTo>
                        <a:pt x="2462" y="3916"/>
                      </a:lnTo>
                      <a:lnTo>
                        <a:pt x="2454" y="3916"/>
                      </a:lnTo>
                      <a:lnTo>
                        <a:pt x="2446" y="3910"/>
                      </a:lnTo>
                      <a:lnTo>
                        <a:pt x="2440" y="3900"/>
                      </a:lnTo>
                      <a:lnTo>
                        <a:pt x="2440" y="3900"/>
                      </a:lnTo>
                      <a:lnTo>
                        <a:pt x="2436" y="3886"/>
                      </a:lnTo>
                      <a:lnTo>
                        <a:pt x="2434" y="3874"/>
                      </a:lnTo>
                      <a:lnTo>
                        <a:pt x="2432" y="3860"/>
                      </a:lnTo>
                      <a:lnTo>
                        <a:pt x="2432" y="3854"/>
                      </a:lnTo>
                      <a:lnTo>
                        <a:pt x="2428" y="3852"/>
                      </a:lnTo>
                      <a:lnTo>
                        <a:pt x="2420" y="3850"/>
                      </a:lnTo>
                      <a:lnTo>
                        <a:pt x="2408" y="3848"/>
                      </a:lnTo>
                      <a:lnTo>
                        <a:pt x="2408" y="3848"/>
                      </a:lnTo>
                      <a:lnTo>
                        <a:pt x="2382" y="3848"/>
                      </a:lnTo>
                      <a:lnTo>
                        <a:pt x="2358" y="3852"/>
                      </a:lnTo>
                      <a:lnTo>
                        <a:pt x="2340" y="3856"/>
                      </a:lnTo>
                      <a:lnTo>
                        <a:pt x="2320" y="3862"/>
                      </a:lnTo>
                      <a:lnTo>
                        <a:pt x="2320" y="3862"/>
                      </a:lnTo>
                      <a:lnTo>
                        <a:pt x="2302" y="3868"/>
                      </a:lnTo>
                      <a:lnTo>
                        <a:pt x="2286" y="3876"/>
                      </a:lnTo>
                      <a:lnTo>
                        <a:pt x="2272" y="3880"/>
                      </a:lnTo>
                      <a:lnTo>
                        <a:pt x="2266" y="3880"/>
                      </a:lnTo>
                      <a:lnTo>
                        <a:pt x="2260" y="3878"/>
                      </a:lnTo>
                      <a:lnTo>
                        <a:pt x="2260" y="3878"/>
                      </a:lnTo>
                      <a:lnTo>
                        <a:pt x="2254" y="3876"/>
                      </a:lnTo>
                      <a:lnTo>
                        <a:pt x="2248" y="3878"/>
                      </a:lnTo>
                      <a:lnTo>
                        <a:pt x="2242" y="3882"/>
                      </a:lnTo>
                      <a:lnTo>
                        <a:pt x="2234" y="3888"/>
                      </a:lnTo>
                      <a:lnTo>
                        <a:pt x="2220" y="3900"/>
                      </a:lnTo>
                      <a:lnTo>
                        <a:pt x="2212" y="3912"/>
                      </a:lnTo>
                      <a:lnTo>
                        <a:pt x="2212" y="3912"/>
                      </a:lnTo>
                      <a:lnTo>
                        <a:pt x="2208" y="3914"/>
                      </a:lnTo>
                      <a:lnTo>
                        <a:pt x="2204" y="3914"/>
                      </a:lnTo>
                      <a:lnTo>
                        <a:pt x="2188" y="3908"/>
                      </a:lnTo>
                      <a:lnTo>
                        <a:pt x="2170" y="3894"/>
                      </a:lnTo>
                      <a:lnTo>
                        <a:pt x="2170" y="3894"/>
                      </a:lnTo>
                      <a:lnTo>
                        <a:pt x="2144" y="3888"/>
                      </a:lnTo>
                      <a:lnTo>
                        <a:pt x="2124" y="3884"/>
                      </a:lnTo>
                      <a:lnTo>
                        <a:pt x="2114" y="3882"/>
                      </a:lnTo>
                      <a:lnTo>
                        <a:pt x="2108" y="3884"/>
                      </a:lnTo>
                      <a:lnTo>
                        <a:pt x="2108" y="3884"/>
                      </a:lnTo>
                      <a:lnTo>
                        <a:pt x="2096" y="3886"/>
                      </a:lnTo>
                      <a:lnTo>
                        <a:pt x="2080" y="3886"/>
                      </a:lnTo>
                      <a:lnTo>
                        <a:pt x="2062" y="3886"/>
                      </a:lnTo>
                      <a:lnTo>
                        <a:pt x="2046" y="3888"/>
                      </a:lnTo>
                      <a:lnTo>
                        <a:pt x="2046" y="3888"/>
                      </a:lnTo>
                      <a:lnTo>
                        <a:pt x="2028" y="3892"/>
                      </a:lnTo>
                      <a:lnTo>
                        <a:pt x="2008" y="3900"/>
                      </a:lnTo>
                      <a:lnTo>
                        <a:pt x="1988" y="3906"/>
                      </a:lnTo>
                      <a:lnTo>
                        <a:pt x="1970" y="3910"/>
                      </a:lnTo>
                      <a:lnTo>
                        <a:pt x="1970" y="3910"/>
                      </a:lnTo>
                      <a:lnTo>
                        <a:pt x="1938" y="3916"/>
                      </a:lnTo>
                      <a:lnTo>
                        <a:pt x="1920" y="3920"/>
                      </a:lnTo>
                      <a:lnTo>
                        <a:pt x="1898" y="3920"/>
                      </a:lnTo>
                      <a:lnTo>
                        <a:pt x="1898" y="3920"/>
                      </a:lnTo>
                      <a:lnTo>
                        <a:pt x="1872" y="3922"/>
                      </a:lnTo>
                      <a:lnTo>
                        <a:pt x="1848" y="3926"/>
                      </a:lnTo>
                      <a:lnTo>
                        <a:pt x="1826" y="3932"/>
                      </a:lnTo>
                      <a:lnTo>
                        <a:pt x="1812" y="3936"/>
                      </a:lnTo>
                      <a:lnTo>
                        <a:pt x="1812" y="3936"/>
                      </a:lnTo>
                      <a:lnTo>
                        <a:pt x="1800" y="3942"/>
                      </a:lnTo>
                      <a:lnTo>
                        <a:pt x="1786" y="3952"/>
                      </a:lnTo>
                      <a:lnTo>
                        <a:pt x="1770" y="3966"/>
                      </a:lnTo>
                      <a:lnTo>
                        <a:pt x="1770" y="3966"/>
                      </a:lnTo>
                      <a:lnTo>
                        <a:pt x="1720" y="3940"/>
                      </a:lnTo>
                      <a:lnTo>
                        <a:pt x="1662" y="3910"/>
                      </a:lnTo>
                      <a:lnTo>
                        <a:pt x="1662" y="3910"/>
                      </a:lnTo>
                      <a:lnTo>
                        <a:pt x="1650" y="3904"/>
                      </a:lnTo>
                      <a:lnTo>
                        <a:pt x="1634" y="3898"/>
                      </a:lnTo>
                      <a:lnTo>
                        <a:pt x="1614" y="3892"/>
                      </a:lnTo>
                      <a:lnTo>
                        <a:pt x="1604" y="3890"/>
                      </a:lnTo>
                      <a:lnTo>
                        <a:pt x="1594" y="3890"/>
                      </a:lnTo>
                      <a:lnTo>
                        <a:pt x="1594" y="3890"/>
                      </a:lnTo>
                      <a:lnTo>
                        <a:pt x="1558" y="3888"/>
                      </a:lnTo>
                      <a:lnTo>
                        <a:pt x="1542" y="3886"/>
                      </a:lnTo>
                      <a:lnTo>
                        <a:pt x="1542" y="3886"/>
                      </a:lnTo>
                      <a:lnTo>
                        <a:pt x="1518" y="3878"/>
                      </a:lnTo>
                      <a:lnTo>
                        <a:pt x="1498" y="3872"/>
                      </a:lnTo>
                      <a:lnTo>
                        <a:pt x="1488" y="3870"/>
                      </a:lnTo>
                      <a:lnTo>
                        <a:pt x="1478" y="3868"/>
                      </a:lnTo>
                      <a:lnTo>
                        <a:pt x="1478" y="3868"/>
                      </a:lnTo>
                      <a:lnTo>
                        <a:pt x="1462" y="3868"/>
                      </a:lnTo>
                      <a:lnTo>
                        <a:pt x="1446" y="3866"/>
                      </a:lnTo>
                      <a:lnTo>
                        <a:pt x="1432" y="3860"/>
                      </a:lnTo>
                      <a:lnTo>
                        <a:pt x="1424" y="3856"/>
                      </a:lnTo>
                      <a:lnTo>
                        <a:pt x="1424" y="3856"/>
                      </a:lnTo>
                      <a:lnTo>
                        <a:pt x="1420" y="3854"/>
                      </a:lnTo>
                      <a:lnTo>
                        <a:pt x="1412" y="3852"/>
                      </a:lnTo>
                      <a:lnTo>
                        <a:pt x="1388" y="3846"/>
                      </a:lnTo>
                      <a:lnTo>
                        <a:pt x="1378" y="3842"/>
                      </a:lnTo>
                      <a:lnTo>
                        <a:pt x="1368" y="3836"/>
                      </a:lnTo>
                      <a:lnTo>
                        <a:pt x="1364" y="3832"/>
                      </a:lnTo>
                      <a:lnTo>
                        <a:pt x="1362" y="3828"/>
                      </a:lnTo>
                      <a:lnTo>
                        <a:pt x="1362" y="3824"/>
                      </a:lnTo>
                      <a:lnTo>
                        <a:pt x="1362" y="3818"/>
                      </a:lnTo>
                      <a:lnTo>
                        <a:pt x="1362" y="3818"/>
                      </a:lnTo>
                      <a:lnTo>
                        <a:pt x="1366" y="3800"/>
                      </a:lnTo>
                      <a:lnTo>
                        <a:pt x="1368" y="3794"/>
                      </a:lnTo>
                      <a:lnTo>
                        <a:pt x="1372" y="3792"/>
                      </a:lnTo>
                      <a:lnTo>
                        <a:pt x="1376" y="3788"/>
                      </a:lnTo>
                      <a:lnTo>
                        <a:pt x="1382" y="3788"/>
                      </a:lnTo>
                      <a:lnTo>
                        <a:pt x="1398" y="3786"/>
                      </a:lnTo>
                      <a:lnTo>
                        <a:pt x="1398" y="3786"/>
                      </a:lnTo>
                      <a:lnTo>
                        <a:pt x="1408" y="3784"/>
                      </a:lnTo>
                      <a:lnTo>
                        <a:pt x="1418" y="3784"/>
                      </a:lnTo>
                      <a:lnTo>
                        <a:pt x="1432" y="3786"/>
                      </a:lnTo>
                      <a:lnTo>
                        <a:pt x="1438" y="3786"/>
                      </a:lnTo>
                      <a:lnTo>
                        <a:pt x="1440" y="3784"/>
                      </a:lnTo>
                      <a:lnTo>
                        <a:pt x="1442" y="3778"/>
                      </a:lnTo>
                      <a:lnTo>
                        <a:pt x="1440" y="3770"/>
                      </a:lnTo>
                      <a:lnTo>
                        <a:pt x="1440" y="3770"/>
                      </a:lnTo>
                      <a:lnTo>
                        <a:pt x="1434" y="3750"/>
                      </a:lnTo>
                      <a:lnTo>
                        <a:pt x="1426" y="3730"/>
                      </a:lnTo>
                      <a:lnTo>
                        <a:pt x="1422" y="3720"/>
                      </a:lnTo>
                      <a:lnTo>
                        <a:pt x="1420" y="3712"/>
                      </a:lnTo>
                      <a:lnTo>
                        <a:pt x="1420" y="3704"/>
                      </a:lnTo>
                      <a:lnTo>
                        <a:pt x="1424" y="3696"/>
                      </a:lnTo>
                      <a:lnTo>
                        <a:pt x="1424" y="3696"/>
                      </a:lnTo>
                      <a:lnTo>
                        <a:pt x="1446" y="3662"/>
                      </a:lnTo>
                      <a:lnTo>
                        <a:pt x="1456" y="3648"/>
                      </a:lnTo>
                      <a:lnTo>
                        <a:pt x="1460" y="3644"/>
                      </a:lnTo>
                      <a:lnTo>
                        <a:pt x="1464" y="3642"/>
                      </a:lnTo>
                      <a:lnTo>
                        <a:pt x="1464" y="3642"/>
                      </a:lnTo>
                      <a:lnTo>
                        <a:pt x="1472" y="3646"/>
                      </a:lnTo>
                      <a:lnTo>
                        <a:pt x="1480" y="3650"/>
                      </a:lnTo>
                      <a:lnTo>
                        <a:pt x="1482" y="3650"/>
                      </a:lnTo>
                      <a:lnTo>
                        <a:pt x="1474" y="3642"/>
                      </a:lnTo>
                      <a:lnTo>
                        <a:pt x="1474" y="3642"/>
                      </a:lnTo>
                      <a:lnTo>
                        <a:pt x="1460" y="3628"/>
                      </a:lnTo>
                      <a:lnTo>
                        <a:pt x="1444" y="3616"/>
                      </a:lnTo>
                      <a:lnTo>
                        <a:pt x="1432" y="3606"/>
                      </a:lnTo>
                      <a:lnTo>
                        <a:pt x="1426" y="3598"/>
                      </a:lnTo>
                      <a:lnTo>
                        <a:pt x="1426" y="3598"/>
                      </a:lnTo>
                      <a:lnTo>
                        <a:pt x="1426" y="3588"/>
                      </a:lnTo>
                      <a:lnTo>
                        <a:pt x="1428" y="3574"/>
                      </a:lnTo>
                      <a:lnTo>
                        <a:pt x="1432" y="3566"/>
                      </a:lnTo>
                      <a:lnTo>
                        <a:pt x="1436" y="3556"/>
                      </a:lnTo>
                      <a:lnTo>
                        <a:pt x="1442" y="3550"/>
                      </a:lnTo>
                      <a:lnTo>
                        <a:pt x="1448" y="3542"/>
                      </a:lnTo>
                      <a:lnTo>
                        <a:pt x="1448" y="3542"/>
                      </a:lnTo>
                      <a:lnTo>
                        <a:pt x="1462" y="3532"/>
                      </a:lnTo>
                      <a:lnTo>
                        <a:pt x="1468" y="3524"/>
                      </a:lnTo>
                      <a:lnTo>
                        <a:pt x="1486" y="3496"/>
                      </a:lnTo>
                      <a:lnTo>
                        <a:pt x="1486" y="3496"/>
                      </a:lnTo>
                      <a:lnTo>
                        <a:pt x="1494" y="3486"/>
                      </a:lnTo>
                      <a:lnTo>
                        <a:pt x="1502" y="3478"/>
                      </a:lnTo>
                      <a:lnTo>
                        <a:pt x="1516" y="3466"/>
                      </a:lnTo>
                      <a:lnTo>
                        <a:pt x="1520" y="3462"/>
                      </a:lnTo>
                      <a:lnTo>
                        <a:pt x="1522" y="3460"/>
                      </a:lnTo>
                      <a:lnTo>
                        <a:pt x="1520" y="3456"/>
                      </a:lnTo>
                      <a:lnTo>
                        <a:pt x="1514" y="3452"/>
                      </a:lnTo>
                      <a:lnTo>
                        <a:pt x="1514" y="3452"/>
                      </a:lnTo>
                      <a:lnTo>
                        <a:pt x="1504" y="3448"/>
                      </a:lnTo>
                      <a:lnTo>
                        <a:pt x="1494" y="3446"/>
                      </a:lnTo>
                      <a:lnTo>
                        <a:pt x="1484" y="3448"/>
                      </a:lnTo>
                      <a:lnTo>
                        <a:pt x="1476" y="3452"/>
                      </a:lnTo>
                      <a:lnTo>
                        <a:pt x="1456" y="3460"/>
                      </a:lnTo>
                      <a:lnTo>
                        <a:pt x="1438" y="3468"/>
                      </a:lnTo>
                      <a:lnTo>
                        <a:pt x="1438" y="3468"/>
                      </a:lnTo>
                      <a:lnTo>
                        <a:pt x="1428" y="3474"/>
                      </a:lnTo>
                      <a:lnTo>
                        <a:pt x="1418" y="3482"/>
                      </a:lnTo>
                      <a:lnTo>
                        <a:pt x="1402" y="3496"/>
                      </a:lnTo>
                      <a:lnTo>
                        <a:pt x="1396" y="3500"/>
                      </a:lnTo>
                      <a:lnTo>
                        <a:pt x="1390" y="3500"/>
                      </a:lnTo>
                      <a:lnTo>
                        <a:pt x="1388" y="3498"/>
                      </a:lnTo>
                      <a:lnTo>
                        <a:pt x="1386" y="3496"/>
                      </a:lnTo>
                      <a:lnTo>
                        <a:pt x="1384" y="3486"/>
                      </a:lnTo>
                      <a:lnTo>
                        <a:pt x="1384" y="3486"/>
                      </a:lnTo>
                      <a:lnTo>
                        <a:pt x="1382" y="3462"/>
                      </a:lnTo>
                      <a:lnTo>
                        <a:pt x="1382" y="3444"/>
                      </a:lnTo>
                      <a:lnTo>
                        <a:pt x="1382" y="3436"/>
                      </a:lnTo>
                      <a:lnTo>
                        <a:pt x="1384" y="3428"/>
                      </a:lnTo>
                      <a:lnTo>
                        <a:pt x="1388" y="3422"/>
                      </a:lnTo>
                      <a:lnTo>
                        <a:pt x="1396" y="3414"/>
                      </a:lnTo>
                      <a:lnTo>
                        <a:pt x="1396" y="3414"/>
                      </a:lnTo>
                      <a:lnTo>
                        <a:pt x="1404" y="3406"/>
                      </a:lnTo>
                      <a:lnTo>
                        <a:pt x="1410" y="3398"/>
                      </a:lnTo>
                      <a:lnTo>
                        <a:pt x="1420" y="3378"/>
                      </a:lnTo>
                      <a:lnTo>
                        <a:pt x="1426" y="3370"/>
                      </a:lnTo>
                      <a:lnTo>
                        <a:pt x="1432" y="3362"/>
                      </a:lnTo>
                      <a:lnTo>
                        <a:pt x="1438" y="3356"/>
                      </a:lnTo>
                      <a:lnTo>
                        <a:pt x="1448" y="3354"/>
                      </a:lnTo>
                      <a:lnTo>
                        <a:pt x="1448" y="3354"/>
                      </a:lnTo>
                      <a:lnTo>
                        <a:pt x="1458" y="3354"/>
                      </a:lnTo>
                      <a:lnTo>
                        <a:pt x="1468" y="3354"/>
                      </a:lnTo>
                      <a:lnTo>
                        <a:pt x="1484" y="3358"/>
                      </a:lnTo>
                      <a:lnTo>
                        <a:pt x="1490" y="3358"/>
                      </a:lnTo>
                      <a:lnTo>
                        <a:pt x="1494" y="3354"/>
                      </a:lnTo>
                      <a:lnTo>
                        <a:pt x="1500" y="3348"/>
                      </a:lnTo>
                      <a:lnTo>
                        <a:pt x="1502" y="3336"/>
                      </a:lnTo>
                      <a:lnTo>
                        <a:pt x="1502" y="3336"/>
                      </a:lnTo>
                      <a:lnTo>
                        <a:pt x="1506" y="3324"/>
                      </a:lnTo>
                      <a:lnTo>
                        <a:pt x="1512" y="3314"/>
                      </a:lnTo>
                      <a:lnTo>
                        <a:pt x="1522" y="3298"/>
                      </a:lnTo>
                      <a:lnTo>
                        <a:pt x="1524" y="3290"/>
                      </a:lnTo>
                      <a:lnTo>
                        <a:pt x="1524" y="3282"/>
                      </a:lnTo>
                      <a:lnTo>
                        <a:pt x="1518" y="3276"/>
                      </a:lnTo>
                      <a:lnTo>
                        <a:pt x="1506" y="3266"/>
                      </a:lnTo>
                      <a:lnTo>
                        <a:pt x="1506" y="3266"/>
                      </a:lnTo>
                      <a:lnTo>
                        <a:pt x="1492" y="3260"/>
                      </a:lnTo>
                      <a:lnTo>
                        <a:pt x="1480" y="3256"/>
                      </a:lnTo>
                      <a:lnTo>
                        <a:pt x="1458" y="3250"/>
                      </a:lnTo>
                      <a:lnTo>
                        <a:pt x="1450" y="3246"/>
                      </a:lnTo>
                      <a:lnTo>
                        <a:pt x="1446" y="3240"/>
                      </a:lnTo>
                      <a:lnTo>
                        <a:pt x="1444" y="3232"/>
                      </a:lnTo>
                      <a:lnTo>
                        <a:pt x="1446" y="3220"/>
                      </a:lnTo>
                      <a:lnTo>
                        <a:pt x="1446" y="3220"/>
                      </a:lnTo>
                      <a:lnTo>
                        <a:pt x="1448" y="3208"/>
                      </a:lnTo>
                      <a:lnTo>
                        <a:pt x="1448" y="3198"/>
                      </a:lnTo>
                      <a:lnTo>
                        <a:pt x="1446" y="3188"/>
                      </a:lnTo>
                      <a:lnTo>
                        <a:pt x="1444" y="3182"/>
                      </a:lnTo>
                      <a:lnTo>
                        <a:pt x="1440" y="3174"/>
                      </a:lnTo>
                      <a:lnTo>
                        <a:pt x="1436" y="3172"/>
                      </a:lnTo>
                      <a:lnTo>
                        <a:pt x="1436" y="3172"/>
                      </a:lnTo>
                      <a:lnTo>
                        <a:pt x="1448" y="3162"/>
                      </a:lnTo>
                      <a:lnTo>
                        <a:pt x="1454" y="3152"/>
                      </a:lnTo>
                      <a:lnTo>
                        <a:pt x="1458" y="3146"/>
                      </a:lnTo>
                      <a:lnTo>
                        <a:pt x="1460" y="3140"/>
                      </a:lnTo>
                      <a:lnTo>
                        <a:pt x="1460" y="3140"/>
                      </a:lnTo>
                      <a:lnTo>
                        <a:pt x="1464" y="3112"/>
                      </a:lnTo>
                      <a:lnTo>
                        <a:pt x="1462" y="3102"/>
                      </a:lnTo>
                      <a:lnTo>
                        <a:pt x="1462" y="3096"/>
                      </a:lnTo>
                      <a:lnTo>
                        <a:pt x="1458" y="3092"/>
                      </a:lnTo>
                      <a:lnTo>
                        <a:pt x="1458" y="3092"/>
                      </a:lnTo>
                      <a:lnTo>
                        <a:pt x="1456" y="3088"/>
                      </a:lnTo>
                      <a:lnTo>
                        <a:pt x="1456" y="3084"/>
                      </a:lnTo>
                      <a:lnTo>
                        <a:pt x="1454" y="3082"/>
                      </a:lnTo>
                      <a:lnTo>
                        <a:pt x="1452" y="3078"/>
                      </a:lnTo>
                      <a:lnTo>
                        <a:pt x="1450" y="3076"/>
                      </a:lnTo>
                      <a:lnTo>
                        <a:pt x="1444" y="3074"/>
                      </a:lnTo>
                      <a:lnTo>
                        <a:pt x="1420" y="3074"/>
                      </a:lnTo>
                      <a:lnTo>
                        <a:pt x="1420" y="3074"/>
                      </a:lnTo>
                      <a:lnTo>
                        <a:pt x="1388" y="3076"/>
                      </a:lnTo>
                      <a:lnTo>
                        <a:pt x="1360" y="3078"/>
                      </a:lnTo>
                      <a:lnTo>
                        <a:pt x="1336" y="3080"/>
                      </a:lnTo>
                      <a:lnTo>
                        <a:pt x="1318" y="3080"/>
                      </a:lnTo>
                      <a:lnTo>
                        <a:pt x="1318" y="3080"/>
                      </a:lnTo>
                      <a:lnTo>
                        <a:pt x="1286" y="3072"/>
                      </a:lnTo>
                      <a:lnTo>
                        <a:pt x="1268" y="3070"/>
                      </a:lnTo>
                      <a:lnTo>
                        <a:pt x="1260" y="3070"/>
                      </a:lnTo>
                      <a:lnTo>
                        <a:pt x="1250" y="3072"/>
                      </a:lnTo>
                      <a:lnTo>
                        <a:pt x="1250" y="3072"/>
                      </a:lnTo>
                      <a:lnTo>
                        <a:pt x="1228" y="3082"/>
                      </a:lnTo>
                      <a:lnTo>
                        <a:pt x="1164" y="3052"/>
                      </a:lnTo>
                      <a:lnTo>
                        <a:pt x="1114" y="3080"/>
                      </a:lnTo>
                      <a:lnTo>
                        <a:pt x="1114" y="3080"/>
                      </a:lnTo>
                      <a:lnTo>
                        <a:pt x="1104" y="3076"/>
                      </a:lnTo>
                      <a:lnTo>
                        <a:pt x="1094" y="3076"/>
                      </a:lnTo>
                      <a:lnTo>
                        <a:pt x="1088" y="3078"/>
                      </a:lnTo>
                      <a:lnTo>
                        <a:pt x="1082" y="3080"/>
                      </a:lnTo>
                      <a:lnTo>
                        <a:pt x="1082" y="3080"/>
                      </a:lnTo>
                      <a:lnTo>
                        <a:pt x="1074" y="3086"/>
                      </a:lnTo>
                      <a:lnTo>
                        <a:pt x="1066" y="3088"/>
                      </a:lnTo>
                      <a:lnTo>
                        <a:pt x="1058" y="3088"/>
                      </a:lnTo>
                      <a:lnTo>
                        <a:pt x="1046" y="3082"/>
                      </a:lnTo>
                      <a:lnTo>
                        <a:pt x="1046" y="3082"/>
                      </a:lnTo>
                      <a:lnTo>
                        <a:pt x="1040" y="3080"/>
                      </a:lnTo>
                      <a:lnTo>
                        <a:pt x="1034" y="3082"/>
                      </a:lnTo>
                      <a:lnTo>
                        <a:pt x="1028" y="3086"/>
                      </a:lnTo>
                      <a:lnTo>
                        <a:pt x="1022" y="3090"/>
                      </a:lnTo>
                      <a:lnTo>
                        <a:pt x="1010" y="3100"/>
                      </a:lnTo>
                      <a:lnTo>
                        <a:pt x="1004" y="3102"/>
                      </a:lnTo>
                      <a:lnTo>
                        <a:pt x="1000" y="3100"/>
                      </a:lnTo>
                      <a:lnTo>
                        <a:pt x="1000" y="3100"/>
                      </a:lnTo>
                      <a:lnTo>
                        <a:pt x="992" y="3094"/>
                      </a:lnTo>
                      <a:lnTo>
                        <a:pt x="986" y="3088"/>
                      </a:lnTo>
                      <a:lnTo>
                        <a:pt x="982" y="3082"/>
                      </a:lnTo>
                      <a:lnTo>
                        <a:pt x="982" y="3072"/>
                      </a:lnTo>
                      <a:lnTo>
                        <a:pt x="982" y="3072"/>
                      </a:lnTo>
                      <a:lnTo>
                        <a:pt x="982" y="3068"/>
                      </a:lnTo>
                      <a:lnTo>
                        <a:pt x="984" y="3064"/>
                      </a:lnTo>
                      <a:lnTo>
                        <a:pt x="986" y="3062"/>
                      </a:lnTo>
                      <a:lnTo>
                        <a:pt x="986" y="3060"/>
                      </a:lnTo>
                      <a:lnTo>
                        <a:pt x="986" y="3056"/>
                      </a:lnTo>
                      <a:lnTo>
                        <a:pt x="976" y="3040"/>
                      </a:lnTo>
                      <a:lnTo>
                        <a:pt x="976" y="3040"/>
                      </a:lnTo>
                      <a:lnTo>
                        <a:pt x="968" y="3028"/>
                      </a:lnTo>
                      <a:lnTo>
                        <a:pt x="956" y="3018"/>
                      </a:lnTo>
                      <a:lnTo>
                        <a:pt x="944" y="3010"/>
                      </a:lnTo>
                      <a:lnTo>
                        <a:pt x="932" y="3002"/>
                      </a:lnTo>
                      <a:lnTo>
                        <a:pt x="910" y="2992"/>
                      </a:lnTo>
                      <a:lnTo>
                        <a:pt x="902" y="2988"/>
                      </a:lnTo>
                      <a:lnTo>
                        <a:pt x="902" y="2988"/>
                      </a:lnTo>
                      <a:lnTo>
                        <a:pt x="894" y="2994"/>
                      </a:lnTo>
                      <a:lnTo>
                        <a:pt x="886" y="2998"/>
                      </a:lnTo>
                      <a:lnTo>
                        <a:pt x="882" y="3000"/>
                      </a:lnTo>
                      <a:lnTo>
                        <a:pt x="880" y="2998"/>
                      </a:lnTo>
                      <a:lnTo>
                        <a:pt x="880" y="2998"/>
                      </a:lnTo>
                      <a:lnTo>
                        <a:pt x="878" y="2998"/>
                      </a:lnTo>
                      <a:lnTo>
                        <a:pt x="876" y="3000"/>
                      </a:lnTo>
                      <a:lnTo>
                        <a:pt x="874" y="3002"/>
                      </a:lnTo>
                      <a:lnTo>
                        <a:pt x="870" y="3004"/>
                      </a:lnTo>
                      <a:lnTo>
                        <a:pt x="868" y="3004"/>
                      </a:lnTo>
                      <a:lnTo>
                        <a:pt x="862" y="3002"/>
                      </a:lnTo>
                      <a:lnTo>
                        <a:pt x="856" y="2992"/>
                      </a:lnTo>
                      <a:lnTo>
                        <a:pt x="848" y="2978"/>
                      </a:lnTo>
                      <a:lnTo>
                        <a:pt x="848" y="2978"/>
                      </a:lnTo>
                      <a:lnTo>
                        <a:pt x="840" y="2962"/>
                      </a:lnTo>
                      <a:lnTo>
                        <a:pt x="836" y="2950"/>
                      </a:lnTo>
                      <a:lnTo>
                        <a:pt x="834" y="2940"/>
                      </a:lnTo>
                      <a:lnTo>
                        <a:pt x="834" y="2932"/>
                      </a:lnTo>
                      <a:lnTo>
                        <a:pt x="834" y="2926"/>
                      </a:lnTo>
                      <a:lnTo>
                        <a:pt x="836" y="2924"/>
                      </a:lnTo>
                      <a:lnTo>
                        <a:pt x="838" y="2920"/>
                      </a:lnTo>
                      <a:lnTo>
                        <a:pt x="838" y="2920"/>
                      </a:lnTo>
                      <a:lnTo>
                        <a:pt x="804" y="2888"/>
                      </a:lnTo>
                      <a:lnTo>
                        <a:pt x="804" y="2888"/>
                      </a:lnTo>
                      <a:lnTo>
                        <a:pt x="788" y="2876"/>
                      </a:lnTo>
                      <a:lnTo>
                        <a:pt x="770" y="2864"/>
                      </a:lnTo>
                      <a:lnTo>
                        <a:pt x="762" y="2860"/>
                      </a:lnTo>
                      <a:lnTo>
                        <a:pt x="752" y="2858"/>
                      </a:lnTo>
                      <a:lnTo>
                        <a:pt x="742" y="2858"/>
                      </a:lnTo>
                      <a:lnTo>
                        <a:pt x="734" y="2860"/>
                      </a:lnTo>
                      <a:lnTo>
                        <a:pt x="734" y="2860"/>
                      </a:lnTo>
                      <a:lnTo>
                        <a:pt x="714" y="2866"/>
                      </a:lnTo>
                      <a:lnTo>
                        <a:pt x="696" y="2870"/>
                      </a:lnTo>
                      <a:lnTo>
                        <a:pt x="668" y="2874"/>
                      </a:lnTo>
                      <a:lnTo>
                        <a:pt x="668" y="2874"/>
                      </a:lnTo>
                      <a:lnTo>
                        <a:pt x="658" y="2878"/>
                      </a:lnTo>
                      <a:lnTo>
                        <a:pt x="646" y="2884"/>
                      </a:lnTo>
                      <a:lnTo>
                        <a:pt x="634" y="2890"/>
                      </a:lnTo>
                      <a:lnTo>
                        <a:pt x="628" y="2896"/>
                      </a:lnTo>
                      <a:lnTo>
                        <a:pt x="628" y="2896"/>
                      </a:lnTo>
                      <a:lnTo>
                        <a:pt x="622" y="2904"/>
                      </a:lnTo>
                      <a:lnTo>
                        <a:pt x="614" y="2912"/>
                      </a:lnTo>
                      <a:lnTo>
                        <a:pt x="608" y="2914"/>
                      </a:lnTo>
                      <a:lnTo>
                        <a:pt x="602" y="2914"/>
                      </a:lnTo>
                      <a:lnTo>
                        <a:pt x="596" y="2912"/>
                      </a:lnTo>
                      <a:lnTo>
                        <a:pt x="590" y="2904"/>
                      </a:lnTo>
                      <a:lnTo>
                        <a:pt x="590" y="2904"/>
                      </a:lnTo>
                      <a:lnTo>
                        <a:pt x="580" y="2882"/>
                      </a:lnTo>
                      <a:lnTo>
                        <a:pt x="570" y="2862"/>
                      </a:lnTo>
                      <a:lnTo>
                        <a:pt x="560" y="2844"/>
                      </a:lnTo>
                      <a:lnTo>
                        <a:pt x="548" y="2828"/>
                      </a:lnTo>
                      <a:lnTo>
                        <a:pt x="548" y="2828"/>
                      </a:lnTo>
                      <a:lnTo>
                        <a:pt x="534" y="2808"/>
                      </a:lnTo>
                      <a:lnTo>
                        <a:pt x="526" y="2796"/>
                      </a:lnTo>
                      <a:lnTo>
                        <a:pt x="522" y="2786"/>
                      </a:lnTo>
                      <a:lnTo>
                        <a:pt x="520" y="2774"/>
                      </a:lnTo>
                      <a:lnTo>
                        <a:pt x="520" y="2770"/>
                      </a:lnTo>
                      <a:lnTo>
                        <a:pt x="522" y="2766"/>
                      </a:lnTo>
                      <a:lnTo>
                        <a:pt x="526" y="2762"/>
                      </a:lnTo>
                      <a:lnTo>
                        <a:pt x="530" y="2760"/>
                      </a:lnTo>
                      <a:lnTo>
                        <a:pt x="536" y="2758"/>
                      </a:lnTo>
                      <a:lnTo>
                        <a:pt x="542" y="2758"/>
                      </a:lnTo>
                      <a:lnTo>
                        <a:pt x="542" y="2758"/>
                      </a:lnTo>
                      <a:lnTo>
                        <a:pt x="570" y="2760"/>
                      </a:lnTo>
                      <a:lnTo>
                        <a:pt x="586" y="2764"/>
                      </a:lnTo>
                      <a:lnTo>
                        <a:pt x="594" y="2768"/>
                      </a:lnTo>
                      <a:lnTo>
                        <a:pt x="598" y="2770"/>
                      </a:lnTo>
                      <a:lnTo>
                        <a:pt x="628" y="2720"/>
                      </a:lnTo>
                      <a:lnTo>
                        <a:pt x="628" y="2720"/>
                      </a:lnTo>
                      <a:lnTo>
                        <a:pt x="632" y="2716"/>
                      </a:lnTo>
                      <a:lnTo>
                        <a:pt x="638" y="2706"/>
                      </a:lnTo>
                      <a:lnTo>
                        <a:pt x="640" y="2698"/>
                      </a:lnTo>
                      <a:lnTo>
                        <a:pt x="640" y="2692"/>
                      </a:lnTo>
                      <a:lnTo>
                        <a:pt x="638" y="2686"/>
                      </a:lnTo>
                      <a:lnTo>
                        <a:pt x="634" y="2682"/>
                      </a:lnTo>
                      <a:lnTo>
                        <a:pt x="634" y="2682"/>
                      </a:lnTo>
                      <a:lnTo>
                        <a:pt x="608" y="2664"/>
                      </a:lnTo>
                      <a:lnTo>
                        <a:pt x="596" y="2658"/>
                      </a:lnTo>
                      <a:lnTo>
                        <a:pt x="588" y="2658"/>
                      </a:lnTo>
                      <a:lnTo>
                        <a:pt x="582" y="2658"/>
                      </a:lnTo>
                      <a:lnTo>
                        <a:pt x="582" y="2658"/>
                      </a:lnTo>
                      <a:lnTo>
                        <a:pt x="560" y="2662"/>
                      </a:lnTo>
                      <a:lnTo>
                        <a:pt x="550" y="2664"/>
                      </a:lnTo>
                      <a:lnTo>
                        <a:pt x="528" y="2644"/>
                      </a:lnTo>
                      <a:lnTo>
                        <a:pt x="528" y="2644"/>
                      </a:lnTo>
                      <a:lnTo>
                        <a:pt x="530" y="2646"/>
                      </a:lnTo>
                      <a:lnTo>
                        <a:pt x="534" y="2644"/>
                      </a:lnTo>
                      <a:lnTo>
                        <a:pt x="536" y="2640"/>
                      </a:lnTo>
                      <a:lnTo>
                        <a:pt x="534" y="2636"/>
                      </a:lnTo>
                      <a:lnTo>
                        <a:pt x="532" y="2630"/>
                      </a:lnTo>
                      <a:lnTo>
                        <a:pt x="528" y="2622"/>
                      </a:lnTo>
                      <a:lnTo>
                        <a:pt x="528" y="2622"/>
                      </a:lnTo>
                      <a:lnTo>
                        <a:pt x="522" y="2614"/>
                      </a:lnTo>
                      <a:lnTo>
                        <a:pt x="518" y="2610"/>
                      </a:lnTo>
                      <a:lnTo>
                        <a:pt x="514" y="2608"/>
                      </a:lnTo>
                      <a:lnTo>
                        <a:pt x="510" y="2608"/>
                      </a:lnTo>
                      <a:lnTo>
                        <a:pt x="506" y="2606"/>
                      </a:lnTo>
                      <a:lnTo>
                        <a:pt x="500" y="2602"/>
                      </a:lnTo>
                      <a:lnTo>
                        <a:pt x="492" y="2596"/>
                      </a:lnTo>
                      <a:lnTo>
                        <a:pt x="484" y="2582"/>
                      </a:lnTo>
                      <a:lnTo>
                        <a:pt x="484" y="2582"/>
                      </a:lnTo>
                      <a:lnTo>
                        <a:pt x="474" y="2570"/>
                      </a:lnTo>
                      <a:lnTo>
                        <a:pt x="464" y="2562"/>
                      </a:lnTo>
                      <a:lnTo>
                        <a:pt x="448" y="2556"/>
                      </a:lnTo>
                      <a:lnTo>
                        <a:pt x="442" y="2552"/>
                      </a:lnTo>
                      <a:lnTo>
                        <a:pt x="438" y="2544"/>
                      </a:lnTo>
                      <a:lnTo>
                        <a:pt x="436" y="2530"/>
                      </a:lnTo>
                      <a:lnTo>
                        <a:pt x="436" y="2510"/>
                      </a:lnTo>
                      <a:lnTo>
                        <a:pt x="436" y="2510"/>
                      </a:lnTo>
                      <a:lnTo>
                        <a:pt x="438" y="2486"/>
                      </a:lnTo>
                      <a:lnTo>
                        <a:pt x="440" y="2470"/>
                      </a:lnTo>
                      <a:lnTo>
                        <a:pt x="444" y="2446"/>
                      </a:lnTo>
                      <a:lnTo>
                        <a:pt x="444" y="2436"/>
                      </a:lnTo>
                      <a:lnTo>
                        <a:pt x="442" y="2430"/>
                      </a:lnTo>
                      <a:lnTo>
                        <a:pt x="436" y="2424"/>
                      </a:lnTo>
                      <a:lnTo>
                        <a:pt x="426" y="2416"/>
                      </a:lnTo>
                      <a:lnTo>
                        <a:pt x="426" y="2416"/>
                      </a:lnTo>
                      <a:lnTo>
                        <a:pt x="416" y="2410"/>
                      </a:lnTo>
                      <a:lnTo>
                        <a:pt x="410" y="2404"/>
                      </a:lnTo>
                      <a:lnTo>
                        <a:pt x="400" y="2396"/>
                      </a:lnTo>
                      <a:lnTo>
                        <a:pt x="396" y="2392"/>
                      </a:lnTo>
                      <a:lnTo>
                        <a:pt x="390" y="2390"/>
                      </a:lnTo>
                      <a:lnTo>
                        <a:pt x="370" y="2388"/>
                      </a:lnTo>
                      <a:lnTo>
                        <a:pt x="370" y="2388"/>
                      </a:lnTo>
                      <a:lnTo>
                        <a:pt x="350" y="2386"/>
                      </a:lnTo>
                      <a:lnTo>
                        <a:pt x="338" y="2382"/>
                      </a:lnTo>
                      <a:lnTo>
                        <a:pt x="324" y="2378"/>
                      </a:lnTo>
                      <a:lnTo>
                        <a:pt x="298" y="2374"/>
                      </a:lnTo>
                      <a:lnTo>
                        <a:pt x="298" y="2374"/>
                      </a:lnTo>
                      <a:lnTo>
                        <a:pt x="268" y="2368"/>
                      </a:lnTo>
                      <a:lnTo>
                        <a:pt x="244" y="2362"/>
                      </a:lnTo>
                      <a:lnTo>
                        <a:pt x="226" y="2356"/>
                      </a:lnTo>
                      <a:lnTo>
                        <a:pt x="212" y="2352"/>
                      </a:lnTo>
                      <a:lnTo>
                        <a:pt x="212" y="2352"/>
                      </a:lnTo>
                      <a:lnTo>
                        <a:pt x="204" y="2352"/>
                      </a:lnTo>
                      <a:lnTo>
                        <a:pt x="196" y="2348"/>
                      </a:lnTo>
                      <a:lnTo>
                        <a:pt x="190" y="2344"/>
                      </a:lnTo>
                      <a:lnTo>
                        <a:pt x="184" y="2338"/>
                      </a:lnTo>
                      <a:lnTo>
                        <a:pt x="174" y="2324"/>
                      </a:lnTo>
                      <a:lnTo>
                        <a:pt x="164" y="2306"/>
                      </a:lnTo>
                      <a:lnTo>
                        <a:pt x="164" y="2306"/>
                      </a:lnTo>
                      <a:lnTo>
                        <a:pt x="160" y="2296"/>
                      </a:lnTo>
                      <a:lnTo>
                        <a:pt x="152" y="2288"/>
                      </a:lnTo>
                      <a:lnTo>
                        <a:pt x="138" y="2272"/>
                      </a:lnTo>
                      <a:lnTo>
                        <a:pt x="132" y="2264"/>
                      </a:lnTo>
                      <a:lnTo>
                        <a:pt x="126" y="2252"/>
                      </a:lnTo>
                      <a:lnTo>
                        <a:pt x="122" y="2238"/>
                      </a:lnTo>
                      <a:lnTo>
                        <a:pt x="120" y="2222"/>
                      </a:lnTo>
                      <a:lnTo>
                        <a:pt x="120" y="2222"/>
                      </a:lnTo>
                      <a:lnTo>
                        <a:pt x="120" y="2204"/>
                      </a:lnTo>
                      <a:lnTo>
                        <a:pt x="116" y="2190"/>
                      </a:lnTo>
                      <a:lnTo>
                        <a:pt x="110" y="2176"/>
                      </a:lnTo>
                      <a:lnTo>
                        <a:pt x="106" y="2166"/>
                      </a:lnTo>
                      <a:lnTo>
                        <a:pt x="96" y="2148"/>
                      </a:lnTo>
                      <a:lnTo>
                        <a:pt x="92" y="2142"/>
                      </a:lnTo>
                      <a:lnTo>
                        <a:pt x="92" y="2134"/>
                      </a:lnTo>
                      <a:lnTo>
                        <a:pt x="92" y="2134"/>
                      </a:lnTo>
                      <a:lnTo>
                        <a:pt x="90" y="2100"/>
                      </a:lnTo>
                      <a:lnTo>
                        <a:pt x="92" y="2090"/>
                      </a:lnTo>
                      <a:lnTo>
                        <a:pt x="94" y="2084"/>
                      </a:lnTo>
                      <a:lnTo>
                        <a:pt x="96" y="2082"/>
                      </a:lnTo>
                      <a:lnTo>
                        <a:pt x="96" y="2082"/>
                      </a:lnTo>
                      <a:lnTo>
                        <a:pt x="98" y="2084"/>
                      </a:lnTo>
                      <a:lnTo>
                        <a:pt x="98" y="2084"/>
                      </a:lnTo>
                      <a:lnTo>
                        <a:pt x="106" y="2086"/>
                      </a:lnTo>
                      <a:lnTo>
                        <a:pt x="120" y="2092"/>
                      </a:lnTo>
                      <a:lnTo>
                        <a:pt x="130" y="2092"/>
                      </a:lnTo>
                      <a:lnTo>
                        <a:pt x="136" y="2092"/>
                      </a:lnTo>
                      <a:lnTo>
                        <a:pt x="142" y="2090"/>
                      </a:lnTo>
                      <a:lnTo>
                        <a:pt x="142" y="2088"/>
                      </a:lnTo>
                      <a:lnTo>
                        <a:pt x="142" y="2086"/>
                      </a:lnTo>
                      <a:lnTo>
                        <a:pt x="142" y="2086"/>
                      </a:lnTo>
                      <a:lnTo>
                        <a:pt x="142" y="2078"/>
                      </a:lnTo>
                      <a:lnTo>
                        <a:pt x="138" y="2072"/>
                      </a:lnTo>
                      <a:lnTo>
                        <a:pt x="128" y="2058"/>
                      </a:lnTo>
                      <a:lnTo>
                        <a:pt x="108" y="2038"/>
                      </a:lnTo>
                      <a:lnTo>
                        <a:pt x="108" y="2038"/>
                      </a:lnTo>
                      <a:lnTo>
                        <a:pt x="96" y="2020"/>
                      </a:lnTo>
                      <a:lnTo>
                        <a:pt x="94" y="2014"/>
                      </a:lnTo>
                      <a:lnTo>
                        <a:pt x="94" y="2008"/>
                      </a:lnTo>
                      <a:lnTo>
                        <a:pt x="94" y="2008"/>
                      </a:lnTo>
                      <a:lnTo>
                        <a:pt x="96" y="2006"/>
                      </a:lnTo>
                      <a:lnTo>
                        <a:pt x="98" y="2004"/>
                      </a:lnTo>
                      <a:lnTo>
                        <a:pt x="100" y="2004"/>
                      </a:lnTo>
                      <a:lnTo>
                        <a:pt x="102" y="2002"/>
                      </a:lnTo>
                      <a:lnTo>
                        <a:pt x="102" y="1998"/>
                      </a:lnTo>
                      <a:lnTo>
                        <a:pt x="100" y="1974"/>
                      </a:lnTo>
                      <a:lnTo>
                        <a:pt x="100" y="1974"/>
                      </a:lnTo>
                      <a:lnTo>
                        <a:pt x="96" y="1940"/>
                      </a:lnTo>
                      <a:lnTo>
                        <a:pt x="94" y="1926"/>
                      </a:lnTo>
                      <a:lnTo>
                        <a:pt x="94" y="1926"/>
                      </a:lnTo>
                      <a:lnTo>
                        <a:pt x="90" y="1918"/>
                      </a:lnTo>
                      <a:lnTo>
                        <a:pt x="86" y="1912"/>
                      </a:lnTo>
                      <a:lnTo>
                        <a:pt x="80" y="1900"/>
                      </a:lnTo>
                      <a:lnTo>
                        <a:pt x="76" y="1896"/>
                      </a:lnTo>
                      <a:lnTo>
                        <a:pt x="74" y="1890"/>
                      </a:lnTo>
                      <a:lnTo>
                        <a:pt x="76" y="1882"/>
                      </a:lnTo>
                      <a:lnTo>
                        <a:pt x="78" y="1874"/>
                      </a:lnTo>
                      <a:lnTo>
                        <a:pt x="78" y="1874"/>
                      </a:lnTo>
                      <a:lnTo>
                        <a:pt x="80" y="1864"/>
                      </a:lnTo>
                      <a:lnTo>
                        <a:pt x="82" y="1858"/>
                      </a:lnTo>
                      <a:lnTo>
                        <a:pt x="80" y="1852"/>
                      </a:lnTo>
                      <a:lnTo>
                        <a:pt x="80" y="1848"/>
                      </a:lnTo>
                      <a:lnTo>
                        <a:pt x="82" y="1844"/>
                      </a:lnTo>
                      <a:lnTo>
                        <a:pt x="98" y="1824"/>
                      </a:lnTo>
                      <a:lnTo>
                        <a:pt x="98" y="1824"/>
                      </a:lnTo>
                      <a:lnTo>
                        <a:pt x="120" y="1804"/>
                      </a:lnTo>
                      <a:lnTo>
                        <a:pt x="134" y="1790"/>
                      </a:lnTo>
                      <a:lnTo>
                        <a:pt x="162" y="1770"/>
                      </a:lnTo>
                      <a:lnTo>
                        <a:pt x="162" y="1770"/>
                      </a:lnTo>
                      <a:lnTo>
                        <a:pt x="168" y="1762"/>
                      </a:lnTo>
                      <a:lnTo>
                        <a:pt x="170" y="1756"/>
                      </a:lnTo>
                      <a:lnTo>
                        <a:pt x="170" y="1752"/>
                      </a:lnTo>
                      <a:lnTo>
                        <a:pt x="168" y="1748"/>
                      </a:lnTo>
                      <a:lnTo>
                        <a:pt x="166" y="1746"/>
                      </a:lnTo>
                      <a:lnTo>
                        <a:pt x="168" y="1746"/>
                      </a:lnTo>
                      <a:lnTo>
                        <a:pt x="186" y="1750"/>
                      </a:lnTo>
                      <a:lnTo>
                        <a:pt x="186" y="1750"/>
                      </a:lnTo>
                      <a:lnTo>
                        <a:pt x="212" y="1758"/>
                      </a:lnTo>
                      <a:lnTo>
                        <a:pt x="230" y="1766"/>
                      </a:lnTo>
                      <a:lnTo>
                        <a:pt x="236" y="1768"/>
                      </a:lnTo>
                      <a:lnTo>
                        <a:pt x="242" y="1768"/>
                      </a:lnTo>
                      <a:lnTo>
                        <a:pt x="246" y="1768"/>
                      </a:lnTo>
                      <a:lnTo>
                        <a:pt x="252" y="1764"/>
                      </a:lnTo>
                      <a:lnTo>
                        <a:pt x="252" y="1764"/>
                      </a:lnTo>
                      <a:lnTo>
                        <a:pt x="258" y="1760"/>
                      </a:lnTo>
                      <a:lnTo>
                        <a:pt x="264" y="1758"/>
                      </a:lnTo>
                      <a:lnTo>
                        <a:pt x="276" y="1756"/>
                      </a:lnTo>
                      <a:lnTo>
                        <a:pt x="280" y="1754"/>
                      </a:lnTo>
                      <a:lnTo>
                        <a:pt x="282" y="1752"/>
                      </a:lnTo>
                      <a:lnTo>
                        <a:pt x="280" y="1748"/>
                      </a:lnTo>
                      <a:lnTo>
                        <a:pt x="274" y="1742"/>
                      </a:lnTo>
                      <a:lnTo>
                        <a:pt x="274" y="1742"/>
                      </a:lnTo>
                      <a:lnTo>
                        <a:pt x="256" y="1728"/>
                      </a:lnTo>
                      <a:lnTo>
                        <a:pt x="238" y="1718"/>
                      </a:lnTo>
                      <a:lnTo>
                        <a:pt x="230" y="1712"/>
                      </a:lnTo>
                      <a:lnTo>
                        <a:pt x="220" y="1710"/>
                      </a:lnTo>
                      <a:lnTo>
                        <a:pt x="212" y="1708"/>
                      </a:lnTo>
                      <a:lnTo>
                        <a:pt x="202" y="1708"/>
                      </a:lnTo>
                      <a:lnTo>
                        <a:pt x="202" y="1708"/>
                      </a:lnTo>
                      <a:lnTo>
                        <a:pt x="184" y="1708"/>
                      </a:lnTo>
                      <a:lnTo>
                        <a:pt x="170" y="1706"/>
                      </a:lnTo>
                      <a:lnTo>
                        <a:pt x="158" y="1700"/>
                      </a:lnTo>
                      <a:lnTo>
                        <a:pt x="148" y="1694"/>
                      </a:lnTo>
                      <a:lnTo>
                        <a:pt x="148" y="1694"/>
                      </a:lnTo>
                      <a:lnTo>
                        <a:pt x="126" y="1672"/>
                      </a:lnTo>
                      <a:lnTo>
                        <a:pt x="112" y="1656"/>
                      </a:lnTo>
                      <a:lnTo>
                        <a:pt x="84" y="1644"/>
                      </a:lnTo>
                      <a:lnTo>
                        <a:pt x="84" y="1644"/>
                      </a:lnTo>
                      <a:lnTo>
                        <a:pt x="102" y="1620"/>
                      </a:lnTo>
                      <a:lnTo>
                        <a:pt x="144" y="1562"/>
                      </a:lnTo>
                      <a:lnTo>
                        <a:pt x="166" y="1530"/>
                      </a:lnTo>
                      <a:lnTo>
                        <a:pt x="186" y="1498"/>
                      </a:lnTo>
                      <a:lnTo>
                        <a:pt x="202" y="1472"/>
                      </a:lnTo>
                      <a:lnTo>
                        <a:pt x="206" y="1460"/>
                      </a:lnTo>
                      <a:lnTo>
                        <a:pt x="210" y="1452"/>
                      </a:lnTo>
                      <a:lnTo>
                        <a:pt x="210" y="1452"/>
                      </a:lnTo>
                      <a:lnTo>
                        <a:pt x="212" y="1430"/>
                      </a:lnTo>
                      <a:lnTo>
                        <a:pt x="212" y="1416"/>
                      </a:lnTo>
                      <a:lnTo>
                        <a:pt x="218" y="1402"/>
                      </a:lnTo>
                      <a:lnTo>
                        <a:pt x="230" y="1380"/>
                      </a:lnTo>
                      <a:lnTo>
                        <a:pt x="230" y="1380"/>
                      </a:lnTo>
                      <a:lnTo>
                        <a:pt x="244" y="1352"/>
                      </a:lnTo>
                      <a:lnTo>
                        <a:pt x="254" y="1326"/>
                      </a:lnTo>
                      <a:lnTo>
                        <a:pt x="260" y="1304"/>
                      </a:lnTo>
                      <a:lnTo>
                        <a:pt x="264" y="1284"/>
                      </a:lnTo>
                      <a:lnTo>
                        <a:pt x="264" y="1284"/>
                      </a:lnTo>
                      <a:lnTo>
                        <a:pt x="262" y="1274"/>
                      </a:lnTo>
                      <a:lnTo>
                        <a:pt x="256" y="1262"/>
                      </a:lnTo>
                      <a:lnTo>
                        <a:pt x="248" y="1246"/>
                      </a:lnTo>
                      <a:lnTo>
                        <a:pt x="236" y="1230"/>
                      </a:lnTo>
                      <a:lnTo>
                        <a:pt x="192" y="1170"/>
                      </a:lnTo>
                      <a:lnTo>
                        <a:pt x="192" y="1170"/>
                      </a:lnTo>
                      <a:lnTo>
                        <a:pt x="184" y="1158"/>
                      </a:lnTo>
                      <a:lnTo>
                        <a:pt x="178" y="1144"/>
                      </a:lnTo>
                      <a:lnTo>
                        <a:pt x="174" y="1132"/>
                      </a:lnTo>
                      <a:lnTo>
                        <a:pt x="172" y="1120"/>
                      </a:lnTo>
                      <a:lnTo>
                        <a:pt x="168" y="1098"/>
                      </a:lnTo>
                      <a:lnTo>
                        <a:pt x="168" y="1078"/>
                      </a:lnTo>
                      <a:lnTo>
                        <a:pt x="168" y="1078"/>
                      </a:lnTo>
                      <a:lnTo>
                        <a:pt x="166" y="1072"/>
                      </a:lnTo>
                      <a:lnTo>
                        <a:pt x="162" y="1068"/>
                      </a:lnTo>
                      <a:lnTo>
                        <a:pt x="152" y="1064"/>
                      </a:lnTo>
                      <a:lnTo>
                        <a:pt x="146" y="1062"/>
                      </a:lnTo>
                      <a:lnTo>
                        <a:pt x="142" y="1056"/>
                      </a:lnTo>
                      <a:lnTo>
                        <a:pt x="138" y="1046"/>
                      </a:lnTo>
                      <a:lnTo>
                        <a:pt x="136" y="1032"/>
                      </a:lnTo>
                      <a:lnTo>
                        <a:pt x="136" y="1032"/>
                      </a:lnTo>
                      <a:lnTo>
                        <a:pt x="136" y="1018"/>
                      </a:lnTo>
                      <a:lnTo>
                        <a:pt x="134" y="1010"/>
                      </a:lnTo>
                      <a:lnTo>
                        <a:pt x="130" y="1006"/>
                      </a:lnTo>
                      <a:lnTo>
                        <a:pt x="128" y="1002"/>
                      </a:lnTo>
                      <a:lnTo>
                        <a:pt x="124" y="998"/>
                      </a:lnTo>
                      <a:lnTo>
                        <a:pt x="122" y="990"/>
                      </a:lnTo>
                      <a:lnTo>
                        <a:pt x="120" y="978"/>
                      </a:lnTo>
                      <a:lnTo>
                        <a:pt x="118" y="958"/>
                      </a:lnTo>
                      <a:lnTo>
                        <a:pt x="118" y="958"/>
                      </a:lnTo>
                      <a:lnTo>
                        <a:pt x="118" y="938"/>
                      </a:lnTo>
                      <a:lnTo>
                        <a:pt x="120" y="926"/>
                      </a:lnTo>
                      <a:lnTo>
                        <a:pt x="124" y="912"/>
                      </a:lnTo>
                      <a:lnTo>
                        <a:pt x="124" y="906"/>
                      </a:lnTo>
                      <a:lnTo>
                        <a:pt x="124" y="894"/>
                      </a:lnTo>
                      <a:lnTo>
                        <a:pt x="112" y="848"/>
                      </a:lnTo>
                      <a:lnTo>
                        <a:pt x="112" y="848"/>
                      </a:lnTo>
                      <a:lnTo>
                        <a:pt x="102" y="818"/>
                      </a:lnTo>
                      <a:lnTo>
                        <a:pt x="92" y="794"/>
                      </a:lnTo>
                      <a:lnTo>
                        <a:pt x="82" y="778"/>
                      </a:lnTo>
                      <a:lnTo>
                        <a:pt x="72" y="762"/>
                      </a:lnTo>
                      <a:lnTo>
                        <a:pt x="64" y="750"/>
                      </a:lnTo>
                      <a:lnTo>
                        <a:pt x="56" y="738"/>
                      </a:lnTo>
                      <a:lnTo>
                        <a:pt x="50" y="722"/>
                      </a:lnTo>
                      <a:lnTo>
                        <a:pt x="48" y="704"/>
                      </a:lnTo>
                      <a:lnTo>
                        <a:pt x="48" y="704"/>
                      </a:lnTo>
                      <a:lnTo>
                        <a:pt x="46" y="684"/>
                      </a:lnTo>
                      <a:lnTo>
                        <a:pt x="46" y="668"/>
                      </a:lnTo>
                      <a:lnTo>
                        <a:pt x="50" y="654"/>
                      </a:lnTo>
                      <a:lnTo>
                        <a:pt x="54" y="640"/>
                      </a:lnTo>
                      <a:lnTo>
                        <a:pt x="66" y="618"/>
                      </a:lnTo>
                      <a:lnTo>
                        <a:pt x="78" y="596"/>
                      </a:lnTo>
                      <a:lnTo>
                        <a:pt x="78" y="596"/>
                      </a:lnTo>
                      <a:lnTo>
                        <a:pt x="86" y="586"/>
                      </a:lnTo>
                      <a:lnTo>
                        <a:pt x="92" y="580"/>
                      </a:lnTo>
                      <a:lnTo>
                        <a:pt x="98" y="574"/>
                      </a:lnTo>
                      <a:lnTo>
                        <a:pt x="104" y="568"/>
                      </a:lnTo>
                      <a:lnTo>
                        <a:pt x="106" y="564"/>
                      </a:lnTo>
                      <a:lnTo>
                        <a:pt x="104" y="556"/>
                      </a:lnTo>
                      <a:lnTo>
                        <a:pt x="96" y="544"/>
                      </a:lnTo>
                      <a:lnTo>
                        <a:pt x="84" y="528"/>
                      </a:lnTo>
                      <a:lnTo>
                        <a:pt x="84" y="528"/>
                      </a:lnTo>
                      <a:lnTo>
                        <a:pt x="68" y="512"/>
                      </a:lnTo>
                      <a:lnTo>
                        <a:pt x="54" y="502"/>
                      </a:lnTo>
                      <a:lnTo>
                        <a:pt x="32" y="486"/>
                      </a:lnTo>
                      <a:lnTo>
                        <a:pt x="24" y="480"/>
                      </a:lnTo>
                      <a:lnTo>
                        <a:pt x="16" y="468"/>
                      </a:lnTo>
                      <a:lnTo>
                        <a:pt x="12" y="454"/>
                      </a:lnTo>
                      <a:lnTo>
                        <a:pt x="10" y="434"/>
                      </a:lnTo>
                      <a:lnTo>
                        <a:pt x="10" y="434"/>
                      </a:lnTo>
                      <a:lnTo>
                        <a:pt x="8" y="412"/>
                      </a:lnTo>
                      <a:lnTo>
                        <a:pt x="6" y="392"/>
                      </a:lnTo>
                      <a:lnTo>
                        <a:pt x="2" y="374"/>
                      </a:lnTo>
                      <a:lnTo>
                        <a:pt x="0" y="358"/>
                      </a:lnTo>
                      <a:lnTo>
                        <a:pt x="0" y="342"/>
                      </a:lnTo>
                      <a:lnTo>
                        <a:pt x="2" y="334"/>
                      </a:lnTo>
                      <a:lnTo>
                        <a:pt x="6" y="326"/>
                      </a:lnTo>
                      <a:lnTo>
                        <a:pt x="10" y="318"/>
                      </a:lnTo>
                      <a:lnTo>
                        <a:pt x="16" y="310"/>
                      </a:lnTo>
                      <a:lnTo>
                        <a:pt x="36" y="292"/>
                      </a:lnTo>
                      <a:lnTo>
                        <a:pt x="36" y="292"/>
                      </a:lnTo>
                      <a:lnTo>
                        <a:pt x="54" y="276"/>
                      </a:lnTo>
                      <a:lnTo>
                        <a:pt x="68" y="262"/>
                      </a:lnTo>
                      <a:lnTo>
                        <a:pt x="90" y="240"/>
                      </a:lnTo>
                      <a:lnTo>
                        <a:pt x="100" y="232"/>
                      </a:lnTo>
                      <a:lnTo>
                        <a:pt x="110" y="228"/>
                      </a:lnTo>
                      <a:lnTo>
                        <a:pt x="124" y="228"/>
                      </a:lnTo>
                      <a:lnTo>
                        <a:pt x="142" y="232"/>
                      </a:lnTo>
                      <a:lnTo>
                        <a:pt x="142" y="232"/>
                      </a:lnTo>
                      <a:lnTo>
                        <a:pt x="164" y="238"/>
                      </a:lnTo>
                      <a:lnTo>
                        <a:pt x="184" y="246"/>
                      </a:lnTo>
                      <a:lnTo>
                        <a:pt x="226" y="264"/>
                      </a:lnTo>
                      <a:lnTo>
                        <a:pt x="244" y="270"/>
                      </a:lnTo>
                      <a:lnTo>
                        <a:pt x="262" y="276"/>
                      </a:lnTo>
                      <a:lnTo>
                        <a:pt x="278" y="278"/>
                      </a:lnTo>
                      <a:lnTo>
                        <a:pt x="284" y="278"/>
                      </a:lnTo>
                      <a:lnTo>
                        <a:pt x="290" y="276"/>
                      </a:lnTo>
                      <a:lnTo>
                        <a:pt x="290" y="276"/>
                      </a:lnTo>
                      <a:lnTo>
                        <a:pt x="302" y="272"/>
                      </a:lnTo>
                      <a:lnTo>
                        <a:pt x="310" y="266"/>
                      </a:lnTo>
                      <a:lnTo>
                        <a:pt x="320" y="258"/>
                      </a:lnTo>
                      <a:lnTo>
                        <a:pt x="326" y="256"/>
                      </a:lnTo>
                      <a:lnTo>
                        <a:pt x="334" y="254"/>
                      </a:lnTo>
                      <a:lnTo>
                        <a:pt x="344" y="254"/>
                      </a:lnTo>
                      <a:lnTo>
                        <a:pt x="360" y="256"/>
                      </a:lnTo>
                      <a:lnTo>
                        <a:pt x="360" y="256"/>
                      </a:lnTo>
                      <a:lnTo>
                        <a:pt x="376" y="262"/>
                      </a:lnTo>
                      <a:lnTo>
                        <a:pt x="396" y="270"/>
                      </a:lnTo>
                      <a:lnTo>
                        <a:pt x="414" y="280"/>
                      </a:lnTo>
                      <a:lnTo>
                        <a:pt x="434" y="292"/>
                      </a:lnTo>
                      <a:lnTo>
                        <a:pt x="472" y="318"/>
                      </a:lnTo>
                      <a:lnTo>
                        <a:pt x="504" y="340"/>
                      </a:lnTo>
                      <a:lnTo>
                        <a:pt x="504" y="340"/>
                      </a:lnTo>
                      <a:lnTo>
                        <a:pt x="530" y="358"/>
                      </a:lnTo>
                      <a:lnTo>
                        <a:pt x="548" y="372"/>
                      </a:lnTo>
                      <a:lnTo>
                        <a:pt x="558" y="380"/>
                      </a:lnTo>
                      <a:lnTo>
                        <a:pt x="566" y="384"/>
                      </a:lnTo>
                      <a:lnTo>
                        <a:pt x="574" y="386"/>
                      </a:lnTo>
                      <a:lnTo>
                        <a:pt x="582" y="388"/>
                      </a:lnTo>
                      <a:lnTo>
                        <a:pt x="582" y="388"/>
                      </a:lnTo>
                      <a:lnTo>
                        <a:pt x="590" y="386"/>
                      </a:lnTo>
                      <a:lnTo>
                        <a:pt x="596" y="384"/>
                      </a:lnTo>
                      <a:lnTo>
                        <a:pt x="602" y="382"/>
                      </a:lnTo>
                      <a:lnTo>
                        <a:pt x="606" y="382"/>
                      </a:lnTo>
                      <a:lnTo>
                        <a:pt x="614" y="384"/>
                      </a:lnTo>
                      <a:lnTo>
                        <a:pt x="636" y="396"/>
                      </a:lnTo>
                      <a:lnTo>
                        <a:pt x="636" y="396"/>
                      </a:lnTo>
                      <a:lnTo>
                        <a:pt x="650" y="406"/>
                      </a:lnTo>
                      <a:lnTo>
                        <a:pt x="662" y="416"/>
                      </a:lnTo>
                      <a:lnTo>
                        <a:pt x="670" y="426"/>
                      </a:lnTo>
                      <a:lnTo>
                        <a:pt x="676" y="434"/>
                      </a:lnTo>
                      <a:lnTo>
                        <a:pt x="684" y="452"/>
                      </a:lnTo>
                      <a:lnTo>
                        <a:pt x="690" y="460"/>
                      </a:lnTo>
                      <a:lnTo>
                        <a:pt x="696" y="468"/>
                      </a:lnTo>
                      <a:lnTo>
                        <a:pt x="696" y="468"/>
                      </a:lnTo>
                      <a:lnTo>
                        <a:pt x="712" y="484"/>
                      </a:lnTo>
                      <a:lnTo>
                        <a:pt x="720" y="492"/>
                      </a:lnTo>
                      <a:lnTo>
                        <a:pt x="728" y="502"/>
                      </a:lnTo>
                      <a:lnTo>
                        <a:pt x="734" y="512"/>
                      </a:lnTo>
                      <a:lnTo>
                        <a:pt x="736" y="522"/>
                      </a:lnTo>
                      <a:lnTo>
                        <a:pt x="736" y="532"/>
                      </a:lnTo>
                      <a:lnTo>
                        <a:pt x="732" y="546"/>
                      </a:lnTo>
                      <a:lnTo>
                        <a:pt x="732" y="546"/>
                      </a:lnTo>
                      <a:lnTo>
                        <a:pt x="718" y="578"/>
                      </a:lnTo>
                      <a:lnTo>
                        <a:pt x="702" y="618"/>
                      </a:lnTo>
                      <a:lnTo>
                        <a:pt x="692" y="636"/>
                      </a:lnTo>
                      <a:lnTo>
                        <a:pt x="682" y="654"/>
                      </a:lnTo>
                      <a:lnTo>
                        <a:pt x="672" y="666"/>
                      </a:lnTo>
                      <a:lnTo>
                        <a:pt x="662" y="674"/>
                      </a:lnTo>
                      <a:lnTo>
                        <a:pt x="662" y="674"/>
                      </a:lnTo>
                      <a:lnTo>
                        <a:pt x="646" y="684"/>
                      </a:lnTo>
                      <a:lnTo>
                        <a:pt x="630" y="694"/>
                      </a:lnTo>
                      <a:lnTo>
                        <a:pt x="622" y="698"/>
                      </a:lnTo>
                      <a:lnTo>
                        <a:pt x="612" y="702"/>
                      </a:lnTo>
                      <a:lnTo>
                        <a:pt x="602" y="704"/>
                      </a:lnTo>
                      <a:lnTo>
                        <a:pt x="592" y="704"/>
                      </a:lnTo>
                      <a:lnTo>
                        <a:pt x="592" y="704"/>
                      </a:lnTo>
                      <a:lnTo>
                        <a:pt x="574" y="702"/>
                      </a:lnTo>
                      <a:lnTo>
                        <a:pt x="562" y="698"/>
                      </a:lnTo>
                      <a:lnTo>
                        <a:pt x="544" y="696"/>
                      </a:lnTo>
                      <a:lnTo>
                        <a:pt x="510" y="698"/>
                      </a:lnTo>
                      <a:lnTo>
                        <a:pt x="510" y="698"/>
                      </a:lnTo>
                      <a:lnTo>
                        <a:pt x="470" y="702"/>
                      </a:lnTo>
                      <a:lnTo>
                        <a:pt x="442" y="708"/>
                      </a:lnTo>
                      <a:lnTo>
                        <a:pt x="430" y="708"/>
                      </a:lnTo>
                      <a:lnTo>
                        <a:pt x="418" y="706"/>
                      </a:lnTo>
                      <a:lnTo>
                        <a:pt x="406" y="704"/>
                      </a:lnTo>
                      <a:lnTo>
                        <a:pt x="394" y="696"/>
                      </a:lnTo>
                      <a:lnTo>
                        <a:pt x="394" y="696"/>
                      </a:lnTo>
                      <a:lnTo>
                        <a:pt x="380" y="690"/>
                      </a:lnTo>
                      <a:lnTo>
                        <a:pt x="368" y="688"/>
                      </a:lnTo>
                      <a:lnTo>
                        <a:pt x="344" y="686"/>
                      </a:lnTo>
                      <a:lnTo>
                        <a:pt x="332" y="686"/>
                      </a:lnTo>
                      <a:lnTo>
                        <a:pt x="320" y="684"/>
                      </a:lnTo>
                      <a:lnTo>
                        <a:pt x="310" y="678"/>
                      </a:lnTo>
                      <a:lnTo>
                        <a:pt x="298" y="668"/>
                      </a:lnTo>
                      <a:lnTo>
                        <a:pt x="298" y="668"/>
                      </a:lnTo>
                      <a:lnTo>
                        <a:pt x="280" y="644"/>
                      </a:lnTo>
                      <a:lnTo>
                        <a:pt x="268" y="628"/>
                      </a:lnTo>
                      <a:lnTo>
                        <a:pt x="262" y="622"/>
                      </a:lnTo>
                      <a:lnTo>
                        <a:pt x="256" y="618"/>
                      </a:lnTo>
                      <a:lnTo>
                        <a:pt x="248" y="616"/>
                      </a:lnTo>
                      <a:lnTo>
                        <a:pt x="240" y="614"/>
                      </a:lnTo>
                      <a:lnTo>
                        <a:pt x="240" y="614"/>
                      </a:lnTo>
                      <a:lnTo>
                        <a:pt x="230" y="614"/>
                      </a:lnTo>
                      <a:lnTo>
                        <a:pt x="222" y="616"/>
                      </a:lnTo>
                      <a:lnTo>
                        <a:pt x="216" y="618"/>
                      </a:lnTo>
                      <a:lnTo>
                        <a:pt x="214" y="622"/>
                      </a:lnTo>
                      <a:lnTo>
                        <a:pt x="212" y="626"/>
                      </a:lnTo>
                      <a:lnTo>
                        <a:pt x="212" y="632"/>
                      </a:lnTo>
                      <a:lnTo>
                        <a:pt x="216" y="636"/>
                      </a:lnTo>
                      <a:lnTo>
                        <a:pt x="222" y="642"/>
                      </a:lnTo>
                      <a:lnTo>
                        <a:pt x="222" y="642"/>
                      </a:lnTo>
                      <a:lnTo>
                        <a:pt x="244" y="654"/>
                      </a:lnTo>
                      <a:lnTo>
                        <a:pt x="244" y="654"/>
                      </a:lnTo>
                      <a:lnTo>
                        <a:pt x="256" y="666"/>
                      </a:lnTo>
                      <a:lnTo>
                        <a:pt x="268" y="680"/>
                      </a:lnTo>
                      <a:lnTo>
                        <a:pt x="280" y="698"/>
                      </a:lnTo>
                      <a:lnTo>
                        <a:pt x="280" y="698"/>
                      </a:lnTo>
                      <a:lnTo>
                        <a:pt x="288" y="706"/>
                      </a:lnTo>
                      <a:lnTo>
                        <a:pt x="296" y="714"/>
                      </a:lnTo>
                      <a:lnTo>
                        <a:pt x="318" y="728"/>
                      </a:lnTo>
                      <a:lnTo>
                        <a:pt x="370" y="756"/>
                      </a:lnTo>
                      <a:lnTo>
                        <a:pt x="370" y="756"/>
                      </a:lnTo>
                      <a:lnTo>
                        <a:pt x="396" y="772"/>
                      </a:lnTo>
                      <a:lnTo>
                        <a:pt x="410" y="780"/>
                      </a:lnTo>
                      <a:lnTo>
                        <a:pt x="420" y="788"/>
                      </a:lnTo>
                      <a:lnTo>
                        <a:pt x="428" y="796"/>
                      </a:lnTo>
                      <a:lnTo>
                        <a:pt x="430" y="806"/>
                      </a:lnTo>
                      <a:lnTo>
                        <a:pt x="430" y="810"/>
                      </a:lnTo>
                      <a:lnTo>
                        <a:pt x="428" y="816"/>
                      </a:lnTo>
                      <a:lnTo>
                        <a:pt x="422" y="826"/>
                      </a:lnTo>
                      <a:lnTo>
                        <a:pt x="422" y="826"/>
                      </a:lnTo>
                      <a:lnTo>
                        <a:pt x="404" y="846"/>
                      </a:lnTo>
                      <a:lnTo>
                        <a:pt x="394" y="860"/>
                      </a:lnTo>
                      <a:lnTo>
                        <a:pt x="392" y="864"/>
                      </a:lnTo>
                      <a:lnTo>
                        <a:pt x="392" y="870"/>
                      </a:lnTo>
                      <a:lnTo>
                        <a:pt x="396" y="876"/>
                      </a:lnTo>
                      <a:lnTo>
                        <a:pt x="400" y="880"/>
                      </a:lnTo>
                      <a:lnTo>
                        <a:pt x="400" y="880"/>
                      </a:lnTo>
                      <a:lnTo>
                        <a:pt x="410" y="890"/>
                      </a:lnTo>
                      <a:lnTo>
                        <a:pt x="418" y="894"/>
                      </a:lnTo>
                      <a:lnTo>
                        <a:pt x="424" y="904"/>
                      </a:lnTo>
                      <a:lnTo>
                        <a:pt x="430" y="924"/>
                      </a:lnTo>
                      <a:lnTo>
                        <a:pt x="430" y="924"/>
                      </a:lnTo>
                      <a:lnTo>
                        <a:pt x="432" y="938"/>
                      </a:lnTo>
                      <a:lnTo>
                        <a:pt x="434" y="948"/>
                      </a:lnTo>
                      <a:lnTo>
                        <a:pt x="434" y="964"/>
                      </a:lnTo>
                      <a:lnTo>
                        <a:pt x="434" y="970"/>
                      </a:lnTo>
                      <a:lnTo>
                        <a:pt x="436" y="976"/>
                      </a:lnTo>
                      <a:lnTo>
                        <a:pt x="442" y="982"/>
                      </a:lnTo>
                      <a:lnTo>
                        <a:pt x="448" y="988"/>
                      </a:lnTo>
                      <a:lnTo>
                        <a:pt x="448" y="988"/>
                      </a:lnTo>
                      <a:lnTo>
                        <a:pt x="462" y="998"/>
                      </a:lnTo>
                      <a:lnTo>
                        <a:pt x="472" y="1002"/>
                      </a:lnTo>
                      <a:lnTo>
                        <a:pt x="502" y="1010"/>
                      </a:lnTo>
                      <a:lnTo>
                        <a:pt x="502" y="1010"/>
                      </a:lnTo>
                      <a:lnTo>
                        <a:pt x="534" y="1020"/>
                      </a:lnTo>
                      <a:lnTo>
                        <a:pt x="546" y="1026"/>
                      </a:lnTo>
                      <a:lnTo>
                        <a:pt x="558" y="1038"/>
                      </a:lnTo>
                      <a:lnTo>
                        <a:pt x="558" y="1038"/>
                      </a:lnTo>
                      <a:lnTo>
                        <a:pt x="568" y="1048"/>
                      </a:lnTo>
                      <a:lnTo>
                        <a:pt x="574" y="1054"/>
                      </a:lnTo>
                      <a:lnTo>
                        <a:pt x="584" y="1054"/>
                      </a:lnTo>
                      <a:lnTo>
                        <a:pt x="604" y="1054"/>
                      </a:lnTo>
                      <a:lnTo>
                        <a:pt x="604" y="1054"/>
                      </a:lnTo>
                      <a:lnTo>
                        <a:pt x="618" y="1052"/>
                      </a:lnTo>
                      <a:lnTo>
                        <a:pt x="630" y="1048"/>
                      </a:lnTo>
                      <a:lnTo>
                        <a:pt x="642" y="1040"/>
                      </a:lnTo>
                      <a:lnTo>
                        <a:pt x="652" y="1032"/>
                      </a:lnTo>
                      <a:lnTo>
                        <a:pt x="660" y="1024"/>
                      </a:lnTo>
                      <a:lnTo>
                        <a:pt x="664" y="1014"/>
                      </a:lnTo>
                      <a:lnTo>
                        <a:pt x="664" y="1004"/>
                      </a:lnTo>
                      <a:lnTo>
                        <a:pt x="662" y="1000"/>
                      </a:lnTo>
                      <a:lnTo>
                        <a:pt x="660" y="996"/>
                      </a:lnTo>
                      <a:lnTo>
                        <a:pt x="660" y="996"/>
                      </a:lnTo>
                      <a:lnTo>
                        <a:pt x="650" y="982"/>
                      </a:lnTo>
                      <a:lnTo>
                        <a:pt x="644" y="972"/>
                      </a:lnTo>
                      <a:lnTo>
                        <a:pt x="642" y="968"/>
                      </a:lnTo>
                      <a:lnTo>
                        <a:pt x="638" y="966"/>
                      </a:lnTo>
                      <a:lnTo>
                        <a:pt x="632" y="966"/>
                      </a:lnTo>
                      <a:lnTo>
                        <a:pt x="626" y="966"/>
                      </a:lnTo>
                      <a:lnTo>
                        <a:pt x="626" y="966"/>
                      </a:lnTo>
                      <a:lnTo>
                        <a:pt x="618" y="966"/>
                      </a:lnTo>
                      <a:lnTo>
                        <a:pt x="612" y="970"/>
                      </a:lnTo>
                      <a:lnTo>
                        <a:pt x="602" y="974"/>
                      </a:lnTo>
                      <a:lnTo>
                        <a:pt x="598" y="976"/>
                      </a:lnTo>
                      <a:lnTo>
                        <a:pt x="592" y="972"/>
                      </a:lnTo>
                      <a:lnTo>
                        <a:pt x="584" y="966"/>
                      </a:lnTo>
                      <a:lnTo>
                        <a:pt x="576" y="956"/>
                      </a:lnTo>
                      <a:lnTo>
                        <a:pt x="576" y="956"/>
                      </a:lnTo>
                      <a:lnTo>
                        <a:pt x="554" y="926"/>
                      </a:lnTo>
                      <a:lnTo>
                        <a:pt x="546" y="912"/>
                      </a:lnTo>
                      <a:lnTo>
                        <a:pt x="538" y="900"/>
                      </a:lnTo>
                      <a:lnTo>
                        <a:pt x="534" y="888"/>
                      </a:lnTo>
                      <a:lnTo>
                        <a:pt x="532" y="878"/>
                      </a:lnTo>
                      <a:lnTo>
                        <a:pt x="532" y="874"/>
                      </a:lnTo>
                      <a:lnTo>
                        <a:pt x="536" y="870"/>
                      </a:lnTo>
                      <a:lnTo>
                        <a:pt x="538" y="868"/>
                      </a:lnTo>
                      <a:lnTo>
                        <a:pt x="544" y="866"/>
                      </a:lnTo>
                      <a:lnTo>
                        <a:pt x="544" y="866"/>
                      </a:lnTo>
                      <a:lnTo>
                        <a:pt x="564" y="862"/>
                      </a:lnTo>
                      <a:lnTo>
                        <a:pt x="580" y="862"/>
                      </a:lnTo>
                      <a:lnTo>
                        <a:pt x="596" y="868"/>
                      </a:lnTo>
                      <a:lnTo>
                        <a:pt x="612" y="876"/>
                      </a:lnTo>
                      <a:lnTo>
                        <a:pt x="612" y="876"/>
                      </a:lnTo>
                      <a:lnTo>
                        <a:pt x="618" y="882"/>
                      </a:lnTo>
                      <a:lnTo>
                        <a:pt x="624" y="890"/>
                      </a:lnTo>
                      <a:lnTo>
                        <a:pt x="632" y="904"/>
                      </a:lnTo>
                      <a:lnTo>
                        <a:pt x="634" y="910"/>
                      </a:lnTo>
                      <a:lnTo>
                        <a:pt x="638" y="914"/>
                      </a:lnTo>
                      <a:lnTo>
                        <a:pt x="642" y="914"/>
                      </a:lnTo>
                      <a:lnTo>
                        <a:pt x="646" y="912"/>
                      </a:lnTo>
                      <a:lnTo>
                        <a:pt x="646" y="912"/>
                      </a:lnTo>
                      <a:lnTo>
                        <a:pt x="654" y="900"/>
                      </a:lnTo>
                      <a:lnTo>
                        <a:pt x="660" y="892"/>
                      </a:lnTo>
                      <a:lnTo>
                        <a:pt x="664" y="890"/>
                      </a:lnTo>
                      <a:lnTo>
                        <a:pt x="670" y="892"/>
                      </a:lnTo>
                      <a:lnTo>
                        <a:pt x="686" y="898"/>
                      </a:lnTo>
                      <a:lnTo>
                        <a:pt x="686" y="898"/>
                      </a:lnTo>
                      <a:lnTo>
                        <a:pt x="712" y="912"/>
                      </a:lnTo>
                      <a:lnTo>
                        <a:pt x="738" y="924"/>
                      </a:lnTo>
                      <a:lnTo>
                        <a:pt x="750" y="928"/>
                      </a:lnTo>
                      <a:lnTo>
                        <a:pt x="762" y="928"/>
                      </a:lnTo>
                      <a:lnTo>
                        <a:pt x="772" y="926"/>
                      </a:lnTo>
                      <a:lnTo>
                        <a:pt x="774" y="924"/>
                      </a:lnTo>
                      <a:lnTo>
                        <a:pt x="778" y="918"/>
                      </a:lnTo>
                      <a:lnTo>
                        <a:pt x="778" y="918"/>
                      </a:lnTo>
                      <a:lnTo>
                        <a:pt x="790" y="902"/>
                      </a:lnTo>
                      <a:lnTo>
                        <a:pt x="794" y="894"/>
                      </a:lnTo>
                      <a:lnTo>
                        <a:pt x="796" y="888"/>
                      </a:lnTo>
                      <a:lnTo>
                        <a:pt x="796" y="882"/>
                      </a:lnTo>
                      <a:lnTo>
                        <a:pt x="792" y="874"/>
                      </a:lnTo>
                      <a:lnTo>
                        <a:pt x="786" y="866"/>
                      </a:lnTo>
                      <a:lnTo>
                        <a:pt x="778" y="858"/>
                      </a:lnTo>
                      <a:lnTo>
                        <a:pt x="778" y="858"/>
                      </a:lnTo>
                      <a:lnTo>
                        <a:pt x="750" y="840"/>
                      </a:lnTo>
                      <a:lnTo>
                        <a:pt x="738" y="830"/>
                      </a:lnTo>
                      <a:lnTo>
                        <a:pt x="724" y="822"/>
                      </a:lnTo>
                      <a:lnTo>
                        <a:pt x="714" y="812"/>
                      </a:lnTo>
                      <a:lnTo>
                        <a:pt x="708" y="800"/>
                      </a:lnTo>
                      <a:lnTo>
                        <a:pt x="706" y="794"/>
                      </a:lnTo>
                      <a:lnTo>
                        <a:pt x="704" y="788"/>
                      </a:lnTo>
                      <a:lnTo>
                        <a:pt x="704" y="782"/>
                      </a:lnTo>
                      <a:lnTo>
                        <a:pt x="706" y="774"/>
                      </a:lnTo>
                      <a:lnTo>
                        <a:pt x="706" y="774"/>
                      </a:lnTo>
                      <a:lnTo>
                        <a:pt x="716" y="744"/>
                      </a:lnTo>
                      <a:lnTo>
                        <a:pt x="728" y="720"/>
                      </a:lnTo>
                      <a:lnTo>
                        <a:pt x="744" y="694"/>
                      </a:lnTo>
                      <a:lnTo>
                        <a:pt x="764" y="670"/>
                      </a:lnTo>
                      <a:lnTo>
                        <a:pt x="764" y="670"/>
                      </a:lnTo>
                      <a:lnTo>
                        <a:pt x="774" y="656"/>
                      </a:lnTo>
                      <a:lnTo>
                        <a:pt x="778" y="648"/>
                      </a:lnTo>
                      <a:lnTo>
                        <a:pt x="780" y="640"/>
                      </a:lnTo>
                      <a:lnTo>
                        <a:pt x="782" y="632"/>
                      </a:lnTo>
                      <a:lnTo>
                        <a:pt x="782" y="620"/>
                      </a:lnTo>
                      <a:lnTo>
                        <a:pt x="786" y="612"/>
                      </a:lnTo>
                      <a:lnTo>
                        <a:pt x="792" y="604"/>
                      </a:lnTo>
                      <a:lnTo>
                        <a:pt x="792" y="604"/>
                      </a:lnTo>
                      <a:lnTo>
                        <a:pt x="804" y="588"/>
                      </a:lnTo>
                      <a:lnTo>
                        <a:pt x="810" y="578"/>
                      </a:lnTo>
                      <a:lnTo>
                        <a:pt x="814" y="574"/>
                      </a:lnTo>
                      <a:lnTo>
                        <a:pt x="818" y="572"/>
                      </a:lnTo>
                      <a:lnTo>
                        <a:pt x="824" y="572"/>
                      </a:lnTo>
                      <a:lnTo>
                        <a:pt x="832" y="572"/>
                      </a:lnTo>
                      <a:lnTo>
                        <a:pt x="832" y="572"/>
                      </a:lnTo>
                      <a:lnTo>
                        <a:pt x="850" y="572"/>
                      </a:lnTo>
                      <a:lnTo>
                        <a:pt x="860" y="576"/>
                      </a:lnTo>
                      <a:lnTo>
                        <a:pt x="866" y="578"/>
                      </a:lnTo>
                      <a:lnTo>
                        <a:pt x="868" y="582"/>
                      </a:lnTo>
                      <a:lnTo>
                        <a:pt x="876" y="594"/>
                      </a:lnTo>
                      <a:lnTo>
                        <a:pt x="876" y="594"/>
                      </a:lnTo>
                      <a:lnTo>
                        <a:pt x="878" y="602"/>
                      </a:lnTo>
                      <a:lnTo>
                        <a:pt x="878" y="612"/>
                      </a:lnTo>
                      <a:lnTo>
                        <a:pt x="878" y="626"/>
                      </a:lnTo>
                      <a:lnTo>
                        <a:pt x="878" y="632"/>
                      </a:lnTo>
                      <a:lnTo>
                        <a:pt x="880" y="634"/>
                      </a:lnTo>
                      <a:lnTo>
                        <a:pt x="882" y="634"/>
                      </a:lnTo>
                      <a:lnTo>
                        <a:pt x="888" y="628"/>
                      </a:lnTo>
                      <a:lnTo>
                        <a:pt x="888" y="628"/>
                      </a:lnTo>
                      <a:lnTo>
                        <a:pt x="900" y="614"/>
                      </a:lnTo>
                      <a:lnTo>
                        <a:pt x="910" y="602"/>
                      </a:lnTo>
                      <a:lnTo>
                        <a:pt x="916" y="596"/>
                      </a:lnTo>
                      <a:lnTo>
                        <a:pt x="918" y="590"/>
                      </a:lnTo>
                      <a:lnTo>
                        <a:pt x="920" y="582"/>
                      </a:lnTo>
                      <a:lnTo>
                        <a:pt x="920" y="572"/>
                      </a:lnTo>
                      <a:lnTo>
                        <a:pt x="920" y="572"/>
                      </a:lnTo>
                      <a:lnTo>
                        <a:pt x="920" y="554"/>
                      </a:lnTo>
                      <a:lnTo>
                        <a:pt x="920" y="536"/>
                      </a:lnTo>
                      <a:lnTo>
                        <a:pt x="920" y="516"/>
                      </a:lnTo>
                      <a:lnTo>
                        <a:pt x="918" y="496"/>
                      </a:lnTo>
                      <a:lnTo>
                        <a:pt x="918" y="496"/>
                      </a:lnTo>
                      <a:lnTo>
                        <a:pt x="912" y="478"/>
                      </a:lnTo>
                      <a:lnTo>
                        <a:pt x="904" y="466"/>
                      </a:lnTo>
                      <a:lnTo>
                        <a:pt x="894" y="456"/>
                      </a:lnTo>
                      <a:lnTo>
                        <a:pt x="882" y="446"/>
                      </a:lnTo>
                      <a:lnTo>
                        <a:pt x="882" y="446"/>
                      </a:lnTo>
                      <a:lnTo>
                        <a:pt x="876" y="438"/>
                      </a:lnTo>
                      <a:lnTo>
                        <a:pt x="870" y="430"/>
                      </a:lnTo>
                      <a:lnTo>
                        <a:pt x="860" y="408"/>
                      </a:lnTo>
                      <a:lnTo>
                        <a:pt x="852" y="386"/>
                      </a:lnTo>
                      <a:lnTo>
                        <a:pt x="848" y="376"/>
                      </a:lnTo>
                      <a:lnTo>
                        <a:pt x="848" y="366"/>
                      </a:lnTo>
                      <a:lnTo>
                        <a:pt x="848" y="366"/>
                      </a:lnTo>
                      <a:lnTo>
                        <a:pt x="848" y="322"/>
                      </a:lnTo>
                      <a:lnTo>
                        <a:pt x="846" y="302"/>
                      </a:lnTo>
                      <a:lnTo>
                        <a:pt x="844" y="292"/>
                      </a:lnTo>
                      <a:lnTo>
                        <a:pt x="842" y="286"/>
                      </a:lnTo>
                      <a:lnTo>
                        <a:pt x="842" y="286"/>
                      </a:lnTo>
                      <a:lnTo>
                        <a:pt x="836" y="272"/>
                      </a:lnTo>
                      <a:lnTo>
                        <a:pt x="830" y="266"/>
                      </a:lnTo>
                      <a:lnTo>
                        <a:pt x="820" y="262"/>
                      </a:lnTo>
                      <a:lnTo>
                        <a:pt x="820" y="262"/>
                      </a:lnTo>
                      <a:lnTo>
                        <a:pt x="804" y="260"/>
                      </a:lnTo>
                      <a:lnTo>
                        <a:pt x="786" y="258"/>
                      </a:lnTo>
                      <a:lnTo>
                        <a:pt x="780" y="258"/>
                      </a:lnTo>
                      <a:lnTo>
                        <a:pt x="774" y="256"/>
                      </a:lnTo>
                      <a:lnTo>
                        <a:pt x="772" y="252"/>
                      </a:lnTo>
                      <a:lnTo>
                        <a:pt x="774" y="248"/>
                      </a:lnTo>
                      <a:lnTo>
                        <a:pt x="774" y="248"/>
                      </a:lnTo>
                      <a:lnTo>
                        <a:pt x="780" y="238"/>
                      </a:lnTo>
                      <a:lnTo>
                        <a:pt x="784" y="234"/>
                      </a:lnTo>
                      <a:lnTo>
                        <a:pt x="790" y="230"/>
                      </a:lnTo>
                      <a:lnTo>
                        <a:pt x="804" y="232"/>
                      </a:lnTo>
                      <a:lnTo>
                        <a:pt x="804" y="232"/>
                      </a:lnTo>
                      <a:lnTo>
                        <a:pt x="820" y="234"/>
                      </a:lnTo>
                      <a:lnTo>
                        <a:pt x="830" y="236"/>
                      </a:lnTo>
                      <a:lnTo>
                        <a:pt x="838" y="234"/>
                      </a:lnTo>
                      <a:lnTo>
                        <a:pt x="852" y="228"/>
                      </a:lnTo>
                      <a:lnTo>
                        <a:pt x="852" y="228"/>
                      </a:lnTo>
                      <a:lnTo>
                        <a:pt x="864" y="220"/>
                      </a:lnTo>
                      <a:lnTo>
                        <a:pt x="868" y="218"/>
                      </a:lnTo>
                      <a:lnTo>
                        <a:pt x="874" y="216"/>
                      </a:lnTo>
                      <a:lnTo>
                        <a:pt x="878" y="214"/>
                      </a:lnTo>
                      <a:lnTo>
                        <a:pt x="886" y="216"/>
                      </a:lnTo>
                      <a:lnTo>
                        <a:pt x="896" y="220"/>
                      </a:lnTo>
                      <a:lnTo>
                        <a:pt x="908" y="228"/>
                      </a:lnTo>
                      <a:lnTo>
                        <a:pt x="908" y="228"/>
                      </a:lnTo>
                      <a:lnTo>
                        <a:pt x="922" y="236"/>
                      </a:lnTo>
                      <a:lnTo>
                        <a:pt x="934" y="242"/>
                      </a:lnTo>
                      <a:lnTo>
                        <a:pt x="956" y="250"/>
                      </a:lnTo>
                      <a:lnTo>
                        <a:pt x="962" y="254"/>
                      </a:lnTo>
                      <a:lnTo>
                        <a:pt x="968" y="260"/>
                      </a:lnTo>
                      <a:lnTo>
                        <a:pt x="970" y="266"/>
                      </a:lnTo>
                      <a:lnTo>
                        <a:pt x="972" y="276"/>
                      </a:lnTo>
                      <a:lnTo>
                        <a:pt x="972" y="276"/>
                      </a:lnTo>
                      <a:lnTo>
                        <a:pt x="970" y="292"/>
                      </a:lnTo>
                      <a:lnTo>
                        <a:pt x="968" y="304"/>
                      </a:lnTo>
                      <a:lnTo>
                        <a:pt x="966" y="308"/>
                      </a:lnTo>
                      <a:lnTo>
                        <a:pt x="962" y="312"/>
                      </a:lnTo>
                      <a:lnTo>
                        <a:pt x="950" y="320"/>
                      </a:lnTo>
                      <a:lnTo>
                        <a:pt x="950" y="320"/>
                      </a:lnTo>
                      <a:lnTo>
                        <a:pt x="934" y="328"/>
                      </a:lnTo>
                      <a:lnTo>
                        <a:pt x="922" y="336"/>
                      </a:lnTo>
                      <a:lnTo>
                        <a:pt x="916" y="342"/>
                      </a:lnTo>
                      <a:lnTo>
                        <a:pt x="912" y="348"/>
                      </a:lnTo>
                      <a:lnTo>
                        <a:pt x="910" y="356"/>
                      </a:lnTo>
                      <a:lnTo>
                        <a:pt x="908" y="364"/>
                      </a:lnTo>
                      <a:lnTo>
                        <a:pt x="908" y="364"/>
                      </a:lnTo>
                      <a:lnTo>
                        <a:pt x="906" y="382"/>
                      </a:lnTo>
                      <a:lnTo>
                        <a:pt x="906" y="394"/>
                      </a:lnTo>
                      <a:lnTo>
                        <a:pt x="906" y="400"/>
                      </a:lnTo>
                      <a:lnTo>
                        <a:pt x="910" y="404"/>
                      </a:lnTo>
                      <a:lnTo>
                        <a:pt x="916" y="410"/>
                      </a:lnTo>
                      <a:lnTo>
                        <a:pt x="924" y="416"/>
                      </a:lnTo>
                      <a:lnTo>
                        <a:pt x="924" y="416"/>
                      </a:lnTo>
                      <a:lnTo>
                        <a:pt x="936" y="422"/>
                      </a:lnTo>
                      <a:lnTo>
                        <a:pt x="946" y="432"/>
                      </a:lnTo>
                      <a:lnTo>
                        <a:pt x="964" y="448"/>
                      </a:lnTo>
                      <a:lnTo>
                        <a:pt x="974" y="456"/>
                      </a:lnTo>
                      <a:lnTo>
                        <a:pt x="984" y="460"/>
                      </a:lnTo>
                      <a:lnTo>
                        <a:pt x="996" y="460"/>
                      </a:lnTo>
                      <a:lnTo>
                        <a:pt x="1006" y="456"/>
                      </a:lnTo>
                      <a:lnTo>
                        <a:pt x="1006" y="456"/>
                      </a:lnTo>
                      <a:lnTo>
                        <a:pt x="1026" y="448"/>
                      </a:lnTo>
                      <a:lnTo>
                        <a:pt x="1038" y="440"/>
                      </a:lnTo>
                      <a:lnTo>
                        <a:pt x="1048" y="430"/>
                      </a:lnTo>
                      <a:lnTo>
                        <a:pt x="1060" y="414"/>
                      </a:lnTo>
                      <a:lnTo>
                        <a:pt x="1060" y="414"/>
                      </a:lnTo>
                      <a:lnTo>
                        <a:pt x="1068" y="398"/>
                      </a:lnTo>
                      <a:lnTo>
                        <a:pt x="1068" y="392"/>
                      </a:lnTo>
                      <a:lnTo>
                        <a:pt x="1068" y="388"/>
                      </a:lnTo>
                      <a:lnTo>
                        <a:pt x="1064" y="374"/>
                      </a:lnTo>
                      <a:lnTo>
                        <a:pt x="1062" y="364"/>
                      </a:lnTo>
                      <a:lnTo>
                        <a:pt x="1060" y="350"/>
                      </a:lnTo>
                      <a:lnTo>
                        <a:pt x="1060" y="350"/>
                      </a:lnTo>
                      <a:lnTo>
                        <a:pt x="1058" y="324"/>
                      </a:lnTo>
                      <a:lnTo>
                        <a:pt x="1058" y="310"/>
                      </a:lnTo>
                      <a:lnTo>
                        <a:pt x="1062" y="300"/>
                      </a:lnTo>
                      <a:lnTo>
                        <a:pt x="1072" y="284"/>
                      </a:lnTo>
                      <a:lnTo>
                        <a:pt x="1072" y="284"/>
                      </a:lnTo>
                      <a:lnTo>
                        <a:pt x="1078" y="276"/>
                      </a:lnTo>
                      <a:lnTo>
                        <a:pt x="1078" y="270"/>
                      </a:lnTo>
                      <a:lnTo>
                        <a:pt x="1078" y="266"/>
                      </a:lnTo>
                      <a:lnTo>
                        <a:pt x="1078" y="264"/>
                      </a:lnTo>
                      <a:lnTo>
                        <a:pt x="1078" y="260"/>
                      </a:lnTo>
                      <a:lnTo>
                        <a:pt x="1078" y="256"/>
                      </a:lnTo>
                      <a:lnTo>
                        <a:pt x="1082" y="252"/>
                      </a:lnTo>
                      <a:lnTo>
                        <a:pt x="1090" y="242"/>
                      </a:lnTo>
                      <a:lnTo>
                        <a:pt x="1090" y="242"/>
                      </a:lnTo>
                      <a:lnTo>
                        <a:pt x="1106" y="226"/>
                      </a:lnTo>
                      <a:lnTo>
                        <a:pt x="1116" y="214"/>
                      </a:lnTo>
                      <a:lnTo>
                        <a:pt x="1126" y="198"/>
                      </a:lnTo>
                      <a:lnTo>
                        <a:pt x="1136" y="170"/>
                      </a:lnTo>
                      <a:lnTo>
                        <a:pt x="1136" y="170"/>
                      </a:lnTo>
                      <a:lnTo>
                        <a:pt x="1148" y="138"/>
                      </a:lnTo>
                      <a:lnTo>
                        <a:pt x="1154" y="116"/>
                      </a:lnTo>
                      <a:lnTo>
                        <a:pt x="1160" y="106"/>
                      </a:lnTo>
                      <a:lnTo>
                        <a:pt x="1164" y="100"/>
                      </a:lnTo>
                      <a:lnTo>
                        <a:pt x="1172" y="96"/>
                      </a:lnTo>
                      <a:lnTo>
                        <a:pt x="1182" y="92"/>
                      </a:lnTo>
                      <a:lnTo>
                        <a:pt x="1182" y="92"/>
                      </a:lnTo>
                      <a:lnTo>
                        <a:pt x="1186" y="92"/>
                      </a:lnTo>
                      <a:lnTo>
                        <a:pt x="1192" y="92"/>
                      </a:lnTo>
                      <a:lnTo>
                        <a:pt x="1200" y="96"/>
                      </a:lnTo>
                      <a:lnTo>
                        <a:pt x="1208" y="102"/>
                      </a:lnTo>
                      <a:lnTo>
                        <a:pt x="1216" y="108"/>
                      </a:lnTo>
                      <a:lnTo>
                        <a:pt x="1222" y="114"/>
                      </a:lnTo>
                      <a:lnTo>
                        <a:pt x="1224" y="114"/>
                      </a:lnTo>
                      <a:lnTo>
                        <a:pt x="1226" y="114"/>
                      </a:lnTo>
                      <a:lnTo>
                        <a:pt x="1228" y="112"/>
                      </a:lnTo>
                      <a:lnTo>
                        <a:pt x="1228" y="108"/>
                      </a:lnTo>
                      <a:lnTo>
                        <a:pt x="1230" y="96"/>
                      </a:lnTo>
                      <a:lnTo>
                        <a:pt x="1230" y="96"/>
                      </a:lnTo>
                      <a:lnTo>
                        <a:pt x="1228" y="80"/>
                      </a:lnTo>
                      <a:lnTo>
                        <a:pt x="1224" y="68"/>
                      </a:lnTo>
                      <a:lnTo>
                        <a:pt x="1214" y="50"/>
                      </a:lnTo>
                      <a:lnTo>
                        <a:pt x="1212" y="42"/>
                      </a:lnTo>
                      <a:lnTo>
                        <a:pt x="1214" y="32"/>
                      </a:lnTo>
                      <a:lnTo>
                        <a:pt x="1222" y="22"/>
                      </a:lnTo>
                      <a:lnTo>
                        <a:pt x="1238" y="10"/>
                      </a:lnTo>
                      <a:lnTo>
                        <a:pt x="1238" y="10"/>
                      </a:lnTo>
                      <a:lnTo>
                        <a:pt x="1244" y="4"/>
                      </a:lnTo>
                      <a:lnTo>
                        <a:pt x="1250" y="2"/>
                      </a:lnTo>
                      <a:lnTo>
                        <a:pt x="1256" y="0"/>
                      </a:lnTo>
                      <a:lnTo>
                        <a:pt x="1266" y="0"/>
                      </a:lnTo>
                      <a:lnTo>
                        <a:pt x="1266" y="0"/>
                      </a:lnTo>
                      <a:lnTo>
                        <a:pt x="1272" y="2"/>
                      </a:lnTo>
                      <a:lnTo>
                        <a:pt x="1278" y="4"/>
                      </a:lnTo>
                      <a:lnTo>
                        <a:pt x="1282" y="8"/>
                      </a:lnTo>
                      <a:lnTo>
                        <a:pt x="1284" y="12"/>
                      </a:lnTo>
                      <a:lnTo>
                        <a:pt x="1286" y="24"/>
                      </a:lnTo>
                      <a:lnTo>
                        <a:pt x="1288" y="38"/>
                      </a:lnTo>
                      <a:lnTo>
                        <a:pt x="1288" y="50"/>
                      </a:lnTo>
                      <a:lnTo>
                        <a:pt x="1292" y="60"/>
                      </a:lnTo>
                      <a:lnTo>
                        <a:pt x="1294" y="62"/>
                      </a:lnTo>
                      <a:lnTo>
                        <a:pt x="1298" y="64"/>
                      </a:lnTo>
                      <a:lnTo>
                        <a:pt x="1304" y="64"/>
                      </a:lnTo>
                      <a:lnTo>
                        <a:pt x="1312" y="62"/>
                      </a:lnTo>
                      <a:lnTo>
                        <a:pt x="1312" y="62"/>
                      </a:lnTo>
                      <a:lnTo>
                        <a:pt x="1342" y="50"/>
                      </a:lnTo>
                      <a:lnTo>
                        <a:pt x="1360" y="44"/>
                      </a:lnTo>
                      <a:lnTo>
                        <a:pt x="1364" y="40"/>
                      </a:lnTo>
                      <a:lnTo>
                        <a:pt x="1366" y="36"/>
                      </a:lnTo>
                      <a:lnTo>
                        <a:pt x="1366" y="30"/>
                      </a:lnTo>
                      <a:lnTo>
                        <a:pt x="1362" y="22"/>
                      </a:lnTo>
                      <a:lnTo>
                        <a:pt x="1362" y="22"/>
                      </a:lnTo>
                      <a:lnTo>
                        <a:pt x="1356" y="10"/>
                      </a:lnTo>
                      <a:lnTo>
                        <a:pt x="1352" y="0"/>
                      </a:lnTo>
                      <a:lnTo>
                        <a:pt x="2650" y="0"/>
                      </a:lnTo>
                      <a:lnTo>
                        <a:pt x="2650" y="3926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98" name="Freeform 10">
                  <a:extLst>
                    <a:ext uri="{FF2B5EF4-FFF2-40B4-BE49-F238E27FC236}">
                      <a16:creationId xmlns:a16="http://schemas.microsoft.com/office/drawing/2014/main" id="{FFEF7F38-DE39-4A72-825A-A8C6C2789D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7066" y="1961260"/>
                  <a:ext cx="56398" cy="73165"/>
                </a:xfrm>
                <a:custGeom>
                  <a:avLst/>
                  <a:gdLst/>
                  <a:ahLst/>
                  <a:cxnLst>
                    <a:cxn ang="0">
                      <a:pos x="6" y="64"/>
                    </a:cxn>
                    <a:cxn ang="0">
                      <a:pos x="6" y="64"/>
                    </a:cxn>
                    <a:cxn ang="0">
                      <a:pos x="24" y="86"/>
                    </a:cxn>
                    <a:cxn ang="0">
                      <a:pos x="32" y="92"/>
                    </a:cxn>
                    <a:cxn ang="0">
                      <a:pos x="40" y="96"/>
                    </a:cxn>
                    <a:cxn ang="0">
                      <a:pos x="48" y="96"/>
                    </a:cxn>
                    <a:cxn ang="0">
                      <a:pos x="54" y="92"/>
                    </a:cxn>
                    <a:cxn ang="0">
                      <a:pos x="60" y="84"/>
                    </a:cxn>
                    <a:cxn ang="0">
                      <a:pos x="68" y="72"/>
                    </a:cxn>
                    <a:cxn ang="0">
                      <a:pos x="68" y="72"/>
                    </a:cxn>
                    <a:cxn ang="0">
                      <a:pos x="72" y="58"/>
                    </a:cxn>
                    <a:cxn ang="0">
                      <a:pos x="74" y="44"/>
                    </a:cxn>
                    <a:cxn ang="0">
                      <a:pos x="72" y="32"/>
                    </a:cxn>
                    <a:cxn ang="0">
                      <a:pos x="70" y="22"/>
                    </a:cxn>
                    <a:cxn ang="0">
                      <a:pos x="66" y="12"/>
                    </a:cxn>
                    <a:cxn ang="0">
                      <a:pos x="62" y="6"/>
                    </a:cxn>
                    <a:cxn ang="0">
                      <a:pos x="56" y="2"/>
                    </a:cxn>
                    <a:cxn ang="0">
                      <a:pos x="56" y="2"/>
                    </a:cxn>
                    <a:cxn ang="0">
                      <a:pos x="50" y="0"/>
                    </a:cxn>
                    <a:cxn ang="0">
                      <a:pos x="34" y="0"/>
                    </a:cxn>
                    <a:cxn ang="0">
                      <a:pos x="26" y="0"/>
                    </a:cxn>
                    <a:cxn ang="0">
                      <a:pos x="16" y="2"/>
                    </a:cxn>
                    <a:cxn ang="0">
                      <a:pos x="10" y="4"/>
                    </a:cxn>
                    <a:cxn ang="0">
                      <a:pos x="4" y="10"/>
                    </a:cxn>
                    <a:cxn ang="0">
                      <a:pos x="4" y="10"/>
                    </a:cxn>
                    <a:cxn ang="0">
                      <a:pos x="2" y="18"/>
                    </a:cxn>
                    <a:cxn ang="0">
                      <a:pos x="0" y="26"/>
                    </a:cxn>
                    <a:cxn ang="0">
                      <a:pos x="2" y="44"/>
                    </a:cxn>
                    <a:cxn ang="0">
                      <a:pos x="4" y="58"/>
                    </a:cxn>
                    <a:cxn ang="0">
                      <a:pos x="6" y="64"/>
                    </a:cxn>
                    <a:cxn ang="0">
                      <a:pos x="6" y="64"/>
                    </a:cxn>
                  </a:cxnLst>
                  <a:rect l="0" t="0" r="r" b="b"/>
                  <a:pathLst>
                    <a:path w="74" h="96">
                      <a:moveTo>
                        <a:pt x="6" y="64"/>
                      </a:moveTo>
                      <a:lnTo>
                        <a:pt x="6" y="64"/>
                      </a:lnTo>
                      <a:lnTo>
                        <a:pt x="24" y="86"/>
                      </a:lnTo>
                      <a:lnTo>
                        <a:pt x="32" y="92"/>
                      </a:lnTo>
                      <a:lnTo>
                        <a:pt x="40" y="96"/>
                      </a:lnTo>
                      <a:lnTo>
                        <a:pt x="48" y="96"/>
                      </a:lnTo>
                      <a:lnTo>
                        <a:pt x="54" y="92"/>
                      </a:lnTo>
                      <a:lnTo>
                        <a:pt x="60" y="84"/>
                      </a:lnTo>
                      <a:lnTo>
                        <a:pt x="68" y="72"/>
                      </a:lnTo>
                      <a:lnTo>
                        <a:pt x="68" y="72"/>
                      </a:lnTo>
                      <a:lnTo>
                        <a:pt x="72" y="58"/>
                      </a:lnTo>
                      <a:lnTo>
                        <a:pt x="74" y="44"/>
                      </a:lnTo>
                      <a:lnTo>
                        <a:pt x="72" y="32"/>
                      </a:lnTo>
                      <a:lnTo>
                        <a:pt x="70" y="22"/>
                      </a:lnTo>
                      <a:lnTo>
                        <a:pt x="66" y="12"/>
                      </a:lnTo>
                      <a:lnTo>
                        <a:pt x="62" y="6"/>
                      </a:lnTo>
                      <a:lnTo>
                        <a:pt x="56" y="2"/>
                      </a:lnTo>
                      <a:lnTo>
                        <a:pt x="56" y="2"/>
                      </a:lnTo>
                      <a:lnTo>
                        <a:pt x="50" y="0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4" y="10"/>
                      </a:lnTo>
                      <a:lnTo>
                        <a:pt x="4" y="10"/>
                      </a:lnTo>
                      <a:lnTo>
                        <a:pt x="2" y="18"/>
                      </a:lnTo>
                      <a:lnTo>
                        <a:pt x="0" y="26"/>
                      </a:lnTo>
                      <a:lnTo>
                        <a:pt x="2" y="44"/>
                      </a:lnTo>
                      <a:lnTo>
                        <a:pt x="4" y="58"/>
                      </a:lnTo>
                      <a:lnTo>
                        <a:pt x="6" y="64"/>
                      </a:lnTo>
                      <a:lnTo>
                        <a:pt x="6" y="6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99" name="Freeform 13">
                  <a:extLst>
                    <a:ext uri="{FF2B5EF4-FFF2-40B4-BE49-F238E27FC236}">
                      <a16:creationId xmlns:a16="http://schemas.microsoft.com/office/drawing/2014/main" id="{6FEB6DA8-1521-42DF-B301-1CC2E14CC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6102" y="4872601"/>
                  <a:ext cx="638666" cy="237785"/>
                </a:xfrm>
                <a:custGeom>
                  <a:avLst/>
                  <a:gdLst/>
                  <a:ahLst/>
                  <a:cxnLst>
                    <a:cxn ang="0">
                      <a:pos x="290" y="292"/>
                    </a:cxn>
                    <a:cxn ang="0">
                      <a:pos x="282" y="264"/>
                    </a:cxn>
                    <a:cxn ang="0">
                      <a:pos x="248" y="212"/>
                    </a:cxn>
                    <a:cxn ang="0">
                      <a:pos x="238" y="200"/>
                    </a:cxn>
                    <a:cxn ang="0">
                      <a:pos x="228" y="186"/>
                    </a:cxn>
                    <a:cxn ang="0">
                      <a:pos x="220" y="172"/>
                    </a:cxn>
                    <a:cxn ang="0">
                      <a:pos x="186" y="154"/>
                    </a:cxn>
                    <a:cxn ang="0">
                      <a:pos x="104" y="134"/>
                    </a:cxn>
                    <a:cxn ang="0">
                      <a:pos x="40" y="130"/>
                    </a:cxn>
                    <a:cxn ang="0">
                      <a:pos x="14" y="124"/>
                    </a:cxn>
                    <a:cxn ang="0">
                      <a:pos x="20" y="102"/>
                    </a:cxn>
                    <a:cxn ang="0">
                      <a:pos x="42" y="88"/>
                    </a:cxn>
                    <a:cxn ang="0">
                      <a:pos x="168" y="70"/>
                    </a:cxn>
                    <a:cxn ang="0">
                      <a:pos x="194" y="64"/>
                    </a:cxn>
                    <a:cxn ang="0">
                      <a:pos x="276" y="40"/>
                    </a:cxn>
                    <a:cxn ang="0">
                      <a:pos x="338" y="36"/>
                    </a:cxn>
                    <a:cxn ang="0">
                      <a:pos x="402" y="50"/>
                    </a:cxn>
                    <a:cxn ang="0">
                      <a:pos x="428" y="64"/>
                    </a:cxn>
                    <a:cxn ang="0">
                      <a:pos x="454" y="52"/>
                    </a:cxn>
                    <a:cxn ang="0">
                      <a:pos x="476" y="34"/>
                    </a:cxn>
                    <a:cxn ang="0">
                      <a:pos x="500" y="30"/>
                    </a:cxn>
                    <a:cxn ang="0">
                      <a:pos x="522" y="26"/>
                    </a:cxn>
                    <a:cxn ang="0">
                      <a:pos x="604" y="2"/>
                    </a:cxn>
                    <a:cxn ang="0">
                      <a:pos x="642" y="0"/>
                    </a:cxn>
                    <a:cxn ang="0">
                      <a:pos x="662" y="4"/>
                    </a:cxn>
                    <a:cxn ang="0">
                      <a:pos x="664" y="22"/>
                    </a:cxn>
                    <a:cxn ang="0">
                      <a:pos x="670" y="56"/>
                    </a:cxn>
                    <a:cxn ang="0">
                      <a:pos x="682" y="64"/>
                    </a:cxn>
                    <a:cxn ang="0">
                      <a:pos x="716" y="60"/>
                    </a:cxn>
                    <a:cxn ang="0">
                      <a:pos x="738" y="64"/>
                    </a:cxn>
                    <a:cxn ang="0">
                      <a:pos x="756" y="78"/>
                    </a:cxn>
                    <a:cxn ang="0">
                      <a:pos x="822" y="112"/>
                    </a:cxn>
                    <a:cxn ang="0">
                      <a:pos x="838" y="128"/>
                    </a:cxn>
                    <a:cxn ang="0">
                      <a:pos x="834" y="134"/>
                    </a:cxn>
                    <a:cxn ang="0">
                      <a:pos x="780" y="160"/>
                    </a:cxn>
                    <a:cxn ang="0">
                      <a:pos x="682" y="174"/>
                    </a:cxn>
                    <a:cxn ang="0">
                      <a:pos x="648" y="186"/>
                    </a:cxn>
                    <a:cxn ang="0">
                      <a:pos x="634" y="214"/>
                    </a:cxn>
                    <a:cxn ang="0">
                      <a:pos x="608" y="240"/>
                    </a:cxn>
                    <a:cxn ang="0">
                      <a:pos x="576" y="252"/>
                    </a:cxn>
                    <a:cxn ang="0">
                      <a:pos x="464" y="254"/>
                    </a:cxn>
                    <a:cxn ang="0">
                      <a:pos x="422" y="258"/>
                    </a:cxn>
                    <a:cxn ang="0">
                      <a:pos x="346" y="296"/>
                    </a:cxn>
                    <a:cxn ang="0">
                      <a:pos x="306" y="312"/>
                    </a:cxn>
                    <a:cxn ang="0">
                      <a:pos x="290" y="304"/>
                    </a:cxn>
                  </a:cxnLst>
                  <a:rect l="0" t="0" r="r" b="b"/>
                  <a:pathLst>
                    <a:path w="838" h="312">
                      <a:moveTo>
                        <a:pt x="290" y="304"/>
                      </a:moveTo>
                      <a:lnTo>
                        <a:pt x="290" y="304"/>
                      </a:lnTo>
                      <a:lnTo>
                        <a:pt x="290" y="292"/>
                      </a:lnTo>
                      <a:lnTo>
                        <a:pt x="288" y="280"/>
                      </a:lnTo>
                      <a:lnTo>
                        <a:pt x="286" y="272"/>
                      </a:lnTo>
                      <a:lnTo>
                        <a:pt x="282" y="264"/>
                      </a:lnTo>
                      <a:lnTo>
                        <a:pt x="282" y="264"/>
                      </a:lnTo>
                      <a:lnTo>
                        <a:pt x="260" y="228"/>
                      </a:lnTo>
                      <a:lnTo>
                        <a:pt x="248" y="212"/>
                      </a:lnTo>
                      <a:lnTo>
                        <a:pt x="244" y="206"/>
                      </a:lnTo>
                      <a:lnTo>
                        <a:pt x="238" y="200"/>
                      </a:lnTo>
                      <a:lnTo>
                        <a:pt x="238" y="200"/>
                      </a:lnTo>
                      <a:lnTo>
                        <a:pt x="234" y="196"/>
                      </a:lnTo>
                      <a:lnTo>
                        <a:pt x="230" y="194"/>
                      </a:lnTo>
                      <a:lnTo>
                        <a:pt x="228" y="186"/>
                      </a:lnTo>
                      <a:lnTo>
                        <a:pt x="228" y="182"/>
                      </a:lnTo>
                      <a:lnTo>
                        <a:pt x="224" y="178"/>
                      </a:lnTo>
                      <a:lnTo>
                        <a:pt x="220" y="172"/>
                      </a:lnTo>
                      <a:lnTo>
                        <a:pt x="210" y="166"/>
                      </a:lnTo>
                      <a:lnTo>
                        <a:pt x="210" y="166"/>
                      </a:lnTo>
                      <a:lnTo>
                        <a:pt x="186" y="154"/>
                      </a:lnTo>
                      <a:lnTo>
                        <a:pt x="158" y="144"/>
                      </a:lnTo>
                      <a:lnTo>
                        <a:pt x="128" y="136"/>
                      </a:lnTo>
                      <a:lnTo>
                        <a:pt x="104" y="134"/>
                      </a:lnTo>
                      <a:lnTo>
                        <a:pt x="104" y="134"/>
                      </a:lnTo>
                      <a:lnTo>
                        <a:pt x="66" y="132"/>
                      </a:lnTo>
                      <a:lnTo>
                        <a:pt x="40" y="130"/>
                      </a:lnTo>
                      <a:lnTo>
                        <a:pt x="40" y="130"/>
                      </a:lnTo>
                      <a:lnTo>
                        <a:pt x="28" y="128"/>
                      </a:lnTo>
                      <a:lnTo>
                        <a:pt x="14" y="124"/>
                      </a:lnTo>
                      <a:lnTo>
                        <a:pt x="0" y="116"/>
                      </a:lnTo>
                      <a:lnTo>
                        <a:pt x="0" y="116"/>
                      </a:lnTo>
                      <a:lnTo>
                        <a:pt x="20" y="102"/>
                      </a:lnTo>
                      <a:lnTo>
                        <a:pt x="34" y="92"/>
                      </a:lnTo>
                      <a:lnTo>
                        <a:pt x="42" y="88"/>
                      </a:lnTo>
                      <a:lnTo>
                        <a:pt x="42" y="88"/>
                      </a:lnTo>
                      <a:lnTo>
                        <a:pt x="98" y="78"/>
                      </a:lnTo>
                      <a:lnTo>
                        <a:pt x="138" y="72"/>
                      </a:lnTo>
                      <a:lnTo>
                        <a:pt x="168" y="70"/>
                      </a:lnTo>
                      <a:lnTo>
                        <a:pt x="168" y="70"/>
                      </a:lnTo>
                      <a:lnTo>
                        <a:pt x="180" y="68"/>
                      </a:lnTo>
                      <a:lnTo>
                        <a:pt x="194" y="64"/>
                      </a:lnTo>
                      <a:lnTo>
                        <a:pt x="228" y="56"/>
                      </a:lnTo>
                      <a:lnTo>
                        <a:pt x="276" y="40"/>
                      </a:lnTo>
                      <a:lnTo>
                        <a:pt x="276" y="40"/>
                      </a:lnTo>
                      <a:lnTo>
                        <a:pt x="306" y="38"/>
                      </a:lnTo>
                      <a:lnTo>
                        <a:pt x="338" y="36"/>
                      </a:lnTo>
                      <a:lnTo>
                        <a:pt x="338" y="36"/>
                      </a:lnTo>
                      <a:lnTo>
                        <a:pt x="354" y="36"/>
                      </a:lnTo>
                      <a:lnTo>
                        <a:pt x="378" y="42"/>
                      </a:lnTo>
                      <a:lnTo>
                        <a:pt x="402" y="50"/>
                      </a:lnTo>
                      <a:lnTo>
                        <a:pt x="418" y="58"/>
                      </a:lnTo>
                      <a:lnTo>
                        <a:pt x="418" y="58"/>
                      </a:lnTo>
                      <a:lnTo>
                        <a:pt x="428" y="64"/>
                      </a:lnTo>
                      <a:lnTo>
                        <a:pt x="438" y="64"/>
                      </a:lnTo>
                      <a:lnTo>
                        <a:pt x="446" y="60"/>
                      </a:lnTo>
                      <a:lnTo>
                        <a:pt x="454" y="52"/>
                      </a:lnTo>
                      <a:lnTo>
                        <a:pt x="454" y="52"/>
                      </a:lnTo>
                      <a:lnTo>
                        <a:pt x="464" y="42"/>
                      </a:lnTo>
                      <a:lnTo>
                        <a:pt x="476" y="34"/>
                      </a:lnTo>
                      <a:lnTo>
                        <a:pt x="490" y="28"/>
                      </a:lnTo>
                      <a:lnTo>
                        <a:pt x="490" y="28"/>
                      </a:lnTo>
                      <a:lnTo>
                        <a:pt x="500" y="30"/>
                      </a:lnTo>
                      <a:lnTo>
                        <a:pt x="510" y="28"/>
                      </a:lnTo>
                      <a:lnTo>
                        <a:pt x="522" y="26"/>
                      </a:lnTo>
                      <a:lnTo>
                        <a:pt x="522" y="26"/>
                      </a:lnTo>
                      <a:lnTo>
                        <a:pt x="562" y="12"/>
                      </a:lnTo>
                      <a:lnTo>
                        <a:pt x="586" y="4"/>
                      </a:lnTo>
                      <a:lnTo>
                        <a:pt x="604" y="2"/>
                      </a:lnTo>
                      <a:lnTo>
                        <a:pt x="604" y="2"/>
                      </a:lnTo>
                      <a:lnTo>
                        <a:pt x="622" y="0"/>
                      </a:lnTo>
                      <a:lnTo>
                        <a:pt x="642" y="0"/>
                      </a:lnTo>
                      <a:lnTo>
                        <a:pt x="650" y="0"/>
                      </a:lnTo>
                      <a:lnTo>
                        <a:pt x="658" y="2"/>
                      </a:lnTo>
                      <a:lnTo>
                        <a:pt x="662" y="4"/>
                      </a:lnTo>
                      <a:lnTo>
                        <a:pt x="664" y="8"/>
                      </a:lnTo>
                      <a:lnTo>
                        <a:pt x="664" y="8"/>
                      </a:lnTo>
                      <a:lnTo>
                        <a:pt x="664" y="22"/>
                      </a:lnTo>
                      <a:lnTo>
                        <a:pt x="664" y="36"/>
                      </a:lnTo>
                      <a:lnTo>
                        <a:pt x="666" y="50"/>
                      </a:lnTo>
                      <a:lnTo>
                        <a:pt x="670" y="56"/>
                      </a:lnTo>
                      <a:lnTo>
                        <a:pt x="672" y="60"/>
                      </a:lnTo>
                      <a:lnTo>
                        <a:pt x="672" y="60"/>
                      </a:lnTo>
                      <a:lnTo>
                        <a:pt x="682" y="64"/>
                      </a:lnTo>
                      <a:lnTo>
                        <a:pt x="692" y="64"/>
                      </a:lnTo>
                      <a:lnTo>
                        <a:pt x="716" y="60"/>
                      </a:lnTo>
                      <a:lnTo>
                        <a:pt x="716" y="60"/>
                      </a:lnTo>
                      <a:lnTo>
                        <a:pt x="724" y="60"/>
                      </a:lnTo>
                      <a:lnTo>
                        <a:pt x="728" y="60"/>
                      </a:lnTo>
                      <a:lnTo>
                        <a:pt x="738" y="64"/>
                      </a:lnTo>
                      <a:lnTo>
                        <a:pt x="746" y="70"/>
                      </a:lnTo>
                      <a:lnTo>
                        <a:pt x="756" y="78"/>
                      </a:lnTo>
                      <a:lnTo>
                        <a:pt x="756" y="78"/>
                      </a:lnTo>
                      <a:lnTo>
                        <a:pt x="778" y="88"/>
                      </a:lnTo>
                      <a:lnTo>
                        <a:pt x="808" y="104"/>
                      </a:lnTo>
                      <a:lnTo>
                        <a:pt x="822" y="112"/>
                      </a:lnTo>
                      <a:lnTo>
                        <a:pt x="832" y="120"/>
                      </a:lnTo>
                      <a:lnTo>
                        <a:pt x="836" y="124"/>
                      </a:lnTo>
                      <a:lnTo>
                        <a:pt x="838" y="128"/>
                      </a:lnTo>
                      <a:lnTo>
                        <a:pt x="836" y="130"/>
                      </a:lnTo>
                      <a:lnTo>
                        <a:pt x="834" y="134"/>
                      </a:lnTo>
                      <a:lnTo>
                        <a:pt x="834" y="134"/>
                      </a:lnTo>
                      <a:lnTo>
                        <a:pt x="820" y="144"/>
                      </a:lnTo>
                      <a:lnTo>
                        <a:pt x="802" y="154"/>
                      </a:lnTo>
                      <a:lnTo>
                        <a:pt x="780" y="160"/>
                      </a:lnTo>
                      <a:lnTo>
                        <a:pt x="748" y="166"/>
                      </a:lnTo>
                      <a:lnTo>
                        <a:pt x="748" y="166"/>
                      </a:lnTo>
                      <a:lnTo>
                        <a:pt x="682" y="174"/>
                      </a:lnTo>
                      <a:lnTo>
                        <a:pt x="660" y="180"/>
                      </a:lnTo>
                      <a:lnTo>
                        <a:pt x="652" y="182"/>
                      </a:lnTo>
                      <a:lnTo>
                        <a:pt x="648" y="186"/>
                      </a:lnTo>
                      <a:lnTo>
                        <a:pt x="648" y="186"/>
                      </a:lnTo>
                      <a:lnTo>
                        <a:pt x="642" y="196"/>
                      </a:lnTo>
                      <a:lnTo>
                        <a:pt x="634" y="214"/>
                      </a:lnTo>
                      <a:lnTo>
                        <a:pt x="626" y="222"/>
                      </a:lnTo>
                      <a:lnTo>
                        <a:pt x="618" y="232"/>
                      </a:lnTo>
                      <a:lnTo>
                        <a:pt x="608" y="240"/>
                      </a:lnTo>
                      <a:lnTo>
                        <a:pt x="594" y="246"/>
                      </a:lnTo>
                      <a:lnTo>
                        <a:pt x="594" y="246"/>
                      </a:lnTo>
                      <a:lnTo>
                        <a:pt x="576" y="252"/>
                      </a:lnTo>
                      <a:lnTo>
                        <a:pt x="556" y="254"/>
                      </a:lnTo>
                      <a:lnTo>
                        <a:pt x="512" y="254"/>
                      </a:lnTo>
                      <a:lnTo>
                        <a:pt x="464" y="254"/>
                      </a:lnTo>
                      <a:lnTo>
                        <a:pt x="442" y="254"/>
                      </a:lnTo>
                      <a:lnTo>
                        <a:pt x="422" y="258"/>
                      </a:lnTo>
                      <a:lnTo>
                        <a:pt x="422" y="258"/>
                      </a:lnTo>
                      <a:lnTo>
                        <a:pt x="404" y="264"/>
                      </a:lnTo>
                      <a:lnTo>
                        <a:pt x="384" y="274"/>
                      </a:lnTo>
                      <a:lnTo>
                        <a:pt x="346" y="296"/>
                      </a:lnTo>
                      <a:lnTo>
                        <a:pt x="328" y="306"/>
                      </a:lnTo>
                      <a:lnTo>
                        <a:pt x="314" y="312"/>
                      </a:lnTo>
                      <a:lnTo>
                        <a:pt x="306" y="312"/>
                      </a:lnTo>
                      <a:lnTo>
                        <a:pt x="300" y="312"/>
                      </a:lnTo>
                      <a:lnTo>
                        <a:pt x="294" y="310"/>
                      </a:lnTo>
                      <a:lnTo>
                        <a:pt x="290" y="304"/>
                      </a:lnTo>
                      <a:lnTo>
                        <a:pt x="290" y="30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0" name="Freeform 14">
                  <a:extLst>
                    <a:ext uri="{FF2B5EF4-FFF2-40B4-BE49-F238E27FC236}">
                      <a16:creationId xmlns:a16="http://schemas.microsoft.com/office/drawing/2014/main" id="{1F88211E-B842-42FC-97AB-30352625E9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9593" y="5197268"/>
                  <a:ext cx="137184" cy="237785"/>
                </a:xfrm>
                <a:custGeom>
                  <a:avLst/>
                  <a:gdLst/>
                  <a:ahLst/>
                  <a:cxnLst>
                    <a:cxn ang="0">
                      <a:pos x="180" y="42"/>
                    </a:cxn>
                    <a:cxn ang="0">
                      <a:pos x="180" y="42"/>
                    </a:cxn>
                    <a:cxn ang="0">
                      <a:pos x="144" y="30"/>
                    </a:cxn>
                    <a:cxn ang="0">
                      <a:pos x="108" y="16"/>
                    </a:cxn>
                    <a:cxn ang="0">
                      <a:pos x="78" y="4"/>
                    </a:cxn>
                    <a:cxn ang="0">
                      <a:pos x="66" y="0"/>
                    </a:cxn>
                    <a:cxn ang="0">
                      <a:pos x="60" y="0"/>
                    </a:cxn>
                    <a:cxn ang="0">
                      <a:pos x="60" y="0"/>
                    </a:cxn>
                    <a:cxn ang="0">
                      <a:pos x="46" y="2"/>
                    </a:cxn>
                    <a:cxn ang="0">
                      <a:pos x="34" y="6"/>
                    </a:cxn>
                    <a:cxn ang="0">
                      <a:pos x="24" y="14"/>
                    </a:cxn>
                    <a:cxn ang="0">
                      <a:pos x="14" y="24"/>
                    </a:cxn>
                    <a:cxn ang="0">
                      <a:pos x="14" y="24"/>
                    </a:cxn>
                    <a:cxn ang="0">
                      <a:pos x="6" y="38"/>
                    </a:cxn>
                    <a:cxn ang="0">
                      <a:pos x="4" y="44"/>
                    </a:cxn>
                    <a:cxn ang="0">
                      <a:pos x="2" y="52"/>
                    </a:cxn>
                    <a:cxn ang="0">
                      <a:pos x="0" y="62"/>
                    </a:cxn>
                    <a:cxn ang="0">
                      <a:pos x="2" y="74"/>
                    </a:cxn>
                    <a:cxn ang="0">
                      <a:pos x="6" y="88"/>
                    </a:cxn>
                    <a:cxn ang="0">
                      <a:pos x="14" y="104"/>
                    </a:cxn>
                    <a:cxn ang="0">
                      <a:pos x="14" y="104"/>
                    </a:cxn>
                    <a:cxn ang="0">
                      <a:pos x="34" y="146"/>
                    </a:cxn>
                    <a:cxn ang="0">
                      <a:pos x="60" y="188"/>
                    </a:cxn>
                    <a:cxn ang="0">
                      <a:pos x="90" y="232"/>
                    </a:cxn>
                    <a:cxn ang="0">
                      <a:pos x="90" y="232"/>
                    </a:cxn>
                    <a:cxn ang="0">
                      <a:pos x="106" y="252"/>
                    </a:cxn>
                    <a:cxn ang="0">
                      <a:pos x="124" y="268"/>
                    </a:cxn>
                    <a:cxn ang="0">
                      <a:pos x="142" y="282"/>
                    </a:cxn>
                    <a:cxn ang="0">
                      <a:pos x="142" y="282"/>
                    </a:cxn>
                    <a:cxn ang="0">
                      <a:pos x="160" y="296"/>
                    </a:cxn>
                    <a:cxn ang="0">
                      <a:pos x="180" y="312"/>
                    </a:cxn>
                    <a:cxn ang="0">
                      <a:pos x="180" y="42"/>
                    </a:cxn>
                  </a:cxnLst>
                  <a:rect l="0" t="0" r="r" b="b"/>
                  <a:pathLst>
                    <a:path w="180" h="312">
                      <a:moveTo>
                        <a:pt x="180" y="42"/>
                      </a:moveTo>
                      <a:lnTo>
                        <a:pt x="180" y="42"/>
                      </a:lnTo>
                      <a:lnTo>
                        <a:pt x="144" y="30"/>
                      </a:lnTo>
                      <a:lnTo>
                        <a:pt x="108" y="16"/>
                      </a:lnTo>
                      <a:lnTo>
                        <a:pt x="78" y="4"/>
                      </a:lnTo>
                      <a:lnTo>
                        <a:pt x="6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46" y="2"/>
                      </a:lnTo>
                      <a:lnTo>
                        <a:pt x="34" y="6"/>
                      </a:lnTo>
                      <a:lnTo>
                        <a:pt x="24" y="14"/>
                      </a:lnTo>
                      <a:lnTo>
                        <a:pt x="14" y="24"/>
                      </a:lnTo>
                      <a:lnTo>
                        <a:pt x="14" y="24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2"/>
                      </a:lnTo>
                      <a:lnTo>
                        <a:pt x="0" y="62"/>
                      </a:lnTo>
                      <a:lnTo>
                        <a:pt x="2" y="74"/>
                      </a:lnTo>
                      <a:lnTo>
                        <a:pt x="6" y="88"/>
                      </a:lnTo>
                      <a:lnTo>
                        <a:pt x="14" y="104"/>
                      </a:lnTo>
                      <a:lnTo>
                        <a:pt x="14" y="104"/>
                      </a:lnTo>
                      <a:lnTo>
                        <a:pt x="34" y="146"/>
                      </a:lnTo>
                      <a:lnTo>
                        <a:pt x="60" y="188"/>
                      </a:lnTo>
                      <a:lnTo>
                        <a:pt x="90" y="232"/>
                      </a:lnTo>
                      <a:lnTo>
                        <a:pt x="90" y="232"/>
                      </a:lnTo>
                      <a:lnTo>
                        <a:pt x="106" y="252"/>
                      </a:lnTo>
                      <a:lnTo>
                        <a:pt x="124" y="268"/>
                      </a:lnTo>
                      <a:lnTo>
                        <a:pt x="142" y="282"/>
                      </a:lnTo>
                      <a:lnTo>
                        <a:pt x="142" y="282"/>
                      </a:lnTo>
                      <a:lnTo>
                        <a:pt x="160" y="296"/>
                      </a:lnTo>
                      <a:lnTo>
                        <a:pt x="180" y="312"/>
                      </a:lnTo>
                      <a:lnTo>
                        <a:pt x="180" y="4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1" name="Freeform 15">
                  <a:extLst>
                    <a:ext uri="{FF2B5EF4-FFF2-40B4-BE49-F238E27FC236}">
                      <a16:creationId xmlns:a16="http://schemas.microsoft.com/office/drawing/2014/main" id="{593680F7-4098-44C5-973D-7E9581341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49593" y="5197268"/>
                  <a:ext cx="137184" cy="237785"/>
                </a:xfrm>
                <a:custGeom>
                  <a:avLst/>
                  <a:gdLst/>
                  <a:ahLst/>
                  <a:cxnLst>
                    <a:cxn ang="0">
                      <a:pos x="180" y="42"/>
                    </a:cxn>
                    <a:cxn ang="0">
                      <a:pos x="180" y="42"/>
                    </a:cxn>
                    <a:cxn ang="0">
                      <a:pos x="144" y="30"/>
                    </a:cxn>
                    <a:cxn ang="0">
                      <a:pos x="108" y="16"/>
                    </a:cxn>
                    <a:cxn ang="0">
                      <a:pos x="78" y="4"/>
                    </a:cxn>
                    <a:cxn ang="0">
                      <a:pos x="66" y="0"/>
                    </a:cxn>
                    <a:cxn ang="0">
                      <a:pos x="60" y="0"/>
                    </a:cxn>
                    <a:cxn ang="0">
                      <a:pos x="60" y="0"/>
                    </a:cxn>
                    <a:cxn ang="0">
                      <a:pos x="46" y="2"/>
                    </a:cxn>
                    <a:cxn ang="0">
                      <a:pos x="34" y="6"/>
                    </a:cxn>
                    <a:cxn ang="0">
                      <a:pos x="24" y="14"/>
                    </a:cxn>
                    <a:cxn ang="0">
                      <a:pos x="14" y="24"/>
                    </a:cxn>
                    <a:cxn ang="0">
                      <a:pos x="14" y="24"/>
                    </a:cxn>
                    <a:cxn ang="0">
                      <a:pos x="6" y="38"/>
                    </a:cxn>
                    <a:cxn ang="0">
                      <a:pos x="4" y="44"/>
                    </a:cxn>
                    <a:cxn ang="0">
                      <a:pos x="2" y="52"/>
                    </a:cxn>
                    <a:cxn ang="0">
                      <a:pos x="0" y="62"/>
                    </a:cxn>
                    <a:cxn ang="0">
                      <a:pos x="2" y="74"/>
                    </a:cxn>
                    <a:cxn ang="0">
                      <a:pos x="6" y="88"/>
                    </a:cxn>
                    <a:cxn ang="0">
                      <a:pos x="14" y="104"/>
                    </a:cxn>
                    <a:cxn ang="0">
                      <a:pos x="14" y="104"/>
                    </a:cxn>
                    <a:cxn ang="0">
                      <a:pos x="34" y="146"/>
                    </a:cxn>
                    <a:cxn ang="0">
                      <a:pos x="60" y="188"/>
                    </a:cxn>
                    <a:cxn ang="0">
                      <a:pos x="90" y="232"/>
                    </a:cxn>
                    <a:cxn ang="0">
                      <a:pos x="90" y="232"/>
                    </a:cxn>
                    <a:cxn ang="0">
                      <a:pos x="106" y="252"/>
                    </a:cxn>
                    <a:cxn ang="0">
                      <a:pos x="124" y="268"/>
                    </a:cxn>
                    <a:cxn ang="0">
                      <a:pos x="142" y="282"/>
                    </a:cxn>
                    <a:cxn ang="0">
                      <a:pos x="142" y="282"/>
                    </a:cxn>
                    <a:cxn ang="0">
                      <a:pos x="160" y="296"/>
                    </a:cxn>
                    <a:cxn ang="0">
                      <a:pos x="180" y="312"/>
                    </a:cxn>
                  </a:cxnLst>
                  <a:rect l="0" t="0" r="r" b="b"/>
                  <a:pathLst>
                    <a:path w="180" h="312">
                      <a:moveTo>
                        <a:pt x="180" y="42"/>
                      </a:moveTo>
                      <a:lnTo>
                        <a:pt x="180" y="42"/>
                      </a:lnTo>
                      <a:lnTo>
                        <a:pt x="144" y="30"/>
                      </a:lnTo>
                      <a:lnTo>
                        <a:pt x="108" y="16"/>
                      </a:lnTo>
                      <a:lnTo>
                        <a:pt x="78" y="4"/>
                      </a:lnTo>
                      <a:lnTo>
                        <a:pt x="66" y="0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46" y="2"/>
                      </a:lnTo>
                      <a:lnTo>
                        <a:pt x="34" y="6"/>
                      </a:lnTo>
                      <a:lnTo>
                        <a:pt x="24" y="14"/>
                      </a:lnTo>
                      <a:lnTo>
                        <a:pt x="14" y="24"/>
                      </a:lnTo>
                      <a:lnTo>
                        <a:pt x="14" y="24"/>
                      </a:lnTo>
                      <a:lnTo>
                        <a:pt x="6" y="38"/>
                      </a:lnTo>
                      <a:lnTo>
                        <a:pt x="4" y="44"/>
                      </a:lnTo>
                      <a:lnTo>
                        <a:pt x="2" y="52"/>
                      </a:lnTo>
                      <a:lnTo>
                        <a:pt x="0" y="62"/>
                      </a:lnTo>
                      <a:lnTo>
                        <a:pt x="2" y="74"/>
                      </a:lnTo>
                      <a:lnTo>
                        <a:pt x="6" y="88"/>
                      </a:lnTo>
                      <a:lnTo>
                        <a:pt x="14" y="104"/>
                      </a:lnTo>
                      <a:lnTo>
                        <a:pt x="14" y="104"/>
                      </a:lnTo>
                      <a:lnTo>
                        <a:pt x="34" y="146"/>
                      </a:lnTo>
                      <a:lnTo>
                        <a:pt x="60" y="188"/>
                      </a:lnTo>
                      <a:lnTo>
                        <a:pt x="90" y="232"/>
                      </a:lnTo>
                      <a:lnTo>
                        <a:pt x="90" y="232"/>
                      </a:lnTo>
                      <a:lnTo>
                        <a:pt x="106" y="252"/>
                      </a:lnTo>
                      <a:lnTo>
                        <a:pt x="124" y="268"/>
                      </a:lnTo>
                      <a:lnTo>
                        <a:pt x="142" y="282"/>
                      </a:lnTo>
                      <a:lnTo>
                        <a:pt x="142" y="282"/>
                      </a:lnTo>
                      <a:lnTo>
                        <a:pt x="160" y="296"/>
                      </a:lnTo>
                      <a:lnTo>
                        <a:pt x="180" y="312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2" name="Freeform 16">
                  <a:extLst>
                    <a:ext uri="{FF2B5EF4-FFF2-40B4-BE49-F238E27FC236}">
                      <a16:creationId xmlns:a16="http://schemas.microsoft.com/office/drawing/2014/main" id="{FFAA431A-AAD1-4C26-8268-5CA61A2F0A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9604" y="5063133"/>
                  <a:ext cx="1707173" cy="975528"/>
                </a:xfrm>
                <a:custGeom>
                  <a:avLst/>
                  <a:gdLst/>
                  <a:ahLst/>
                  <a:cxnLst>
                    <a:cxn ang="0">
                      <a:pos x="2174" y="436"/>
                    </a:cxn>
                    <a:cxn ang="0">
                      <a:pos x="2058" y="234"/>
                    </a:cxn>
                    <a:cxn ang="0">
                      <a:pos x="1980" y="158"/>
                    </a:cxn>
                    <a:cxn ang="0">
                      <a:pos x="1912" y="104"/>
                    </a:cxn>
                    <a:cxn ang="0">
                      <a:pos x="1848" y="4"/>
                    </a:cxn>
                    <a:cxn ang="0">
                      <a:pos x="1700" y="50"/>
                    </a:cxn>
                    <a:cxn ang="0">
                      <a:pos x="1640" y="78"/>
                    </a:cxn>
                    <a:cxn ang="0">
                      <a:pos x="1506" y="212"/>
                    </a:cxn>
                    <a:cxn ang="0">
                      <a:pos x="1356" y="282"/>
                    </a:cxn>
                    <a:cxn ang="0">
                      <a:pos x="1172" y="292"/>
                    </a:cxn>
                    <a:cxn ang="0">
                      <a:pos x="1062" y="284"/>
                    </a:cxn>
                    <a:cxn ang="0">
                      <a:pos x="1014" y="276"/>
                    </a:cxn>
                    <a:cxn ang="0">
                      <a:pos x="938" y="248"/>
                    </a:cxn>
                    <a:cxn ang="0">
                      <a:pos x="892" y="268"/>
                    </a:cxn>
                    <a:cxn ang="0">
                      <a:pos x="704" y="334"/>
                    </a:cxn>
                    <a:cxn ang="0">
                      <a:pos x="570" y="500"/>
                    </a:cxn>
                    <a:cxn ang="0">
                      <a:pos x="342" y="536"/>
                    </a:cxn>
                    <a:cxn ang="0">
                      <a:pos x="218" y="510"/>
                    </a:cxn>
                    <a:cxn ang="0">
                      <a:pos x="176" y="438"/>
                    </a:cxn>
                    <a:cxn ang="0">
                      <a:pos x="46" y="460"/>
                    </a:cxn>
                    <a:cxn ang="0">
                      <a:pos x="16" y="500"/>
                    </a:cxn>
                    <a:cxn ang="0">
                      <a:pos x="28" y="616"/>
                    </a:cxn>
                    <a:cxn ang="0">
                      <a:pos x="60" y="666"/>
                    </a:cxn>
                    <a:cxn ang="0">
                      <a:pos x="158" y="610"/>
                    </a:cxn>
                    <a:cxn ang="0">
                      <a:pos x="262" y="558"/>
                    </a:cxn>
                    <a:cxn ang="0">
                      <a:pos x="336" y="558"/>
                    </a:cxn>
                    <a:cxn ang="0">
                      <a:pos x="444" y="566"/>
                    </a:cxn>
                    <a:cxn ang="0">
                      <a:pos x="362" y="612"/>
                    </a:cxn>
                    <a:cxn ang="0">
                      <a:pos x="372" y="660"/>
                    </a:cxn>
                    <a:cxn ang="0">
                      <a:pos x="214" y="704"/>
                    </a:cxn>
                    <a:cxn ang="0">
                      <a:pos x="78" y="736"/>
                    </a:cxn>
                    <a:cxn ang="0">
                      <a:pos x="46" y="818"/>
                    </a:cxn>
                    <a:cxn ang="0">
                      <a:pos x="126" y="812"/>
                    </a:cxn>
                    <a:cxn ang="0">
                      <a:pos x="148" y="878"/>
                    </a:cxn>
                    <a:cxn ang="0">
                      <a:pos x="186" y="952"/>
                    </a:cxn>
                    <a:cxn ang="0">
                      <a:pos x="198" y="998"/>
                    </a:cxn>
                    <a:cxn ang="0">
                      <a:pos x="264" y="1086"/>
                    </a:cxn>
                    <a:cxn ang="0">
                      <a:pos x="254" y="1132"/>
                    </a:cxn>
                    <a:cxn ang="0">
                      <a:pos x="326" y="1200"/>
                    </a:cxn>
                    <a:cxn ang="0">
                      <a:pos x="402" y="1172"/>
                    </a:cxn>
                    <a:cxn ang="0">
                      <a:pos x="414" y="1208"/>
                    </a:cxn>
                    <a:cxn ang="0">
                      <a:pos x="456" y="1204"/>
                    </a:cxn>
                    <a:cxn ang="0">
                      <a:pos x="528" y="1226"/>
                    </a:cxn>
                    <a:cxn ang="0">
                      <a:pos x="624" y="1280"/>
                    </a:cxn>
                    <a:cxn ang="0">
                      <a:pos x="698" y="1194"/>
                    </a:cxn>
                    <a:cxn ang="0">
                      <a:pos x="724" y="1124"/>
                    </a:cxn>
                    <a:cxn ang="0">
                      <a:pos x="876" y="1138"/>
                    </a:cxn>
                    <a:cxn ang="0">
                      <a:pos x="1004" y="1186"/>
                    </a:cxn>
                    <a:cxn ang="0">
                      <a:pos x="1086" y="1134"/>
                    </a:cxn>
                    <a:cxn ang="0">
                      <a:pos x="1116" y="1106"/>
                    </a:cxn>
                    <a:cxn ang="0">
                      <a:pos x="1142" y="1028"/>
                    </a:cxn>
                    <a:cxn ang="0">
                      <a:pos x="1232" y="1010"/>
                    </a:cxn>
                    <a:cxn ang="0">
                      <a:pos x="1352" y="1066"/>
                    </a:cxn>
                    <a:cxn ang="0">
                      <a:pos x="1388" y="1100"/>
                    </a:cxn>
                    <a:cxn ang="0">
                      <a:pos x="1434" y="1022"/>
                    </a:cxn>
                    <a:cxn ang="0">
                      <a:pos x="1384" y="950"/>
                    </a:cxn>
                    <a:cxn ang="0">
                      <a:pos x="1472" y="932"/>
                    </a:cxn>
                    <a:cxn ang="0">
                      <a:pos x="1550" y="874"/>
                    </a:cxn>
                    <a:cxn ang="0">
                      <a:pos x="1644" y="860"/>
                    </a:cxn>
                    <a:cxn ang="0">
                      <a:pos x="1766" y="780"/>
                    </a:cxn>
                    <a:cxn ang="0">
                      <a:pos x="1910" y="684"/>
                    </a:cxn>
                    <a:cxn ang="0">
                      <a:pos x="2140" y="556"/>
                    </a:cxn>
                    <a:cxn ang="0">
                      <a:pos x="2240" y="486"/>
                    </a:cxn>
                  </a:cxnLst>
                  <a:rect l="0" t="0" r="r" b="b"/>
                  <a:pathLst>
                    <a:path w="2240" h="1280">
                      <a:moveTo>
                        <a:pt x="2240" y="486"/>
                      </a:moveTo>
                      <a:lnTo>
                        <a:pt x="2240" y="486"/>
                      </a:lnTo>
                      <a:lnTo>
                        <a:pt x="2232" y="480"/>
                      </a:lnTo>
                      <a:lnTo>
                        <a:pt x="2226" y="474"/>
                      </a:lnTo>
                      <a:lnTo>
                        <a:pt x="2226" y="474"/>
                      </a:lnTo>
                      <a:lnTo>
                        <a:pt x="2216" y="466"/>
                      </a:lnTo>
                      <a:lnTo>
                        <a:pt x="2200" y="456"/>
                      </a:lnTo>
                      <a:lnTo>
                        <a:pt x="2184" y="444"/>
                      </a:lnTo>
                      <a:lnTo>
                        <a:pt x="2174" y="436"/>
                      </a:lnTo>
                      <a:lnTo>
                        <a:pt x="2174" y="436"/>
                      </a:lnTo>
                      <a:lnTo>
                        <a:pt x="2136" y="386"/>
                      </a:lnTo>
                      <a:lnTo>
                        <a:pt x="2114" y="356"/>
                      </a:lnTo>
                      <a:lnTo>
                        <a:pt x="2104" y="338"/>
                      </a:lnTo>
                      <a:lnTo>
                        <a:pt x="2104" y="338"/>
                      </a:lnTo>
                      <a:lnTo>
                        <a:pt x="2094" y="320"/>
                      </a:lnTo>
                      <a:lnTo>
                        <a:pt x="2078" y="286"/>
                      </a:lnTo>
                      <a:lnTo>
                        <a:pt x="2068" y="268"/>
                      </a:lnTo>
                      <a:lnTo>
                        <a:pt x="2062" y="252"/>
                      </a:lnTo>
                      <a:lnTo>
                        <a:pt x="2058" y="238"/>
                      </a:lnTo>
                      <a:lnTo>
                        <a:pt x="2058" y="234"/>
                      </a:lnTo>
                      <a:lnTo>
                        <a:pt x="2058" y="230"/>
                      </a:lnTo>
                      <a:lnTo>
                        <a:pt x="2058" y="230"/>
                      </a:lnTo>
                      <a:lnTo>
                        <a:pt x="2068" y="216"/>
                      </a:lnTo>
                      <a:lnTo>
                        <a:pt x="2078" y="202"/>
                      </a:lnTo>
                      <a:lnTo>
                        <a:pt x="2090" y="184"/>
                      </a:lnTo>
                      <a:lnTo>
                        <a:pt x="2090" y="184"/>
                      </a:lnTo>
                      <a:lnTo>
                        <a:pt x="2046" y="170"/>
                      </a:lnTo>
                      <a:lnTo>
                        <a:pt x="2010" y="162"/>
                      </a:lnTo>
                      <a:lnTo>
                        <a:pt x="1994" y="158"/>
                      </a:lnTo>
                      <a:lnTo>
                        <a:pt x="1980" y="158"/>
                      </a:lnTo>
                      <a:lnTo>
                        <a:pt x="1980" y="158"/>
                      </a:lnTo>
                      <a:lnTo>
                        <a:pt x="1960" y="158"/>
                      </a:lnTo>
                      <a:lnTo>
                        <a:pt x="1946" y="158"/>
                      </a:lnTo>
                      <a:lnTo>
                        <a:pt x="1934" y="156"/>
                      </a:lnTo>
                      <a:lnTo>
                        <a:pt x="1934" y="156"/>
                      </a:lnTo>
                      <a:lnTo>
                        <a:pt x="1930" y="148"/>
                      </a:lnTo>
                      <a:lnTo>
                        <a:pt x="1920" y="128"/>
                      </a:lnTo>
                      <a:lnTo>
                        <a:pt x="1920" y="128"/>
                      </a:lnTo>
                      <a:lnTo>
                        <a:pt x="1916" y="116"/>
                      </a:lnTo>
                      <a:lnTo>
                        <a:pt x="1912" y="104"/>
                      </a:lnTo>
                      <a:lnTo>
                        <a:pt x="1910" y="92"/>
                      </a:lnTo>
                      <a:lnTo>
                        <a:pt x="1906" y="84"/>
                      </a:lnTo>
                      <a:lnTo>
                        <a:pt x="1906" y="84"/>
                      </a:lnTo>
                      <a:lnTo>
                        <a:pt x="1900" y="68"/>
                      </a:lnTo>
                      <a:lnTo>
                        <a:pt x="1890" y="44"/>
                      </a:lnTo>
                      <a:lnTo>
                        <a:pt x="1880" y="8"/>
                      </a:lnTo>
                      <a:lnTo>
                        <a:pt x="1880" y="8"/>
                      </a:lnTo>
                      <a:lnTo>
                        <a:pt x="1868" y="8"/>
                      </a:lnTo>
                      <a:lnTo>
                        <a:pt x="1848" y="4"/>
                      </a:lnTo>
                      <a:lnTo>
                        <a:pt x="1848" y="4"/>
                      </a:lnTo>
                      <a:lnTo>
                        <a:pt x="1840" y="2"/>
                      </a:lnTo>
                      <a:lnTo>
                        <a:pt x="1828" y="0"/>
                      </a:lnTo>
                      <a:lnTo>
                        <a:pt x="1814" y="0"/>
                      </a:lnTo>
                      <a:lnTo>
                        <a:pt x="1792" y="4"/>
                      </a:lnTo>
                      <a:lnTo>
                        <a:pt x="1792" y="4"/>
                      </a:lnTo>
                      <a:lnTo>
                        <a:pt x="1768" y="12"/>
                      </a:lnTo>
                      <a:lnTo>
                        <a:pt x="1742" y="26"/>
                      </a:lnTo>
                      <a:lnTo>
                        <a:pt x="1718" y="38"/>
                      </a:lnTo>
                      <a:lnTo>
                        <a:pt x="1700" y="50"/>
                      </a:lnTo>
                      <a:lnTo>
                        <a:pt x="1700" y="50"/>
                      </a:lnTo>
                      <a:lnTo>
                        <a:pt x="1694" y="54"/>
                      </a:lnTo>
                      <a:lnTo>
                        <a:pt x="1686" y="58"/>
                      </a:lnTo>
                      <a:lnTo>
                        <a:pt x="1668" y="62"/>
                      </a:lnTo>
                      <a:lnTo>
                        <a:pt x="1654" y="60"/>
                      </a:lnTo>
                      <a:lnTo>
                        <a:pt x="1650" y="58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40" y="78"/>
                      </a:lnTo>
                      <a:lnTo>
                        <a:pt x="1640" y="78"/>
                      </a:lnTo>
                      <a:lnTo>
                        <a:pt x="1630" y="102"/>
                      </a:lnTo>
                      <a:lnTo>
                        <a:pt x="1616" y="122"/>
                      </a:lnTo>
                      <a:lnTo>
                        <a:pt x="1602" y="142"/>
                      </a:lnTo>
                      <a:lnTo>
                        <a:pt x="1584" y="162"/>
                      </a:lnTo>
                      <a:lnTo>
                        <a:pt x="1584" y="162"/>
                      </a:lnTo>
                      <a:lnTo>
                        <a:pt x="1568" y="180"/>
                      </a:lnTo>
                      <a:lnTo>
                        <a:pt x="1556" y="190"/>
                      </a:lnTo>
                      <a:lnTo>
                        <a:pt x="1538" y="198"/>
                      </a:lnTo>
                      <a:lnTo>
                        <a:pt x="1506" y="212"/>
                      </a:lnTo>
                      <a:lnTo>
                        <a:pt x="1506" y="212"/>
                      </a:lnTo>
                      <a:lnTo>
                        <a:pt x="1474" y="224"/>
                      </a:lnTo>
                      <a:lnTo>
                        <a:pt x="1450" y="230"/>
                      </a:lnTo>
                      <a:lnTo>
                        <a:pt x="1430" y="236"/>
                      </a:lnTo>
                      <a:lnTo>
                        <a:pt x="1420" y="240"/>
                      </a:lnTo>
                      <a:lnTo>
                        <a:pt x="1408" y="246"/>
                      </a:lnTo>
                      <a:lnTo>
                        <a:pt x="1408" y="246"/>
                      </a:lnTo>
                      <a:lnTo>
                        <a:pt x="1388" y="258"/>
                      </a:lnTo>
                      <a:lnTo>
                        <a:pt x="1372" y="270"/>
                      </a:lnTo>
                      <a:lnTo>
                        <a:pt x="1356" y="282"/>
                      </a:lnTo>
                      <a:lnTo>
                        <a:pt x="1356" y="282"/>
                      </a:lnTo>
                      <a:lnTo>
                        <a:pt x="1346" y="286"/>
                      </a:lnTo>
                      <a:lnTo>
                        <a:pt x="1324" y="290"/>
                      </a:lnTo>
                      <a:lnTo>
                        <a:pt x="1266" y="294"/>
                      </a:lnTo>
                      <a:lnTo>
                        <a:pt x="1266" y="294"/>
                      </a:lnTo>
                      <a:lnTo>
                        <a:pt x="1236" y="296"/>
                      </a:lnTo>
                      <a:lnTo>
                        <a:pt x="1210" y="298"/>
                      </a:lnTo>
                      <a:lnTo>
                        <a:pt x="1188" y="296"/>
                      </a:lnTo>
                      <a:lnTo>
                        <a:pt x="1172" y="292"/>
                      </a:lnTo>
                      <a:lnTo>
                        <a:pt x="1172" y="292"/>
                      </a:lnTo>
                      <a:lnTo>
                        <a:pt x="1160" y="288"/>
                      </a:lnTo>
                      <a:lnTo>
                        <a:pt x="1152" y="284"/>
                      </a:lnTo>
                      <a:lnTo>
                        <a:pt x="1148" y="284"/>
                      </a:lnTo>
                      <a:lnTo>
                        <a:pt x="1146" y="284"/>
                      </a:lnTo>
                      <a:lnTo>
                        <a:pt x="1142" y="288"/>
                      </a:lnTo>
                      <a:lnTo>
                        <a:pt x="1136" y="292"/>
                      </a:lnTo>
                      <a:lnTo>
                        <a:pt x="1136" y="292"/>
                      </a:lnTo>
                      <a:lnTo>
                        <a:pt x="1122" y="310"/>
                      </a:lnTo>
                      <a:lnTo>
                        <a:pt x="1118" y="314"/>
                      </a:lnTo>
                      <a:lnTo>
                        <a:pt x="1062" y="284"/>
                      </a:lnTo>
                      <a:lnTo>
                        <a:pt x="1062" y="284"/>
                      </a:lnTo>
                      <a:lnTo>
                        <a:pt x="1062" y="278"/>
                      </a:lnTo>
                      <a:lnTo>
                        <a:pt x="1064" y="268"/>
                      </a:lnTo>
                      <a:lnTo>
                        <a:pt x="1064" y="262"/>
                      </a:lnTo>
                      <a:lnTo>
                        <a:pt x="1062" y="256"/>
                      </a:lnTo>
                      <a:lnTo>
                        <a:pt x="1058" y="254"/>
                      </a:lnTo>
                      <a:lnTo>
                        <a:pt x="1052" y="254"/>
                      </a:lnTo>
                      <a:lnTo>
                        <a:pt x="1052" y="254"/>
                      </a:lnTo>
                      <a:lnTo>
                        <a:pt x="1036" y="264"/>
                      </a:lnTo>
                      <a:lnTo>
                        <a:pt x="1014" y="276"/>
                      </a:lnTo>
                      <a:lnTo>
                        <a:pt x="1004" y="282"/>
                      </a:lnTo>
                      <a:lnTo>
                        <a:pt x="994" y="286"/>
                      </a:lnTo>
                      <a:lnTo>
                        <a:pt x="986" y="286"/>
                      </a:lnTo>
                      <a:lnTo>
                        <a:pt x="978" y="284"/>
                      </a:lnTo>
                      <a:lnTo>
                        <a:pt x="978" y="284"/>
                      </a:lnTo>
                      <a:lnTo>
                        <a:pt x="958" y="274"/>
                      </a:lnTo>
                      <a:lnTo>
                        <a:pt x="950" y="268"/>
                      </a:lnTo>
                      <a:lnTo>
                        <a:pt x="946" y="260"/>
                      </a:lnTo>
                      <a:lnTo>
                        <a:pt x="946" y="260"/>
                      </a:lnTo>
                      <a:lnTo>
                        <a:pt x="938" y="248"/>
                      </a:lnTo>
                      <a:lnTo>
                        <a:pt x="930" y="238"/>
                      </a:lnTo>
                      <a:lnTo>
                        <a:pt x="920" y="232"/>
                      </a:lnTo>
                      <a:lnTo>
                        <a:pt x="916" y="232"/>
                      </a:lnTo>
                      <a:lnTo>
                        <a:pt x="914" y="234"/>
                      </a:lnTo>
                      <a:lnTo>
                        <a:pt x="914" y="234"/>
                      </a:lnTo>
                      <a:lnTo>
                        <a:pt x="912" y="242"/>
                      </a:lnTo>
                      <a:lnTo>
                        <a:pt x="908" y="252"/>
                      </a:lnTo>
                      <a:lnTo>
                        <a:pt x="906" y="258"/>
                      </a:lnTo>
                      <a:lnTo>
                        <a:pt x="900" y="264"/>
                      </a:lnTo>
                      <a:lnTo>
                        <a:pt x="892" y="268"/>
                      </a:lnTo>
                      <a:lnTo>
                        <a:pt x="882" y="272"/>
                      </a:lnTo>
                      <a:lnTo>
                        <a:pt x="882" y="272"/>
                      </a:lnTo>
                      <a:lnTo>
                        <a:pt x="848" y="280"/>
                      </a:lnTo>
                      <a:lnTo>
                        <a:pt x="808" y="288"/>
                      </a:lnTo>
                      <a:lnTo>
                        <a:pt x="786" y="292"/>
                      </a:lnTo>
                      <a:lnTo>
                        <a:pt x="764" y="300"/>
                      </a:lnTo>
                      <a:lnTo>
                        <a:pt x="742" y="308"/>
                      </a:lnTo>
                      <a:lnTo>
                        <a:pt x="722" y="320"/>
                      </a:lnTo>
                      <a:lnTo>
                        <a:pt x="722" y="320"/>
                      </a:lnTo>
                      <a:lnTo>
                        <a:pt x="704" y="334"/>
                      </a:lnTo>
                      <a:lnTo>
                        <a:pt x="686" y="348"/>
                      </a:lnTo>
                      <a:lnTo>
                        <a:pt x="672" y="362"/>
                      </a:lnTo>
                      <a:lnTo>
                        <a:pt x="660" y="376"/>
                      </a:lnTo>
                      <a:lnTo>
                        <a:pt x="638" y="406"/>
                      </a:lnTo>
                      <a:lnTo>
                        <a:pt x="620" y="434"/>
                      </a:lnTo>
                      <a:lnTo>
                        <a:pt x="620" y="434"/>
                      </a:lnTo>
                      <a:lnTo>
                        <a:pt x="604" y="458"/>
                      </a:lnTo>
                      <a:lnTo>
                        <a:pt x="588" y="480"/>
                      </a:lnTo>
                      <a:lnTo>
                        <a:pt x="570" y="500"/>
                      </a:lnTo>
                      <a:lnTo>
                        <a:pt x="570" y="500"/>
                      </a:lnTo>
                      <a:lnTo>
                        <a:pt x="530" y="502"/>
                      </a:lnTo>
                      <a:lnTo>
                        <a:pt x="478" y="504"/>
                      </a:lnTo>
                      <a:lnTo>
                        <a:pt x="478" y="504"/>
                      </a:lnTo>
                      <a:lnTo>
                        <a:pt x="462" y="504"/>
                      </a:lnTo>
                      <a:lnTo>
                        <a:pt x="434" y="506"/>
                      </a:lnTo>
                      <a:lnTo>
                        <a:pt x="402" y="512"/>
                      </a:lnTo>
                      <a:lnTo>
                        <a:pt x="388" y="516"/>
                      </a:lnTo>
                      <a:lnTo>
                        <a:pt x="376" y="520"/>
                      </a:lnTo>
                      <a:lnTo>
                        <a:pt x="376" y="520"/>
                      </a:lnTo>
                      <a:lnTo>
                        <a:pt x="342" y="536"/>
                      </a:lnTo>
                      <a:lnTo>
                        <a:pt x="328" y="542"/>
                      </a:lnTo>
                      <a:lnTo>
                        <a:pt x="328" y="542"/>
                      </a:lnTo>
                      <a:lnTo>
                        <a:pt x="316" y="536"/>
                      </a:lnTo>
                      <a:lnTo>
                        <a:pt x="302" y="530"/>
                      </a:lnTo>
                      <a:lnTo>
                        <a:pt x="286" y="526"/>
                      </a:lnTo>
                      <a:lnTo>
                        <a:pt x="286" y="526"/>
                      </a:lnTo>
                      <a:lnTo>
                        <a:pt x="268" y="524"/>
                      </a:lnTo>
                      <a:lnTo>
                        <a:pt x="246" y="520"/>
                      </a:lnTo>
                      <a:lnTo>
                        <a:pt x="226" y="514"/>
                      </a:lnTo>
                      <a:lnTo>
                        <a:pt x="218" y="510"/>
                      </a:lnTo>
                      <a:lnTo>
                        <a:pt x="212" y="504"/>
                      </a:lnTo>
                      <a:lnTo>
                        <a:pt x="212" y="504"/>
                      </a:lnTo>
                      <a:lnTo>
                        <a:pt x="200" y="492"/>
                      </a:lnTo>
                      <a:lnTo>
                        <a:pt x="190" y="476"/>
                      </a:lnTo>
                      <a:lnTo>
                        <a:pt x="182" y="462"/>
                      </a:lnTo>
                      <a:lnTo>
                        <a:pt x="180" y="456"/>
                      </a:lnTo>
                      <a:lnTo>
                        <a:pt x="180" y="450"/>
                      </a:lnTo>
                      <a:lnTo>
                        <a:pt x="180" y="450"/>
                      </a:lnTo>
                      <a:lnTo>
                        <a:pt x="178" y="440"/>
                      </a:lnTo>
                      <a:lnTo>
                        <a:pt x="176" y="438"/>
                      </a:lnTo>
                      <a:lnTo>
                        <a:pt x="172" y="436"/>
                      </a:lnTo>
                      <a:lnTo>
                        <a:pt x="162" y="434"/>
                      </a:lnTo>
                      <a:lnTo>
                        <a:pt x="148" y="434"/>
                      </a:lnTo>
                      <a:lnTo>
                        <a:pt x="148" y="434"/>
                      </a:lnTo>
                      <a:lnTo>
                        <a:pt x="132" y="434"/>
                      </a:lnTo>
                      <a:lnTo>
                        <a:pt x="116" y="436"/>
                      </a:lnTo>
                      <a:lnTo>
                        <a:pt x="96" y="440"/>
                      </a:lnTo>
                      <a:lnTo>
                        <a:pt x="74" y="448"/>
                      </a:lnTo>
                      <a:lnTo>
                        <a:pt x="74" y="448"/>
                      </a:lnTo>
                      <a:lnTo>
                        <a:pt x="46" y="460"/>
                      </a:lnTo>
                      <a:lnTo>
                        <a:pt x="20" y="470"/>
                      </a:lnTo>
                      <a:lnTo>
                        <a:pt x="10" y="474"/>
                      </a:lnTo>
                      <a:lnTo>
                        <a:pt x="2" y="480"/>
                      </a:lnTo>
                      <a:lnTo>
                        <a:pt x="0" y="484"/>
                      </a:lnTo>
                      <a:lnTo>
                        <a:pt x="0" y="486"/>
                      </a:lnTo>
                      <a:lnTo>
                        <a:pt x="0" y="490"/>
                      </a:lnTo>
                      <a:lnTo>
                        <a:pt x="0" y="490"/>
                      </a:lnTo>
                      <a:lnTo>
                        <a:pt x="8" y="494"/>
                      </a:lnTo>
                      <a:lnTo>
                        <a:pt x="12" y="498"/>
                      </a:lnTo>
                      <a:lnTo>
                        <a:pt x="16" y="500"/>
                      </a:lnTo>
                      <a:lnTo>
                        <a:pt x="26" y="512"/>
                      </a:lnTo>
                      <a:lnTo>
                        <a:pt x="26" y="512"/>
                      </a:lnTo>
                      <a:lnTo>
                        <a:pt x="32" y="520"/>
                      </a:lnTo>
                      <a:lnTo>
                        <a:pt x="34" y="528"/>
                      </a:lnTo>
                      <a:lnTo>
                        <a:pt x="36" y="536"/>
                      </a:lnTo>
                      <a:lnTo>
                        <a:pt x="36" y="544"/>
                      </a:lnTo>
                      <a:lnTo>
                        <a:pt x="34" y="564"/>
                      </a:lnTo>
                      <a:lnTo>
                        <a:pt x="30" y="588"/>
                      </a:lnTo>
                      <a:lnTo>
                        <a:pt x="30" y="588"/>
                      </a:lnTo>
                      <a:lnTo>
                        <a:pt x="28" y="616"/>
                      </a:lnTo>
                      <a:lnTo>
                        <a:pt x="28" y="638"/>
                      </a:lnTo>
                      <a:lnTo>
                        <a:pt x="32" y="654"/>
                      </a:lnTo>
                      <a:lnTo>
                        <a:pt x="34" y="658"/>
                      </a:lnTo>
                      <a:lnTo>
                        <a:pt x="38" y="660"/>
                      </a:lnTo>
                      <a:lnTo>
                        <a:pt x="38" y="660"/>
                      </a:lnTo>
                      <a:lnTo>
                        <a:pt x="40" y="662"/>
                      </a:lnTo>
                      <a:lnTo>
                        <a:pt x="42" y="664"/>
                      </a:lnTo>
                      <a:lnTo>
                        <a:pt x="44" y="666"/>
                      </a:lnTo>
                      <a:lnTo>
                        <a:pt x="46" y="666"/>
                      </a:lnTo>
                      <a:lnTo>
                        <a:pt x="60" y="666"/>
                      </a:lnTo>
                      <a:lnTo>
                        <a:pt x="94" y="658"/>
                      </a:lnTo>
                      <a:lnTo>
                        <a:pt x="94" y="658"/>
                      </a:lnTo>
                      <a:lnTo>
                        <a:pt x="126" y="652"/>
                      </a:lnTo>
                      <a:lnTo>
                        <a:pt x="136" y="650"/>
                      </a:lnTo>
                      <a:lnTo>
                        <a:pt x="140" y="646"/>
                      </a:lnTo>
                      <a:lnTo>
                        <a:pt x="144" y="644"/>
                      </a:lnTo>
                      <a:lnTo>
                        <a:pt x="146" y="640"/>
                      </a:lnTo>
                      <a:lnTo>
                        <a:pt x="152" y="622"/>
                      </a:lnTo>
                      <a:lnTo>
                        <a:pt x="152" y="622"/>
                      </a:lnTo>
                      <a:lnTo>
                        <a:pt x="158" y="610"/>
                      </a:lnTo>
                      <a:lnTo>
                        <a:pt x="164" y="602"/>
                      </a:lnTo>
                      <a:lnTo>
                        <a:pt x="172" y="594"/>
                      </a:lnTo>
                      <a:lnTo>
                        <a:pt x="182" y="588"/>
                      </a:lnTo>
                      <a:lnTo>
                        <a:pt x="198" y="578"/>
                      </a:lnTo>
                      <a:lnTo>
                        <a:pt x="212" y="572"/>
                      </a:lnTo>
                      <a:lnTo>
                        <a:pt x="212" y="572"/>
                      </a:lnTo>
                      <a:lnTo>
                        <a:pt x="226" y="566"/>
                      </a:lnTo>
                      <a:lnTo>
                        <a:pt x="238" y="560"/>
                      </a:lnTo>
                      <a:lnTo>
                        <a:pt x="254" y="558"/>
                      </a:lnTo>
                      <a:lnTo>
                        <a:pt x="262" y="558"/>
                      </a:lnTo>
                      <a:lnTo>
                        <a:pt x="270" y="560"/>
                      </a:lnTo>
                      <a:lnTo>
                        <a:pt x="270" y="560"/>
                      </a:lnTo>
                      <a:lnTo>
                        <a:pt x="278" y="562"/>
                      </a:lnTo>
                      <a:lnTo>
                        <a:pt x="286" y="562"/>
                      </a:lnTo>
                      <a:lnTo>
                        <a:pt x="300" y="560"/>
                      </a:lnTo>
                      <a:lnTo>
                        <a:pt x="312" y="556"/>
                      </a:lnTo>
                      <a:lnTo>
                        <a:pt x="316" y="552"/>
                      </a:lnTo>
                      <a:lnTo>
                        <a:pt x="316" y="552"/>
                      </a:lnTo>
                      <a:lnTo>
                        <a:pt x="326" y="554"/>
                      </a:lnTo>
                      <a:lnTo>
                        <a:pt x="336" y="558"/>
                      </a:lnTo>
                      <a:lnTo>
                        <a:pt x="346" y="562"/>
                      </a:lnTo>
                      <a:lnTo>
                        <a:pt x="346" y="562"/>
                      </a:lnTo>
                      <a:lnTo>
                        <a:pt x="350" y="566"/>
                      </a:lnTo>
                      <a:lnTo>
                        <a:pt x="356" y="568"/>
                      </a:lnTo>
                      <a:lnTo>
                        <a:pt x="368" y="570"/>
                      </a:lnTo>
                      <a:lnTo>
                        <a:pt x="386" y="570"/>
                      </a:lnTo>
                      <a:lnTo>
                        <a:pt x="404" y="568"/>
                      </a:lnTo>
                      <a:lnTo>
                        <a:pt x="404" y="568"/>
                      </a:lnTo>
                      <a:lnTo>
                        <a:pt x="424" y="568"/>
                      </a:lnTo>
                      <a:lnTo>
                        <a:pt x="444" y="566"/>
                      </a:lnTo>
                      <a:lnTo>
                        <a:pt x="452" y="568"/>
                      </a:lnTo>
                      <a:lnTo>
                        <a:pt x="456" y="570"/>
                      </a:lnTo>
                      <a:lnTo>
                        <a:pt x="456" y="572"/>
                      </a:lnTo>
                      <a:lnTo>
                        <a:pt x="452" y="578"/>
                      </a:lnTo>
                      <a:lnTo>
                        <a:pt x="452" y="578"/>
                      </a:lnTo>
                      <a:lnTo>
                        <a:pt x="442" y="584"/>
                      </a:lnTo>
                      <a:lnTo>
                        <a:pt x="428" y="590"/>
                      </a:lnTo>
                      <a:lnTo>
                        <a:pt x="392" y="600"/>
                      </a:lnTo>
                      <a:lnTo>
                        <a:pt x="376" y="606"/>
                      </a:lnTo>
                      <a:lnTo>
                        <a:pt x="362" y="612"/>
                      </a:lnTo>
                      <a:lnTo>
                        <a:pt x="354" y="618"/>
                      </a:lnTo>
                      <a:lnTo>
                        <a:pt x="352" y="620"/>
                      </a:lnTo>
                      <a:lnTo>
                        <a:pt x="354" y="622"/>
                      </a:lnTo>
                      <a:lnTo>
                        <a:pt x="354" y="622"/>
                      </a:lnTo>
                      <a:lnTo>
                        <a:pt x="364" y="634"/>
                      </a:lnTo>
                      <a:lnTo>
                        <a:pt x="374" y="644"/>
                      </a:lnTo>
                      <a:lnTo>
                        <a:pt x="378" y="648"/>
                      </a:lnTo>
                      <a:lnTo>
                        <a:pt x="380" y="652"/>
                      </a:lnTo>
                      <a:lnTo>
                        <a:pt x="378" y="656"/>
                      </a:lnTo>
                      <a:lnTo>
                        <a:pt x="372" y="660"/>
                      </a:lnTo>
                      <a:lnTo>
                        <a:pt x="372" y="660"/>
                      </a:lnTo>
                      <a:lnTo>
                        <a:pt x="348" y="666"/>
                      </a:lnTo>
                      <a:lnTo>
                        <a:pt x="316" y="672"/>
                      </a:lnTo>
                      <a:lnTo>
                        <a:pt x="284" y="676"/>
                      </a:lnTo>
                      <a:lnTo>
                        <a:pt x="262" y="680"/>
                      </a:lnTo>
                      <a:lnTo>
                        <a:pt x="262" y="680"/>
                      </a:lnTo>
                      <a:lnTo>
                        <a:pt x="250" y="686"/>
                      </a:lnTo>
                      <a:lnTo>
                        <a:pt x="238" y="694"/>
                      </a:lnTo>
                      <a:lnTo>
                        <a:pt x="224" y="700"/>
                      </a:lnTo>
                      <a:lnTo>
                        <a:pt x="214" y="704"/>
                      </a:lnTo>
                      <a:lnTo>
                        <a:pt x="202" y="704"/>
                      </a:lnTo>
                      <a:lnTo>
                        <a:pt x="202" y="704"/>
                      </a:lnTo>
                      <a:lnTo>
                        <a:pt x="188" y="704"/>
                      </a:lnTo>
                      <a:lnTo>
                        <a:pt x="176" y="704"/>
                      </a:lnTo>
                      <a:lnTo>
                        <a:pt x="150" y="698"/>
                      </a:lnTo>
                      <a:lnTo>
                        <a:pt x="122" y="690"/>
                      </a:lnTo>
                      <a:lnTo>
                        <a:pt x="122" y="690"/>
                      </a:lnTo>
                      <a:lnTo>
                        <a:pt x="106" y="706"/>
                      </a:lnTo>
                      <a:lnTo>
                        <a:pt x="90" y="720"/>
                      </a:lnTo>
                      <a:lnTo>
                        <a:pt x="78" y="736"/>
                      </a:lnTo>
                      <a:lnTo>
                        <a:pt x="78" y="736"/>
                      </a:lnTo>
                      <a:lnTo>
                        <a:pt x="70" y="750"/>
                      </a:lnTo>
                      <a:lnTo>
                        <a:pt x="62" y="758"/>
                      </a:lnTo>
                      <a:lnTo>
                        <a:pt x="58" y="766"/>
                      </a:lnTo>
                      <a:lnTo>
                        <a:pt x="56" y="772"/>
                      </a:lnTo>
                      <a:lnTo>
                        <a:pt x="56" y="778"/>
                      </a:lnTo>
                      <a:lnTo>
                        <a:pt x="56" y="778"/>
                      </a:lnTo>
                      <a:lnTo>
                        <a:pt x="56" y="788"/>
                      </a:lnTo>
                      <a:lnTo>
                        <a:pt x="52" y="798"/>
                      </a:lnTo>
                      <a:lnTo>
                        <a:pt x="46" y="818"/>
                      </a:lnTo>
                      <a:lnTo>
                        <a:pt x="44" y="828"/>
                      </a:lnTo>
                      <a:lnTo>
                        <a:pt x="46" y="830"/>
                      </a:lnTo>
                      <a:lnTo>
                        <a:pt x="48" y="834"/>
                      </a:lnTo>
                      <a:lnTo>
                        <a:pt x="50" y="836"/>
                      </a:lnTo>
                      <a:lnTo>
                        <a:pt x="54" y="836"/>
                      </a:lnTo>
                      <a:lnTo>
                        <a:pt x="68" y="836"/>
                      </a:lnTo>
                      <a:lnTo>
                        <a:pt x="68" y="836"/>
                      </a:lnTo>
                      <a:lnTo>
                        <a:pt x="86" y="832"/>
                      </a:lnTo>
                      <a:lnTo>
                        <a:pt x="100" y="824"/>
                      </a:lnTo>
                      <a:lnTo>
                        <a:pt x="126" y="812"/>
                      </a:lnTo>
                      <a:lnTo>
                        <a:pt x="134" y="808"/>
                      </a:lnTo>
                      <a:lnTo>
                        <a:pt x="142" y="806"/>
                      </a:lnTo>
                      <a:lnTo>
                        <a:pt x="146" y="808"/>
                      </a:lnTo>
                      <a:lnTo>
                        <a:pt x="148" y="810"/>
                      </a:lnTo>
                      <a:lnTo>
                        <a:pt x="152" y="820"/>
                      </a:lnTo>
                      <a:lnTo>
                        <a:pt x="152" y="820"/>
                      </a:lnTo>
                      <a:lnTo>
                        <a:pt x="154" y="832"/>
                      </a:lnTo>
                      <a:lnTo>
                        <a:pt x="154" y="846"/>
                      </a:lnTo>
                      <a:lnTo>
                        <a:pt x="150" y="868"/>
                      </a:lnTo>
                      <a:lnTo>
                        <a:pt x="148" y="878"/>
                      </a:lnTo>
                      <a:lnTo>
                        <a:pt x="148" y="888"/>
                      </a:lnTo>
                      <a:lnTo>
                        <a:pt x="150" y="896"/>
                      </a:lnTo>
                      <a:lnTo>
                        <a:pt x="156" y="900"/>
                      </a:lnTo>
                      <a:lnTo>
                        <a:pt x="156" y="900"/>
                      </a:lnTo>
                      <a:lnTo>
                        <a:pt x="164" y="908"/>
                      </a:lnTo>
                      <a:lnTo>
                        <a:pt x="172" y="914"/>
                      </a:lnTo>
                      <a:lnTo>
                        <a:pt x="176" y="924"/>
                      </a:lnTo>
                      <a:lnTo>
                        <a:pt x="180" y="934"/>
                      </a:lnTo>
                      <a:lnTo>
                        <a:pt x="184" y="942"/>
                      </a:lnTo>
                      <a:lnTo>
                        <a:pt x="186" y="952"/>
                      </a:lnTo>
                      <a:lnTo>
                        <a:pt x="186" y="958"/>
                      </a:lnTo>
                      <a:lnTo>
                        <a:pt x="184" y="964"/>
                      </a:lnTo>
                      <a:lnTo>
                        <a:pt x="184" y="964"/>
                      </a:lnTo>
                      <a:lnTo>
                        <a:pt x="180" y="970"/>
                      </a:lnTo>
                      <a:lnTo>
                        <a:pt x="178" y="978"/>
                      </a:lnTo>
                      <a:lnTo>
                        <a:pt x="178" y="980"/>
                      </a:lnTo>
                      <a:lnTo>
                        <a:pt x="180" y="984"/>
                      </a:lnTo>
                      <a:lnTo>
                        <a:pt x="188" y="990"/>
                      </a:lnTo>
                      <a:lnTo>
                        <a:pt x="188" y="990"/>
                      </a:lnTo>
                      <a:lnTo>
                        <a:pt x="198" y="998"/>
                      </a:lnTo>
                      <a:lnTo>
                        <a:pt x="204" y="1006"/>
                      </a:lnTo>
                      <a:lnTo>
                        <a:pt x="208" y="1018"/>
                      </a:lnTo>
                      <a:lnTo>
                        <a:pt x="214" y="1032"/>
                      </a:lnTo>
                      <a:lnTo>
                        <a:pt x="214" y="1032"/>
                      </a:lnTo>
                      <a:lnTo>
                        <a:pt x="222" y="1046"/>
                      </a:lnTo>
                      <a:lnTo>
                        <a:pt x="230" y="1056"/>
                      </a:lnTo>
                      <a:lnTo>
                        <a:pt x="240" y="1066"/>
                      </a:lnTo>
                      <a:lnTo>
                        <a:pt x="252" y="1076"/>
                      </a:lnTo>
                      <a:lnTo>
                        <a:pt x="252" y="1076"/>
                      </a:lnTo>
                      <a:lnTo>
                        <a:pt x="264" y="1086"/>
                      </a:lnTo>
                      <a:lnTo>
                        <a:pt x="270" y="1094"/>
                      </a:lnTo>
                      <a:lnTo>
                        <a:pt x="270" y="1102"/>
                      </a:lnTo>
                      <a:lnTo>
                        <a:pt x="268" y="1108"/>
                      </a:lnTo>
                      <a:lnTo>
                        <a:pt x="268" y="1108"/>
                      </a:lnTo>
                      <a:lnTo>
                        <a:pt x="262" y="1116"/>
                      </a:lnTo>
                      <a:lnTo>
                        <a:pt x="254" y="1122"/>
                      </a:lnTo>
                      <a:lnTo>
                        <a:pt x="250" y="1128"/>
                      </a:lnTo>
                      <a:lnTo>
                        <a:pt x="252" y="1130"/>
                      </a:lnTo>
                      <a:lnTo>
                        <a:pt x="254" y="1132"/>
                      </a:lnTo>
                      <a:lnTo>
                        <a:pt x="254" y="1132"/>
                      </a:lnTo>
                      <a:lnTo>
                        <a:pt x="270" y="1136"/>
                      </a:lnTo>
                      <a:lnTo>
                        <a:pt x="290" y="1146"/>
                      </a:lnTo>
                      <a:lnTo>
                        <a:pt x="290" y="1146"/>
                      </a:lnTo>
                      <a:lnTo>
                        <a:pt x="304" y="1154"/>
                      </a:lnTo>
                      <a:lnTo>
                        <a:pt x="316" y="1166"/>
                      </a:lnTo>
                      <a:lnTo>
                        <a:pt x="326" y="1178"/>
                      </a:lnTo>
                      <a:lnTo>
                        <a:pt x="330" y="1184"/>
                      </a:lnTo>
                      <a:lnTo>
                        <a:pt x="328" y="1188"/>
                      </a:lnTo>
                      <a:lnTo>
                        <a:pt x="328" y="1188"/>
                      </a:lnTo>
                      <a:lnTo>
                        <a:pt x="326" y="1200"/>
                      </a:lnTo>
                      <a:lnTo>
                        <a:pt x="324" y="1210"/>
                      </a:lnTo>
                      <a:lnTo>
                        <a:pt x="324" y="1214"/>
                      </a:lnTo>
                      <a:lnTo>
                        <a:pt x="326" y="1214"/>
                      </a:lnTo>
                      <a:lnTo>
                        <a:pt x="332" y="1212"/>
                      </a:lnTo>
                      <a:lnTo>
                        <a:pt x="338" y="1206"/>
                      </a:lnTo>
                      <a:lnTo>
                        <a:pt x="338" y="1206"/>
                      </a:lnTo>
                      <a:lnTo>
                        <a:pt x="358" y="1194"/>
                      </a:lnTo>
                      <a:lnTo>
                        <a:pt x="376" y="1182"/>
                      </a:lnTo>
                      <a:lnTo>
                        <a:pt x="390" y="1176"/>
                      </a:lnTo>
                      <a:lnTo>
                        <a:pt x="402" y="1172"/>
                      </a:lnTo>
                      <a:lnTo>
                        <a:pt x="402" y="1172"/>
                      </a:lnTo>
                      <a:lnTo>
                        <a:pt x="412" y="1172"/>
                      </a:lnTo>
                      <a:lnTo>
                        <a:pt x="418" y="1172"/>
                      </a:lnTo>
                      <a:lnTo>
                        <a:pt x="424" y="1174"/>
                      </a:lnTo>
                      <a:lnTo>
                        <a:pt x="428" y="1176"/>
                      </a:lnTo>
                      <a:lnTo>
                        <a:pt x="430" y="1182"/>
                      </a:lnTo>
                      <a:lnTo>
                        <a:pt x="428" y="1188"/>
                      </a:lnTo>
                      <a:lnTo>
                        <a:pt x="422" y="1198"/>
                      </a:lnTo>
                      <a:lnTo>
                        <a:pt x="422" y="1198"/>
                      </a:lnTo>
                      <a:lnTo>
                        <a:pt x="414" y="1208"/>
                      </a:lnTo>
                      <a:lnTo>
                        <a:pt x="410" y="1216"/>
                      </a:lnTo>
                      <a:lnTo>
                        <a:pt x="410" y="1222"/>
                      </a:lnTo>
                      <a:lnTo>
                        <a:pt x="412" y="1228"/>
                      </a:lnTo>
                      <a:lnTo>
                        <a:pt x="418" y="1230"/>
                      </a:lnTo>
                      <a:lnTo>
                        <a:pt x="422" y="1230"/>
                      </a:lnTo>
                      <a:lnTo>
                        <a:pt x="430" y="1226"/>
                      </a:lnTo>
                      <a:lnTo>
                        <a:pt x="436" y="1222"/>
                      </a:lnTo>
                      <a:lnTo>
                        <a:pt x="436" y="1222"/>
                      </a:lnTo>
                      <a:lnTo>
                        <a:pt x="450" y="1210"/>
                      </a:lnTo>
                      <a:lnTo>
                        <a:pt x="456" y="1204"/>
                      </a:lnTo>
                      <a:lnTo>
                        <a:pt x="464" y="1198"/>
                      </a:lnTo>
                      <a:lnTo>
                        <a:pt x="472" y="1196"/>
                      </a:lnTo>
                      <a:lnTo>
                        <a:pt x="480" y="1194"/>
                      </a:lnTo>
                      <a:lnTo>
                        <a:pt x="490" y="1196"/>
                      </a:lnTo>
                      <a:lnTo>
                        <a:pt x="502" y="1202"/>
                      </a:lnTo>
                      <a:lnTo>
                        <a:pt x="502" y="1202"/>
                      </a:lnTo>
                      <a:lnTo>
                        <a:pt x="512" y="1208"/>
                      </a:lnTo>
                      <a:lnTo>
                        <a:pt x="520" y="1216"/>
                      </a:lnTo>
                      <a:lnTo>
                        <a:pt x="524" y="1220"/>
                      </a:lnTo>
                      <a:lnTo>
                        <a:pt x="528" y="1226"/>
                      </a:lnTo>
                      <a:lnTo>
                        <a:pt x="532" y="1236"/>
                      </a:lnTo>
                      <a:lnTo>
                        <a:pt x="536" y="1242"/>
                      </a:lnTo>
                      <a:lnTo>
                        <a:pt x="540" y="1248"/>
                      </a:lnTo>
                      <a:lnTo>
                        <a:pt x="540" y="1248"/>
                      </a:lnTo>
                      <a:lnTo>
                        <a:pt x="556" y="1260"/>
                      </a:lnTo>
                      <a:lnTo>
                        <a:pt x="568" y="1268"/>
                      </a:lnTo>
                      <a:lnTo>
                        <a:pt x="582" y="1274"/>
                      </a:lnTo>
                      <a:lnTo>
                        <a:pt x="596" y="1278"/>
                      </a:lnTo>
                      <a:lnTo>
                        <a:pt x="610" y="1280"/>
                      </a:lnTo>
                      <a:lnTo>
                        <a:pt x="624" y="1280"/>
                      </a:lnTo>
                      <a:lnTo>
                        <a:pt x="636" y="1274"/>
                      </a:lnTo>
                      <a:lnTo>
                        <a:pt x="636" y="1274"/>
                      </a:lnTo>
                      <a:lnTo>
                        <a:pt x="658" y="1262"/>
                      </a:lnTo>
                      <a:lnTo>
                        <a:pt x="674" y="1252"/>
                      </a:lnTo>
                      <a:lnTo>
                        <a:pt x="686" y="1240"/>
                      </a:lnTo>
                      <a:lnTo>
                        <a:pt x="698" y="1222"/>
                      </a:lnTo>
                      <a:lnTo>
                        <a:pt x="698" y="1222"/>
                      </a:lnTo>
                      <a:lnTo>
                        <a:pt x="702" y="1212"/>
                      </a:lnTo>
                      <a:lnTo>
                        <a:pt x="702" y="1202"/>
                      </a:lnTo>
                      <a:lnTo>
                        <a:pt x="698" y="1194"/>
                      </a:lnTo>
                      <a:lnTo>
                        <a:pt x="696" y="1184"/>
                      </a:lnTo>
                      <a:lnTo>
                        <a:pt x="692" y="1176"/>
                      </a:lnTo>
                      <a:lnTo>
                        <a:pt x="688" y="1168"/>
                      </a:lnTo>
                      <a:lnTo>
                        <a:pt x="688" y="1160"/>
                      </a:lnTo>
                      <a:lnTo>
                        <a:pt x="690" y="1150"/>
                      </a:lnTo>
                      <a:lnTo>
                        <a:pt x="690" y="1150"/>
                      </a:lnTo>
                      <a:lnTo>
                        <a:pt x="696" y="1142"/>
                      </a:lnTo>
                      <a:lnTo>
                        <a:pt x="704" y="1134"/>
                      </a:lnTo>
                      <a:lnTo>
                        <a:pt x="712" y="1130"/>
                      </a:lnTo>
                      <a:lnTo>
                        <a:pt x="724" y="1124"/>
                      </a:lnTo>
                      <a:lnTo>
                        <a:pt x="736" y="1122"/>
                      </a:lnTo>
                      <a:lnTo>
                        <a:pt x="748" y="1122"/>
                      </a:lnTo>
                      <a:lnTo>
                        <a:pt x="762" y="1122"/>
                      </a:lnTo>
                      <a:lnTo>
                        <a:pt x="778" y="1126"/>
                      </a:lnTo>
                      <a:lnTo>
                        <a:pt x="778" y="1126"/>
                      </a:lnTo>
                      <a:lnTo>
                        <a:pt x="794" y="1128"/>
                      </a:lnTo>
                      <a:lnTo>
                        <a:pt x="810" y="1130"/>
                      </a:lnTo>
                      <a:lnTo>
                        <a:pt x="844" y="1132"/>
                      </a:lnTo>
                      <a:lnTo>
                        <a:pt x="860" y="1134"/>
                      </a:lnTo>
                      <a:lnTo>
                        <a:pt x="876" y="1138"/>
                      </a:lnTo>
                      <a:lnTo>
                        <a:pt x="892" y="1146"/>
                      </a:lnTo>
                      <a:lnTo>
                        <a:pt x="904" y="1156"/>
                      </a:lnTo>
                      <a:lnTo>
                        <a:pt x="904" y="1156"/>
                      </a:lnTo>
                      <a:lnTo>
                        <a:pt x="918" y="1168"/>
                      </a:lnTo>
                      <a:lnTo>
                        <a:pt x="932" y="1178"/>
                      </a:lnTo>
                      <a:lnTo>
                        <a:pt x="948" y="1186"/>
                      </a:lnTo>
                      <a:lnTo>
                        <a:pt x="966" y="1190"/>
                      </a:lnTo>
                      <a:lnTo>
                        <a:pt x="982" y="1192"/>
                      </a:lnTo>
                      <a:lnTo>
                        <a:pt x="998" y="1188"/>
                      </a:lnTo>
                      <a:lnTo>
                        <a:pt x="1004" y="1186"/>
                      </a:lnTo>
                      <a:lnTo>
                        <a:pt x="1012" y="1182"/>
                      </a:lnTo>
                      <a:lnTo>
                        <a:pt x="1018" y="1176"/>
                      </a:lnTo>
                      <a:lnTo>
                        <a:pt x="1024" y="1170"/>
                      </a:lnTo>
                      <a:lnTo>
                        <a:pt x="1024" y="1170"/>
                      </a:lnTo>
                      <a:lnTo>
                        <a:pt x="1034" y="1158"/>
                      </a:lnTo>
                      <a:lnTo>
                        <a:pt x="1046" y="1148"/>
                      </a:lnTo>
                      <a:lnTo>
                        <a:pt x="1058" y="1142"/>
                      </a:lnTo>
                      <a:lnTo>
                        <a:pt x="1068" y="1136"/>
                      </a:lnTo>
                      <a:lnTo>
                        <a:pt x="1078" y="1134"/>
                      </a:lnTo>
                      <a:lnTo>
                        <a:pt x="1086" y="1134"/>
                      </a:lnTo>
                      <a:lnTo>
                        <a:pt x="1096" y="1134"/>
                      </a:lnTo>
                      <a:lnTo>
                        <a:pt x="1096" y="1134"/>
                      </a:lnTo>
                      <a:lnTo>
                        <a:pt x="1104" y="1134"/>
                      </a:lnTo>
                      <a:lnTo>
                        <a:pt x="1110" y="1130"/>
                      </a:lnTo>
                      <a:lnTo>
                        <a:pt x="1114" y="1128"/>
                      </a:lnTo>
                      <a:lnTo>
                        <a:pt x="1116" y="1124"/>
                      </a:lnTo>
                      <a:lnTo>
                        <a:pt x="1118" y="1118"/>
                      </a:lnTo>
                      <a:lnTo>
                        <a:pt x="1118" y="1112"/>
                      </a:lnTo>
                      <a:lnTo>
                        <a:pt x="1118" y="1112"/>
                      </a:lnTo>
                      <a:lnTo>
                        <a:pt x="1116" y="1106"/>
                      </a:lnTo>
                      <a:lnTo>
                        <a:pt x="1114" y="1102"/>
                      </a:lnTo>
                      <a:lnTo>
                        <a:pt x="1112" y="1098"/>
                      </a:lnTo>
                      <a:lnTo>
                        <a:pt x="1108" y="1094"/>
                      </a:lnTo>
                      <a:lnTo>
                        <a:pt x="1108" y="1090"/>
                      </a:lnTo>
                      <a:lnTo>
                        <a:pt x="1110" y="1082"/>
                      </a:lnTo>
                      <a:lnTo>
                        <a:pt x="1116" y="1070"/>
                      </a:lnTo>
                      <a:lnTo>
                        <a:pt x="1126" y="1056"/>
                      </a:lnTo>
                      <a:lnTo>
                        <a:pt x="1126" y="1056"/>
                      </a:lnTo>
                      <a:lnTo>
                        <a:pt x="1136" y="1040"/>
                      </a:lnTo>
                      <a:lnTo>
                        <a:pt x="1142" y="1028"/>
                      </a:lnTo>
                      <a:lnTo>
                        <a:pt x="1144" y="1022"/>
                      </a:lnTo>
                      <a:lnTo>
                        <a:pt x="1144" y="1016"/>
                      </a:lnTo>
                      <a:lnTo>
                        <a:pt x="1144" y="1014"/>
                      </a:lnTo>
                      <a:lnTo>
                        <a:pt x="1146" y="1012"/>
                      </a:lnTo>
                      <a:lnTo>
                        <a:pt x="1162" y="1008"/>
                      </a:lnTo>
                      <a:lnTo>
                        <a:pt x="1162" y="1008"/>
                      </a:lnTo>
                      <a:lnTo>
                        <a:pt x="1174" y="1006"/>
                      </a:lnTo>
                      <a:lnTo>
                        <a:pt x="1188" y="1004"/>
                      </a:lnTo>
                      <a:lnTo>
                        <a:pt x="1212" y="1006"/>
                      </a:lnTo>
                      <a:lnTo>
                        <a:pt x="1232" y="1010"/>
                      </a:lnTo>
                      <a:lnTo>
                        <a:pt x="1246" y="1016"/>
                      </a:lnTo>
                      <a:lnTo>
                        <a:pt x="1246" y="1016"/>
                      </a:lnTo>
                      <a:lnTo>
                        <a:pt x="1252" y="1016"/>
                      </a:lnTo>
                      <a:lnTo>
                        <a:pt x="1258" y="1016"/>
                      </a:lnTo>
                      <a:lnTo>
                        <a:pt x="1272" y="1012"/>
                      </a:lnTo>
                      <a:lnTo>
                        <a:pt x="1288" y="1006"/>
                      </a:lnTo>
                      <a:lnTo>
                        <a:pt x="1326" y="942"/>
                      </a:lnTo>
                      <a:lnTo>
                        <a:pt x="1352" y="964"/>
                      </a:lnTo>
                      <a:lnTo>
                        <a:pt x="1336" y="1028"/>
                      </a:lnTo>
                      <a:lnTo>
                        <a:pt x="1352" y="1066"/>
                      </a:lnTo>
                      <a:lnTo>
                        <a:pt x="1352" y="1066"/>
                      </a:lnTo>
                      <a:lnTo>
                        <a:pt x="1352" y="1068"/>
                      </a:lnTo>
                      <a:lnTo>
                        <a:pt x="1354" y="1074"/>
                      </a:lnTo>
                      <a:lnTo>
                        <a:pt x="1358" y="1082"/>
                      </a:lnTo>
                      <a:lnTo>
                        <a:pt x="1362" y="1086"/>
                      </a:lnTo>
                      <a:lnTo>
                        <a:pt x="1366" y="1088"/>
                      </a:lnTo>
                      <a:lnTo>
                        <a:pt x="1366" y="1088"/>
                      </a:lnTo>
                      <a:lnTo>
                        <a:pt x="1378" y="1096"/>
                      </a:lnTo>
                      <a:lnTo>
                        <a:pt x="1384" y="1098"/>
                      </a:lnTo>
                      <a:lnTo>
                        <a:pt x="1388" y="1100"/>
                      </a:lnTo>
                      <a:lnTo>
                        <a:pt x="1394" y="1100"/>
                      </a:lnTo>
                      <a:lnTo>
                        <a:pt x="1398" y="1096"/>
                      </a:lnTo>
                      <a:lnTo>
                        <a:pt x="1404" y="1090"/>
                      </a:lnTo>
                      <a:lnTo>
                        <a:pt x="1410" y="1080"/>
                      </a:lnTo>
                      <a:lnTo>
                        <a:pt x="1410" y="1080"/>
                      </a:lnTo>
                      <a:lnTo>
                        <a:pt x="1422" y="1060"/>
                      </a:lnTo>
                      <a:lnTo>
                        <a:pt x="1430" y="1042"/>
                      </a:lnTo>
                      <a:lnTo>
                        <a:pt x="1434" y="1036"/>
                      </a:lnTo>
                      <a:lnTo>
                        <a:pt x="1434" y="1028"/>
                      </a:lnTo>
                      <a:lnTo>
                        <a:pt x="1434" y="1022"/>
                      </a:lnTo>
                      <a:lnTo>
                        <a:pt x="1430" y="1014"/>
                      </a:lnTo>
                      <a:lnTo>
                        <a:pt x="1430" y="1014"/>
                      </a:lnTo>
                      <a:lnTo>
                        <a:pt x="1422" y="1000"/>
                      </a:lnTo>
                      <a:lnTo>
                        <a:pt x="1412" y="988"/>
                      </a:lnTo>
                      <a:lnTo>
                        <a:pt x="1402" y="978"/>
                      </a:lnTo>
                      <a:lnTo>
                        <a:pt x="1398" y="970"/>
                      </a:lnTo>
                      <a:lnTo>
                        <a:pt x="1398" y="970"/>
                      </a:lnTo>
                      <a:lnTo>
                        <a:pt x="1392" y="964"/>
                      </a:lnTo>
                      <a:lnTo>
                        <a:pt x="1386" y="954"/>
                      </a:lnTo>
                      <a:lnTo>
                        <a:pt x="1384" y="950"/>
                      </a:lnTo>
                      <a:lnTo>
                        <a:pt x="1384" y="944"/>
                      </a:lnTo>
                      <a:lnTo>
                        <a:pt x="1386" y="940"/>
                      </a:lnTo>
                      <a:lnTo>
                        <a:pt x="1392" y="936"/>
                      </a:lnTo>
                      <a:lnTo>
                        <a:pt x="1392" y="936"/>
                      </a:lnTo>
                      <a:lnTo>
                        <a:pt x="1406" y="928"/>
                      </a:lnTo>
                      <a:lnTo>
                        <a:pt x="1416" y="924"/>
                      </a:lnTo>
                      <a:lnTo>
                        <a:pt x="1430" y="924"/>
                      </a:lnTo>
                      <a:lnTo>
                        <a:pt x="1450" y="928"/>
                      </a:lnTo>
                      <a:lnTo>
                        <a:pt x="1450" y="928"/>
                      </a:lnTo>
                      <a:lnTo>
                        <a:pt x="1472" y="932"/>
                      </a:lnTo>
                      <a:lnTo>
                        <a:pt x="1480" y="934"/>
                      </a:lnTo>
                      <a:lnTo>
                        <a:pt x="1488" y="932"/>
                      </a:lnTo>
                      <a:lnTo>
                        <a:pt x="1494" y="930"/>
                      </a:lnTo>
                      <a:lnTo>
                        <a:pt x="1502" y="926"/>
                      </a:lnTo>
                      <a:lnTo>
                        <a:pt x="1508" y="920"/>
                      </a:lnTo>
                      <a:lnTo>
                        <a:pt x="1516" y="912"/>
                      </a:lnTo>
                      <a:lnTo>
                        <a:pt x="1516" y="912"/>
                      </a:lnTo>
                      <a:lnTo>
                        <a:pt x="1530" y="896"/>
                      </a:lnTo>
                      <a:lnTo>
                        <a:pt x="1542" y="880"/>
                      </a:lnTo>
                      <a:lnTo>
                        <a:pt x="1550" y="874"/>
                      </a:lnTo>
                      <a:lnTo>
                        <a:pt x="1556" y="870"/>
                      </a:lnTo>
                      <a:lnTo>
                        <a:pt x="1566" y="866"/>
                      </a:lnTo>
                      <a:lnTo>
                        <a:pt x="1576" y="862"/>
                      </a:lnTo>
                      <a:lnTo>
                        <a:pt x="1576" y="862"/>
                      </a:lnTo>
                      <a:lnTo>
                        <a:pt x="1588" y="860"/>
                      </a:lnTo>
                      <a:lnTo>
                        <a:pt x="1596" y="860"/>
                      </a:lnTo>
                      <a:lnTo>
                        <a:pt x="1612" y="862"/>
                      </a:lnTo>
                      <a:lnTo>
                        <a:pt x="1620" y="862"/>
                      </a:lnTo>
                      <a:lnTo>
                        <a:pt x="1632" y="862"/>
                      </a:lnTo>
                      <a:lnTo>
                        <a:pt x="1644" y="860"/>
                      </a:lnTo>
                      <a:lnTo>
                        <a:pt x="1660" y="856"/>
                      </a:lnTo>
                      <a:lnTo>
                        <a:pt x="1660" y="856"/>
                      </a:lnTo>
                      <a:lnTo>
                        <a:pt x="1678" y="848"/>
                      </a:lnTo>
                      <a:lnTo>
                        <a:pt x="1690" y="842"/>
                      </a:lnTo>
                      <a:lnTo>
                        <a:pt x="1702" y="834"/>
                      </a:lnTo>
                      <a:lnTo>
                        <a:pt x="1712" y="828"/>
                      </a:lnTo>
                      <a:lnTo>
                        <a:pt x="1730" y="810"/>
                      </a:lnTo>
                      <a:lnTo>
                        <a:pt x="1754" y="790"/>
                      </a:lnTo>
                      <a:lnTo>
                        <a:pt x="1754" y="790"/>
                      </a:lnTo>
                      <a:lnTo>
                        <a:pt x="1766" y="780"/>
                      </a:lnTo>
                      <a:lnTo>
                        <a:pt x="1774" y="770"/>
                      </a:lnTo>
                      <a:lnTo>
                        <a:pt x="1786" y="756"/>
                      </a:lnTo>
                      <a:lnTo>
                        <a:pt x="1798" y="740"/>
                      </a:lnTo>
                      <a:lnTo>
                        <a:pt x="1806" y="732"/>
                      </a:lnTo>
                      <a:lnTo>
                        <a:pt x="1818" y="724"/>
                      </a:lnTo>
                      <a:lnTo>
                        <a:pt x="1818" y="724"/>
                      </a:lnTo>
                      <a:lnTo>
                        <a:pt x="1844" y="708"/>
                      </a:lnTo>
                      <a:lnTo>
                        <a:pt x="1868" y="698"/>
                      </a:lnTo>
                      <a:lnTo>
                        <a:pt x="1888" y="690"/>
                      </a:lnTo>
                      <a:lnTo>
                        <a:pt x="1910" y="684"/>
                      </a:lnTo>
                      <a:lnTo>
                        <a:pt x="1910" y="684"/>
                      </a:lnTo>
                      <a:lnTo>
                        <a:pt x="1936" y="678"/>
                      </a:lnTo>
                      <a:lnTo>
                        <a:pt x="1966" y="668"/>
                      </a:lnTo>
                      <a:lnTo>
                        <a:pt x="1998" y="654"/>
                      </a:lnTo>
                      <a:lnTo>
                        <a:pt x="2030" y="604"/>
                      </a:lnTo>
                      <a:lnTo>
                        <a:pt x="2064" y="574"/>
                      </a:lnTo>
                      <a:lnTo>
                        <a:pt x="2064" y="574"/>
                      </a:lnTo>
                      <a:lnTo>
                        <a:pt x="2098" y="568"/>
                      </a:lnTo>
                      <a:lnTo>
                        <a:pt x="2124" y="562"/>
                      </a:lnTo>
                      <a:lnTo>
                        <a:pt x="2140" y="556"/>
                      </a:lnTo>
                      <a:lnTo>
                        <a:pt x="2140" y="556"/>
                      </a:lnTo>
                      <a:lnTo>
                        <a:pt x="2152" y="550"/>
                      </a:lnTo>
                      <a:lnTo>
                        <a:pt x="2174" y="542"/>
                      </a:lnTo>
                      <a:lnTo>
                        <a:pt x="2196" y="536"/>
                      </a:lnTo>
                      <a:lnTo>
                        <a:pt x="2204" y="534"/>
                      </a:lnTo>
                      <a:lnTo>
                        <a:pt x="2212" y="534"/>
                      </a:lnTo>
                      <a:lnTo>
                        <a:pt x="2212" y="534"/>
                      </a:lnTo>
                      <a:lnTo>
                        <a:pt x="2226" y="536"/>
                      </a:lnTo>
                      <a:lnTo>
                        <a:pt x="2240" y="534"/>
                      </a:lnTo>
                      <a:lnTo>
                        <a:pt x="2240" y="48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3" name="Freeform 17">
                  <a:extLst>
                    <a:ext uri="{FF2B5EF4-FFF2-40B4-BE49-F238E27FC236}">
                      <a16:creationId xmlns:a16="http://schemas.microsoft.com/office/drawing/2014/main" id="{3FED5084-531F-4EC9-A895-2D61610FF9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9604" y="5063133"/>
                  <a:ext cx="1707173" cy="975528"/>
                </a:xfrm>
                <a:custGeom>
                  <a:avLst/>
                  <a:gdLst/>
                  <a:ahLst/>
                  <a:cxnLst>
                    <a:cxn ang="0">
                      <a:pos x="2174" y="436"/>
                    </a:cxn>
                    <a:cxn ang="0">
                      <a:pos x="2058" y="234"/>
                    </a:cxn>
                    <a:cxn ang="0">
                      <a:pos x="1980" y="158"/>
                    </a:cxn>
                    <a:cxn ang="0">
                      <a:pos x="1912" y="104"/>
                    </a:cxn>
                    <a:cxn ang="0">
                      <a:pos x="1848" y="4"/>
                    </a:cxn>
                    <a:cxn ang="0">
                      <a:pos x="1700" y="50"/>
                    </a:cxn>
                    <a:cxn ang="0">
                      <a:pos x="1640" y="78"/>
                    </a:cxn>
                    <a:cxn ang="0">
                      <a:pos x="1506" y="212"/>
                    </a:cxn>
                    <a:cxn ang="0">
                      <a:pos x="1356" y="282"/>
                    </a:cxn>
                    <a:cxn ang="0">
                      <a:pos x="1172" y="292"/>
                    </a:cxn>
                    <a:cxn ang="0">
                      <a:pos x="1062" y="284"/>
                    </a:cxn>
                    <a:cxn ang="0">
                      <a:pos x="1014" y="276"/>
                    </a:cxn>
                    <a:cxn ang="0">
                      <a:pos x="938" y="248"/>
                    </a:cxn>
                    <a:cxn ang="0">
                      <a:pos x="892" y="268"/>
                    </a:cxn>
                    <a:cxn ang="0">
                      <a:pos x="704" y="334"/>
                    </a:cxn>
                    <a:cxn ang="0">
                      <a:pos x="570" y="500"/>
                    </a:cxn>
                    <a:cxn ang="0">
                      <a:pos x="342" y="536"/>
                    </a:cxn>
                    <a:cxn ang="0">
                      <a:pos x="218" y="510"/>
                    </a:cxn>
                    <a:cxn ang="0">
                      <a:pos x="176" y="438"/>
                    </a:cxn>
                    <a:cxn ang="0">
                      <a:pos x="46" y="460"/>
                    </a:cxn>
                    <a:cxn ang="0">
                      <a:pos x="16" y="500"/>
                    </a:cxn>
                    <a:cxn ang="0">
                      <a:pos x="28" y="616"/>
                    </a:cxn>
                    <a:cxn ang="0">
                      <a:pos x="60" y="666"/>
                    </a:cxn>
                    <a:cxn ang="0">
                      <a:pos x="158" y="610"/>
                    </a:cxn>
                    <a:cxn ang="0">
                      <a:pos x="262" y="558"/>
                    </a:cxn>
                    <a:cxn ang="0">
                      <a:pos x="336" y="558"/>
                    </a:cxn>
                    <a:cxn ang="0">
                      <a:pos x="444" y="566"/>
                    </a:cxn>
                    <a:cxn ang="0">
                      <a:pos x="362" y="612"/>
                    </a:cxn>
                    <a:cxn ang="0">
                      <a:pos x="372" y="660"/>
                    </a:cxn>
                    <a:cxn ang="0">
                      <a:pos x="214" y="704"/>
                    </a:cxn>
                    <a:cxn ang="0">
                      <a:pos x="78" y="736"/>
                    </a:cxn>
                    <a:cxn ang="0">
                      <a:pos x="46" y="818"/>
                    </a:cxn>
                    <a:cxn ang="0">
                      <a:pos x="126" y="812"/>
                    </a:cxn>
                    <a:cxn ang="0">
                      <a:pos x="148" y="878"/>
                    </a:cxn>
                    <a:cxn ang="0">
                      <a:pos x="186" y="952"/>
                    </a:cxn>
                    <a:cxn ang="0">
                      <a:pos x="198" y="998"/>
                    </a:cxn>
                    <a:cxn ang="0">
                      <a:pos x="264" y="1086"/>
                    </a:cxn>
                    <a:cxn ang="0">
                      <a:pos x="254" y="1132"/>
                    </a:cxn>
                    <a:cxn ang="0">
                      <a:pos x="326" y="1200"/>
                    </a:cxn>
                    <a:cxn ang="0">
                      <a:pos x="402" y="1172"/>
                    </a:cxn>
                    <a:cxn ang="0">
                      <a:pos x="414" y="1208"/>
                    </a:cxn>
                    <a:cxn ang="0">
                      <a:pos x="456" y="1204"/>
                    </a:cxn>
                    <a:cxn ang="0">
                      <a:pos x="528" y="1226"/>
                    </a:cxn>
                    <a:cxn ang="0">
                      <a:pos x="624" y="1280"/>
                    </a:cxn>
                    <a:cxn ang="0">
                      <a:pos x="698" y="1194"/>
                    </a:cxn>
                    <a:cxn ang="0">
                      <a:pos x="724" y="1124"/>
                    </a:cxn>
                    <a:cxn ang="0">
                      <a:pos x="876" y="1138"/>
                    </a:cxn>
                    <a:cxn ang="0">
                      <a:pos x="1004" y="1186"/>
                    </a:cxn>
                    <a:cxn ang="0">
                      <a:pos x="1086" y="1134"/>
                    </a:cxn>
                    <a:cxn ang="0">
                      <a:pos x="1116" y="1106"/>
                    </a:cxn>
                    <a:cxn ang="0">
                      <a:pos x="1142" y="1028"/>
                    </a:cxn>
                    <a:cxn ang="0">
                      <a:pos x="1232" y="1010"/>
                    </a:cxn>
                    <a:cxn ang="0">
                      <a:pos x="1352" y="1066"/>
                    </a:cxn>
                    <a:cxn ang="0">
                      <a:pos x="1388" y="1100"/>
                    </a:cxn>
                    <a:cxn ang="0">
                      <a:pos x="1434" y="1022"/>
                    </a:cxn>
                    <a:cxn ang="0">
                      <a:pos x="1384" y="950"/>
                    </a:cxn>
                    <a:cxn ang="0">
                      <a:pos x="1472" y="932"/>
                    </a:cxn>
                    <a:cxn ang="0">
                      <a:pos x="1550" y="874"/>
                    </a:cxn>
                    <a:cxn ang="0">
                      <a:pos x="1644" y="860"/>
                    </a:cxn>
                    <a:cxn ang="0">
                      <a:pos x="1766" y="780"/>
                    </a:cxn>
                    <a:cxn ang="0">
                      <a:pos x="1910" y="684"/>
                    </a:cxn>
                    <a:cxn ang="0">
                      <a:pos x="2140" y="556"/>
                    </a:cxn>
                  </a:cxnLst>
                  <a:rect l="0" t="0" r="r" b="b"/>
                  <a:pathLst>
                    <a:path w="2240" h="1280">
                      <a:moveTo>
                        <a:pt x="2240" y="486"/>
                      </a:moveTo>
                      <a:lnTo>
                        <a:pt x="2240" y="486"/>
                      </a:lnTo>
                      <a:lnTo>
                        <a:pt x="2232" y="480"/>
                      </a:lnTo>
                      <a:lnTo>
                        <a:pt x="2226" y="474"/>
                      </a:lnTo>
                      <a:lnTo>
                        <a:pt x="2226" y="474"/>
                      </a:lnTo>
                      <a:lnTo>
                        <a:pt x="2216" y="466"/>
                      </a:lnTo>
                      <a:lnTo>
                        <a:pt x="2200" y="456"/>
                      </a:lnTo>
                      <a:lnTo>
                        <a:pt x="2184" y="444"/>
                      </a:lnTo>
                      <a:lnTo>
                        <a:pt x="2174" y="436"/>
                      </a:lnTo>
                      <a:lnTo>
                        <a:pt x="2174" y="436"/>
                      </a:lnTo>
                      <a:lnTo>
                        <a:pt x="2136" y="386"/>
                      </a:lnTo>
                      <a:lnTo>
                        <a:pt x="2114" y="356"/>
                      </a:lnTo>
                      <a:lnTo>
                        <a:pt x="2104" y="338"/>
                      </a:lnTo>
                      <a:lnTo>
                        <a:pt x="2104" y="338"/>
                      </a:lnTo>
                      <a:lnTo>
                        <a:pt x="2094" y="320"/>
                      </a:lnTo>
                      <a:lnTo>
                        <a:pt x="2078" y="286"/>
                      </a:lnTo>
                      <a:lnTo>
                        <a:pt x="2068" y="268"/>
                      </a:lnTo>
                      <a:lnTo>
                        <a:pt x="2062" y="252"/>
                      </a:lnTo>
                      <a:lnTo>
                        <a:pt x="2058" y="238"/>
                      </a:lnTo>
                      <a:lnTo>
                        <a:pt x="2058" y="234"/>
                      </a:lnTo>
                      <a:lnTo>
                        <a:pt x="2058" y="230"/>
                      </a:lnTo>
                      <a:lnTo>
                        <a:pt x="2058" y="230"/>
                      </a:lnTo>
                      <a:lnTo>
                        <a:pt x="2068" y="216"/>
                      </a:lnTo>
                      <a:lnTo>
                        <a:pt x="2078" y="202"/>
                      </a:lnTo>
                      <a:lnTo>
                        <a:pt x="2090" y="184"/>
                      </a:lnTo>
                      <a:lnTo>
                        <a:pt x="2090" y="184"/>
                      </a:lnTo>
                      <a:lnTo>
                        <a:pt x="2046" y="170"/>
                      </a:lnTo>
                      <a:lnTo>
                        <a:pt x="2010" y="162"/>
                      </a:lnTo>
                      <a:lnTo>
                        <a:pt x="1994" y="158"/>
                      </a:lnTo>
                      <a:lnTo>
                        <a:pt x="1980" y="158"/>
                      </a:lnTo>
                      <a:lnTo>
                        <a:pt x="1980" y="158"/>
                      </a:lnTo>
                      <a:lnTo>
                        <a:pt x="1960" y="158"/>
                      </a:lnTo>
                      <a:lnTo>
                        <a:pt x="1946" y="158"/>
                      </a:lnTo>
                      <a:lnTo>
                        <a:pt x="1934" y="156"/>
                      </a:lnTo>
                      <a:lnTo>
                        <a:pt x="1934" y="156"/>
                      </a:lnTo>
                      <a:lnTo>
                        <a:pt x="1930" y="148"/>
                      </a:lnTo>
                      <a:lnTo>
                        <a:pt x="1920" y="128"/>
                      </a:lnTo>
                      <a:lnTo>
                        <a:pt x="1920" y="128"/>
                      </a:lnTo>
                      <a:lnTo>
                        <a:pt x="1916" y="116"/>
                      </a:lnTo>
                      <a:lnTo>
                        <a:pt x="1912" y="104"/>
                      </a:lnTo>
                      <a:lnTo>
                        <a:pt x="1910" y="92"/>
                      </a:lnTo>
                      <a:lnTo>
                        <a:pt x="1906" y="84"/>
                      </a:lnTo>
                      <a:lnTo>
                        <a:pt x="1906" y="84"/>
                      </a:lnTo>
                      <a:lnTo>
                        <a:pt x="1900" y="68"/>
                      </a:lnTo>
                      <a:lnTo>
                        <a:pt x="1890" y="44"/>
                      </a:lnTo>
                      <a:lnTo>
                        <a:pt x="1880" y="8"/>
                      </a:lnTo>
                      <a:lnTo>
                        <a:pt x="1880" y="8"/>
                      </a:lnTo>
                      <a:lnTo>
                        <a:pt x="1868" y="8"/>
                      </a:lnTo>
                      <a:lnTo>
                        <a:pt x="1848" y="4"/>
                      </a:lnTo>
                      <a:lnTo>
                        <a:pt x="1848" y="4"/>
                      </a:lnTo>
                      <a:lnTo>
                        <a:pt x="1840" y="2"/>
                      </a:lnTo>
                      <a:lnTo>
                        <a:pt x="1828" y="0"/>
                      </a:lnTo>
                      <a:lnTo>
                        <a:pt x="1814" y="0"/>
                      </a:lnTo>
                      <a:lnTo>
                        <a:pt x="1792" y="4"/>
                      </a:lnTo>
                      <a:lnTo>
                        <a:pt x="1792" y="4"/>
                      </a:lnTo>
                      <a:lnTo>
                        <a:pt x="1768" y="12"/>
                      </a:lnTo>
                      <a:lnTo>
                        <a:pt x="1742" y="26"/>
                      </a:lnTo>
                      <a:lnTo>
                        <a:pt x="1718" y="38"/>
                      </a:lnTo>
                      <a:lnTo>
                        <a:pt x="1700" y="50"/>
                      </a:lnTo>
                      <a:lnTo>
                        <a:pt x="1700" y="50"/>
                      </a:lnTo>
                      <a:lnTo>
                        <a:pt x="1694" y="54"/>
                      </a:lnTo>
                      <a:lnTo>
                        <a:pt x="1686" y="58"/>
                      </a:lnTo>
                      <a:lnTo>
                        <a:pt x="1668" y="62"/>
                      </a:lnTo>
                      <a:lnTo>
                        <a:pt x="1654" y="60"/>
                      </a:lnTo>
                      <a:lnTo>
                        <a:pt x="1650" y="58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50" y="54"/>
                      </a:lnTo>
                      <a:lnTo>
                        <a:pt x="1640" y="78"/>
                      </a:lnTo>
                      <a:lnTo>
                        <a:pt x="1640" y="78"/>
                      </a:lnTo>
                      <a:lnTo>
                        <a:pt x="1630" y="102"/>
                      </a:lnTo>
                      <a:lnTo>
                        <a:pt x="1616" y="122"/>
                      </a:lnTo>
                      <a:lnTo>
                        <a:pt x="1602" y="142"/>
                      </a:lnTo>
                      <a:lnTo>
                        <a:pt x="1584" y="162"/>
                      </a:lnTo>
                      <a:lnTo>
                        <a:pt x="1584" y="162"/>
                      </a:lnTo>
                      <a:lnTo>
                        <a:pt x="1568" y="180"/>
                      </a:lnTo>
                      <a:lnTo>
                        <a:pt x="1556" y="190"/>
                      </a:lnTo>
                      <a:lnTo>
                        <a:pt x="1538" y="198"/>
                      </a:lnTo>
                      <a:lnTo>
                        <a:pt x="1506" y="212"/>
                      </a:lnTo>
                      <a:lnTo>
                        <a:pt x="1506" y="212"/>
                      </a:lnTo>
                      <a:lnTo>
                        <a:pt x="1474" y="224"/>
                      </a:lnTo>
                      <a:lnTo>
                        <a:pt x="1450" y="230"/>
                      </a:lnTo>
                      <a:lnTo>
                        <a:pt x="1430" y="236"/>
                      </a:lnTo>
                      <a:lnTo>
                        <a:pt x="1420" y="240"/>
                      </a:lnTo>
                      <a:lnTo>
                        <a:pt x="1408" y="246"/>
                      </a:lnTo>
                      <a:lnTo>
                        <a:pt x="1408" y="246"/>
                      </a:lnTo>
                      <a:lnTo>
                        <a:pt x="1388" y="258"/>
                      </a:lnTo>
                      <a:lnTo>
                        <a:pt x="1372" y="270"/>
                      </a:lnTo>
                      <a:lnTo>
                        <a:pt x="1356" y="282"/>
                      </a:lnTo>
                      <a:lnTo>
                        <a:pt x="1356" y="282"/>
                      </a:lnTo>
                      <a:lnTo>
                        <a:pt x="1346" y="286"/>
                      </a:lnTo>
                      <a:lnTo>
                        <a:pt x="1324" y="290"/>
                      </a:lnTo>
                      <a:lnTo>
                        <a:pt x="1266" y="294"/>
                      </a:lnTo>
                      <a:lnTo>
                        <a:pt x="1266" y="294"/>
                      </a:lnTo>
                      <a:lnTo>
                        <a:pt x="1236" y="296"/>
                      </a:lnTo>
                      <a:lnTo>
                        <a:pt x="1210" y="298"/>
                      </a:lnTo>
                      <a:lnTo>
                        <a:pt x="1188" y="296"/>
                      </a:lnTo>
                      <a:lnTo>
                        <a:pt x="1172" y="292"/>
                      </a:lnTo>
                      <a:lnTo>
                        <a:pt x="1172" y="292"/>
                      </a:lnTo>
                      <a:lnTo>
                        <a:pt x="1160" y="288"/>
                      </a:lnTo>
                      <a:lnTo>
                        <a:pt x="1152" y="284"/>
                      </a:lnTo>
                      <a:lnTo>
                        <a:pt x="1148" y="284"/>
                      </a:lnTo>
                      <a:lnTo>
                        <a:pt x="1146" y="284"/>
                      </a:lnTo>
                      <a:lnTo>
                        <a:pt x="1142" y="288"/>
                      </a:lnTo>
                      <a:lnTo>
                        <a:pt x="1136" y="292"/>
                      </a:lnTo>
                      <a:lnTo>
                        <a:pt x="1136" y="292"/>
                      </a:lnTo>
                      <a:lnTo>
                        <a:pt x="1122" y="310"/>
                      </a:lnTo>
                      <a:lnTo>
                        <a:pt x="1118" y="314"/>
                      </a:lnTo>
                      <a:lnTo>
                        <a:pt x="1062" y="284"/>
                      </a:lnTo>
                      <a:lnTo>
                        <a:pt x="1062" y="284"/>
                      </a:lnTo>
                      <a:lnTo>
                        <a:pt x="1062" y="278"/>
                      </a:lnTo>
                      <a:lnTo>
                        <a:pt x="1064" y="268"/>
                      </a:lnTo>
                      <a:lnTo>
                        <a:pt x="1064" y="262"/>
                      </a:lnTo>
                      <a:lnTo>
                        <a:pt x="1062" y="256"/>
                      </a:lnTo>
                      <a:lnTo>
                        <a:pt x="1058" y="254"/>
                      </a:lnTo>
                      <a:lnTo>
                        <a:pt x="1052" y="254"/>
                      </a:lnTo>
                      <a:lnTo>
                        <a:pt x="1052" y="254"/>
                      </a:lnTo>
                      <a:lnTo>
                        <a:pt x="1036" y="264"/>
                      </a:lnTo>
                      <a:lnTo>
                        <a:pt x="1014" y="276"/>
                      </a:lnTo>
                      <a:lnTo>
                        <a:pt x="1004" y="282"/>
                      </a:lnTo>
                      <a:lnTo>
                        <a:pt x="994" y="286"/>
                      </a:lnTo>
                      <a:lnTo>
                        <a:pt x="986" y="286"/>
                      </a:lnTo>
                      <a:lnTo>
                        <a:pt x="978" y="284"/>
                      </a:lnTo>
                      <a:lnTo>
                        <a:pt x="978" y="284"/>
                      </a:lnTo>
                      <a:lnTo>
                        <a:pt x="958" y="274"/>
                      </a:lnTo>
                      <a:lnTo>
                        <a:pt x="950" y="268"/>
                      </a:lnTo>
                      <a:lnTo>
                        <a:pt x="946" y="260"/>
                      </a:lnTo>
                      <a:lnTo>
                        <a:pt x="946" y="260"/>
                      </a:lnTo>
                      <a:lnTo>
                        <a:pt x="938" y="248"/>
                      </a:lnTo>
                      <a:lnTo>
                        <a:pt x="930" y="238"/>
                      </a:lnTo>
                      <a:lnTo>
                        <a:pt x="920" y="232"/>
                      </a:lnTo>
                      <a:lnTo>
                        <a:pt x="916" y="232"/>
                      </a:lnTo>
                      <a:lnTo>
                        <a:pt x="914" y="234"/>
                      </a:lnTo>
                      <a:lnTo>
                        <a:pt x="914" y="234"/>
                      </a:lnTo>
                      <a:lnTo>
                        <a:pt x="912" y="242"/>
                      </a:lnTo>
                      <a:lnTo>
                        <a:pt x="908" y="252"/>
                      </a:lnTo>
                      <a:lnTo>
                        <a:pt x="906" y="258"/>
                      </a:lnTo>
                      <a:lnTo>
                        <a:pt x="900" y="264"/>
                      </a:lnTo>
                      <a:lnTo>
                        <a:pt x="892" y="268"/>
                      </a:lnTo>
                      <a:lnTo>
                        <a:pt x="882" y="272"/>
                      </a:lnTo>
                      <a:lnTo>
                        <a:pt x="882" y="272"/>
                      </a:lnTo>
                      <a:lnTo>
                        <a:pt x="848" y="280"/>
                      </a:lnTo>
                      <a:lnTo>
                        <a:pt x="808" y="288"/>
                      </a:lnTo>
                      <a:lnTo>
                        <a:pt x="786" y="292"/>
                      </a:lnTo>
                      <a:lnTo>
                        <a:pt x="764" y="300"/>
                      </a:lnTo>
                      <a:lnTo>
                        <a:pt x="742" y="308"/>
                      </a:lnTo>
                      <a:lnTo>
                        <a:pt x="722" y="320"/>
                      </a:lnTo>
                      <a:lnTo>
                        <a:pt x="722" y="320"/>
                      </a:lnTo>
                      <a:lnTo>
                        <a:pt x="704" y="334"/>
                      </a:lnTo>
                      <a:lnTo>
                        <a:pt x="686" y="348"/>
                      </a:lnTo>
                      <a:lnTo>
                        <a:pt x="672" y="362"/>
                      </a:lnTo>
                      <a:lnTo>
                        <a:pt x="660" y="376"/>
                      </a:lnTo>
                      <a:lnTo>
                        <a:pt x="638" y="406"/>
                      </a:lnTo>
                      <a:lnTo>
                        <a:pt x="620" y="434"/>
                      </a:lnTo>
                      <a:lnTo>
                        <a:pt x="620" y="434"/>
                      </a:lnTo>
                      <a:lnTo>
                        <a:pt x="604" y="458"/>
                      </a:lnTo>
                      <a:lnTo>
                        <a:pt x="588" y="480"/>
                      </a:lnTo>
                      <a:lnTo>
                        <a:pt x="570" y="500"/>
                      </a:lnTo>
                      <a:lnTo>
                        <a:pt x="570" y="500"/>
                      </a:lnTo>
                      <a:lnTo>
                        <a:pt x="530" y="502"/>
                      </a:lnTo>
                      <a:lnTo>
                        <a:pt x="478" y="504"/>
                      </a:lnTo>
                      <a:lnTo>
                        <a:pt x="478" y="504"/>
                      </a:lnTo>
                      <a:lnTo>
                        <a:pt x="462" y="504"/>
                      </a:lnTo>
                      <a:lnTo>
                        <a:pt x="434" y="506"/>
                      </a:lnTo>
                      <a:lnTo>
                        <a:pt x="402" y="512"/>
                      </a:lnTo>
                      <a:lnTo>
                        <a:pt x="388" y="516"/>
                      </a:lnTo>
                      <a:lnTo>
                        <a:pt x="376" y="520"/>
                      </a:lnTo>
                      <a:lnTo>
                        <a:pt x="376" y="520"/>
                      </a:lnTo>
                      <a:lnTo>
                        <a:pt x="342" y="536"/>
                      </a:lnTo>
                      <a:lnTo>
                        <a:pt x="328" y="542"/>
                      </a:lnTo>
                      <a:lnTo>
                        <a:pt x="328" y="542"/>
                      </a:lnTo>
                      <a:lnTo>
                        <a:pt x="316" y="536"/>
                      </a:lnTo>
                      <a:lnTo>
                        <a:pt x="302" y="530"/>
                      </a:lnTo>
                      <a:lnTo>
                        <a:pt x="286" y="526"/>
                      </a:lnTo>
                      <a:lnTo>
                        <a:pt x="286" y="526"/>
                      </a:lnTo>
                      <a:lnTo>
                        <a:pt x="268" y="524"/>
                      </a:lnTo>
                      <a:lnTo>
                        <a:pt x="246" y="520"/>
                      </a:lnTo>
                      <a:lnTo>
                        <a:pt x="226" y="514"/>
                      </a:lnTo>
                      <a:lnTo>
                        <a:pt x="218" y="510"/>
                      </a:lnTo>
                      <a:lnTo>
                        <a:pt x="212" y="504"/>
                      </a:lnTo>
                      <a:lnTo>
                        <a:pt x="212" y="504"/>
                      </a:lnTo>
                      <a:lnTo>
                        <a:pt x="200" y="492"/>
                      </a:lnTo>
                      <a:lnTo>
                        <a:pt x="190" y="476"/>
                      </a:lnTo>
                      <a:lnTo>
                        <a:pt x="182" y="462"/>
                      </a:lnTo>
                      <a:lnTo>
                        <a:pt x="180" y="456"/>
                      </a:lnTo>
                      <a:lnTo>
                        <a:pt x="180" y="450"/>
                      </a:lnTo>
                      <a:lnTo>
                        <a:pt x="180" y="450"/>
                      </a:lnTo>
                      <a:lnTo>
                        <a:pt x="178" y="440"/>
                      </a:lnTo>
                      <a:lnTo>
                        <a:pt x="176" y="438"/>
                      </a:lnTo>
                      <a:lnTo>
                        <a:pt x="172" y="436"/>
                      </a:lnTo>
                      <a:lnTo>
                        <a:pt x="162" y="434"/>
                      </a:lnTo>
                      <a:lnTo>
                        <a:pt x="148" y="434"/>
                      </a:lnTo>
                      <a:lnTo>
                        <a:pt x="148" y="434"/>
                      </a:lnTo>
                      <a:lnTo>
                        <a:pt x="132" y="434"/>
                      </a:lnTo>
                      <a:lnTo>
                        <a:pt x="116" y="436"/>
                      </a:lnTo>
                      <a:lnTo>
                        <a:pt x="96" y="440"/>
                      </a:lnTo>
                      <a:lnTo>
                        <a:pt x="74" y="448"/>
                      </a:lnTo>
                      <a:lnTo>
                        <a:pt x="74" y="448"/>
                      </a:lnTo>
                      <a:lnTo>
                        <a:pt x="46" y="460"/>
                      </a:lnTo>
                      <a:lnTo>
                        <a:pt x="20" y="470"/>
                      </a:lnTo>
                      <a:lnTo>
                        <a:pt x="10" y="474"/>
                      </a:lnTo>
                      <a:lnTo>
                        <a:pt x="2" y="480"/>
                      </a:lnTo>
                      <a:lnTo>
                        <a:pt x="0" y="484"/>
                      </a:lnTo>
                      <a:lnTo>
                        <a:pt x="0" y="486"/>
                      </a:lnTo>
                      <a:lnTo>
                        <a:pt x="0" y="490"/>
                      </a:lnTo>
                      <a:lnTo>
                        <a:pt x="0" y="490"/>
                      </a:lnTo>
                      <a:lnTo>
                        <a:pt x="8" y="494"/>
                      </a:lnTo>
                      <a:lnTo>
                        <a:pt x="12" y="498"/>
                      </a:lnTo>
                      <a:lnTo>
                        <a:pt x="16" y="500"/>
                      </a:lnTo>
                      <a:lnTo>
                        <a:pt x="26" y="512"/>
                      </a:lnTo>
                      <a:lnTo>
                        <a:pt x="26" y="512"/>
                      </a:lnTo>
                      <a:lnTo>
                        <a:pt x="32" y="520"/>
                      </a:lnTo>
                      <a:lnTo>
                        <a:pt x="34" y="528"/>
                      </a:lnTo>
                      <a:lnTo>
                        <a:pt x="36" y="536"/>
                      </a:lnTo>
                      <a:lnTo>
                        <a:pt x="36" y="544"/>
                      </a:lnTo>
                      <a:lnTo>
                        <a:pt x="34" y="564"/>
                      </a:lnTo>
                      <a:lnTo>
                        <a:pt x="30" y="588"/>
                      </a:lnTo>
                      <a:lnTo>
                        <a:pt x="30" y="588"/>
                      </a:lnTo>
                      <a:lnTo>
                        <a:pt x="28" y="616"/>
                      </a:lnTo>
                      <a:lnTo>
                        <a:pt x="28" y="638"/>
                      </a:lnTo>
                      <a:lnTo>
                        <a:pt x="32" y="654"/>
                      </a:lnTo>
                      <a:lnTo>
                        <a:pt x="34" y="658"/>
                      </a:lnTo>
                      <a:lnTo>
                        <a:pt x="38" y="660"/>
                      </a:lnTo>
                      <a:lnTo>
                        <a:pt x="38" y="660"/>
                      </a:lnTo>
                      <a:lnTo>
                        <a:pt x="40" y="662"/>
                      </a:lnTo>
                      <a:lnTo>
                        <a:pt x="42" y="664"/>
                      </a:lnTo>
                      <a:lnTo>
                        <a:pt x="44" y="666"/>
                      </a:lnTo>
                      <a:lnTo>
                        <a:pt x="46" y="666"/>
                      </a:lnTo>
                      <a:lnTo>
                        <a:pt x="60" y="666"/>
                      </a:lnTo>
                      <a:lnTo>
                        <a:pt x="94" y="658"/>
                      </a:lnTo>
                      <a:lnTo>
                        <a:pt x="94" y="658"/>
                      </a:lnTo>
                      <a:lnTo>
                        <a:pt x="126" y="652"/>
                      </a:lnTo>
                      <a:lnTo>
                        <a:pt x="136" y="650"/>
                      </a:lnTo>
                      <a:lnTo>
                        <a:pt x="140" y="646"/>
                      </a:lnTo>
                      <a:lnTo>
                        <a:pt x="144" y="644"/>
                      </a:lnTo>
                      <a:lnTo>
                        <a:pt x="146" y="640"/>
                      </a:lnTo>
                      <a:lnTo>
                        <a:pt x="152" y="622"/>
                      </a:lnTo>
                      <a:lnTo>
                        <a:pt x="152" y="622"/>
                      </a:lnTo>
                      <a:lnTo>
                        <a:pt x="158" y="610"/>
                      </a:lnTo>
                      <a:lnTo>
                        <a:pt x="164" y="602"/>
                      </a:lnTo>
                      <a:lnTo>
                        <a:pt x="172" y="594"/>
                      </a:lnTo>
                      <a:lnTo>
                        <a:pt x="182" y="588"/>
                      </a:lnTo>
                      <a:lnTo>
                        <a:pt x="198" y="578"/>
                      </a:lnTo>
                      <a:lnTo>
                        <a:pt x="212" y="572"/>
                      </a:lnTo>
                      <a:lnTo>
                        <a:pt x="212" y="572"/>
                      </a:lnTo>
                      <a:lnTo>
                        <a:pt x="226" y="566"/>
                      </a:lnTo>
                      <a:lnTo>
                        <a:pt x="238" y="560"/>
                      </a:lnTo>
                      <a:lnTo>
                        <a:pt x="254" y="558"/>
                      </a:lnTo>
                      <a:lnTo>
                        <a:pt x="262" y="558"/>
                      </a:lnTo>
                      <a:lnTo>
                        <a:pt x="270" y="560"/>
                      </a:lnTo>
                      <a:lnTo>
                        <a:pt x="270" y="560"/>
                      </a:lnTo>
                      <a:lnTo>
                        <a:pt x="278" y="562"/>
                      </a:lnTo>
                      <a:lnTo>
                        <a:pt x="286" y="562"/>
                      </a:lnTo>
                      <a:lnTo>
                        <a:pt x="300" y="560"/>
                      </a:lnTo>
                      <a:lnTo>
                        <a:pt x="312" y="556"/>
                      </a:lnTo>
                      <a:lnTo>
                        <a:pt x="316" y="552"/>
                      </a:lnTo>
                      <a:lnTo>
                        <a:pt x="316" y="552"/>
                      </a:lnTo>
                      <a:lnTo>
                        <a:pt x="326" y="554"/>
                      </a:lnTo>
                      <a:lnTo>
                        <a:pt x="336" y="558"/>
                      </a:lnTo>
                      <a:lnTo>
                        <a:pt x="346" y="562"/>
                      </a:lnTo>
                      <a:lnTo>
                        <a:pt x="346" y="562"/>
                      </a:lnTo>
                      <a:lnTo>
                        <a:pt x="350" y="566"/>
                      </a:lnTo>
                      <a:lnTo>
                        <a:pt x="356" y="568"/>
                      </a:lnTo>
                      <a:lnTo>
                        <a:pt x="368" y="570"/>
                      </a:lnTo>
                      <a:lnTo>
                        <a:pt x="386" y="570"/>
                      </a:lnTo>
                      <a:lnTo>
                        <a:pt x="404" y="568"/>
                      </a:lnTo>
                      <a:lnTo>
                        <a:pt x="404" y="568"/>
                      </a:lnTo>
                      <a:lnTo>
                        <a:pt x="424" y="568"/>
                      </a:lnTo>
                      <a:lnTo>
                        <a:pt x="444" y="566"/>
                      </a:lnTo>
                      <a:lnTo>
                        <a:pt x="452" y="568"/>
                      </a:lnTo>
                      <a:lnTo>
                        <a:pt x="456" y="570"/>
                      </a:lnTo>
                      <a:lnTo>
                        <a:pt x="456" y="572"/>
                      </a:lnTo>
                      <a:lnTo>
                        <a:pt x="452" y="578"/>
                      </a:lnTo>
                      <a:lnTo>
                        <a:pt x="452" y="578"/>
                      </a:lnTo>
                      <a:lnTo>
                        <a:pt x="442" y="584"/>
                      </a:lnTo>
                      <a:lnTo>
                        <a:pt x="428" y="590"/>
                      </a:lnTo>
                      <a:lnTo>
                        <a:pt x="392" y="600"/>
                      </a:lnTo>
                      <a:lnTo>
                        <a:pt x="376" y="606"/>
                      </a:lnTo>
                      <a:lnTo>
                        <a:pt x="362" y="612"/>
                      </a:lnTo>
                      <a:lnTo>
                        <a:pt x="354" y="618"/>
                      </a:lnTo>
                      <a:lnTo>
                        <a:pt x="352" y="620"/>
                      </a:lnTo>
                      <a:lnTo>
                        <a:pt x="354" y="622"/>
                      </a:lnTo>
                      <a:lnTo>
                        <a:pt x="354" y="622"/>
                      </a:lnTo>
                      <a:lnTo>
                        <a:pt x="364" y="634"/>
                      </a:lnTo>
                      <a:lnTo>
                        <a:pt x="374" y="644"/>
                      </a:lnTo>
                      <a:lnTo>
                        <a:pt x="378" y="648"/>
                      </a:lnTo>
                      <a:lnTo>
                        <a:pt x="380" y="652"/>
                      </a:lnTo>
                      <a:lnTo>
                        <a:pt x="378" y="656"/>
                      </a:lnTo>
                      <a:lnTo>
                        <a:pt x="372" y="660"/>
                      </a:lnTo>
                      <a:lnTo>
                        <a:pt x="372" y="660"/>
                      </a:lnTo>
                      <a:lnTo>
                        <a:pt x="348" y="666"/>
                      </a:lnTo>
                      <a:lnTo>
                        <a:pt x="316" y="672"/>
                      </a:lnTo>
                      <a:lnTo>
                        <a:pt x="284" y="676"/>
                      </a:lnTo>
                      <a:lnTo>
                        <a:pt x="262" y="680"/>
                      </a:lnTo>
                      <a:lnTo>
                        <a:pt x="262" y="680"/>
                      </a:lnTo>
                      <a:lnTo>
                        <a:pt x="250" y="686"/>
                      </a:lnTo>
                      <a:lnTo>
                        <a:pt x="238" y="694"/>
                      </a:lnTo>
                      <a:lnTo>
                        <a:pt x="224" y="700"/>
                      </a:lnTo>
                      <a:lnTo>
                        <a:pt x="214" y="704"/>
                      </a:lnTo>
                      <a:lnTo>
                        <a:pt x="202" y="704"/>
                      </a:lnTo>
                      <a:lnTo>
                        <a:pt x="202" y="704"/>
                      </a:lnTo>
                      <a:lnTo>
                        <a:pt x="188" y="704"/>
                      </a:lnTo>
                      <a:lnTo>
                        <a:pt x="176" y="704"/>
                      </a:lnTo>
                      <a:lnTo>
                        <a:pt x="150" y="698"/>
                      </a:lnTo>
                      <a:lnTo>
                        <a:pt x="122" y="690"/>
                      </a:lnTo>
                      <a:lnTo>
                        <a:pt x="122" y="690"/>
                      </a:lnTo>
                      <a:lnTo>
                        <a:pt x="106" y="706"/>
                      </a:lnTo>
                      <a:lnTo>
                        <a:pt x="90" y="720"/>
                      </a:lnTo>
                      <a:lnTo>
                        <a:pt x="78" y="736"/>
                      </a:lnTo>
                      <a:lnTo>
                        <a:pt x="78" y="736"/>
                      </a:lnTo>
                      <a:lnTo>
                        <a:pt x="70" y="750"/>
                      </a:lnTo>
                      <a:lnTo>
                        <a:pt x="62" y="758"/>
                      </a:lnTo>
                      <a:lnTo>
                        <a:pt x="58" y="766"/>
                      </a:lnTo>
                      <a:lnTo>
                        <a:pt x="56" y="772"/>
                      </a:lnTo>
                      <a:lnTo>
                        <a:pt x="56" y="778"/>
                      </a:lnTo>
                      <a:lnTo>
                        <a:pt x="56" y="778"/>
                      </a:lnTo>
                      <a:lnTo>
                        <a:pt x="56" y="788"/>
                      </a:lnTo>
                      <a:lnTo>
                        <a:pt x="52" y="798"/>
                      </a:lnTo>
                      <a:lnTo>
                        <a:pt x="46" y="818"/>
                      </a:lnTo>
                      <a:lnTo>
                        <a:pt x="44" y="828"/>
                      </a:lnTo>
                      <a:lnTo>
                        <a:pt x="46" y="830"/>
                      </a:lnTo>
                      <a:lnTo>
                        <a:pt x="48" y="834"/>
                      </a:lnTo>
                      <a:lnTo>
                        <a:pt x="50" y="836"/>
                      </a:lnTo>
                      <a:lnTo>
                        <a:pt x="54" y="836"/>
                      </a:lnTo>
                      <a:lnTo>
                        <a:pt x="68" y="836"/>
                      </a:lnTo>
                      <a:lnTo>
                        <a:pt x="68" y="836"/>
                      </a:lnTo>
                      <a:lnTo>
                        <a:pt x="86" y="832"/>
                      </a:lnTo>
                      <a:lnTo>
                        <a:pt x="100" y="824"/>
                      </a:lnTo>
                      <a:lnTo>
                        <a:pt x="126" y="812"/>
                      </a:lnTo>
                      <a:lnTo>
                        <a:pt x="134" y="808"/>
                      </a:lnTo>
                      <a:lnTo>
                        <a:pt x="142" y="806"/>
                      </a:lnTo>
                      <a:lnTo>
                        <a:pt x="146" y="808"/>
                      </a:lnTo>
                      <a:lnTo>
                        <a:pt x="148" y="810"/>
                      </a:lnTo>
                      <a:lnTo>
                        <a:pt x="152" y="820"/>
                      </a:lnTo>
                      <a:lnTo>
                        <a:pt x="152" y="820"/>
                      </a:lnTo>
                      <a:lnTo>
                        <a:pt x="154" y="832"/>
                      </a:lnTo>
                      <a:lnTo>
                        <a:pt x="154" y="846"/>
                      </a:lnTo>
                      <a:lnTo>
                        <a:pt x="150" y="868"/>
                      </a:lnTo>
                      <a:lnTo>
                        <a:pt x="148" y="878"/>
                      </a:lnTo>
                      <a:lnTo>
                        <a:pt x="148" y="888"/>
                      </a:lnTo>
                      <a:lnTo>
                        <a:pt x="150" y="896"/>
                      </a:lnTo>
                      <a:lnTo>
                        <a:pt x="156" y="900"/>
                      </a:lnTo>
                      <a:lnTo>
                        <a:pt x="156" y="900"/>
                      </a:lnTo>
                      <a:lnTo>
                        <a:pt x="164" y="908"/>
                      </a:lnTo>
                      <a:lnTo>
                        <a:pt x="172" y="914"/>
                      </a:lnTo>
                      <a:lnTo>
                        <a:pt x="176" y="924"/>
                      </a:lnTo>
                      <a:lnTo>
                        <a:pt x="180" y="934"/>
                      </a:lnTo>
                      <a:lnTo>
                        <a:pt x="184" y="942"/>
                      </a:lnTo>
                      <a:lnTo>
                        <a:pt x="186" y="952"/>
                      </a:lnTo>
                      <a:lnTo>
                        <a:pt x="186" y="958"/>
                      </a:lnTo>
                      <a:lnTo>
                        <a:pt x="184" y="964"/>
                      </a:lnTo>
                      <a:lnTo>
                        <a:pt x="184" y="964"/>
                      </a:lnTo>
                      <a:lnTo>
                        <a:pt x="180" y="970"/>
                      </a:lnTo>
                      <a:lnTo>
                        <a:pt x="178" y="978"/>
                      </a:lnTo>
                      <a:lnTo>
                        <a:pt x="178" y="980"/>
                      </a:lnTo>
                      <a:lnTo>
                        <a:pt x="180" y="984"/>
                      </a:lnTo>
                      <a:lnTo>
                        <a:pt x="188" y="990"/>
                      </a:lnTo>
                      <a:lnTo>
                        <a:pt x="188" y="990"/>
                      </a:lnTo>
                      <a:lnTo>
                        <a:pt x="198" y="998"/>
                      </a:lnTo>
                      <a:lnTo>
                        <a:pt x="204" y="1006"/>
                      </a:lnTo>
                      <a:lnTo>
                        <a:pt x="208" y="1018"/>
                      </a:lnTo>
                      <a:lnTo>
                        <a:pt x="214" y="1032"/>
                      </a:lnTo>
                      <a:lnTo>
                        <a:pt x="214" y="1032"/>
                      </a:lnTo>
                      <a:lnTo>
                        <a:pt x="222" y="1046"/>
                      </a:lnTo>
                      <a:lnTo>
                        <a:pt x="230" y="1056"/>
                      </a:lnTo>
                      <a:lnTo>
                        <a:pt x="240" y="1066"/>
                      </a:lnTo>
                      <a:lnTo>
                        <a:pt x="252" y="1076"/>
                      </a:lnTo>
                      <a:lnTo>
                        <a:pt x="252" y="1076"/>
                      </a:lnTo>
                      <a:lnTo>
                        <a:pt x="264" y="1086"/>
                      </a:lnTo>
                      <a:lnTo>
                        <a:pt x="270" y="1094"/>
                      </a:lnTo>
                      <a:lnTo>
                        <a:pt x="270" y="1102"/>
                      </a:lnTo>
                      <a:lnTo>
                        <a:pt x="268" y="1108"/>
                      </a:lnTo>
                      <a:lnTo>
                        <a:pt x="268" y="1108"/>
                      </a:lnTo>
                      <a:lnTo>
                        <a:pt x="262" y="1116"/>
                      </a:lnTo>
                      <a:lnTo>
                        <a:pt x="254" y="1122"/>
                      </a:lnTo>
                      <a:lnTo>
                        <a:pt x="250" y="1128"/>
                      </a:lnTo>
                      <a:lnTo>
                        <a:pt x="252" y="1130"/>
                      </a:lnTo>
                      <a:lnTo>
                        <a:pt x="254" y="1132"/>
                      </a:lnTo>
                      <a:lnTo>
                        <a:pt x="254" y="1132"/>
                      </a:lnTo>
                      <a:lnTo>
                        <a:pt x="270" y="1136"/>
                      </a:lnTo>
                      <a:lnTo>
                        <a:pt x="290" y="1146"/>
                      </a:lnTo>
                      <a:lnTo>
                        <a:pt x="290" y="1146"/>
                      </a:lnTo>
                      <a:lnTo>
                        <a:pt x="304" y="1154"/>
                      </a:lnTo>
                      <a:lnTo>
                        <a:pt x="316" y="1166"/>
                      </a:lnTo>
                      <a:lnTo>
                        <a:pt x="326" y="1178"/>
                      </a:lnTo>
                      <a:lnTo>
                        <a:pt x="330" y="1184"/>
                      </a:lnTo>
                      <a:lnTo>
                        <a:pt x="328" y="1188"/>
                      </a:lnTo>
                      <a:lnTo>
                        <a:pt x="328" y="1188"/>
                      </a:lnTo>
                      <a:lnTo>
                        <a:pt x="326" y="1200"/>
                      </a:lnTo>
                      <a:lnTo>
                        <a:pt x="324" y="1210"/>
                      </a:lnTo>
                      <a:lnTo>
                        <a:pt x="324" y="1214"/>
                      </a:lnTo>
                      <a:lnTo>
                        <a:pt x="326" y="1214"/>
                      </a:lnTo>
                      <a:lnTo>
                        <a:pt x="332" y="1212"/>
                      </a:lnTo>
                      <a:lnTo>
                        <a:pt x="338" y="1206"/>
                      </a:lnTo>
                      <a:lnTo>
                        <a:pt x="338" y="1206"/>
                      </a:lnTo>
                      <a:lnTo>
                        <a:pt x="358" y="1194"/>
                      </a:lnTo>
                      <a:lnTo>
                        <a:pt x="376" y="1182"/>
                      </a:lnTo>
                      <a:lnTo>
                        <a:pt x="390" y="1176"/>
                      </a:lnTo>
                      <a:lnTo>
                        <a:pt x="402" y="1172"/>
                      </a:lnTo>
                      <a:lnTo>
                        <a:pt x="402" y="1172"/>
                      </a:lnTo>
                      <a:lnTo>
                        <a:pt x="412" y="1172"/>
                      </a:lnTo>
                      <a:lnTo>
                        <a:pt x="418" y="1172"/>
                      </a:lnTo>
                      <a:lnTo>
                        <a:pt x="424" y="1174"/>
                      </a:lnTo>
                      <a:lnTo>
                        <a:pt x="428" y="1176"/>
                      </a:lnTo>
                      <a:lnTo>
                        <a:pt x="430" y="1182"/>
                      </a:lnTo>
                      <a:lnTo>
                        <a:pt x="428" y="1188"/>
                      </a:lnTo>
                      <a:lnTo>
                        <a:pt x="422" y="1198"/>
                      </a:lnTo>
                      <a:lnTo>
                        <a:pt x="422" y="1198"/>
                      </a:lnTo>
                      <a:lnTo>
                        <a:pt x="414" y="1208"/>
                      </a:lnTo>
                      <a:lnTo>
                        <a:pt x="410" y="1216"/>
                      </a:lnTo>
                      <a:lnTo>
                        <a:pt x="410" y="1222"/>
                      </a:lnTo>
                      <a:lnTo>
                        <a:pt x="412" y="1228"/>
                      </a:lnTo>
                      <a:lnTo>
                        <a:pt x="418" y="1230"/>
                      </a:lnTo>
                      <a:lnTo>
                        <a:pt x="422" y="1230"/>
                      </a:lnTo>
                      <a:lnTo>
                        <a:pt x="430" y="1226"/>
                      </a:lnTo>
                      <a:lnTo>
                        <a:pt x="436" y="1222"/>
                      </a:lnTo>
                      <a:lnTo>
                        <a:pt x="436" y="1222"/>
                      </a:lnTo>
                      <a:lnTo>
                        <a:pt x="450" y="1210"/>
                      </a:lnTo>
                      <a:lnTo>
                        <a:pt x="456" y="1204"/>
                      </a:lnTo>
                      <a:lnTo>
                        <a:pt x="464" y="1198"/>
                      </a:lnTo>
                      <a:lnTo>
                        <a:pt x="472" y="1196"/>
                      </a:lnTo>
                      <a:lnTo>
                        <a:pt x="480" y="1194"/>
                      </a:lnTo>
                      <a:lnTo>
                        <a:pt x="490" y="1196"/>
                      </a:lnTo>
                      <a:lnTo>
                        <a:pt x="502" y="1202"/>
                      </a:lnTo>
                      <a:lnTo>
                        <a:pt x="502" y="1202"/>
                      </a:lnTo>
                      <a:lnTo>
                        <a:pt x="512" y="1208"/>
                      </a:lnTo>
                      <a:lnTo>
                        <a:pt x="520" y="1216"/>
                      </a:lnTo>
                      <a:lnTo>
                        <a:pt x="524" y="1220"/>
                      </a:lnTo>
                      <a:lnTo>
                        <a:pt x="528" y="1226"/>
                      </a:lnTo>
                      <a:lnTo>
                        <a:pt x="532" y="1236"/>
                      </a:lnTo>
                      <a:lnTo>
                        <a:pt x="536" y="1242"/>
                      </a:lnTo>
                      <a:lnTo>
                        <a:pt x="540" y="1248"/>
                      </a:lnTo>
                      <a:lnTo>
                        <a:pt x="540" y="1248"/>
                      </a:lnTo>
                      <a:lnTo>
                        <a:pt x="556" y="1260"/>
                      </a:lnTo>
                      <a:lnTo>
                        <a:pt x="568" y="1268"/>
                      </a:lnTo>
                      <a:lnTo>
                        <a:pt x="582" y="1274"/>
                      </a:lnTo>
                      <a:lnTo>
                        <a:pt x="596" y="1278"/>
                      </a:lnTo>
                      <a:lnTo>
                        <a:pt x="610" y="1280"/>
                      </a:lnTo>
                      <a:lnTo>
                        <a:pt x="624" y="1280"/>
                      </a:lnTo>
                      <a:lnTo>
                        <a:pt x="636" y="1274"/>
                      </a:lnTo>
                      <a:lnTo>
                        <a:pt x="636" y="1274"/>
                      </a:lnTo>
                      <a:lnTo>
                        <a:pt x="658" y="1262"/>
                      </a:lnTo>
                      <a:lnTo>
                        <a:pt x="674" y="1252"/>
                      </a:lnTo>
                      <a:lnTo>
                        <a:pt x="686" y="1240"/>
                      </a:lnTo>
                      <a:lnTo>
                        <a:pt x="698" y="1222"/>
                      </a:lnTo>
                      <a:lnTo>
                        <a:pt x="698" y="1222"/>
                      </a:lnTo>
                      <a:lnTo>
                        <a:pt x="702" y="1212"/>
                      </a:lnTo>
                      <a:lnTo>
                        <a:pt x="702" y="1202"/>
                      </a:lnTo>
                      <a:lnTo>
                        <a:pt x="698" y="1194"/>
                      </a:lnTo>
                      <a:lnTo>
                        <a:pt x="696" y="1184"/>
                      </a:lnTo>
                      <a:lnTo>
                        <a:pt x="692" y="1176"/>
                      </a:lnTo>
                      <a:lnTo>
                        <a:pt x="688" y="1168"/>
                      </a:lnTo>
                      <a:lnTo>
                        <a:pt x="688" y="1160"/>
                      </a:lnTo>
                      <a:lnTo>
                        <a:pt x="690" y="1150"/>
                      </a:lnTo>
                      <a:lnTo>
                        <a:pt x="690" y="1150"/>
                      </a:lnTo>
                      <a:lnTo>
                        <a:pt x="696" y="1142"/>
                      </a:lnTo>
                      <a:lnTo>
                        <a:pt x="704" y="1134"/>
                      </a:lnTo>
                      <a:lnTo>
                        <a:pt x="712" y="1130"/>
                      </a:lnTo>
                      <a:lnTo>
                        <a:pt x="724" y="1124"/>
                      </a:lnTo>
                      <a:lnTo>
                        <a:pt x="736" y="1122"/>
                      </a:lnTo>
                      <a:lnTo>
                        <a:pt x="748" y="1122"/>
                      </a:lnTo>
                      <a:lnTo>
                        <a:pt x="762" y="1122"/>
                      </a:lnTo>
                      <a:lnTo>
                        <a:pt x="778" y="1126"/>
                      </a:lnTo>
                      <a:lnTo>
                        <a:pt x="778" y="1126"/>
                      </a:lnTo>
                      <a:lnTo>
                        <a:pt x="794" y="1128"/>
                      </a:lnTo>
                      <a:lnTo>
                        <a:pt x="810" y="1130"/>
                      </a:lnTo>
                      <a:lnTo>
                        <a:pt x="844" y="1132"/>
                      </a:lnTo>
                      <a:lnTo>
                        <a:pt x="860" y="1134"/>
                      </a:lnTo>
                      <a:lnTo>
                        <a:pt x="876" y="1138"/>
                      </a:lnTo>
                      <a:lnTo>
                        <a:pt x="892" y="1146"/>
                      </a:lnTo>
                      <a:lnTo>
                        <a:pt x="904" y="1156"/>
                      </a:lnTo>
                      <a:lnTo>
                        <a:pt x="904" y="1156"/>
                      </a:lnTo>
                      <a:lnTo>
                        <a:pt x="918" y="1168"/>
                      </a:lnTo>
                      <a:lnTo>
                        <a:pt x="932" y="1178"/>
                      </a:lnTo>
                      <a:lnTo>
                        <a:pt x="948" y="1186"/>
                      </a:lnTo>
                      <a:lnTo>
                        <a:pt x="966" y="1190"/>
                      </a:lnTo>
                      <a:lnTo>
                        <a:pt x="982" y="1192"/>
                      </a:lnTo>
                      <a:lnTo>
                        <a:pt x="998" y="1188"/>
                      </a:lnTo>
                      <a:lnTo>
                        <a:pt x="1004" y="1186"/>
                      </a:lnTo>
                      <a:lnTo>
                        <a:pt x="1012" y="1182"/>
                      </a:lnTo>
                      <a:lnTo>
                        <a:pt x="1018" y="1176"/>
                      </a:lnTo>
                      <a:lnTo>
                        <a:pt x="1024" y="1170"/>
                      </a:lnTo>
                      <a:lnTo>
                        <a:pt x="1024" y="1170"/>
                      </a:lnTo>
                      <a:lnTo>
                        <a:pt x="1034" y="1158"/>
                      </a:lnTo>
                      <a:lnTo>
                        <a:pt x="1046" y="1148"/>
                      </a:lnTo>
                      <a:lnTo>
                        <a:pt x="1058" y="1142"/>
                      </a:lnTo>
                      <a:lnTo>
                        <a:pt x="1068" y="1136"/>
                      </a:lnTo>
                      <a:lnTo>
                        <a:pt x="1078" y="1134"/>
                      </a:lnTo>
                      <a:lnTo>
                        <a:pt x="1086" y="1134"/>
                      </a:lnTo>
                      <a:lnTo>
                        <a:pt x="1096" y="1134"/>
                      </a:lnTo>
                      <a:lnTo>
                        <a:pt x="1096" y="1134"/>
                      </a:lnTo>
                      <a:lnTo>
                        <a:pt x="1104" y="1134"/>
                      </a:lnTo>
                      <a:lnTo>
                        <a:pt x="1110" y="1130"/>
                      </a:lnTo>
                      <a:lnTo>
                        <a:pt x="1114" y="1128"/>
                      </a:lnTo>
                      <a:lnTo>
                        <a:pt x="1116" y="1124"/>
                      </a:lnTo>
                      <a:lnTo>
                        <a:pt x="1118" y="1118"/>
                      </a:lnTo>
                      <a:lnTo>
                        <a:pt x="1118" y="1112"/>
                      </a:lnTo>
                      <a:lnTo>
                        <a:pt x="1118" y="1112"/>
                      </a:lnTo>
                      <a:lnTo>
                        <a:pt x="1116" y="1106"/>
                      </a:lnTo>
                      <a:lnTo>
                        <a:pt x="1114" y="1102"/>
                      </a:lnTo>
                      <a:lnTo>
                        <a:pt x="1112" y="1098"/>
                      </a:lnTo>
                      <a:lnTo>
                        <a:pt x="1108" y="1094"/>
                      </a:lnTo>
                      <a:lnTo>
                        <a:pt x="1108" y="1090"/>
                      </a:lnTo>
                      <a:lnTo>
                        <a:pt x="1110" y="1082"/>
                      </a:lnTo>
                      <a:lnTo>
                        <a:pt x="1116" y="1070"/>
                      </a:lnTo>
                      <a:lnTo>
                        <a:pt x="1126" y="1056"/>
                      </a:lnTo>
                      <a:lnTo>
                        <a:pt x="1126" y="1056"/>
                      </a:lnTo>
                      <a:lnTo>
                        <a:pt x="1136" y="1040"/>
                      </a:lnTo>
                      <a:lnTo>
                        <a:pt x="1142" y="1028"/>
                      </a:lnTo>
                      <a:lnTo>
                        <a:pt x="1144" y="1022"/>
                      </a:lnTo>
                      <a:lnTo>
                        <a:pt x="1144" y="1016"/>
                      </a:lnTo>
                      <a:lnTo>
                        <a:pt x="1144" y="1014"/>
                      </a:lnTo>
                      <a:lnTo>
                        <a:pt x="1146" y="1012"/>
                      </a:lnTo>
                      <a:lnTo>
                        <a:pt x="1162" y="1008"/>
                      </a:lnTo>
                      <a:lnTo>
                        <a:pt x="1162" y="1008"/>
                      </a:lnTo>
                      <a:lnTo>
                        <a:pt x="1174" y="1006"/>
                      </a:lnTo>
                      <a:lnTo>
                        <a:pt x="1188" y="1004"/>
                      </a:lnTo>
                      <a:lnTo>
                        <a:pt x="1212" y="1006"/>
                      </a:lnTo>
                      <a:lnTo>
                        <a:pt x="1232" y="1010"/>
                      </a:lnTo>
                      <a:lnTo>
                        <a:pt x="1246" y="1016"/>
                      </a:lnTo>
                      <a:lnTo>
                        <a:pt x="1246" y="1016"/>
                      </a:lnTo>
                      <a:lnTo>
                        <a:pt x="1252" y="1016"/>
                      </a:lnTo>
                      <a:lnTo>
                        <a:pt x="1258" y="1016"/>
                      </a:lnTo>
                      <a:lnTo>
                        <a:pt x="1272" y="1012"/>
                      </a:lnTo>
                      <a:lnTo>
                        <a:pt x="1288" y="1006"/>
                      </a:lnTo>
                      <a:lnTo>
                        <a:pt x="1326" y="942"/>
                      </a:lnTo>
                      <a:lnTo>
                        <a:pt x="1352" y="964"/>
                      </a:lnTo>
                      <a:lnTo>
                        <a:pt x="1336" y="1028"/>
                      </a:lnTo>
                      <a:lnTo>
                        <a:pt x="1352" y="1066"/>
                      </a:lnTo>
                      <a:lnTo>
                        <a:pt x="1352" y="1066"/>
                      </a:lnTo>
                      <a:lnTo>
                        <a:pt x="1352" y="1068"/>
                      </a:lnTo>
                      <a:lnTo>
                        <a:pt x="1354" y="1074"/>
                      </a:lnTo>
                      <a:lnTo>
                        <a:pt x="1358" y="1082"/>
                      </a:lnTo>
                      <a:lnTo>
                        <a:pt x="1362" y="1086"/>
                      </a:lnTo>
                      <a:lnTo>
                        <a:pt x="1366" y="1088"/>
                      </a:lnTo>
                      <a:lnTo>
                        <a:pt x="1366" y="1088"/>
                      </a:lnTo>
                      <a:lnTo>
                        <a:pt x="1378" y="1096"/>
                      </a:lnTo>
                      <a:lnTo>
                        <a:pt x="1384" y="1098"/>
                      </a:lnTo>
                      <a:lnTo>
                        <a:pt x="1388" y="1100"/>
                      </a:lnTo>
                      <a:lnTo>
                        <a:pt x="1394" y="1100"/>
                      </a:lnTo>
                      <a:lnTo>
                        <a:pt x="1398" y="1096"/>
                      </a:lnTo>
                      <a:lnTo>
                        <a:pt x="1404" y="1090"/>
                      </a:lnTo>
                      <a:lnTo>
                        <a:pt x="1410" y="1080"/>
                      </a:lnTo>
                      <a:lnTo>
                        <a:pt x="1410" y="1080"/>
                      </a:lnTo>
                      <a:lnTo>
                        <a:pt x="1422" y="1060"/>
                      </a:lnTo>
                      <a:lnTo>
                        <a:pt x="1430" y="1042"/>
                      </a:lnTo>
                      <a:lnTo>
                        <a:pt x="1434" y="1036"/>
                      </a:lnTo>
                      <a:lnTo>
                        <a:pt x="1434" y="1028"/>
                      </a:lnTo>
                      <a:lnTo>
                        <a:pt x="1434" y="1022"/>
                      </a:lnTo>
                      <a:lnTo>
                        <a:pt x="1430" y="1014"/>
                      </a:lnTo>
                      <a:lnTo>
                        <a:pt x="1430" y="1014"/>
                      </a:lnTo>
                      <a:lnTo>
                        <a:pt x="1422" y="1000"/>
                      </a:lnTo>
                      <a:lnTo>
                        <a:pt x="1412" y="988"/>
                      </a:lnTo>
                      <a:lnTo>
                        <a:pt x="1402" y="978"/>
                      </a:lnTo>
                      <a:lnTo>
                        <a:pt x="1398" y="970"/>
                      </a:lnTo>
                      <a:lnTo>
                        <a:pt x="1398" y="970"/>
                      </a:lnTo>
                      <a:lnTo>
                        <a:pt x="1392" y="964"/>
                      </a:lnTo>
                      <a:lnTo>
                        <a:pt x="1386" y="954"/>
                      </a:lnTo>
                      <a:lnTo>
                        <a:pt x="1384" y="950"/>
                      </a:lnTo>
                      <a:lnTo>
                        <a:pt x="1384" y="944"/>
                      </a:lnTo>
                      <a:lnTo>
                        <a:pt x="1386" y="940"/>
                      </a:lnTo>
                      <a:lnTo>
                        <a:pt x="1392" y="936"/>
                      </a:lnTo>
                      <a:lnTo>
                        <a:pt x="1392" y="936"/>
                      </a:lnTo>
                      <a:lnTo>
                        <a:pt x="1406" y="928"/>
                      </a:lnTo>
                      <a:lnTo>
                        <a:pt x="1416" y="924"/>
                      </a:lnTo>
                      <a:lnTo>
                        <a:pt x="1430" y="924"/>
                      </a:lnTo>
                      <a:lnTo>
                        <a:pt x="1450" y="928"/>
                      </a:lnTo>
                      <a:lnTo>
                        <a:pt x="1450" y="928"/>
                      </a:lnTo>
                      <a:lnTo>
                        <a:pt x="1472" y="932"/>
                      </a:lnTo>
                      <a:lnTo>
                        <a:pt x="1480" y="934"/>
                      </a:lnTo>
                      <a:lnTo>
                        <a:pt x="1488" y="932"/>
                      </a:lnTo>
                      <a:lnTo>
                        <a:pt x="1494" y="930"/>
                      </a:lnTo>
                      <a:lnTo>
                        <a:pt x="1502" y="926"/>
                      </a:lnTo>
                      <a:lnTo>
                        <a:pt x="1508" y="920"/>
                      </a:lnTo>
                      <a:lnTo>
                        <a:pt x="1516" y="912"/>
                      </a:lnTo>
                      <a:lnTo>
                        <a:pt x="1516" y="912"/>
                      </a:lnTo>
                      <a:lnTo>
                        <a:pt x="1530" y="896"/>
                      </a:lnTo>
                      <a:lnTo>
                        <a:pt x="1542" y="880"/>
                      </a:lnTo>
                      <a:lnTo>
                        <a:pt x="1550" y="874"/>
                      </a:lnTo>
                      <a:lnTo>
                        <a:pt x="1556" y="870"/>
                      </a:lnTo>
                      <a:lnTo>
                        <a:pt x="1566" y="866"/>
                      </a:lnTo>
                      <a:lnTo>
                        <a:pt x="1576" y="862"/>
                      </a:lnTo>
                      <a:lnTo>
                        <a:pt x="1576" y="862"/>
                      </a:lnTo>
                      <a:lnTo>
                        <a:pt x="1588" y="860"/>
                      </a:lnTo>
                      <a:lnTo>
                        <a:pt x="1596" y="860"/>
                      </a:lnTo>
                      <a:lnTo>
                        <a:pt x="1612" y="862"/>
                      </a:lnTo>
                      <a:lnTo>
                        <a:pt x="1620" y="862"/>
                      </a:lnTo>
                      <a:lnTo>
                        <a:pt x="1632" y="862"/>
                      </a:lnTo>
                      <a:lnTo>
                        <a:pt x="1644" y="860"/>
                      </a:lnTo>
                      <a:lnTo>
                        <a:pt x="1660" y="856"/>
                      </a:lnTo>
                      <a:lnTo>
                        <a:pt x="1660" y="856"/>
                      </a:lnTo>
                      <a:lnTo>
                        <a:pt x="1678" y="848"/>
                      </a:lnTo>
                      <a:lnTo>
                        <a:pt x="1690" y="842"/>
                      </a:lnTo>
                      <a:lnTo>
                        <a:pt x="1702" y="834"/>
                      </a:lnTo>
                      <a:lnTo>
                        <a:pt x="1712" y="828"/>
                      </a:lnTo>
                      <a:lnTo>
                        <a:pt x="1730" y="810"/>
                      </a:lnTo>
                      <a:lnTo>
                        <a:pt x="1754" y="790"/>
                      </a:lnTo>
                      <a:lnTo>
                        <a:pt x="1754" y="790"/>
                      </a:lnTo>
                      <a:lnTo>
                        <a:pt x="1766" y="780"/>
                      </a:lnTo>
                      <a:lnTo>
                        <a:pt x="1774" y="770"/>
                      </a:lnTo>
                      <a:lnTo>
                        <a:pt x="1786" y="756"/>
                      </a:lnTo>
                      <a:lnTo>
                        <a:pt x="1798" y="740"/>
                      </a:lnTo>
                      <a:lnTo>
                        <a:pt x="1806" y="732"/>
                      </a:lnTo>
                      <a:lnTo>
                        <a:pt x="1818" y="724"/>
                      </a:lnTo>
                      <a:lnTo>
                        <a:pt x="1818" y="724"/>
                      </a:lnTo>
                      <a:lnTo>
                        <a:pt x="1844" y="708"/>
                      </a:lnTo>
                      <a:lnTo>
                        <a:pt x="1868" y="698"/>
                      </a:lnTo>
                      <a:lnTo>
                        <a:pt x="1888" y="690"/>
                      </a:lnTo>
                      <a:lnTo>
                        <a:pt x="1910" y="684"/>
                      </a:lnTo>
                      <a:lnTo>
                        <a:pt x="1910" y="684"/>
                      </a:lnTo>
                      <a:lnTo>
                        <a:pt x="1936" y="678"/>
                      </a:lnTo>
                      <a:lnTo>
                        <a:pt x="1966" y="668"/>
                      </a:lnTo>
                      <a:lnTo>
                        <a:pt x="1998" y="654"/>
                      </a:lnTo>
                      <a:lnTo>
                        <a:pt x="2030" y="604"/>
                      </a:lnTo>
                      <a:lnTo>
                        <a:pt x="2064" y="574"/>
                      </a:lnTo>
                      <a:lnTo>
                        <a:pt x="2064" y="574"/>
                      </a:lnTo>
                      <a:lnTo>
                        <a:pt x="2098" y="568"/>
                      </a:lnTo>
                      <a:lnTo>
                        <a:pt x="2124" y="562"/>
                      </a:lnTo>
                      <a:lnTo>
                        <a:pt x="2140" y="556"/>
                      </a:lnTo>
                      <a:lnTo>
                        <a:pt x="2140" y="556"/>
                      </a:lnTo>
                      <a:lnTo>
                        <a:pt x="2152" y="550"/>
                      </a:lnTo>
                      <a:lnTo>
                        <a:pt x="2174" y="542"/>
                      </a:lnTo>
                      <a:lnTo>
                        <a:pt x="2196" y="536"/>
                      </a:lnTo>
                      <a:lnTo>
                        <a:pt x="2204" y="534"/>
                      </a:lnTo>
                      <a:lnTo>
                        <a:pt x="2212" y="534"/>
                      </a:lnTo>
                      <a:lnTo>
                        <a:pt x="2212" y="534"/>
                      </a:lnTo>
                      <a:lnTo>
                        <a:pt x="2226" y="536"/>
                      </a:lnTo>
                      <a:lnTo>
                        <a:pt x="2240" y="534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4" name="Freeform 18">
                  <a:extLst>
                    <a:ext uri="{FF2B5EF4-FFF2-40B4-BE49-F238E27FC236}">
                      <a16:creationId xmlns:a16="http://schemas.microsoft.com/office/drawing/2014/main" id="{D3C64119-D58C-4930-814F-81F306A29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0674" y="5537179"/>
                  <a:ext cx="512152" cy="743840"/>
                </a:xfrm>
                <a:custGeom>
                  <a:avLst/>
                  <a:gdLst/>
                  <a:ahLst/>
                  <a:cxnLst>
                    <a:cxn ang="0">
                      <a:pos x="2" y="490"/>
                    </a:cxn>
                    <a:cxn ang="0">
                      <a:pos x="16" y="538"/>
                    </a:cxn>
                    <a:cxn ang="0">
                      <a:pos x="44" y="600"/>
                    </a:cxn>
                    <a:cxn ang="0">
                      <a:pos x="74" y="620"/>
                    </a:cxn>
                    <a:cxn ang="0">
                      <a:pos x="132" y="626"/>
                    </a:cxn>
                    <a:cxn ang="0">
                      <a:pos x="156" y="630"/>
                    </a:cxn>
                    <a:cxn ang="0">
                      <a:pos x="174" y="670"/>
                    </a:cxn>
                    <a:cxn ang="0">
                      <a:pos x="188" y="692"/>
                    </a:cxn>
                    <a:cxn ang="0">
                      <a:pos x="202" y="716"/>
                    </a:cxn>
                    <a:cxn ang="0">
                      <a:pos x="160" y="800"/>
                    </a:cxn>
                    <a:cxn ang="0">
                      <a:pos x="146" y="852"/>
                    </a:cxn>
                    <a:cxn ang="0">
                      <a:pos x="134" y="888"/>
                    </a:cxn>
                    <a:cxn ang="0">
                      <a:pos x="154" y="916"/>
                    </a:cxn>
                    <a:cxn ang="0">
                      <a:pos x="178" y="938"/>
                    </a:cxn>
                    <a:cxn ang="0">
                      <a:pos x="224" y="938"/>
                    </a:cxn>
                    <a:cxn ang="0">
                      <a:pos x="288" y="966"/>
                    </a:cxn>
                    <a:cxn ang="0">
                      <a:pos x="328" y="972"/>
                    </a:cxn>
                    <a:cxn ang="0">
                      <a:pos x="358" y="948"/>
                    </a:cxn>
                    <a:cxn ang="0">
                      <a:pos x="402" y="874"/>
                    </a:cxn>
                    <a:cxn ang="0">
                      <a:pos x="506" y="702"/>
                    </a:cxn>
                    <a:cxn ang="0">
                      <a:pos x="520" y="670"/>
                    </a:cxn>
                    <a:cxn ang="0">
                      <a:pos x="552" y="636"/>
                    </a:cxn>
                    <a:cxn ang="0">
                      <a:pos x="628" y="530"/>
                    </a:cxn>
                    <a:cxn ang="0">
                      <a:pos x="668" y="438"/>
                    </a:cxn>
                    <a:cxn ang="0">
                      <a:pos x="670" y="390"/>
                    </a:cxn>
                    <a:cxn ang="0">
                      <a:pos x="624" y="236"/>
                    </a:cxn>
                    <a:cxn ang="0">
                      <a:pos x="574" y="200"/>
                    </a:cxn>
                    <a:cxn ang="0">
                      <a:pos x="582" y="158"/>
                    </a:cxn>
                    <a:cxn ang="0">
                      <a:pos x="630" y="64"/>
                    </a:cxn>
                    <a:cxn ang="0">
                      <a:pos x="632" y="32"/>
                    </a:cxn>
                    <a:cxn ang="0">
                      <a:pos x="476" y="86"/>
                    </a:cxn>
                    <a:cxn ang="0">
                      <a:pos x="440" y="110"/>
                    </a:cxn>
                    <a:cxn ang="0">
                      <a:pos x="408" y="148"/>
                    </a:cxn>
                    <a:cxn ang="0">
                      <a:pos x="350" y="200"/>
                    </a:cxn>
                    <a:cxn ang="0">
                      <a:pos x="310" y="228"/>
                    </a:cxn>
                    <a:cxn ang="0">
                      <a:pos x="256" y="236"/>
                    </a:cxn>
                    <a:cxn ang="0">
                      <a:pos x="208" y="242"/>
                    </a:cxn>
                    <a:cxn ang="0">
                      <a:pos x="176" y="262"/>
                    </a:cxn>
                    <a:cxn ang="0">
                      <a:pos x="136" y="300"/>
                    </a:cxn>
                    <a:cxn ang="0">
                      <a:pos x="84" y="306"/>
                    </a:cxn>
                    <a:cxn ang="0">
                      <a:pos x="52" y="300"/>
                    </a:cxn>
                    <a:cxn ang="0">
                      <a:pos x="28" y="310"/>
                    </a:cxn>
                    <a:cxn ang="0">
                      <a:pos x="16" y="324"/>
                    </a:cxn>
                    <a:cxn ang="0">
                      <a:pos x="42" y="356"/>
                    </a:cxn>
                    <a:cxn ang="0">
                      <a:pos x="60" y="386"/>
                    </a:cxn>
                    <a:cxn ang="0">
                      <a:pos x="68" y="414"/>
                    </a:cxn>
                    <a:cxn ang="0">
                      <a:pos x="52" y="448"/>
                    </a:cxn>
                    <a:cxn ang="0">
                      <a:pos x="32" y="476"/>
                    </a:cxn>
                    <a:cxn ang="0">
                      <a:pos x="0" y="466"/>
                    </a:cxn>
                  </a:cxnLst>
                  <a:rect l="0" t="0" r="r" b="b"/>
                  <a:pathLst>
                    <a:path w="672" h="976">
                      <a:moveTo>
                        <a:pt x="4" y="480"/>
                      </a:moveTo>
                      <a:lnTo>
                        <a:pt x="4" y="480"/>
                      </a:lnTo>
                      <a:lnTo>
                        <a:pt x="4" y="484"/>
                      </a:lnTo>
                      <a:lnTo>
                        <a:pt x="2" y="490"/>
                      </a:lnTo>
                      <a:lnTo>
                        <a:pt x="2" y="502"/>
                      </a:lnTo>
                      <a:lnTo>
                        <a:pt x="8" y="518"/>
                      </a:lnTo>
                      <a:lnTo>
                        <a:pt x="8" y="518"/>
                      </a:lnTo>
                      <a:lnTo>
                        <a:pt x="16" y="538"/>
                      </a:lnTo>
                      <a:lnTo>
                        <a:pt x="22" y="560"/>
                      </a:lnTo>
                      <a:lnTo>
                        <a:pt x="32" y="582"/>
                      </a:lnTo>
                      <a:lnTo>
                        <a:pt x="38" y="592"/>
                      </a:lnTo>
                      <a:lnTo>
                        <a:pt x="44" y="600"/>
                      </a:lnTo>
                      <a:lnTo>
                        <a:pt x="44" y="600"/>
                      </a:lnTo>
                      <a:lnTo>
                        <a:pt x="52" y="608"/>
                      </a:lnTo>
                      <a:lnTo>
                        <a:pt x="64" y="616"/>
                      </a:lnTo>
                      <a:lnTo>
                        <a:pt x="74" y="620"/>
                      </a:lnTo>
                      <a:lnTo>
                        <a:pt x="86" y="624"/>
                      </a:lnTo>
                      <a:lnTo>
                        <a:pt x="98" y="626"/>
                      </a:lnTo>
                      <a:lnTo>
                        <a:pt x="110" y="628"/>
                      </a:lnTo>
                      <a:lnTo>
                        <a:pt x="132" y="626"/>
                      </a:lnTo>
                      <a:lnTo>
                        <a:pt x="132" y="626"/>
                      </a:lnTo>
                      <a:lnTo>
                        <a:pt x="142" y="626"/>
                      </a:lnTo>
                      <a:lnTo>
                        <a:pt x="150" y="626"/>
                      </a:lnTo>
                      <a:lnTo>
                        <a:pt x="156" y="630"/>
                      </a:lnTo>
                      <a:lnTo>
                        <a:pt x="162" y="634"/>
                      </a:lnTo>
                      <a:lnTo>
                        <a:pt x="166" y="640"/>
                      </a:lnTo>
                      <a:lnTo>
                        <a:pt x="170" y="650"/>
                      </a:lnTo>
                      <a:lnTo>
                        <a:pt x="174" y="670"/>
                      </a:lnTo>
                      <a:lnTo>
                        <a:pt x="174" y="670"/>
                      </a:lnTo>
                      <a:lnTo>
                        <a:pt x="176" y="682"/>
                      </a:lnTo>
                      <a:lnTo>
                        <a:pt x="182" y="688"/>
                      </a:lnTo>
                      <a:lnTo>
                        <a:pt x="188" y="692"/>
                      </a:lnTo>
                      <a:lnTo>
                        <a:pt x="196" y="696"/>
                      </a:lnTo>
                      <a:lnTo>
                        <a:pt x="200" y="700"/>
                      </a:lnTo>
                      <a:lnTo>
                        <a:pt x="204" y="706"/>
                      </a:lnTo>
                      <a:lnTo>
                        <a:pt x="202" y="716"/>
                      </a:lnTo>
                      <a:lnTo>
                        <a:pt x="194" y="730"/>
                      </a:lnTo>
                      <a:lnTo>
                        <a:pt x="194" y="730"/>
                      </a:lnTo>
                      <a:lnTo>
                        <a:pt x="174" y="766"/>
                      </a:lnTo>
                      <a:lnTo>
                        <a:pt x="160" y="800"/>
                      </a:lnTo>
                      <a:lnTo>
                        <a:pt x="150" y="828"/>
                      </a:lnTo>
                      <a:lnTo>
                        <a:pt x="146" y="846"/>
                      </a:lnTo>
                      <a:lnTo>
                        <a:pt x="146" y="846"/>
                      </a:lnTo>
                      <a:lnTo>
                        <a:pt x="146" y="852"/>
                      </a:lnTo>
                      <a:lnTo>
                        <a:pt x="142" y="858"/>
                      </a:lnTo>
                      <a:lnTo>
                        <a:pt x="136" y="872"/>
                      </a:lnTo>
                      <a:lnTo>
                        <a:pt x="134" y="880"/>
                      </a:lnTo>
                      <a:lnTo>
                        <a:pt x="134" y="888"/>
                      </a:lnTo>
                      <a:lnTo>
                        <a:pt x="138" y="896"/>
                      </a:lnTo>
                      <a:lnTo>
                        <a:pt x="146" y="906"/>
                      </a:lnTo>
                      <a:lnTo>
                        <a:pt x="146" y="906"/>
                      </a:lnTo>
                      <a:lnTo>
                        <a:pt x="154" y="916"/>
                      </a:lnTo>
                      <a:lnTo>
                        <a:pt x="160" y="924"/>
                      </a:lnTo>
                      <a:lnTo>
                        <a:pt x="166" y="934"/>
                      </a:lnTo>
                      <a:lnTo>
                        <a:pt x="170" y="938"/>
                      </a:lnTo>
                      <a:lnTo>
                        <a:pt x="178" y="938"/>
                      </a:lnTo>
                      <a:lnTo>
                        <a:pt x="204" y="936"/>
                      </a:lnTo>
                      <a:lnTo>
                        <a:pt x="204" y="936"/>
                      </a:lnTo>
                      <a:lnTo>
                        <a:pt x="214" y="936"/>
                      </a:lnTo>
                      <a:lnTo>
                        <a:pt x="224" y="938"/>
                      </a:lnTo>
                      <a:lnTo>
                        <a:pt x="240" y="942"/>
                      </a:lnTo>
                      <a:lnTo>
                        <a:pt x="258" y="950"/>
                      </a:lnTo>
                      <a:lnTo>
                        <a:pt x="274" y="958"/>
                      </a:lnTo>
                      <a:lnTo>
                        <a:pt x="288" y="966"/>
                      </a:lnTo>
                      <a:lnTo>
                        <a:pt x="302" y="972"/>
                      </a:lnTo>
                      <a:lnTo>
                        <a:pt x="316" y="976"/>
                      </a:lnTo>
                      <a:lnTo>
                        <a:pt x="322" y="974"/>
                      </a:lnTo>
                      <a:lnTo>
                        <a:pt x="328" y="972"/>
                      </a:lnTo>
                      <a:lnTo>
                        <a:pt x="328" y="972"/>
                      </a:lnTo>
                      <a:lnTo>
                        <a:pt x="340" y="966"/>
                      </a:lnTo>
                      <a:lnTo>
                        <a:pt x="350" y="956"/>
                      </a:lnTo>
                      <a:lnTo>
                        <a:pt x="358" y="948"/>
                      </a:lnTo>
                      <a:lnTo>
                        <a:pt x="366" y="936"/>
                      </a:lnTo>
                      <a:lnTo>
                        <a:pt x="382" y="910"/>
                      </a:lnTo>
                      <a:lnTo>
                        <a:pt x="402" y="874"/>
                      </a:lnTo>
                      <a:lnTo>
                        <a:pt x="402" y="874"/>
                      </a:lnTo>
                      <a:lnTo>
                        <a:pt x="462" y="774"/>
                      </a:lnTo>
                      <a:lnTo>
                        <a:pt x="498" y="714"/>
                      </a:lnTo>
                      <a:lnTo>
                        <a:pt x="506" y="702"/>
                      </a:lnTo>
                      <a:lnTo>
                        <a:pt x="506" y="702"/>
                      </a:lnTo>
                      <a:lnTo>
                        <a:pt x="506" y="698"/>
                      </a:lnTo>
                      <a:lnTo>
                        <a:pt x="506" y="690"/>
                      </a:lnTo>
                      <a:lnTo>
                        <a:pt x="514" y="678"/>
                      </a:lnTo>
                      <a:lnTo>
                        <a:pt x="520" y="670"/>
                      </a:lnTo>
                      <a:lnTo>
                        <a:pt x="528" y="662"/>
                      </a:lnTo>
                      <a:lnTo>
                        <a:pt x="528" y="662"/>
                      </a:lnTo>
                      <a:lnTo>
                        <a:pt x="538" y="650"/>
                      </a:lnTo>
                      <a:lnTo>
                        <a:pt x="552" y="636"/>
                      </a:lnTo>
                      <a:lnTo>
                        <a:pt x="580" y="598"/>
                      </a:lnTo>
                      <a:lnTo>
                        <a:pt x="618" y="544"/>
                      </a:lnTo>
                      <a:lnTo>
                        <a:pt x="618" y="544"/>
                      </a:lnTo>
                      <a:lnTo>
                        <a:pt x="628" y="530"/>
                      </a:lnTo>
                      <a:lnTo>
                        <a:pt x="642" y="504"/>
                      </a:lnTo>
                      <a:lnTo>
                        <a:pt x="658" y="470"/>
                      </a:lnTo>
                      <a:lnTo>
                        <a:pt x="664" y="454"/>
                      </a:lnTo>
                      <a:lnTo>
                        <a:pt x="668" y="438"/>
                      </a:lnTo>
                      <a:lnTo>
                        <a:pt x="668" y="438"/>
                      </a:lnTo>
                      <a:lnTo>
                        <a:pt x="670" y="422"/>
                      </a:lnTo>
                      <a:lnTo>
                        <a:pt x="672" y="410"/>
                      </a:lnTo>
                      <a:lnTo>
                        <a:pt x="670" y="390"/>
                      </a:lnTo>
                      <a:lnTo>
                        <a:pt x="668" y="376"/>
                      </a:lnTo>
                      <a:lnTo>
                        <a:pt x="666" y="372"/>
                      </a:lnTo>
                      <a:lnTo>
                        <a:pt x="636" y="266"/>
                      </a:lnTo>
                      <a:lnTo>
                        <a:pt x="624" y="236"/>
                      </a:lnTo>
                      <a:lnTo>
                        <a:pt x="624" y="236"/>
                      </a:lnTo>
                      <a:lnTo>
                        <a:pt x="598" y="220"/>
                      </a:lnTo>
                      <a:lnTo>
                        <a:pt x="580" y="206"/>
                      </a:lnTo>
                      <a:lnTo>
                        <a:pt x="574" y="200"/>
                      </a:lnTo>
                      <a:lnTo>
                        <a:pt x="572" y="196"/>
                      </a:lnTo>
                      <a:lnTo>
                        <a:pt x="572" y="196"/>
                      </a:lnTo>
                      <a:lnTo>
                        <a:pt x="578" y="170"/>
                      </a:lnTo>
                      <a:lnTo>
                        <a:pt x="582" y="158"/>
                      </a:lnTo>
                      <a:lnTo>
                        <a:pt x="586" y="148"/>
                      </a:lnTo>
                      <a:lnTo>
                        <a:pt x="586" y="148"/>
                      </a:lnTo>
                      <a:lnTo>
                        <a:pt x="610" y="106"/>
                      </a:lnTo>
                      <a:lnTo>
                        <a:pt x="630" y="64"/>
                      </a:lnTo>
                      <a:lnTo>
                        <a:pt x="630" y="64"/>
                      </a:lnTo>
                      <a:lnTo>
                        <a:pt x="656" y="0"/>
                      </a:lnTo>
                      <a:lnTo>
                        <a:pt x="632" y="32"/>
                      </a:lnTo>
                      <a:lnTo>
                        <a:pt x="632" y="32"/>
                      </a:lnTo>
                      <a:lnTo>
                        <a:pt x="598" y="44"/>
                      </a:lnTo>
                      <a:lnTo>
                        <a:pt x="556" y="60"/>
                      </a:lnTo>
                      <a:lnTo>
                        <a:pt x="556" y="60"/>
                      </a:lnTo>
                      <a:lnTo>
                        <a:pt x="476" y="86"/>
                      </a:lnTo>
                      <a:lnTo>
                        <a:pt x="476" y="86"/>
                      </a:lnTo>
                      <a:lnTo>
                        <a:pt x="468" y="90"/>
                      </a:lnTo>
                      <a:lnTo>
                        <a:pt x="460" y="94"/>
                      </a:lnTo>
                      <a:lnTo>
                        <a:pt x="440" y="110"/>
                      </a:lnTo>
                      <a:lnTo>
                        <a:pt x="426" y="126"/>
                      </a:lnTo>
                      <a:lnTo>
                        <a:pt x="416" y="136"/>
                      </a:lnTo>
                      <a:lnTo>
                        <a:pt x="416" y="136"/>
                      </a:lnTo>
                      <a:lnTo>
                        <a:pt x="408" y="148"/>
                      </a:lnTo>
                      <a:lnTo>
                        <a:pt x="388" y="168"/>
                      </a:lnTo>
                      <a:lnTo>
                        <a:pt x="368" y="188"/>
                      </a:lnTo>
                      <a:lnTo>
                        <a:pt x="358" y="196"/>
                      </a:lnTo>
                      <a:lnTo>
                        <a:pt x="350" y="200"/>
                      </a:lnTo>
                      <a:lnTo>
                        <a:pt x="350" y="200"/>
                      </a:lnTo>
                      <a:lnTo>
                        <a:pt x="336" y="208"/>
                      </a:lnTo>
                      <a:lnTo>
                        <a:pt x="322" y="218"/>
                      </a:lnTo>
                      <a:lnTo>
                        <a:pt x="310" y="228"/>
                      </a:lnTo>
                      <a:lnTo>
                        <a:pt x="294" y="234"/>
                      </a:lnTo>
                      <a:lnTo>
                        <a:pt x="294" y="234"/>
                      </a:lnTo>
                      <a:lnTo>
                        <a:pt x="276" y="236"/>
                      </a:lnTo>
                      <a:lnTo>
                        <a:pt x="256" y="236"/>
                      </a:lnTo>
                      <a:lnTo>
                        <a:pt x="238" y="236"/>
                      </a:lnTo>
                      <a:lnTo>
                        <a:pt x="226" y="238"/>
                      </a:lnTo>
                      <a:lnTo>
                        <a:pt x="226" y="238"/>
                      </a:lnTo>
                      <a:lnTo>
                        <a:pt x="208" y="242"/>
                      </a:lnTo>
                      <a:lnTo>
                        <a:pt x="196" y="244"/>
                      </a:lnTo>
                      <a:lnTo>
                        <a:pt x="186" y="250"/>
                      </a:lnTo>
                      <a:lnTo>
                        <a:pt x="186" y="250"/>
                      </a:lnTo>
                      <a:lnTo>
                        <a:pt x="176" y="262"/>
                      </a:lnTo>
                      <a:lnTo>
                        <a:pt x="162" y="276"/>
                      </a:lnTo>
                      <a:lnTo>
                        <a:pt x="148" y="292"/>
                      </a:lnTo>
                      <a:lnTo>
                        <a:pt x="142" y="298"/>
                      </a:lnTo>
                      <a:lnTo>
                        <a:pt x="136" y="300"/>
                      </a:lnTo>
                      <a:lnTo>
                        <a:pt x="136" y="300"/>
                      </a:lnTo>
                      <a:lnTo>
                        <a:pt x="124" y="304"/>
                      </a:lnTo>
                      <a:lnTo>
                        <a:pt x="114" y="306"/>
                      </a:lnTo>
                      <a:lnTo>
                        <a:pt x="84" y="306"/>
                      </a:lnTo>
                      <a:lnTo>
                        <a:pt x="84" y="306"/>
                      </a:lnTo>
                      <a:lnTo>
                        <a:pt x="70" y="304"/>
                      </a:lnTo>
                      <a:lnTo>
                        <a:pt x="60" y="300"/>
                      </a:lnTo>
                      <a:lnTo>
                        <a:pt x="52" y="300"/>
                      </a:lnTo>
                      <a:lnTo>
                        <a:pt x="46" y="302"/>
                      </a:lnTo>
                      <a:lnTo>
                        <a:pt x="40" y="304"/>
                      </a:lnTo>
                      <a:lnTo>
                        <a:pt x="40" y="304"/>
                      </a:lnTo>
                      <a:lnTo>
                        <a:pt x="28" y="310"/>
                      </a:lnTo>
                      <a:lnTo>
                        <a:pt x="18" y="312"/>
                      </a:lnTo>
                      <a:lnTo>
                        <a:pt x="16" y="314"/>
                      </a:lnTo>
                      <a:lnTo>
                        <a:pt x="14" y="316"/>
                      </a:lnTo>
                      <a:lnTo>
                        <a:pt x="16" y="324"/>
                      </a:lnTo>
                      <a:lnTo>
                        <a:pt x="16" y="324"/>
                      </a:lnTo>
                      <a:lnTo>
                        <a:pt x="24" y="336"/>
                      </a:lnTo>
                      <a:lnTo>
                        <a:pt x="32" y="346"/>
                      </a:lnTo>
                      <a:lnTo>
                        <a:pt x="42" y="356"/>
                      </a:lnTo>
                      <a:lnTo>
                        <a:pt x="48" y="366"/>
                      </a:lnTo>
                      <a:lnTo>
                        <a:pt x="48" y="366"/>
                      </a:lnTo>
                      <a:lnTo>
                        <a:pt x="52" y="376"/>
                      </a:lnTo>
                      <a:lnTo>
                        <a:pt x="60" y="386"/>
                      </a:lnTo>
                      <a:lnTo>
                        <a:pt x="66" y="396"/>
                      </a:lnTo>
                      <a:lnTo>
                        <a:pt x="68" y="406"/>
                      </a:lnTo>
                      <a:lnTo>
                        <a:pt x="68" y="406"/>
                      </a:lnTo>
                      <a:lnTo>
                        <a:pt x="68" y="414"/>
                      </a:lnTo>
                      <a:lnTo>
                        <a:pt x="68" y="414"/>
                      </a:lnTo>
                      <a:lnTo>
                        <a:pt x="64" y="428"/>
                      </a:lnTo>
                      <a:lnTo>
                        <a:pt x="58" y="438"/>
                      </a:lnTo>
                      <a:lnTo>
                        <a:pt x="52" y="448"/>
                      </a:lnTo>
                      <a:lnTo>
                        <a:pt x="52" y="448"/>
                      </a:lnTo>
                      <a:lnTo>
                        <a:pt x="42" y="466"/>
                      </a:lnTo>
                      <a:lnTo>
                        <a:pt x="36" y="474"/>
                      </a:lnTo>
                      <a:lnTo>
                        <a:pt x="32" y="476"/>
                      </a:lnTo>
                      <a:lnTo>
                        <a:pt x="28" y="476"/>
                      </a:lnTo>
                      <a:lnTo>
                        <a:pt x="28" y="476"/>
                      </a:lnTo>
                      <a:lnTo>
                        <a:pt x="12" y="470"/>
                      </a:lnTo>
                      <a:lnTo>
                        <a:pt x="0" y="466"/>
                      </a:lnTo>
                      <a:lnTo>
                        <a:pt x="4" y="48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5" name="Freeform 19">
                  <a:extLst>
                    <a:ext uri="{FF2B5EF4-FFF2-40B4-BE49-F238E27FC236}">
                      <a16:creationId xmlns:a16="http://schemas.microsoft.com/office/drawing/2014/main" id="{E0A6518E-FED2-4523-9848-A7AD2B49E1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53285" y="6072195"/>
                  <a:ext cx="347532" cy="309425"/>
                </a:xfrm>
                <a:custGeom>
                  <a:avLst/>
                  <a:gdLst/>
                  <a:ahLst/>
                  <a:cxnLst>
                    <a:cxn ang="0">
                      <a:pos x="54" y="406"/>
                    </a:cxn>
                    <a:cxn ang="0">
                      <a:pos x="24" y="320"/>
                    </a:cxn>
                    <a:cxn ang="0">
                      <a:pos x="16" y="300"/>
                    </a:cxn>
                    <a:cxn ang="0">
                      <a:pos x="0" y="236"/>
                    </a:cxn>
                    <a:cxn ang="0">
                      <a:pos x="28" y="234"/>
                    </a:cxn>
                    <a:cxn ang="0">
                      <a:pos x="60" y="236"/>
                    </a:cxn>
                    <a:cxn ang="0">
                      <a:pos x="68" y="240"/>
                    </a:cxn>
                    <a:cxn ang="0">
                      <a:pos x="122" y="270"/>
                    </a:cxn>
                    <a:cxn ang="0">
                      <a:pos x="134" y="274"/>
                    </a:cxn>
                    <a:cxn ang="0">
                      <a:pos x="146" y="272"/>
                    </a:cxn>
                    <a:cxn ang="0">
                      <a:pos x="168" y="262"/>
                    </a:cxn>
                    <a:cxn ang="0">
                      <a:pos x="184" y="244"/>
                    </a:cxn>
                    <a:cxn ang="0">
                      <a:pos x="194" y="232"/>
                    </a:cxn>
                    <a:cxn ang="0">
                      <a:pos x="272" y="102"/>
                    </a:cxn>
                    <a:cxn ang="0">
                      <a:pos x="332" y="0"/>
                    </a:cxn>
                    <a:cxn ang="0">
                      <a:pos x="338" y="14"/>
                    </a:cxn>
                    <a:cxn ang="0">
                      <a:pos x="348" y="26"/>
                    </a:cxn>
                    <a:cxn ang="0">
                      <a:pos x="398" y="94"/>
                    </a:cxn>
                    <a:cxn ang="0">
                      <a:pos x="414" y="112"/>
                    </a:cxn>
                    <a:cxn ang="0">
                      <a:pos x="456" y="152"/>
                    </a:cxn>
                    <a:cxn ang="0">
                      <a:pos x="454" y="156"/>
                    </a:cxn>
                    <a:cxn ang="0">
                      <a:pos x="444" y="178"/>
                    </a:cxn>
                    <a:cxn ang="0">
                      <a:pos x="430" y="196"/>
                    </a:cxn>
                    <a:cxn ang="0">
                      <a:pos x="420" y="206"/>
                    </a:cxn>
                    <a:cxn ang="0">
                      <a:pos x="326" y="276"/>
                    </a:cxn>
                    <a:cxn ang="0">
                      <a:pos x="286" y="304"/>
                    </a:cxn>
                    <a:cxn ang="0">
                      <a:pos x="258" y="324"/>
                    </a:cxn>
                    <a:cxn ang="0">
                      <a:pos x="252" y="326"/>
                    </a:cxn>
                    <a:cxn ang="0">
                      <a:pos x="248" y="324"/>
                    </a:cxn>
                    <a:cxn ang="0">
                      <a:pos x="236" y="322"/>
                    </a:cxn>
                    <a:cxn ang="0">
                      <a:pos x="236" y="330"/>
                    </a:cxn>
                    <a:cxn ang="0">
                      <a:pos x="240" y="340"/>
                    </a:cxn>
                    <a:cxn ang="0">
                      <a:pos x="258" y="370"/>
                    </a:cxn>
                    <a:cxn ang="0">
                      <a:pos x="270" y="378"/>
                    </a:cxn>
                    <a:cxn ang="0">
                      <a:pos x="288" y="380"/>
                    </a:cxn>
                    <a:cxn ang="0">
                      <a:pos x="304" y="380"/>
                    </a:cxn>
                    <a:cxn ang="0">
                      <a:pos x="328" y="384"/>
                    </a:cxn>
                    <a:cxn ang="0">
                      <a:pos x="344" y="392"/>
                    </a:cxn>
                    <a:cxn ang="0">
                      <a:pos x="54" y="406"/>
                    </a:cxn>
                  </a:cxnLst>
                  <a:rect l="0" t="0" r="r" b="b"/>
                  <a:pathLst>
                    <a:path w="456" h="406">
                      <a:moveTo>
                        <a:pt x="54" y="406"/>
                      </a:moveTo>
                      <a:lnTo>
                        <a:pt x="54" y="406"/>
                      </a:lnTo>
                      <a:lnTo>
                        <a:pt x="38" y="358"/>
                      </a:lnTo>
                      <a:lnTo>
                        <a:pt x="24" y="320"/>
                      </a:lnTo>
                      <a:lnTo>
                        <a:pt x="24" y="320"/>
                      </a:lnTo>
                      <a:lnTo>
                        <a:pt x="16" y="300"/>
                      </a:lnTo>
                      <a:lnTo>
                        <a:pt x="8" y="272"/>
                      </a:lnTo>
                      <a:lnTo>
                        <a:pt x="0" y="236"/>
                      </a:lnTo>
                      <a:lnTo>
                        <a:pt x="0" y="236"/>
                      </a:lnTo>
                      <a:lnTo>
                        <a:pt x="28" y="234"/>
                      </a:lnTo>
                      <a:lnTo>
                        <a:pt x="50" y="234"/>
                      </a:lnTo>
                      <a:lnTo>
                        <a:pt x="60" y="236"/>
                      </a:lnTo>
                      <a:lnTo>
                        <a:pt x="68" y="240"/>
                      </a:lnTo>
                      <a:lnTo>
                        <a:pt x="68" y="240"/>
                      </a:lnTo>
                      <a:lnTo>
                        <a:pt x="104" y="260"/>
                      </a:lnTo>
                      <a:lnTo>
                        <a:pt x="122" y="270"/>
                      </a:lnTo>
                      <a:lnTo>
                        <a:pt x="128" y="274"/>
                      </a:lnTo>
                      <a:lnTo>
                        <a:pt x="134" y="274"/>
                      </a:lnTo>
                      <a:lnTo>
                        <a:pt x="134" y="274"/>
                      </a:lnTo>
                      <a:lnTo>
                        <a:pt x="146" y="272"/>
                      </a:lnTo>
                      <a:lnTo>
                        <a:pt x="160" y="268"/>
                      </a:lnTo>
                      <a:lnTo>
                        <a:pt x="168" y="262"/>
                      </a:lnTo>
                      <a:lnTo>
                        <a:pt x="176" y="254"/>
                      </a:lnTo>
                      <a:lnTo>
                        <a:pt x="184" y="244"/>
                      </a:lnTo>
                      <a:lnTo>
                        <a:pt x="194" y="232"/>
                      </a:lnTo>
                      <a:lnTo>
                        <a:pt x="194" y="232"/>
                      </a:lnTo>
                      <a:lnTo>
                        <a:pt x="226" y="180"/>
                      </a:lnTo>
                      <a:lnTo>
                        <a:pt x="272" y="102"/>
                      </a:lnTo>
                      <a:lnTo>
                        <a:pt x="332" y="0"/>
                      </a:lnTo>
                      <a:lnTo>
                        <a:pt x="332" y="0"/>
                      </a:lnTo>
                      <a:lnTo>
                        <a:pt x="334" y="6"/>
                      </a:lnTo>
                      <a:lnTo>
                        <a:pt x="338" y="14"/>
                      </a:lnTo>
                      <a:lnTo>
                        <a:pt x="348" y="26"/>
                      </a:lnTo>
                      <a:lnTo>
                        <a:pt x="348" y="26"/>
                      </a:lnTo>
                      <a:lnTo>
                        <a:pt x="380" y="70"/>
                      </a:lnTo>
                      <a:lnTo>
                        <a:pt x="398" y="94"/>
                      </a:lnTo>
                      <a:lnTo>
                        <a:pt x="414" y="112"/>
                      </a:lnTo>
                      <a:lnTo>
                        <a:pt x="414" y="112"/>
                      </a:lnTo>
                      <a:lnTo>
                        <a:pt x="442" y="136"/>
                      </a:lnTo>
                      <a:lnTo>
                        <a:pt x="456" y="152"/>
                      </a:lnTo>
                      <a:lnTo>
                        <a:pt x="456" y="152"/>
                      </a:lnTo>
                      <a:lnTo>
                        <a:pt x="454" y="156"/>
                      </a:lnTo>
                      <a:lnTo>
                        <a:pt x="450" y="170"/>
                      </a:lnTo>
                      <a:lnTo>
                        <a:pt x="444" y="178"/>
                      </a:lnTo>
                      <a:lnTo>
                        <a:pt x="438" y="188"/>
                      </a:lnTo>
                      <a:lnTo>
                        <a:pt x="430" y="196"/>
                      </a:lnTo>
                      <a:lnTo>
                        <a:pt x="420" y="206"/>
                      </a:lnTo>
                      <a:lnTo>
                        <a:pt x="420" y="206"/>
                      </a:lnTo>
                      <a:lnTo>
                        <a:pt x="368" y="244"/>
                      </a:lnTo>
                      <a:lnTo>
                        <a:pt x="326" y="276"/>
                      </a:lnTo>
                      <a:lnTo>
                        <a:pt x="326" y="276"/>
                      </a:lnTo>
                      <a:lnTo>
                        <a:pt x="286" y="304"/>
                      </a:lnTo>
                      <a:lnTo>
                        <a:pt x="268" y="318"/>
                      </a:lnTo>
                      <a:lnTo>
                        <a:pt x="258" y="324"/>
                      </a:lnTo>
                      <a:lnTo>
                        <a:pt x="258" y="324"/>
                      </a:lnTo>
                      <a:lnTo>
                        <a:pt x="252" y="326"/>
                      </a:lnTo>
                      <a:lnTo>
                        <a:pt x="252" y="326"/>
                      </a:lnTo>
                      <a:lnTo>
                        <a:pt x="248" y="324"/>
                      </a:lnTo>
                      <a:lnTo>
                        <a:pt x="240" y="322"/>
                      </a:lnTo>
                      <a:lnTo>
                        <a:pt x="236" y="322"/>
                      </a:lnTo>
                      <a:lnTo>
                        <a:pt x="234" y="326"/>
                      </a:lnTo>
                      <a:lnTo>
                        <a:pt x="236" y="330"/>
                      </a:lnTo>
                      <a:lnTo>
                        <a:pt x="240" y="340"/>
                      </a:lnTo>
                      <a:lnTo>
                        <a:pt x="240" y="340"/>
                      </a:lnTo>
                      <a:lnTo>
                        <a:pt x="250" y="358"/>
                      </a:lnTo>
                      <a:lnTo>
                        <a:pt x="258" y="370"/>
                      </a:lnTo>
                      <a:lnTo>
                        <a:pt x="264" y="376"/>
                      </a:lnTo>
                      <a:lnTo>
                        <a:pt x="270" y="378"/>
                      </a:lnTo>
                      <a:lnTo>
                        <a:pt x="278" y="380"/>
                      </a:lnTo>
                      <a:lnTo>
                        <a:pt x="288" y="380"/>
                      </a:lnTo>
                      <a:lnTo>
                        <a:pt x="288" y="380"/>
                      </a:lnTo>
                      <a:lnTo>
                        <a:pt x="304" y="380"/>
                      </a:lnTo>
                      <a:lnTo>
                        <a:pt x="316" y="380"/>
                      </a:lnTo>
                      <a:lnTo>
                        <a:pt x="328" y="384"/>
                      </a:lnTo>
                      <a:lnTo>
                        <a:pt x="344" y="392"/>
                      </a:lnTo>
                      <a:lnTo>
                        <a:pt x="344" y="392"/>
                      </a:lnTo>
                      <a:lnTo>
                        <a:pt x="364" y="406"/>
                      </a:lnTo>
                      <a:lnTo>
                        <a:pt x="54" y="40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6" name="Freeform 20">
                  <a:extLst>
                    <a:ext uri="{FF2B5EF4-FFF2-40B4-BE49-F238E27FC236}">
                      <a16:creationId xmlns:a16="http://schemas.microsoft.com/office/drawing/2014/main" id="{497CF023-F7B0-4C39-BBC7-1666ADAD31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53285" y="6072195"/>
                  <a:ext cx="347532" cy="309425"/>
                </a:xfrm>
                <a:custGeom>
                  <a:avLst/>
                  <a:gdLst/>
                  <a:ahLst/>
                  <a:cxnLst>
                    <a:cxn ang="0">
                      <a:pos x="54" y="406"/>
                    </a:cxn>
                    <a:cxn ang="0">
                      <a:pos x="24" y="320"/>
                    </a:cxn>
                    <a:cxn ang="0">
                      <a:pos x="16" y="300"/>
                    </a:cxn>
                    <a:cxn ang="0">
                      <a:pos x="0" y="236"/>
                    </a:cxn>
                    <a:cxn ang="0">
                      <a:pos x="28" y="234"/>
                    </a:cxn>
                    <a:cxn ang="0">
                      <a:pos x="60" y="236"/>
                    </a:cxn>
                    <a:cxn ang="0">
                      <a:pos x="68" y="240"/>
                    </a:cxn>
                    <a:cxn ang="0">
                      <a:pos x="122" y="270"/>
                    </a:cxn>
                    <a:cxn ang="0">
                      <a:pos x="134" y="274"/>
                    </a:cxn>
                    <a:cxn ang="0">
                      <a:pos x="146" y="272"/>
                    </a:cxn>
                    <a:cxn ang="0">
                      <a:pos x="168" y="262"/>
                    </a:cxn>
                    <a:cxn ang="0">
                      <a:pos x="184" y="244"/>
                    </a:cxn>
                    <a:cxn ang="0">
                      <a:pos x="194" y="232"/>
                    </a:cxn>
                    <a:cxn ang="0">
                      <a:pos x="272" y="102"/>
                    </a:cxn>
                    <a:cxn ang="0">
                      <a:pos x="332" y="0"/>
                    </a:cxn>
                    <a:cxn ang="0">
                      <a:pos x="338" y="14"/>
                    </a:cxn>
                    <a:cxn ang="0">
                      <a:pos x="348" y="26"/>
                    </a:cxn>
                    <a:cxn ang="0">
                      <a:pos x="398" y="94"/>
                    </a:cxn>
                    <a:cxn ang="0">
                      <a:pos x="414" y="112"/>
                    </a:cxn>
                    <a:cxn ang="0">
                      <a:pos x="456" y="152"/>
                    </a:cxn>
                    <a:cxn ang="0">
                      <a:pos x="454" y="156"/>
                    </a:cxn>
                    <a:cxn ang="0">
                      <a:pos x="444" y="178"/>
                    </a:cxn>
                    <a:cxn ang="0">
                      <a:pos x="430" y="196"/>
                    </a:cxn>
                    <a:cxn ang="0">
                      <a:pos x="420" y="206"/>
                    </a:cxn>
                    <a:cxn ang="0">
                      <a:pos x="326" y="276"/>
                    </a:cxn>
                    <a:cxn ang="0">
                      <a:pos x="286" y="304"/>
                    </a:cxn>
                    <a:cxn ang="0">
                      <a:pos x="258" y="324"/>
                    </a:cxn>
                    <a:cxn ang="0">
                      <a:pos x="252" y="326"/>
                    </a:cxn>
                    <a:cxn ang="0">
                      <a:pos x="248" y="324"/>
                    </a:cxn>
                    <a:cxn ang="0">
                      <a:pos x="236" y="322"/>
                    </a:cxn>
                    <a:cxn ang="0">
                      <a:pos x="236" y="330"/>
                    </a:cxn>
                    <a:cxn ang="0">
                      <a:pos x="240" y="340"/>
                    </a:cxn>
                    <a:cxn ang="0">
                      <a:pos x="258" y="370"/>
                    </a:cxn>
                    <a:cxn ang="0">
                      <a:pos x="270" y="378"/>
                    </a:cxn>
                    <a:cxn ang="0">
                      <a:pos x="288" y="380"/>
                    </a:cxn>
                    <a:cxn ang="0">
                      <a:pos x="304" y="380"/>
                    </a:cxn>
                    <a:cxn ang="0">
                      <a:pos x="328" y="384"/>
                    </a:cxn>
                    <a:cxn ang="0">
                      <a:pos x="344" y="392"/>
                    </a:cxn>
                  </a:cxnLst>
                  <a:rect l="0" t="0" r="r" b="b"/>
                  <a:pathLst>
                    <a:path w="456" h="406">
                      <a:moveTo>
                        <a:pt x="54" y="406"/>
                      </a:moveTo>
                      <a:lnTo>
                        <a:pt x="54" y="406"/>
                      </a:lnTo>
                      <a:lnTo>
                        <a:pt x="38" y="358"/>
                      </a:lnTo>
                      <a:lnTo>
                        <a:pt x="24" y="320"/>
                      </a:lnTo>
                      <a:lnTo>
                        <a:pt x="24" y="320"/>
                      </a:lnTo>
                      <a:lnTo>
                        <a:pt x="16" y="300"/>
                      </a:lnTo>
                      <a:lnTo>
                        <a:pt x="8" y="272"/>
                      </a:lnTo>
                      <a:lnTo>
                        <a:pt x="0" y="236"/>
                      </a:lnTo>
                      <a:lnTo>
                        <a:pt x="0" y="236"/>
                      </a:lnTo>
                      <a:lnTo>
                        <a:pt x="28" y="234"/>
                      </a:lnTo>
                      <a:lnTo>
                        <a:pt x="50" y="234"/>
                      </a:lnTo>
                      <a:lnTo>
                        <a:pt x="60" y="236"/>
                      </a:lnTo>
                      <a:lnTo>
                        <a:pt x="68" y="240"/>
                      </a:lnTo>
                      <a:lnTo>
                        <a:pt x="68" y="240"/>
                      </a:lnTo>
                      <a:lnTo>
                        <a:pt x="104" y="260"/>
                      </a:lnTo>
                      <a:lnTo>
                        <a:pt x="122" y="270"/>
                      </a:lnTo>
                      <a:lnTo>
                        <a:pt x="128" y="274"/>
                      </a:lnTo>
                      <a:lnTo>
                        <a:pt x="134" y="274"/>
                      </a:lnTo>
                      <a:lnTo>
                        <a:pt x="134" y="274"/>
                      </a:lnTo>
                      <a:lnTo>
                        <a:pt x="146" y="272"/>
                      </a:lnTo>
                      <a:lnTo>
                        <a:pt x="160" y="268"/>
                      </a:lnTo>
                      <a:lnTo>
                        <a:pt x="168" y="262"/>
                      </a:lnTo>
                      <a:lnTo>
                        <a:pt x="176" y="254"/>
                      </a:lnTo>
                      <a:lnTo>
                        <a:pt x="184" y="244"/>
                      </a:lnTo>
                      <a:lnTo>
                        <a:pt x="194" y="232"/>
                      </a:lnTo>
                      <a:lnTo>
                        <a:pt x="194" y="232"/>
                      </a:lnTo>
                      <a:lnTo>
                        <a:pt x="226" y="180"/>
                      </a:lnTo>
                      <a:lnTo>
                        <a:pt x="272" y="102"/>
                      </a:lnTo>
                      <a:lnTo>
                        <a:pt x="332" y="0"/>
                      </a:lnTo>
                      <a:lnTo>
                        <a:pt x="332" y="0"/>
                      </a:lnTo>
                      <a:lnTo>
                        <a:pt x="334" y="6"/>
                      </a:lnTo>
                      <a:lnTo>
                        <a:pt x="338" y="14"/>
                      </a:lnTo>
                      <a:lnTo>
                        <a:pt x="348" y="26"/>
                      </a:lnTo>
                      <a:lnTo>
                        <a:pt x="348" y="26"/>
                      </a:lnTo>
                      <a:lnTo>
                        <a:pt x="380" y="70"/>
                      </a:lnTo>
                      <a:lnTo>
                        <a:pt x="398" y="94"/>
                      </a:lnTo>
                      <a:lnTo>
                        <a:pt x="414" y="112"/>
                      </a:lnTo>
                      <a:lnTo>
                        <a:pt x="414" y="112"/>
                      </a:lnTo>
                      <a:lnTo>
                        <a:pt x="442" y="136"/>
                      </a:lnTo>
                      <a:lnTo>
                        <a:pt x="456" y="152"/>
                      </a:lnTo>
                      <a:lnTo>
                        <a:pt x="456" y="152"/>
                      </a:lnTo>
                      <a:lnTo>
                        <a:pt x="454" y="156"/>
                      </a:lnTo>
                      <a:lnTo>
                        <a:pt x="450" y="170"/>
                      </a:lnTo>
                      <a:lnTo>
                        <a:pt x="444" y="178"/>
                      </a:lnTo>
                      <a:lnTo>
                        <a:pt x="438" y="188"/>
                      </a:lnTo>
                      <a:lnTo>
                        <a:pt x="430" y="196"/>
                      </a:lnTo>
                      <a:lnTo>
                        <a:pt x="420" y="206"/>
                      </a:lnTo>
                      <a:lnTo>
                        <a:pt x="420" y="206"/>
                      </a:lnTo>
                      <a:lnTo>
                        <a:pt x="368" y="244"/>
                      </a:lnTo>
                      <a:lnTo>
                        <a:pt x="326" y="276"/>
                      </a:lnTo>
                      <a:lnTo>
                        <a:pt x="326" y="276"/>
                      </a:lnTo>
                      <a:lnTo>
                        <a:pt x="286" y="304"/>
                      </a:lnTo>
                      <a:lnTo>
                        <a:pt x="268" y="318"/>
                      </a:lnTo>
                      <a:lnTo>
                        <a:pt x="258" y="324"/>
                      </a:lnTo>
                      <a:lnTo>
                        <a:pt x="258" y="324"/>
                      </a:lnTo>
                      <a:lnTo>
                        <a:pt x="252" y="326"/>
                      </a:lnTo>
                      <a:lnTo>
                        <a:pt x="252" y="326"/>
                      </a:lnTo>
                      <a:lnTo>
                        <a:pt x="248" y="324"/>
                      </a:lnTo>
                      <a:lnTo>
                        <a:pt x="240" y="322"/>
                      </a:lnTo>
                      <a:lnTo>
                        <a:pt x="236" y="322"/>
                      </a:lnTo>
                      <a:lnTo>
                        <a:pt x="234" y="326"/>
                      </a:lnTo>
                      <a:lnTo>
                        <a:pt x="236" y="330"/>
                      </a:lnTo>
                      <a:lnTo>
                        <a:pt x="240" y="340"/>
                      </a:lnTo>
                      <a:lnTo>
                        <a:pt x="240" y="340"/>
                      </a:lnTo>
                      <a:lnTo>
                        <a:pt x="250" y="358"/>
                      </a:lnTo>
                      <a:lnTo>
                        <a:pt x="258" y="370"/>
                      </a:lnTo>
                      <a:lnTo>
                        <a:pt x="264" y="376"/>
                      </a:lnTo>
                      <a:lnTo>
                        <a:pt x="270" y="378"/>
                      </a:lnTo>
                      <a:lnTo>
                        <a:pt x="278" y="380"/>
                      </a:lnTo>
                      <a:lnTo>
                        <a:pt x="288" y="380"/>
                      </a:lnTo>
                      <a:lnTo>
                        <a:pt x="288" y="380"/>
                      </a:lnTo>
                      <a:lnTo>
                        <a:pt x="304" y="380"/>
                      </a:lnTo>
                      <a:lnTo>
                        <a:pt x="316" y="380"/>
                      </a:lnTo>
                      <a:lnTo>
                        <a:pt x="328" y="384"/>
                      </a:lnTo>
                      <a:lnTo>
                        <a:pt x="344" y="392"/>
                      </a:lnTo>
                      <a:lnTo>
                        <a:pt x="344" y="392"/>
                      </a:lnTo>
                      <a:lnTo>
                        <a:pt x="364" y="406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7" name="Freeform 21">
                  <a:extLst>
                    <a:ext uri="{FF2B5EF4-FFF2-40B4-BE49-F238E27FC236}">
                      <a16:creationId xmlns:a16="http://schemas.microsoft.com/office/drawing/2014/main" id="{233492DC-2D33-4941-A946-C6A9CF0102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74024" y="6011224"/>
                  <a:ext cx="100601" cy="22863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2"/>
                    </a:cxn>
                    <a:cxn ang="0">
                      <a:pos x="12" y="8"/>
                    </a:cxn>
                    <a:cxn ang="0">
                      <a:pos x="14" y="26"/>
                    </a:cxn>
                    <a:cxn ang="0">
                      <a:pos x="14" y="40"/>
                    </a:cxn>
                    <a:cxn ang="0">
                      <a:pos x="8" y="108"/>
                    </a:cxn>
                    <a:cxn ang="0">
                      <a:pos x="4" y="162"/>
                    </a:cxn>
                    <a:cxn ang="0">
                      <a:pos x="0" y="202"/>
                    </a:cxn>
                    <a:cxn ang="0">
                      <a:pos x="0" y="240"/>
                    </a:cxn>
                    <a:cxn ang="0">
                      <a:pos x="6" y="278"/>
                    </a:cxn>
                    <a:cxn ang="0">
                      <a:pos x="12" y="292"/>
                    </a:cxn>
                    <a:cxn ang="0">
                      <a:pos x="20" y="298"/>
                    </a:cxn>
                    <a:cxn ang="0">
                      <a:pos x="36" y="296"/>
                    </a:cxn>
                    <a:cxn ang="0">
                      <a:pos x="66" y="292"/>
                    </a:cxn>
                    <a:cxn ang="0">
                      <a:pos x="80" y="294"/>
                    </a:cxn>
                    <a:cxn ang="0">
                      <a:pos x="84" y="298"/>
                    </a:cxn>
                    <a:cxn ang="0">
                      <a:pos x="84" y="300"/>
                    </a:cxn>
                    <a:cxn ang="0">
                      <a:pos x="70" y="282"/>
                    </a:cxn>
                    <a:cxn ang="0">
                      <a:pos x="64" y="264"/>
                    </a:cxn>
                    <a:cxn ang="0">
                      <a:pos x="66" y="256"/>
                    </a:cxn>
                    <a:cxn ang="0">
                      <a:pos x="74" y="230"/>
                    </a:cxn>
                    <a:cxn ang="0">
                      <a:pos x="78" y="214"/>
                    </a:cxn>
                    <a:cxn ang="0">
                      <a:pos x="88" y="192"/>
                    </a:cxn>
                    <a:cxn ang="0">
                      <a:pos x="100" y="162"/>
                    </a:cxn>
                    <a:cxn ang="0">
                      <a:pos x="130" y="102"/>
                    </a:cxn>
                    <a:cxn ang="0">
                      <a:pos x="132" y="94"/>
                    </a:cxn>
                    <a:cxn ang="0">
                      <a:pos x="124" y="76"/>
                    </a:cxn>
                    <a:cxn ang="0">
                      <a:pos x="118" y="70"/>
                    </a:cxn>
                    <a:cxn ang="0">
                      <a:pos x="106" y="66"/>
                    </a:cxn>
                    <a:cxn ang="0">
                      <a:pos x="102" y="56"/>
                    </a:cxn>
                    <a:cxn ang="0">
                      <a:pos x="100" y="44"/>
                    </a:cxn>
                    <a:cxn ang="0">
                      <a:pos x="96" y="22"/>
                    </a:cxn>
                    <a:cxn ang="0">
                      <a:pos x="92" y="16"/>
                    </a:cxn>
                    <a:cxn ang="0">
                      <a:pos x="82" y="6"/>
                    </a:cxn>
                    <a:cxn ang="0">
                      <a:pos x="72" y="4"/>
                    </a:cxn>
                    <a:cxn ang="0">
                      <a:pos x="54" y="4"/>
                    </a:cxn>
                    <a:cxn ang="0">
                      <a:pos x="42" y="6"/>
                    </a:cxn>
                    <a:cxn ang="0">
                      <a:pos x="16" y="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2" h="30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10" y="4"/>
                      </a:lnTo>
                      <a:lnTo>
                        <a:pt x="12" y="8"/>
                      </a:lnTo>
                      <a:lnTo>
                        <a:pt x="14" y="16"/>
                      </a:lnTo>
                      <a:lnTo>
                        <a:pt x="14" y="26"/>
                      </a:lnTo>
                      <a:lnTo>
                        <a:pt x="14" y="40"/>
                      </a:lnTo>
                      <a:lnTo>
                        <a:pt x="14" y="40"/>
                      </a:lnTo>
                      <a:lnTo>
                        <a:pt x="10" y="74"/>
                      </a:lnTo>
                      <a:lnTo>
                        <a:pt x="8" y="108"/>
                      </a:lnTo>
                      <a:lnTo>
                        <a:pt x="4" y="162"/>
                      </a:lnTo>
                      <a:lnTo>
                        <a:pt x="4" y="162"/>
                      </a:lnTo>
                      <a:lnTo>
                        <a:pt x="2" y="182"/>
                      </a:lnTo>
                      <a:lnTo>
                        <a:pt x="0" y="202"/>
                      </a:lnTo>
                      <a:lnTo>
                        <a:pt x="0" y="240"/>
                      </a:lnTo>
                      <a:lnTo>
                        <a:pt x="0" y="240"/>
                      </a:lnTo>
                      <a:lnTo>
                        <a:pt x="2" y="258"/>
                      </a:lnTo>
                      <a:lnTo>
                        <a:pt x="6" y="278"/>
                      </a:lnTo>
                      <a:lnTo>
                        <a:pt x="8" y="286"/>
                      </a:lnTo>
                      <a:lnTo>
                        <a:pt x="12" y="292"/>
                      </a:lnTo>
                      <a:lnTo>
                        <a:pt x="16" y="298"/>
                      </a:lnTo>
                      <a:lnTo>
                        <a:pt x="20" y="298"/>
                      </a:lnTo>
                      <a:lnTo>
                        <a:pt x="20" y="298"/>
                      </a:lnTo>
                      <a:lnTo>
                        <a:pt x="36" y="296"/>
                      </a:lnTo>
                      <a:lnTo>
                        <a:pt x="56" y="292"/>
                      </a:lnTo>
                      <a:lnTo>
                        <a:pt x="66" y="292"/>
                      </a:lnTo>
                      <a:lnTo>
                        <a:pt x="74" y="292"/>
                      </a:lnTo>
                      <a:lnTo>
                        <a:pt x="80" y="294"/>
                      </a:lnTo>
                      <a:lnTo>
                        <a:pt x="84" y="298"/>
                      </a:lnTo>
                      <a:lnTo>
                        <a:pt x="84" y="298"/>
                      </a:lnTo>
                      <a:lnTo>
                        <a:pt x="86" y="300"/>
                      </a:lnTo>
                      <a:lnTo>
                        <a:pt x="84" y="300"/>
                      </a:lnTo>
                      <a:lnTo>
                        <a:pt x="74" y="290"/>
                      </a:lnTo>
                      <a:lnTo>
                        <a:pt x="70" y="282"/>
                      </a:lnTo>
                      <a:lnTo>
                        <a:pt x="66" y="274"/>
                      </a:lnTo>
                      <a:lnTo>
                        <a:pt x="64" y="264"/>
                      </a:lnTo>
                      <a:lnTo>
                        <a:pt x="66" y="256"/>
                      </a:lnTo>
                      <a:lnTo>
                        <a:pt x="66" y="256"/>
                      </a:lnTo>
                      <a:lnTo>
                        <a:pt x="72" y="242"/>
                      </a:lnTo>
                      <a:lnTo>
                        <a:pt x="74" y="230"/>
                      </a:lnTo>
                      <a:lnTo>
                        <a:pt x="76" y="220"/>
                      </a:lnTo>
                      <a:lnTo>
                        <a:pt x="78" y="214"/>
                      </a:lnTo>
                      <a:lnTo>
                        <a:pt x="78" y="214"/>
                      </a:lnTo>
                      <a:lnTo>
                        <a:pt x="88" y="192"/>
                      </a:lnTo>
                      <a:lnTo>
                        <a:pt x="100" y="162"/>
                      </a:lnTo>
                      <a:lnTo>
                        <a:pt x="100" y="162"/>
                      </a:lnTo>
                      <a:lnTo>
                        <a:pt x="116" y="130"/>
                      </a:lnTo>
                      <a:lnTo>
                        <a:pt x="130" y="102"/>
                      </a:lnTo>
                      <a:lnTo>
                        <a:pt x="130" y="102"/>
                      </a:lnTo>
                      <a:lnTo>
                        <a:pt x="132" y="94"/>
                      </a:lnTo>
                      <a:lnTo>
                        <a:pt x="130" y="84"/>
                      </a:lnTo>
                      <a:lnTo>
                        <a:pt x="124" y="76"/>
                      </a:lnTo>
                      <a:lnTo>
                        <a:pt x="118" y="70"/>
                      </a:lnTo>
                      <a:lnTo>
                        <a:pt x="118" y="70"/>
                      </a:lnTo>
                      <a:lnTo>
                        <a:pt x="112" y="68"/>
                      </a:lnTo>
                      <a:lnTo>
                        <a:pt x="106" y="66"/>
                      </a:lnTo>
                      <a:lnTo>
                        <a:pt x="102" y="62"/>
                      </a:lnTo>
                      <a:lnTo>
                        <a:pt x="102" y="56"/>
                      </a:lnTo>
                      <a:lnTo>
                        <a:pt x="102" y="56"/>
                      </a:lnTo>
                      <a:lnTo>
                        <a:pt x="100" y="44"/>
                      </a:lnTo>
                      <a:lnTo>
                        <a:pt x="98" y="32"/>
                      </a:lnTo>
                      <a:lnTo>
                        <a:pt x="96" y="22"/>
                      </a:lnTo>
                      <a:lnTo>
                        <a:pt x="92" y="16"/>
                      </a:lnTo>
                      <a:lnTo>
                        <a:pt x="92" y="16"/>
                      </a:lnTo>
                      <a:lnTo>
                        <a:pt x="88" y="12"/>
                      </a:lnTo>
                      <a:lnTo>
                        <a:pt x="82" y="6"/>
                      </a:lnTo>
                      <a:lnTo>
                        <a:pt x="78" y="4"/>
                      </a:lnTo>
                      <a:lnTo>
                        <a:pt x="72" y="4"/>
                      </a:lnTo>
                      <a:lnTo>
                        <a:pt x="64" y="4"/>
                      </a:lnTo>
                      <a:lnTo>
                        <a:pt x="54" y="4"/>
                      </a:lnTo>
                      <a:lnTo>
                        <a:pt x="54" y="4"/>
                      </a:lnTo>
                      <a:lnTo>
                        <a:pt x="42" y="6"/>
                      </a:lnTo>
                      <a:lnTo>
                        <a:pt x="32" y="6"/>
                      </a:lnTo>
                      <a:lnTo>
                        <a:pt x="16" y="4"/>
                      </a:lnTo>
                      <a:lnTo>
                        <a:pt x="4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8" name="Freeform 22">
                  <a:extLst>
                    <a:ext uri="{FF2B5EF4-FFF2-40B4-BE49-F238E27FC236}">
                      <a16:creationId xmlns:a16="http://schemas.microsoft.com/office/drawing/2014/main" id="{FE2B0DA2-94F4-4ADE-A34C-9AE50696B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86217" y="6233767"/>
                  <a:ext cx="106698" cy="147853"/>
                </a:xfrm>
                <a:custGeom>
                  <a:avLst/>
                  <a:gdLst/>
                  <a:ahLst/>
                  <a:cxnLst>
                    <a:cxn ang="0">
                      <a:pos x="140" y="194"/>
                    </a:cxn>
                    <a:cxn ang="0">
                      <a:pos x="140" y="194"/>
                    </a:cxn>
                    <a:cxn ang="0">
                      <a:pos x="138" y="188"/>
                    </a:cxn>
                    <a:cxn ang="0">
                      <a:pos x="138" y="188"/>
                    </a:cxn>
                    <a:cxn ang="0">
                      <a:pos x="124" y="144"/>
                    </a:cxn>
                    <a:cxn ang="0">
                      <a:pos x="112" y="108"/>
                    </a:cxn>
                    <a:cxn ang="0">
                      <a:pos x="94" y="44"/>
                    </a:cxn>
                    <a:cxn ang="0">
                      <a:pos x="88" y="24"/>
                    </a:cxn>
                    <a:cxn ang="0">
                      <a:pos x="60" y="0"/>
                    </a:cxn>
                    <a:cxn ang="0">
                      <a:pos x="60" y="0"/>
                    </a:cxn>
                    <a:cxn ang="0">
                      <a:pos x="36" y="0"/>
                    </a:cxn>
                    <a:cxn ang="0">
                      <a:pos x="16" y="2"/>
                    </a:cxn>
                    <a:cxn ang="0">
                      <a:pos x="10" y="4"/>
                    </a:cxn>
                    <a:cxn ang="0">
                      <a:pos x="4" y="6"/>
                    </a:cxn>
                    <a:cxn ang="0">
                      <a:pos x="4" y="6"/>
                    </a:cxn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2" y="14"/>
                    </a:cxn>
                    <a:cxn ang="0">
                      <a:pos x="4" y="34"/>
                    </a:cxn>
                    <a:cxn ang="0">
                      <a:pos x="4" y="34"/>
                    </a:cxn>
                    <a:cxn ang="0">
                      <a:pos x="4" y="54"/>
                    </a:cxn>
                    <a:cxn ang="0">
                      <a:pos x="2" y="66"/>
                    </a:cxn>
                    <a:cxn ang="0">
                      <a:pos x="4" y="84"/>
                    </a:cxn>
                    <a:cxn ang="0">
                      <a:pos x="12" y="124"/>
                    </a:cxn>
                    <a:cxn ang="0">
                      <a:pos x="12" y="124"/>
                    </a:cxn>
                    <a:cxn ang="0">
                      <a:pos x="14" y="142"/>
                    </a:cxn>
                    <a:cxn ang="0">
                      <a:pos x="16" y="160"/>
                    </a:cxn>
                    <a:cxn ang="0">
                      <a:pos x="18" y="194"/>
                    </a:cxn>
                    <a:cxn ang="0">
                      <a:pos x="140" y="194"/>
                    </a:cxn>
                  </a:cxnLst>
                  <a:rect l="0" t="0" r="r" b="b"/>
                  <a:pathLst>
                    <a:path w="140" h="194">
                      <a:moveTo>
                        <a:pt x="140" y="194"/>
                      </a:moveTo>
                      <a:lnTo>
                        <a:pt x="140" y="194"/>
                      </a:lnTo>
                      <a:lnTo>
                        <a:pt x="138" y="188"/>
                      </a:lnTo>
                      <a:lnTo>
                        <a:pt x="138" y="188"/>
                      </a:lnTo>
                      <a:lnTo>
                        <a:pt x="124" y="144"/>
                      </a:lnTo>
                      <a:lnTo>
                        <a:pt x="112" y="108"/>
                      </a:lnTo>
                      <a:lnTo>
                        <a:pt x="94" y="44"/>
                      </a:lnTo>
                      <a:lnTo>
                        <a:pt x="88" y="24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3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1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54"/>
                      </a:lnTo>
                      <a:lnTo>
                        <a:pt x="2" y="66"/>
                      </a:lnTo>
                      <a:lnTo>
                        <a:pt x="4" y="84"/>
                      </a:lnTo>
                      <a:lnTo>
                        <a:pt x="12" y="124"/>
                      </a:lnTo>
                      <a:lnTo>
                        <a:pt x="12" y="124"/>
                      </a:lnTo>
                      <a:lnTo>
                        <a:pt x="14" y="142"/>
                      </a:lnTo>
                      <a:lnTo>
                        <a:pt x="16" y="160"/>
                      </a:lnTo>
                      <a:lnTo>
                        <a:pt x="18" y="194"/>
                      </a:lnTo>
                      <a:lnTo>
                        <a:pt x="140" y="19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09" name="Freeform 23">
                  <a:extLst>
                    <a:ext uri="{FF2B5EF4-FFF2-40B4-BE49-F238E27FC236}">
                      <a16:creationId xmlns:a16="http://schemas.microsoft.com/office/drawing/2014/main" id="{C945BFD1-F4B6-423A-884E-4240D3F81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86217" y="6233767"/>
                  <a:ext cx="106698" cy="147853"/>
                </a:xfrm>
                <a:custGeom>
                  <a:avLst/>
                  <a:gdLst/>
                  <a:ahLst/>
                  <a:cxnLst>
                    <a:cxn ang="0">
                      <a:pos x="140" y="194"/>
                    </a:cxn>
                    <a:cxn ang="0">
                      <a:pos x="140" y="194"/>
                    </a:cxn>
                    <a:cxn ang="0">
                      <a:pos x="138" y="188"/>
                    </a:cxn>
                    <a:cxn ang="0">
                      <a:pos x="138" y="188"/>
                    </a:cxn>
                    <a:cxn ang="0">
                      <a:pos x="124" y="144"/>
                    </a:cxn>
                    <a:cxn ang="0">
                      <a:pos x="112" y="108"/>
                    </a:cxn>
                    <a:cxn ang="0">
                      <a:pos x="94" y="44"/>
                    </a:cxn>
                    <a:cxn ang="0">
                      <a:pos x="88" y="24"/>
                    </a:cxn>
                    <a:cxn ang="0">
                      <a:pos x="60" y="0"/>
                    </a:cxn>
                    <a:cxn ang="0">
                      <a:pos x="60" y="0"/>
                    </a:cxn>
                    <a:cxn ang="0">
                      <a:pos x="36" y="0"/>
                    </a:cxn>
                    <a:cxn ang="0">
                      <a:pos x="16" y="2"/>
                    </a:cxn>
                    <a:cxn ang="0">
                      <a:pos x="10" y="4"/>
                    </a:cxn>
                    <a:cxn ang="0">
                      <a:pos x="4" y="6"/>
                    </a:cxn>
                    <a:cxn ang="0">
                      <a:pos x="4" y="6"/>
                    </a:cxn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2" y="14"/>
                    </a:cxn>
                    <a:cxn ang="0">
                      <a:pos x="4" y="34"/>
                    </a:cxn>
                    <a:cxn ang="0">
                      <a:pos x="4" y="34"/>
                    </a:cxn>
                    <a:cxn ang="0">
                      <a:pos x="4" y="54"/>
                    </a:cxn>
                    <a:cxn ang="0">
                      <a:pos x="2" y="66"/>
                    </a:cxn>
                    <a:cxn ang="0">
                      <a:pos x="4" y="84"/>
                    </a:cxn>
                    <a:cxn ang="0">
                      <a:pos x="12" y="124"/>
                    </a:cxn>
                    <a:cxn ang="0">
                      <a:pos x="12" y="124"/>
                    </a:cxn>
                    <a:cxn ang="0">
                      <a:pos x="14" y="142"/>
                    </a:cxn>
                    <a:cxn ang="0">
                      <a:pos x="16" y="160"/>
                    </a:cxn>
                    <a:cxn ang="0">
                      <a:pos x="18" y="194"/>
                    </a:cxn>
                  </a:cxnLst>
                  <a:rect l="0" t="0" r="r" b="b"/>
                  <a:pathLst>
                    <a:path w="140" h="194">
                      <a:moveTo>
                        <a:pt x="140" y="194"/>
                      </a:moveTo>
                      <a:lnTo>
                        <a:pt x="140" y="194"/>
                      </a:lnTo>
                      <a:lnTo>
                        <a:pt x="138" y="188"/>
                      </a:lnTo>
                      <a:lnTo>
                        <a:pt x="138" y="188"/>
                      </a:lnTo>
                      <a:lnTo>
                        <a:pt x="124" y="144"/>
                      </a:lnTo>
                      <a:lnTo>
                        <a:pt x="112" y="108"/>
                      </a:lnTo>
                      <a:lnTo>
                        <a:pt x="94" y="44"/>
                      </a:lnTo>
                      <a:lnTo>
                        <a:pt x="88" y="24"/>
                      </a:lnTo>
                      <a:lnTo>
                        <a:pt x="60" y="0"/>
                      </a:lnTo>
                      <a:lnTo>
                        <a:pt x="60" y="0"/>
                      </a:lnTo>
                      <a:lnTo>
                        <a:pt x="36" y="0"/>
                      </a:lnTo>
                      <a:lnTo>
                        <a:pt x="16" y="2"/>
                      </a:lnTo>
                      <a:lnTo>
                        <a:pt x="10" y="4"/>
                      </a:lnTo>
                      <a:lnTo>
                        <a:pt x="4" y="6"/>
                      </a:lnTo>
                      <a:lnTo>
                        <a:pt x="4" y="6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2" y="14"/>
                      </a:lnTo>
                      <a:lnTo>
                        <a:pt x="4" y="34"/>
                      </a:lnTo>
                      <a:lnTo>
                        <a:pt x="4" y="34"/>
                      </a:lnTo>
                      <a:lnTo>
                        <a:pt x="4" y="54"/>
                      </a:lnTo>
                      <a:lnTo>
                        <a:pt x="2" y="66"/>
                      </a:lnTo>
                      <a:lnTo>
                        <a:pt x="4" y="84"/>
                      </a:lnTo>
                      <a:lnTo>
                        <a:pt x="12" y="124"/>
                      </a:lnTo>
                      <a:lnTo>
                        <a:pt x="12" y="124"/>
                      </a:lnTo>
                      <a:lnTo>
                        <a:pt x="14" y="142"/>
                      </a:lnTo>
                      <a:lnTo>
                        <a:pt x="16" y="160"/>
                      </a:lnTo>
                      <a:lnTo>
                        <a:pt x="18" y="194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0" name="Freeform 24">
                  <a:extLst>
                    <a:ext uri="{FF2B5EF4-FFF2-40B4-BE49-F238E27FC236}">
                      <a16:creationId xmlns:a16="http://schemas.microsoft.com/office/drawing/2014/main" id="{82400411-8AAC-4B3C-A0AF-529A25CDA5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0099" y="5470111"/>
                  <a:ext cx="356677" cy="911509"/>
                </a:xfrm>
                <a:custGeom>
                  <a:avLst/>
                  <a:gdLst/>
                  <a:ahLst/>
                  <a:cxnLst>
                    <a:cxn ang="0">
                      <a:pos x="468" y="914"/>
                    </a:cxn>
                    <a:cxn ang="0">
                      <a:pos x="436" y="910"/>
                    </a:cxn>
                    <a:cxn ang="0">
                      <a:pos x="394" y="910"/>
                    </a:cxn>
                    <a:cxn ang="0">
                      <a:pos x="338" y="914"/>
                    </a:cxn>
                    <a:cxn ang="0">
                      <a:pos x="264" y="928"/>
                    </a:cxn>
                    <a:cxn ang="0">
                      <a:pos x="224" y="942"/>
                    </a:cxn>
                    <a:cxn ang="0">
                      <a:pos x="210" y="974"/>
                    </a:cxn>
                    <a:cxn ang="0">
                      <a:pos x="200" y="988"/>
                    </a:cxn>
                    <a:cxn ang="0">
                      <a:pos x="134" y="1036"/>
                    </a:cxn>
                    <a:cxn ang="0">
                      <a:pos x="20" y="1116"/>
                    </a:cxn>
                    <a:cxn ang="0">
                      <a:pos x="16" y="1114"/>
                    </a:cxn>
                    <a:cxn ang="0">
                      <a:pos x="4" y="1112"/>
                    </a:cxn>
                    <a:cxn ang="0">
                      <a:pos x="0" y="1116"/>
                    </a:cxn>
                    <a:cxn ang="0">
                      <a:pos x="0" y="1120"/>
                    </a:cxn>
                    <a:cxn ang="0">
                      <a:pos x="10" y="1144"/>
                    </a:cxn>
                    <a:cxn ang="0">
                      <a:pos x="26" y="1162"/>
                    </a:cxn>
                    <a:cxn ang="0">
                      <a:pos x="30" y="1164"/>
                    </a:cxn>
                    <a:cxn ang="0">
                      <a:pos x="56" y="1166"/>
                    </a:cxn>
                    <a:cxn ang="0">
                      <a:pos x="86" y="1170"/>
                    </a:cxn>
                    <a:cxn ang="0">
                      <a:pos x="94" y="1172"/>
                    </a:cxn>
                    <a:cxn ang="0">
                      <a:pos x="128" y="1196"/>
                    </a:cxn>
                    <a:cxn ang="0">
                      <a:pos x="468" y="910"/>
                    </a:cxn>
                    <a:cxn ang="0">
                      <a:pos x="436" y="910"/>
                    </a:cxn>
                    <a:cxn ang="0">
                      <a:pos x="354" y="912"/>
                    </a:cxn>
                    <a:cxn ang="0">
                      <a:pos x="290" y="924"/>
                    </a:cxn>
                    <a:cxn ang="0">
                      <a:pos x="224" y="942"/>
                    </a:cxn>
                    <a:cxn ang="0">
                      <a:pos x="186" y="902"/>
                    </a:cxn>
                    <a:cxn ang="0">
                      <a:pos x="142" y="850"/>
                    </a:cxn>
                    <a:cxn ang="0">
                      <a:pos x="132" y="836"/>
                    </a:cxn>
                    <a:cxn ang="0">
                      <a:pos x="108" y="802"/>
                    </a:cxn>
                    <a:cxn ang="0">
                      <a:pos x="100" y="784"/>
                    </a:cxn>
                    <a:cxn ang="0">
                      <a:pos x="104" y="766"/>
                    </a:cxn>
                    <a:cxn ang="0">
                      <a:pos x="114" y="758"/>
                    </a:cxn>
                    <a:cxn ang="0">
                      <a:pos x="186" y="670"/>
                    </a:cxn>
                    <a:cxn ang="0">
                      <a:pos x="240" y="592"/>
                    </a:cxn>
                    <a:cxn ang="0">
                      <a:pos x="248" y="574"/>
                    </a:cxn>
                    <a:cxn ang="0">
                      <a:pos x="264" y="518"/>
                    </a:cxn>
                    <a:cxn ang="0">
                      <a:pos x="268" y="488"/>
                    </a:cxn>
                    <a:cxn ang="0">
                      <a:pos x="266" y="482"/>
                    </a:cxn>
                    <a:cxn ang="0">
                      <a:pos x="230" y="354"/>
                    </a:cxn>
                    <a:cxn ang="0">
                      <a:pos x="218" y="324"/>
                    </a:cxn>
                    <a:cxn ang="0">
                      <a:pos x="210" y="316"/>
                    </a:cxn>
                    <a:cxn ang="0">
                      <a:pos x="184" y="298"/>
                    </a:cxn>
                    <a:cxn ang="0">
                      <a:pos x="170" y="282"/>
                    </a:cxn>
                    <a:cxn ang="0">
                      <a:pos x="168" y="264"/>
                    </a:cxn>
                    <a:cxn ang="0">
                      <a:pos x="170" y="254"/>
                    </a:cxn>
                    <a:cxn ang="0">
                      <a:pos x="190" y="216"/>
                    </a:cxn>
                    <a:cxn ang="0">
                      <a:pos x="220" y="162"/>
                    </a:cxn>
                    <a:cxn ang="0">
                      <a:pos x="246" y="102"/>
                    </a:cxn>
                    <a:cxn ang="0">
                      <a:pos x="292" y="40"/>
                    </a:cxn>
                    <a:cxn ang="0">
                      <a:pos x="312" y="36"/>
                    </a:cxn>
                    <a:cxn ang="0">
                      <a:pos x="342" y="28"/>
                    </a:cxn>
                    <a:cxn ang="0">
                      <a:pos x="386" y="12"/>
                    </a:cxn>
                    <a:cxn ang="0">
                      <a:pos x="402" y="8"/>
                    </a:cxn>
                    <a:cxn ang="0">
                      <a:pos x="428" y="0"/>
                    </a:cxn>
                    <a:cxn ang="0">
                      <a:pos x="440" y="0"/>
                    </a:cxn>
                    <a:cxn ang="0">
                      <a:pos x="468" y="0"/>
                    </a:cxn>
                  </a:cxnLst>
                  <a:rect l="0" t="0" r="r" b="b"/>
                  <a:pathLst>
                    <a:path w="468" h="1196">
                      <a:moveTo>
                        <a:pt x="468" y="914"/>
                      </a:moveTo>
                      <a:lnTo>
                        <a:pt x="468" y="914"/>
                      </a:lnTo>
                      <a:lnTo>
                        <a:pt x="436" y="910"/>
                      </a:lnTo>
                      <a:lnTo>
                        <a:pt x="436" y="910"/>
                      </a:lnTo>
                      <a:lnTo>
                        <a:pt x="414" y="910"/>
                      </a:lnTo>
                      <a:lnTo>
                        <a:pt x="394" y="910"/>
                      </a:lnTo>
                      <a:lnTo>
                        <a:pt x="368" y="910"/>
                      </a:lnTo>
                      <a:lnTo>
                        <a:pt x="338" y="914"/>
                      </a:lnTo>
                      <a:lnTo>
                        <a:pt x="304" y="920"/>
                      </a:lnTo>
                      <a:lnTo>
                        <a:pt x="264" y="928"/>
                      </a:lnTo>
                      <a:lnTo>
                        <a:pt x="224" y="942"/>
                      </a:lnTo>
                      <a:lnTo>
                        <a:pt x="224" y="942"/>
                      </a:lnTo>
                      <a:lnTo>
                        <a:pt x="218" y="960"/>
                      </a:lnTo>
                      <a:lnTo>
                        <a:pt x="210" y="974"/>
                      </a:lnTo>
                      <a:lnTo>
                        <a:pt x="206" y="982"/>
                      </a:lnTo>
                      <a:lnTo>
                        <a:pt x="200" y="988"/>
                      </a:lnTo>
                      <a:lnTo>
                        <a:pt x="200" y="988"/>
                      </a:lnTo>
                      <a:lnTo>
                        <a:pt x="134" y="1036"/>
                      </a:lnTo>
                      <a:lnTo>
                        <a:pt x="80" y="1076"/>
                      </a:lnTo>
                      <a:lnTo>
                        <a:pt x="20" y="1116"/>
                      </a:lnTo>
                      <a:lnTo>
                        <a:pt x="20" y="1116"/>
                      </a:lnTo>
                      <a:lnTo>
                        <a:pt x="16" y="1114"/>
                      </a:lnTo>
                      <a:lnTo>
                        <a:pt x="8" y="1112"/>
                      </a:lnTo>
                      <a:lnTo>
                        <a:pt x="4" y="1112"/>
                      </a:lnTo>
                      <a:lnTo>
                        <a:pt x="2" y="1112"/>
                      </a:lnTo>
                      <a:lnTo>
                        <a:pt x="0" y="1116"/>
                      </a:lnTo>
                      <a:lnTo>
                        <a:pt x="0" y="1120"/>
                      </a:lnTo>
                      <a:lnTo>
                        <a:pt x="0" y="1120"/>
                      </a:lnTo>
                      <a:lnTo>
                        <a:pt x="4" y="1132"/>
                      </a:lnTo>
                      <a:lnTo>
                        <a:pt x="10" y="1144"/>
                      </a:lnTo>
                      <a:lnTo>
                        <a:pt x="16" y="1154"/>
                      </a:lnTo>
                      <a:lnTo>
                        <a:pt x="26" y="1162"/>
                      </a:lnTo>
                      <a:lnTo>
                        <a:pt x="26" y="1162"/>
                      </a:lnTo>
                      <a:lnTo>
                        <a:pt x="30" y="1164"/>
                      </a:lnTo>
                      <a:lnTo>
                        <a:pt x="38" y="1166"/>
                      </a:lnTo>
                      <a:lnTo>
                        <a:pt x="56" y="1166"/>
                      </a:lnTo>
                      <a:lnTo>
                        <a:pt x="76" y="1168"/>
                      </a:lnTo>
                      <a:lnTo>
                        <a:pt x="86" y="1170"/>
                      </a:lnTo>
                      <a:lnTo>
                        <a:pt x="94" y="1172"/>
                      </a:lnTo>
                      <a:lnTo>
                        <a:pt x="94" y="1172"/>
                      </a:lnTo>
                      <a:lnTo>
                        <a:pt x="110" y="1182"/>
                      </a:lnTo>
                      <a:lnTo>
                        <a:pt x="128" y="1196"/>
                      </a:lnTo>
                      <a:lnTo>
                        <a:pt x="468" y="1196"/>
                      </a:lnTo>
                      <a:lnTo>
                        <a:pt x="468" y="910"/>
                      </a:lnTo>
                      <a:lnTo>
                        <a:pt x="468" y="910"/>
                      </a:lnTo>
                      <a:lnTo>
                        <a:pt x="436" y="910"/>
                      </a:lnTo>
                      <a:lnTo>
                        <a:pt x="436" y="910"/>
                      </a:lnTo>
                      <a:lnTo>
                        <a:pt x="354" y="912"/>
                      </a:lnTo>
                      <a:lnTo>
                        <a:pt x="324" y="916"/>
                      </a:lnTo>
                      <a:lnTo>
                        <a:pt x="290" y="924"/>
                      </a:lnTo>
                      <a:lnTo>
                        <a:pt x="290" y="924"/>
                      </a:lnTo>
                      <a:lnTo>
                        <a:pt x="224" y="942"/>
                      </a:lnTo>
                      <a:lnTo>
                        <a:pt x="224" y="942"/>
                      </a:lnTo>
                      <a:lnTo>
                        <a:pt x="186" y="902"/>
                      </a:lnTo>
                      <a:lnTo>
                        <a:pt x="154" y="868"/>
                      </a:lnTo>
                      <a:lnTo>
                        <a:pt x="142" y="850"/>
                      </a:lnTo>
                      <a:lnTo>
                        <a:pt x="132" y="836"/>
                      </a:lnTo>
                      <a:lnTo>
                        <a:pt x="132" y="836"/>
                      </a:lnTo>
                      <a:lnTo>
                        <a:pt x="114" y="812"/>
                      </a:lnTo>
                      <a:lnTo>
                        <a:pt x="108" y="802"/>
                      </a:lnTo>
                      <a:lnTo>
                        <a:pt x="104" y="792"/>
                      </a:lnTo>
                      <a:lnTo>
                        <a:pt x="100" y="784"/>
                      </a:lnTo>
                      <a:lnTo>
                        <a:pt x="100" y="776"/>
                      </a:lnTo>
                      <a:lnTo>
                        <a:pt x="104" y="766"/>
                      </a:lnTo>
                      <a:lnTo>
                        <a:pt x="114" y="758"/>
                      </a:lnTo>
                      <a:lnTo>
                        <a:pt x="114" y="758"/>
                      </a:lnTo>
                      <a:lnTo>
                        <a:pt x="144" y="722"/>
                      </a:lnTo>
                      <a:lnTo>
                        <a:pt x="186" y="670"/>
                      </a:lnTo>
                      <a:lnTo>
                        <a:pt x="224" y="616"/>
                      </a:lnTo>
                      <a:lnTo>
                        <a:pt x="240" y="592"/>
                      </a:lnTo>
                      <a:lnTo>
                        <a:pt x="248" y="574"/>
                      </a:lnTo>
                      <a:lnTo>
                        <a:pt x="248" y="574"/>
                      </a:lnTo>
                      <a:lnTo>
                        <a:pt x="258" y="546"/>
                      </a:lnTo>
                      <a:lnTo>
                        <a:pt x="264" y="518"/>
                      </a:lnTo>
                      <a:lnTo>
                        <a:pt x="268" y="496"/>
                      </a:lnTo>
                      <a:lnTo>
                        <a:pt x="268" y="488"/>
                      </a:lnTo>
                      <a:lnTo>
                        <a:pt x="266" y="482"/>
                      </a:lnTo>
                      <a:lnTo>
                        <a:pt x="266" y="482"/>
                      </a:lnTo>
                      <a:lnTo>
                        <a:pt x="246" y="406"/>
                      </a:lnTo>
                      <a:lnTo>
                        <a:pt x="230" y="354"/>
                      </a:lnTo>
                      <a:lnTo>
                        <a:pt x="224" y="336"/>
                      </a:lnTo>
                      <a:lnTo>
                        <a:pt x="218" y="324"/>
                      </a:lnTo>
                      <a:lnTo>
                        <a:pt x="218" y="324"/>
                      </a:lnTo>
                      <a:lnTo>
                        <a:pt x="210" y="316"/>
                      </a:lnTo>
                      <a:lnTo>
                        <a:pt x="202" y="310"/>
                      </a:lnTo>
                      <a:lnTo>
                        <a:pt x="184" y="298"/>
                      </a:lnTo>
                      <a:lnTo>
                        <a:pt x="176" y="290"/>
                      </a:lnTo>
                      <a:lnTo>
                        <a:pt x="170" y="282"/>
                      </a:lnTo>
                      <a:lnTo>
                        <a:pt x="166" y="274"/>
                      </a:lnTo>
                      <a:lnTo>
                        <a:pt x="168" y="264"/>
                      </a:lnTo>
                      <a:lnTo>
                        <a:pt x="168" y="264"/>
                      </a:lnTo>
                      <a:lnTo>
                        <a:pt x="170" y="254"/>
                      </a:lnTo>
                      <a:lnTo>
                        <a:pt x="176" y="242"/>
                      </a:lnTo>
                      <a:lnTo>
                        <a:pt x="190" y="216"/>
                      </a:lnTo>
                      <a:lnTo>
                        <a:pt x="206" y="190"/>
                      </a:lnTo>
                      <a:lnTo>
                        <a:pt x="220" y="162"/>
                      </a:lnTo>
                      <a:lnTo>
                        <a:pt x="220" y="162"/>
                      </a:lnTo>
                      <a:lnTo>
                        <a:pt x="246" y="102"/>
                      </a:lnTo>
                      <a:lnTo>
                        <a:pt x="258" y="70"/>
                      </a:lnTo>
                      <a:lnTo>
                        <a:pt x="292" y="40"/>
                      </a:lnTo>
                      <a:lnTo>
                        <a:pt x="292" y="40"/>
                      </a:lnTo>
                      <a:lnTo>
                        <a:pt x="312" y="36"/>
                      </a:lnTo>
                      <a:lnTo>
                        <a:pt x="342" y="28"/>
                      </a:lnTo>
                      <a:lnTo>
                        <a:pt x="342" y="28"/>
                      </a:lnTo>
                      <a:lnTo>
                        <a:pt x="360" y="20"/>
                      </a:lnTo>
                      <a:lnTo>
                        <a:pt x="386" y="12"/>
                      </a:lnTo>
                      <a:lnTo>
                        <a:pt x="386" y="12"/>
                      </a:lnTo>
                      <a:lnTo>
                        <a:pt x="402" y="8"/>
                      </a:lnTo>
                      <a:lnTo>
                        <a:pt x="414" y="4"/>
                      </a:lnTo>
                      <a:lnTo>
                        <a:pt x="428" y="0"/>
                      </a:lnTo>
                      <a:lnTo>
                        <a:pt x="440" y="0"/>
                      </a:lnTo>
                      <a:lnTo>
                        <a:pt x="440" y="0"/>
                      </a:lnTo>
                      <a:lnTo>
                        <a:pt x="454" y="2"/>
                      </a:lnTo>
                      <a:lnTo>
                        <a:pt x="468" y="0"/>
                      </a:lnTo>
                      <a:lnTo>
                        <a:pt x="468" y="91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1" name="Freeform 25">
                  <a:extLst>
                    <a:ext uri="{FF2B5EF4-FFF2-40B4-BE49-F238E27FC236}">
                      <a16:creationId xmlns:a16="http://schemas.microsoft.com/office/drawing/2014/main" id="{63ADE17C-8832-4F34-AD9A-0FEB6E0FC5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0099" y="5470111"/>
                  <a:ext cx="356677" cy="911509"/>
                </a:xfrm>
                <a:custGeom>
                  <a:avLst/>
                  <a:gdLst/>
                  <a:ahLst/>
                  <a:cxnLst>
                    <a:cxn ang="0">
                      <a:pos x="468" y="914"/>
                    </a:cxn>
                    <a:cxn ang="0">
                      <a:pos x="436" y="910"/>
                    </a:cxn>
                    <a:cxn ang="0">
                      <a:pos x="394" y="910"/>
                    </a:cxn>
                    <a:cxn ang="0">
                      <a:pos x="338" y="914"/>
                    </a:cxn>
                    <a:cxn ang="0">
                      <a:pos x="264" y="928"/>
                    </a:cxn>
                    <a:cxn ang="0">
                      <a:pos x="224" y="942"/>
                    </a:cxn>
                    <a:cxn ang="0">
                      <a:pos x="210" y="974"/>
                    </a:cxn>
                    <a:cxn ang="0">
                      <a:pos x="200" y="988"/>
                    </a:cxn>
                    <a:cxn ang="0">
                      <a:pos x="134" y="1036"/>
                    </a:cxn>
                    <a:cxn ang="0">
                      <a:pos x="20" y="1116"/>
                    </a:cxn>
                    <a:cxn ang="0">
                      <a:pos x="16" y="1114"/>
                    </a:cxn>
                    <a:cxn ang="0">
                      <a:pos x="4" y="1112"/>
                    </a:cxn>
                    <a:cxn ang="0">
                      <a:pos x="0" y="1116"/>
                    </a:cxn>
                    <a:cxn ang="0">
                      <a:pos x="0" y="1120"/>
                    </a:cxn>
                    <a:cxn ang="0">
                      <a:pos x="10" y="1144"/>
                    </a:cxn>
                    <a:cxn ang="0">
                      <a:pos x="26" y="1162"/>
                    </a:cxn>
                    <a:cxn ang="0">
                      <a:pos x="30" y="1164"/>
                    </a:cxn>
                    <a:cxn ang="0">
                      <a:pos x="56" y="1166"/>
                    </a:cxn>
                    <a:cxn ang="0">
                      <a:pos x="86" y="1170"/>
                    </a:cxn>
                    <a:cxn ang="0">
                      <a:pos x="94" y="1172"/>
                    </a:cxn>
                    <a:cxn ang="0">
                      <a:pos x="128" y="1196"/>
                    </a:cxn>
                    <a:cxn ang="0">
                      <a:pos x="468" y="910"/>
                    </a:cxn>
                    <a:cxn ang="0">
                      <a:pos x="436" y="910"/>
                    </a:cxn>
                    <a:cxn ang="0">
                      <a:pos x="354" y="912"/>
                    </a:cxn>
                    <a:cxn ang="0">
                      <a:pos x="290" y="924"/>
                    </a:cxn>
                    <a:cxn ang="0">
                      <a:pos x="224" y="942"/>
                    </a:cxn>
                    <a:cxn ang="0">
                      <a:pos x="186" y="902"/>
                    </a:cxn>
                    <a:cxn ang="0">
                      <a:pos x="142" y="850"/>
                    </a:cxn>
                    <a:cxn ang="0">
                      <a:pos x="132" y="836"/>
                    </a:cxn>
                    <a:cxn ang="0">
                      <a:pos x="108" y="802"/>
                    </a:cxn>
                    <a:cxn ang="0">
                      <a:pos x="100" y="784"/>
                    </a:cxn>
                    <a:cxn ang="0">
                      <a:pos x="104" y="766"/>
                    </a:cxn>
                    <a:cxn ang="0">
                      <a:pos x="114" y="758"/>
                    </a:cxn>
                    <a:cxn ang="0">
                      <a:pos x="186" y="670"/>
                    </a:cxn>
                    <a:cxn ang="0">
                      <a:pos x="240" y="592"/>
                    </a:cxn>
                    <a:cxn ang="0">
                      <a:pos x="248" y="574"/>
                    </a:cxn>
                    <a:cxn ang="0">
                      <a:pos x="264" y="518"/>
                    </a:cxn>
                    <a:cxn ang="0">
                      <a:pos x="268" y="488"/>
                    </a:cxn>
                    <a:cxn ang="0">
                      <a:pos x="266" y="482"/>
                    </a:cxn>
                    <a:cxn ang="0">
                      <a:pos x="230" y="354"/>
                    </a:cxn>
                    <a:cxn ang="0">
                      <a:pos x="218" y="324"/>
                    </a:cxn>
                    <a:cxn ang="0">
                      <a:pos x="210" y="316"/>
                    </a:cxn>
                    <a:cxn ang="0">
                      <a:pos x="184" y="298"/>
                    </a:cxn>
                    <a:cxn ang="0">
                      <a:pos x="170" y="282"/>
                    </a:cxn>
                    <a:cxn ang="0">
                      <a:pos x="168" y="264"/>
                    </a:cxn>
                    <a:cxn ang="0">
                      <a:pos x="170" y="254"/>
                    </a:cxn>
                    <a:cxn ang="0">
                      <a:pos x="190" y="216"/>
                    </a:cxn>
                    <a:cxn ang="0">
                      <a:pos x="220" y="162"/>
                    </a:cxn>
                    <a:cxn ang="0">
                      <a:pos x="246" y="102"/>
                    </a:cxn>
                    <a:cxn ang="0">
                      <a:pos x="292" y="40"/>
                    </a:cxn>
                    <a:cxn ang="0">
                      <a:pos x="312" y="36"/>
                    </a:cxn>
                    <a:cxn ang="0">
                      <a:pos x="342" y="28"/>
                    </a:cxn>
                    <a:cxn ang="0">
                      <a:pos x="386" y="12"/>
                    </a:cxn>
                    <a:cxn ang="0">
                      <a:pos x="402" y="8"/>
                    </a:cxn>
                    <a:cxn ang="0">
                      <a:pos x="428" y="0"/>
                    </a:cxn>
                    <a:cxn ang="0">
                      <a:pos x="440" y="0"/>
                    </a:cxn>
                    <a:cxn ang="0">
                      <a:pos x="468" y="0"/>
                    </a:cxn>
                  </a:cxnLst>
                  <a:rect l="0" t="0" r="r" b="b"/>
                  <a:pathLst>
                    <a:path w="468" h="1196">
                      <a:moveTo>
                        <a:pt x="468" y="914"/>
                      </a:moveTo>
                      <a:lnTo>
                        <a:pt x="468" y="914"/>
                      </a:lnTo>
                      <a:lnTo>
                        <a:pt x="436" y="910"/>
                      </a:lnTo>
                      <a:lnTo>
                        <a:pt x="436" y="910"/>
                      </a:lnTo>
                      <a:lnTo>
                        <a:pt x="414" y="910"/>
                      </a:lnTo>
                      <a:lnTo>
                        <a:pt x="394" y="910"/>
                      </a:lnTo>
                      <a:lnTo>
                        <a:pt x="368" y="910"/>
                      </a:lnTo>
                      <a:lnTo>
                        <a:pt x="338" y="914"/>
                      </a:lnTo>
                      <a:lnTo>
                        <a:pt x="304" y="920"/>
                      </a:lnTo>
                      <a:lnTo>
                        <a:pt x="264" y="928"/>
                      </a:lnTo>
                      <a:lnTo>
                        <a:pt x="224" y="942"/>
                      </a:lnTo>
                      <a:lnTo>
                        <a:pt x="224" y="942"/>
                      </a:lnTo>
                      <a:lnTo>
                        <a:pt x="218" y="960"/>
                      </a:lnTo>
                      <a:lnTo>
                        <a:pt x="210" y="974"/>
                      </a:lnTo>
                      <a:lnTo>
                        <a:pt x="206" y="982"/>
                      </a:lnTo>
                      <a:lnTo>
                        <a:pt x="200" y="988"/>
                      </a:lnTo>
                      <a:lnTo>
                        <a:pt x="200" y="988"/>
                      </a:lnTo>
                      <a:lnTo>
                        <a:pt x="134" y="1036"/>
                      </a:lnTo>
                      <a:lnTo>
                        <a:pt x="80" y="1076"/>
                      </a:lnTo>
                      <a:lnTo>
                        <a:pt x="20" y="1116"/>
                      </a:lnTo>
                      <a:lnTo>
                        <a:pt x="20" y="1116"/>
                      </a:lnTo>
                      <a:lnTo>
                        <a:pt x="16" y="1114"/>
                      </a:lnTo>
                      <a:lnTo>
                        <a:pt x="8" y="1112"/>
                      </a:lnTo>
                      <a:lnTo>
                        <a:pt x="4" y="1112"/>
                      </a:lnTo>
                      <a:lnTo>
                        <a:pt x="2" y="1112"/>
                      </a:lnTo>
                      <a:lnTo>
                        <a:pt x="0" y="1116"/>
                      </a:lnTo>
                      <a:lnTo>
                        <a:pt x="0" y="1120"/>
                      </a:lnTo>
                      <a:lnTo>
                        <a:pt x="0" y="1120"/>
                      </a:lnTo>
                      <a:lnTo>
                        <a:pt x="4" y="1132"/>
                      </a:lnTo>
                      <a:lnTo>
                        <a:pt x="10" y="1144"/>
                      </a:lnTo>
                      <a:lnTo>
                        <a:pt x="16" y="1154"/>
                      </a:lnTo>
                      <a:lnTo>
                        <a:pt x="26" y="1162"/>
                      </a:lnTo>
                      <a:lnTo>
                        <a:pt x="26" y="1162"/>
                      </a:lnTo>
                      <a:lnTo>
                        <a:pt x="30" y="1164"/>
                      </a:lnTo>
                      <a:lnTo>
                        <a:pt x="38" y="1166"/>
                      </a:lnTo>
                      <a:lnTo>
                        <a:pt x="56" y="1166"/>
                      </a:lnTo>
                      <a:lnTo>
                        <a:pt x="76" y="1168"/>
                      </a:lnTo>
                      <a:lnTo>
                        <a:pt x="86" y="1170"/>
                      </a:lnTo>
                      <a:lnTo>
                        <a:pt x="94" y="1172"/>
                      </a:lnTo>
                      <a:lnTo>
                        <a:pt x="94" y="1172"/>
                      </a:lnTo>
                      <a:lnTo>
                        <a:pt x="110" y="1182"/>
                      </a:lnTo>
                      <a:lnTo>
                        <a:pt x="128" y="1196"/>
                      </a:lnTo>
                      <a:lnTo>
                        <a:pt x="468" y="1196"/>
                      </a:lnTo>
                      <a:lnTo>
                        <a:pt x="468" y="910"/>
                      </a:lnTo>
                      <a:lnTo>
                        <a:pt x="468" y="910"/>
                      </a:lnTo>
                      <a:lnTo>
                        <a:pt x="436" y="910"/>
                      </a:lnTo>
                      <a:lnTo>
                        <a:pt x="436" y="910"/>
                      </a:lnTo>
                      <a:lnTo>
                        <a:pt x="354" y="912"/>
                      </a:lnTo>
                      <a:lnTo>
                        <a:pt x="324" y="916"/>
                      </a:lnTo>
                      <a:lnTo>
                        <a:pt x="290" y="924"/>
                      </a:lnTo>
                      <a:lnTo>
                        <a:pt x="290" y="924"/>
                      </a:lnTo>
                      <a:lnTo>
                        <a:pt x="224" y="942"/>
                      </a:lnTo>
                      <a:lnTo>
                        <a:pt x="224" y="942"/>
                      </a:lnTo>
                      <a:lnTo>
                        <a:pt x="186" y="902"/>
                      </a:lnTo>
                      <a:lnTo>
                        <a:pt x="154" y="868"/>
                      </a:lnTo>
                      <a:lnTo>
                        <a:pt x="142" y="850"/>
                      </a:lnTo>
                      <a:lnTo>
                        <a:pt x="132" y="836"/>
                      </a:lnTo>
                      <a:lnTo>
                        <a:pt x="132" y="836"/>
                      </a:lnTo>
                      <a:lnTo>
                        <a:pt x="114" y="812"/>
                      </a:lnTo>
                      <a:lnTo>
                        <a:pt x="108" y="802"/>
                      </a:lnTo>
                      <a:lnTo>
                        <a:pt x="104" y="792"/>
                      </a:lnTo>
                      <a:lnTo>
                        <a:pt x="100" y="784"/>
                      </a:lnTo>
                      <a:lnTo>
                        <a:pt x="100" y="776"/>
                      </a:lnTo>
                      <a:lnTo>
                        <a:pt x="104" y="766"/>
                      </a:lnTo>
                      <a:lnTo>
                        <a:pt x="114" y="758"/>
                      </a:lnTo>
                      <a:lnTo>
                        <a:pt x="114" y="758"/>
                      </a:lnTo>
                      <a:lnTo>
                        <a:pt x="144" y="722"/>
                      </a:lnTo>
                      <a:lnTo>
                        <a:pt x="186" y="670"/>
                      </a:lnTo>
                      <a:lnTo>
                        <a:pt x="224" y="616"/>
                      </a:lnTo>
                      <a:lnTo>
                        <a:pt x="240" y="592"/>
                      </a:lnTo>
                      <a:lnTo>
                        <a:pt x="248" y="574"/>
                      </a:lnTo>
                      <a:lnTo>
                        <a:pt x="248" y="574"/>
                      </a:lnTo>
                      <a:lnTo>
                        <a:pt x="258" y="546"/>
                      </a:lnTo>
                      <a:lnTo>
                        <a:pt x="264" y="518"/>
                      </a:lnTo>
                      <a:lnTo>
                        <a:pt x="268" y="496"/>
                      </a:lnTo>
                      <a:lnTo>
                        <a:pt x="268" y="488"/>
                      </a:lnTo>
                      <a:lnTo>
                        <a:pt x="266" y="482"/>
                      </a:lnTo>
                      <a:lnTo>
                        <a:pt x="266" y="482"/>
                      </a:lnTo>
                      <a:lnTo>
                        <a:pt x="246" y="406"/>
                      </a:lnTo>
                      <a:lnTo>
                        <a:pt x="230" y="354"/>
                      </a:lnTo>
                      <a:lnTo>
                        <a:pt x="224" y="336"/>
                      </a:lnTo>
                      <a:lnTo>
                        <a:pt x="218" y="324"/>
                      </a:lnTo>
                      <a:lnTo>
                        <a:pt x="218" y="324"/>
                      </a:lnTo>
                      <a:lnTo>
                        <a:pt x="210" y="316"/>
                      </a:lnTo>
                      <a:lnTo>
                        <a:pt x="202" y="310"/>
                      </a:lnTo>
                      <a:lnTo>
                        <a:pt x="184" y="298"/>
                      </a:lnTo>
                      <a:lnTo>
                        <a:pt x="176" y="290"/>
                      </a:lnTo>
                      <a:lnTo>
                        <a:pt x="170" y="282"/>
                      </a:lnTo>
                      <a:lnTo>
                        <a:pt x="166" y="274"/>
                      </a:lnTo>
                      <a:lnTo>
                        <a:pt x="168" y="264"/>
                      </a:lnTo>
                      <a:lnTo>
                        <a:pt x="168" y="264"/>
                      </a:lnTo>
                      <a:lnTo>
                        <a:pt x="170" y="254"/>
                      </a:lnTo>
                      <a:lnTo>
                        <a:pt x="176" y="242"/>
                      </a:lnTo>
                      <a:lnTo>
                        <a:pt x="190" y="216"/>
                      </a:lnTo>
                      <a:lnTo>
                        <a:pt x="206" y="190"/>
                      </a:lnTo>
                      <a:lnTo>
                        <a:pt x="220" y="162"/>
                      </a:lnTo>
                      <a:lnTo>
                        <a:pt x="220" y="162"/>
                      </a:lnTo>
                      <a:lnTo>
                        <a:pt x="246" y="102"/>
                      </a:lnTo>
                      <a:lnTo>
                        <a:pt x="258" y="70"/>
                      </a:lnTo>
                      <a:lnTo>
                        <a:pt x="292" y="40"/>
                      </a:lnTo>
                      <a:lnTo>
                        <a:pt x="292" y="40"/>
                      </a:lnTo>
                      <a:lnTo>
                        <a:pt x="312" y="36"/>
                      </a:lnTo>
                      <a:lnTo>
                        <a:pt x="342" y="28"/>
                      </a:lnTo>
                      <a:lnTo>
                        <a:pt x="342" y="28"/>
                      </a:lnTo>
                      <a:lnTo>
                        <a:pt x="360" y="20"/>
                      </a:lnTo>
                      <a:lnTo>
                        <a:pt x="386" y="12"/>
                      </a:lnTo>
                      <a:lnTo>
                        <a:pt x="386" y="12"/>
                      </a:lnTo>
                      <a:lnTo>
                        <a:pt x="402" y="8"/>
                      </a:lnTo>
                      <a:lnTo>
                        <a:pt x="414" y="4"/>
                      </a:lnTo>
                      <a:lnTo>
                        <a:pt x="428" y="0"/>
                      </a:lnTo>
                      <a:lnTo>
                        <a:pt x="440" y="0"/>
                      </a:lnTo>
                      <a:lnTo>
                        <a:pt x="440" y="0"/>
                      </a:lnTo>
                      <a:lnTo>
                        <a:pt x="454" y="2"/>
                      </a:lnTo>
                      <a:lnTo>
                        <a:pt x="468" y="0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2" name="Freeform 26">
                  <a:extLst>
                    <a:ext uri="{FF2B5EF4-FFF2-40B4-BE49-F238E27FC236}">
                      <a16:creationId xmlns:a16="http://schemas.microsoft.com/office/drawing/2014/main" id="{8975D662-33F7-4660-83B6-5E80E37A39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2510" y="4115042"/>
                  <a:ext cx="1327632" cy="893218"/>
                </a:xfrm>
                <a:custGeom>
                  <a:avLst/>
                  <a:gdLst/>
                  <a:ahLst/>
                  <a:cxnLst>
                    <a:cxn ang="0">
                      <a:pos x="1474" y="746"/>
                    </a:cxn>
                    <a:cxn ang="0">
                      <a:pos x="1366" y="806"/>
                    </a:cxn>
                    <a:cxn ang="0">
                      <a:pos x="1358" y="956"/>
                    </a:cxn>
                    <a:cxn ang="0">
                      <a:pos x="1458" y="988"/>
                    </a:cxn>
                    <a:cxn ang="0">
                      <a:pos x="1550" y="948"/>
                    </a:cxn>
                    <a:cxn ang="0">
                      <a:pos x="1526" y="1012"/>
                    </a:cxn>
                    <a:cxn ang="0">
                      <a:pos x="1430" y="1046"/>
                    </a:cxn>
                    <a:cxn ang="0">
                      <a:pos x="1336" y="1166"/>
                    </a:cxn>
                    <a:cxn ang="0">
                      <a:pos x="1270" y="1152"/>
                    </a:cxn>
                    <a:cxn ang="0">
                      <a:pos x="1222" y="1066"/>
                    </a:cxn>
                    <a:cxn ang="0">
                      <a:pos x="1146" y="1046"/>
                    </a:cxn>
                    <a:cxn ang="0">
                      <a:pos x="1192" y="986"/>
                    </a:cxn>
                    <a:cxn ang="0">
                      <a:pos x="1226" y="928"/>
                    </a:cxn>
                    <a:cxn ang="0">
                      <a:pos x="1062" y="958"/>
                    </a:cxn>
                    <a:cxn ang="0">
                      <a:pos x="1038" y="904"/>
                    </a:cxn>
                    <a:cxn ang="0">
                      <a:pos x="956" y="896"/>
                    </a:cxn>
                    <a:cxn ang="0">
                      <a:pos x="908" y="980"/>
                    </a:cxn>
                    <a:cxn ang="0">
                      <a:pos x="820" y="1120"/>
                    </a:cxn>
                    <a:cxn ang="0">
                      <a:pos x="728" y="1136"/>
                    </a:cxn>
                    <a:cxn ang="0">
                      <a:pos x="768" y="1044"/>
                    </a:cxn>
                    <a:cxn ang="0">
                      <a:pos x="724" y="986"/>
                    </a:cxn>
                    <a:cxn ang="0">
                      <a:pos x="824" y="968"/>
                    </a:cxn>
                    <a:cxn ang="0">
                      <a:pos x="776" y="888"/>
                    </a:cxn>
                    <a:cxn ang="0">
                      <a:pos x="602" y="720"/>
                    </a:cxn>
                    <a:cxn ang="0">
                      <a:pos x="532" y="668"/>
                    </a:cxn>
                    <a:cxn ang="0">
                      <a:pos x="372" y="782"/>
                    </a:cxn>
                    <a:cxn ang="0">
                      <a:pos x="296" y="850"/>
                    </a:cxn>
                    <a:cxn ang="0">
                      <a:pos x="198" y="804"/>
                    </a:cxn>
                    <a:cxn ang="0">
                      <a:pos x="30" y="786"/>
                    </a:cxn>
                    <a:cxn ang="0">
                      <a:pos x="6" y="734"/>
                    </a:cxn>
                    <a:cxn ang="0">
                      <a:pos x="76" y="656"/>
                    </a:cxn>
                    <a:cxn ang="0">
                      <a:pos x="60" y="554"/>
                    </a:cxn>
                    <a:cxn ang="0">
                      <a:pos x="158" y="426"/>
                    </a:cxn>
                    <a:cxn ang="0">
                      <a:pos x="124" y="330"/>
                    </a:cxn>
                    <a:cxn ang="0">
                      <a:pos x="130" y="242"/>
                    </a:cxn>
                    <a:cxn ang="0">
                      <a:pos x="172" y="204"/>
                    </a:cxn>
                    <a:cxn ang="0">
                      <a:pos x="332" y="186"/>
                    </a:cxn>
                    <a:cxn ang="0">
                      <a:pos x="546" y="194"/>
                    </a:cxn>
                    <a:cxn ang="0">
                      <a:pos x="700" y="184"/>
                    </a:cxn>
                    <a:cxn ang="0">
                      <a:pos x="752" y="96"/>
                    </a:cxn>
                    <a:cxn ang="0">
                      <a:pos x="834" y="52"/>
                    </a:cxn>
                    <a:cxn ang="0">
                      <a:pos x="932" y="10"/>
                    </a:cxn>
                    <a:cxn ang="0">
                      <a:pos x="1040" y="48"/>
                    </a:cxn>
                    <a:cxn ang="0">
                      <a:pos x="1080" y="146"/>
                    </a:cxn>
                    <a:cxn ang="0">
                      <a:pos x="1118" y="134"/>
                    </a:cxn>
                    <a:cxn ang="0">
                      <a:pos x="1200" y="196"/>
                    </a:cxn>
                    <a:cxn ang="0">
                      <a:pos x="1208" y="242"/>
                    </a:cxn>
                    <a:cxn ang="0">
                      <a:pos x="1270" y="230"/>
                    </a:cxn>
                    <a:cxn ang="0">
                      <a:pos x="1444" y="228"/>
                    </a:cxn>
                    <a:cxn ang="0">
                      <a:pos x="1642" y="220"/>
                    </a:cxn>
                    <a:cxn ang="0">
                      <a:pos x="1684" y="242"/>
                    </a:cxn>
                    <a:cxn ang="0">
                      <a:pos x="1656" y="316"/>
                    </a:cxn>
                    <a:cxn ang="0">
                      <a:pos x="1660" y="380"/>
                    </a:cxn>
                    <a:cxn ang="0">
                      <a:pos x="1722" y="412"/>
                    </a:cxn>
                    <a:cxn ang="0">
                      <a:pos x="1718" y="482"/>
                    </a:cxn>
                    <a:cxn ang="0">
                      <a:pos x="1656" y="498"/>
                    </a:cxn>
                    <a:cxn ang="0">
                      <a:pos x="1612" y="560"/>
                    </a:cxn>
                    <a:cxn ang="0">
                      <a:pos x="1608" y="648"/>
                    </a:cxn>
                  </a:cxnLst>
                  <a:rect l="0" t="0" r="r" b="b"/>
                  <a:pathLst>
                    <a:path w="1742" h="1172">
                      <a:moveTo>
                        <a:pt x="1608" y="648"/>
                      </a:moveTo>
                      <a:lnTo>
                        <a:pt x="1608" y="648"/>
                      </a:lnTo>
                      <a:lnTo>
                        <a:pt x="1598" y="650"/>
                      </a:lnTo>
                      <a:lnTo>
                        <a:pt x="1582" y="658"/>
                      </a:lnTo>
                      <a:lnTo>
                        <a:pt x="1562" y="670"/>
                      </a:lnTo>
                      <a:lnTo>
                        <a:pt x="1562" y="670"/>
                      </a:lnTo>
                      <a:lnTo>
                        <a:pt x="1544" y="684"/>
                      </a:lnTo>
                      <a:lnTo>
                        <a:pt x="1526" y="698"/>
                      </a:lnTo>
                      <a:lnTo>
                        <a:pt x="1498" y="724"/>
                      </a:lnTo>
                      <a:lnTo>
                        <a:pt x="1474" y="746"/>
                      </a:lnTo>
                      <a:lnTo>
                        <a:pt x="1464" y="752"/>
                      </a:lnTo>
                      <a:lnTo>
                        <a:pt x="1454" y="758"/>
                      </a:lnTo>
                      <a:lnTo>
                        <a:pt x="1454" y="758"/>
                      </a:lnTo>
                      <a:lnTo>
                        <a:pt x="1430" y="768"/>
                      </a:lnTo>
                      <a:lnTo>
                        <a:pt x="1404" y="778"/>
                      </a:lnTo>
                      <a:lnTo>
                        <a:pt x="1392" y="784"/>
                      </a:lnTo>
                      <a:lnTo>
                        <a:pt x="1382" y="790"/>
                      </a:lnTo>
                      <a:lnTo>
                        <a:pt x="1372" y="798"/>
                      </a:lnTo>
                      <a:lnTo>
                        <a:pt x="1366" y="806"/>
                      </a:lnTo>
                      <a:lnTo>
                        <a:pt x="1366" y="806"/>
                      </a:lnTo>
                      <a:lnTo>
                        <a:pt x="1356" y="826"/>
                      </a:lnTo>
                      <a:lnTo>
                        <a:pt x="1346" y="850"/>
                      </a:lnTo>
                      <a:lnTo>
                        <a:pt x="1344" y="864"/>
                      </a:lnTo>
                      <a:lnTo>
                        <a:pt x="1342" y="878"/>
                      </a:lnTo>
                      <a:lnTo>
                        <a:pt x="1342" y="890"/>
                      </a:lnTo>
                      <a:lnTo>
                        <a:pt x="1344" y="900"/>
                      </a:lnTo>
                      <a:lnTo>
                        <a:pt x="1344" y="900"/>
                      </a:lnTo>
                      <a:lnTo>
                        <a:pt x="1348" y="922"/>
                      </a:lnTo>
                      <a:lnTo>
                        <a:pt x="1354" y="946"/>
                      </a:lnTo>
                      <a:lnTo>
                        <a:pt x="1358" y="956"/>
                      </a:lnTo>
                      <a:lnTo>
                        <a:pt x="1364" y="964"/>
                      </a:lnTo>
                      <a:lnTo>
                        <a:pt x="1374" y="970"/>
                      </a:lnTo>
                      <a:lnTo>
                        <a:pt x="1386" y="972"/>
                      </a:lnTo>
                      <a:lnTo>
                        <a:pt x="1386" y="972"/>
                      </a:lnTo>
                      <a:lnTo>
                        <a:pt x="1412" y="978"/>
                      </a:lnTo>
                      <a:lnTo>
                        <a:pt x="1430" y="984"/>
                      </a:lnTo>
                      <a:lnTo>
                        <a:pt x="1446" y="990"/>
                      </a:lnTo>
                      <a:lnTo>
                        <a:pt x="1446" y="990"/>
                      </a:lnTo>
                      <a:lnTo>
                        <a:pt x="1450" y="990"/>
                      </a:lnTo>
                      <a:lnTo>
                        <a:pt x="1458" y="988"/>
                      </a:lnTo>
                      <a:lnTo>
                        <a:pt x="1472" y="982"/>
                      </a:lnTo>
                      <a:lnTo>
                        <a:pt x="1478" y="978"/>
                      </a:lnTo>
                      <a:lnTo>
                        <a:pt x="1486" y="972"/>
                      </a:lnTo>
                      <a:lnTo>
                        <a:pt x="1486" y="972"/>
                      </a:lnTo>
                      <a:lnTo>
                        <a:pt x="1504" y="958"/>
                      </a:lnTo>
                      <a:lnTo>
                        <a:pt x="1522" y="948"/>
                      </a:lnTo>
                      <a:lnTo>
                        <a:pt x="1542" y="936"/>
                      </a:lnTo>
                      <a:lnTo>
                        <a:pt x="1542" y="936"/>
                      </a:lnTo>
                      <a:lnTo>
                        <a:pt x="1546" y="940"/>
                      </a:lnTo>
                      <a:lnTo>
                        <a:pt x="1550" y="948"/>
                      </a:lnTo>
                      <a:lnTo>
                        <a:pt x="1554" y="958"/>
                      </a:lnTo>
                      <a:lnTo>
                        <a:pt x="1554" y="964"/>
                      </a:lnTo>
                      <a:lnTo>
                        <a:pt x="1552" y="968"/>
                      </a:lnTo>
                      <a:lnTo>
                        <a:pt x="1552" y="968"/>
                      </a:lnTo>
                      <a:lnTo>
                        <a:pt x="1546" y="980"/>
                      </a:lnTo>
                      <a:lnTo>
                        <a:pt x="1542" y="992"/>
                      </a:lnTo>
                      <a:lnTo>
                        <a:pt x="1536" y="1002"/>
                      </a:lnTo>
                      <a:lnTo>
                        <a:pt x="1530" y="1008"/>
                      </a:lnTo>
                      <a:lnTo>
                        <a:pt x="1526" y="1012"/>
                      </a:lnTo>
                      <a:lnTo>
                        <a:pt x="1526" y="1012"/>
                      </a:lnTo>
                      <a:lnTo>
                        <a:pt x="1518" y="1014"/>
                      </a:lnTo>
                      <a:lnTo>
                        <a:pt x="1512" y="1016"/>
                      </a:lnTo>
                      <a:lnTo>
                        <a:pt x="1496" y="1016"/>
                      </a:lnTo>
                      <a:lnTo>
                        <a:pt x="1480" y="1018"/>
                      </a:lnTo>
                      <a:lnTo>
                        <a:pt x="1464" y="1020"/>
                      </a:lnTo>
                      <a:lnTo>
                        <a:pt x="1464" y="1020"/>
                      </a:lnTo>
                      <a:lnTo>
                        <a:pt x="1452" y="1024"/>
                      </a:lnTo>
                      <a:lnTo>
                        <a:pt x="1444" y="1028"/>
                      </a:lnTo>
                      <a:lnTo>
                        <a:pt x="1438" y="1034"/>
                      </a:lnTo>
                      <a:lnTo>
                        <a:pt x="1430" y="1046"/>
                      </a:lnTo>
                      <a:lnTo>
                        <a:pt x="1430" y="1046"/>
                      </a:lnTo>
                      <a:lnTo>
                        <a:pt x="1418" y="1062"/>
                      </a:lnTo>
                      <a:lnTo>
                        <a:pt x="1406" y="1076"/>
                      </a:lnTo>
                      <a:lnTo>
                        <a:pt x="1394" y="1090"/>
                      </a:lnTo>
                      <a:lnTo>
                        <a:pt x="1394" y="1090"/>
                      </a:lnTo>
                      <a:lnTo>
                        <a:pt x="1388" y="1092"/>
                      </a:lnTo>
                      <a:lnTo>
                        <a:pt x="1380" y="1096"/>
                      </a:lnTo>
                      <a:lnTo>
                        <a:pt x="1374" y="1102"/>
                      </a:lnTo>
                      <a:lnTo>
                        <a:pt x="1374" y="1102"/>
                      </a:lnTo>
                      <a:lnTo>
                        <a:pt x="1336" y="1166"/>
                      </a:lnTo>
                      <a:lnTo>
                        <a:pt x="1336" y="1166"/>
                      </a:lnTo>
                      <a:lnTo>
                        <a:pt x="1316" y="1170"/>
                      </a:lnTo>
                      <a:lnTo>
                        <a:pt x="1300" y="1172"/>
                      </a:lnTo>
                      <a:lnTo>
                        <a:pt x="1294" y="1170"/>
                      </a:lnTo>
                      <a:lnTo>
                        <a:pt x="1286" y="1168"/>
                      </a:lnTo>
                      <a:lnTo>
                        <a:pt x="1286" y="1168"/>
                      </a:lnTo>
                      <a:lnTo>
                        <a:pt x="1278" y="1164"/>
                      </a:lnTo>
                      <a:lnTo>
                        <a:pt x="1272" y="1160"/>
                      </a:lnTo>
                      <a:lnTo>
                        <a:pt x="1270" y="1156"/>
                      </a:lnTo>
                      <a:lnTo>
                        <a:pt x="1270" y="1152"/>
                      </a:lnTo>
                      <a:lnTo>
                        <a:pt x="1272" y="1136"/>
                      </a:lnTo>
                      <a:lnTo>
                        <a:pt x="1272" y="1136"/>
                      </a:lnTo>
                      <a:lnTo>
                        <a:pt x="1276" y="1114"/>
                      </a:lnTo>
                      <a:lnTo>
                        <a:pt x="1278" y="1096"/>
                      </a:lnTo>
                      <a:lnTo>
                        <a:pt x="1276" y="1088"/>
                      </a:lnTo>
                      <a:lnTo>
                        <a:pt x="1274" y="1082"/>
                      </a:lnTo>
                      <a:lnTo>
                        <a:pt x="1268" y="1078"/>
                      </a:lnTo>
                      <a:lnTo>
                        <a:pt x="1260" y="1074"/>
                      </a:lnTo>
                      <a:lnTo>
                        <a:pt x="1260" y="1074"/>
                      </a:lnTo>
                      <a:lnTo>
                        <a:pt x="1222" y="1066"/>
                      </a:lnTo>
                      <a:lnTo>
                        <a:pt x="1202" y="1064"/>
                      </a:lnTo>
                      <a:lnTo>
                        <a:pt x="1184" y="1064"/>
                      </a:lnTo>
                      <a:lnTo>
                        <a:pt x="1184" y="1064"/>
                      </a:lnTo>
                      <a:lnTo>
                        <a:pt x="1170" y="1066"/>
                      </a:lnTo>
                      <a:lnTo>
                        <a:pt x="1156" y="1072"/>
                      </a:lnTo>
                      <a:lnTo>
                        <a:pt x="1144" y="1078"/>
                      </a:lnTo>
                      <a:lnTo>
                        <a:pt x="1144" y="1078"/>
                      </a:lnTo>
                      <a:lnTo>
                        <a:pt x="1144" y="1074"/>
                      </a:lnTo>
                      <a:lnTo>
                        <a:pt x="1144" y="1062"/>
                      </a:lnTo>
                      <a:lnTo>
                        <a:pt x="1146" y="1046"/>
                      </a:lnTo>
                      <a:lnTo>
                        <a:pt x="1150" y="1038"/>
                      </a:lnTo>
                      <a:lnTo>
                        <a:pt x="1154" y="1030"/>
                      </a:lnTo>
                      <a:lnTo>
                        <a:pt x="1154" y="1030"/>
                      </a:lnTo>
                      <a:lnTo>
                        <a:pt x="1164" y="1012"/>
                      </a:lnTo>
                      <a:lnTo>
                        <a:pt x="1174" y="998"/>
                      </a:lnTo>
                      <a:lnTo>
                        <a:pt x="1178" y="992"/>
                      </a:lnTo>
                      <a:lnTo>
                        <a:pt x="1182" y="988"/>
                      </a:lnTo>
                      <a:lnTo>
                        <a:pt x="1186" y="986"/>
                      </a:lnTo>
                      <a:lnTo>
                        <a:pt x="1192" y="986"/>
                      </a:lnTo>
                      <a:lnTo>
                        <a:pt x="1192" y="986"/>
                      </a:lnTo>
                      <a:lnTo>
                        <a:pt x="1198" y="986"/>
                      </a:lnTo>
                      <a:lnTo>
                        <a:pt x="1202" y="984"/>
                      </a:lnTo>
                      <a:lnTo>
                        <a:pt x="1214" y="974"/>
                      </a:lnTo>
                      <a:lnTo>
                        <a:pt x="1222" y="962"/>
                      </a:lnTo>
                      <a:lnTo>
                        <a:pt x="1226" y="956"/>
                      </a:lnTo>
                      <a:lnTo>
                        <a:pt x="1226" y="956"/>
                      </a:lnTo>
                      <a:lnTo>
                        <a:pt x="1228" y="950"/>
                      </a:lnTo>
                      <a:lnTo>
                        <a:pt x="1228" y="942"/>
                      </a:lnTo>
                      <a:lnTo>
                        <a:pt x="1228" y="934"/>
                      </a:lnTo>
                      <a:lnTo>
                        <a:pt x="1226" y="928"/>
                      </a:lnTo>
                      <a:lnTo>
                        <a:pt x="1222" y="922"/>
                      </a:lnTo>
                      <a:lnTo>
                        <a:pt x="1214" y="920"/>
                      </a:lnTo>
                      <a:lnTo>
                        <a:pt x="1202" y="924"/>
                      </a:lnTo>
                      <a:lnTo>
                        <a:pt x="1202" y="924"/>
                      </a:lnTo>
                      <a:lnTo>
                        <a:pt x="1166" y="938"/>
                      </a:lnTo>
                      <a:lnTo>
                        <a:pt x="1148" y="942"/>
                      </a:lnTo>
                      <a:lnTo>
                        <a:pt x="1124" y="948"/>
                      </a:lnTo>
                      <a:lnTo>
                        <a:pt x="1124" y="948"/>
                      </a:lnTo>
                      <a:lnTo>
                        <a:pt x="1092" y="956"/>
                      </a:lnTo>
                      <a:lnTo>
                        <a:pt x="1062" y="958"/>
                      </a:lnTo>
                      <a:lnTo>
                        <a:pt x="1050" y="960"/>
                      </a:lnTo>
                      <a:lnTo>
                        <a:pt x="1040" y="958"/>
                      </a:lnTo>
                      <a:lnTo>
                        <a:pt x="1034" y="956"/>
                      </a:lnTo>
                      <a:lnTo>
                        <a:pt x="1032" y="954"/>
                      </a:lnTo>
                      <a:lnTo>
                        <a:pt x="1032" y="950"/>
                      </a:lnTo>
                      <a:lnTo>
                        <a:pt x="1032" y="950"/>
                      </a:lnTo>
                      <a:lnTo>
                        <a:pt x="1034" y="938"/>
                      </a:lnTo>
                      <a:lnTo>
                        <a:pt x="1036" y="918"/>
                      </a:lnTo>
                      <a:lnTo>
                        <a:pt x="1036" y="918"/>
                      </a:lnTo>
                      <a:lnTo>
                        <a:pt x="1038" y="904"/>
                      </a:lnTo>
                      <a:lnTo>
                        <a:pt x="1036" y="898"/>
                      </a:lnTo>
                      <a:lnTo>
                        <a:pt x="1036" y="894"/>
                      </a:lnTo>
                      <a:lnTo>
                        <a:pt x="1032" y="890"/>
                      </a:lnTo>
                      <a:lnTo>
                        <a:pt x="1024" y="890"/>
                      </a:lnTo>
                      <a:lnTo>
                        <a:pt x="1014" y="892"/>
                      </a:lnTo>
                      <a:lnTo>
                        <a:pt x="998" y="896"/>
                      </a:lnTo>
                      <a:lnTo>
                        <a:pt x="998" y="896"/>
                      </a:lnTo>
                      <a:lnTo>
                        <a:pt x="982" y="898"/>
                      </a:lnTo>
                      <a:lnTo>
                        <a:pt x="968" y="898"/>
                      </a:lnTo>
                      <a:lnTo>
                        <a:pt x="956" y="896"/>
                      </a:lnTo>
                      <a:lnTo>
                        <a:pt x="948" y="894"/>
                      </a:lnTo>
                      <a:lnTo>
                        <a:pt x="942" y="894"/>
                      </a:lnTo>
                      <a:lnTo>
                        <a:pt x="936" y="894"/>
                      </a:lnTo>
                      <a:lnTo>
                        <a:pt x="932" y="900"/>
                      </a:lnTo>
                      <a:lnTo>
                        <a:pt x="928" y="912"/>
                      </a:lnTo>
                      <a:lnTo>
                        <a:pt x="928" y="912"/>
                      </a:lnTo>
                      <a:lnTo>
                        <a:pt x="924" y="936"/>
                      </a:lnTo>
                      <a:lnTo>
                        <a:pt x="918" y="954"/>
                      </a:lnTo>
                      <a:lnTo>
                        <a:pt x="908" y="980"/>
                      </a:lnTo>
                      <a:lnTo>
                        <a:pt x="908" y="980"/>
                      </a:lnTo>
                      <a:lnTo>
                        <a:pt x="898" y="996"/>
                      </a:lnTo>
                      <a:lnTo>
                        <a:pt x="886" y="1020"/>
                      </a:lnTo>
                      <a:lnTo>
                        <a:pt x="860" y="1064"/>
                      </a:lnTo>
                      <a:lnTo>
                        <a:pt x="860" y="1064"/>
                      </a:lnTo>
                      <a:lnTo>
                        <a:pt x="834" y="1106"/>
                      </a:lnTo>
                      <a:lnTo>
                        <a:pt x="834" y="1106"/>
                      </a:lnTo>
                      <a:lnTo>
                        <a:pt x="830" y="1112"/>
                      </a:lnTo>
                      <a:lnTo>
                        <a:pt x="824" y="1118"/>
                      </a:lnTo>
                      <a:lnTo>
                        <a:pt x="820" y="1120"/>
                      </a:lnTo>
                      <a:lnTo>
                        <a:pt x="820" y="1120"/>
                      </a:lnTo>
                      <a:lnTo>
                        <a:pt x="806" y="1128"/>
                      </a:lnTo>
                      <a:lnTo>
                        <a:pt x="796" y="1136"/>
                      </a:lnTo>
                      <a:lnTo>
                        <a:pt x="780" y="1152"/>
                      </a:lnTo>
                      <a:lnTo>
                        <a:pt x="772" y="1158"/>
                      </a:lnTo>
                      <a:lnTo>
                        <a:pt x="762" y="1160"/>
                      </a:lnTo>
                      <a:lnTo>
                        <a:pt x="752" y="1158"/>
                      </a:lnTo>
                      <a:lnTo>
                        <a:pt x="740" y="1150"/>
                      </a:lnTo>
                      <a:lnTo>
                        <a:pt x="740" y="1150"/>
                      </a:lnTo>
                      <a:lnTo>
                        <a:pt x="734" y="1142"/>
                      </a:lnTo>
                      <a:lnTo>
                        <a:pt x="728" y="1136"/>
                      </a:lnTo>
                      <a:lnTo>
                        <a:pt x="724" y="1128"/>
                      </a:lnTo>
                      <a:lnTo>
                        <a:pt x="722" y="1120"/>
                      </a:lnTo>
                      <a:lnTo>
                        <a:pt x="720" y="1112"/>
                      </a:lnTo>
                      <a:lnTo>
                        <a:pt x="722" y="1106"/>
                      </a:lnTo>
                      <a:lnTo>
                        <a:pt x="724" y="1100"/>
                      </a:lnTo>
                      <a:lnTo>
                        <a:pt x="728" y="1092"/>
                      </a:lnTo>
                      <a:lnTo>
                        <a:pt x="728" y="1092"/>
                      </a:lnTo>
                      <a:lnTo>
                        <a:pt x="754" y="1066"/>
                      </a:lnTo>
                      <a:lnTo>
                        <a:pt x="764" y="1052"/>
                      </a:lnTo>
                      <a:lnTo>
                        <a:pt x="768" y="1044"/>
                      </a:lnTo>
                      <a:lnTo>
                        <a:pt x="772" y="1036"/>
                      </a:lnTo>
                      <a:lnTo>
                        <a:pt x="772" y="1036"/>
                      </a:lnTo>
                      <a:lnTo>
                        <a:pt x="770" y="1034"/>
                      </a:lnTo>
                      <a:lnTo>
                        <a:pt x="768" y="1030"/>
                      </a:lnTo>
                      <a:lnTo>
                        <a:pt x="760" y="1024"/>
                      </a:lnTo>
                      <a:lnTo>
                        <a:pt x="736" y="1008"/>
                      </a:lnTo>
                      <a:lnTo>
                        <a:pt x="726" y="998"/>
                      </a:lnTo>
                      <a:lnTo>
                        <a:pt x="724" y="994"/>
                      </a:lnTo>
                      <a:lnTo>
                        <a:pt x="722" y="990"/>
                      </a:lnTo>
                      <a:lnTo>
                        <a:pt x="724" y="986"/>
                      </a:lnTo>
                      <a:lnTo>
                        <a:pt x="726" y="980"/>
                      </a:lnTo>
                      <a:lnTo>
                        <a:pt x="732" y="976"/>
                      </a:lnTo>
                      <a:lnTo>
                        <a:pt x="742" y="972"/>
                      </a:lnTo>
                      <a:lnTo>
                        <a:pt x="742" y="972"/>
                      </a:lnTo>
                      <a:lnTo>
                        <a:pt x="762" y="966"/>
                      </a:lnTo>
                      <a:lnTo>
                        <a:pt x="780" y="962"/>
                      </a:lnTo>
                      <a:lnTo>
                        <a:pt x="794" y="964"/>
                      </a:lnTo>
                      <a:lnTo>
                        <a:pt x="806" y="966"/>
                      </a:lnTo>
                      <a:lnTo>
                        <a:pt x="816" y="966"/>
                      </a:lnTo>
                      <a:lnTo>
                        <a:pt x="824" y="968"/>
                      </a:lnTo>
                      <a:lnTo>
                        <a:pt x="828" y="966"/>
                      </a:lnTo>
                      <a:lnTo>
                        <a:pt x="832" y="960"/>
                      </a:lnTo>
                      <a:lnTo>
                        <a:pt x="832" y="960"/>
                      </a:lnTo>
                      <a:lnTo>
                        <a:pt x="832" y="952"/>
                      </a:lnTo>
                      <a:lnTo>
                        <a:pt x="828" y="946"/>
                      </a:lnTo>
                      <a:lnTo>
                        <a:pt x="822" y="936"/>
                      </a:lnTo>
                      <a:lnTo>
                        <a:pt x="814" y="928"/>
                      </a:lnTo>
                      <a:lnTo>
                        <a:pt x="794" y="910"/>
                      </a:lnTo>
                      <a:lnTo>
                        <a:pt x="784" y="900"/>
                      </a:lnTo>
                      <a:lnTo>
                        <a:pt x="776" y="888"/>
                      </a:lnTo>
                      <a:lnTo>
                        <a:pt x="776" y="888"/>
                      </a:lnTo>
                      <a:lnTo>
                        <a:pt x="764" y="864"/>
                      </a:lnTo>
                      <a:lnTo>
                        <a:pt x="754" y="840"/>
                      </a:lnTo>
                      <a:lnTo>
                        <a:pt x="744" y="818"/>
                      </a:lnTo>
                      <a:lnTo>
                        <a:pt x="734" y="800"/>
                      </a:lnTo>
                      <a:lnTo>
                        <a:pt x="734" y="800"/>
                      </a:lnTo>
                      <a:lnTo>
                        <a:pt x="726" y="792"/>
                      </a:lnTo>
                      <a:lnTo>
                        <a:pt x="712" y="782"/>
                      </a:lnTo>
                      <a:lnTo>
                        <a:pt x="674" y="760"/>
                      </a:lnTo>
                      <a:lnTo>
                        <a:pt x="602" y="720"/>
                      </a:lnTo>
                      <a:lnTo>
                        <a:pt x="602" y="720"/>
                      </a:lnTo>
                      <a:lnTo>
                        <a:pt x="592" y="712"/>
                      </a:lnTo>
                      <a:lnTo>
                        <a:pt x="582" y="700"/>
                      </a:lnTo>
                      <a:lnTo>
                        <a:pt x="574" y="688"/>
                      </a:lnTo>
                      <a:lnTo>
                        <a:pt x="566" y="676"/>
                      </a:lnTo>
                      <a:lnTo>
                        <a:pt x="556" y="668"/>
                      </a:lnTo>
                      <a:lnTo>
                        <a:pt x="550" y="666"/>
                      </a:lnTo>
                      <a:lnTo>
                        <a:pt x="546" y="664"/>
                      </a:lnTo>
                      <a:lnTo>
                        <a:pt x="538" y="664"/>
                      </a:lnTo>
                      <a:lnTo>
                        <a:pt x="532" y="668"/>
                      </a:lnTo>
                      <a:lnTo>
                        <a:pt x="524" y="672"/>
                      </a:lnTo>
                      <a:lnTo>
                        <a:pt x="516" y="680"/>
                      </a:lnTo>
                      <a:lnTo>
                        <a:pt x="516" y="680"/>
                      </a:lnTo>
                      <a:lnTo>
                        <a:pt x="460" y="732"/>
                      </a:lnTo>
                      <a:lnTo>
                        <a:pt x="436" y="752"/>
                      </a:lnTo>
                      <a:lnTo>
                        <a:pt x="410" y="770"/>
                      </a:lnTo>
                      <a:lnTo>
                        <a:pt x="410" y="770"/>
                      </a:lnTo>
                      <a:lnTo>
                        <a:pt x="396" y="776"/>
                      </a:lnTo>
                      <a:lnTo>
                        <a:pt x="388" y="780"/>
                      </a:lnTo>
                      <a:lnTo>
                        <a:pt x="372" y="782"/>
                      </a:lnTo>
                      <a:lnTo>
                        <a:pt x="364" y="784"/>
                      </a:lnTo>
                      <a:lnTo>
                        <a:pt x="358" y="788"/>
                      </a:lnTo>
                      <a:lnTo>
                        <a:pt x="348" y="794"/>
                      </a:lnTo>
                      <a:lnTo>
                        <a:pt x="336" y="804"/>
                      </a:lnTo>
                      <a:lnTo>
                        <a:pt x="336" y="804"/>
                      </a:lnTo>
                      <a:lnTo>
                        <a:pt x="324" y="818"/>
                      </a:lnTo>
                      <a:lnTo>
                        <a:pt x="316" y="830"/>
                      </a:lnTo>
                      <a:lnTo>
                        <a:pt x="306" y="846"/>
                      </a:lnTo>
                      <a:lnTo>
                        <a:pt x="302" y="848"/>
                      </a:lnTo>
                      <a:lnTo>
                        <a:pt x="296" y="850"/>
                      </a:lnTo>
                      <a:lnTo>
                        <a:pt x="290" y="846"/>
                      </a:lnTo>
                      <a:lnTo>
                        <a:pt x="280" y="836"/>
                      </a:lnTo>
                      <a:lnTo>
                        <a:pt x="280" y="836"/>
                      </a:lnTo>
                      <a:lnTo>
                        <a:pt x="268" y="828"/>
                      </a:lnTo>
                      <a:lnTo>
                        <a:pt x="256" y="820"/>
                      </a:lnTo>
                      <a:lnTo>
                        <a:pt x="232" y="808"/>
                      </a:lnTo>
                      <a:lnTo>
                        <a:pt x="212" y="804"/>
                      </a:lnTo>
                      <a:lnTo>
                        <a:pt x="204" y="802"/>
                      </a:lnTo>
                      <a:lnTo>
                        <a:pt x="198" y="804"/>
                      </a:lnTo>
                      <a:lnTo>
                        <a:pt x="198" y="804"/>
                      </a:lnTo>
                      <a:lnTo>
                        <a:pt x="158" y="810"/>
                      </a:lnTo>
                      <a:lnTo>
                        <a:pt x="126" y="814"/>
                      </a:lnTo>
                      <a:lnTo>
                        <a:pt x="92" y="816"/>
                      </a:lnTo>
                      <a:lnTo>
                        <a:pt x="92" y="816"/>
                      </a:lnTo>
                      <a:lnTo>
                        <a:pt x="64" y="818"/>
                      </a:lnTo>
                      <a:lnTo>
                        <a:pt x="56" y="818"/>
                      </a:lnTo>
                      <a:lnTo>
                        <a:pt x="50" y="818"/>
                      </a:lnTo>
                      <a:lnTo>
                        <a:pt x="46" y="814"/>
                      </a:lnTo>
                      <a:lnTo>
                        <a:pt x="40" y="808"/>
                      </a:lnTo>
                      <a:lnTo>
                        <a:pt x="30" y="786"/>
                      </a:lnTo>
                      <a:lnTo>
                        <a:pt x="30" y="786"/>
                      </a:lnTo>
                      <a:lnTo>
                        <a:pt x="24" y="774"/>
                      </a:lnTo>
                      <a:lnTo>
                        <a:pt x="16" y="768"/>
                      </a:lnTo>
                      <a:lnTo>
                        <a:pt x="10" y="764"/>
                      </a:lnTo>
                      <a:lnTo>
                        <a:pt x="6" y="762"/>
                      </a:lnTo>
                      <a:lnTo>
                        <a:pt x="2" y="760"/>
                      </a:lnTo>
                      <a:lnTo>
                        <a:pt x="0" y="756"/>
                      </a:lnTo>
                      <a:lnTo>
                        <a:pt x="2" y="748"/>
                      </a:lnTo>
                      <a:lnTo>
                        <a:pt x="6" y="734"/>
                      </a:lnTo>
                      <a:lnTo>
                        <a:pt x="6" y="734"/>
                      </a:lnTo>
                      <a:lnTo>
                        <a:pt x="16" y="704"/>
                      </a:lnTo>
                      <a:lnTo>
                        <a:pt x="22" y="684"/>
                      </a:lnTo>
                      <a:lnTo>
                        <a:pt x="26" y="672"/>
                      </a:lnTo>
                      <a:lnTo>
                        <a:pt x="30" y="668"/>
                      </a:lnTo>
                      <a:lnTo>
                        <a:pt x="34" y="662"/>
                      </a:lnTo>
                      <a:lnTo>
                        <a:pt x="34" y="662"/>
                      </a:lnTo>
                      <a:lnTo>
                        <a:pt x="42" y="660"/>
                      </a:lnTo>
                      <a:lnTo>
                        <a:pt x="50" y="658"/>
                      </a:lnTo>
                      <a:lnTo>
                        <a:pt x="66" y="656"/>
                      </a:lnTo>
                      <a:lnTo>
                        <a:pt x="76" y="656"/>
                      </a:lnTo>
                      <a:lnTo>
                        <a:pt x="80" y="652"/>
                      </a:lnTo>
                      <a:lnTo>
                        <a:pt x="78" y="650"/>
                      </a:lnTo>
                      <a:lnTo>
                        <a:pt x="78" y="650"/>
                      </a:lnTo>
                      <a:lnTo>
                        <a:pt x="60" y="620"/>
                      </a:lnTo>
                      <a:lnTo>
                        <a:pt x="50" y="604"/>
                      </a:lnTo>
                      <a:lnTo>
                        <a:pt x="46" y="596"/>
                      </a:lnTo>
                      <a:lnTo>
                        <a:pt x="44" y="588"/>
                      </a:lnTo>
                      <a:lnTo>
                        <a:pt x="44" y="588"/>
                      </a:lnTo>
                      <a:lnTo>
                        <a:pt x="48" y="576"/>
                      </a:lnTo>
                      <a:lnTo>
                        <a:pt x="60" y="554"/>
                      </a:lnTo>
                      <a:lnTo>
                        <a:pt x="92" y="500"/>
                      </a:lnTo>
                      <a:lnTo>
                        <a:pt x="140" y="426"/>
                      </a:lnTo>
                      <a:lnTo>
                        <a:pt x="140" y="426"/>
                      </a:lnTo>
                      <a:lnTo>
                        <a:pt x="142" y="428"/>
                      </a:lnTo>
                      <a:lnTo>
                        <a:pt x="146" y="434"/>
                      </a:lnTo>
                      <a:lnTo>
                        <a:pt x="148" y="436"/>
                      </a:lnTo>
                      <a:lnTo>
                        <a:pt x="152" y="436"/>
                      </a:lnTo>
                      <a:lnTo>
                        <a:pt x="154" y="432"/>
                      </a:lnTo>
                      <a:lnTo>
                        <a:pt x="158" y="426"/>
                      </a:lnTo>
                      <a:lnTo>
                        <a:pt x="158" y="426"/>
                      </a:lnTo>
                      <a:lnTo>
                        <a:pt x="160" y="418"/>
                      </a:lnTo>
                      <a:lnTo>
                        <a:pt x="160" y="406"/>
                      </a:lnTo>
                      <a:lnTo>
                        <a:pt x="158" y="392"/>
                      </a:lnTo>
                      <a:lnTo>
                        <a:pt x="154" y="380"/>
                      </a:lnTo>
                      <a:lnTo>
                        <a:pt x="146" y="356"/>
                      </a:lnTo>
                      <a:lnTo>
                        <a:pt x="144" y="348"/>
                      </a:lnTo>
                      <a:lnTo>
                        <a:pt x="140" y="344"/>
                      </a:lnTo>
                      <a:lnTo>
                        <a:pt x="140" y="344"/>
                      </a:lnTo>
                      <a:lnTo>
                        <a:pt x="134" y="338"/>
                      </a:lnTo>
                      <a:lnTo>
                        <a:pt x="124" y="330"/>
                      </a:lnTo>
                      <a:lnTo>
                        <a:pt x="120" y="324"/>
                      </a:lnTo>
                      <a:lnTo>
                        <a:pt x="118" y="316"/>
                      </a:lnTo>
                      <a:lnTo>
                        <a:pt x="116" y="308"/>
                      </a:lnTo>
                      <a:lnTo>
                        <a:pt x="118" y="298"/>
                      </a:lnTo>
                      <a:lnTo>
                        <a:pt x="118" y="298"/>
                      </a:lnTo>
                      <a:lnTo>
                        <a:pt x="120" y="278"/>
                      </a:lnTo>
                      <a:lnTo>
                        <a:pt x="120" y="260"/>
                      </a:lnTo>
                      <a:lnTo>
                        <a:pt x="122" y="252"/>
                      </a:lnTo>
                      <a:lnTo>
                        <a:pt x="126" y="246"/>
                      </a:lnTo>
                      <a:lnTo>
                        <a:pt x="130" y="242"/>
                      </a:lnTo>
                      <a:lnTo>
                        <a:pt x="140" y="238"/>
                      </a:lnTo>
                      <a:lnTo>
                        <a:pt x="140" y="238"/>
                      </a:lnTo>
                      <a:lnTo>
                        <a:pt x="146" y="236"/>
                      </a:lnTo>
                      <a:lnTo>
                        <a:pt x="150" y="232"/>
                      </a:lnTo>
                      <a:lnTo>
                        <a:pt x="152" y="230"/>
                      </a:lnTo>
                      <a:lnTo>
                        <a:pt x="154" y="226"/>
                      </a:lnTo>
                      <a:lnTo>
                        <a:pt x="154" y="222"/>
                      </a:lnTo>
                      <a:lnTo>
                        <a:pt x="156" y="218"/>
                      </a:lnTo>
                      <a:lnTo>
                        <a:pt x="162" y="212"/>
                      </a:lnTo>
                      <a:lnTo>
                        <a:pt x="172" y="204"/>
                      </a:lnTo>
                      <a:lnTo>
                        <a:pt x="172" y="204"/>
                      </a:lnTo>
                      <a:lnTo>
                        <a:pt x="186" y="196"/>
                      </a:lnTo>
                      <a:lnTo>
                        <a:pt x="200" y="188"/>
                      </a:lnTo>
                      <a:lnTo>
                        <a:pt x="214" y="184"/>
                      </a:lnTo>
                      <a:lnTo>
                        <a:pt x="230" y="182"/>
                      </a:lnTo>
                      <a:lnTo>
                        <a:pt x="262" y="178"/>
                      </a:lnTo>
                      <a:lnTo>
                        <a:pt x="288" y="178"/>
                      </a:lnTo>
                      <a:lnTo>
                        <a:pt x="288" y="178"/>
                      </a:lnTo>
                      <a:lnTo>
                        <a:pt x="310" y="180"/>
                      </a:lnTo>
                      <a:lnTo>
                        <a:pt x="332" y="186"/>
                      </a:lnTo>
                      <a:lnTo>
                        <a:pt x="354" y="192"/>
                      </a:lnTo>
                      <a:lnTo>
                        <a:pt x="378" y="198"/>
                      </a:lnTo>
                      <a:lnTo>
                        <a:pt x="378" y="198"/>
                      </a:lnTo>
                      <a:lnTo>
                        <a:pt x="426" y="206"/>
                      </a:lnTo>
                      <a:lnTo>
                        <a:pt x="448" y="208"/>
                      </a:lnTo>
                      <a:lnTo>
                        <a:pt x="468" y="206"/>
                      </a:lnTo>
                      <a:lnTo>
                        <a:pt x="468" y="206"/>
                      </a:lnTo>
                      <a:lnTo>
                        <a:pt x="490" y="202"/>
                      </a:lnTo>
                      <a:lnTo>
                        <a:pt x="518" y="198"/>
                      </a:lnTo>
                      <a:lnTo>
                        <a:pt x="546" y="194"/>
                      </a:lnTo>
                      <a:lnTo>
                        <a:pt x="572" y="194"/>
                      </a:lnTo>
                      <a:lnTo>
                        <a:pt x="572" y="194"/>
                      </a:lnTo>
                      <a:lnTo>
                        <a:pt x="608" y="196"/>
                      </a:lnTo>
                      <a:lnTo>
                        <a:pt x="620" y="196"/>
                      </a:lnTo>
                      <a:lnTo>
                        <a:pt x="628" y="200"/>
                      </a:lnTo>
                      <a:lnTo>
                        <a:pt x="628" y="200"/>
                      </a:lnTo>
                      <a:lnTo>
                        <a:pt x="636" y="200"/>
                      </a:lnTo>
                      <a:lnTo>
                        <a:pt x="646" y="200"/>
                      </a:lnTo>
                      <a:lnTo>
                        <a:pt x="674" y="194"/>
                      </a:lnTo>
                      <a:lnTo>
                        <a:pt x="700" y="184"/>
                      </a:lnTo>
                      <a:lnTo>
                        <a:pt x="712" y="178"/>
                      </a:lnTo>
                      <a:lnTo>
                        <a:pt x="718" y="172"/>
                      </a:lnTo>
                      <a:lnTo>
                        <a:pt x="718" y="172"/>
                      </a:lnTo>
                      <a:lnTo>
                        <a:pt x="722" y="162"/>
                      </a:lnTo>
                      <a:lnTo>
                        <a:pt x="724" y="150"/>
                      </a:lnTo>
                      <a:lnTo>
                        <a:pt x="726" y="138"/>
                      </a:lnTo>
                      <a:lnTo>
                        <a:pt x="734" y="120"/>
                      </a:lnTo>
                      <a:lnTo>
                        <a:pt x="734" y="120"/>
                      </a:lnTo>
                      <a:lnTo>
                        <a:pt x="742" y="104"/>
                      </a:lnTo>
                      <a:lnTo>
                        <a:pt x="752" y="96"/>
                      </a:lnTo>
                      <a:lnTo>
                        <a:pt x="764" y="90"/>
                      </a:lnTo>
                      <a:lnTo>
                        <a:pt x="782" y="84"/>
                      </a:lnTo>
                      <a:lnTo>
                        <a:pt x="782" y="84"/>
                      </a:lnTo>
                      <a:lnTo>
                        <a:pt x="800" y="76"/>
                      </a:lnTo>
                      <a:lnTo>
                        <a:pt x="808" y="70"/>
                      </a:lnTo>
                      <a:lnTo>
                        <a:pt x="812" y="64"/>
                      </a:lnTo>
                      <a:lnTo>
                        <a:pt x="814" y="62"/>
                      </a:lnTo>
                      <a:lnTo>
                        <a:pt x="814" y="62"/>
                      </a:lnTo>
                      <a:lnTo>
                        <a:pt x="824" y="58"/>
                      </a:lnTo>
                      <a:lnTo>
                        <a:pt x="834" y="52"/>
                      </a:lnTo>
                      <a:lnTo>
                        <a:pt x="840" y="48"/>
                      </a:lnTo>
                      <a:lnTo>
                        <a:pt x="844" y="42"/>
                      </a:lnTo>
                      <a:lnTo>
                        <a:pt x="844" y="42"/>
                      </a:lnTo>
                      <a:lnTo>
                        <a:pt x="848" y="36"/>
                      </a:lnTo>
                      <a:lnTo>
                        <a:pt x="854" y="32"/>
                      </a:lnTo>
                      <a:lnTo>
                        <a:pt x="868" y="26"/>
                      </a:lnTo>
                      <a:lnTo>
                        <a:pt x="884" y="20"/>
                      </a:lnTo>
                      <a:lnTo>
                        <a:pt x="884" y="20"/>
                      </a:lnTo>
                      <a:lnTo>
                        <a:pt x="902" y="16"/>
                      </a:lnTo>
                      <a:lnTo>
                        <a:pt x="932" y="10"/>
                      </a:lnTo>
                      <a:lnTo>
                        <a:pt x="932" y="10"/>
                      </a:lnTo>
                      <a:lnTo>
                        <a:pt x="952" y="2"/>
                      </a:lnTo>
                      <a:lnTo>
                        <a:pt x="962" y="0"/>
                      </a:lnTo>
                      <a:lnTo>
                        <a:pt x="968" y="0"/>
                      </a:lnTo>
                      <a:lnTo>
                        <a:pt x="968" y="0"/>
                      </a:lnTo>
                      <a:lnTo>
                        <a:pt x="978" y="6"/>
                      </a:lnTo>
                      <a:lnTo>
                        <a:pt x="998" y="14"/>
                      </a:lnTo>
                      <a:lnTo>
                        <a:pt x="1012" y="24"/>
                      </a:lnTo>
                      <a:lnTo>
                        <a:pt x="1026" y="34"/>
                      </a:lnTo>
                      <a:lnTo>
                        <a:pt x="1040" y="48"/>
                      </a:lnTo>
                      <a:lnTo>
                        <a:pt x="1054" y="66"/>
                      </a:lnTo>
                      <a:lnTo>
                        <a:pt x="1054" y="66"/>
                      </a:lnTo>
                      <a:lnTo>
                        <a:pt x="1050" y="72"/>
                      </a:lnTo>
                      <a:lnTo>
                        <a:pt x="1048" y="80"/>
                      </a:lnTo>
                      <a:lnTo>
                        <a:pt x="1050" y="86"/>
                      </a:lnTo>
                      <a:lnTo>
                        <a:pt x="1050" y="86"/>
                      </a:lnTo>
                      <a:lnTo>
                        <a:pt x="1060" y="110"/>
                      </a:lnTo>
                      <a:lnTo>
                        <a:pt x="1070" y="134"/>
                      </a:lnTo>
                      <a:lnTo>
                        <a:pt x="1070" y="134"/>
                      </a:lnTo>
                      <a:lnTo>
                        <a:pt x="1080" y="146"/>
                      </a:lnTo>
                      <a:lnTo>
                        <a:pt x="1084" y="150"/>
                      </a:lnTo>
                      <a:lnTo>
                        <a:pt x="1086" y="150"/>
                      </a:lnTo>
                      <a:lnTo>
                        <a:pt x="1088" y="150"/>
                      </a:lnTo>
                      <a:lnTo>
                        <a:pt x="1088" y="150"/>
                      </a:lnTo>
                      <a:lnTo>
                        <a:pt x="1094" y="146"/>
                      </a:lnTo>
                      <a:lnTo>
                        <a:pt x="1096" y="144"/>
                      </a:lnTo>
                      <a:lnTo>
                        <a:pt x="1096" y="144"/>
                      </a:lnTo>
                      <a:lnTo>
                        <a:pt x="1104" y="142"/>
                      </a:lnTo>
                      <a:lnTo>
                        <a:pt x="1112" y="138"/>
                      </a:lnTo>
                      <a:lnTo>
                        <a:pt x="1118" y="134"/>
                      </a:lnTo>
                      <a:lnTo>
                        <a:pt x="1118" y="134"/>
                      </a:lnTo>
                      <a:lnTo>
                        <a:pt x="1120" y="132"/>
                      </a:lnTo>
                      <a:lnTo>
                        <a:pt x="1122" y="132"/>
                      </a:lnTo>
                      <a:lnTo>
                        <a:pt x="1128" y="134"/>
                      </a:lnTo>
                      <a:lnTo>
                        <a:pt x="1150" y="148"/>
                      </a:lnTo>
                      <a:lnTo>
                        <a:pt x="1150" y="148"/>
                      </a:lnTo>
                      <a:lnTo>
                        <a:pt x="1164" y="158"/>
                      </a:lnTo>
                      <a:lnTo>
                        <a:pt x="1180" y="172"/>
                      </a:lnTo>
                      <a:lnTo>
                        <a:pt x="1192" y="186"/>
                      </a:lnTo>
                      <a:lnTo>
                        <a:pt x="1200" y="196"/>
                      </a:lnTo>
                      <a:lnTo>
                        <a:pt x="1200" y="196"/>
                      </a:lnTo>
                      <a:lnTo>
                        <a:pt x="1200" y="204"/>
                      </a:lnTo>
                      <a:lnTo>
                        <a:pt x="1200" y="210"/>
                      </a:lnTo>
                      <a:lnTo>
                        <a:pt x="1198" y="218"/>
                      </a:lnTo>
                      <a:lnTo>
                        <a:pt x="1198" y="218"/>
                      </a:lnTo>
                      <a:lnTo>
                        <a:pt x="1200" y="228"/>
                      </a:lnTo>
                      <a:lnTo>
                        <a:pt x="1202" y="236"/>
                      </a:lnTo>
                      <a:lnTo>
                        <a:pt x="1204" y="240"/>
                      </a:lnTo>
                      <a:lnTo>
                        <a:pt x="1208" y="242"/>
                      </a:lnTo>
                      <a:lnTo>
                        <a:pt x="1208" y="242"/>
                      </a:lnTo>
                      <a:lnTo>
                        <a:pt x="1214" y="244"/>
                      </a:lnTo>
                      <a:lnTo>
                        <a:pt x="1218" y="244"/>
                      </a:lnTo>
                      <a:lnTo>
                        <a:pt x="1234" y="238"/>
                      </a:lnTo>
                      <a:lnTo>
                        <a:pt x="1234" y="238"/>
                      </a:lnTo>
                      <a:lnTo>
                        <a:pt x="1242" y="234"/>
                      </a:lnTo>
                      <a:lnTo>
                        <a:pt x="1248" y="230"/>
                      </a:lnTo>
                      <a:lnTo>
                        <a:pt x="1254" y="226"/>
                      </a:lnTo>
                      <a:lnTo>
                        <a:pt x="1262" y="228"/>
                      </a:lnTo>
                      <a:lnTo>
                        <a:pt x="1262" y="228"/>
                      </a:lnTo>
                      <a:lnTo>
                        <a:pt x="1270" y="230"/>
                      </a:lnTo>
                      <a:lnTo>
                        <a:pt x="1278" y="232"/>
                      </a:lnTo>
                      <a:lnTo>
                        <a:pt x="1286" y="230"/>
                      </a:lnTo>
                      <a:lnTo>
                        <a:pt x="1298" y="226"/>
                      </a:lnTo>
                      <a:lnTo>
                        <a:pt x="1298" y="226"/>
                      </a:lnTo>
                      <a:lnTo>
                        <a:pt x="1312" y="224"/>
                      </a:lnTo>
                      <a:lnTo>
                        <a:pt x="1320" y="224"/>
                      </a:lnTo>
                      <a:lnTo>
                        <a:pt x="1330" y="226"/>
                      </a:lnTo>
                      <a:lnTo>
                        <a:pt x="1380" y="198"/>
                      </a:lnTo>
                      <a:lnTo>
                        <a:pt x="1444" y="228"/>
                      </a:lnTo>
                      <a:lnTo>
                        <a:pt x="1444" y="228"/>
                      </a:lnTo>
                      <a:lnTo>
                        <a:pt x="1462" y="220"/>
                      </a:lnTo>
                      <a:lnTo>
                        <a:pt x="1478" y="214"/>
                      </a:lnTo>
                      <a:lnTo>
                        <a:pt x="1490" y="212"/>
                      </a:lnTo>
                      <a:lnTo>
                        <a:pt x="1490" y="212"/>
                      </a:lnTo>
                      <a:lnTo>
                        <a:pt x="1498" y="214"/>
                      </a:lnTo>
                      <a:lnTo>
                        <a:pt x="1510" y="218"/>
                      </a:lnTo>
                      <a:lnTo>
                        <a:pt x="1520" y="220"/>
                      </a:lnTo>
                      <a:lnTo>
                        <a:pt x="1534" y="222"/>
                      </a:lnTo>
                      <a:lnTo>
                        <a:pt x="1534" y="222"/>
                      </a:lnTo>
                      <a:lnTo>
                        <a:pt x="1642" y="220"/>
                      </a:lnTo>
                      <a:lnTo>
                        <a:pt x="1642" y="220"/>
                      </a:lnTo>
                      <a:lnTo>
                        <a:pt x="1654" y="218"/>
                      </a:lnTo>
                      <a:lnTo>
                        <a:pt x="1664" y="218"/>
                      </a:lnTo>
                      <a:lnTo>
                        <a:pt x="1666" y="220"/>
                      </a:lnTo>
                      <a:lnTo>
                        <a:pt x="1668" y="222"/>
                      </a:lnTo>
                      <a:lnTo>
                        <a:pt x="1668" y="222"/>
                      </a:lnTo>
                      <a:lnTo>
                        <a:pt x="1672" y="228"/>
                      </a:lnTo>
                      <a:lnTo>
                        <a:pt x="1676" y="232"/>
                      </a:lnTo>
                      <a:lnTo>
                        <a:pt x="1680" y="238"/>
                      </a:lnTo>
                      <a:lnTo>
                        <a:pt x="1684" y="242"/>
                      </a:lnTo>
                      <a:lnTo>
                        <a:pt x="1684" y="242"/>
                      </a:lnTo>
                      <a:lnTo>
                        <a:pt x="1686" y="250"/>
                      </a:lnTo>
                      <a:lnTo>
                        <a:pt x="1686" y="262"/>
                      </a:lnTo>
                      <a:lnTo>
                        <a:pt x="1684" y="274"/>
                      </a:lnTo>
                      <a:lnTo>
                        <a:pt x="1682" y="284"/>
                      </a:lnTo>
                      <a:lnTo>
                        <a:pt x="1682" y="284"/>
                      </a:lnTo>
                      <a:lnTo>
                        <a:pt x="1676" y="292"/>
                      </a:lnTo>
                      <a:lnTo>
                        <a:pt x="1668" y="304"/>
                      </a:lnTo>
                      <a:lnTo>
                        <a:pt x="1660" y="314"/>
                      </a:lnTo>
                      <a:lnTo>
                        <a:pt x="1656" y="316"/>
                      </a:lnTo>
                      <a:lnTo>
                        <a:pt x="1652" y="318"/>
                      </a:lnTo>
                      <a:lnTo>
                        <a:pt x="1652" y="318"/>
                      </a:lnTo>
                      <a:lnTo>
                        <a:pt x="1658" y="326"/>
                      </a:lnTo>
                      <a:lnTo>
                        <a:pt x="1662" y="334"/>
                      </a:lnTo>
                      <a:lnTo>
                        <a:pt x="1664" y="342"/>
                      </a:lnTo>
                      <a:lnTo>
                        <a:pt x="1664" y="342"/>
                      </a:lnTo>
                      <a:lnTo>
                        <a:pt x="1664" y="352"/>
                      </a:lnTo>
                      <a:lnTo>
                        <a:pt x="1662" y="362"/>
                      </a:lnTo>
                      <a:lnTo>
                        <a:pt x="1660" y="372"/>
                      </a:lnTo>
                      <a:lnTo>
                        <a:pt x="1660" y="380"/>
                      </a:lnTo>
                      <a:lnTo>
                        <a:pt x="1660" y="380"/>
                      </a:lnTo>
                      <a:lnTo>
                        <a:pt x="1662" y="386"/>
                      </a:lnTo>
                      <a:lnTo>
                        <a:pt x="1664" y="392"/>
                      </a:lnTo>
                      <a:lnTo>
                        <a:pt x="1670" y="394"/>
                      </a:lnTo>
                      <a:lnTo>
                        <a:pt x="1678" y="398"/>
                      </a:lnTo>
                      <a:lnTo>
                        <a:pt x="1678" y="398"/>
                      </a:lnTo>
                      <a:lnTo>
                        <a:pt x="1702" y="402"/>
                      </a:lnTo>
                      <a:lnTo>
                        <a:pt x="1712" y="406"/>
                      </a:lnTo>
                      <a:lnTo>
                        <a:pt x="1722" y="412"/>
                      </a:lnTo>
                      <a:lnTo>
                        <a:pt x="1722" y="412"/>
                      </a:lnTo>
                      <a:lnTo>
                        <a:pt x="1732" y="418"/>
                      </a:lnTo>
                      <a:lnTo>
                        <a:pt x="1740" y="424"/>
                      </a:lnTo>
                      <a:lnTo>
                        <a:pt x="1742" y="428"/>
                      </a:lnTo>
                      <a:lnTo>
                        <a:pt x="1742" y="432"/>
                      </a:lnTo>
                      <a:lnTo>
                        <a:pt x="1742" y="436"/>
                      </a:lnTo>
                      <a:lnTo>
                        <a:pt x="1740" y="440"/>
                      </a:lnTo>
                      <a:lnTo>
                        <a:pt x="1740" y="440"/>
                      </a:lnTo>
                      <a:lnTo>
                        <a:pt x="1728" y="464"/>
                      </a:lnTo>
                      <a:lnTo>
                        <a:pt x="1718" y="482"/>
                      </a:lnTo>
                      <a:lnTo>
                        <a:pt x="1718" y="482"/>
                      </a:lnTo>
                      <a:lnTo>
                        <a:pt x="1716" y="492"/>
                      </a:lnTo>
                      <a:lnTo>
                        <a:pt x="1716" y="498"/>
                      </a:lnTo>
                      <a:lnTo>
                        <a:pt x="1714" y="504"/>
                      </a:lnTo>
                      <a:lnTo>
                        <a:pt x="1712" y="506"/>
                      </a:lnTo>
                      <a:lnTo>
                        <a:pt x="1710" y="506"/>
                      </a:lnTo>
                      <a:lnTo>
                        <a:pt x="1710" y="506"/>
                      </a:lnTo>
                      <a:lnTo>
                        <a:pt x="1698" y="506"/>
                      </a:lnTo>
                      <a:lnTo>
                        <a:pt x="1680" y="502"/>
                      </a:lnTo>
                      <a:lnTo>
                        <a:pt x="1664" y="498"/>
                      </a:lnTo>
                      <a:lnTo>
                        <a:pt x="1656" y="498"/>
                      </a:lnTo>
                      <a:lnTo>
                        <a:pt x="1652" y="500"/>
                      </a:lnTo>
                      <a:lnTo>
                        <a:pt x="1652" y="500"/>
                      </a:lnTo>
                      <a:lnTo>
                        <a:pt x="1646" y="510"/>
                      </a:lnTo>
                      <a:lnTo>
                        <a:pt x="1642" y="524"/>
                      </a:lnTo>
                      <a:lnTo>
                        <a:pt x="1634" y="544"/>
                      </a:lnTo>
                      <a:lnTo>
                        <a:pt x="1634" y="544"/>
                      </a:lnTo>
                      <a:lnTo>
                        <a:pt x="1626" y="550"/>
                      </a:lnTo>
                      <a:lnTo>
                        <a:pt x="1618" y="554"/>
                      </a:lnTo>
                      <a:lnTo>
                        <a:pt x="1612" y="560"/>
                      </a:lnTo>
                      <a:lnTo>
                        <a:pt x="1612" y="560"/>
                      </a:lnTo>
                      <a:lnTo>
                        <a:pt x="1604" y="570"/>
                      </a:lnTo>
                      <a:lnTo>
                        <a:pt x="1604" y="570"/>
                      </a:lnTo>
                      <a:lnTo>
                        <a:pt x="1600" y="572"/>
                      </a:lnTo>
                      <a:lnTo>
                        <a:pt x="1598" y="578"/>
                      </a:lnTo>
                      <a:lnTo>
                        <a:pt x="1598" y="584"/>
                      </a:lnTo>
                      <a:lnTo>
                        <a:pt x="1598" y="584"/>
                      </a:lnTo>
                      <a:lnTo>
                        <a:pt x="1600" y="594"/>
                      </a:lnTo>
                      <a:lnTo>
                        <a:pt x="1604" y="610"/>
                      </a:lnTo>
                      <a:lnTo>
                        <a:pt x="1610" y="630"/>
                      </a:lnTo>
                      <a:lnTo>
                        <a:pt x="1608" y="64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3" name="Freeform 27">
                  <a:extLst>
                    <a:ext uri="{FF2B5EF4-FFF2-40B4-BE49-F238E27FC236}">
                      <a16:creationId xmlns:a16="http://schemas.microsoft.com/office/drawing/2014/main" id="{B2FA3F5D-8331-40D3-A28E-6369F7FF46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2994" y="3723307"/>
                  <a:ext cx="621899" cy="618850"/>
                </a:xfrm>
                <a:custGeom>
                  <a:avLst/>
                  <a:gdLst/>
                  <a:ahLst/>
                  <a:cxnLst>
                    <a:cxn ang="0">
                      <a:pos x="328" y="28"/>
                    </a:cxn>
                    <a:cxn ang="0">
                      <a:pos x="280" y="76"/>
                    </a:cxn>
                    <a:cxn ang="0">
                      <a:pos x="248" y="86"/>
                    </a:cxn>
                    <a:cxn ang="0">
                      <a:pos x="216" y="78"/>
                    </a:cxn>
                    <a:cxn ang="0">
                      <a:pos x="214" y="100"/>
                    </a:cxn>
                    <a:cxn ang="0">
                      <a:pos x="244" y="156"/>
                    </a:cxn>
                    <a:cxn ang="0">
                      <a:pos x="236" y="178"/>
                    </a:cxn>
                    <a:cxn ang="0">
                      <a:pos x="194" y="226"/>
                    </a:cxn>
                    <a:cxn ang="0">
                      <a:pos x="180" y="262"/>
                    </a:cxn>
                    <a:cxn ang="0">
                      <a:pos x="182" y="330"/>
                    </a:cxn>
                    <a:cxn ang="0">
                      <a:pos x="166" y="342"/>
                    </a:cxn>
                    <a:cxn ang="0">
                      <a:pos x="134" y="350"/>
                    </a:cxn>
                    <a:cxn ang="0">
                      <a:pos x="76" y="392"/>
                    </a:cxn>
                    <a:cxn ang="0">
                      <a:pos x="16" y="394"/>
                    </a:cxn>
                    <a:cxn ang="0">
                      <a:pos x="24" y="456"/>
                    </a:cxn>
                    <a:cxn ang="0">
                      <a:pos x="44" y="514"/>
                    </a:cxn>
                    <a:cxn ang="0">
                      <a:pos x="70" y="562"/>
                    </a:cxn>
                    <a:cxn ang="0">
                      <a:pos x="68" y="584"/>
                    </a:cxn>
                    <a:cxn ang="0">
                      <a:pos x="26" y="618"/>
                    </a:cxn>
                    <a:cxn ang="0">
                      <a:pos x="8" y="640"/>
                    </a:cxn>
                    <a:cxn ang="0">
                      <a:pos x="2" y="658"/>
                    </a:cxn>
                    <a:cxn ang="0">
                      <a:pos x="34" y="686"/>
                    </a:cxn>
                    <a:cxn ang="0">
                      <a:pos x="44" y="736"/>
                    </a:cxn>
                    <a:cxn ang="0">
                      <a:pos x="62" y="784"/>
                    </a:cxn>
                    <a:cxn ang="0">
                      <a:pos x="80" y="772"/>
                    </a:cxn>
                    <a:cxn ang="0">
                      <a:pos x="100" y="752"/>
                    </a:cxn>
                    <a:cxn ang="0">
                      <a:pos x="118" y="732"/>
                    </a:cxn>
                    <a:cxn ang="0">
                      <a:pos x="148" y="708"/>
                    </a:cxn>
                    <a:cxn ang="0">
                      <a:pos x="184" y="696"/>
                    </a:cxn>
                    <a:cxn ang="0">
                      <a:pos x="296" y="702"/>
                    </a:cxn>
                    <a:cxn ang="0">
                      <a:pos x="404" y="724"/>
                    </a:cxn>
                    <a:cxn ang="0">
                      <a:pos x="536" y="708"/>
                    </a:cxn>
                    <a:cxn ang="0">
                      <a:pos x="588" y="718"/>
                    </a:cxn>
                    <a:cxn ang="0">
                      <a:pos x="634" y="708"/>
                    </a:cxn>
                    <a:cxn ang="0">
                      <a:pos x="676" y="688"/>
                    </a:cxn>
                    <a:cxn ang="0">
                      <a:pos x="686" y="656"/>
                    </a:cxn>
                    <a:cxn ang="0">
                      <a:pos x="714" y="608"/>
                    </a:cxn>
                    <a:cxn ang="0">
                      <a:pos x="770" y="582"/>
                    </a:cxn>
                    <a:cxn ang="0">
                      <a:pos x="760" y="550"/>
                    </a:cxn>
                    <a:cxn ang="0">
                      <a:pos x="708" y="466"/>
                    </a:cxn>
                    <a:cxn ang="0">
                      <a:pos x="698" y="432"/>
                    </a:cxn>
                    <a:cxn ang="0">
                      <a:pos x="706" y="418"/>
                    </a:cxn>
                    <a:cxn ang="0">
                      <a:pos x="764" y="424"/>
                    </a:cxn>
                    <a:cxn ang="0">
                      <a:pos x="814" y="360"/>
                    </a:cxn>
                    <a:cxn ang="0">
                      <a:pos x="814" y="344"/>
                    </a:cxn>
                    <a:cxn ang="0">
                      <a:pos x="780" y="320"/>
                    </a:cxn>
                    <a:cxn ang="0">
                      <a:pos x="726" y="324"/>
                    </a:cxn>
                    <a:cxn ang="0">
                      <a:pos x="710" y="304"/>
                    </a:cxn>
                    <a:cxn ang="0">
                      <a:pos x="710" y="292"/>
                    </a:cxn>
                    <a:cxn ang="0">
                      <a:pos x="694" y="270"/>
                    </a:cxn>
                    <a:cxn ang="0">
                      <a:pos x="678" y="264"/>
                    </a:cxn>
                    <a:cxn ang="0">
                      <a:pos x="652" y="232"/>
                    </a:cxn>
                    <a:cxn ang="0">
                      <a:pos x="618" y="214"/>
                    </a:cxn>
                    <a:cxn ang="0">
                      <a:pos x="614" y="184"/>
                    </a:cxn>
                    <a:cxn ang="0">
                      <a:pos x="622" y="102"/>
                    </a:cxn>
                    <a:cxn ang="0">
                      <a:pos x="594" y="70"/>
                    </a:cxn>
                    <a:cxn ang="0">
                      <a:pos x="574" y="54"/>
                    </a:cxn>
                    <a:cxn ang="0">
                      <a:pos x="550" y="50"/>
                    </a:cxn>
                    <a:cxn ang="0">
                      <a:pos x="508" y="42"/>
                    </a:cxn>
                    <a:cxn ang="0">
                      <a:pos x="450" y="30"/>
                    </a:cxn>
                    <a:cxn ang="0">
                      <a:pos x="394" y="14"/>
                    </a:cxn>
                    <a:cxn ang="0">
                      <a:pos x="360" y="0"/>
                    </a:cxn>
                  </a:cxnLst>
                  <a:rect l="0" t="0" r="r" b="b"/>
                  <a:pathLst>
                    <a:path w="816" h="812">
                      <a:moveTo>
                        <a:pt x="360" y="0"/>
                      </a:moveTo>
                      <a:lnTo>
                        <a:pt x="360" y="0"/>
                      </a:lnTo>
                      <a:lnTo>
                        <a:pt x="340" y="18"/>
                      </a:lnTo>
                      <a:lnTo>
                        <a:pt x="328" y="28"/>
                      </a:lnTo>
                      <a:lnTo>
                        <a:pt x="312" y="46"/>
                      </a:lnTo>
                      <a:lnTo>
                        <a:pt x="312" y="46"/>
                      </a:lnTo>
                      <a:lnTo>
                        <a:pt x="296" y="64"/>
                      </a:lnTo>
                      <a:lnTo>
                        <a:pt x="280" y="76"/>
                      </a:lnTo>
                      <a:lnTo>
                        <a:pt x="262" y="84"/>
                      </a:lnTo>
                      <a:lnTo>
                        <a:pt x="254" y="84"/>
                      </a:lnTo>
                      <a:lnTo>
                        <a:pt x="248" y="86"/>
                      </a:lnTo>
                      <a:lnTo>
                        <a:pt x="248" y="86"/>
                      </a:lnTo>
                      <a:lnTo>
                        <a:pt x="240" y="84"/>
                      </a:lnTo>
                      <a:lnTo>
                        <a:pt x="232" y="82"/>
                      </a:lnTo>
                      <a:lnTo>
                        <a:pt x="220" y="78"/>
                      </a:lnTo>
                      <a:lnTo>
                        <a:pt x="216" y="78"/>
                      </a:lnTo>
                      <a:lnTo>
                        <a:pt x="214" y="82"/>
                      </a:lnTo>
                      <a:lnTo>
                        <a:pt x="214" y="88"/>
                      </a:lnTo>
                      <a:lnTo>
                        <a:pt x="214" y="100"/>
                      </a:lnTo>
                      <a:lnTo>
                        <a:pt x="214" y="100"/>
                      </a:lnTo>
                      <a:lnTo>
                        <a:pt x="218" y="112"/>
                      </a:lnTo>
                      <a:lnTo>
                        <a:pt x="224" y="124"/>
                      </a:lnTo>
                      <a:lnTo>
                        <a:pt x="234" y="142"/>
                      </a:lnTo>
                      <a:lnTo>
                        <a:pt x="244" y="156"/>
                      </a:lnTo>
                      <a:lnTo>
                        <a:pt x="244" y="162"/>
                      </a:lnTo>
                      <a:lnTo>
                        <a:pt x="244" y="168"/>
                      </a:lnTo>
                      <a:lnTo>
                        <a:pt x="244" y="168"/>
                      </a:lnTo>
                      <a:lnTo>
                        <a:pt x="236" y="178"/>
                      </a:lnTo>
                      <a:lnTo>
                        <a:pt x="226" y="188"/>
                      </a:lnTo>
                      <a:lnTo>
                        <a:pt x="204" y="214"/>
                      </a:lnTo>
                      <a:lnTo>
                        <a:pt x="204" y="214"/>
                      </a:lnTo>
                      <a:lnTo>
                        <a:pt x="194" y="226"/>
                      </a:lnTo>
                      <a:lnTo>
                        <a:pt x="188" y="236"/>
                      </a:lnTo>
                      <a:lnTo>
                        <a:pt x="182" y="246"/>
                      </a:lnTo>
                      <a:lnTo>
                        <a:pt x="180" y="254"/>
                      </a:lnTo>
                      <a:lnTo>
                        <a:pt x="180" y="262"/>
                      </a:lnTo>
                      <a:lnTo>
                        <a:pt x="180" y="262"/>
                      </a:lnTo>
                      <a:lnTo>
                        <a:pt x="184" y="300"/>
                      </a:lnTo>
                      <a:lnTo>
                        <a:pt x="184" y="318"/>
                      </a:lnTo>
                      <a:lnTo>
                        <a:pt x="182" y="330"/>
                      </a:lnTo>
                      <a:lnTo>
                        <a:pt x="182" y="330"/>
                      </a:lnTo>
                      <a:lnTo>
                        <a:pt x="180" y="336"/>
                      </a:lnTo>
                      <a:lnTo>
                        <a:pt x="176" y="338"/>
                      </a:lnTo>
                      <a:lnTo>
                        <a:pt x="166" y="342"/>
                      </a:lnTo>
                      <a:lnTo>
                        <a:pt x="150" y="344"/>
                      </a:lnTo>
                      <a:lnTo>
                        <a:pt x="142" y="346"/>
                      </a:lnTo>
                      <a:lnTo>
                        <a:pt x="134" y="350"/>
                      </a:lnTo>
                      <a:lnTo>
                        <a:pt x="134" y="350"/>
                      </a:lnTo>
                      <a:lnTo>
                        <a:pt x="118" y="362"/>
                      </a:lnTo>
                      <a:lnTo>
                        <a:pt x="102" y="374"/>
                      </a:lnTo>
                      <a:lnTo>
                        <a:pt x="88" y="386"/>
                      </a:lnTo>
                      <a:lnTo>
                        <a:pt x="76" y="392"/>
                      </a:lnTo>
                      <a:lnTo>
                        <a:pt x="76" y="392"/>
                      </a:lnTo>
                      <a:lnTo>
                        <a:pt x="62" y="394"/>
                      </a:lnTo>
                      <a:lnTo>
                        <a:pt x="40" y="394"/>
                      </a:lnTo>
                      <a:lnTo>
                        <a:pt x="16" y="394"/>
                      </a:lnTo>
                      <a:lnTo>
                        <a:pt x="16" y="394"/>
                      </a:lnTo>
                      <a:lnTo>
                        <a:pt x="18" y="418"/>
                      </a:lnTo>
                      <a:lnTo>
                        <a:pt x="20" y="438"/>
                      </a:lnTo>
                      <a:lnTo>
                        <a:pt x="24" y="456"/>
                      </a:lnTo>
                      <a:lnTo>
                        <a:pt x="24" y="456"/>
                      </a:lnTo>
                      <a:lnTo>
                        <a:pt x="32" y="480"/>
                      </a:lnTo>
                      <a:lnTo>
                        <a:pt x="44" y="514"/>
                      </a:lnTo>
                      <a:lnTo>
                        <a:pt x="44" y="514"/>
                      </a:lnTo>
                      <a:lnTo>
                        <a:pt x="48" y="526"/>
                      </a:lnTo>
                      <a:lnTo>
                        <a:pt x="54" y="536"/>
                      </a:lnTo>
                      <a:lnTo>
                        <a:pt x="66" y="554"/>
                      </a:lnTo>
                      <a:lnTo>
                        <a:pt x="70" y="562"/>
                      </a:lnTo>
                      <a:lnTo>
                        <a:pt x="72" y="568"/>
                      </a:lnTo>
                      <a:lnTo>
                        <a:pt x="70" y="576"/>
                      </a:lnTo>
                      <a:lnTo>
                        <a:pt x="68" y="584"/>
                      </a:lnTo>
                      <a:lnTo>
                        <a:pt x="68" y="584"/>
                      </a:lnTo>
                      <a:lnTo>
                        <a:pt x="62" y="592"/>
                      </a:lnTo>
                      <a:lnTo>
                        <a:pt x="54" y="600"/>
                      </a:lnTo>
                      <a:lnTo>
                        <a:pt x="40" y="610"/>
                      </a:lnTo>
                      <a:lnTo>
                        <a:pt x="26" y="618"/>
                      </a:lnTo>
                      <a:lnTo>
                        <a:pt x="22" y="624"/>
                      </a:lnTo>
                      <a:lnTo>
                        <a:pt x="16" y="630"/>
                      </a:lnTo>
                      <a:lnTo>
                        <a:pt x="16" y="630"/>
                      </a:lnTo>
                      <a:lnTo>
                        <a:pt x="8" y="640"/>
                      </a:lnTo>
                      <a:lnTo>
                        <a:pt x="2" y="648"/>
                      </a:lnTo>
                      <a:lnTo>
                        <a:pt x="0" y="652"/>
                      </a:lnTo>
                      <a:lnTo>
                        <a:pt x="0" y="656"/>
                      </a:lnTo>
                      <a:lnTo>
                        <a:pt x="2" y="658"/>
                      </a:lnTo>
                      <a:lnTo>
                        <a:pt x="6" y="662"/>
                      </a:lnTo>
                      <a:lnTo>
                        <a:pt x="6" y="662"/>
                      </a:lnTo>
                      <a:lnTo>
                        <a:pt x="20" y="672"/>
                      </a:lnTo>
                      <a:lnTo>
                        <a:pt x="34" y="686"/>
                      </a:lnTo>
                      <a:lnTo>
                        <a:pt x="50" y="702"/>
                      </a:lnTo>
                      <a:lnTo>
                        <a:pt x="50" y="702"/>
                      </a:lnTo>
                      <a:lnTo>
                        <a:pt x="46" y="720"/>
                      </a:lnTo>
                      <a:lnTo>
                        <a:pt x="44" y="736"/>
                      </a:lnTo>
                      <a:lnTo>
                        <a:pt x="44" y="748"/>
                      </a:lnTo>
                      <a:lnTo>
                        <a:pt x="44" y="748"/>
                      </a:lnTo>
                      <a:lnTo>
                        <a:pt x="50" y="762"/>
                      </a:lnTo>
                      <a:lnTo>
                        <a:pt x="62" y="784"/>
                      </a:lnTo>
                      <a:lnTo>
                        <a:pt x="78" y="812"/>
                      </a:lnTo>
                      <a:lnTo>
                        <a:pt x="78" y="812"/>
                      </a:lnTo>
                      <a:lnTo>
                        <a:pt x="78" y="794"/>
                      </a:lnTo>
                      <a:lnTo>
                        <a:pt x="80" y="772"/>
                      </a:lnTo>
                      <a:lnTo>
                        <a:pt x="80" y="772"/>
                      </a:lnTo>
                      <a:lnTo>
                        <a:pt x="84" y="766"/>
                      </a:lnTo>
                      <a:lnTo>
                        <a:pt x="90" y="758"/>
                      </a:lnTo>
                      <a:lnTo>
                        <a:pt x="100" y="752"/>
                      </a:lnTo>
                      <a:lnTo>
                        <a:pt x="110" y="750"/>
                      </a:lnTo>
                      <a:lnTo>
                        <a:pt x="110" y="750"/>
                      </a:lnTo>
                      <a:lnTo>
                        <a:pt x="112" y="742"/>
                      </a:lnTo>
                      <a:lnTo>
                        <a:pt x="118" y="732"/>
                      </a:lnTo>
                      <a:lnTo>
                        <a:pt x="118" y="732"/>
                      </a:lnTo>
                      <a:lnTo>
                        <a:pt x="126" y="724"/>
                      </a:lnTo>
                      <a:lnTo>
                        <a:pt x="138" y="714"/>
                      </a:lnTo>
                      <a:lnTo>
                        <a:pt x="148" y="708"/>
                      </a:lnTo>
                      <a:lnTo>
                        <a:pt x="158" y="704"/>
                      </a:lnTo>
                      <a:lnTo>
                        <a:pt x="170" y="700"/>
                      </a:lnTo>
                      <a:lnTo>
                        <a:pt x="184" y="696"/>
                      </a:lnTo>
                      <a:lnTo>
                        <a:pt x="184" y="696"/>
                      </a:lnTo>
                      <a:lnTo>
                        <a:pt x="212" y="694"/>
                      </a:lnTo>
                      <a:lnTo>
                        <a:pt x="238" y="694"/>
                      </a:lnTo>
                      <a:lnTo>
                        <a:pt x="266" y="696"/>
                      </a:lnTo>
                      <a:lnTo>
                        <a:pt x="296" y="702"/>
                      </a:lnTo>
                      <a:lnTo>
                        <a:pt x="296" y="702"/>
                      </a:lnTo>
                      <a:lnTo>
                        <a:pt x="366" y="716"/>
                      </a:lnTo>
                      <a:lnTo>
                        <a:pt x="404" y="724"/>
                      </a:lnTo>
                      <a:lnTo>
                        <a:pt x="404" y="724"/>
                      </a:lnTo>
                      <a:lnTo>
                        <a:pt x="498" y="710"/>
                      </a:lnTo>
                      <a:lnTo>
                        <a:pt x="498" y="710"/>
                      </a:lnTo>
                      <a:lnTo>
                        <a:pt x="514" y="710"/>
                      </a:lnTo>
                      <a:lnTo>
                        <a:pt x="536" y="708"/>
                      </a:lnTo>
                      <a:lnTo>
                        <a:pt x="570" y="710"/>
                      </a:lnTo>
                      <a:lnTo>
                        <a:pt x="570" y="710"/>
                      </a:lnTo>
                      <a:lnTo>
                        <a:pt x="582" y="714"/>
                      </a:lnTo>
                      <a:lnTo>
                        <a:pt x="588" y="718"/>
                      </a:lnTo>
                      <a:lnTo>
                        <a:pt x="594" y="718"/>
                      </a:lnTo>
                      <a:lnTo>
                        <a:pt x="594" y="718"/>
                      </a:lnTo>
                      <a:lnTo>
                        <a:pt x="608" y="716"/>
                      </a:lnTo>
                      <a:lnTo>
                        <a:pt x="634" y="708"/>
                      </a:lnTo>
                      <a:lnTo>
                        <a:pt x="658" y="700"/>
                      </a:lnTo>
                      <a:lnTo>
                        <a:pt x="672" y="692"/>
                      </a:lnTo>
                      <a:lnTo>
                        <a:pt x="672" y="692"/>
                      </a:lnTo>
                      <a:lnTo>
                        <a:pt x="676" y="688"/>
                      </a:lnTo>
                      <a:lnTo>
                        <a:pt x="678" y="680"/>
                      </a:lnTo>
                      <a:lnTo>
                        <a:pt x="682" y="668"/>
                      </a:lnTo>
                      <a:lnTo>
                        <a:pt x="686" y="656"/>
                      </a:lnTo>
                      <a:lnTo>
                        <a:pt x="686" y="656"/>
                      </a:lnTo>
                      <a:lnTo>
                        <a:pt x="698" y="628"/>
                      </a:lnTo>
                      <a:lnTo>
                        <a:pt x="704" y="616"/>
                      </a:lnTo>
                      <a:lnTo>
                        <a:pt x="710" y="610"/>
                      </a:lnTo>
                      <a:lnTo>
                        <a:pt x="714" y="608"/>
                      </a:lnTo>
                      <a:lnTo>
                        <a:pt x="714" y="608"/>
                      </a:lnTo>
                      <a:lnTo>
                        <a:pt x="748" y="594"/>
                      </a:lnTo>
                      <a:lnTo>
                        <a:pt x="764" y="586"/>
                      </a:lnTo>
                      <a:lnTo>
                        <a:pt x="770" y="582"/>
                      </a:lnTo>
                      <a:lnTo>
                        <a:pt x="774" y="576"/>
                      </a:lnTo>
                      <a:lnTo>
                        <a:pt x="774" y="576"/>
                      </a:lnTo>
                      <a:lnTo>
                        <a:pt x="760" y="550"/>
                      </a:lnTo>
                      <a:lnTo>
                        <a:pt x="760" y="550"/>
                      </a:lnTo>
                      <a:lnTo>
                        <a:pt x="736" y="506"/>
                      </a:lnTo>
                      <a:lnTo>
                        <a:pt x="736" y="506"/>
                      </a:lnTo>
                      <a:lnTo>
                        <a:pt x="720" y="482"/>
                      </a:lnTo>
                      <a:lnTo>
                        <a:pt x="708" y="466"/>
                      </a:lnTo>
                      <a:lnTo>
                        <a:pt x="702" y="454"/>
                      </a:lnTo>
                      <a:lnTo>
                        <a:pt x="702" y="454"/>
                      </a:lnTo>
                      <a:lnTo>
                        <a:pt x="700" y="444"/>
                      </a:lnTo>
                      <a:lnTo>
                        <a:pt x="698" y="432"/>
                      </a:lnTo>
                      <a:lnTo>
                        <a:pt x="698" y="426"/>
                      </a:lnTo>
                      <a:lnTo>
                        <a:pt x="700" y="422"/>
                      </a:lnTo>
                      <a:lnTo>
                        <a:pt x="702" y="418"/>
                      </a:lnTo>
                      <a:lnTo>
                        <a:pt x="706" y="418"/>
                      </a:lnTo>
                      <a:lnTo>
                        <a:pt x="706" y="418"/>
                      </a:lnTo>
                      <a:lnTo>
                        <a:pt x="740" y="422"/>
                      </a:lnTo>
                      <a:lnTo>
                        <a:pt x="764" y="424"/>
                      </a:lnTo>
                      <a:lnTo>
                        <a:pt x="764" y="424"/>
                      </a:lnTo>
                      <a:lnTo>
                        <a:pt x="774" y="430"/>
                      </a:lnTo>
                      <a:lnTo>
                        <a:pt x="808" y="374"/>
                      </a:lnTo>
                      <a:lnTo>
                        <a:pt x="808" y="374"/>
                      </a:lnTo>
                      <a:lnTo>
                        <a:pt x="814" y="360"/>
                      </a:lnTo>
                      <a:lnTo>
                        <a:pt x="816" y="350"/>
                      </a:lnTo>
                      <a:lnTo>
                        <a:pt x="816" y="346"/>
                      </a:lnTo>
                      <a:lnTo>
                        <a:pt x="814" y="344"/>
                      </a:lnTo>
                      <a:lnTo>
                        <a:pt x="814" y="344"/>
                      </a:lnTo>
                      <a:lnTo>
                        <a:pt x="798" y="332"/>
                      </a:lnTo>
                      <a:lnTo>
                        <a:pt x="786" y="322"/>
                      </a:lnTo>
                      <a:lnTo>
                        <a:pt x="786" y="322"/>
                      </a:lnTo>
                      <a:lnTo>
                        <a:pt x="780" y="320"/>
                      </a:lnTo>
                      <a:lnTo>
                        <a:pt x="772" y="318"/>
                      </a:lnTo>
                      <a:lnTo>
                        <a:pt x="758" y="318"/>
                      </a:lnTo>
                      <a:lnTo>
                        <a:pt x="758" y="318"/>
                      </a:lnTo>
                      <a:lnTo>
                        <a:pt x="726" y="324"/>
                      </a:lnTo>
                      <a:lnTo>
                        <a:pt x="704" y="304"/>
                      </a:lnTo>
                      <a:lnTo>
                        <a:pt x="704" y="304"/>
                      </a:lnTo>
                      <a:lnTo>
                        <a:pt x="706" y="304"/>
                      </a:lnTo>
                      <a:lnTo>
                        <a:pt x="710" y="304"/>
                      </a:lnTo>
                      <a:lnTo>
                        <a:pt x="710" y="302"/>
                      </a:lnTo>
                      <a:lnTo>
                        <a:pt x="712" y="300"/>
                      </a:lnTo>
                      <a:lnTo>
                        <a:pt x="712" y="296"/>
                      </a:lnTo>
                      <a:lnTo>
                        <a:pt x="710" y="292"/>
                      </a:lnTo>
                      <a:lnTo>
                        <a:pt x="710" y="292"/>
                      </a:lnTo>
                      <a:lnTo>
                        <a:pt x="700" y="276"/>
                      </a:lnTo>
                      <a:lnTo>
                        <a:pt x="698" y="272"/>
                      </a:lnTo>
                      <a:lnTo>
                        <a:pt x="694" y="270"/>
                      </a:lnTo>
                      <a:lnTo>
                        <a:pt x="694" y="270"/>
                      </a:lnTo>
                      <a:lnTo>
                        <a:pt x="686" y="268"/>
                      </a:lnTo>
                      <a:lnTo>
                        <a:pt x="682" y="268"/>
                      </a:lnTo>
                      <a:lnTo>
                        <a:pt x="678" y="264"/>
                      </a:lnTo>
                      <a:lnTo>
                        <a:pt x="678" y="264"/>
                      </a:lnTo>
                      <a:lnTo>
                        <a:pt x="664" y="250"/>
                      </a:lnTo>
                      <a:lnTo>
                        <a:pt x="652" y="232"/>
                      </a:lnTo>
                      <a:lnTo>
                        <a:pt x="652" y="232"/>
                      </a:lnTo>
                      <a:lnTo>
                        <a:pt x="646" y="228"/>
                      </a:lnTo>
                      <a:lnTo>
                        <a:pt x="636" y="222"/>
                      </a:lnTo>
                      <a:lnTo>
                        <a:pt x="626" y="218"/>
                      </a:lnTo>
                      <a:lnTo>
                        <a:pt x="618" y="214"/>
                      </a:lnTo>
                      <a:lnTo>
                        <a:pt x="618" y="214"/>
                      </a:lnTo>
                      <a:lnTo>
                        <a:pt x="616" y="210"/>
                      </a:lnTo>
                      <a:lnTo>
                        <a:pt x="616" y="202"/>
                      </a:lnTo>
                      <a:lnTo>
                        <a:pt x="614" y="184"/>
                      </a:lnTo>
                      <a:lnTo>
                        <a:pt x="614" y="148"/>
                      </a:lnTo>
                      <a:lnTo>
                        <a:pt x="614" y="148"/>
                      </a:lnTo>
                      <a:lnTo>
                        <a:pt x="618" y="118"/>
                      </a:lnTo>
                      <a:lnTo>
                        <a:pt x="622" y="102"/>
                      </a:lnTo>
                      <a:lnTo>
                        <a:pt x="622" y="94"/>
                      </a:lnTo>
                      <a:lnTo>
                        <a:pt x="622" y="94"/>
                      </a:lnTo>
                      <a:lnTo>
                        <a:pt x="620" y="90"/>
                      </a:lnTo>
                      <a:lnTo>
                        <a:pt x="594" y="70"/>
                      </a:lnTo>
                      <a:lnTo>
                        <a:pt x="590" y="68"/>
                      </a:lnTo>
                      <a:lnTo>
                        <a:pt x="590" y="68"/>
                      </a:lnTo>
                      <a:lnTo>
                        <a:pt x="584" y="62"/>
                      </a:lnTo>
                      <a:lnTo>
                        <a:pt x="574" y="54"/>
                      </a:lnTo>
                      <a:lnTo>
                        <a:pt x="574" y="54"/>
                      </a:lnTo>
                      <a:lnTo>
                        <a:pt x="570" y="52"/>
                      </a:lnTo>
                      <a:lnTo>
                        <a:pt x="562" y="50"/>
                      </a:lnTo>
                      <a:lnTo>
                        <a:pt x="550" y="50"/>
                      </a:lnTo>
                      <a:lnTo>
                        <a:pt x="550" y="50"/>
                      </a:lnTo>
                      <a:lnTo>
                        <a:pt x="530" y="48"/>
                      </a:lnTo>
                      <a:lnTo>
                        <a:pt x="518" y="44"/>
                      </a:lnTo>
                      <a:lnTo>
                        <a:pt x="508" y="42"/>
                      </a:lnTo>
                      <a:lnTo>
                        <a:pt x="508" y="42"/>
                      </a:lnTo>
                      <a:lnTo>
                        <a:pt x="496" y="38"/>
                      </a:lnTo>
                      <a:lnTo>
                        <a:pt x="480" y="34"/>
                      </a:lnTo>
                      <a:lnTo>
                        <a:pt x="450" y="30"/>
                      </a:lnTo>
                      <a:lnTo>
                        <a:pt x="450" y="30"/>
                      </a:lnTo>
                      <a:lnTo>
                        <a:pt x="420" y="22"/>
                      </a:lnTo>
                      <a:lnTo>
                        <a:pt x="394" y="14"/>
                      </a:lnTo>
                      <a:lnTo>
                        <a:pt x="394" y="14"/>
                      </a:lnTo>
                      <a:lnTo>
                        <a:pt x="386" y="12"/>
                      </a:lnTo>
                      <a:lnTo>
                        <a:pt x="374" y="8"/>
                      </a:lnTo>
                      <a:lnTo>
                        <a:pt x="360" y="0"/>
                      </a:lnTo>
                      <a:lnTo>
                        <a:pt x="36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4" name="Freeform 28">
                  <a:extLst>
                    <a:ext uri="{FF2B5EF4-FFF2-40B4-BE49-F238E27FC236}">
                      <a16:creationId xmlns:a16="http://schemas.microsoft.com/office/drawing/2014/main" id="{1E228EC6-22D5-45E0-BD0E-7FDBDE7937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5326" y="3718734"/>
                  <a:ext cx="353629" cy="304852"/>
                </a:xfrm>
                <a:custGeom>
                  <a:avLst/>
                  <a:gdLst/>
                  <a:ahLst/>
                  <a:cxnLst>
                    <a:cxn ang="0">
                      <a:pos x="2" y="60"/>
                    </a:cxn>
                    <a:cxn ang="0">
                      <a:pos x="14" y="50"/>
                    </a:cxn>
                    <a:cxn ang="0">
                      <a:pos x="44" y="38"/>
                    </a:cxn>
                    <a:cxn ang="0">
                      <a:pos x="88" y="24"/>
                    </a:cxn>
                    <a:cxn ang="0">
                      <a:pos x="148" y="10"/>
                    </a:cxn>
                    <a:cxn ang="0">
                      <a:pos x="200" y="12"/>
                    </a:cxn>
                    <a:cxn ang="0">
                      <a:pos x="214" y="12"/>
                    </a:cxn>
                    <a:cxn ang="0">
                      <a:pos x="266" y="8"/>
                    </a:cxn>
                    <a:cxn ang="0">
                      <a:pos x="306" y="0"/>
                    </a:cxn>
                    <a:cxn ang="0">
                      <a:pos x="330" y="16"/>
                    </a:cxn>
                    <a:cxn ang="0">
                      <a:pos x="348" y="26"/>
                    </a:cxn>
                    <a:cxn ang="0">
                      <a:pos x="384" y="44"/>
                    </a:cxn>
                    <a:cxn ang="0">
                      <a:pos x="402" y="54"/>
                    </a:cxn>
                    <a:cxn ang="0">
                      <a:pos x="406" y="60"/>
                    </a:cxn>
                    <a:cxn ang="0">
                      <a:pos x="422" y="80"/>
                    </a:cxn>
                    <a:cxn ang="0">
                      <a:pos x="434" y="88"/>
                    </a:cxn>
                    <a:cxn ang="0">
                      <a:pos x="436" y="116"/>
                    </a:cxn>
                    <a:cxn ang="0">
                      <a:pos x="442" y="130"/>
                    </a:cxn>
                    <a:cxn ang="0">
                      <a:pos x="458" y="154"/>
                    </a:cxn>
                    <a:cxn ang="0">
                      <a:pos x="464" y="174"/>
                    </a:cxn>
                    <a:cxn ang="0">
                      <a:pos x="454" y="184"/>
                    </a:cxn>
                    <a:cxn ang="0">
                      <a:pos x="420" y="222"/>
                    </a:cxn>
                    <a:cxn ang="0">
                      <a:pos x="410" y="236"/>
                    </a:cxn>
                    <a:cxn ang="0">
                      <a:pos x="404" y="254"/>
                    </a:cxn>
                    <a:cxn ang="0">
                      <a:pos x="400" y="268"/>
                    </a:cxn>
                    <a:cxn ang="0">
                      <a:pos x="402" y="304"/>
                    </a:cxn>
                    <a:cxn ang="0">
                      <a:pos x="402" y="336"/>
                    </a:cxn>
                    <a:cxn ang="0">
                      <a:pos x="400" y="340"/>
                    </a:cxn>
                    <a:cxn ang="0">
                      <a:pos x="388" y="344"/>
                    </a:cxn>
                    <a:cxn ang="0">
                      <a:pos x="378" y="348"/>
                    </a:cxn>
                    <a:cxn ang="0">
                      <a:pos x="350" y="360"/>
                    </a:cxn>
                    <a:cxn ang="0">
                      <a:pos x="338" y="368"/>
                    </a:cxn>
                    <a:cxn ang="0">
                      <a:pos x="304" y="394"/>
                    </a:cxn>
                    <a:cxn ang="0">
                      <a:pos x="296" y="398"/>
                    </a:cxn>
                    <a:cxn ang="0">
                      <a:pos x="262" y="400"/>
                    </a:cxn>
                    <a:cxn ang="0">
                      <a:pos x="236" y="400"/>
                    </a:cxn>
                    <a:cxn ang="0">
                      <a:pos x="202" y="354"/>
                    </a:cxn>
                    <a:cxn ang="0">
                      <a:pos x="198" y="350"/>
                    </a:cxn>
                    <a:cxn ang="0">
                      <a:pos x="178" y="344"/>
                    </a:cxn>
                    <a:cxn ang="0">
                      <a:pos x="158" y="336"/>
                    </a:cxn>
                    <a:cxn ang="0">
                      <a:pos x="156" y="332"/>
                    </a:cxn>
                    <a:cxn ang="0">
                      <a:pos x="154" y="298"/>
                    </a:cxn>
                    <a:cxn ang="0">
                      <a:pos x="150" y="258"/>
                    </a:cxn>
                    <a:cxn ang="0">
                      <a:pos x="148" y="250"/>
                    </a:cxn>
                    <a:cxn ang="0">
                      <a:pos x="134" y="234"/>
                    </a:cxn>
                    <a:cxn ang="0">
                      <a:pos x="122" y="226"/>
                    </a:cxn>
                    <a:cxn ang="0">
                      <a:pos x="106" y="224"/>
                    </a:cxn>
                    <a:cxn ang="0">
                      <a:pos x="98" y="224"/>
                    </a:cxn>
                    <a:cxn ang="0">
                      <a:pos x="62" y="216"/>
                    </a:cxn>
                    <a:cxn ang="0">
                      <a:pos x="34" y="206"/>
                    </a:cxn>
                    <a:cxn ang="0">
                      <a:pos x="32" y="176"/>
                    </a:cxn>
                    <a:cxn ang="0">
                      <a:pos x="32" y="166"/>
                    </a:cxn>
                    <a:cxn ang="0">
                      <a:pos x="28" y="148"/>
                    </a:cxn>
                    <a:cxn ang="0">
                      <a:pos x="20" y="126"/>
                    </a:cxn>
                    <a:cxn ang="0">
                      <a:pos x="14" y="110"/>
                    </a:cxn>
                    <a:cxn ang="0">
                      <a:pos x="0" y="72"/>
                    </a:cxn>
                    <a:cxn ang="0">
                      <a:pos x="2" y="60"/>
                    </a:cxn>
                  </a:cxnLst>
                  <a:rect l="0" t="0" r="r" b="b"/>
                  <a:pathLst>
                    <a:path w="464" h="400">
                      <a:moveTo>
                        <a:pt x="2" y="60"/>
                      </a:moveTo>
                      <a:lnTo>
                        <a:pt x="2" y="60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28" y="44"/>
                      </a:lnTo>
                      <a:lnTo>
                        <a:pt x="44" y="38"/>
                      </a:lnTo>
                      <a:lnTo>
                        <a:pt x="88" y="24"/>
                      </a:lnTo>
                      <a:lnTo>
                        <a:pt x="88" y="24"/>
                      </a:lnTo>
                      <a:lnTo>
                        <a:pt x="120" y="16"/>
                      </a:lnTo>
                      <a:lnTo>
                        <a:pt x="148" y="10"/>
                      </a:lnTo>
                      <a:lnTo>
                        <a:pt x="174" y="10"/>
                      </a:lnTo>
                      <a:lnTo>
                        <a:pt x="200" y="12"/>
                      </a:lnTo>
                      <a:lnTo>
                        <a:pt x="200" y="12"/>
                      </a:lnTo>
                      <a:lnTo>
                        <a:pt x="214" y="12"/>
                      </a:lnTo>
                      <a:lnTo>
                        <a:pt x="232" y="12"/>
                      </a:lnTo>
                      <a:lnTo>
                        <a:pt x="266" y="8"/>
                      </a:lnTo>
                      <a:lnTo>
                        <a:pt x="306" y="0"/>
                      </a:lnTo>
                      <a:lnTo>
                        <a:pt x="306" y="0"/>
                      </a:lnTo>
                      <a:lnTo>
                        <a:pt x="316" y="8"/>
                      </a:lnTo>
                      <a:lnTo>
                        <a:pt x="330" y="16"/>
                      </a:lnTo>
                      <a:lnTo>
                        <a:pt x="348" y="26"/>
                      </a:lnTo>
                      <a:lnTo>
                        <a:pt x="348" y="26"/>
                      </a:lnTo>
                      <a:lnTo>
                        <a:pt x="368" y="36"/>
                      </a:lnTo>
                      <a:lnTo>
                        <a:pt x="384" y="44"/>
                      </a:lnTo>
                      <a:lnTo>
                        <a:pt x="398" y="50"/>
                      </a:lnTo>
                      <a:lnTo>
                        <a:pt x="402" y="54"/>
                      </a:lnTo>
                      <a:lnTo>
                        <a:pt x="406" y="60"/>
                      </a:lnTo>
                      <a:lnTo>
                        <a:pt x="406" y="60"/>
                      </a:lnTo>
                      <a:lnTo>
                        <a:pt x="414" y="70"/>
                      </a:lnTo>
                      <a:lnTo>
                        <a:pt x="422" y="80"/>
                      </a:lnTo>
                      <a:lnTo>
                        <a:pt x="434" y="88"/>
                      </a:lnTo>
                      <a:lnTo>
                        <a:pt x="434" y="88"/>
                      </a:lnTo>
                      <a:lnTo>
                        <a:pt x="434" y="104"/>
                      </a:lnTo>
                      <a:lnTo>
                        <a:pt x="436" y="116"/>
                      </a:lnTo>
                      <a:lnTo>
                        <a:pt x="438" y="124"/>
                      </a:lnTo>
                      <a:lnTo>
                        <a:pt x="442" y="130"/>
                      </a:lnTo>
                      <a:lnTo>
                        <a:pt x="442" y="130"/>
                      </a:lnTo>
                      <a:lnTo>
                        <a:pt x="458" y="154"/>
                      </a:lnTo>
                      <a:lnTo>
                        <a:pt x="462" y="166"/>
                      </a:lnTo>
                      <a:lnTo>
                        <a:pt x="464" y="174"/>
                      </a:lnTo>
                      <a:lnTo>
                        <a:pt x="464" y="174"/>
                      </a:lnTo>
                      <a:lnTo>
                        <a:pt x="454" y="184"/>
                      </a:lnTo>
                      <a:lnTo>
                        <a:pt x="438" y="202"/>
                      </a:lnTo>
                      <a:lnTo>
                        <a:pt x="420" y="222"/>
                      </a:lnTo>
                      <a:lnTo>
                        <a:pt x="410" y="236"/>
                      </a:lnTo>
                      <a:lnTo>
                        <a:pt x="410" y="236"/>
                      </a:lnTo>
                      <a:lnTo>
                        <a:pt x="406" y="246"/>
                      </a:lnTo>
                      <a:lnTo>
                        <a:pt x="404" y="254"/>
                      </a:lnTo>
                      <a:lnTo>
                        <a:pt x="400" y="268"/>
                      </a:lnTo>
                      <a:lnTo>
                        <a:pt x="400" y="268"/>
                      </a:lnTo>
                      <a:lnTo>
                        <a:pt x="400" y="282"/>
                      </a:lnTo>
                      <a:lnTo>
                        <a:pt x="402" y="304"/>
                      </a:lnTo>
                      <a:lnTo>
                        <a:pt x="404" y="324"/>
                      </a:lnTo>
                      <a:lnTo>
                        <a:pt x="402" y="336"/>
                      </a:lnTo>
                      <a:lnTo>
                        <a:pt x="402" y="336"/>
                      </a:lnTo>
                      <a:lnTo>
                        <a:pt x="400" y="340"/>
                      </a:lnTo>
                      <a:lnTo>
                        <a:pt x="396" y="342"/>
                      </a:lnTo>
                      <a:lnTo>
                        <a:pt x="388" y="344"/>
                      </a:lnTo>
                      <a:lnTo>
                        <a:pt x="378" y="348"/>
                      </a:lnTo>
                      <a:lnTo>
                        <a:pt x="378" y="348"/>
                      </a:lnTo>
                      <a:lnTo>
                        <a:pt x="358" y="356"/>
                      </a:lnTo>
                      <a:lnTo>
                        <a:pt x="350" y="360"/>
                      </a:lnTo>
                      <a:lnTo>
                        <a:pt x="338" y="368"/>
                      </a:lnTo>
                      <a:lnTo>
                        <a:pt x="338" y="368"/>
                      </a:lnTo>
                      <a:lnTo>
                        <a:pt x="314" y="388"/>
                      </a:lnTo>
                      <a:lnTo>
                        <a:pt x="304" y="394"/>
                      </a:lnTo>
                      <a:lnTo>
                        <a:pt x="296" y="398"/>
                      </a:lnTo>
                      <a:lnTo>
                        <a:pt x="296" y="398"/>
                      </a:lnTo>
                      <a:lnTo>
                        <a:pt x="282" y="398"/>
                      </a:lnTo>
                      <a:lnTo>
                        <a:pt x="262" y="400"/>
                      </a:lnTo>
                      <a:lnTo>
                        <a:pt x="236" y="400"/>
                      </a:lnTo>
                      <a:lnTo>
                        <a:pt x="236" y="400"/>
                      </a:lnTo>
                      <a:lnTo>
                        <a:pt x="222" y="382"/>
                      </a:lnTo>
                      <a:lnTo>
                        <a:pt x="202" y="354"/>
                      </a:lnTo>
                      <a:lnTo>
                        <a:pt x="202" y="354"/>
                      </a:lnTo>
                      <a:lnTo>
                        <a:pt x="198" y="350"/>
                      </a:lnTo>
                      <a:lnTo>
                        <a:pt x="192" y="348"/>
                      </a:lnTo>
                      <a:lnTo>
                        <a:pt x="178" y="344"/>
                      </a:lnTo>
                      <a:lnTo>
                        <a:pt x="164" y="338"/>
                      </a:lnTo>
                      <a:lnTo>
                        <a:pt x="158" y="336"/>
                      </a:lnTo>
                      <a:lnTo>
                        <a:pt x="156" y="332"/>
                      </a:lnTo>
                      <a:lnTo>
                        <a:pt x="156" y="332"/>
                      </a:lnTo>
                      <a:lnTo>
                        <a:pt x="154" y="318"/>
                      </a:lnTo>
                      <a:lnTo>
                        <a:pt x="154" y="298"/>
                      </a:lnTo>
                      <a:lnTo>
                        <a:pt x="152" y="276"/>
                      </a:lnTo>
                      <a:lnTo>
                        <a:pt x="150" y="258"/>
                      </a:lnTo>
                      <a:lnTo>
                        <a:pt x="150" y="258"/>
                      </a:lnTo>
                      <a:lnTo>
                        <a:pt x="148" y="250"/>
                      </a:lnTo>
                      <a:lnTo>
                        <a:pt x="144" y="244"/>
                      </a:lnTo>
                      <a:lnTo>
                        <a:pt x="134" y="234"/>
                      </a:lnTo>
                      <a:lnTo>
                        <a:pt x="128" y="230"/>
                      </a:lnTo>
                      <a:lnTo>
                        <a:pt x="122" y="226"/>
                      </a:lnTo>
                      <a:lnTo>
                        <a:pt x="114" y="226"/>
                      </a:lnTo>
                      <a:lnTo>
                        <a:pt x="106" y="224"/>
                      </a:lnTo>
                      <a:lnTo>
                        <a:pt x="106" y="224"/>
                      </a:lnTo>
                      <a:lnTo>
                        <a:pt x="98" y="224"/>
                      </a:lnTo>
                      <a:lnTo>
                        <a:pt x="86" y="222"/>
                      </a:lnTo>
                      <a:lnTo>
                        <a:pt x="62" y="216"/>
                      </a:lnTo>
                      <a:lnTo>
                        <a:pt x="34" y="206"/>
                      </a:lnTo>
                      <a:lnTo>
                        <a:pt x="34" y="206"/>
                      </a:lnTo>
                      <a:lnTo>
                        <a:pt x="34" y="190"/>
                      </a:lnTo>
                      <a:lnTo>
                        <a:pt x="32" y="176"/>
                      </a:lnTo>
                      <a:lnTo>
                        <a:pt x="32" y="166"/>
                      </a:lnTo>
                      <a:lnTo>
                        <a:pt x="32" y="166"/>
                      </a:lnTo>
                      <a:lnTo>
                        <a:pt x="32" y="156"/>
                      </a:lnTo>
                      <a:lnTo>
                        <a:pt x="28" y="148"/>
                      </a:lnTo>
                      <a:lnTo>
                        <a:pt x="24" y="138"/>
                      </a:lnTo>
                      <a:lnTo>
                        <a:pt x="20" y="126"/>
                      </a:lnTo>
                      <a:lnTo>
                        <a:pt x="20" y="126"/>
                      </a:lnTo>
                      <a:lnTo>
                        <a:pt x="14" y="110"/>
                      </a:lnTo>
                      <a:lnTo>
                        <a:pt x="6" y="90"/>
                      </a:lnTo>
                      <a:lnTo>
                        <a:pt x="0" y="72"/>
                      </a:lnTo>
                      <a:lnTo>
                        <a:pt x="0" y="64"/>
                      </a:lnTo>
                      <a:lnTo>
                        <a:pt x="2" y="60"/>
                      </a:lnTo>
                      <a:lnTo>
                        <a:pt x="2" y="6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5" name="Freeform 29">
                  <a:extLst>
                    <a:ext uri="{FF2B5EF4-FFF2-40B4-BE49-F238E27FC236}">
                      <a16:creationId xmlns:a16="http://schemas.microsoft.com/office/drawing/2014/main" id="{98953767-3B82-472B-91B1-ECB54C5F84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0316" y="3339193"/>
                  <a:ext cx="288086" cy="234736"/>
                </a:xfrm>
                <a:custGeom>
                  <a:avLst/>
                  <a:gdLst/>
                  <a:ahLst/>
                  <a:cxnLst>
                    <a:cxn ang="0">
                      <a:pos x="314" y="8"/>
                    </a:cxn>
                    <a:cxn ang="0">
                      <a:pos x="290" y="14"/>
                    </a:cxn>
                    <a:cxn ang="0">
                      <a:pos x="270" y="14"/>
                    </a:cxn>
                    <a:cxn ang="0">
                      <a:pos x="228" y="6"/>
                    </a:cxn>
                    <a:cxn ang="0">
                      <a:pos x="194" y="0"/>
                    </a:cxn>
                    <a:cxn ang="0">
                      <a:pos x="180" y="0"/>
                    </a:cxn>
                    <a:cxn ang="0">
                      <a:pos x="160" y="2"/>
                    </a:cxn>
                    <a:cxn ang="0">
                      <a:pos x="150" y="8"/>
                    </a:cxn>
                    <a:cxn ang="0">
                      <a:pos x="136" y="16"/>
                    </a:cxn>
                    <a:cxn ang="0">
                      <a:pos x="128" y="18"/>
                    </a:cxn>
                    <a:cxn ang="0">
                      <a:pos x="76" y="38"/>
                    </a:cxn>
                    <a:cxn ang="0">
                      <a:pos x="28" y="62"/>
                    </a:cxn>
                    <a:cxn ang="0">
                      <a:pos x="14" y="68"/>
                    </a:cxn>
                    <a:cxn ang="0">
                      <a:pos x="0" y="76"/>
                    </a:cxn>
                    <a:cxn ang="0">
                      <a:pos x="0" y="88"/>
                    </a:cxn>
                    <a:cxn ang="0">
                      <a:pos x="2" y="98"/>
                    </a:cxn>
                    <a:cxn ang="0">
                      <a:pos x="10" y="136"/>
                    </a:cxn>
                    <a:cxn ang="0">
                      <a:pos x="22" y="170"/>
                    </a:cxn>
                    <a:cxn ang="0">
                      <a:pos x="26" y="178"/>
                    </a:cxn>
                    <a:cxn ang="0">
                      <a:pos x="30" y="200"/>
                    </a:cxn>
                    <a:cxn ang="0">
                      <a:pos x="36" y="208"/>
                    </a:cxn>
                    <a:cxn ang="0">
                      <a:pos x="54" y="206"/>
                    </a:cxn>
                    <a:cxn ang="0">
                      <a:pos x="78" y="204"/>
                    </a:cxn>
                    <a:cxn ang="0">
                      <a:pos x="94" y="206"/>
                    </a:cxn>
                    <a:cxn ang="0">
                      <a:pos x="106" y="214"/>
                    </a:cxn>
                    <a:cxn ang="0">
                      <a:pos x="118" y="226"/>
                    </a:cxn>
                    <a:cxn ang="0">
                      <a:pos x="130" y="234"/>
                    </a:cxn>
                    <a:cxn ang="0">
                      <a:pos x="160" y="242"/>
                    </a:cxn>
                    <a:cxn ang="0">
                      <a:pos x="180" y="252"/>
                    </a:cxn>
                    <a:cxn ang="0">
                      <a:pos x="190" y="260"/>
                    </a:cxn>
                    <a:cxn ang="0">
                      <a:pos x="212" y="284"/>
                    </a:cxn>
                    <a:cxn ang="0">
                      <a:pos x="228" y="302"/>
                    </a:cxn>
                    <a:cxn ang="0">
                      <a:pos x="234" y="306"/>
                    </a:cxn>
                    <a:cxn ang="0">
                      <a:pos x="252" y="308"/>
                    </a:cxn>
                    <a:cxn ang="0">
                      <a:pos x="282" y="302"/>
                    </a:cxn>
                    <a:cxn ang="0">
                      <a:pos x="304" y="302"/>
                    </a:cxn>
                    <a:cxn ang="0">
                      <a:pos x="324" y="306"/>
                    </a:cxn>
                    <a:cxn ang="0">
                      <a:pos x="326" y="306"/>
                    </a:cxn>
                    <a:cxn ang="0">
                      <a:pos x="324" y="254"/>
                    </a:cxn>
                    <a:cxn ang="0">
                      <a:pos x="328" y="246"/>
                    </a:cxn>
                    <a:cxn ang="0">
                      <a:pos x="330" y="246"/>
                    </a:cxn>
                    <a:cxn ang="0">
                      <a:pos x="370" y="258"/>
                    </a:cxn>
                    <a:cxn ang="0">
                      <a:pos x="378" y="256"/>
                    </a:cxn>
                    <a:cxn ang="0">
                      <a:pos x="376" y="250"/>
                    </a:cxn>
                    <a:cxn ang="0">
                      <a:pos x="364" y="228"/>
                    </a:cxn>
                    <a:cxn ang="0">
                      <a:pos x="340" y="200"/>
                    </a:cxn>
                    <a:cxn ang="0">
                      <a:pos x="328" y="186"/>
                    </a:cxn>
                    <a:cxn ang="0">
                      <a:pos x="324" y="176"/>
                    </a:cxn>
                    <a:cxn ang="0">
                      <a:pos x="328" y="172"/>
                    </a:cxn>
                    <a:cxn ang="0">
                      <a:pos x="334" y="168"/>
                    </a:cxn>
                    <a:cxn ang="0">
                      <a:pos x="334" y="158"/>
                    </a:cxn>
                    <a:cxn ang="0">
                      <a:pos x="330" y="112"/>
                    </a:cxn>
                    <a:cxn ang="0">
                      <a:pos x="328" y="94"/>
                    </a:cxn>
                    <a:cxn ang="0">
                      <a:pos x="324" y="82"/>
                    </a:cxn>
                    <a:cxn ang="0">
                      <a:pos x="310" y="66"/>
                    </a:cxn>
                    <a:cxn ang="0">
                      <a:pos x="304" y="54"/>
                    </a:cxn>
                    <a:cxn ang="0">
                      <a:pos x="306" y="48"/>
                    </a:cxn>
                    <a:cxn ang="0">
                      <a:pos x="314" y="16"/>
                    </a:cxn>
                    <a:cxn ang="0">
                      <a:pos x="314" y="8"/>
                    </a:cxn>
                  </a:cxnLst>
                  <a:rect l="0" t="0" r="r" b="b"/>
                  <a:pathLst>
                    <a:path w="378" h="308">
                      <a:moveTo>
                        <a:pt x="314" y="8"/>
                      </a:moveTo>
                      <a:lnTo>
                        <a:pt x="314" y="8"/>
                      </a:lnTo>
                      <a:lnTo>
                        <a:pt x="304" y="12"/>
                      </a:lnTo>
                      <a:lnTo>
                        <a:pt x="290" y="14"/>
                      </a:lnTo>
                      <a:lnTo>
                        <a:pt x="270" y="14"/>
                      </a:lnTo>
                      <a:lnTo>
                        <a:pt x="270" y="14"/>
                      </a:lnTo>
                      <a:lnTo>
                        <a:pt x="248" y="12"/>
                      </a:lnTo>
                      <a:lnTo>
                        <a:pt x="228" y="6"/>
                      </a:lnTo>
                      <a:lnTo>
                        <a:pt x="206" y="2"/>
                      </a:lnTo>
                      <a:lnTo>
                        <a:pt x="194" y="0"/>
                      </a:lnTo>
                      <a:lnTo>
                        <a:pt x="180" y="0"/>
                      </a:lnTo>
                      <a:lnTo>
                        <a:pt x="180" y="0"/>
                      </a:lnTo>
                      <a:lnTo>
                        <a:pt x="170" y="2"/>
                      </a:lnTo>
                      <a:lnTo>
                        <a:pt x="160" y="2"/>
                      </a:lnTo>
                      <a:lnTo>
                        <a:pt x="154" y="6"/>
                      </a:lnTo>
                      <a:lnTo>
                        <a:pt x="150" y="8"/>
                      </a:lnTo>
                      <a:lnTo>
                        <a:pt x="142" y="14"/>
                      </a:lnTo>
                      <a:lnTo>
                        <a:pt x="136" y="16"/>
                      </a:lnTo>
                      <a:lnTo>
                        <a:pt x="128" y="18"/>
                      </a:lnTo>
                      <a:lnTo>
                        <a:pt x="128" y="18"/>
                      </a:lnTo>
                      <a:lnTo>
                        <a:pt x="104" y="26"/>
                      </a:lnTo>
                      <a:lnTo>
                        <a:pt x="76" y="38"/>
                      </a:lnTo>
                      <a:lnTo>
                        <a:pt x="48" y="52"/>
                      </a:lnTo>
                      <a:lnTo>
                        <a:pt x="28" y="62"/>
                      </a:lnTo>
                      <a:lnTo>
                        <a:pt x="28" y="62"/>
                      </a:lnTo>
                      <a:lnTo>
                        <a:pt x="14" y="68"/>
                      </a:lnTo>
                      <a:lnTo>
                        <a:pt x="4" y="74"/>
                      </a:lnTo>
                      <a:lnTo>
                        <a:pt x="0" y="76"/>
                      </a:lnTo>
                      <a:lnTo>
                        <a:pt x="0" y="82"/>
                      </a:lnTo>
                      <a:lnTo>
                        <a:pt x="0" y="88"/>
                      </a:lnTo>
                      <a:lnTo>
                        <a:pt x="2" y="98"/>
                      </a:lnTo>
                      <a:lnTo>
                        <a:pt x="2" y="98"/>
                      </a:lnTo>
                      <a:lnTo>
                        <a:pt x="6" y="120"/>
                      </a:lnTo>
                      <a:lnTo>
                        <a:pt x="10" y="136"/>
                      </a:lnTo>
                      <a:lnTo>
                        <a:pt x="14" y="152"/>
                      </a:lnTo>
                      <a:lnTo>
                        <a:pt x="22" y="170"/>
                      </a:lnTo>
                      <a:lnTo>
                        <a:pt x="22" y="170"/>
                      </a:lnTo>
                      <a:lnTo>
                        <a:pt x="26" y="178"/>
                      </a:lnTo>
                      <a:lnTo>
                        <a:pt x="28" y="188"/>
                      </a:lnTo>
                      <a:lnTo>
                        <a:pt x="30" y="200"/>
                      </a:lnTo>
                      <a:lnTo>
                        <a:pt x="32" y="204"/>
                      </a:lnTo>
                      <a:lnTo>
                        <a:pt x="36" y="208"/>
                      </a:lnTo>
                      <a:lnTo>
                        <a:pt x="44" y="208"/>
                      </a:lnTo>
                      <a:lnTo>
                        <a:pt x="54" y="206"/>
                      </a:lnTo>
                      <a:lnTo>
                        <a:pt x="54" y="206"/>
                      </a:lnTo>
                      <a:lnTo>
                        <a:pt x="78" y="204"/>
                      </a:lnTo>
                      <a:lnTo>
                        <a:pt x="86" y="204"/>
                      </a:lnTo>
                      <a:lnTo>
                        <a:pt x="94" y="206"/>
                      </a:lnTo>
                      <a:lnTo>
                        <a:pt x="100" y="210"/>
                      </a:lnTo>
                      <a:lnTo>
                        <a:pt x="106" y="214"/>
                      </a:lnTo>
                      <a:lnTo>
                        <a:pt x="118" y="226"/>
                      </a:lnTo>
                      <a:lnTo>
                        <a:pt x="118" y="226"/>
                      </a:lnTo>
                      <a:lnTo>
                        <a:pt x="124" y="230"/>
                      </a:lnTo>
                      <a:lnTo>
                        <a:pt x="130" y="234"/>
                      </a:lnTo>
                      <a:lnTo>
                        <a:pt x="144" y="238"/>
                      </a:lnTo>
                      <a:lnTo>
                        <a:pt x="160" y="242"/>
                      </a:lnTo>
                      <a:lnTo>
                        <a:pt x="170" y="246"/>
                      </a:lnTo>
                      <a:lnTo>
                        <a:pt x="180" y="252"/>
                      </a:lnTo>
                      <a:lnTo>
                        <a:pt x="180" y="252"/>
                      </a:lnTo>
                      <a:lnTo>
                        <a:pt x="190" y="260"/>
                      </a:lnTo>
                      <a:lnTo>
                        <a:pt x="198" y="268"/>
                      </a:lnTo>
                      <a:lnTo>
                        <a:pt x="212" y="284"/>
                      </a:lnTo>
                      <a:lnTo>
                        <a:pt x="222" y="296"/>
                      </a:lnTo>
                      <a:lnTo>
                        <a:pt x="228" y="302"/>
                      </a:lnTo>
                      <a:lnTo>
                        <a:pt x="234" y="306"/>
                      </a:lnTo>
                      <a:lnTo>
                        <a:pt x="234" y="306"/>
                      </a:lnTo>
                      <a:lnTo>
                        <a:pt x="244" y="308"/>
                      </a:lnTo>
                      <a:lnTo>
                        <a:pt x="252" y="308"/>
                      </a:lnTo>
                      <a:lnTo>
                        <a:pt x="262" y="304"/>
                      </a:lnTo>
                      <a:lnTo>
                        <a:pt x="282" y="302"/>
                      </a:lnTo>
                      <a:lnTo>
                        <a:pt x="282" y="302"/>
                      </a:lnTo>
                      <a:lnTo>
                        <a:pt x="304" y="302"/>
                      </a:lnTo>
                      <a:lnTo>
                        <a:pt x="316" y="304"/>
                      </a:lnTo>
                      <a:lnTo>
                        <a:pt x="324" y="306"/>
                      </a:lnTo>
                      <a:lnTo>
                        <a:pt x="326" y="306"/>
                      </a:lnTo>
                      <a:lnTo>
                        <a:pt x="326" y="306"/>
                      </a:lnTo>
                      <a:lnTo>
                        <a:pt x="324" y="276"/>
                      </a:lnTo>
                      <a:lnTo>
                        <a:pt x="324" y="254"/>
                      </a:lnTo>
                      <a:lnTo>
                        <a:pt x="328" y="248"/>
                      </a:lnTo>
                      <a:lnTo>
                        <a:pt x="328" y="246"/>
                      </a:lnTo>
                      <a:lnTo>
                        <a:pt x="330" y="246"/>
                      </a:lnTo>
                      <a:lnTo>
                        <a:pt x="330" y="246"/>
                      </a:lnTo>
                      <a:lnTo>
                        <a:pt x="358" y="256"/>
                      </a:lnTo>
                      <a:lnTo>
                        <a:pt x="370" y="258"/>
                      </a:lnTo>
                      <a:lnTo>
                        <a:pt x="376" y="258"/>
                      </a:lnTo>
                      <a:lnTo>
                        <a:pt x="378" y="256"/>
                      </a:lnTo>
                      <a:lnTo>
                        <a:pt x="378" y="256"/>
                      </a:lnTo>
                      <a:lnTo>
                        <a:pt x="376" y="250"/>
                      </a:lnTo>
                      <a:lnTo>
                        <a:pt x="374" y="244"/>
                      </a:lnTo>
                      <a:lnTo>
                        <a:pt x="364" y="228"/>
                      </a:lnTo>
                      <a:lnTo>
                        <a:pt x="350" y="212"/>
                      </a:lnTo>
                      <a:lnTo>
                        <a:pt x="340" y="200"/>
                      </a:lnTo>
                      <a:lnTo>
                        <a:pt x="340" y="200"/>
                      </a:lnTo>
                      <a:lnTo>
                        <a:pt x="328" y="186"/>
                      </a:lnTo>
                      <a:lnTo>
                        <a:pt x="324" y="180"/>
                      </a:lnTo>
                      <a:lnTo>
                        <a:pt x="324" y="176"/>
                      </a:lnTo>
                      <a:lnTo>
                        <a:pt x="324" y="176"/>
                      </a:lnTo>
                      <a:lnTo>
                        <a:pt x="328" y="172"/>
                      </a:lnTo>
                      <a:lnTo>
                        <a:pt x="330" y="170"/>
                      </a:lnTo>
                      <a:lnTo>
                        <a:pt x="334" y="168"/>
                      </a:lnTo>
                      <a:lnTo>
                        <a:pt x="334" y="168"/>
                      </a:lnTo>
                      <a:lnTo>
                        <a:pt x="334" y="158"/>
                      </a:lnTo>
                      <a:lnTo>
                        <a:pt x="332" y="142"/>
                      </a:lnTo>
                      <a:lnTo>
                        <a:pt x="330" y="112"/>
                      </a:lnTo>
                      <a:lnTo>
                        <a:pt x="330" y="112"/>
                      </a:lnTo>
                      <a:lnTo>
                        <a:pt x="328" y="94"/>
                      </a:lnTo>
                      <a:lnTo>
                        <a:pt x="326" y="88"/>
                      </a:lnTo>
                      <a:lnTo>
                        <a:pt x="324" y="82"/>
                      </a:lnTo>
                      <a:lnTo>
                        <a:pt x="324" y="82"/>
                      </a:lnTo>
                      <a:lnTo>
                        <a:pt x="310" y="66"/>
                      </a:lnTo>
                      <a:lnTo>
                        <a:pt x="306" y="58"/>
                      </a:lnTo>
                      <a:lnTo>
                        <a:pt x="304" y="54"/>
                      </a:lnTo>
                      <a:lnTo>
                        <a:pt x="306" y="48"/>
                      </a:lnTo>
                      <a:lnTo>
                        <a:pt x="306" y="48"/>
                      </a:lnTo>
                      <a:lnTo>
                        <a:pt x="312" y="28"/>
                      </a:lnTo>
                      <a:lnTo>
                        <a:pt x="314" y="16"/>
                      </a:lnTo>
                      <a:lnTo>
                        <a:pt x="314" y="8"/>
                      </a:lnTo>
                      <a:lnTo>
                        <a:pt x="314" y="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6" name="Freeform 30">
                  <a:extLst>
                    <a:ext uri="{FF2B5EF4-FFF2-40B4-BE49-F238E27FC236}">
                      <a16:creationId xmlns:a16="http://schemas.microsoft.com/office/drawing/2014/main" id="{586735D7-6A52-4DF6-ABB9-811067C482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59229" y="3496192"/>
                  <a:ext cx="448133" cy="292658"/>
                </a:xfrm>
                <a:custGeom>
                  <a:avLst/>
                  <a:gdLst/>
                  <a:ahLst/>
                  <a:cxnLst>
                    <a:cxn ang="0">
                      <a:pos x="236" y="4"/>
                    </a:cxn>
                    <a:cxn ang="0">
                      <a:pos x="242" y="22"/>
                    </a:cxn>
                    <a:cxn ang="0">
                      <a:pos x="254" y="60"/>
                    </a:cxn>
                    <a:cxn ang="0">
                      <a:pos x="262" y="120"/>
                    </a:cxn>
                    <a:cxn ang="0">
                      <a:pos x="260" y="168"/>
                    </a:cxn>
                    <a:cxn ang="0">
                      <a:pos x="248" y="184"/>
                    </a:cxn>
                    <a:cxn ang="0">
                      <a:pos x="218" y="216"/>
                    </a:cxn>
                    <a:cxn ang="0">
                      <a:pos x="202" y="220"/>
                    </a:cxn>
                    <a:cxn ang="0">
                      <a:pos x="172" y="214"/>
                    </a:cxn>
                    <a:cxn ang="0">
                      <a:pos x="164" y="192"/>
                    </a:cxn>
                    <a:cxn ang="0">
                      <a:pos x="156" y="158"/>
                    </a:cxn>
                    <a:cxn ang="0">
                      <a:pos x="138" y="138"/>
                    </a:cxn>
                    <a:cxn ang="0">
                      <a:pos x="124" y="118"/>
                    </a:cxn>
                    <a:cxn ang="0">
                      <a:pos x="116" y="106"/>
                    </a:cxn>
                    <a:cxn ang="0">
                      <a:pos x="96" y="104"/>
                    </a:cxn>
                    <a:cxn ang="0">
                      <a:pos x="76" y="106"/>
                    </a:cxn>
                    <a:cxn ang="0">
                      <a:pos x="50" y="118"/>
                    </a:cxn>
                    <a:cxn ang="0">
                      <a:pos x="26" y="156"/>
                    </a:cxn>
                    <a:cxn ang="0">
                      <a:pos x="26" y="176"/>
                    </a:cxn>
                    <a:cxn ang="0">
                      <a:pos x="30" y="200"/>
                    </a:cxn>
                    <a:cxn ang="0">
                      <a:pos x="18" y="226"/>
                    </a:cxn>
                    <a:cxn ang="0">
                      <a:pos x="4" y="252"/>
                    </a:cxn>
                    <a:cxn ang="0">
                      <a:pos x="2" y="308"/>
                    </a:cxn>
                    <a:cxn ang="0">
                      <a:pos x="10" y="352"/>
                    </a:cxn>
                    <a:cxn ang="0">
                      <a:pos x="44" y="330"/>
                    </a:cxn>
                    <a:cxn ang="0">
                      <a:pos x="96" y="316"/>
                    </a:cxn>
                    <a:cxn ang="0">
                      <a:pos x="176" y="302"/>
                    </a:cxn>
                    <a:cxn ang="0">
                      <a:pos x="236" y="302"/>
                    </a:cxn>
                    <a:cxn ang="0">
                      <a:pos x="314" y="292"/>
                    </a:cxn>
                    <a:cxn ang="0">
                      <a:pos x="342" y="312"/>
                    </a:cxn>
                    <a:cxn ang="0">
                      <a:pos x="400" y="340"/>
                    </a:cxn>
                    <a:cxn ang="0">
                      <a:pos x="426" y="362"/>
                    </a:cxn>
                    <a:cxn ang="0">
                      <a:pos x="456" y="380"/>
                    </a:cxn>
                    <a:cxn ang="0">
                      <a:pos x="476" y="384"/>
                    </a:cxn>
                    <a:cxn ang="0">
                      <a:pos x="502" y="376"/>
                    </a:cxn>
                    <a:cxn ang="0">
                      <a:pos x="532" y="354"/>
                    </a:cxn>
                    <a:cxn ang="0">
                      <a:pos x="564" y="322"/>
                    </a:cxn>
                    <a:cxn ang="0">
                      <a:pos x="582" y="290"/>
                    </a:cxn>
                    <a:cxn ang="0">
                      <a:pos x="568" y="262"/>
                    </a:cxn>
                    <a:cxn ang="0">
                      <a:pos x="540" y="220"/>
                    </a:cxn>
                    <a:cxn ang="0">
                      <a:pos x="520" y="154"/>
                    </a:cxn>
                    <a:cxn ang="0">
                      <a:pos x="508" y="120"/>
                    </a:cxn>
                    <a:cxn ang="0">
                      <a:pos x="480" y="98"/>
                    </a:cxn>
                    <a:cxn ang="0">
                      <a:pos x="454" y="96"/>
                    </a:cxn>
                    <a:cxn ang="0">
                      <a:pos x="422" y="106"/>
                    </a:cxn>
                    <a:cxn ang="0">
                      <a:pos x="414" y="104"/>
                    </a:cxn>
                    <a:cxn ang="0">
                      <a:pos x="388" y="82"/>
                    </a:cxn>
                    <a:cxn ang="0">
                      <a:pos x="368" y="62"/>
                    </a:cxn>
                    <a:cxn ang="0">
                      <a:pos x="348" y="42"/>
                    </a:cxn>
                    <a:cxn ang="0">
                      <a:pos x="308" y="30"/>
                    </a:cxn>
                    <a:cxn ang="0">
                      <a:pos x="286" y="14"/>
                    </a:cxn>
                    <a:cxn ang="0">
                      <a:pos x="272" y="4"/>
                    </a:cxn>
                    <a:cxn ang="0">
                      <a:pos x="240" y="0"/>
                    </a:cxn>
                    <a:cxn ang="0">
                      <a:pos x="238" y="4"/>
                    </a:cxn>
                  </a:cxnLst>
                  <a:rect l="0" t="0" r="r" b="b"/>
                  <a:pathLst>
                    <a:path w="588" h="384">
                      <a:moveTo>
                        <a:pt x="238" y="4"/>
                      </a:moveTo>
                      <a:lnTo>
                        <a:pt x="238" y="4"/>
                      </a:lnTo>
                      <a:lnTo>
                        <a:pt x="236" y="4"/>
                      </a:lnTo>
                      <a:lnTo>
                        <a:pt x="236" y="4"/>
                      </a:lnTo>
                      <a:lnTo>
                        <a:pt x="236" y="8"/>
                      </a:lnTo>
                      <a:lnTo>
                        <a:pt x="242" y="22"/>
                      </a:lnTo>
                      <a:lnTo>
                        <a:pt x="242" y="22"/>
                      </a:lnTo>
                      <a:lnTo>
                        <a:pt x="250" y="42"/>
                      </a:lnTo>
                      <a:lnTo>
                        <a:pt x="254" y="60"/>
                      </a:lnTo>
                      <a:lnTo>
                        <a:pt x="260" y="100"/>
                      </a:lnTo>
                      <a:lnTo>
                        <a:pt x="260" y="100"/>
                      </a:lnTo>
                      <a:lnTo>
                        <a:pt x="262" y="120"/>
                      </a:lnTo>
                      <a:lnTo>
                        <a:pt x="264" y="142"/>
                      </a:lnTo>
                      <a:lnTo>
                        <a:pt x="262" y="160"/>
                      </a:lnTo>
                      <a:lnTo>
                        <a:pt x="260" y="168"/>
                      </a:lnTo>
                      <a:lnTo>
                        <a:pt x="258" y="172"/>
                      </a:lnTo>
                      <a:lnTo>
                        <a:pt x="258" y="172"/>
                      </a:lnTo>
                      <a:lnTo>
                        <a:pt x="248" y="184"/>
                      </a:lnTo>
                      <a:lnTo>
                        <a:pt x="234" y="202"/>
                      </a:lnTo>
                      <a:lnTo>
                        <a:pt x="226" y="210"/>
                      </a:lnTo>
                      <a:lnTo>
                        <a:pt x="218" y="216"/>
                      </a:lnTo>
                      <a:lnTo>
                        <a:pt x="210" y="220"/>
                      </a:lnTo>
                      <a:lnTo>
                        <a:pt x="202" y="220"/>
                      </a:lnTo>
                      <a:lnTo>
                        <a:pt x="202" y="220"/>
                      </a:lnTo>
                      <a:lnTo>
                        <a:pt x="186" y="218"/>
                      </a:lnTo>
                      <a:lnTo>
                        <a:pt x="176" y="216"/>
                      </a:lnTo>
                      <a:lnTo>
                        <a:pt x="172" y="214"/>
                      </a:lnTo>
                      <a:lnTo>
                        <a:pt x="168" y="208"/>
                      </a:lnTo>
                      <a:lnTo>
                        <a:pt x="166" y="202"/>
                      </a:lnTo>
                      <a:lnTo>
                        <a:pt x="164" y="192"/>
                      </a:lnTo>
                      <a:lnTo>
                        <a:pt x="164" y="192"/>
                      </a:lnTo>
                      <a:lnTo>
                        <a:pt x="162" y="174"/>
                      </a:lnTo>
                      <a:lnTo>
                        <a:pt x="156" y="158"/>
                      </a:lnTo>
                      <a:lnTo>
                        <a:pt x="148" y="148"/>
                      </a:lnTo>
                      <a:lnTo>
                        <a:pt x="138" y="138"/>
                      </a:lnTo>
                      <a:lnTo>
                        <a:pt x="138" y="138"/>
                      </a:lnTo>
                      <a:lnTo>
                        <a:pt x="132" y="134"/>
                      </a:lnTo>
                      <a:lnTo>
                        <a:pt x="128" y="128"/>
                      </a:lnTo>
                      <a:lnTo>
                        <a:pt x="124" y="118"/>
                      </a:lnTo>
                      <a:lnTo>
                        <a:pt x="122" y="110"/>
                      </a:lnTo>
                      <a:lnTo>
                        <a:pt x="120" y="108"/>
                      </a:lnTo>
                      <a:lnTo>
                        <a:pt x="116" y="106"/>
                      </a:lnTo>
                      <a:lnTo>
                        <a:pt x="116" y="106"/>
                      </a:lnTo>
                      <a:lnTo>
                        <a:pt x="102" y="104"/>
                      </a:lnTo>
                      <a:lnTo>
                        <a:pt x="96" y="104"/>
                      </a:lnTo>
                      <a:lnTo>
                        <a:pt x="96" y="104"/>
                      </a:lnTo>
                      <a:lnTo>
                        <a:pt x="90" y="104"/>
                      </a:lnTo>
                      <a:lnTo>
                        <a:pt x="76" y="106"/>
                      </a:lnTo>
                      <a:lnTo>
                        <a:pt x="68" y="108"/>
                      </a:lnTo>
                      <a:lnTo>
                        <a:pt x="58" y="112"/>
                      </a:lnTo>
                      <a:lnTo>
                        <a:pt x="50" y="118"/>
                      </a:lnTo>
                      <a:lnTo>
                        <a:pt x="44" y="128"/>
                      </a:lnTo>
                      <a:lnTo>
                        <a:pt x="44" y="128"/>
                      </a:lnTo>
                      <a:lnTo>
                        <a:pt x="26" y="156"/>
                      </a:lnTo>
                      <a:lnTo>
                        <a:pt x="24" y="164"/>
                      </a:lnTo>
                      <a:lnTo>
                        <a:pt x="24" y="164"/>
                      </a:lnTo>
                      <a:lnTo>
                        <a:pt x="26" y="176"/>
                      </a:lnTo>
                      <a:lnTo>
                        <a:pt x="30" y="188"/>
                      </a:lnTo>
                      <a:lnTo>
                        <a:pt x="30" y="200"/>
                      </a:lnTo>
                      <a:lnTo>
                        <a:pt x="30" y="200"/>
                      </a:lnTo>
                      <a:lnTo>
                        <a:pt x="30" y="206"/>
                      </a:lnTo>
                      <a:lnTo>
                        <a:pt x="26" y="212"/>
                      </a:lnTo>
                      <a:lnTo>
                        <a:pt x="18" y="226"/>
                      </a:lnTo>
                      <a:lnTo>
                        <a:pt x="8" y="240"/>
                      </a:lnTo>
                      <a:lnTo>
                        <a:pt x="4" y="252"/>
                      </a:lnTo>
                      <a:lnTo>
                        <a:pt x="4" y="252"/>
                      </a:lnTo>
                      <a:lnTo>
                        <a:pt x="0" y="264"/>
                      </a:lnTo>
                      <a:lnTo>
                        <a:pt x="0" y="278"/>
                      </a:lnTo>
                      <a:lnTo>
                        <a:pt x="2" y="308"/>
                      </a:lnTo>
                      <a:lnTo>
                        <a:pt x="2" y="308"/>
                      </a:lnTo>
                      <a:lnTo>
                        <a:pt x="8" y="338"/>
                      </a:lnTo>
                      <a:lnTo>
                        <a:pt x="10" y="352"/>
                      </a:lnTo>
                      <a:lnTo>
                        <a:pt x="10" y="352"/>
                      </a:lnTo>
                      <a:lnTo>
                        <a:pt x="30" y="340"/>
                      </a:lnTo>
                      <a:lnTo>
                        <a:pt x="44" y="330"/>
                      </a:lnTo>
                      <a:lnTo>
                        <a:pt x="56" y="326"/>
                      </a:lnTo>
                      <a:lnTo>
                        <a:pt x="56" y="326"/>
                      </a:lnTo>
                      <a:lnTo>
                        <a:pt x="96" y="316"/>
                      </a:lnTo>
                      <a:lnTo>
                        <a:pt x="138" y="304"/>
                      </a:lnTo>
                      <a:lnTo>
                        <a:pt x="138" y="304"/>
                      </a:lnTo>
                      <a:lnTo>
                        <a:pt x="176" y="302"/>
                      </a:lnTo>
                      <a:lnTo>
                        <a:pt x="216" y="304"/>
                      </a:lnTo>
                      <a:lnTo>
                        <a:pt x="216" y="304"/>
                      </a:lnTo>
                      <a:lnTo>
                        <a:pt x="236" y="302"/>
                      </a:lnTo>
                      <a:lnTo>
                        <a:pt x="270" y="298"/>
                      </a:lnTo>
                      <a:lnTo>
                        <a:pt x="314" y="292"/>
                      </a:lnTo>
                      <a:lnTo>
                        <a:pt x="314" y="292"/>
                      </a:lnTo>
                      <a:lnTo>
                        <a:pt x="324" y="300"/>
                      </a:lnTo>
                      <a:lnTo>
                        <a:pt x="334" y="308"/>
                      </a:lnTo>
                      <a:lnTo>
                        <a:pt x="342" y="312"/>
                      </a:lnTo>
                      <a:lnTo>
                        <a:pt x="342" y="312"/>
                      </a:lnTo>
                      <a:lnTo>
                        <a:pt x="372" y="326"/>
                      </a:lnTo>
                      <a:lnTo>
                        <a:pt x="400" y="340"/>
                      </a:lnTo>
                      <a:lnTo>
                        <a:pt x="400" y="340"/>
                      </a:lnTo>
                      <a:lnTo>
                        <a:pt x="412" y="350"/>
                      </a:lnTo>
                      <a:lnTo>
                        <a:pt x="426" y="362"/>
                      </a:lnTo>
                      <a:lnTo>
                        <a:pt x="442" y="380"/>
                      </a:lnTo>
                      <a:lnTo>
                        <a:pt x="442" y="380"/>
                      </a:lnTo>
                      <a:lnTo>
                        <a:pt x="456" y="380"/>
                      </a:lnTo>
                      <a:lnTo>
                        <a:pt x="466" y="382"/>
                      </a:lnTo>
                      <a:lnTo>
                        <a:pt x="476" y="384"/>
                      </a:lnTo>
                      <a:lnTo>
                        <a:pt x="476" y="384"/>
                      </a:lnTo>
                      <a:lnTo>
                        <a:pt x="480" y="384"/>
                      </a:lnTo>
                      <a:lnTo>
                        <a:pt x="486" y="382"/>
                      </a:lnTo>
                      <a:lnTo>
                        <a:pt x="502" y="376"/>
                      </a:lnTo>
                      <a:lnTo>
                        <a:pt x="520" y="366"/>
                      </a:lnTo>
                      <a:lnTo>
                        <a:pt x="528" y="360"/>
                      </a:lnTo>
                      <a:lnTo>
                        <a:pt x="532" y="354"/>
                      </a:lnTo>
                      <a:lnTo>
                        <a:pt x="532" y="354"/>
                      </a:lnTo>
                      <a:lnTo>
                        <a:pt x="546" y="340"/>
                      </a:lnTo>
                      <a:lnTo>
                        <a:pt x="564" y="322"/>
                      </a:lnTo>
                      <a:lnTo>
                        <a:pt x="588" y="298"/>
                      </a:lnTo>
                      <a:lnTo>
                        <a:pt x="588" y="298"/>
                      </a:lnTo>
                      <a:lnTo>
                        <a:pt x="582" y="290"/>
                      </a:lnTo>
                      <a:lnTo>
                        <a:pt x="574" y="274"/>
                      </a:lnTo>
                      <a:lnTo>
                        <a:pt x="574" y="274"/>
                      </a:lnTo>
                      <a:lnTo>
                        <a:pt x="568" y="262"/>
                      </a:lnTo>
                      <a:lnTo>
                        <a:pt x="558" y="248"/>
                      </a:lnTo>
                      <a:lnTo>
                        <a:pt x="540" y="220"/>
                      </a:lnTo>
                      <a:lnTo>
                        <a:pt x="540" y="220"/>
                      </a:lnTo>
                      <a:lnTo>
                        <a:pt x="532" y="206"/>
                      </a:lnTo>
                      <a:lnTo>
                        <a:pt x="528" y="188"/>
                      </a:lnTo>
                      <a:lnTo>
                        <a:pt x="520" y="154"/>
                      </a:lnTo>
                      <a:lnTo>
                        <a:pt x="520" y="154"/>
                      </a:lnTo>
                      <a:lnTo>
                        <a:pt x="514" y="138"/>
                      </a:lnTo>
                      <a:lnTo>
                        <a:pt x="508" y="120"/>
                      </a:lnTo>
                      <a:lnTo>
                        <a:pt x="498" y="100"/>
                      </a:lnTo>
                      <a:lnTo>
                        <a:pt x="498" y="100"/>
                      </a:lnTo>
                      <a:lnTo>
                        <a:pt x="480" y="98"/>
                      </a:lnTo>
                      <a:lnTo>
                        <a:pt x="466" y="96"/>
                      </a:lnTo>
                      <a:lnTo>
                        <a:pt x="454" y="96"/>
                      </a:lnTo>
                      <a:lnTo>
                        <a:pt x="454" y="96"/>
                      </a:lnTo>
                      <a:lnTo>
                        <a:pt x="444" y="98"/>
                      </a:lnTo>
                      <a:lnTo>
                        <a:pt x="432" y="104"/>
                      </a:lnTo>
                      <a:lnTo>
                        <a:pt x="422" y="106"/>
                      </a:lnTo>
                      <a:lnTo>
                        <a:pt x="418" y="106"/>
                      </a:lnTo>
                      <a:lnTo>
                        <a:pt x="414" y="104"/>
                      </a:lnTo>
                      <a:lnTo>
                        <a:pt x="414" y="104"/>
                      </a:lnTo>
                      <a:lnTo>
                        <a:pt x="408" y="100"/>
                      </a:lnTo>
                      <a:lnTo>
                        <a:pt x="400" y="92"/>
                      </a:lnTo>
                      <a:lnTo>
                        <a:pt x="388" y="82"/>
                      </a:lnTo>
                      <a:lnTo>
                        <a:pt x="388" y="82"/>
                      </a:lnTo>
                      <a:lnTo>
                        <a:pt x="380" y="74"/>
                      </a:lnTo>
                      <a:lnTo>
                        <a:pt x="368" y="62"/>
                      </a:lnTo>
                      <a:lnTo>
                        <a:pt x="358" y="50"/>
                      </a:lnTo>
                      <a:lnTo>
                        <a:pt x="352" y="44"/>
                      </a:lnTo>
                      <a:lnTo>
                        <a:pt x="348" y="42"/>
                      </a:lnTo>
                      <a:lnTo>
                        <a:pt x="348" y="42"/>
                      </a:lnTo>
                      <a:lnTo>
                        <a:pt x="322" y="36"/>
                      </a:lnTo>
                      <a:lnTo>
                        <a:pt x="308" y="30"/>
                      </a:lnTo>
                      <a:lnTo>
                        <a:pt x="298" y="26"/>
                      </a:lnTo>
                      <a:lnTo>
                        <a:pt x="298" y="26"/>
                      </a:lnTo>
                      <a:lnTo>
                        <a:pt x="286" y="14"/>
                      </a:lnTo>
                      <a:lnTo>
                        <a:pt x="280" y="8"/>
                      </a:lnTo>
                      <a:lnTo>
                        <a:pt x="272" y="4"/>
                      </a:lnTo>
                      <a:lnTo>
                        <a:pt x="272" y="4"/>
                      </a:lnTo>
                      <a:lnTo>
                        <a:pt x="262" y="2"/>
                      </a:lnTo>
                      <a:lnTo>
                        <a:pt x="250" y="0"/>
                      </a:lnTo>
                      <a:lnTo>
                        <a:pt x="240" y="0"/>
                      </a:lnTo>
                      <a:lnTo>
                        <a:pt x="238" y="2"/>
                      </a:lnTo>
                      <a:lnTo>
                        <a:pt x="238" y="4"/>
                      </a:lnTo>
                      <a:lnTo>
                        <a:pt x="238" y="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7" name="Freeform 31">
                  <a:extLst>
                    <a:ext uri="{FF2B5EF4-FFF2-40B4-BE49-F238E27FC236}">
                      <a16:creationId xmlns:a16="http://schemas.microsoft.com/office/drawing/2014/main" id="{657CF0CB-11AE-4F00-AB2E-1EC8445FE0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8259" y="3875733"/>
                  <a:ext cx="187484" cy="112795"/>
                </a:xfrm>
                <a:custGeom>
                  <a:avLst/>
                  <a:gdLst/>
                  <a:ahLst/>
                  <a:cxnLst>
                    <a:cxn ang="0">
                      <a:pos x="2" y="124"/>
                    </a:cxn>
                    <a:cxn ang="0">
                      <a:pos x="36" y="106"/>
                    </a:cxn>
                    <a:cxn ang="0">
                      <a:pos x="44" y="98"/>
                    </a:cxn>
                    <a:cxn ang="0">
                      <a:pos x="44" y="94"/>
                    </a:cxn>
                    <a:cxn ang="0">
                      <a:pos x="24" y="74"/>
                    </a:cxn>
                    <a:cxn ang="0">
                      <a:pos x="6" y="60"/>
                    </a:cxn>
                    <a:cxn ang="0">
                      <a:pos x="2" y="54"/>
                    </a:cxn>
                    <a:cxn ang="0">
                      <a:pos x="10" y="52"/>
                    </a:cxn>
                    <a:cxn ang="0">
                      <a:pos x="22" y="50"/>
                    </a:cxn>
                    <a:cxn ang="0">
                      <a:pos x="44" y="44"/>
                    </a:cxn>
                    <a:cxn ang="0">
                      <a:pos x="58" y="46"/>
                    </a:cxn>
                    <a:cxn ang="0">
                      <a:pos x="72" y="50"/>
                    </a:cxn>
                    <a:cxn ang="0">
                      <a:pos x="90" y="58"/>
                    </a:cxn>
                    <a:cxn ang="0">
                      <a:pos x="100" y="54"/>
                    </a:cxn>
                    <a:cxn ang="0">
                      <a:pos x="104" y="46"/>
                    </a:cxn>
                    <a:cxn ang="0">
                      <a:pos x="120" y="14"/>
                    </a:cxn>
                    <a:cxn ang="0">
                      <a:pos x="122" y="0"/>
                    </a:cxn>
                    <a:cxn ang="0">
                      <a:pos x="156" y="12"/>
                    </a:cxn>
                    <a:cxn ang="0">
                      <a:pos x="184" y="18"/>
                    </a:cxn>
                    <a:cxn ang="0">
                      <a:pos x="206" y="20"/>
                    </a:cxn>
                    <a:cxn ang="0">
                      <a:pos x="224" y="32"/>
                    </a:cxn>
                    <a:cxn ang="0">
                      <a:pos x="238" y="52"/>
                    </a:cxn>
                    <a:cxn ang="0">
                      <a:pos x="240" y="64"/>
                    </a:cxn>
                    <a:cxn ang="0">
                      <a:pos x="238" y="114"/>
                    </a:cxn>
                    <a:cxn ang="0">
                      <a:pos x="238" y="120"/>
                    </a:cxn>
                    <a:cxn ang="0">
                      <a:pos x="246" y="132"/>
                    </a:cxn>
                    <a:cxn ang="0">
                      <a:pos x="222" y="140"/>
                    </a:cxn>
                    <a:cxn ang="0">
                      <a:pos x="188" y="146"/>
                    </a:cxn>
                    <a:cxn ang="0">
                      <a:pos x="178" y="148"/>
                    </a:cxn>
                    <a:cxn ang="0">
                      <a:pos x="76" y="146"/>
                    </a:cxn>
                    <a:cxn ang="0">
                      <a:pos x="20" y="138"/>
                    </a:cxn>
                    <a:cxn ang="0">
                      <a:pos x="4" y="132"/>
                    </a:cxn>
                    <a:cxn ang="0">
                      <a:pos x="2" y="124"/>
                    </a:cxn>
                  </a:cxnLst>
                  <a:rect l="0" t="0" r="r" b="b"/>
                  <a:pathLst>
                    <a:path w="246" h="148">
                      <a:moveTo>
                        <a:pt x="2" y="124"/>
                      </a:moveTo>
                      <a:lnTo>
                        <a:pt x="2" y="124"/>
                      </a:lnTo>
                      <a:lnTo>
                        <a:pt x="22" y="114"/>
                      </a:lnTo>
                      <a:lnTo>
                        <a:pt x="36" y="106"/>
                      </a:lnTo>
                      <a:lnTo>
                        <a:pt x="44" y="98"/>
                      </a:lnTo>
                      <a:lnTo>
                        <a:pt x="44" y="98"/>
                      </a:lnTo>
                      <a:lnTo>
                        <a:pt x="46" y="96"/>
                      </a:lnTo>
                      <a:lnTo>
                        <a:pt x="44" y="94"/>
                      </a:lnTo>
                      <a:lnTo>
                        <a:pt x="40" y="88"/>
                      </a:lnTo>
                      <a:lnTo>
                        <a:pt x="24" y="74"/>
                      </a:lnTo>
                      <a:lnTo>
                        <a:pt x="24" y="74"/>
                      </a:lnTo>
                      <a:lnTo>
                        <a:pt x="6" y="60"/>
                      </a:lnTo>
                      <a:lnTo>
                        <a:pt x="4" y="56"/>
                      </a:lnTo>
                      <a:lnTo>
                        <a:pt x="2" y="54"/>
                      </a:lnTo>
                      <a:lnTo>
                        <a:pt x="4" y="52"/>
                      </a:lnTo>
                      <a:lnTo>
                        <a:pt x="10" y="52"/>
                      </a:lnTo>
                      <a:lnTo>
                        <a:pt x="10" y="52"/>
                      </a:lnTo>
                      <a:lnTo>
                        <a:pt x="22" y="50"/>
                      </a:lnTo>
                      <a:lnTo>
                        <a:pt x="32" y="46"/>
                      </a:lnTo>
                      <a:lnTo>
                        <a:pt x="44" y="44"/>
                      </a:lnTo>
                      <a:lnTo>
                        <a:pt x="58" y="46"/>
                      </a:lnTo>
                      <a:lnTo>
                        <a:pt x="58" y="46"/>
                      </a:lnTo>
                      <a:lnTo>
                        <a:pt x="66" y="48"/>
                      </a:lnTo>
                      <a:lnTo>
                        <a:pt x="72" y="50"/>
                      </a:lnTo>
                      <a:lnTo>
                        <a:pt x="84" y="56"/>
                      </a:lnTo>
                      <a:lnTo>
                        <a:pt x="90" y="58"/>
                      </a:lnTo>
                      <a:lnTo>
                        <a:pt x="94" y="56"/>
                      </a:lnTo>
                      <a:lnTo>
                        <a:pt x="100" y="54"/>
                      </a:lnTo>
                      <a:lnTo>
                        <a:pt x="104" y="46"/>
                      </a:lnTo>
                      <a:lnTo>
                        <a:pt x="104" y="46"/>
                      </a:lnTo>
                      <a:lnTo>
                        <a:pt x="114" y="30"/>
                      </a:lnTo>
                      <a:lnTo>
                        <a:pt x="120" y="14"/>
                      </a:lnTo>
                      <a:lnTo>
                        <a:pt x="122" y="0"/>
                      </a:lnTo>
                      <a:lnTo>
                        <a:pt x="122" y="0"/>
                      </a:lnTo>
                      <a:lnTo>
                        <a:pt x="134" y="6"/>
                      </a:lnTo>
                      <a:lnTo>
                        <a:pt x="156" y="12"/>
                      </a:lnTo>
                      <a:lnTo>
                        <a:pt x="156" y="12"/>
                      </a:lnTo>
                      <a:lnTo>
                        <a:pt x="184" y="18"/>
                      </a:lnTo>
                      <a:lnTo>
                        <a:pt x="206" y="20"/>
                      </a:lnTo>
                      <a:lnTo>
                        <a:pt x="206" y="20"/>
                      </a:lnTo>
                      <a:lnTo>
                        <a:pt x="214" y="24"/>
                      </a:lnTo>
                      <a:lnTo>
                        <a:pt x="224" y="32"/>
                      </a:lnTo>
                      <a:lnTo>
                        <a:pt x="232" y="42"/>
                      </a:lnTo>
                      <a:lnTo>
                        <a:pt x="238" y="52"/>
                      </a:lnTo>
                      <a:lnTo>
                        <a:pt x="238" y="52"/>
                      </a:lnTo>
                      <a:lnTo>
                        <a:pt x="240" y="64"/>
                      </a:lnTo>
                      <a:lnTo>
                        <a:pt x="240" y="82"/>
                      </a:lnTo>
                      <a:lnTo>
                        <a:pt x="238" y="114"/>
                      </a:lnTo>
                      <a:lnTo>
                        <a:pt x="238" y="114"/>
                      </a:lnTo>
                      <a:lnTo>
                        <a:pt x="238" y="120"/>
                      </a:lnTo>
                      <a:lnTo>
                        <a:pt x="242" y="126"/>
                      </a:lnTo>
                      <a:lnTo>
                        <a:pt x="246" y="132"/>
                      </a:lnTo>
                      <a:lnTo>
                        <a:pt x="246" y="132"/>
                      </a:lnTo>
                      <a:lnTo>
                        <a:pt x="222" y="140"/>
                      </a:lnTo>
                      <a:lnTo>
                        <a:pt x="198" y="146"/>
                      </a:lnTo>
                      <a:lnTo>
                        <a:pt x="188" y="146"/>
                      </a:lnTo>
                      <a:lnTo>
                        <a:pt x="178" y="148"/>
                      </a:lnTo>
                      <a:lnTo>
                        <a:pt x="178" y="148"/>
                      </a:lnTo>
                      <a:lnTo>
                        <a:pt x="140" y="146"/>
                      </a:lnTo>
                      <a:lnTo>
                        <a:pt x="76" y="146"/>
                      </a:lnTo>
                      <a:lnTo>
                        <a:pt x="44" y="144"/>
                      </a:lnTo>
                      <a:lnTo>
                        <a:pt x="20" y="138"/>
                      </a:lnTo>
                      <a:lnTo>
                        <a:pt x="10" y="136"/>
                      </a:lnTo>
                      <a:lnTo>
                        <a:pt x="4" y="132"/>
                      </a:lnTo>
                      <a:lnTo>
                        <a:pt x="0" y="128"/>
                      </a:lnTo>
                      <a:lnTo>
                        <a:pt x="2" y="124"/>
                      </a:lnTo>
                      <a:lnTo>
                        <a:pt x="2" y="12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8" name="Freeform 32">
                  <a:extLst>
                    <a:ext uri="{FF2B5EF4-FFF2-40B4-BE49-F238E27FC236}">
                      <a16:creationId xmlns:a16="http://schemas.microsoft.com/office/drawing/2014/main" id="{BB0244E8-4C34-4714-84A3-97F9D0BF6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2278" y="2080152"/>
                  <a:ext cx="507579" cy="1217885"/>
                </a:xfrm>
                <a:custGeom>
                  <a:avLst/>
                  <a:gdLst/>
                  <a:ahLst/>
                  <a:cxnLst>
                    <a:cxn ang="0">
                      <a:pos x="424" y="1492"/>
                    </a:cxn>
                    <a:cxn ang="0">
                      <a:pos x="354" y="1512"/>
                    </a:cxn>
                    <a:cxn ang="0">
                      <a:pos x="290" y="1572"/>
                    </a:cxn>
                    <a:cxn ang="0">
                      <a:pos x="202" y="1596"/>
                    </a:cxn>
                    <a:cxn ang="0">
                      <a:pos x="138" y="1578"/>
                    </a:cxn>
                    <a:cxn ang="0">
                      <a:pos x="120" y="1560"/>
                    </a:cxn>
                    <a:cxn ang="0">
                      <a:pos x="64" y="1530"/>
                    </a:cxn>
                    <a:cxn ang="0">
                      <a:pos x="42" y="1534"/>
                    </a:cxn>
                    <a:cxn ang="0">
                      <a:pos x="28" y="1534"/>
                    </a:cxn>
                    <a:cxn ang="0">
                      <a:pos x="0" y="1508"/>
                    </a:cxn>
                    <a:cxn ang="0">
                      <a:pos x="6" y="1458"/>
                    </a:cxn>
                    <a:cxn ang="0">
                      <a:pos x="16" y="1318"/>
                    </a:cxn>
                    <a:cxn ang="0">
                      <a:pos x="8" y="1262"/>
                    </a:cxn>
                    <a:cxn ang="0">
                      <a:pos x="6" y="1182"/>
                    </a:cxn>
                    <a:cxn ang="0">
                      <a:pos x="6" y="1156"/>
                    </a:cxn>
                    <a:cxn ang="0">
                      <a:pos x="50" y="1100"/>
                    </a:cxn>
                    <a:cxn ang="0">
                      <a:pos x="122" y="1006"/>
                    </a:cxn>
                    <a:cxn ang="0">
                      <a:pos x="182" y="916"/>
                    </a:cxn>
                    <a:cxn ang="0">
                      <a:pos x="202" y="870"/>
                    </a:cxn>
                    <a:cxn ang="0">
                      <a:pos x="210" y="804"/>
                    </a:cxn>
                    <a:cxn ang="0">
                      <a:pos x="238" y="812"/>
                    </a:cxn>
                    <a:cxn ang="0">
                      <a:pos x="240" y="794"/>
                    </a:cxn>
                    <a:cxn ang="0">
                      <a:pos x="226" y="722"/>
                    </a:cxn>
                    <a:cxn ang="0">
                      <a:pos x="202" y="696"/>
                    </a:cxn>
                    <a:cxn ang="0">
                      <a:pos x="168" y="686"/>
                    </a:cxn>
                    <a:cxn ang="0">
                      <a:pos x="154" y="636"/>
                    </a:cxn>
                    <a:cxn ang="0">
                      <a:pos x="150" y="584"/>
                    </a:cxn>
                    <a:cxn ang="0">
                      <a:pos x="150" y="462"/>
                    </a:cxn>
                    <a:cxn ang="0">
                      <a:pos x="138" y="362"/>
                    </a:cxn>
                    <a:cxn ang="0">
                      <a:pos x="120" y="306"/>
                    </a:cxn>
                    <a:cxn ang="0">
                      <a:pos x="90" y="230"/>
                    </a:cxn>
                    <a:cxn ang="0">
                      <a:pos x="110" y="220"/>
                    </a:cxn>
                    <a:cxn ang="0">
                      <a:pos x="198" y="224"/>
                    </a:cxn>
                    <a:cxn ang="0">
                      <a:pos x="222" y="226"/>
                    </a:cxn>
                    <a:cxn ang="0">
                      <a:pos x="250" y="142"/>
                    </a:cxn>
                    <a:cxn ang="0">
                      <a:pos x="292" y="38"/>
                    </a:cxn>
                    <a:cxn ang="0">
                      <a:pos x="332" y="0"/>
                    </a:cxn>
                    <a:cxn ang="0">
                      <a:pos x="376" y="8"/>
                    </a:cxn>
                    <a:cxn ang="0">
                      <a:pos x="434" y="42"/>
                    </a:cxn>
                    <a:cxn ang="0">
                      <a:pos x="470" y="58"/>
                    </a:cxn>
                    <a:cxn ang="0">
                      <a:pos x="452" y="98"/>
                    </a:cxn>
                    <a:cxn ang="0">
                      <a:pos x="406" y="150"/>
                    </a:cxn>
                    <a:cxn ang="0">
                      <a:pos x="410" y="230"/>
                    </a:cxn>
                    <a:cxn ang="0">
                      <a:pos x="418" y="288"/>
                    </a:cxn>
                    <a:cxn ang="0">
                      <a:pos x="470" y="328"/>
                    </a:cxn>
                    <a:cxn ang="0">
                      <a:pos x="504" y="372"/>
                    </a:cxn>
                    <a:cxn ang="0">
                      <a:pos x="484" y="418"/>
                    </a:cxn>
                    <a:cxn ang="0">
                      <a:pos x="464" y="472"/>
                    </a:cxn>
                    <a:cxn ang="0">
                      <a:pos x="464" y="558"/>
                    </a:cxn>
                    <a:cxn ang="0">
                      <a:pos x="500" y="628"/>
                    </a:cxn>
                    <a:cxn ang="0">
                      <a:pos x="520" y="774"/>
                    </a:cxn>
                    <a:cxn ang="0">
                      <a:pos x="534" y="816"/>
                    </a:cxn>
                    <a:cxn ang="0">
                      <a:pos x="540" y="864"/>
                    </a:cxn>
                    <a:cxn ang="0">
                      <a:pos x="560" y="882"/>
                    </a:cxn>
                    <a:cxn ang="0">
                      <a:pos x="574" y="948"/>
                    </a:cxn>
                    <a:cxn ang="0">
                      <a:pos x="634" y="1046"/>
                    </a:cxn>
                    <a:cxn ang="0">
                      <a:pos x="666" y="1120"/>
                    </a:cxn>
                    <a:cxn ang="0">
                      <a:pos x="616" y="1220"/>
                    </a:cxn>
                    <a:cxn ang="0">
                      <a:pos x="612" y="1248"/>
                    </a:cxn>
                    <a:cxn ang="0">
                      <a:pos x="612" y="1282"/>
                    </a:cxn>
                  </a:cxnLst>
                  <a:rect l="0" t="0" r="r" b="b"/>
                  <a:pathLst>
                    <a:path w="666" h="1598">
                      <a:moveTo>
                        <a:pt x="484" y="1460"/>
                      </a:moveTo>
                      <a:lnTo>
                        <a:pt x="484" y="1460"/>
                      </a:lnTo>
                      <a:lnTo>
                        <a:pt x="472" y="1468"/>
                      </a:lnTo>
                      <a:lnTo>
                        <a:pt x="450" y="1480"/>
                      </a:lnTo>
                      <a:lnTo>
                        <a:pt x="424" y="1492"/>
                      </a:lnTo>
                      <a:lnTo>
                        <a:pt x="396" y="1502"/>
                      </a:lnTo>
                      <a:lnTo>
                        <a:pt x="396" y="1502"/>
                      </a:lnTo>
                      <a:lnTo>
                        <a:pt x="374" y="1508"/>
                      </a:lnTo>
                      <a:lnTo>
                        <a:pt x="360" y="1510"/>
                      </a:lnTo>
                      <a:lnTo>
                        <a:pt x="354" y="1512"/>
                      </a:lnTo>
                      <a:lnTo>
                        <a:pt x="346" y="1518"/>
                      </a:lnTo>
                      <a:lnTo>
                        <a:pt x="328" y="1536"/>
                      </a:lnTo>
                      <a:lnTo>
                        <a:pt x="328" y="1536"/>
                      </a:lnTo>
                      <a:lnTo>
                        <a:pt x="302" y="1562"/>
                      </a:lnTo>
                      <a:lnTo>
                        <a:pt x="290" y="1572"/>
                      </a:lnTo>
                      <a:lnTo>
                        <a:pt x="276" y="1582"/>
                      </a:lnTo>
                      <a:lnTo>
                        <a:pt x="260" y="1590"/>
                      </a:lnTo>
                      <a:lnTo>
                        <a:pt x="244" y="1596"/>
                      </a:lnTo>
                      <a:lnTo>
                        <a:pt x="224" y="1598"/>
                      </a:lnTo>
                      <a:lnTo>
                        <a:pt x="202" y="1596"/>
                      </a:lnTo>
                      <a:lnTo>
                        <a:pt x="202" y="1596"/>
                      </a:lnTo>
                      <a:lnTo>
                        <a:pt x="180" y="1592"/>
                      </a:lnTo>
                      <a:lnTo>
                        <a:pt x="162" y="1588"/>
                      </a:lnTo>
                      <a:lnTo>
                        <a:pt x="148" y="1584"/>
                      </a:lnTo>
                      <a:lnTo>
                        <a:pt x="138" y="1578"/>
                      </a:lnTo>
                      <a:lnTo>
                        <a:pt x="130" y="1574"/>
                      </a:lnTo>
                      <a:lnTo>
                        <a:pt x="124" y="1568"/>
                      </a:lnTo>
                      <a:lnTo>
                        <a:pt x="120" y="1564"/>
                      </a:lnTo>
                      <a:lnTo>
                        <a:pt x="120" y="1560"/>
                      </a:lnTo>
                      <a:lnTo>
                        <a:pt x="120" y="1560"/>
                      </a:lnTo>
                      <a:lnTo>
                        <a:pt x="118" y="1556"/>
                      </a:lnTo>
                      <a:lnTo>
                        <a:pt x="114" y="1554"/>
                      </a:lnTo>
                      <a:lnTo>
                        <a:pt x="100" y="1546"/>
                      </a:lnTo>
                      <a:lnTo>
                        <a:pt x="82" y="1536"/>
                      </a:lnTo>
                      <a:lnTo>
                        <a:pt x="64" y="1530"/>
                      </a:lnTo>
                      <a:lnTo>
                        <a:pt x="64" y="1530"/>
                      </a:lnTo>
                      <a:lnTo>
                        <a:pt x="56" y="1528"/>
                      </a:lnTo>
                      <a:lnTo>
                        <a:pt x="50" y="1528"/>
                      </a:lnTo>
                      <a:lnTo>
                        <a:pt x="46" y="1532"/>
                      </a:lnTo>
                      <a:lnTo>
                        <a:pt x="42" y="1534"/>
                      </a:lnTo>
                      <a:lnTo>
                        <a:pt x="40" y="1538"/>
                      </a:lnTo>
                      <a:lnTo>
                        <a:pt x="36" y="1540"/>
                      </a:lnTo>
                      <a:lnTo>
                        <a:pt x="34" y="1538"/>
                      </a:lnTo>
                      <a:lnTo>
                        <a:pt x="28" y="1534"/>
                      </a:lnTo>
                      <a:lnTo>
                        <a:pt x="28" y="1534"/>
                      </a:lnTo>
                      <a:lnTo>
                        <a:pt x="24" y="1528"/>
                      </a:lnTo>
                      <a:lnTo>
                        <a:pt x="18" y="1524"/>
                      </a:lnTo>
                      <a:lnTo>
                        <a:pt x="8" y="1518"/>
                      </a:lnTo>
                      <a:lnTo>
                        <a:pt x="4" y="1514"/>
                      </a:lnTo>
                      <a:lnTo>
                        <a:pt x="0" y="1508"/>
                      </a:lnTo>
                      <a:lnTo>
                        <a:pt x="0" y="1500"/>
                      </a:lnTo>
                      <a:lnTo>
                        <a:pt x="0" y="1490"/>
                      </a:lnTo>
                      <a:lnTo>
                        <a:pt x="0" y="1490"/>
                      </a:lnTo>
                      <a:lnTo>
                        <a:pt x="2" y="1472"/>
                      </a:lnTo>
                      <a:lnTo>
                        <a:pt x="6" y="1458"/>
                      </a:lnTo>
                      <a:lnTo>
                        <a:pt x="8" y="1438"/>
                      </a:lnTo>
                      <a:lnTo>
                        <a:pt x="10" y="1398"/>
                      </a:lnTo>
                      <a:lnTo>
                        <a:pt x="10" y="1398"/>
                      </a:lnTo>
                      <a:lnTo>
                        <a:pt x="12" y="1352"/>
                      </a:lnTo>
                      <a:lnTo>
                        <a:pt x="16" y="1318"/>
                      </a:lnTo>
                      <a:lnTo>
                        <a:pt x="16" y="1302"/>
                      </a:lnTo>
                      <a:lnTo>
                        <a:pt x="16" y="1288"/>
                      </a:lnTo>
                      <a:lnTo>
                        <a:pt x="12" y="1276"/>
                      </a:lnTo>
                      <a:lnTo>
                        <a:pt x="8" y="1262"/>
                      </a:lnTo>
                      <a:lnTo>
                        <a:pt x="8" y="1262"/>
                      </a:lnTo>
                      <a:lnTo>
                        <a:pt x="2" y="1248"/>
                      </a:lnTo>
                      <a:lnTo>
                        <a:pt x="0" y="1234"/>
                      </a:lnTo>
                      <a:lnTo>
                        <a:pt x="0" y="1220"/>
                      </a:lnTo>
                      <a:lnTo>
                        <a:pt x="2" y="1204"/>
                      </a:lnTo>
                      <a:lnTo>
                        <a:pt x="6" y="1182"/>
                      </a:lnTo>
                      <a:lnTo>
                        <a:pt x="8" y="1172"/>
                      </a:lnTo>
                      <a:lnTo>
                        <a:pt x="8" y="1172"/>
                      </a:lnTo>
                      <a:lnTo>
                        <a:pt x="6" y="1170"/>
                      </a:lnTo>
                      <a:lnTo>
                        <a:pt x="6" y="1164"/>
                      </a:lnTo>
                      <a:lnTo>
                        <a:pt x="6" y="1156"/>
                      </a:lnTo>
                      <a:lnTo>
                        <a:pt x="10" y="1146"/>
                      </a:lnTo>
                      <a:lnTo>
                        <a:pt x="18" y="1134"/>
                      </a:lnTo>
                      <a:lnTo>
                        <a:pt x="32" y="1118"/>
                      </a:lnTo>
                      <a:lnTo>
                        <a:pt x="50" y="1100"/>
                      </a:lnTo>
                      <a:lnTo>
                        <a:pt x="50" y="1100"/>
                      </a:lnTo>
                      <a:lnTo>
                        <a:pt x="70" y="1080"/>
                      </a:lnTo>
                      <a:lnTo>
                        <a:pt x="84" y="1064"/>
                      </a:lnTo>
                      <a:lnTo>
                        <a:pt x="96" y="1048"/>
                      </a:lnTo>
                      <a:lnTo>
                        <a:pt x="106" y="1034"/>
                      </a:lnTo>
                      <a:lnTo>
                        <a:pt x="122" y="1006"/>
                      </a:lnTo>
                      <a:lnTo>
                        <a:pt x="138" y="974"/>
                      </a:lnTo>
                      <a:lnTo>
                        <a:pt x="138" y="974"/>
                      </a:lnTo>
                      <a:lnTo>
                        <a:pt x="150" y="956"/>
                      </a:lnTo>
                      <a:lnTo>
                        <a:pt x="162" y="942"/>
                      </a:lnTo>
                      <a:lnTo>
                        <a:pt x="182" y="916"/>
                      </a:lnTo>
                      <a:lnTo>
                        <a:pt x="192" y="904"/>
                      </a:lnTo>
                      <a:lnTo>
                        <a:pt x="198" y="892"/>
                      </a:lnTo>
                      <a:lnTo>
                        <a:pt x="202" y="882"/>
                      </a:lnTo>
                      <a:lnTo>
                        <a:pt x="202" y="870"/>
                      </a:lnTo>
                      <a:lnTo>
                        <a:pt x="202" y="870"/>
                      </a:lnTo>
                      <a:lnTo>
                        <a:pt x="200" y="846"/>
                      </a:lnTo>
                      <a:lnTo>
                        <a:pt x="202" y="824"/>
                      </a:lnTo>
                      <a:lnTo>
                        <a:pt x="202" y="816"/>
                      </a:lnTo>
                      <a:lnTo>
                        <a:pt x="206" y="808"/>
                      </a:lnTo>
                      <a:lnTo>
                        <a:pt x="210" y="804"/>
                      </a:lnTo>
                      <a:lnTo>
                        <a:pt x="214" y="802"/>
                      </a:lnTo>
                      <a:lnTo>
                        <a:pt x="214" y="802"/>
                      </a:lnTo>
                      <a:lnTo>
                        <a:pt x="220" y="802"/>
                      </a:lnTo>
                      <a:lnTo>
                        <a:pt x="226" y="804"/>
                      </a:lnTo>
                      <a:lnTo>
                        <a:pt x="238" y="812"/>
                      </a:lnTo>
                      <a:lnTo>
                        <a:pt x="242" y="814"/>
                      </a:lnTo>
                      <a:lnTo>
                        <a:pt x="244" y="814"/>
                      </a:lnTo>
                      <a:lnTo>
                        <a:pt x="244" y="812"/>
                      </a:lnTo>
                      <a:lnTo>
                        <a:pt x="244" y="806"/>
                      </a:lnTo>
                      <a:lnTo>
                        <a:pt x="240" y="794"/>
                      </a:lnTo>
                      <a:lnTo>
                        <a:pt x="240" y="794"/>
                      </a:lnTo>
                      <a:lnTo>
                        <a:pt x="234" y="778"/>
                      </a:lnTo>
                      <a:lnTo>
                        <a:pt x="232" y="762"/>
                      </a:lnTo>
                      <a:lnTo>
                        <a:pt x="228" y="734"/>
                      </a:lnTo>
                      <a:lnTo>
                        <a:pt x="226" y="722"/>
                      </a:lnTo>
                      <a:lnTo>
                        <a:pt x="224" y="710"/>
                      </a:lnTo>
                      <a:lnTo>
                        <a:pt x="220" y="702"/>
                      </a:lnTo>
                      <a:lnTo>
                        <a:pt x="212" y="698"/>
                      </a:lnTo>
                      <a:lnTo>
                        <a:pt x="212" y="698"/>
                      </a:lnTo>
                      <a:lnTo>
                        <a:pt x="202" y="696"/>
                      </a:lnTo>
                      <a:lnTo>
                        <a:pt x="194" y="696"/>
                      </a:lnTo>
                      <a:lnTo>
                        <a:pt x="182" y="696"/>
                      </a:lnTo>
                      <a:lnTo>
                        <a:pt x="176" y="694"/>
                      </a:lnTo>
                      <a:lnTo>
                        <a:pt x="172" y="692"/>
                      </a:lnTo>
                      <a:lnTo>
                        <a:pt x="168" y="686"/>
                      </a:lnTo>
                      <a:lnTo>
                        <a:pt x="166" y="676"/>
                      </a:lnTo>
                      <a:lnTo>
                        <a:pt x="166" y="676"/>
                      </a:lnTo>
                      <a:lnTo>
                        <a:pt x="164" y="664"/>
                      </a:lnTo>
                      <a:lnTo>
                        <a:pt x="160" y="654"/>
                      </a:lnTo>
                      <a:lnTo>
                        <a:pt x="154" y="636"/>
                      </a:lnTo>
                      <a:lnTo>
                        <a:pt x="150" y="626"/>
                      </a:lnTo>
                      <a:lnTo>
                        <a:pt x="148" y="614"/>
                      </a:lnTo>
                      <a:lnTo>
                        <a:pt x="148" y="600"/>
                      </a:lnTo>
                      <a:lnTo>
                        <a:pt x="150" y="584"/>
                      </a:lnTo>
                      <a:lnTo>
                        <a:pt x="150" y="584"/>
                      </a:lnTo>
                      <a:lnTo>
                        <a:pt x="154" y="550"/>
                      </a:lnTo>
                      <a:lnTo>
                        <a:pt x="156" y="520"/>
                      </a:lnTo>
                      <a:lnTo>
                        <a:pt x="156" y="492"/>
                      </a:lnTo>
                      <a:lnTo>
                        <a:pt x="154" y="478"/>
                      </a:lnTo>
                      <a:lnTo>
                        <a:pt x="150" y="462"/>
                      </a:lnTo>
                      <a:lnTo>
                        <a:pt x="150" y="462"/>
                      </a:lnTo>
                      <a:lnTo>
                        <a:pt x="146" y="448"/>
                      </a:lnTo>
                      <a:lnTo>
                        <a:pt x="144" y="430"/>
                      </a:lnTo>
                      <a:lnTo>
                        <a:pt x="142" y="394"/>
                      </a:lnTo>
                      <a:lnTo>
                        <a:pt x="138" y="362"/>
                      </a:lnTo>
                      <a:lnTo>
                        <a:pt x="136" y="350"/>
                      </a:lnTo>
                      <a:lnTo>
                        <a:pt x="134" y="340"/>
                      </a:lnTo>
                      <a:lnTo>
                        <a:pt x="134" y="340"/>
                      </a:lnTo>
                      <a:lnTo>
                        <a:pt x="126" y="324"/>
                      </a:lnTo>
                      <a:lnTo>
                        <a:pt x="120" y="306"/>
                      </a:lnTo>
                      <a:lnTo>
                        <a:pt x="106" y="266"/>
                      </a:lnTo>
                      <a:lnTo>
                        <a:pt x="106" y="266"/>
                      </a:lnTo>
                      <a:lnTo>
                        <a:pt x="102" y="254"/>
                      </a:lnTo>
                      <a:lnTo>
                        <a:pt x="98" y="244"/>
                      </a:lnTo>
                      <a:lnTo>
                        <a:pt x="90" y="230"/>
                      </a:lnTo>
                      <a:lnTo>
                        <a:pt x="90" y="226"/>
                      </a:lnTo>
                      <a:lnTo>
                        <a:pt x="92" y="224"/>
                      </a:lnTo>
                      <a:lnTo>
                        <a:pt x="98" y="222"/>
                      </a:lnTo>
                      <a:lnTo>
                        <a:pt x="110" y="220"/>
                      </a:lnTo>
                      <a:lnTo>
                        <a:pt x="110" y="220"/>
                      </a:lnTo>
                      <a:lnTo>
                        <a:pt x="138" y="220"/>
                      </a:lnTo>
                      <a:lnTo>
                        <a:pt x="160" y="218"/>
                      </a:lnTo>
                      <a:lnTo>
                        <a:pt x="180" y="218"/>
                      </a:lnTo>
                      <a:lnTo>
                        <a:pt x="188" y="220"/>
                      </a:lnTo>
                      <a:lnTo>
                        <a:pt x="198" y="224"/>
                      </a:lnTo>
                      <a:lnTo>
                        <a:pt x="198" y="224"/>
                      </a:lnTo>
                      <a:lnTo>
                        <a:pt x="204" y="228"/>
                      </a:lnTo>
                      <a:lnTo>
                        <a:pt x="212" y="230"/>
                      </a:lnTo>
                      <a:lnTo>
                        <a:pt x="218" y="230"/>
                      </a:lnTo>
                      <a:lnTo>
                        <a:pt x="222" y="226"/>
                      </a:lnTo>
                      <a:lnTo>
                        <a:pt x="228" y="220"/>
                      </a:lnTo>
                      <a:lnTo>
                        <a:pt x="232" y="212"/>
                      </a:lnTo>
                      <a:lnTo>
                        <a:pt x="240" y="186"/>
                      </a:lnTo>
                      <a:lnTo>
                        <a:pt x="240" y="186"/>
                      </a:lnTo>
                      <a:lnTo>
                        <a:pt x="250" y="142"/>
                      </a:lnTo>
                      <a:lnTo>
                        <a:pt x="256" y="112"/>
                      </a:lnTo>
                      <a:lnTo>
                        <a:pt x="256" y="112"/>
                      </a:lnTo>
                      <a:lnTo>
                        <a:pt x="266" y="88"/>
                      </a:lnTo>
                      <a:lnTo>
                        <a:pt x="282" y="54"/>
                      </a:lnTo>
                      <a:lnTo>
                        <a:pt x="292" y="38"/>
                      </a:lnTo>
                      <a:lnTo>
                        <a:pt x="302" y="22"/>
                      </a:lnTo>
                      <a:lnTo>
                        <a:pt x="312" y="10"/>
                      </a:lnTo>
                      <a:lnTo>
                        <a:pt x="322" y="4"/>
                      </a:lnTo>
                      <a:lnTo>
                        <a:pt x="322" y="4"/>
                      </a:lnTo>
                      <a:lnTo>
                        <a:pt x="332" y="0"/>
                      </a:lnTo>
                      <a:lnTo>
                        <a:pt x="340" y="0"/>
                      </a:lnTo>
                      <a:lnTo>
                        <a:pt x="350" y="0"/>
                      </a:lnTo>
                      <a:lnTo>
                        <a:pt x="358" y="2"/>
                      </a:lnTo>
                      <a:lnTo>
                        <a:pt x="368" y="4"/>
                      </a:lnTo>
                      <a:lnTo>
                        <a:pt x="376" y="8"/>
                      </a:lnTo>
                      <a:lnTo>
                        <a:pt x="392" y="20"/>
                      </a:lnTo>
                      <a:lnTo>
                        <a:pt x="392" y="20"/>
                      </a:lnTo>
                      <a:lnTo>
                        <a:pt x="402" y="28"/>
                      </a:lnTo>
                      <a:lnTo>
                        <a:pt x="412" y="32"/>
                      </a:lnTo>
                      <a:lnTo>
                        <a:pt x="434" y="42"/>
                      </a:lnTo>
                      <a:lnTo>
                        <a:pt x="452" y="48"/>
                      </a:lnTo>
                      <a:lnTo>
                        <a:pt x="464" y="54"/>
                      </a:lnTo>
                      <a:lnTo>
                        <a:pt x="464" y="54"/>
                      </a:lnTo>
                      <a:lnTo>
                        <a:pt x="468" y="56"/>
                      </a:lnTo>
                      <a:lnTo>
                        <a:pt x="470" y="58"/>
                      </a:lnTo>
                      <a:lnTo>
                        <a:pt x="470" y="66"/>
                      </a:lnTo>
                      <a:lnTo>
                        <a:pt x="468" y="76"/>
                      </a:lnTo>
                      <a:lnTo>
                        <a:pt x="468" y="76"/>
                      </a:lnTo>
                      <a:lnTo>
                        <a:pt x="462" y="88"/>
                      </a:lnTo>
                      <a:lnTo>
                        <a:pt x="452" y="98"/>
                      </a:lnTo>
                      <a:lnTo>
                        <a:pt x="440" y="108"/>
                      </a:lnTo>
                      <a:lnTo>
                        <a:pt x="440" y="108"/>
                      </a:lnTo>
                      <a:lnTo>
                        <a:pt x="426" y="120"/>
                      </a:lnTo>
                      <a:lnTo>
                        <a:pt x="414" y="134"/>
                      </a:lnTo>
                      <a:lnTo>
                        <a:pt x="406" y="150"/>
                      </a:lnTo>
                      <a:lnTo>
                        <a:pt x="404" y="156"/>
                      </a:lnTo>
                      <a:lnTo>
                        <a:pt x="402" y="164"/>
                      </a:lnTo>
                      <a:lnTo>
                        <a:pt x="402" y="164"/>
                      </a:lnTo>
                      <a:lnTo>
                        <a:pt x="406" y="196"/>
                      </a:lnTo>
                      <a:lnTo>
                        <a:pt x="410" y="230"/>
                      </a:lnTo>
                      <a:lnTo>
                        <a:pt x="410" y="230"/>
                      </a:lnTo>
                      <a:lnTo>
                        <a:pt x="410" y="260"/>
                      </a:lnTo>
                      <a:lnTo>
                        <a:pt x="414" y="276"/>
                      </a:lnTo>
                      <a:lnTo>
                        <a:pt x="418" y="288"/>
                      </a:lnTo>
                      <a:lnTo>
                        <a:pt x="418" y="288"/>
                      </a:lnTo>
                      <a:lnTo>
                        <a:pt x="422" y="294"/>
                      </a:lnTo>
                      <a:lnTo>
                        <a:pt x="430" y="298"/>
                      </a:lnTo>
                      <a:lnTo>
                        <a:pt x="446" y="310"/>
                      </a:lnTo>
                      <a:lnTo>
                        <a:pt x="462" y="322"/>
                      </a:lnTo>
                      <a:lnTo>
                        <a:pt x="470" y="328"/>
                      </a:lnTo>
                      <a:lnTo>
                        <a:pt x="474" y="334"/>
                      </a:lnTo>
                      <a:lnTo>
                        <a:pt x="474" y="334"/>
                      </a:lnTo>
                      <a:lnTo>
                        <a:pt x="498" y="360"/>
                      </a:lnTo>
                      <a:lnTo>
                        <a:pt x="502" y="366"/>
                      </a:lnTo>
                      <a:lnTo>
                        <a:pt x="504" y="372"/>
                      </a:lnTo>
                      <a:lnTo>
                        <a:pt x="506" y="378"/>
                      </a:lnTo>
                      <a:lnTo>
                        <a:pt x="504" y="386"/>
                      </a:lnTo>
                      <a:lnTo>
                        <a:pt x="504" y="386"/>
                      </a:lnTo>
                      <a:lnTo>
                        <a:pt x="496" y="400"/>
                      </a:lnTo>
                      <a:lnTo>
                        <a:pt x="484" y="418"/>
                      </a:lnTo>
                      <a:lnTo>
                        <a:pt x="472" y="436"/>
                      </a:lnTo>
                      <a:lnTo>
                        <a:pt x="468" y="446"/>
                      </a:lnTo>
                      <a:lnTo>
                        <a:pt x="468" y="454"/>
                      </a:lnTo>
                      <a:lnTo>
                        <a:pt x="468" y="454"/>
                      </a:lnTo>
                      <a:lnTo>
                        <a:pt x="464" y="472"/>
                      </a:lnTo>
                      <a:lnTo>
                        <a:pt x="458" y="492"/>
                      </a:lnTo>
                      <a:lnTo>
                        <a:pt x="458" y="506"/>
                      </a:lnTo>
                      <a:lnTo>
                        <a:pt x="458" y="522"/>
                      </a:lnTo>
                      <a:lnTo>
                        <a:pt x="460" y="538"/>
                      </a:lnTo>
                      <a:lnTo>
                        <a:pt x="464" y="558"/>
                      </a:lnTo>
                      <a:lnTo>
                        <a:pt x="464" y="558"/>
                      </a:lnTo>
                      <a:lnTo>
                        <a:pt x="480" y="584"/>
                      </a:lnTo>
                      <a:lnTo>
                        <a:pt x="492" y="608"/>
                      </a:lnTo>
                      <a:lnTo>
                        <a:pt x="500" y="628"/>
                      </a:lnTo>
                      <a:lnTo>
                        <a:pt x="500" y="628"/>
                      </a:lnTo>
                      <a:lnTo>
                        <a:pt x="524" y="712"/>
                      </a:lnTo>
                      <a:lnTo>
                        <a:pt x="524" y="712"/>
                      </a:lnTo>
                      <a:lnTo>
                        <a:pt x="524" y="726"/>
                      </a:lnTo>
                      <a:lnTo>
                        <a:pt x="522" y="750"/>
                      </a:lnTo>
                      <a:lnTo>
                        <a:pt x="520" y="774"/>
                      </a:lnTo>
                      <a:lnTo>
                        <a:pt x="520" y="788"/>
                      </a:lnTo>
                      <a:lnTo>
                        <a:pt x="520" y="788"/>
                      </a:lnTo>
                      <a:lnTo>
                        <a:pt x="522" y="796"/>
                      </a:lnTo>
                      <a:lnTo>
                        <a:pt x="528" y="806"/>
                      </a:lnTo>
                      <a:lnTo>
                        <a:pt x="534" y="816"/>
                      </a:lnTo>
                      <a:lnTo>
                        <a:pt x="538" y="826"/>
                      </a:lnTo>
                      <a:lnTo>
                        <a:pt x="538" y="826"/>
                      </a:lnTo>
                      <a:lnTo>
                        <a:pt x="540" y="838"/>
                      </a:lnTo>
                      <a:lnTo>
                        <a:pt x="538" y="852"/>
                      </a:lnTo>
                      <a:lnTo>
                        <a:pt x="540" y="864"/>
                      </a:lnTo>
                      <a:lnTo>
                        <a:pt x="542" y="870"/>
                      </a:lnTo>
                      <a:lnTo>
                        <a:pt x="546" y="874"/>
                      </a:lnTo>
                      <a:lnTo>
                        <a:pt x="546" y="874"/>
                      </a:lnTo>
                      <a:lnTo>
                        <a:pt x="554" y="878"/>
                      </a:lnTo>
                      <a:lnTo>
                        <a:pt x="560" y="882"/>
                      </a:lnTo>
                      <a:lnTo>
                        <a:pt x="564" y="888"/>
                      </a:lnTo>
                      <a:lnTo>
                        <a:pt x="568" y="900"/>
                      </a:lnTo>
                      <a:lnTo>
                        <a:pt x="568" y="900"/>
                      </a:lnTo>
                      <a:lnTo>
                        <a:pt x="572" y="938"/>
                      </a:lnTo>
                      <a:lnTo>
                        <a:pt x="574" y="948"/>
                      </a:lnTo>
                      <a:lnTo>
                        <a:pt x="578" y="960"/>
                      </a:lnTo>
                      <a:lnTo>
                        <a:pt x="584" y="972"/>
                      </a:lnTo>
                      <a:lnTo>
                        <a:pt x="592" y="986"/>
                      </a:lnTo>
                      <a:lnTo>
                        <a:pt x="592" y="986"/>
                      </a:lnTo>
                      <a:lnTo>
                        <a:pt x="634" y="1046"/>
                      </a:lnTo>
                      <a:lnTo>
                        <a:pt x="652" y="1072"/>
                      </a:lnTo>
                      <a:lnTo>
                        <a:pt x="664" y="1090"/>
                      </a:lnTo>
                      <a:lnTo>
                        <a:pt x="664" y="1090"/>
                      </a:lnTo>
                      <a:lnTo>
                        <a:pt x="666" y="1104"/>
                      </a:lnTo>
                      <a:lnTo>
                        <a:pt x="666" y="1120"/>
                      </a:lnTo>
                      <a:lnTo>
                        <a:pt x="662" y="1140"/>
                      </a:lnTo>
                      <a:lnTo>
                        <a:pt x="652" y="1160"/>
                      </a:lnTo>
                      <a:lnTo>
                        <a:pt x="652" y="1160"/>
                      </a:lnTo>
                      <a:lnTo>
                        <a:pt x="626" y="1202"/>
                      </a:lnTo>
                      <a:lnTo>
                        <a:pt x="616" y="1220"/>
                      </a:lnTo>
                      <a:lnTo>
                        <a:pt x="614" y="1228"/>
                      </a:lnTo>
                      <a:lnTo>
                        <a:pt x="612" y="1236"/>
                      </a:lnTo>
                      <a:lnTo>
                        <a:pt x="612" y="1236"/>
                      </a:lnTo>
                      <a:lnTo>
                        <a:pt x="612" y="1242"/>
                      </a:lnTo>
                      <a:lnTo>
                        <a:pt x="612" y="1248"/>
                      </a:lnTo>
                      <a:lnTo>
                        <a:pt x="616" y="1260"/>
                      </a:lnTo>
                      <a:lnTo>
                        <a:pt x="618" y="1270"/>
                      </a:lnTo>
                      <a:lnTo>
                        <a:pt x="616" y="1276"/>
                      </a:lnTo>
                      <a:lnTo>
                        <a:pt x="612" y="1282"/>
                      </a:lnTo>
                      <a:lnTo>
                        <a:pt x="612" y="1282"/>
                      </a:lnTo>
                      <a:lnTo>
                        <a:pt x="574" y="1340"/>
                      </a:lnTo>
                      <a:lnTo>
                        <a:pt x="546" y="1382"/>
                      </a:lnTo>
                      <a:lnTo>
                        <a:pt x="484" y="146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19" name="Freeform 33">
                  <a:extLst>
                    <a:ext uri="{FF2B5EF4-FFF2-40B4-BE49-F238E27FC236}">
                      <a16:creationId xmlns:a16="http://schemas.microsoft.com/office/drawing/2014/main" id="{B48014DF-7995-453A-9B0E-2C5B7C8308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7631" y="2148744"/>
                  <a:ext cx="698112" cy="1690407"/>
                </a:xfrm>
                <a:custGeom>
                  <a:avLst/>
                  <a:gdLst/>
                  <a:ahLst/>
                  <a:cxnLst>
                    <a:cxn ang="0">
                      <a:pos x="868" y="600"/>
                    </a:cxn>
                    <a:cxn ang="0">
                      <a:pos x="848" y="576"/>
                    </a:cxn>
                    <a:cxn ang="0">
                      <a:pos x="758" y="724"/>
                    </a:cxn>
                    <a:cxn ang="0">
                      <a:pos x="766" y="768"/>
                    </a:cxn>
                    <a:cxn ang="0">
                      <a:pos x="730" y="870"/>
                    </a:cxn>
                    <a:cxn ang="0">
                      <a:pos x="640" y="940"/>
                    </a:cxn>
                    <a:cxn ang="0">
                      <a:pos x="588" y="986"/>
                    </a:cxn>
                    <a:cxn ang="0">
                      <a:pos x="554" y="1044"/>
                    </a:cxn>
                    <a:cxn ang="0">
                      <a:pos x="534" y="1046"/>
                    </a:cxn>
                    <a:cxn ang="0">
                      <a:pos x="518" y="1098"/>
                    </a:cxn>
                    <a:cxn ang="0">
                      <a:pos x="480" y="1126"/>
                    </a:cxn>
                    <a:cxn ang="0">
                      <a:pos x="488" y="1190"/>
                    </a:cxn>
                    <a:cxn ang="0">
                      <a:pos x="450" y="1266"/>
                    </a:cxn>
                    <a:cxn ang="0">
                      <a:pos x="452" y="1370"/>
                    </a:cxn>
                    <a:cxn ang="0">
                      <a:pos x="522" y="1426"/>
                    </a:cxn>
                    <a:cxn ang="0">
                      <a:pos x="574" y="1486"/>
                    </a:cxn>
                    <a:cxn ang="0">
                      <a:pos x="576" y="1590"/>
                    </a:cxn>
                    <a:cxn ang="0">
                      <a:pos x="512" y="1670"/>
                    </a:cxn>
                    <a:cxn ang="0">
                      <a:pos x="434" y="1722"/>
                    </a:cxn>
                    <a:cxn ang="0">
                      <a:pos x="400" y="1848"/>
                    </a:cxn>
                    <a:cxn ang="0">
                      <a:pos x="384" y="1980"/>
                    </a:cxn>
                    <a:cxn ang="0">
                      <a:pos x="410" y="1964"/>
                    </a:cxn>
                    <a:cxn ang="0">
                      <a:pos x="392" y="2040"/>
                    </a:cxn>
                    <a:cxn ang="0">
                      <a:pos x="372" y="2026"/>
                    </a:cxn>
                    <a:cxn ang="0">
                      <a:pos x="360" y="2084"/>
                    </a:cxn>
                    <a:cxn ang="0">
                      <a:pos x="282" y="2088"/>
                    </a:cxn>
                    <a:cxn ang="0">
                      <a:pos x="194" y="2112"/>
                    </a:cxn>
                    <a:cxn ang="0">
                      <a:pos x="212" y="2180"/>
                    </a:cxn>
                    <a:cxn ang="0">
                      <a:pos x="144" y="2188"/>
                    </a:cxn>
                    <a:cxn ang="0">
                      <a:pos x="86" y="2200"/>
                    </a:cxn>
                    <a:cxn ang="0">
                      <a:pos x="76" y="2074"/>
                    </a:cxn>
                    <a:cxn ang="0">
                      <a:pos x="96" y="2014"/>
                    </a:cxn>
                    <a:cxn ang="0">
                      <a:pos x="60" y="1948"/>
                    </a:cxn>
                    <a:cxn ang="0">
                      <a:pos x="30" y="1788"/>
                    </a:cxn>
                    <a:cxn ang="0">
                      <a:pos x="26" y="1702"/>
                    </a:cxn>
                    <a:cxn ang="0">
                      <a:pos x="0" y="1716"/>
                    </a:cxn>
                    <a:cxn ang="0">
                      <a:pos x="28" y="1620"/>
                    </a:cxn>
                    <a:cxn ang="0">
                      <a:pos x="40" y="1578"/>
                    </a:cxn>
                    <a:cxn ang="0">
                      <a:pos x="46" y="1504"/>
                    </a:cxn>
                    <a:cxn ang="0">
                      <a:pos x="112" y="1446"/>
                    </a:cxn>
                    <a:cxn ang="0">
                      <a:pos x="122" y="1322"/>
                    </a:cxn>
                    <a:cxn ang="0">
                      <a:pos x="144" y="1176"/>
                    </a:cxn>
                    <a:cxn ang="0">
                      <a:pos x="160" y="962"/>
                    </a:cxn>
                    <a:cxn ang="0">
                      <a:pos x="142" y="942"/>
                    </a:cxn>
                    <a:cxn ang="0">
                      <a:pos x="242" y="814"/>
                    </a:cxn>
                    <a:cxn ang="0">
                      <a:pos x="318" y="796"/>
                    </a:cxn>
                    <a:cxn ang="0">
                      <a:pos x="370" y="610"/>
                    </a:cxn>
                    <a:cxn ang="0">
                      <a:pos x="372" y="496"/>
                    </a:cxn>
                    <a:cxn ang="0">
                      <a:pos x="414" y="488"/>
                    </a:cxn>
                    <a:cxn ang="0">
                      <a:pos x="460" y="416"/>
                    </a:cxn>
                    <a:cxn ang="0">
                      <a:pos x="500" y="376"/>
                    </a:cxn>
                    <a:cxn ang="0">
                      <a:pos x="488" y="338"/>
                    </a:cxn>
                    <a:cxn ang="0">
                      <a:pos x="590" y="226"/>
                    </a:cxn>
                    <a:cxn ang="0">
                      <a:pos x="596" y="176"/>
                    </a:cxn>
                    <a:cxn ang="0">
                      <a:pos x="676" y="160"/>
                    </a:cxn>
                    <a:cxn ang="0">
                      <a:pos x="758" y="134"/>
                    </a:cxn>
                    <a:cxn ang="0">
                      <a:pos x="722" y="106"/>
                    </a:cxn>
                    <a:cxn ang="0">
                      <a:pos x="790" y="4"/>
                    </a:cxn>
                    <a:cxn ang="0">
                      <a:pos x="832" y="76"/>
                    </a:cxn>
                    <a:cxn ang="0">
                      <a:pos x="878" y="220"/>
                    </a:cxn>
                    <a:cxn ang="0">
                      <a:pos x="902" y="346"/>
                    </a:cxn>
                    <a:cxn ang="0">
                      <a:pos x="904" y="480"/>
                    </a:cxn>
                    <a:cxn ang="0">
                      <a:pos x="916" y="576"/>
                    </a:cxn>
                  </a:cxnLst>
                  <a:rect l="0" t="0" r="r" b="b"/>
                  <a:pathLst>
                    <a:path w="916" h="2218">
                      <a:moveTo>
                        <a:pt x="912" y="592"/>
                      </a:moveTo>
                      <a:lnTo>
                        <a:pt x="890" y="588"/>
                      </a:lnTo>
                      <a:lnTo>
                        <a:pt x="890" y="588"/>
                      </a:lnTo>
                      <a:lnTo>
                        <a:pt x="888" y="590"/>
                      </a:lnTo>
                      <a:lnTo>
                        <a:pt x="882" y="596"/>
                      </a:lnTo>
                      <a:lnTo>
                        <a:pt x="878" y="600"/>
                      </a:lnTo>
                      <a:lnTo>
                        <a:pt x="874" y="600"/>
                      </a:lnTo>
                      <a:lnTo>
                        <a:pt x="868" y="600"/>
                      </a:lnTo>
                      <a:lnTo>
                        <a:pt x="864" y="598"/>
                      </a:lnTo>
                      <a:lnTo>
                        <a:pt x="864" y="598"/>
                      </a:lnTo>
                      <a:lnTo>
                        <a:pt x="858" y="594"/>
                      </a:lnTo>
                      <a:lnTo>
                        <a:pt x="856" y="588"/>
                      </a:lnTo>
                      <a:lnTo>
                        <a:pt x="854" y="576"/>
                      </a:lnTo>
                      <a:lnTo>
                        <a:pt x="854" y="572"/>
                      </a:lnTo>
                      <a:lnTo>
                        <a:pt x="852" y="572"/>
                      </a:lnTo>
                      <a:lnTo>
                        <a:pt x="848" y="576"/>
                      </a:lnTo>
                      <a:lnTo>
                        <a:pt x="842" y="586"/>
                      </a:lnTo>
                      <a:lnTo>
                        <a:pt x="842" y="586"/>
                      </a:lnTo>
                      <a:lnTo>
                        <a:pt x="824" y="616"/>
                      </a:lnTo>
                      <a:lnTo>
                        <a:pt x="804" y="646"/>
                      </a:lnTo>
                      <a:lnTo>
                        <a:pt x="782" y="680"/>
                      </a:lnTo>
                      <a:lnTo>
                        <a:pt x="782" y="680"/>
                      </a:lnTo>
                      <a:lnTo>
                        <a:pt x="768" y="704"/>
                      </a:lnTo>
                      <a:lnTo>
                        <a:pt x="758" y="724"/>
                      </a:lnTo>
                      <a:lnTo>
                        <a:pt x="754" y="732"/>
                      </a:lnTo>
                      <a:lnTo>
                        <a:pt x="754" y="740"/>
                      </a:lnTo>
                      <a:lnTo>
                        <a:pt x="754" y="740"/>
                      </a:lnTo>
                      <a:lnTo>
                        <a:pt x="754" y="744"/>
                      </a:lnTo>
                      <a:lnTo>
                        <a:pt x="756" y="748"/>
                      </a:lnTo>
                      <a:lnTo>
                        <a:pt x="762" y="758"/>
                      </a:lnTo>
                      <a:lnTo>
                        <a:pt x="764" y="762"/>
                      </a:lnTo>
                      <a:lnTo>
                        <a:pt x="766" y="768"/>
                      </a:lnTo>
                      <a:lnTo>
                        <a:pt x="766" y="776"/>
                      </a:lnTo>
                      <a:lnTo>
                        <a:pt x="764" y="784"/>
                      </a:lnTo>
                      <a:lnTo>
                        <a:pt x="764" y="784"/>
                      </a:lnTo>
                      <a:lnTo>
                        <a:pt x="758" y="806"/>
                      </a:lnTo>
                      <a:lnTo>
                        <a:pt x="750" y="828"/>
                      </a:lnTo>
                      <a:lnTo>
                        <a:pt x="740" y="850"/>
                      </a:lnTo>
                      <a:lnTo>
                        <a:pt x="730" y="870"/>
                      </a:lnTo>
                      <a:lnTo>
                        <a:pt x="730" y="870"/>
                      </a:lnTo>
                      <a:lnTo>
                        <a:pt x="710" y="900"/>
                      </a:lnTo>
                      <a:lnTo>
                        <a:pt x="702" y="910"/>
                      </a:lnTo>
                      <a:lnTo>
                        <a:pt x="696" y="914"/>
                      </a:lnTo>
                      <a:lnTo>
                        <a:pt x="692" y="916"/>
                      </a:lnTo>
                      <a:lnTo>
                        <a:pt x="692" y="916"/>
                      </a:lnTo>
                      <a:lnTo>
                        <a:pt x="670" y="922"/>
                      </a:lnTo>
                      <a:lnTo>
                        <a:pt x="656" y="928"/>
                      </a:lnTo>
                      <a:lnTo>
                        <a:pt x="640" y="940"/>
                      </a:lnTo>
                      <a:lnTo>
                        <a:pt x="640" y="940"/>
                      </a:lnTo>
                      <a:lnTo>
                        <a:pt x="622" y="954"/>
                      </a:lnTo>
                      <a:lnTo>
                        <a:pt x="612" y="966"/>
                      </a:lnTo>
                      <a:lnTo>
                        <a:pt x="600" y="982"/>
                      </a:lnTo>
                      <a:lnTo>
                        <a:pt x="600" y="982"/>
                      </a:lnTo>
                      <a:lnTo>
                        <a:pt x="598" y="984"/>
                      </a:lnTo>
                      <a:lnTo>
                        <a:pt x="592" y="984"/>
                      </a:lnTo>
                      <a:lnTo>
                        <a:pt x="588" y="986"/>
                      </a:lnTo>
                      <a:lnTo>
                        <a:pt x="584" y="988"/>
                      </a:lnTo>
                      <a:lnTo>
                        <a:pt x="584" y="988"/>
                      </a:lnTo>
                      <a:lnTo>
                        <a:pt x="566" y="1010"/>
                      </a:lnTo>
                      <a:lnTo>
                        <a:pt x="556" y="1024"/>
                      </a:lnTo>
                      <a:lnTo>
                        <a:pt x="554" y="1032"/>
                      </a:lnTo>
                      <a:lnTo>
                        <a:pt x="554" y="1036"/>
                      </a:lnTo>
                      <a:lnTo>
                        <a:pt x="554" y="1036"/>
                      </a:lnTo>
                      <a:lnTo>
                        <a:pt x="554" y="1044"/>
                      </a:lnTo>
                      <a:lnTo>
                        <a:pt x="552" y="1052"/>
                      </a:lnTo>
                      <a:lnTo>
                        <a:pt x="550" y="1054"/>
                      </a:lnTo>
                      <a:lnTo>
                        <a:pt x="546" y="1056"/>
                      </a:lnTo>
                      <a:lnTo>
                        <a:pt x="544" y="1056"/>
                      </a:lnTo>
                      <a:lnTo>
                        <a:pt x="540" y="1054"/>
                      </a:lnTo>
                      <a:lnTo>
                        <a:pt x="540" y="1054"/>
                      </a:lnTo>
                      <a:lnTo>
                        <a:pt x="536" y="1052"/>
                      </a:lnTo>
                      <a:lnTo>
                        <a:pt x="534" y="1046"/>
                      </a:lnTo>
                      <a:lnTo>
                        <a:pt x="530" y="1038"/>
                      </a:lnTo>
                      <a:lnTo>
                        <a:pt x="530" y="1034"/>
                      </a:lnTo>
                      <a:lnTo>
                        <a:pt x="528" y="1036"/>
                      </a:lnTo>
                      <a:lnTo>
                        <a:pt x="528" y="1048"/>
                      </a:lnTo>
                      <a:lnTo>
                        <a:pt x="528" y="1048"/>
                      </a:lnTo>
                      <a:lnTo>
                        <a:pt x="526" y="1068"/>
                      </a:lnTo>
                      <a:lnTo>
                        <a:pt x="522" y="1084"/>
                      </a:lnTo>
                      <a:lnTo>
                        <a:pt x="518" y="1098"/>
                      </a:lnTo>
                      <a:lnTo>
                        <a:pt x="512" y="1106"/>
                      </a:lnTo>
                      <a:lnTo>
                        <a:pt x="512" y="1106"/>
                      </a:lnTo>
                      <a:lnTo>
                        <a:pt x="508" y="1108"/>
                      </a:lnTo>
                      <a:lnTo>
                        <a:pt x="502" y="1108"/>
                      </a:lnTo>
                      <a:lnTo>
                        <a:pt x="494" y="1108"/>
                      </a:lnTo>
                      <a:lnTo>
                        <a:pt x="488" y="1110"/>
                      </a:lnTo>
                      <a:lnTo>
                        <a:pt x="484" y="1116"/>
                      </a:lnTo>
                      <a:lnTo>
                        <a:pt x="480" y="1126"/>
                      </a:lnTo>
                      <a:lnTo>
                        <a:pt x="476" y="1142"/>
                      </a:lnTo>
                      <a:lnTo>
                        <a:pt x="476" y="1142"/>
                      </a:lnTo>
                      <a:lnTo>
                        <a:pt x="476" y="1158"/>
                      </a:lnTo>
                      <a:lnTo>
                        <a:pt x="476" y="1170"/>
                      </a:lnTo>
                      <a:lnTo>
                        <a:pt x="480" y="1176"/>
                      </a:lnTo>
                      <a:lnTo>
                        <a:pt x="482" y="1182"/>
                      </a:lnTo>
                      <a:lnTo>
                        <a:pt x="486" y="1186"/>
                      </a:lnTo>
                      <a:lnTo>
                        <a:pt x="488" y="1190"/>
                      </a:lnTo>
                      <a:lnTo>
                        <a:pt x="488" y="1196"/>
                      </a:lnTo>
                      <a:lnTo>
                        <a:pt x="486" y="1206"/>
                      </a:lnTo>
                      <a:lnTo>
                        <a:pt x="486" y="1206"/>
                      </a:lnTo>
                      <a:lnTo>
                        <a:pt x="480" y="1216"/>
                      </a:lnTo>
                      <a:lnTo>
                        <a:pt x="476" y="1226"/>
                      </a:lnTo>
                      <a:lnTo>
                        <a:pt x="464" y="1242"/>
                      </a:lnTo>
                      <a:lnTo>
                        <a:pt x="454" y="1258"/>
                      </a:lnTo>
                      <a:lnTo>
                        <a:pt x="450" y="1266"/>
                      </a:lnTo>
                      <a:lnTo>
                        <a:pt x="448" y="1276"/>
                      </a:lnTo>
                      <a:lnTo>
                        <a:pt x="448" y="1276"/>
                      </a:lnTo>
                      <a:lnTo>
                        <a:pt x="444" y="1300"/>
                      </a:lnTo>
                      <a:lnTo>
                        <a:pt x="442" y="1330"/>
                      </a:lnTo>
                      <a:lnTo>
                        <a:pt x="442" y="1342"/>
                      </a:lnTo>
                      <a:lnTo>
                        <a:pt x="444" y="1354"/>
                      </a:lnTo>
                      <a:lnTo>
                        <a:pt x="448" y="1364"/>
                      </a:lnTo>
                      <a:lnTo>
                        <a:pt x="452" y="1370"/>
                      </a:lnTo>
                      <a:lnTo>
                        <a:pt x="452" y="1370"/>
                      </a:lnTo>
                      <a:lnTo>
                        <a:pt x="470" y="1378"/>
                      </a:lnTo>
                      <a:lnTo>
                        <a:pt x="490" y="1386"/>
                      </a:lnTo>
                      <a:lnTo>
                        <a:pt x="506" y="1394"/>
                      </a:lnTo>
                      <a:lnTo>
                        <a:pt x="512" y="1398"/>
                      </a:lnTo>
                      <a:lnTo>
                        <a:pt x="516" y="1402"/>
                      </a:lnTo>
                      <a:lnTo>
                        <a:pt x="516" y="1402"/>
                      </a:lnTo>
                      <a:lnTo>
                        <a:pt x="522" y="1426"/>
                      </a:lnTo>
                      <a:lnTo>
                        <a:pt x="534" y="1448"/>
                      </a:lnTo>
                      <a:lnTo>
                        <a:pt x="534" y="1448"/>
                      </a:lnTo>
                      <a:lnTo>
                        <a:pt x="538" y="1454"/>
                      </a:lnTo>
                      <a:lnTo>
                        <a:pt x="544" y="1458"/>
                      </a:lnTo>
                      <a:lnTo>
                        <a:pt x="556" y="1466"/>
                      </a:lnTo>
                      <a:lnTo>
                        <a:pt x="562" y="1470"/>
                      </a:lnTo>
                      <a:lnTo>
                        <a:pt x="568" y="1478"/>
                      </a:lnTo>
                      <a:lnTo>
                        <a:pt x="574" y="1486"/>
                      </a:lnTo>
                      <a:lnTo>
                        <a:pt x="576" y="1498"/>
                      </a:lnTo>
                      <a:lnTo>
                        <a:pt x="576" y="1498"/>
                      </a:lnTo>
                      <a:lnTo>
                        <a:pt x="580" y="1522"/>
                      </a:lnTo>
                      <a:lnTo>
                        <a:pt x="580" y="1540"/>
                      </a:lnTo>
                      <a:lnTo>
                        <a:pt x="578" y="1564"/>
                      </a:lnTo>
                      <a:lnTo>
                        <a:pt x="578" y="1564"/>
                      </a:lnTo>
                      <a:lnTo>
                        <a:pt x="578" y="1574"/>
                      </a:lnTo>
                      <a:lnTo>
                        <a:pt x="576" y="1590"/>
                      </a:lnTo>
                      <a:lnTo>
                        <a:pt x="570" y="1606"/>
                      </a:lnTo>
                      <a:lnTo>
                        <a:pt x="566" y="1612"/>
                      </a:lnTo>
                      <a:lnTo>
                        <a:pt x="562" y="1616"/>
                      </a:lnTo>
                      <a:lnTo>
                        <a:pt x="562" y="1616"/>
                      </a:lnTo>
                      <a:lnTo>
                        <a:pt x="548" y="1628"/>
                      </a:lnTo>
                      <a:lnTo>
                        <a:pt x="532" y="1646"/>
                      </a:lnTo>
                      <a:lnTo>
                        <a:pt x="512" y="1670"/>
                      </a:lnTo>
                      <a:lnTo>
                        <a:pt x="512" y="1670"/>
                      </a:lnTo>
                      <a:lnTo>
                        <a:pt x="506" y="1670"/>
                      </a:lnTo>
                      <a:lnTo>
                        <a:pt x="492" y="1672"/>
                      </a:lnTo>
                      <a:lnTo>
                        <a:pt x="476" y="1676"/>
                      </a:lnTo>
                      <a:lnTo>
                        <a:pt x="468" y="1680"/>
                      </a:lnTo>
                      <a:lnTo>
                        <a:pt x="462" y="1686"/>
                      </a:lnTo>
                      <a:lnTo>
                        <a:pt x="462" y="1686"/>
                      </a:lnTo>
                      <a:lnTo>
                        <a:pt x="442" y="1710"/>
                      </a:lnTo>
                      <a:lnTo>
                        <a:pt x="434" y="1722"/>
                      </a:lnTo>
                      <a:lnTo>
                        <a:pt x="428" y="1732"/>
                      </a:lnTo>
                      <a:lnTo>
                        <a:pt x="428" y="1732"/>
                      </a:lnTo>
                      <a:lnTo>
                        <a:pt x="420" y="1750"/>
                      </a:lnTo>
                      <a:lnTo>
                        <a:pt x="418" y="1758"/>
                      </a:lnTo>
                      <a:lnTo>
                        <a:pt x="418" y="1758"/>
                      </a:lnTo>
                      <a:lnTo>
                        <a:pt x="402" y="1832"/>
                      </a:lnTo>
                      <a:lnTo>
                        <a:pt x="402" y="1832"/>
                      </a:lnTo>
                      <a:lnTo>
                        <a:pt x="400" y="1848"/>
                      </a:lnTo>
                      <a:lnTo>
                        <a:pt x="400" y="1860"/>
                      </a:lnTo>
                      <a:lnTo>
                        <a:pt x="402" y="1876"/>
                      </a:lnTo>
                      <a:lnTo>
                        <a:pt x="402" y="1898"/>
                      </a:lnTo>
                      <a:lnTo>
                        <a:pt x="402" y="1898"/>
                      </a:lnTo>
                      <a:lnTo>
                        <a:pt x="398" y="1928"/>
                      </a:lnTo>
                      <a:lnTo>
                        <a:pt x="392" y="1952"/>
                      </a:lnTo>
                      <a:lnTo>
                        <a:pt x="384" y="1980"/>
                      </a:lnTo>
                      <a:lnTo>
                        <a:pt x="384" y="1980"/>
                      </a:lnTo>
                      <a:lnTo>
                        <a:pt x="382" y="1992"/>
                      </a:lnTo>
                      <a:lnTo>
                        <a:pt x="382" y="1994"/>
                      </a:lnTo>
                      <a:lnTo>
                        <a:pt x="382" y="1994"/>
                      </a:lnTo>
                      <a:lnTo>
                        <a:pt x="390" y="1988"/>
                      </a:lnTo>
                      <a:lnTo>
                        <a:pt x="390" y="1988"/>
                      </a:lnTo>
                      <a:lnTo>
                        <a:pt x="400" y="1978"/>
                      </a:lnTo>
                      <a:lnTo>
                        <a:pt x="406" y="1968"/>
                      </a:lnTo>
                      <a:lnTo>
                        <a:pt x="410" y="1964"/>
                      </a:lnTo>
                      <a:lnTo>
                        <a:pt x="410" y="1970"/>
                      </a:lnTo>
                      <a:lnTo>
                        <a:pt x="410" y="1970"/>
                      </a:lnTo>
                      <a:lnTo>
                        <a:pt x="408" y="1982"/>
                      </a:lnTo>
                      <a:lnTo>
                        <a:pt x="404" y="1994"/>
                      </a:lnTo>
                      <a:lnTo>
                        <a:pt x="394" y="2014"/>
                      </a:lnTo>
                      <a:lnTo>
                        <a:pt x="394" y="2014"/>
                      </a:lnTo>
                      <a:lnTo>
                        <a:pt x="392" y="2026"/>
                      </a:lnTo>
                      <a:lnTo>
                        <a:pt x="392" y="2040"/>
                      </a:lnTo>
                      <a:lnTo>
                        <a:pt x="394" y="2054"/>
                      </a:lnTo>
                      <a:lnTo>
                        <a:pt x="394" y="2054"/>
                      </a:lnTo>
                      <a:lnTo>
                        <a:pt x="386" y="2054"/>
                      </a:lnTo>
                      <a:lnTo>
                        <a:pt x="382" y="2054"/>
                      </a:lnTo>
                      <a:lnTo>
                        <a:pt x="378" y="2048"/>
                      </a:lnTo>
                      <a:lnTo>
                        <a:pt x="378" y="2048"/>
                      </a:lnTo>
                      <a:lnTo>
                        <a:pt x="374" y="2030"/>
                      </a:lnTo>
                      <a:lnTo>
                        <a:pt x="372" y="2026"/>
                      </a:lnTo>
                      <a:lnTo>
                        <a:pt x="370" y="2026"/>
                      </a:lnTo>
                      <a:lnTo>
                        <a:pt x="368" y="2030"/>
                      </a:lnTo>
                      <a:lnTo>
                        <a:pt x="366" y="2038"/>
                      </a:lnTo>
                      <a:lnTo>
                        <a:pt x="366" y="2038"/>
                      </a:lnTo>
                      <a:lnTo>
                        <a:pt x="364" y="2058"/>
                      </a:lnTo>
                      <a:lnTo>
                        <a:pt x="362" y="2074"/>
                      </a:lnTo>
                      <a:lnTo>
                        <a:pt x="362" y="2080"/>
                      </a:lnTo>
                      <a:lnTo>
                        <a:pt x="360" y="2084"/>
                      </a:lnTo>
                      <a:lnTo>
                        <a:pt x="358" y="2090"/>
                      </a:lnTo>
                      <a:lnTo>
                        <a:pt x="352" y="2094"/>
                      </a:lnTo>
                      <a:lnTo>
                        <a:pt x="352" y="2094"/>
                      </a:lnTo>
                      <a:lnTo>
                        <a:pt x="346" y="2096"/>
                      </a:lnTo>
                      <a:lnTo>
                        <a:pt x="338" y="2096"/>
                      </a:lnTo>
                      <a:lnTo>
                        <a:pt x="318" y="2094"/>
                      </a:lnTo>
                      <a:lnTo>
                        <a:pt x="296" y="2088"/>
                      </a:lnTo>
                      <a:lnTo>
                        <a:pt x="282" y="2088"/>
                      </a:lnTo>
                      <a:lnTo>
                        <a:pt x="268" y="2088"/>
                      </a:lnTo>
                      <a:lnTo>
                        <a:pt x="268" y="2088"/>
                      </a:lnTo>
                      <a:lnTo>
                        <a:pt x="240" y="2092"/>
                      </a:lnTo>
                      <a:lnTo>
                        <a:pt x="226" y="2094"/>
                      </a:lnTo>
                      <a:lnTo>
                        <a:pt x="214" y="2096"/>
                      </a:lnTo>
                      <a:lnTo>
                        <a:pt x="204" y="2100"/>
                      </a:lnTo>
                      <a:lnTo>
                        <a:pt x="198" y="2104"/>
                      </a:lnTo>
                      <a:lnTo>
                        <a:pt x="194" y="2112"/>
                      </a:lnTo>
                      <a:lnTo>
                        <a:pt x="196" y="2124"/>
                      </a:lnTo>
                      <a:lnTo>
                        <a:pt x="196" y="2124"/>
                      </a:lnTo>
                      <a:lnTo>
                        <a:pt x="200" y="2136"/>
                      </a:lnTo>
                      <a:lnTo>
                        <a:pt x="204" y="2146"/>
                      </a:lnTo>
                      <a:lnTo>
                        <a:pt x="214" y="2164"/>
                      </a:lnTo>
                      <a:lnTo>
                        <a:pt x="216" y="2170"/>
                      </a:lnTo>
                      <a:lnTo>
                        <a:pt x="216" y="2176"/>
                      </a:lnTo>
                      <a:lnTo>
                        <a:pt x="212" y="2180"/>
                      </a:lnTo>
                      <a:lnTo>
                        <a:pt x="202" y="2184"/>
                      </a:lnTo>
                      <a:lnTo>
                        <a:pt x="202" y="2184"/>
                      </a:lnTo>
                      <a:lnTo>
                        <a:pt x="192" y="2186"/>
                      </a:lnTo>
                      <a:lnTo>
                        <a:pt x="182" y="2186"/>
                      </a:lnTo>
                      <a:lnTo>
                        <a:pt x="168" y="2184"/>
                      </a:lnTo>
                      <a:lnTo>
                        <a:pt x="162" y="2184"/>
                      </a:lnTo>
                      <a:lnTo>
                        <a:pt x="154" y="2184"/>
                      </a:lnTo>
                      <a:lnTo>
                        <a:pt x="144" y="2188"/>
                      </a:lnTo>
                      <a:lnTo>
                        <a:pt x="132" y="2194"/>
                      </a:lnTo>
                      <a:lnTo>
                        <a:pt x="132" y="2194"/>
                      </a:lnTo>
                      <a:lnTo>
                        <a:pt x="110" y="2208"/>
                      </a:lnTo>
                      <a:lnTo>
                        <a:pt x="94" y="2216"/>
                      </a:lnTo>
                      <a:lnTo>
                        <a:pt x="90" y="2218"/>
                      </a:lnTo>
                      <a:lnTo>
                        <a:pt x="86" y="2214"/>
                      </a:lnTo>
                      <a:lnTo>
                        <a:pt x="84" y="2210"/>
                      </a:lnTo>
                      <a:lnTo>
                        <a:pt x="86" y="2200"/>
                      </a:lnTo>
                      <a:lnTo>
                        <a:pt x="86" y="2200"/>
                      </a:lnTo>
                      <a:lnTo>
                        <a:pt x="88" y="2170"/>
                      </a:lnTo>
                      <a:lnTo>
                        <a:pt x="88" y="2138"/>
                      </a:lnTo>
                      <a:lnTo>
                        <a:pt x="88" y="2138"/>
                      </a:lnTo>
                      <a:lnTo>
                        <a:pt x="86" y="2126"/>
                      </a:lnTo>
                      <a:lnTo>
                        <a:pt x="84" y="2112"/>
                      </a:lnTo>
                      <a:lnTo>
                        <a:pt x="78" y="2086"/>
                      </a:lnTo>
                      <a:lnTo>
                        <a:pt x="76" y="2074"/>
                      </a:lnTo>
                      <a:lnTo>
                        <a:pt x="74" y="2064"/>
                      </a:lnTo>
                      <a:lnTo>
                        <a:pt x="76" y="2054"/>
                      </a:lnTo>
                      <a:lnTo>
                        <a:pt x="80" y="2046"/>
                      </a:lnTo>
                      <a:lnTo>
                        <a:pt x="80" y="2046"/>
                      </a:lnTo>
                      <a:lnTo>
                        <a:pt x="90" y="2036"/>
                      </a:lnTo>
                      <a:lnTo>
                        <a:pt x="96" y="2026"/>
                      </a:lnTo>
                      <a:lnTo>
                        <a:pt x="96" y="2020"/>
                      </a:lnTo>
                      <a:lnTo>
                        <a:pt x="96" y="2014"/>
                      </a:lnTo>
                      <a:lnTo>
                        <a:pt x="90" y="1998"/>
                      </a:lnTo>
                      <a:lnTo>
                        <a:pt x="90" y="1998"/>
                      </a:lnTo>
                      <a:lnTo>
                        <a:pt x="86" y="1990"/>
                      </a:lnTo>
                      <a:lnTo>
                        <a:pt x="82" y="1986"/>
                      </a:lnTo>
                      <a:lnTo>
                        <a:pt x="74" y="1980"/>
                      </a:lnTo>
                      <a:lnTo>
                        <a:pt x="70" y="1974"/>
                      </a:lnTo>
                      <a:lnTo>
                        <a:pt x="66" y="1964"/>
                      </a:lnTo>
                      <a:lnTo>
                        <a:pt x="60" y="1948"/>
                      </a:lnTo>
                      <a:lnTo>
                        <a:pt x="54" y="1926"/>
                      </a:lnTo>
                      <a:lnTo>
                        <a:pt x="54" y="1926"/>
                      </a:lnTo>
                      <a:lnTo>
                        <a:pt x="34" y="1842"/>
                      </a:lnTo>
                      <a:lnTo>
                        <a:pt x="28" y="1818"/>
                      </a:lnTo>
                      <a:lnTo>
                        <a:pt x="26" y="1806"/>
                      </a:lnTo>
                      <a:lnTo>
                        <a:pt x="26" y="1806"/>
                      </a:lnTo>
                      <a:lnTo>
                        <a:pt x="26" y="1798"/>
                      </a:lnTo>
                      <a:lnTo>
                        <a:pt x="30" y="1788"/>
                      </a:lnTo>
                      <a:lnTo>
                        <a:pt x="32" y="1774"/>
                      </a:lnTo>
                      <a:lnTo>
                        <a:pt x="36" y="1760"/>
                      </a:lnTo>
                      <a:lnTo>
                        <a:pt x="36" y="1760"/>
                      </a:lnTo>
                      <a:lnTo>
                        <a:pt x="36" y="1742"/>
                      </a:lnTo>
                      <a:lnTo>
                        <a:pt x="36" y="1726"/>
                      </a:lnTo>
                      <a:lnTo>
                        <a:pt x="32" y="1712"/>
                      </a:lnTo>
                      <a:lnTo>
                        <a:pt x="30" y="1708"/>
                      </a:lnTo>
                      <a:lnTo>
                        <a:pt x="26" y="1702"/>
                      </a:lnTo>
                      <a:lnTo>
                        <a:pt x="26" y="1702"/>
                      </a:lnTo>
                      <a:lnTo>
                        <a:pt x="24" y="1702"/>
                      </a:lnTo>
                      <a:lnTo>
                        <a:pt x="22" y="1702"/>
                      </a:lnTo>
                      <a:lnTo>
                        <a:pt x="16" y="1704"/>
                      </a:lnTo>
                      <a:lnTo>
                        <a:pt x="6" y="1716"/>
                      </a:lnTo>
                      <a:lnTo>
                        <a:pt x="4" y="1718"/>
                      </a:lnTo>
                      <a:lnTo>
                        <a:pt x="2" y="1718"/>
                      </a:lnTo>
                      <a:lnTo>
                        <a:pt x="0" y="1716"/>
                      </a:lnTo>
                      <a:lnTo>
                        <a:pt x="0" y="1708"/>
                      </a:lnTo>
                      <a:lnTo>
                        <a:pt x="0" y="1690"/>
                      </a:lnTo>
                      <a:lnTo>
                        <a:pt x="0" y="1690"/>
                      </a:lnTo>
                      <a:lnTo>
                        <a:pt x="2" y="1670"/>
                      </a:lnTo>
                      <a:lnTo>
                        <a:pt x="6" y="1654"/>
                      </a:lnTo>
                      <a:lnTo>
                        <a:pt x="12" y="1642"/>
                      </a:lnTo>
                      <a:lnTo>
                        <a:pt x="18" y="1632"/>
                      </a:lnTo>
                      <a:lnTo>
                        <a:pt x="28" y="1620"/>
                      </a:lnTo>
                      <a:lnTo>
                        <a:pt x="36" y="1614"/>
                      </a:lnTo>
                      <a:lnTo>
                        <a:pt x="36" y="1614"/>
                      </a:lnTo>
                      <a:lnTo>
                        <a:pt x="36" y="1610"/>
                      </a:lnTo>
                      <a:lnTo>
                        <a:pt x="36" y="1604"/>
                      </a:lnTo>
                      <a:lnTo>
                        <a:pt x="36" y="1596"/>
                      </a:lnTo>
                      <a:lnTo>
                        <a:pt x="38" y="1584"/>
                      </a:lnTo>
                      <a:lnTo>
                        <a:pt x="38" y="1584"/>
                      </a:lnTo>
                      <a:lnTo>
                        <a:pt x="40" y="1578"/>
                      </a:lnTo>
                      <a:lnTo>
                        <a:pt x="40" y="1574"/>
                      </a:lnTo>
                      <a:lnTo>
                        <a:pt x="38" y="1564"/>
                      </a:lnTo>
                      <a:lnTo>
                        <a:pt x="36" y="1552"/>
                      </a:lnTo>
                      <a:lnTo>
                        <a:pt x="36" y="1542"/>
                      </a:lnTo>
                      <a:lnTo>
                        <a:pt x="40" y="1528"/>
                      </a:lnTo>
                      <a:lnTo>
                        <a:pt x="40" y="1528"/>
                      </a:lnTo>
                      <a:lnTo>
                        <a:pt x="42" y="1516"/>
                      </a:lnTo>
                      <a:lnTo>
                        <a:pt x="46" y="1504"/>
                      </a:lnTo>
                      <a:lnTo>
                        <a:pt x="52" y="1494"/>
                      </a:lnTo>
                      <a:lnTo>
                        <a:pt x="56" y="1486"/>
                      </a:lnTo>
                      <a:lnTo>
                        <a:pt x="62" y="1480"/>
                      </a:lnTo>
                      <a:lnTo>
                        <a:pt x="70" y="1476"/>
                      </a:lnTo>
                      <a:lnTo>
                        <a:pt x="84" y="1468"/>
                      </a:lnTo>
                      <a:lnTo>
                        <a:pt x="84" y="1468"/>
                      </a:lnTo>
                      <a:lnTo>
                        <a:pt x="100" y="1458"/>
                      </a:lnTo>
                      <a:lnTo>
                        <a:pt x="112" y="1446"/>
                      </a:lnTo>
                      <a:lnTo>
                        <a:pt x="120" y="1428"/>
                      </a:lnTo>
                      <a:lnTo>
                        <a:pt x="126" y="1410"/>
                      </a:lnTo>
                      <a:lnTo>
                        <a:pt x="126" y="1410"/>
                      </a:lnTo>
                      <a:lnTo>
                        <a:pt x="126" y="1398"/>
                      </a:lnTo>
                      <a:lnTo>
                        <a:pt x="126" y="1386"/>
                      </a:lnTo>
                      <a:lnTo>
                        <a:pt x="122" y="1356"/>
                      </a:lnTo>
                      <a:lnTo>
                        <a:pt x="122" y="1340"/>
                      </a:lnTo>
                      <a:lnTo>
                        <a:pt x="122" y="1322"/>
                      </a:lnTo>
                      <a:lnTo>
                        <a:pt x="124" y="1304"/>
                      </a:lnTo>
                      <a:lnTo>
                        <a:pt x="128" y="1284"/>
                      </a:lnTo>
                      <a:lnTo>
                        <a:pt x="128" y="1284"/>
                      </a:lnTo>
                      <a:lnTo>
                        <a:pt x="138" y="1250"/>
                      </a:lnTo>
                      <a:lnTo>
                        <a:pt x="144" y="1224"/>
                      </a:lnTo>
                      <a:lnTo>
                        <a:pt x="146" y="1202"/>
                      </a:lnTo>
                      <a:lnTo>
                        <a:pt x="144" y="1176"/>
                      </a:lnTo>
                      <a:lnTo>
                        <a:pt x="144" y="1176"/>
                      </a:lnTo>
                      <a:lnTo>
                        <a:pt x="138" y="1144"/>
                      </a:lnTo>
                      <a:lnTo>
                        <a:pt x="132" y="1102"/>
                      </a:lnTo>
                      <a:lnTo>
                        <a:pt x="130" y="1080"/>
                      </a:lnTo>
                      <a:lnTo>
                        <a:pt x="130" y="1058"/>
                      </a:lnTo>
                      <a:lnTo>
                        <a:pt x="132" y="1036"/>
                      </a:lnTo>
                      <a:lnTo>
                        <a:pt x="138" y="1016"/>
                      </a:lnTo>
                      <a:lnTo>
                        <a:pt x="138" y="1016"/>
                      </a:lnTo>
                      <a:lnTo>
                        <a:pt x="160" y="962"/>
                      </a:lnTo>
                      <a:lnTo>
                        <a:pt x="164" y="950"/>
                      </a:lnTo>
                      <a:lnTo>
                        <a:pt x="164" y="946"/>
                      </a:lnTo>
                      <a:lnTo>
                        <a:pt x="162" y="944"/>
                      </a:lnTo>
                      <a:lnTo>
                        <a:pt x="162" y="944"/>
                      </a:lnTo>
                      <a:lnTo>
                        <a:pt x="160" y="942"/>
                      </a:lnTo>
                      <a:lnTo>
                        <a:pt x="154" y="942"/>
                      </a:lnTo>
                      <a:lnTo>
                        <a:pt x="144" y="944"/>
                      </a:lnTo>
                      <a:lnTo>
                        <a:pt x="142" y="942"/>
                      </a:lnTo>
                      <a:lnTo>
                        <a:pt x="142" y="936"/>
                      </a:lnTo>
                      <a:lnTo>
                        <a:pt x="146" y="926"/>
                      </a:lnTo>
                      <a:lnTo>
                        <a:pt x="158" y="910"/>
                      </a:lnTo>
                      <a:lnTo>
                        <a:pt x="158" y="910"/>
                      </a:lnTo>
                      <a:lnTo>
                        <a:pt x="206" y="840"/>
                      </a:lnTo>
                      <a:lnTo>
                        <a:pt x="226" y="812"/>
                      </a:lnTo>
                      <a:lnTo>
                        <a:pt x="226" y="812"/>
                      </a:lnTo>
                      <a:lnTo>
                        <a:pt x="242" y="814"/>
                      </a:lnTo>
                      <a:lnTo>
                        <a:pt x="272" y="818"/>
                      </a:lnTo>
                      <a:lnTo>
                        <a:pt x="272" y="818"/>
                      </a:lnTo>
                      <a:lnTo>
                        <a:pt x="280" y="818"/>
                      </a:lnTo>
                      <a:lnTo>
                        <a:pt x="290" y="818"/>
                      </a:lnTo>
                      <a:lnTo>
                        <a:pt x="298" y="814"/>
                      </a:lnTo>
                      <a:lnTo>
                        <a:pt x="308" y="810"/>
                      </a:lnTo>
                      <a:lnTo>
                        <a:pt x="314" y="804"/>
                      </a:lnTo>
                      <a:lnTo>
                        <a:pt x="318" y="796"/>
                      </a:lnTo>
                      <a:lnTo>
                        <a:pt x="320" y="786"/>
                      </a:lnTo>
                      <a:lnTo>
                        <a:pt x="316" y="776"/>
                      </a:lnTo>
                      <a:lnTo>
                        <a:pt x="316" y="776"/>
                      </a:lnTo>
                      <a:lnTo>
                        <a:pt x="304" y="754"/>
                      </a:lnTo>
                      <a:lnTo>
                        <a:pt x="292" y="740"/>
                      </a:lnTo>
                      <a:lnTo>
                        <a:pt x="280" y="730"/>
                      </a:lnTo>
                      <a:lnTo>
                        <a:pt x="370" y="610"/>
                      </a:lnTo>
                      <a:lnTo>
                        <a:pt x="370" y="610"/>
                      </a:lnTo>
                      <a:lnTo>
                        <a:pt x="370" y="588"/>
                      </a:lnTo>
                      <a:lnTo>
                        <a:pt x="370" y="568"/>
                      </a:lnTo>
                      <a:lnTo>
                        <a:pt x="368" y="550"/>
                      </a:lnTo>
                      <a:lnTo>
                        <a:pt x="368" y="550"/>
                      </a:lnTo>
                      <a:lnTo>
                        <a:pt x="366" y="534"/>
                      </a:lnTo>
                      <a:lnTo>
                        <a:pt x="368" y="514"/>
                      </a:lnTo>
                      <a:lnTo>
                        <a:pt x="370" y="504"/>
                      </a:lnTo>
                      <a:lnTo>
                        <a:pt x="372" y="496"/>
                      </a:lnTo>
                      <a:lnTo>
                        <a:pt x="378" y="488"/>
                      </a:lnTo>
                      <a:lnTo>
                        <a:pt x="384" y="486"/>
                      </a:lnTo>
                      <a:lnTo>
                        <a:pt x="384" y="486"/>
                      </a:lnTo>
                      <a:lnTo>
                        <a:pt x="390" y="484"/>
                      </a:lnTo>
                      <a:lnTo>
                        <a:pt x="396" y="484"/>
                      </a:lnTo>
                      <a:lnTo>
                        <a:pt x="404" y="486"/>
                      </a:lnTo>
                      <a:lnTo>
                        <a:pt x="408" y="488"/>
                      </a:lnTo>
                      <a:lnTo>
                        <a:pt x="414" y="488"/>
                      </a:lnTo>
                      <a:lnTo>
                        <a:pt x="418" y="486"/>
                      </a:lnTo>
                      <a:lnTo>
                        <a:pt x="424" y="480"/>
                      </a:lnTo>
                      <a:lnTo>
                        <a:pt x="424" y="480"/>
                      </a:lnTo>
                      <a:lnTo>
                        <a:pt x="430" y="474"/>
                      </a:lnTo>
                      <a:lnTo>
                        <a:pt x="434" y="468"/>
                      </a:lnTo>
                      <a:lnTo>
                        <a:pt x="442" y="452"/>
                      </a:lnTo>
                      <a:lnTo>
                        <a:pt x="448" y="436"/>
                      </a:lnTo>
                      <a:lnTo>
                        <a:pt x="460" y="416"/>
                      </a:lnTo>
                      <a:lnTo>
                        <a:pt x="460" y="416"/>
                      </a:lnTo>
                      <a:lnTo>
                        <a:pt x="468" y="406"/>
                      </a:lnTo>
                      <a:lnTo>
                        <a:pt x="474" y="398"/>
                      </a:lnTo>
                      <a:lnTo>
                        <a:pt x="486" y="388"/>
                      </a:lnTo>
                      <a:lnTo>
                        <a:pt x="496" y="382"/>
                      </a:lnTo>
                      <a:lnTo>
                        <a:pt x="498" y="378"/>
                      </a:lnTo>
                      <a:lnTo>
                        <a:pt x="500" y="376"/>
                      </a:lnTo>
                      <a:lnTo>
                        <a:pt x="500" y="376"/>
                      </a:lnTo>
                      <a:lnTo>
                        <a:pt x="500" y="372"/>
                      </a:lnTo>
                      <a:lnTo>
                        <a:pt x="498" y="370"/>
                      </a:lnTo>
                      <a:lnTo>
                        <a:pt x="492" y="364"/>
                      </a:lnTo>
                      <a:lnTo>
                        <a:pt x="490" y="358"/>
                      </a:lnTo>
                      <a:lnTo>
                        <a:pt x="488" y="354"/>
                      </a:lnTo>
                      <a:lnTo>
                        <a:pt x="486" y="346"/>
                      </a:lnTo>
                      <a:lnTo>
                        <a:pt x="488" y="338"/>
                      </a:lnTo>
                      <a:lnTo>
                        <a:pt x="488" y="338"/>
                      </a:lnTo>
                      <a:lnTo>
                        <a:pt x="492" y="326"/>
                      </a:lnTo>
                      <a:lnTo>
                        <a:pt x="504" y="308"/>
                      </a:lnTo>
                      <a:lnTo>
                        <a:pt x="534" y="268"/>
                      </a:lnTo>
                      <a:lnTo>
                        <a:pt x="578" y="214"/>
                      </a:lnTo>
                      <a:lnTo>
                        <a:pt x="578" y="214"/>
                      </a:lnTo>
                      <a:lnTo>
                        <a:pt x="580" y="218"/>
                      </a:lnTo>
                      <a:lnTo>
                        <a:pt x="586" y="224"/>
                      </a:lnTo>
                      <a:lnTo>
                        <a:pt x="590" y="226"/>
                      </a:lnTo>
                      <a:lnTo>
                        <a:pt x="594" y="224"/>
                      </a:lnTo>
                      <a:lnTo>
                        <a:pt x="598" y="220"/>
                      </a:lnTo>
                      <a:lnTo>
                        <a:pt x="602" y="212"/>
                      </a:lnTo>
                      <a:lnTo>
                        <a:pt x="602" y="212"/>
                      </a:lnTo>
                      <a:lnTo>
                        <a:pt x="604" y="204"/>
                      </a:lnTo>
                      <a:lnTo>
                        <a:pt x="602" y="194"/>
                      </a:lnTo>
                      <a:lnTo>
                        <a:pt x="598" y="182"/>
                      </a:lnTo>
                      <a:lnTo>
                        <a:pt x="596" y="176"/>
                      </a:lnTo>
                      <a:lnTo>
                        <a:pt x="596" y="172"/>
                      </a:lnTo>
                      <a:lnTo>
                        <a:pt x="600" y="168"/>
                      </a:lnTo>
                      <a:lnTo>
                        <a:pt x="610" y="164"/>
                      </a:lnTo>
                      <a:lnTo>
                        <a:pt x="610" y="164"/>
                      </a:lnTo>
                      <a:lnTo>
                        <a:pt x="626" y="160"/>
                      </a:lnTo>
                      <a:lnTo>
                        <a:pt x="638" y="160"/>
                      </a:lnTo>
                      <a:lnTo>
                        <a:pt x="650" y="160"/>
                      </a:lnTo>
                      <a:lnTo>
                        <a:pt x="676" y="160"/>
                      </a:lnTo>
                      <a:lnTo>
                        <a:pt x="676" y="160"/>
                      </a:lnTo>
                      <a:lnTo>
                        <a:pt x="708" y="156"/>
                      </a:lnTo>
                      <a:lnTo>
                        <a:pt x="734" y="150"/>
                      </a:lnTo>
                      <a:lnTo>
                        <a:pt x="744" y="146"/>
                      </a:lnTo>
                      <a:lnTo>
                        <a:pt x="752" y="144"/>
                      </a:lnTo>
                      <a:lnTo>
                        <a:pt x="758" y="138"/>
                      </a:lnTo>
                      <a:lnTo>
                        <a:pt x="758" y="134"/>
                      </a:lnTo>
                      <a:lnTo>
                        <a:pt x="758" y="134"/>
                      </a:lnTo>
                      <a:lnTo>
                        <a:pt x="758" y="132"/>
                      </a:lnTo>
                      <a:lnTo>
                        <a:pt x="756" y="130"/>
                      </a:lnTo>
                      <a:lnTo>
                        <a:pt x="748" y="126"/>
                      </a:lnTo>
                      <a:lnTo>
                        <a:pt x="732" y="122"/>
                      </a:lnTo>
                      <a:lnTo>
                        <a:pt x="724" y="118"/>
                      </a:lnTo>
                      <a:lnTo>
                        <a:pt x="722" y="114"/>
                      </a:lnTo>
                      <a:lnTo>
                        <a:pt x="722" y="112"/>
                      </a:lnTo>
                      <a:lnTo>
                        <a:pt x="722" y="106"/>
                      </a:lnTo>
                      <a:lnTo>
                        <a:pt x="724" y="102"/>
                      </a:lnTo>
                      <a:lnTo>
                        <a:pt x="734" y="88"/>
                      </a:lnTo>
                      <a:lnTo>
                        <a:pt x="734" y="88"/>
                      </a:lnTo>
                      <a:lnTo>
                        <a:pt x="746" y="70"/>
                      </a:lnTo>
                      <a:lnTo>
                        <a:pt x="758" y="50"/>
                      </a:lnTo>
                      <a:lnTo>
                        <a:pt x="770" y="30"/>
                      </a:lnTo>
                      <a:lnTo>
                        <a:pt x="780" y="14"/>
                      </a:lnTo>
                      <a:lnTo>
                        <a:pt x="790" y="4"/>
                      </a:lnTo>
                      <a:lnTo>
                        <a:pt x="796" y="0"/>
                      </a:lnTo>
                      <a:lnTo>
                        <a:pt x="800" y="0"/>
                      </a:lnTo>
                      <a:lnTo>
                        <a:pt x="804" y="2"/>
                      </a:lnTo>
                      <a:lnTo>
                        <a:pt x="810" y="8"/>
                      </a:lnTo>
                      <a:lnTo>
                        <a:pt x="814" y="16"/>
                      </a:lnTo>
                      <a:lnTo>
                        <a:pt x="818" y="30"/>
                      </a:lnTo>
                      <a:lnTo>
                        <a:pt x="818" y="30"/>
                      </a:lnTo>
                      <a:lnTo>
                        <a:pt x="832" y="76"/>
                      </a:lnTo>
                      <a:lnTo>
                        <a:pt x="840" y="108"/>
                      </a:lnTo>
                      <a:lnTo>
                        <a:pt x="846" y="130"/>
                      </a:lnTo>
                      <a:lnTo>
                        <a:pt x="846" y="130"/>
                      </a:lnTo>
                      <a:lnTo>
                        <a:pt x="850" y="146"/>
                      </a:lnTo>
                      <a:lnTo>
                        <a:pt x="860" y="176"/>
                      </a:lnTo>
                      <a:lnTo>
                        <a:pt x="860" y="176"/>
                      </a:lnTo>
                      <a:lnTo>
                        <a:pt x="868" y="196"/>
                      </a:lnTo>
                      <a:lnTo>
                        <a:pt x="878" y="220"/>
                      </a:lnTo>
                      <a:lnTo>
                        <a:pt x="890" y="248"/>
                      </a:lnTo>
                      <a:lnTo>
                        <a:pt x="890" y="248"/>
                      </a:lnTo>
                      <a:lnTo>
                        <a:pt x="894" y="268"/>
                      </a:lnTo>
                      <a:lnTo>
                        <a:pt x="896" y="286"/>
                      </a:lnTo>
                      <a:lnTo>
                        <a:pt x="896" y="302"/>
                      </a:lnTo>
                      <a:lnTo>
                        <a:pt x="896" y="302"/>
                      </a:lnTo>
                      <a:lnTo>
                        <a:pt x="898" y="320"/>
                      </a:lnTo>
                      <a:lnTo>
                        <a:pt x="902" y="346"/>
                      </a:lnTo>
                      <a:lnTo>
                        <a:pt x="908" y="372"/>
                      </a:lnTo>
                      <a:lnTo>
                        <a:pt x="910" y="388"/>
                      </a:lnTo>
                      <a:lnTo>
                        <a:pt x="910" y="388"/>
                      </a:lnTo>
                      <a:lnTo>
                        <a:pt x="910" y="420"/>
                      </a:lnTo>
                      <a:lnTo>
                        <a:pt x="910" y="442"/>
                      </a:lnTo>
                      <a:lnTo>
                        <a:pt x="908" y="462"/>
                      </a:lnTo>
                      <a:lnTo>
                        <a:pt x="908" y="462"/>
                      </a:lnTo>
                      <a:lnTo>
                        <a:pt x="904" y="480"/>
                      </a:lnTo>
                      <a:lnTo>
                        <a:pt x="904" y="502"/>
                      </a:lnTo>
                      <a:lnTo>
                        <a:pt x="904" y="522"/>
                      </a:lnTo>
                      <a:lnTo>
                        <a:pt x="906" y="540"/>
                      </a:lnTo>
                      <a:lnTo>
                        <a:pt x="906" y="540"/>
                      </a:lnTo>
                      <a:lnTo>
                        <a:pt x="910" y="552"/>
                      </a:lnTo>
                      <a:lnTo>
                        <a:pt x="914" y="564"/>
                      </a:lnTo>
                      <a:lnTo>
                        <a:pt x="916" y="570"/>
                      </a:lnTo>
                      <a:lnTo>
                        <a:pt x="916" y="576"/>
                      </a:lnTo>
                      <a:lnTo>
                        <a:pt x="914" y="584"/>
                      </a:lnTo>
                      <a:lnTo>
                        <a:pt x="912" y="592"/>
                      </a:lnTo>
                      <a:lnTo>
                        <a:pt x="912" y="59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0" name="Freeform 34">
                  <a:extLst>
                    <a:ext uri="{FF2B5EF4-FFF2-40B4-BE49-F238E27FC236}">
                      <a16:creationId xmlns:a16="http://schemas.microsoft.com/office/drawing/2014/main" id="{011DF1A4-8FAE-47D6-B466-2B3B2B6441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1439" y="1959735"/>
                  <a:ext cx="1295623" cy="1481583"/>
                </a:xfrm>
                <a:custGeom>
                  <a:avLst/>
                  <a:gdLst/>
                  <a:ahLst/>
                  <a:cxnLst>
                    <a:cxn ang="0">
                      <a:pos x="398" y="1772"/>
                    </a:cxn>
                    <a:cxn ang="0">
                      <a:pos x="248" y="1882"/>
                    </a:cxn>
                    <a:cxn ang="0">
                      <a:pos x="66" y="1898"/>
                    </a:cxn>
                    <a:cxn ang="0">
                      <a:pos x="12" y="1776"/>
                    </a:cxn>
                    <a:cxn ang="0">
                      <a:pos x="32" y="1718"/>
                    </a:cxn>
                    <a:cxn ang="0">
                      <a:pos x="18" y="1704"/>
                    </a:cxn>
                    <a:cxn ang="0">
                      <a:pos x="4" y="1668"/>
                    </a:cxn>
                    <a:cxn ang="0">
                      <a:pos x="14" y="1570"/>
                    </a:cxn>
                    <a:cxn ang="0">
                      <a:pos x="40" y="1518"/>
                    </a:cxn>
                    <a:cxn ang="0">
                      <a:pos x="72" y="1460"/>
                    </a:cxn>
                    <a:cxn ang="0">
                      <a:pos x="42" y="1398"/>
                    </a:cxn>
                    <a:cxn ang="0">
                      <a:pos x="98" y="1322"/>
                    </a:cxn>
                    <a:cxn ang="0">
                      <a:pos x="118" y="1234"/>
                    </a:cxn>
                    <a:cxn ang="0">
                      <a:pos x="220" y="1184"/>
                    </a:cxn>
                    <a:cxn ang="0">
                      <a:pos x="304" y="1176"/>
                    </a:cxn>
                    <a:cxn ang="0">
                      <a:pos x="390" y="1080"/>
                    </a:cxn>
                    <a:cxn ang="0">
                      <a:pos x="444" y="1110"/>
                    </a:cxn>
                    <a:cxn ang="0">
                      <a:pos x="470" y="1030"/>
                    </a:cxn>
                    <a:cxn ang="0">
                      <a:pos x="580" y="942"/>
                    </a:cxn>
                    <a:cxn ang="0">
                      <a:pos x="682" y="872"/>
                    </a:cxn>
                    <a:cxn ang="0">
                      <a:pos x="712" y="770"/>
                    </a:cxn>
                    <a:cxn ang="0">
                      <a:pos x="764" y="718"/>
                    </a:cxn>
                    <a:cxn ang="0">
                      <a:pos x="750" y="648"/>
                    </a:cxn>
                    <a:cxn ang="0">
                      <a:pos x="884" y="602"/>
                    </a:cxn>
                    <a:cxn ang="0">
                      <a:pos x="882" y="512"/>
                    </a:cxn>
                    <a:cxn ang="0">
                      <a:pos x="882" y="478"/>
                    </a:cxn>
                    <a:cxn ang="0">
                      <a:pos x="928" y="406"/>
                    </a:cxn>
                    <a:cxn ang="0">
                      <a:pos x="820" y="412"/>
                    </a:cxn>
                    <a:cxn ang="0">
                      <a:pos x="874" y="352"/>
                    </a:cxn>
                    <a:cxn ang="0">
                      <a:pos x="930" y="276"/>
                    </a:cxn>
                    <a:cxn ang="0">
                      <a:pos x="1044" y="318"/>
                    </a:cxn>
                    <a:cxn ang="0">
                      <a:pos x="1008" y="244"/>
                    </a:cxn>
                    <a:cxn ang="0">
                      <a:pos x="1080" y="268"/>
                    </a:cxn>
                    <a:cxn ang="0">
                      <a:pos x="1160" y="184"/>
                    </a:cxn>
                    <a:cxn ang="0">
                      <a:pos x="1164" y="256"/>
                    </a:cxn>
                    <a:cxn ang="0">
                      <a:pos x="1234" y="180"/>
                    </a:cxn>
                    <a:cxn ang="0">
                      <a:pos x="1242" y="170"/>
                    </a:cxn>
                    <a:cxn ang="0">
                      <a:pos x="1292" y="156"/>
                    </a:cxn>
                    <a:cxn ang="0">
                      <a:pos x="1310" y="156"/>
                    </a:cxn>
                    <a:cxn ang="0">
                      <a:pos x="1368" y="66"/>
                    </a:cxn>
                    <a:cxn ang="0">
                      <a:pos x="1402" y="108"/>
                    </a:cxn>
                    <a:cxn ang="0">
                      <a:pos x="1428" y="158"/>
                    </a:cxn>
                    <a:cxn ang="0">
                      <a:pos x="1496" y="50"/>
                    </a:cxn>
                    <a:cxn ang="0">
                      <a:pos x="1520" y="6"/>
                    </a:cxn>
                    <a:cxn ang="0">
                      <a:pos x="1534" y="86"/>
                    </a:cxn>
                    <a:cxn ang="0">
                      <a:pos x="1578" y="78"/>
                    </a:cxn>
                    <a:cxn ang="0">
                      <a:pos x="1654" y="72"/>
                    </a:cxn>
                    <a:cxn ang="0">
                      <a:pos x="1604" y="152"/>
                    </a:cxn>
                    <a:cxn ang="0">
                      <a:pos x="1548" y="164"/>
                    </a:cxn>
                    <a:cxn ang="0">
                      <a:pos x="1434" y="286"/>
                    </a:cxn>
                    <a:cxn ang="0">
                      <a:pos x="1350" y="378"/>
                    </a:cxn>
                    <a:cxn ang="0">
                      <a:pos x="1238" y="260"/>
                    </a:cxn>
                    <a:cxn ang="0">
                      <a:pos x="1148" y="362"/>
                    </a:cxn>
                    <a:cxn ang="0">
                      <a:pos x="1092" y="410"/>
                    </a:cxn>
                    <a:cxn ang="0">
                      <a:pos x="1028" y="466"/>
                    </a:cxn>
                    <a:cxn ang="0">
                      <a:pos x="918" y="608"/>
                    </a:cxn>
                    <a:cxn ang="0">
                      <a:pos x="866" y="704"/>
                    </a:cxn>
                    <a:cxn ang="0">
                      <a:pos x="794" y="770"/>
                    </a:cxn>
                    <a:cxn ang="0">
                      <a:pos x="748" y="1034"/>
                    </a:cxn>
                    <a:cxn ang="0">
                      <a:pos x="568" y="1190"/>
                    </a:cxn>
                    <a:cxn ang="0">
                      <a:pos x="570" y="1418"/>
                    </a:cxn>
                    <a:cxn ang="0">
                      <a:pos x="558" y="1656"/>
                    </a:cxn>
                    <a:cxn ang="0">
                      <a:pos x="470" y="1760"/>
                    </a:cxn>
                  </a:cxnLst>
                  <a:rect l="0" t="0" r="r" b="b"/>
                  <a:pathLst>
                    <a:path w="1700" h="1944">
                      <a:moveTo>
                        <a:pt x="454" y="1854"/>
                      </a:moveTo>
                      <a:lnTo>
                        <a:pt x="454" y="1854"/>
                      </a:lnTo>
                      <a:lnTo>
                        <a:pt x="444" y="1848"/>
                      </a:lnTo>
                      <a:lnTo>
                        <a:pt x="436" y="1840"/>
                      </a:lnTo>
                      <a:lnTo>
                        <a:pt x="432" y="1830"/>
                      </a:lnTo>
                      <a:lnTo>
                        <a:pt x="426" y="1820"/>
                      </a:lnTo>
                      <a:lnTo>
                        <a:pt x="426" y="1820"/>
                      </a:lnTo>
                      <a:lnTo>
                        <a:pt x="424" y="1810"/>
                      </a:lnTo>
                      <a:lnTo>
                        <a:pt x="422" y="1798"/>
                      </a:lnTo>
                      <a:lnTo>
                        <a:pt x="418" y="1788"/>
                      </a:lnTo>
                      <a:lnTo>
                        <a:pt x="414" y="1782"/>
                      </a:lnTo>
                      <a:lnTo>
                        <a:pt x="410" y="1776"/>
                      </a:lnTo>
                      <a:lnTo>
                        <a:pt x="410" y="1776"/>
                      </a:lnTo>
                      <a:lnTo>
                        <a:pt x="404" y="1774"/>
                      </a:lnTo>
                      <a:lnTo>
                        <a:pt x="398" y="1772"/>
                      </a:lnTo>
                      <a:lnTo>
                        <a:pt x="392" y="1774"/>
                      </a:lnTo>
                      <a:lnTo>
                        <a:pt x="388" y="1778"/>
                      </a:lnTo>
                      <a:lnTo>
                        <a:pt x="376" y="1788"/>
                      </a:lnTo>
                      <a:lnTo>
                        <a:pt x="366" y="1802"/>
                      </a:lnTo>
                      <a:lnTo>
                        <a:pt x="366" y="1802"/>
                      </a:lnTo>
                      <a:lnTo>
                        <a:pt x="362" y="1810"/>
                      </a:lnTo>
                      <a:lnTo>
                        <a:pt x="362" y="1810"/>
                      </a:lnTo>
                      <a:lnTo>
                        <a:pt x="354" y="1812"/>
                      </a:lnTo>
                      <a:lnTo>
                        <a:pt x="326" y="1828"/>
                      </a:lnTo>
                      <a:lnTo>
                        <a:pt x="326" y="1828"/>
                      </a:lnTo>
                      <a:lnTo>
                        <a:pt x="290" y="1848"/>
                      </a:lnTo>
                      <a:lnTo>
                        <a:pt x="272" y="1862"/>
                      </a:lnTo>
                      <a:lnTo>
                        <a:pt x="254" y="1876"/>
                      </a:lnTo>
                      <a:lnTo>
                        <a:pt x="254" y="1876"/>
                      </a:lnTo>
                      <a:lnTo>
                        <a:pt x="248" y="1882"/>
                      </a:lnTo>
                      <a:lnTo>
                        <a:pt x="240" y="1890"/>
                      </a:lnTo>
                      <a:lnTo>
                        <a:pt x="228" y="1902"/>
                      </a:lnTo>
                      <a:lnTo>
                        <a:pt x="212" y="1914"/>
                      </a:lnTo>
                      <a:lnTo>
                        <a:pt x="212" y="1914"/>
                      </a:lnTo>
                      <a:lnTo>
                        <a:pt x="202" y="1920"/>
                      </a:lnTo>
                      <a:lnTo>
                        <a:pt x="196" y="1928"/>
                      </a:lnTo>
                      <a:lnTo>
                        <a:pt x="186" y="1938"/>
                      </a:lnTo>
                      <a:lnTo>
                        <a:pt x="182" y="1942"/>
                      </a:lnTo>
                      <a:lnTo>
                        <a:pt x="174" y="1944"/>
                      </a:lnTo>
                      <a:lnTo>
                        <a:pt x="164" y="1942"/>
                      </a:lnTo>
                      <a:lnTo>
                        <a:pt x="150" y="1938"/>
                      </a:lnTo>
                      <a:lnTo>
                        <a:pt x="150" y="1938"/>
                      </a:lnTo>
                      <a:lnTo>
                        <a:pt x="118" y="1924"/>
                      </a:lnTo>
                      <a:lnTo>
                        <a:pt x="94" y="1912"/>
                      </a:lnTo>
                      <a:lnTo>
                        <a:pt x="66" y="1898"/>
                      </a:lnTo>
                      <a:lnTo>
                        <a:pt x="66" y="1898"/>
                      </a:lnTo>
                      <a:lnTo>
                        <a:pt x="64" y="1894"/>
                      </a:lnTo>
                      <a:lnTo>
                        <a:pt x="60" y="1890"/>
                      </a:lnTo>
                      <a:lnTo>
                        <a:pt x="52" y="1878"/>
                      </a:lnTo>
                      <a:lnTo>
                        <a:pt x="38" y="1850"/>
                      </a:lnTo>
                      <a:lnTo>
                        <a:pt x="38" y="1850"/>
                      </a:lnTo>
                      <a:lnTo>
                        <a:pt x="26" y="1822"/>
                      </a:lnTo>
                      <a:lnTo>
                        <a:pt x="26" y="1822"/>
                      </a:lnTo>
                      <a:lnTo>
                        <a:pt x="16" y="1808"/>
                      </a:lnTo>
                      <a:lnTo>
                        <a:pt x="8" y="1798"/>
                      </a:lnTo>
                      <a:lnTo>
                        <a:pt x="4" y="1790"/>
                      </a:lnTo>
                      <a:lnTo>
                        <a:pt x="4" y="1790"/>
                      </a:lnTo>
                      <a:lnTo>
                        <a:pt x="4" y="1788"/>
                      </a:lnTo>
                      <a:lnTo>
                        <a:pt x="6" y="1784"/>
                      </a:lnTo>
                      <a:lnTo>
                        <a:pt x="12" y="1776"/>
                      </a:lnTo>
                      <a:lnTo>
                        <a:pt x="22" y="1766"/>
                      </a:lnTo>
                      <a:lnTo>
                        <a:pt x="22" y="1766"/>
                      </a:lnTo>
                      <a:lnTo>
                        <a:pt x="16" y="1766"/>
                      </a:lnTo>
                      <a:lnTo>
                        <a:pt x="8" y="1764"/>
                      </a:lnTo>
                      <a:lnTo>
                        <a:pt x="4" y="1762"/>
                      </a:lnTo>
                      <a:lnTo>
                        <a:pt x="4" y="1760"/>
                      </a:lnTo>
                      <a:lnTo>
                        <a:pt x="6" y="1758"/>
                      </a:lnTo>
                      <a:lnTo>
                        <a:pt x="12" y="1754"/>
                      </a:lnTo>
                      <a:lnTo>
                        <a:pt x="12" y="1754"/>
                      </a:lnTo>
                      <a:lnTo>
                        <a:pt x="20" y="1748"/>
                      </a:lnTo>
                      <a:lnTo>
                        <a:pt x="26" y="1742"/>
                      </a:lnTo>
                      <a:lnTo>
                        <a:pt x="30" y="1736"/>
                      </a:lnTo>
                      <a:lnTo>
                        <a:pt x="32" y="1730"/>
                      </a:lnTo>
                      <a:lnTo>
                        <a:pt x="32" y="1722"/>
                      </a:lnTo>
                      <a:lnTo>
                        <a:pt x="32" y="1718"/>
                      </a:lnTo>
                      <a:lnTo>
                        <a:pt x="32" y="1718"/>
                      </a:lnTo>
                      <a:lnTo>
                        <a:pt x="36" y="1722"/>
                      </a:lnTo>
                      <a:lnTo>
                        <a:pt x="44" y="1724"/>
                      </a:lnTo>
                      <a:lnTo>
                        <a:pt x="54" y="1726"/>
                      </a:lnTo>
                      <a:lnTo>
                        <a:pt x="54" y="1726"/>
                      </a:lnTo>
                      <a:lnTo>
                        <a:pt x="60" y="1726"/>
                      </a:lnTo>
                      <a:lnTo>
                        <a:pt x="62" y="1724"/>
                      </a:lnTo>
                      <a:lnTo>
                        <a:pt x="60" y="1720"/>
                      </a:lnTo>
                      <a:lnTo>
                        <a:pt x="58" y="1714"/>
                      </a:lnTo>
                      <a:lnTo>
                        <a:pt x="54" y="1710"/>
                      </a:lnTo>
                      <a:lnTo>
                        <a:pt x="48" y="1706"/>
                      </a:lnTo>
                      <a:lnTo>
                        <a:pt x="42" y="1704"/>
                      </a:lnTo>
                      <a:lnTo>
                        <a:pt x="34" y="1702"/>
                      </a:lnTo>
                      <a:lnTo>
                        <a:pt x="34" y="1702"/>
                      </a:lnTo>
                      <a:lnTo>
                        <a:pt x="18" y="1704"/>
                      </a:lnTo>
                      <a:lnTo>
                        <a:pt x="8" y="1706"/>
                      </a:lnTo>
                      <a:lnTo>
                        <a:pt x="2" y="1704"/>
                      </a:lnTo>
                      <a:lnTo>
                        <a:pt x="0" y="1704"/>
                      </a:lnTo>
                      <a:lnTo>
                        <a:pt x="0" y="1700"/>
                      </a:lnTo>
                      <a:lnTo>
                        <a:pt x="0" y="1700"/>
                      </a:lnTo>
                      <a:lnTo>
                        <a:pt x="0" y="1692"/>
                      </a:lnTo>
                      <a:lnTo>
                        <a:pt x="0" y="1684"/>
                      </a:lnTo>
                      <a:lnTo>
                        <a:pt x="0" y="1682"/>
                      </a:lnTo>
                      <a:lnTo>
                        <a:pt x="2" y="1678"/>
                      </a:lnTo>
                      <a:lnTo>
                        <a:pt x="6" y="1676"/>
                      </a:lnTo>
                      <a:lnTo>
                        <a:pt x="10" y="1674"/>
                      </a:lnTo>
                      <a:lnTo>
                        <a:pt x="10" y="1674"/>
                      </a:lnTo>
                      <a:lnTo>
                        <a:pt x="16" y="1674"/>
                      </a:lnTo>
                      <a:lnTo>
                        <a:pt x="12" y="1670"/>
                      </a:lnTo>
                      <a:lnTo>
                        <a:pt x="4" y="1668"/>
                      </a:lnTo>
                      <a:lnTo>
                        <a:pt x="4" y="1664"/>
                      </a:lnTo>
                      <a:lnTo>
                        <a:pt x="6" y="1660"/>
                      </a:lnTo>
                      <a:lnTo>
                        <a:pt x="6" y="1660"/>
                      </a:lnTo>
                      <a:lnTo>
                        <a:pt x="16" y="1648"/>
                      </a:lnTo>
                      <a:lnTo>
                        <a:pt x="32" y="1638"/>
                      </a:lnTo>
                      <a:lnTo>
                        <a:pt x="32" y="1638"/>
                      </a:lnTo>
                      <a:lnTo>
                        <a:pt x="42" y="1630"/>
                      </a:lnTo>
                      <a:lnTo>
                        <a:pt x="44" y="1626"/>
                      </a:lnTo>
                      <a:lnTo>
                        <a:pt x="46" y="1622"/>
                      </a:lnTo>
                      <a:lnTo>
                        <a:pt x="42" y="1612"/>
                      </a:lnTo>
                      <a:lnTo>
                        <a:pt x="36" y="1598"/>
                      </a:lnTo>
                      <a:lnTo>
                        <a:pt x="36" y="1598"/>
                      </a:lnTo>
                      <a:lnTo>
                        <a:pt x="26" y="1584"/>
                      </a:lnTo>
                      <a:lnTo>
                        <a:pt x="18" y="1576"/>
                      </a:lnTo>
                      <a:lnTo>
                        <a:pt x="14" y="1570"/>
                      </a:lnTo>
                      <a:lnTo>
                        <a:pt x="16" y="1568"/>
                      </a:lnTo>
                      <a:lnTo>
                        <a:pt x="18" y="1566"/>
                      </a:lnTo>
                      <a:lnTo>
                        <a:pt x="18" y="1566"/>
                      </a:lnTo>
                      <a:lnTo>
                        <a:pt x="44" y="1550"/>
                      </a:lnTo>
                      <a:lnTo>
                        <a:pt x="44" y="1550"/>
                      </a:lnTo>
                      <a:lnTo>
                        <a:pt x="56" y="1544"/>
                      </a:lnTo>
                      <a:lnTo>
                        <a:pt x="66" y="1538"/>
                      </a:lnTo>
                      <a:lnTo>
                        <a:pt x="70" y="1536"/>
                      </a:lnTo>
                      <a:lnTo>
                        <a:pt x="72" y="1534"/>
                      </a:lnTo>
                      <a:lnTo>
                        <a:pt x="72" y="1532"/>
                      </a:lnTo>
                      <a:lnTo>
                        <a:pt x="68" y="1528"/>
                      </a:lnTo>
                      <a:lnTo>
                        <a:pt x="68" y="1528"/>
                      </a:lnTo>
                      <a:lnTo>
                        <a:pt x="62" y="1524"/>
                      </a:lnTo>
                      <a:lnTo>
                        <a:pt x="56" y="1522"/>
                      </a:lnTo>
                      <a:lnTo>
                        <a:pt x="40" y="1518"/>
                      </a:lnTo>
                      <a:lnTo>
                        <a:pt x="28" y="1514"/>
                      </a:lnTo>
                      <a:lnTo>
                        <a:pt x="24" y="1510"/>
                      </a:lnTo>
                      <a:lnTo>
                        <a:pt x="22" y="1508"/>
                      </a:lnTo>
                      <a:lnTo>
                        <a:pt x="22" y="1508"/>
                      </a:lnTo>
                      <a:lnTo>
                        <a:pt x="26" y="1502"/>
                      </a:lnTo>
                      <a:lnTo>
                        <a:pt x="34" y="1496"/>
                      </a:lnTo>
                      <a:lnTo>
                        <a:pt x="44" y="1490"/>
                      </a:lnTo>
                      <a:lnTo>
                        <a:pt x="54" y="1486"/>
                      </a:lnTo>
                      <a:lnTo>
                        <a:pt x="54" y="1486"/>
                      </a:lnTo>
                      <a:lnTo>
                        <a:pt x="64" y="1484"/>
                      </a:lnTo>
                      <a:lnTo>
                        <a:pt x="70" y="1480"/>
                      </a:lnTo>
                      <a:lnTo>
                        <a:pt x="72" y="1476"/>
                      </a:lnTo>
                      <a:lnTo>
                        <a:pt x="72" y="1472"/>
                      </a:lnTo>
                      <a:lnTo>
                        <a:pt x="72" y="1460"/>
                      </a:lnTo>
                      <a:lnTo>
                        <a:pt x="72" y="1460"/>
                      </a:lnTo>
                      <a:lnTo>
                        <a:pt x="70" y="1450"/>
                      </a:lnTo>
                      <a:lnTo>
                        <a:pt x="68" y="1448"/>
                      </a:lnTo>
                      <a:lnTo>
                        <a:pt x="68" y="1440"/>
                      </a:lnTo>
                      <a:lnTo>
                        <a:pt x="68" y="1440"/>
                      </a:lnTo>
                      <a:lnTo>
                        <a:pt x="70" y="1434"/>
                      </a:lnTo>
                      <a:lnTo>
                        <a:pt x="72" y="1432"/>
                      </a:lnTo>
                      <a:lnTo>
                        <a:pt x="74" y="1428"/>
                      </a:lnTo>
                      <a:lnTo>
                        <a:pt x="76" y="1426"/>
                      </a:lnTo>
                      <a:lnTo>
                        <a:pt x="74" y="1422"/>
                      </a:lnTo>
                      <a:lnTo>
                        <a:pt x="68" y="1410"/>
                      </a:lnTo>
                      <a:lnTo>
                        <a:pt x="68" y="1410"/>
                      </a:lnTo>
                      <a:lnTo>
                        <a:pt x="60" y="1402"/>
                      </a:lnTo>
                      <a:lnTo>
                        <a:pt x="54" y="1398"/>
                      </a:lnTo>
                      <a:lnTo>
                        <a:pt x="48" y="1398"/>
                      </a:lnTo>
                      <a:lnTo>
                        <a:pt x="42" y="1398"/>
                      </a:lnTo>
                      <a:lnTo>
                        <a:pt x="38" y="1398"/>
                      </a:lnTo>
                      <a:lnTo>
                        <a:pt x="38" y="1396"/>
                      </a:lnTo>
                      <a:lnTo>
                        <a:pt x="52" y="1382"/>
                      </a:lnTo>
                      <a:lnTo>
                        <a:pt x="52" y="1382"/>
                      </a:lnTo>
                      <a:lnTo>
                        <a:pt x="70" y="1368"/>
                      </a:lnTo>
                      <a:lnTo>
                        <a:pt x="78" y="1362"/>
                      </a:lnTo>
                      <a:lnTo>
                        <a:pt x="84" y="1360"/>
                      </a:lnTo>
                      <a:lnTo>
                        <a:pt x="94" y="1354"/>
                      </a:lnTo>
                      <a:lnTo>
                        <a:pt x="94" y="1354"/>
                      </a:lnTo>
                      <a:lnTo>
                        <a:pt x="104" y="1344"/>
                      </a:lnTo>
                      <a:lnTo>
                        <a:pt x="108" y="1336"/>
                      </a:lnTo>
                      <a:lnTo>
                        <a:pt x="108" y="1334"/>
                      </a:lnTo>
                      <a:lnTo>
                        <a:pt x="106" y="1330"/>
                      </a:lnTo>
                      <a:lnTo>
                        <a:pt x="98" y="1322"/>
                      </a:lnTo>
                      <a:lnTo>
                        <a:pt x="98" y="1322"/>
                      </a:lnTo>
                      <a:lnTo>
                        <a:pt x="92" y="1318"/>
                      </a:lnTo>
                      <a:lnTo>
                        <a:pt x="86" y="1316"/>
                      </a:lnTo>
                      <a:lnTo>
                        <a:pt x="74" y="1314"/>
                      </a:lnTo>
                      <a:lnTo>
                        <a:pt x="70" y="1314"/>
                      </a:lnTo>
                      <a:lnTo>
                        <a:pt x="70" y="1310"/>
                      </a:lnTo>
                      <a:lnTo>
                        <a:pt x="72" y="1304"/>
                      </a:lnTo>
                      <a:lnTo>
                        <a:pt x="78" y="1296"/>
                      </a:lnTo>
                      <a:lnTo>
                        <a:pt x="78" y="1296"/>
                      </a:lnTo>
                      <a:lnTo>
                        <a:pt x="100" y="1274"/>
                      </a:lnTo>
                      <a:lnTo>
                        <a:pt x="104" y="1268"/>
                      </a:lnTo>
                      <a:lnTo>
                        <a:pt x="110" y="1260"/>
                      </a:lnTo>
                      <a:lnTo>
                        <a:pt x="110" y="1260"/>
                      </a:lnTo>
                      <a:lnTo>
                        <a:pt x="114" y="1254"/>
                      </a:lnTo>
                      <a:lnTo>
                        <a:pt x="114" y="1248"/>
                      </a:lnTo>
                      <a:lnTo>
                        <a:pt x="118" y="1234"/>
                      </a:lnTo>
                      <a:lnTo>
                        <a:pt x="122" y="1228"/>
                      </a:lnTo>
                      <a:lnTo>
                        <a:pt x="126" y="1224"/>
                      </a:lnTo>
                      <a:lnTo>
                        <a:pt x="134" y="1220"/>
                      </a:lnTo>
                      <a:lnTo>
                        <a:pt x="146" y="1218"/>
                      </a:lnTo>
                      <a:lnTo>
                        <a:pt x="146" y="1218"/>
                      </a:lnTo>
                      <a:lnTo>
                        <a:pt x="170" y="1216"/>
                      </a:lnTo>
                      <a:lnTo>
                        <a:pt x="192" y="1214"/>
                      </a:lnTo>
                      <a:lnTo>
                        <a:pt x="206" y="1210"/>
                      </a:lnTo>
                      <a:lnTo>
                        <a:pt x="214" y="1208"/>
                      </a:lnTo>
                      <a:lnTo>
                        <a:pt x="214" y="1208"/>
                      </a:lnTo>
                      <a:lnTo>
                        <a:pt x="214" y="1206"/>
                      </a:lnTo>
                      <a:lnTo>
                        <a:pt x="212" y="1202"/>
                      </a:lnTo>
                      <a:lnTo>
                        <a:pt x="214" y="1196"/>
                      </a:lnTo>
                      <a:lnTo>
                        <a:pt x="220" y="1184"/>
                      </a:lnTo>
                      <a:lnTo>
                        <a:pt x="220" y="1184"/>
                      </a:lnTo>
                      <a:lnTo>
                        <a:pt x="234" y="1168"/>
                      </a:lnTo>
                      <a:lnTo>
                        <a:pt x="236" y="1166"/>
                      </a:lnTo>
                      <a:lnTo>
                        <a:pt x="238" y="1166"/>
                      </a:lnTo>
                      <a:lnTo>
                        <a:pt x="246" y="1168"/>
                      </a:lnTo>
                      <a:lnTo>
                        <a:pt x="246" y="1168"/>
                      </a:lnTo>
                      <a:lnTo>
                        <a:pt x="254" y="1176"/>
                      </a:lnTo>
                      <a:lnTo>
                        <a:pt x="258" y="1180"/>
                      </a:lnTo>
                      <a:lnTo>
                        <a:pt x="262" y="1182"/>
                      </a:lnTo>
                      <a:lnTo>
                        <a:pt x="266" y="1182"/>
                      </a:lnTo>
                      <a:lnTo>
                        <a:pt x="272" y="1182"/>
                      </a:lnTo>
                      <a:lnTo>
                        <a:pt x="280" y="1178"/>
                      </a:lnTo>
                      <a:lnTo>
                        <a:pt x="280" y="1178"/>
                      </a:lnTo>
                      <a:lnTo>
                        <a:pt x="288" y="1176"/>
                      </a:lnTo>
                      <a:lnTo>
                        <a:pt x="296" y="1174"/>
                      </a:lnTo>
                      <a:lnTo>
                        <a:pt x="304" y="1176"/>
                      </a:lnTo>
                      <a:lnTo>
                        <a:pt x="312" y="1178"/>
                      </a:lnTo>
                      <a:lnTo>
                        <a:pt x="322" y="1182"/>
                      </a:lnTo>
                      <a:lnTo>
                        <a:pt x="326" y="1182"/>
                      </a:lnTo>
                      <a:lnTo>
                        <a:pt x="330" y="1182"/>
                      </a:lnTo>
                      <a:lnTo>
                        <a:pt x="330" y="1182"/>
                      </a:lnTo>
                      <a:lnTo>
                        <a:pt x="334" y="1170"/>
                      </a:lnTo>
                      <a:lnTo>
                        <a:pt x="342" y="1136"/>
                      </a:lnTo>
                      <a:lnTo>
                        <a:pt x="342" y="1136"/>
                      </a:lnTo>
                      <a:lnTo>
                        <a:pt x="350" y="1112"/>
                      </a:lnTo>
                      <a:lnTo>
                        <a:pt x="358" y="1094"/>
                      </a:lnTo>
                      <a:lnTo>
                        <a:pt x="366" y="1084"/>
                      </a:lnTo>
                      <a:lnTo>
                        <a:pt x="374" y="1078"/>
                      </a:lnTo>
                      <a:lnTo>
                        <a:pt x="374" y="1078"/>
                      </a:lnTo>
                      <a:lnTo>
                        <a:pt x="382" y="1078"/>
                      </a:lnTo>
                      <a:lnTo>
                        <a:pt x="390" y="1080"/>
                      </a:lnTo>
                      <a:lnTo>
                        <a:pt x="400" y="1082"/>
                      </a:lnTo>
                      <a:lnTo>
                        <a:pt x="408" y="1084"/>
                      </a:lnTo>
                      <a:lnTo>
                        <a:pt x="408" y="1084"/>
                      </a:lnTo>
                      <a:lnTo>
                        <a:pt x="412" y="1084"/>
                      </a:lnTo>
                      <a:lnTo>
                        <a:pt x="416" y="1082"/>
                      </a:lnTo>
                      <a:lnTo>
                        <a:pt x="422" y="1076"/>
                      </a:lnTo>
                      <a:lnTo>
                        <a:pt x="426" y="1074"/>
                      </a:lnTo>
                      <a:lnTo>
                        <a:pt x="430" y="1074"/>
                      </a:lnTo>
                      <a:lnTo>
                        <a:pt x="432" y="1074"/>
                      </a:lnTo>
                      <a:lnTo>
                        <a:pt x="436" y="1078"/>
                      </a:lnTo>
                      <a:lnTo>
                        <a:pt x="436" y="1078"/>
                      </a:lnTo>
                      <a:lnTo>
                        <a:pt x="438" y="1084"/>
                      </a:lnTo>
                      <a:lnTo>
                        <a:pt x="440" y="1090"/>
                      </a:lnTo>
                      <a:lnTo>
                        <a:pt x="442" y="1106"/>
                      </a:lnTo>
                      <a:lnTo>
                        <a:pt x="444" y="1110"/>
                      </a:lnTo>
                      <a:lnTo>
                        <a:pt x="446" y="1112"/>
                      </a:lnTo>
                      <a:lnTo>
                        <a:pt x="450" y="1110"/>
                      </a:lnTo>
                      <a:lnTo>
                        <a:pt x="456" y="1104"/>
                      </a:lnTo>
                      <a:lnTo>
                        <a:pt x="456" y="1104"/>
                      </a:lnTo>
                      <a:lnTo>
                        <a:pt x="460" y="1096"/>
                      </a:lnTo>
                      <a:lnTo>
                        <a:pt x="462" y="1090"/>
                      </a:lnTo>
                      <a:lnTo>
                        <a:pt x="460" y="1088"/>
                      </a:lnTo>
                      <a:lnTo>
                        <a:pt x="458" y="1086"/>
                      </a:lnTo>
                      <a:lnTo>
                        <a:pt x="456" y="1082"/>
                      </a:lnTo>
                      <a:lnTo>
                        <a:pt x="456" y="1078"/>
                      </a:lnTo>
                      <a:lnTo>
                        <a:pt x="456" y="1070"/>
                      </a:lnTo>
                      <a:lnTo>
                        <a:pt x="460" y="1058"/>
                      </a:lnTo>
                      <a:lnTo>
                        <a:pt x="460" y="1058"/>
                      </a:lnTo>
                      <a:lnTo>
                        <a:pt x="466" y="1038"/>
                      </a:lnTo>
                      <a:lnTo>
                        <a:pt x="470" y="1030"/>
                      </a:lnTo>
                      <a:lnTo>
                        <a:pt x="476" y="1026"/>
                      </a:lnTo>
                      <a:lnTo>
                        <a:pt x="490" y="1014"/>
                      </a:lnTo>
                      <a:lnTo>
                        <a:pt x="490" y="1014"/>
                      </a:lnTo>
                      <a:lnTo>
                        <a:pt x="500" y="1006"/>
                      </a:lnTo>
                      <a:lnTo>
                        <a:pt x="510" y="1000"/>
                      </a:lnTo>
                      <a:lnTo>
                        <a:pt x="530" y="994"/>
                      </a:lnTo>
                      <a:lnTo>
                        <a:pt x="546" y="988"/>
                      </a:lnTo>
                      <a:lnTo>
                        <a:pt x="552" y="984"/>
                      </a:lnTo>
                      <a:lnTo>
                        <a:pt x="560" y="978"/>
                      </a:lnTo>
                      <a:lnTo>
                        <a:pt x="560" y="978"/>
                      </a:lnTo>
                      <a:lnTo>
                        <a:pt x="570" y="968"/>
                      </a:lnTo>
                      <a:lnTo>
                        <a:pt x="578" y="958"/>
                      </a:lnTo>
                      <a:lnTo>
                        <a:pt x="582" y="950"/>
                      </a:lnTo>
                      <a:lnTo>
                        <a:pt x="582" y="946"/>
                      </a:lnTo>
                      <a:lnTo>
                        <a:pt x="580" y="942"/>
                      </a:lnTo>
                      <a:lnTo>
                        <a:pt x="580" y="942"/>
                      </a:lnTo>
                      <a:lnTo>
                        <a:pt x="578" y="940"/>
                      </a:lnTo>
                      <a:lnTo>
                        <a:pt x="580" y="936"/>
                      </a:lnTo>
                      <a:lnTo>
                        <a:pt x="586" y="930"/>
                      </a:lnTo>
                      <a:lnTo>
                        <a:pt x="596" y="924"/>
                      </a:lnTo>
                      <a:lnTo>
                        <a:pt x="606" y="920"/>
                      </a:lnTo>
                      <a:lnTo>
                        <a:pt x="606" y="920"/>
                      </a:lnTo>
                      <a:lnTo>
                        <a:pt x="644" y="910"/>
                      </a:lnTo>
                      <a:lnTo>
                        <a:pt x="664" y="902"/>
                      </a:lnTo>
                      <a:lnTo>
                        <a:pt x="672" y="898"/>
                      </a:lnTo>
                      <a:lnTo>
                        <a:pt x="676" y="894"/>
                      </a:lnTo>
                      <a:lnTo>
                        <a:pt x="676" y="894"/>
                      </a:lnTo>
                      <a:lnTo>
                        <a:pt x="680" y="888"/>
                      </a:lnTo>
                      <a:lnTo>
                        <a:pt x="682" y="880"/>
                      </a:lnTo>
                      <a:lnTo>
                        <a:pt x="682" y="872"/>
                      </a:lnTo>
                      <a:lnTo>
                        <a:pt x="678" y="858"/>
                      </a:lnTo>
                      <a:lnTo>
                        <a:pt x="678" y="858"/>
                      </a:lnTo>
                      <a:lnTo>
                        <a:pt x="670" y="836"/>
                      </a:lnTo>
                      <a:lnTo>
                        <a:pt x="668" y="828"/>
                      </a:lnTo>
                      <a:lnTo>
                        <a:pt x="670" y="822"/>
                      </a:lnTo>
                      <a:lnTo>
                        <a:pt x="670" y="822"/>
                      </a:lnTo>
                      <a:lnTo>
                        <a:pt x="672" y="818"/>
                      </a:lnTo>
                      <a:lnTo>
                        <a:pt x="672" y="814"/>
                      </a:lnTo>
                      <a:lnTo>
                        <a:pt x="676" y="808"/>
                      </a:lnTo>
                      <a:lnTo>
                        <a:pt x="686" y="796"/>
                      </a:lnTo>
                      <a:lnTo>
                        <a:pt x="686" y="796"/>
                      </a:lnTo>
                      <a:lnTo>
                        <a:pt x="700" y="784"/>
                      </a:lnTo>
                      <a:lnTo>
                        <a:pt x="708" y="780"/>
                      </a:lnTo>
                      <a:lnTo>
                        <a:pt x="712" y="776"/>
                      </a:lnTo>
                      <a:lnTo>
                        <a:pt x="712" y="770"/>
                      </a:lnTo>
                      <a:lnTo>
                        <a:pt x="712" y="770"/>
                      </a:lnTo>
                      <a:lnTo>
                        <a:pt x="710" y="762"/>
                      </a:lnTo>
                      <a:lnTo>
                        <a:pt x="708" y="758"/>
                      </a:lnTo>
                      <a:lnTo>
                        <a:pt x="706" y="754"/>
                      </a:lnTo>
                      <a:lnTo>
                        <a:pt x="710" y="746"/>
                      </a:lnTo>
                      <a:lnTo>
                        <a:pt x="710" y="746"/>
                      </a:lnTo>
                      <a:lnTo>
                        <a:pt x="714" y="736"/>
                      </a:lnTo>
                      <a:lnTo>
                        <a:pt x="718" y="726"/>
                      </a:lnTo>
                      <a:lnTo>
                        <a:pt x="720" y="722"/>
                      </a:lnTo>
                      <a:lnTo>
                        <a:pt x="724" y="720"/>
                      </a:lnTo>
                      <a:lnTo>
                        <a:pt x="738" y="716"/>
                      </a:lnTo>
                      <a:lnTo>
                        <a:pt x="738" y="716"/>
                      </a:lnTo>
                      <a:lnTo>
                        <a:pt x="746" y="714"/>
                      </a:lnTo>
                      <a:lnTo>
                        <a:pt x="754" y="714"/>
                      </a:lnTo>
                      <a:lnTo>
                        <a:pt x="764" y="718"/>
                      </a:lnTo>
                      <a:lnTo>
                        <a:pt x="766" y="718"/>
                      </a:lnTo>
                      <a:lnTo>
                        <a:pt x="766" y="718"/>
                      </a:lnTo>
                      <a:lnTo>
                        <a:pt x="760" y="710"/>
                      </a:lnTo>
                      <a:lnTo>
                        <a:pt x="760" y="710"/>
                      </a:lnTo>
                      <a:lnTo>
                        <a:pt x="756" y="704"/>
                      </a:lnTo>
                      <a:lnTo>
                        <a:pt x="750" y="698"/>
                      </a:lnTo>
                      <a:lnTo>
                        <a:pt x="738" y="692"/>
                      </a:lnTo>
                      <a:lnTo>
                        <a:pt x="734" y="690"/>
                      </a:lnTo>
                      <a:lnTo>
                        <a:pt x="732" y="688"/>
                      </a:lnTo>
                      <a:lnTo>
                        <a:pt x="732" y="684"/>
                      </a:lnTo>
                      <a:lnTo>
                        <a:pt x="734" y="678"/>
                      </a:lnTo>
                      <a:lnTo>
                        <a:pt x="734" y="678"/>
                      </a:lnTo>
                      <a:lnTo>
                        <a:pt x="738" y="664"/>
                      </a:lnTo>
                      <a:lnTo>
                        <a:pt x="746" y="654"/>
                      </a:lnTo>
                      <a:lnTo>
                        <a:pt x="750" y="648"/>
                      </a:lnTo>
                      <a:lnTo>
                        <a:pt x="756" y="644"/>
                      </a:lnTo>
                      <a:lnTo>
                        <a:pt x="766" y="640"/>
                      </a:lnTo>
                      <a:lnTo>
                        <a:pt x="776" y="636"/>
                      </a:lnTo>
                      <a:lnTo>
                        <a:pt x="776" y="636"/>
                      </a:lnTo>
                      <a:lnTo>
                        <a:pt x="786" y="632"/>
                      </a:lnTo>
                      <a:lnTo>
                        <a:pt x="788" y="630"/>
                      </a:lnTo>
                      <a:lnTo>
                        <a:pt x="788" y="628"/>
                      </a:lnTo>
                      <a:lnTo>
                        <a:pt x="788" y="628"/>
                      </a:lnTo>
                      <a:lnTo>
                        <a:pt x="788" y="626"/>
                      </a:lnTo>
                      <a:lnTo>
                        <a:pt x="792" y="624"/>
                      </a:lnTo>
                      <a:lnTo>
                        <a:pt x="818" y="616"/>
                      </a:lnTo>
                      <a:lnTo>
                        <a:pt x="818" y="616"/>
                      </a:lnTo>
                      <a:lnTo>
                        <a:pt x="878" y="606"/>
                      </a:lnTo>
                      <a:lnTo>
                        <a:pt x="884" y="604"/>
                      </a:lnTo>
                      <a:lnTo>
                        <a:pt x="884" y="602"/>
                      </a:lnTo>
                      <a:lnTo>
                        <a:pt x="884" y="602"/>
                      </a:lnTo>
                      <a:lnTo>
                        <a:pt x="868" y="598"/>
                      </a:lnTo>
                      <a:lnTo>
                        <a:pt x="868" y="598"/>
                      </a:lnTo>
                      <a:lnTo>
                        <a:pt x="816" y="586"/>
                      </a:lnTo>
                      <a:lnTo>
                        <a:pt x="816" y="586"/>
                      </a:lnTo>
                      <a:lnTo>
                        <a:pt x="814" y="580"/>
                      </a:lnTo>
                      <a:lnTo>
                        <a:pt x="812" y="568"/>
                      </a:lnTo>
                      <a:lnTo>
                        <a:pt x="814" y="558"/>
                      </a:lnTo>
                      <a:lnTo>
                        <a:pt x="818" y="550"/>
                      </a:lnTo>
                      <a:lnTo>
                        <a:pt x="824" y="542"/>
                      </a:lnTo>
                      <a:lnTo>
                        <a:pt x="834" y="534"/>
                      </a:lnTo>
                      <a:lnTo>
                        <a:pt x="834" y="534"/>
                      </a:lnTo>
                      <a:lnTo>
                        <a:pt x="856" y="524"/>
                      </a:lnTo>
                      <a:lnTo>
                        <a:pt x="870" y="518"/>
                      </a:lnTo>
                      <a:lnTo>
                        <a:pt x="882" y="512"/>
                      </a:lnTo>
                      <a:lnTo>
                        <a:pt x="892" y="508"/>
                      </a:lnTo>
                      <a:lnTo>
                        <a:pt x="892" y="508"/>
                      </a:lnTo>
                      <a:lnTo>
                        <a:pt x="904" y="500"/>
                      </a:lnTo>
                      <a:lnTo>
                        <a:pt x="914" y="494"/>
                      </a:lnTo>
                      <a:lnTo>
                        <a:pt x="918" y="490"/>
                      </a:lnTo>
                      <a:lnTo>
                        <a:pt x="918" y="486"/>
                      </a:lnTo>
                      <a:lnTo>
                        <a:pt x="918" y="484"/>
                      </a:lnTo>
                      <a:lnTo>
                        <a:pt x="914" y="480"/>
                      </a:lnTo>
                      <a:lnTo>
                        <a:pt x="914" y="480"/>
                      </a:lnTo>
                      <a:lnTo>
                        <a:pt x="910" y="478"/>
                      </a:lnTo>
                      <a:lnTo>
                        <a:pt x="902" y="478"/>
                      </a:lnTo>
                      <a:lnTo>
                        <a:pt x="888" y="482"/>
                      </a:lnTo>
                      <a:lnTo>
                        <a:pt x="882" y="482"/>
                      </a:lnTo>
                      <a:lnTo>
                        <a:pt x="882" y="480"/>
                      </a:lnTo>
                      <a:lnTo>
                        <a:pt x="882" y="478"/>
                      </a:lnTo>
                      <a:lnTo>
                        <a:pt x="886" y="470"/>
                      </a:lnTo>
                      <a:lnTo>
                        <a:pt x="894" y="458"/>
                      </a:lnTo>
                      <a:lnTo>
                        <a:pt x="894" y="458"/>
                      </a:lnTo>
                      <a:lnTo>
                        <a:pt x="914" y="434"/>
                      </a:lnTo>
                      <a:lnTo>
                        <a:pt x="924" y="424"/>
                      </a:lnTo>
                      <a:lnTo>
                        <a:pt x="930" y="420"/>
                      </a:lnTo>
                      <a:lnTo>
                        <a:pt x="936" y="418"/>
                      </a:lnTo>
                      <a:lnTo>
                        <a:pt x="936" y="418"/>
                      </a:lnTo>
                      <a:lnTo>
                        <a:pt x="956" y="414"/>
                      </a:lnTo>
                      <a:lnTo>
                        <a:pt x="958" y="412"/>
                      </a:lnTo>
                      <a:lnTo>
                        <a:pt x="958" y="412"/>
                      </a:lnTo>
                      <a:lnTo>
                        <a:pt x="948" y="406"/>
                      </a:lnTo>
                      <a:lnTo>
                        <a:pt x="948" y="406"/>
                      </a:lnTo>
                      <a:lnTo>
                        <a:pt x="938" y="406"/>
                      </a:lnTo>
                      <a:lnTo>
                        <a:pt x="928" y="406"/>
                      </a:lnTo>
                      <a:lnTo>
                        <a:pt x="912" y="410"/>
                      </a:lnTo>
                      <a:lnTo>
                        <a:pt x="906" y="412"/>
                      </a:lnTo>
                      <a:lnTo>
                        <a:pt x="902" y="410"/>
                      </a:lnTo>
                      <a:lnTo>
                        <a:pt x="904" y="406"/>
                      </a:lnTo>
                      <a:lnTo>
                        <a:pt x="908" y="396"/>
                      </a:lnTo>
                      <a:lnTo>
                        <a:pt x="908" y="396"/>
                      </a:lnTo>
                      <a:lnTo>
                        <a:pt x="916" y="382"/>
                      </a:lnTo>
                      <a:lnTo>
                        <a:pt x="916" y="378"/>
                      </a:lnTo>
                      <a:lnTo>
                        <a:pt x="914" y="380"/>
                      </a:lnTo>
                      <a:lnTo>
                        <a:pt x="902" y="384"/>
                      </a:lnTo>
                      <a:lnTo>
                        <a:pt x="880" y="394"/>
                      </a:lnTo>
                      <a:lnTo>
                        <a:pt x="880" y="394"/>
                      </a:lnTo>
                      <a:lnTo>
                        <a:pt x="842" y="406"/>
                      </a:lnTo>
                      <a:lnTo>
                        <a:pt x="820" y="412"/>
                      </a:lnTo>
                      <a:lnTo>
                        <a:pt x="820" y="412"/>
                      </a:lnTo>
                      <a:lnTo>
                        <a:pt x="792" y="420"/>
                      </a:lnTo>
                      <a:lnTo>
                        <a:pt x="788" y="420"/>
                      </a:lnTo>
                      <a:lnTo>
                        <a:pt x="788" y="418"/>
                      </a:lnTo>
                      <a:lnTo>
                        <a:pt x="808" y="404"/>
                      </a:lnTo>
                      <a:lnTo>
                        <a:pt x="808" y="404"/>
                      </a:lnTo>
                      <a:lnTo>
                        <a:pt x="840" y="386"/>
                      </a:lnTo>
                      <a:lnTo>
                        <a:pt x="862" y="374"/>
                      </a:lnTo>
                      <a:lnTo>
                        <a:pt x="886" y="362"/>
                      </a:lnTo>
                      <a:lnTo>
                        <a:pt x="886" y="362"/>
                      </a:lnTo>
                      <a:lnTo>
                        <a:pt x="886" y="360"/>
                      </a:lnTo>
                      <a:lnTo>
                        <a:pt x="884" y="360"/>
                      </a:lnTo>
                      <a:lnTo>
                        <a:pt x="876" y="360"/>
                      </a:lnTo>
                      <a:lnTo>
                        <a:pt x="872" y="360"/>
                      </a:lnTo>
                      <a:lnTo>
                        <a:pt x="872" y="358"/>
                      </a:lnTo>
                      <a:lnTo>
                        <a:pt x="874" y="352"/>
                      </a:lnTo>
                      <a:lnTo>
                        <a:pt x="882" y="344"/>
                      </a:lnTo>
                      <a:lnTo>
                        <a:pt x="882" y="344"/>
                      </a:lnTo>
                      <a:lnTo>
                        <a:pt x="892" y="336"/>
                      </a:lnTo>
                      <a:lnTo>
                        <a:pt x="900" y="332"/>
                      </a:lnTo>
                      <a:lnTo>
                        <a:pt x="906" y="330"/>
                      </a:lnTo>
                      <a:lnTo>
                        <a:pt x="908" y="330"/>
                      </a:lnTo>
                      <a:lnTo>
                        <a:pt x="910" y="328"/>
                      </a:lnTo>
                      <a:lnTo>
                        <a:pt x="912" y="318"/>
                      </a:lnTo>
                      <a:lnTo>
                        <a:pt x="912" y="318"/>
                      </a:lnTo>
                      <a:lnTo>
                        <a:pt x="916" y="302"/>
                      </a:lnTo>
                      <a:lnTo>
                        <a:pt x="918" y="290"/>
                      </a:lnTo>
                      <a:lnTo>
                        <a:pt x="918" y="286"/>
                      </a:lnTo>
                      <a:lnTo>
                        <a:pt x="920" y="282"/>
                      </a:lnTo>
                      <a:lnTo>
                        <a:pt x="924" y="278"/>
                      </a:lnTo>
                      <a:lnTo>
                        <a:pt x="930" y="276"/>
                      </a:lnTo>
                      <a:lnTo>
                        <a:pt x="930" y="276"/>
                      </a:lnTo>
                      <a:lnTo>
                        <a:pt x="940" y="272"/>
                      </a:lnTo>
                      <a:lnTo>
                        <a:pt x="944" y="272"/>
                      </a:lnTo>
                      <a:lnTo>
                        <a:pt x="948" y="276"/>
                      </a:lnTo>
                      <a:lnTo>
                        <a:pt x="956" y="288"/>
                      </a:lnTo>
                      <a:lnTo>
                        <a:pt x="956" y="288"/>
                      </a:lnTo>
                      <a:lnTo>
                        <a:pt x="966" y="306"/>
                      </a:lnTo>
                      <a:lnTo>
                        <a:pt x="974" y="318"/>
                      </a:lnTo>
                      <a:lnTo>
                        <a:pt x="978" y="324"/>
                      </a:lnTo>
                      <a:lnTo>
                        <a:pt x="984" y="326"/>
                      </a:lnTo>
                      <a:lnTo>
                        <a:pt x="992" y="328"/>
                      </a:lnTo>
                      <a:lnTo>
                        <a:pt x="1004" y="328"/>
                      </a:lnTo>
                      <a:lnTo>
                        <a:pt x="1004" y="328"/>
                      </a:lnTo>
                      <a:lnTo>
                        <a:pt x="1028" y="322"/>
                      </a:lnTo>
                      <a:lnTo>
                        <a:pt x="1044" y="318"/>
                      </a:lnTo>
                      <a:lnTo>
                        <a:pt x="1046" y="316"/>
                      </a:lnTo>
                      <a:lnTo>
                        <a:pt x="1046" y="314"/>
                      </a:lnTo>
                      <a:lnTo>
                        <a:pt x="1040" y="312"/>
                      </a:lnTo>
                      <a:lnTo>
                        <a:pt x="1030" y="308"/>
                      </a:lnTo>
                      <a:lnTo>
                        <a:pt x="1030" y="308"/>
                      </a:lnTo>
                      <a:lnTo>
                        <a:pt x="1024" y="306"/>
                      </a:lnTo>
                      <a:lnTo>
                        <a:pt x="1018" y="302"/>
                      </a:lnTo>
                      <a:lnTo>
                        <a:pt x="1010" y="294"/>
                      </a:lnTo>
                      <a:lnTo>
                        <a:pt x="1004" y="284"/>
                      </a:lnTo>
                      <a:lnTo>
                        <a:pt x="1002" y="272"/>
                      </a:lnTo>
                      <a:lnTo>
                        <a:pt x="1002" y="262"/>
                      </a:lnTo>
                      <a:lnTo>
                        <a:pt x="1004" y="254"/>
                      </a:lnTo>
                      <a:lnTo>
                        <a:pt x="1006" y="248"/>
                      </a:lnTo>
                      <a:lnTo>
                        <a:pt x="1008" y="244"/>
                      </a:lnTo>
                      <a:lnTo>
                        <a:pt x="1008" y="244"/>
                      </a:lnTo>
                      <a:lnTo>
                        <a:pt x="1012" y="244"/>
                      </a:lnTo>
                      <a:lnTo>
                        <a:pt x="1012" y="246"/>
                      </a:lnTo>
                      <a:lnTo>
                        <a:pt x="1016" y="250"/>
                      </a:lnTo>
                      <a:lnTo>
                        <a:pt x="1020" y="256"/>
                      </a:lnTo>
                      <a:lnTo>
                        <a:pt x="1028" y="262"/>
                      </a:lnTo>
                      <a:lnTo>
                        <a:pt x="1028" y="262"/>
                      </a:lnTo>
                      <a:lnTo>
                        <a:pt x="1038" y="266"/>
                      </a:lnTo>
                      <a:lnTo>
                        <a:pt x="1050" y="268"/>
                      </a:lnTo>
                      <a:lnTo>
                        <a:pt x="1060" y="266"/>
                      </a:lnTo>
                      <a:lnTo>
                        <a:pt x="1064" y="264"/>
                      </a:lnTo>
                      <a:lnTo>
                        <a:pt x="1068" y="260"/>
                      </a:lnTo>
                      <a:lnTo>
                        <a:pt x="1068" y="260"/>
                      </a:lnTo>
                      <a:lnTo>
                        <a:pt x="1072" y="258"/>
                      </a:lnTo>
                      <a:lnTo>
                        <a:pt x="1074" y="260"/>
                      </a:lnTo>
                      <a:lnTo>
                        <a:pt x="1080" y="268"/>
                      </a:lnTo>
                      <a:lnTo>
                        <a:pt x="1082" y="272"/>
                      </a:lnTo>
                      <a:lnTo>
                        <a:pt x="1084" y="274"/>
                      </a:lnTo>
                      <a:lnTo>
                        <a:pt x="1084" y="272"/>
                      </a:lnTo>
                      <a:lnTo>
                        <a:pt x="1086" y="264"/>
                      </a:lnTo>
                      <a:lnTo>
                        <a:pt x="1086" y="264"/>
                      </a:lnTo>
                      <a:lnTo>
                        <a:pt x="1088" y="244"/>
                      </a:lnTo>
                      <a:lnTo>
                        <a:pt x="1092" y="234"/>
                      </a:lnTo>
                      <a:lnTo>
                        <a:pt x="1094" y="226"/>
                      </a:lnTo>
                      <a:lnTo>
                        <a:pt x="1100" y="216"/>
                      </a:lnTo>
                      <a:lnTo>
                        <a:pt x="1108" y="210"/>
                      </a:lnTo>
                      <a:lnTo>
                        <a:pt x="1118" y="202"/>
                      </a:lnTo>
                      <a:lnTo>
                        <a:pt x="1130" y="196"/>
                      </a:lnTo>
                      <a:lnTo>
                        <a:pt x="1130" y="196"/>
                      </a:lnTo>
                      <a:lnTo>
                        <a:pt x="1152" y="186"/>
                      </a:lnTo>
                      <a:lnTo>
                        <a:pt x="1160" y="184"/>
                      </a:lnTo>
                      <a:lnTo>
                        <a:pt x="1164" y="184"/>
                      </a:lnTo>
                      <a:lnTo>
                        <a:pt x="1168" y="184"/>
                      </a:lnTo>
                      <a:lnTo>
                        <a:pt x="1172" y="188"/>
                      </a:lnTo>
                      <a:lnTo>
                        <a:pt x="1172" y="196"/>
                      </a:lnTo>
                      <a:lnTo>
                        <a:pt x="1174" y="206"/>
                      </a:lnTo>
                      <a:lnTo>
                        <a:pt x="1174" y="206"/>
                      </a:lnTo>
                      <a:lnTo>
                        <a:pt x="1172" y="216"/>
                      </a:lnTo>
                      <a:lnTo>
                        <a:pt x="1170" y="226"/>
                      </a:lnTo>
                      <a:lnTo>
                        <a:pt x="1162" y="242"/>
                      </a:lnTo>
                      <a:lnTo>
                        <a:pt x="1156" y="254"/>
                      </a:lnTo>
                      <a:lnTo>
                        <a:pt x="1156" y="256"/>
                      </a:lnTo>
                      <a:lnTo>
                        <a:pt x="1156" y="260"/>
                      </a:lnTo>
                      <a:lnTo>
                        <a:pt x="1156" y="260"/>
                      </a:lnTo>
                      <a:lnTo>
                        <a:pt x="1160" y="258"/>
                      </a:lnTo>
                      <a:lnTo>
                        <a:pt x="1164" y="256"/>
                      </a:lnTo>
                      <a:lnTo>
                        <a:pt x="1176" y="242"/>
                      </a:lnTo>
                      <a:lnTo>
                        <a:pt x="1186" y="226"/>
                      </a:lnTo>
                      <a:lnTo>
                        <a:pt x="1188" y="218"/>
                      </a:lnTo>
                      <a:lnTo>
                        <a:pt x="1190" y="210"/>
                      </a:lnTo>
                      <a:lnTo>
                        <a:pt x="1190" y="210"/>
                      </a:lnTo>
                      <a:lnTo>
                        <a:pt x="1192" y="196"/>
                      </a:lnTo>
                      <a:lnTo>
                        <a:pt x="1194" y="180"/>
                      </a:lnTo>
                      <a:lnTo>
                        <a:pt x="1196" y="174"/>
                      </a:lnTo>
                      <a:lnTo>
                        <a:pt x="1200" y="170"/>
                      </a:lnTo>
                      <a:lnTo>
                        <a:pt x="1204" y="170"/>
                      </a:lnTo>
                      <a:lnTo>
                        <a:pt x="1210" y="172"/>
                      </a:lnTo>
                      <a:lnTo>
                        <a:pt x="1210" y="172"/>
                      </a:lnTo>
                      <a:lnTo>
                        <a:pt x="1220" y="176"/>
                      </a:lnTo>
                      <a:lnTo>
                        <a:pt x="1228" y="178"/>
                      </a:lnTo>
                      <a:lnTo>
                        <a:pt x="1234" y="180"/>
                      </a:lnTo>
                      <a:lnTo>
                        <a:pt x="1242" y="190"/>
                      </a:lnTo>
                      <a:lnTo>
                        <a:pt x="1242" y="190"/>
                      </a:lnTo>
                      <a:lnTo>
                        <a:pt x="1256" y="218"/>
                      </a:lnTo>
                      <a:lnTo>
                        <a:pt x="1260" y="224"/>
                      </a:lnTo>
                      <a:lnTo>
                        <a:pt x="1260" y="226"/>
                      </a:lnTo>
                      <a:lnTo>
                        <a:pt x="1260" y="224"/>
                      </a:lnTo>
                      <a:lnTo>
                        <a:pt x="1260" y="224"/>
                      </a:lnTo>
                      <a:lnTo>
                        <a:pt x="1260" y="200"/>
                      </a:lnTo>
                      <a:lnTo>
                        <a:pt x="1258" y="184"/>
                      </a:lnTo>
                      <a:lnTo>
                        <a:pt x="1254" y="172"/>
                      </a:lnTo>
                      <a:lnTo>
                        <a:pt x="1254" y="172"/>
                      </a:lnTo>
                      <a:lnTo>
                        <a:pt x="1252" y="170"/>
                      </a:lnTo>
                      <a:lnTo>
                        <a:pt x="1250" y="170"/>
                      </a:lnTo>
                      <a:lnTo>
                        <a:pt x="1244" y="170"/>
                      </a:lnTo>
                      <a:lnTo>
                        <a:pt x="1242" y="170"/>
                      </a:lnTo>
                      <a:lnTo>
                        <a:pt x="1242" y="166"/>
                      </a:lnTo>
                      <a:lnTo>
                        <a:pt x="1252" y="152"/>
                      </a:lnTo>
                      <a:lnTo>
                        <a:pt x="1252" y="152"/>
                      </a:lnTo>
                      <a:lnTo>
                        <a:pt x="1258" y="142"/>
                      </a:lnTo>
                      <a:lnTo>
                        <a:pt x="1266" y="134"/>
                      </a:lnTo>
                      <a:lnTo>
                        <a:pt x="1274" y="130"/>
                      </a:lnTo>
                      <a:lnTo>
                        <a:pt x="1282" y="128"/>
                      </a:lnTo>
                      <a:lnTo>
                        <a:pt x="1290" y="126"/>
                      </a:lnTo>
                      <a:lnTo>
                        <a:pt x="1294" y="128"/>
                      </a:lnTo>
                      <a:lnTo>
                        <a:pt x="1298" y="130"/>
                      </a:lnTo>
                      <a:lnTo>
                        <a:pt x="1300" y="132"/>
                      </a:lnTo>
                      <a:lnTo>
                        <a:pt x="1300" y="132"/>
                      </a:lnTo>
                      <a:lnTo>
                        <a:pt x="1298" y="138"/>
                      </a:lnTo>
                      <a:lnTo>
                        <a:pt x="1294" y="150"/>
                      </a:lnTo>
                      <a:lnTo>
                        <a:pt x="1292" y="156"/>
                      </a:lnTo>
                      <a:lnTo>
                        <a:pt x="1292" y="162"/>
                      </a:lnTo>
                      <a:lnTo>
                        <a:pt x="1296" y="170"/>
                      </a:lnTo>
                      <a:lnTo>
                        <a:pt x="1300" y="178"/>
                      </a:lnTo>
                      <a:lnTo>
                        <a:pt x="1300" y="178"/>
                      </a:lnTo>
                      <a:lnTo>
                        <a:pt x="1308" y="184"/>
                      </a:lnTo>
                      <a:lnTo>
                        <a:pt x="1312" y="184"/>
                      </a:lnTo>
                      <a:lnTo>
                        <a:pt x="1316" y="182"/>
                      </a:lnTo>
                      <a:lnTo>
                        <a:pt x="1320" y="176"/>
                      </a:lnTo>
                      <a:lnTo>
                        <a:pt x="1324" y="164"/>
                      </a:lnTo>
                      <a:lnTo>
                        <a:pt x="1324" y="158"/>
                      </a:lnTo>
                      <a:lnTo>
                        <a:pt x="1324" y="158"/>
                      </a:lnTo>
                      <a:lnTo>
                        <a:pt x="1320" y="160"/>
                      </a:lnTo>
                      <a:lnTo>
                        <a:pt x="1316" y="160"/>
                      </a:lnTo>
                      <a:lnTo>
                        <a:pt x="1314" y="158"/>
                      </a:lnTo>
                      <a:lnTo>
                        <a:pt x="1310" y="156"/>
                      </a:lnTo>
                      <a:lnTo>
                        <a:pt x="1310" y="152"/>
                      </a:lnTo>
                      <a:lnTo>
                        <a:pt x="1310" y="144"/>
                      </a:lnTo>
                      <a:lnTo>
                        <a:pt x="1316" y="134"/>
                      </a:lnTo>
                      <a:lnTo>
                        <a:pt x="1316" y="134"/>
                      </a:lnTo>
                      <a:lnTo>
                        <a:pt x="1326" y="114"/>
                      </a:lnTo>
                      <a:lnTo>
                        <a:pt x="1328" y="104"/>
                      </a:lnTo>
                      <a:lnTo>
                        <a:pt x="1328" y="102"/>
                      </a:lnTo>
                      <a:lnTo>
                        <a:pt x="1326" y="100"/>
                      </a:lnTo>
                      <a:lnTo>
                        <a:pt x="1326" y="100"/>
                      </a:lnTo>
                      <a:lnTo>
                        <a:pt x="1328" y="96"/>
                      </a:lnTo>
                      <a:lnTo>
                        <a:pt x="1334" y="86"/>
                      </a:lnTo>
                      <a:lnTo>
                        <a:pt x="1340" y="80"/>
                      </a:lnTo>
                      <a:lnTo>
                        <a:pt x="1346" y="74"/>
                      </a:lnTo>
                      <a:lnTo>
                        <a:pt x="1356" y="70"/>
                      </a:lnTo>
                      <a:lnTo>
                        <a:pt x="1368" y="66"/>
                      </a:lnTo>
                      <a:lnTo>
                        <a:pt x="1368" y="66"/>
                      </a:lnTo>
                      <a:lnTo>
                        <a:pt x="1378" y="62"/>
                      </a:lnTo>
                      <a:lnTo>
                        <a:pt x="1386" y="60"/>
                      </a:lnTo>
                      <a:lnTo>
                        <a:pt x="1398" y="52"/>
                      </a:lnTo>
                      <a:lnTo>
                        <a:pt x="1406" y="48"/>
                      </a:lnTo>
                      <a:lnTo>
                        <a:pt x="1410" y="48"/>
                      </a:lnTo>
                      <a:lnTo>
                        <a:pt x="1414" y="50"/>
                      </a:lnTo>
                      <a:lnTo>
                        <a:pt x="1414" y="50"/>
                      </a:lnTo>
                      <a:lnTo>
                        <a:pt x="1418" y="54"/>
                      </a:lnTo>
                      <a:lnTo>
                        <a:pt x="1420" y="60"/>
                      </a:lnTo>
                      <a:lnTo>
                        <a:pt x="1420" y="68"/>
                      </a:lnTo>
                      <a:lnTo>
                        <a:pt x="1418" y="76"/>
                      </a:lnTo>
                      <a:lnTo>
                        <a:pt x="1410" y="92"/>
                      </a:lnTo>
                      <a:lnTo>
                        <a:pt x="1402" y="108"/>
                      </a:lnTo>
                      <a:lnTo>
                        <a:pt x="1402" y="108"/>
                      </a:lnTo>
                      <a:lnTo>
                        <a:pt x="1396" y="120"/>
                      </a:lnTo>
                      <a:lnTo>
                        <a:pt x="1394" y="132"/>
                      </a:lnTo>
                      <a:lnTo>
                        <a:pt x="1394" y="142"/>
                      </a:lnTo>
                      <a:lnTo>
                        <a:pt x="1398" y="152"/>
                      </a:lnTo>
                      <a:lnTo>
                        <a:pt x="1398" y="152"/>
                      </a:lnTo>
                      <a:lnTo>
                        <a:pt x="1398" y="160"/>
                      </a:lnTo>
                      <a:lnTo>
                        <a:pt x="1398" y="170"/>
                      </a:lnTo>
                      <a:lnTo>
                        <a:pt x="1392" y="190"/>
                      </a:lnTo>
                      <a:lnTo>
                        <a:pt x="1392" y="198"/>
                      </a:lnTo>
                      <a:lnTo>
                        <a:pt x="1392" y="200"/>
                      </a:lnTo>
                      <a:lnTo>
                        <a:pt x="1394" y="200"/>
                      </a:lnTo>
                      <a:lnTo>
                        <a:pt x="1398" y="196"/>
                      </a:lnTo>
                      <a:lnTo>
                        <a:pt x="1408" y="184"/>
                      </a:lnTo>
                      <a:lnTo>
                        <a:pt x="1408" y="184"/>
                      </a:lnTo>
                      <a:lnTo>
                        <a:pt x="1428" y="158"/>
                      </a:lnTo>
                      <a:lnTo>
                        <a:pt x="1436" y="142"/>
                      </a:lnTo>
                      <a:lnTo>
                        <a:pt x="1442" y="126"/>
                      </a:lnTo>
                      <a:lnTo>
                        <a:pt x="1446" y="106"/>
                      </a:lnTo>
                      <a:lnTo>
                        <a:pt x="1446" y="106"/>
                      </a:lnTo>
                      <a:lnTo>
                        <a:pt x="1454" y="80"/>
                      </a:lnTo>
                      <a:lnTo>
                        <a:pt x="1464" y="58"/>
                      </a:lnTo>
                      <a:lnTo>
                        <a:pt x="1470" y="50"/>
                      </a:lnTo>
                      <a:lnTo>
                        <a:pt x="1476" y="44"/>
                      </a:lnTo>
                      <a:lnTo>
                        <a:pt x="1482" y="38"/>
                      </a:lnTo>
                      <a:lnTo>
                        <a:pt x="1488" y="36"/>
                      </a:lnTo>
                      <a:lnTo>
                        <a:pt x="1488" y="36"/>
                      </a:lnTo>
                      <a:lnTo>
                        <a:pt x="1492" y="38"/>
                      </a:lnTo>
                      <a:lnTo>
                        <a:pt x="1496" y="40"/>
                      </a:lnTo>
                      <a:lnTo>
                        <a:pt x="1496" y="44"/>
                      </a:lnTo>
                      <a:lnTo>
                        <a:pt x="1496" y="50"/>
                      </a:lnTo>
                      <a:lnTo>
                        <a:pt x="1494" y="64"/>
                      </a:lnTo>
                      <a:lnTo>
                        <a:pt x="1490" y="72"/>
                      </a:lnTo>
                      <a:lnTo>
                        <a:pt x="1490" y="72"/>
                      </a:lnTo>
                      <a:lnTo>
                        <a:pt x="1488" y="78"/>
                      </a:lnTo>
                      <a:lnTo>
                        <a:pt x="1488" y="80"/>
                      </a:lnTo>
                      <a:lnTo>
                        <a:pt x="1488" y="82"/>
                      </a:lnTo>
                      <a:lnTo>
                        <a:pt x="1494" y="76"/>
                      </a:lnTo>
                      <a:lnTo>
                        <a:pt x="1502" y="62"/>
                      </a:lnTo>
                      <a:lnTo>
                        <a:pt x="1502" y="62"/>
                      </a:lnTo>
                      <a:lnTo>
                        <a:pt x="1506" y="50"/>
                      </a:lnTo>
                      <a:lnTo>
                        <a:pt x="1508" y="40"/>
                      </a:lnTo>
                      <a:lnTo>
                        <a:pt x="1508" y="24"/>
                      </a:lnTo>
                      <a:lnTo>
                        <a:pt x="1510" y="16"/>
                      </a:lnTo>
                      <a:lnTo>
                        <a:pt x="1512" y="12"/>
                      </a:lnTo>
                      <a:lnTo>
                        <a:pt x="1520" y="6"/>
                      </a:lnTo>
                      <a:lnTo>
                        <a:pt x="1530" y="2"/>
                      </a:lnTo>
                      <a:lnTo>
                        <a:pt x="1530" y="2"/>
                      </a:lnTo>
                      <a:lnTo>
                        <a:pt x="1542" y="0"/>
                      </a:lnTo>
                      <a:lnTo>
                        <a:pt x="1552" y="2"/>
                      </a:lnTo>
                      <a:lnTo>
                        <a:pt x="1560" y="6"/>
                      </a:lnTo>
                      <a:lnTo>
                        <a:pt x="1564" y="12"/>
                      </a:lnTo>
                      <a:lnTo>
                        <a:pt x="1566" y="18"/>
                      </a:lnTo>
                      <a:lnTo>
                        <a:pt x="1564" y="26"/>
                      </a:lnTo>
                      <a:lnTo>
                        <a:pt x="1562" y="34"/>
                      </a:lnTo>
                      <a:lnTo>
                        <a:pt x="1556" y="44"/>
                      </a:lnTo>
                      <a:lnTo>
                        <a:pt x="1556" y="44"/>
                      </a:lnTo>
                      <a:lnTo>
                        <a:pt x="1546" y="60"/>
                      </a:lnTo>
                      <a:lnTo>
                        <a:pt x="1536" y="74"/>
                      </a:lnTo>
                      <a:lnTo>
                        <a:pt x="1534" y="80"/>
                      </a:lnTo>
                      <a:lnTo>
                        <a:pt x="1534" y="86"/>
                      </a:lnTo>
                      <a:lnTo>
                        <a:pt x="1536" y="92"/>
                      </a:lnTo>
                      <a:lnTo>
                        <a:pt x="1540" y="98"/>
                      </a:lnTo>
                      <a:lnTo>
                        <a:pt x="1540" y="98"/>
                      </a:lnTo>
                      <a:lnTo>
                        <a:pt x="1544" y="106"/>
                      </a:lnTo>
                      <a:lnTo>
                        <a:pt x="1548" y="116"/>
                      </a:lnTo>
                      <a:lnTo>
                        <a:pt x="1554" y="138"/>
                      </a:lnTo>
                      <a:lnTo>
                        <a:pt x="1558" y="144"/>
                      </a:lnTo>
                      <a:lnTo>
                        <a:pt x="1560" y="148"/>
                      </a:lnTo>
                      <a:lnTo>
                        <a:pt x="1562" y="146"/>
                      </a:lnTo>
                      <a:lnTo>
                        <a:pt x="1564" y="144"/>
                      </a:lnTo>
                      <a:lnTo>
                        <a:pt x="1568" y="134"/>
                      </a:lnTo>
                      <a:lnTo>
                        <a:pt x="1568" y="134"/>
                      </a:lnTo>
                      <a:lnTo>
                        <a:pt x="1572" y="106"/>
                      </a:lnTo>
                      <a:lnTo>
                        <a:pt x="1576" y="86"/>
                      </a:lnTo>
                      <a:lnTo>
                        <a:pt x="1578" y="78"/>
                      </a:lnTo>
                      <a:lnTo>
                        <a:pt x="1582" y="70"/>
                      </a:lnTo>
                      <a:lnTo>
                        <a:pt x="1586" y="62"/>
                      </a:lnTo>
                      <a:lnTo>
                        <a:pt x="1594" y="54"/>
                      </a:lnTo>
                      <a:lnTo>
                        <a:pt x="1594" y="54"/>
                      </a:lnTo>
                      <a:lnTo>
                        <a:pt x="1602" y="48"/>
                      </a:lnTo>
                      <a:lnTo>
                        <a:pt x="1610" y="46"/>
                      </a:lnTo>
                      <a:lnTo>
                        <a:pt x="1618" y="44"/>
                      </a:lnTo>
                      <a:lnTo>
                        <a:pt x="1624" y="46"/>
                      </a:lnTo>
                      <a:lnTo>
                        <a:pt x="1630" y="48"/>
                      </a:lnTo>
                      <a:lnTo>
                        <a:pt x="1636" y="50"/>
                      </a:lnTo>
                      <a:lnTo>
                        <a:pt x="1640" y="56"/>
                      </a:lnTo>
                      <a:lnTo>
                        <a:pt x="1642" y="60"/>
                      </a:lnTo>
                      <a:lnTo>
                        <a:pt x="1642" y="60"/>
                      </a:lnTo>
                      <a:lnTo>
                        <a:pt x="1646" y="66"/>
                      </a:lnTo>
                      <a:lnTo>
                        <a:pt x="1654" y="72"/>
                      </a:lnTo>
                      <a:lnTo>
                        <a:pt x="1678" y="82"/>
                      </a:lnTo>
                      <a:lnTo>
                        <a:pt x="1688" y="88"/>
                      </a:lnTo>
                      <a:lnTo>
                        <a:pt x="1696" y="94"/>
                      </a:lnTo>
                      <a:lnTo>
                        <a:pt x="1698" y="98"/>
                      </a:lnTo>
                      <a:lnTo>
                        <a:pt x="1700" y="100"/>
                      </a:lnTo>
                      <a:lnTo>
                        <a:pt x="1698" y="104"/>
                      </a:lnTo>
                      <a:lnTo>
                        <a:pt x="1696" y="108"/>
                      </a:lnTo>
                      <a:lnTo>
                        <a:pt x="1696" y="108"/>
                      </a:lnTo>
                      <a:lnTo>
                        <a:pt x="1678" y="122"/>
                      </a:lnTo>
                      <a:lnTo>
                        <a:pt x="1658" y="136"/>
                      </a:lnTo>
                      <a:lnTo>
                        <a:pt x="1640" y="148"/>
                      </a:lnTo>
                      <a:lnTo>
                        <a:pt x="1624" y="154"/>
                      </a:lnTo>
                      <a:lnTo>
                        <a:pt x="1624" y="154"/>
                      </a:lnTo>
                      <a:lnTo>
                        <a:pt x="1614" y="154"/>
                      </a:lnTo>
                      <a:lnTo>
                        <a:pt x="1604" y="152"/>
                      </a:lnTo>
                      <a:lnTo>
                        <a:pt x="1600" y="152"/>
                      </a:lnTo>
                      <a:lnTo>
                        <a:pt x="1598" y="152"/>
                      </a:lnTo>
                      <a:lnTo>
                        <a:pt x="1598" y="156"/>
                      </a:lnTo>
                      <a:lnTo>
                        <a:pt x="1600" y="160"/>
                      </a:lnTo>
                      <a:lnTo>
                        <a:pt x="1600" y="160"/>
                      </a:lnTo>
                      <a:lnTo>
                        <a:pt x="1628" y="190"/>
                      </a:lnTo>
                      <a:lnTo>
                        <a:pt x="1646" y="212"/>
                      </a:lnTo>
                      <a:lnTo>
                        <a:pt x="1646" y="212"/>
                      </a:lnTo>
                      <a:lnTo>
                        <a:pt x="1624" y="204"/>
                      </a:lnTo>
                      <a:lnTo>
                        <a:pt x="1596" y="194"/>
                      </a:lnTo>
                      <a:lnTo>
                        <a:pt x="1596" y="194"/>
                      </a:lnTo>
                      <a:lnTo>
                        <a:pt x="1572" y="178"/>
                      </a:lnTo>
                      <a:lnTo>
                        <a:pt x="1558" y="168"/>
                      </a:lnTo>
                      <a:lnTo>
                        <a:pt x="1548" y="164"/>
                      </a:lnTo>
                      <a:lnTo>
                        <a:pt x="1548" y="164"/>
                      </a:lnTo>
                      <a:lnTo>
                        <a:pt x="1528" y="158"/>
                      </a:lnTo>
                      <a:lnTo>
                        <a:pt x="1516" y="158"/>
                      </a:lnTo>
                      <a:lnTo>
                        <a:pt x="1510" y="160"/>
                      </a:lnTo>
                      <a:lnTo>
                        <a:pt x="1504" y="162"/>
                      </a:lnTo>
                      <a:lnTo>
                        <a:pt x="1504" y="162"/>
                      </a:lnTo>
                      <a:lnTo>
                        <a:pt x="1494" y="172"/>
                      </a:lnTo>
                      <a:lnTo>
                        <a:pt x="1480" y="188"/>
                      </a:lnTo>
                      <a:lnTo>
                        <a:pt x="1468" y="206"/>
                      </a:lnTo>
                      <a:lnTo>
                        <a:pt x="1458" y="222"/>
                      </a:lnTo>
                      <a:lnTo>
                        <a:pt x="1458" y="222"/>
                      </a:lnTo>
                      <a:lnTo>
                        <a:pt x="1444" y="252"/>
                      </a:lnTo>
                      <a:lnTo>
                        <a:pt x="1438" y="264"/>
                      </a:lnTo>
                      <a:lnTo>
                        <a:pt x="1436" y="274"/>
                      </a:lnTo>
                      <a:lnTo>
                        <a:pt x="1436" y="274"/>
                      </a:lnTo>
                      <a:lnTo>
                        <a:pt x="1434" y="286"/>
                      </a:lnTo>
                      <a:lnTo>
                        <a:pt x="1432" y="300"/>
                      </a:lnTo>
                      <a:lnTo>
                        <a:pt x="1426" y="330"/>
                      </a:lnTo>
                      <a:lnTo>
                        <a:pt x="1426" y="330"/>
                      </a:lnTo>
                      <a:lnTo>
                        <a:pt x="1418" y="360"/>
                      </a:lnTo>
                      <a:lnTo>
                        <a:pt x="1414" y="374"/>
                      </a:lnTo>
                      <a:lnTo>
                        <a:pt x="1410" y="380"/>
                      </a:lnTo>
                      <a:lnTo>
                        <a:pt x="1408" y="384"/>
                      </a:lnTo>
                      <a:lnTo>
                        <a:pt x="1408" y="384"/>
                      </a:lnTo>
                      <a:lnTo>
                        <a:pt x="1400" y="388"/>
                      </a:lnTo>
                      <a:lnTo>
                        <a:pt x="1394" y="388"/>
                      </a:lnTo>
                      <a:lnTo>
                        <a:pt x="1388" y="386"/>
                      </a:lnTo>
                      <a:lnTo>
                        <a:pt x="1380" y="382"/>
                      </a:lnTo>
                      <a:lnTo>
                        <a:pt x="1380" y="382"/>
                      </a:lnTo>
                      <a:lnTo>
                        <a:pt x="1366" y="378"/>
                      </a:lnTo>
                      <a:lnTo>
                        <a:pt x="1350" y="378"/>
                      </a:lnTo>
                      <a:lnTo>
                        <a:pt x="1334" y="378"/>
                      </a:lnTo>
                      <a:lnTo>
                        <a:pt x="1322" y="378"/>
                      </a:lnTo>
                      <a:lnTo>
                        <a:pt x="1322" y="378"/>
                      </a:lnTo>
                      <a:lnTo>
                        <a:pt x="1310" y="380"/>
                      </a:lnTo>
                      <a:lnTo>
                        <a:pt x="1294" y="380"/>
                      </a:lnTo>
                      <a:lnTo>
                        <a:pt x="1274" y="378"/>
                      </a:lnTo>
                      <a:lnTo>
                        <a:pt x="1274" y="378"/>
                      </a:lnTo>
                      <a:lnTo>
                        <a:pt x="1264" y="340"/>
                      </a:lnTo>
                      <a:lnTo>
                        <a:pt x="1258" y="310"/>
                      </a:lnTo>
                      <a:lnTo>
                        <a:pt x="1252" y="296"/>
                      </a:lnTo>
                      <a:lnTo>
                        <a:pt x="1252" y="296"/>
                      </a:lnTo>
                      <a:lnTo>
                        <a:pt x="1250" y="288"/>
                      </a:lnTo>
                      <a:lnTo>
                        <a:pt x="1244" y="278"/>
                      </a:lnTo>
                      <a:lnTo>
                        <a:pt x="1238" y="260"/>
                      </a:lnTo>
                      <a:lnTo>
                        <a:pt x="1238" y="260"/>
                      </a:lnTo>
                      <a:lnTo>
                        <a:pt x="1236" y="254"/>
                      </a:lnTo>
                      <a:lnTo>
                        <a:pt x="1230" y="248"/>
                      </a:lnTo>
                      <a:lnTo>
                        <a:pt x="1228" y="248"/>
                      </a:lnTo>
                      <a:lnTo>
                        <a:pt x="1224" y="248"/>
                      </a:lnTo>
                      <a:lnTo>
                        <a:pt x="1220" y="250"/>
                      </a:lnTo>
                      <a:lnTo>
                        <a:pt x="1216" y="256"/>
                      </a:lnTo>
                      <a:lnTo>
                        <a:pt x="1216" y="256"/>
                      </a:lnTo>
                      <a:lnTo>
                        <a:pt x="1188" y="296"/>
                      </a:lnTo>
                      <a:lnTo>
                        <a:pt x="1168" y="330"/>
                      </a:lnTo>
                      <a:lnTo>
                        <a:pt x="1168" y="330"/>
                      </a:lnTo>
                      <a:lnTo>
                        <a:pt x="1154" y="348"/>
                      </a:lnTo>
                      <a:lnTo>
                        <a:pt x="1148" y="356"/>
                      </a:lnTo>
                      <a:lnTo>
                        <a:pt x="1148" y="360"/>
                      </a:lnTo>
                      <a:lnTo>
                        <a:pt x="1148" y="362"/>
                      </a:lnTo>
                      <a:lnTo>
                        <a:pt x="1148" y="362"/>
                      </a:lnTo>
                      <a:lnTo>
                        <a:pt x="1156" y="368"/>
                      </a:lnTo>
                      <a:lnTo>
                        <a:pt x="1162" y="370"/>
                      </a:lnTo>
                      <a:lnTo>
                        <a:pt x="1170" y="372"/>
                      </a:lnTo>
                      <a:lnTo>
                        <a:pt x="1170" y="372"/>
                      </a:lnTo>
                      <a:lnTo>
                        <a:pt x="1178" y="376"/>
                      </a:lnTo>
                      <a:lnTo>
                        <a:pt x="1186" y="382"/>
                      </a:lnTo>
                      <a:lnTo>
                        <a:pt x="1188" y="386"/>
                      </a:lnTo>
                      <a:lnTo>
                        <a:pt x="1188" y="388"/>
                      </a:lnTo>
                      <a:lnTo>
                        <a:pt x="1184" y="392"/>
                      </a:lnTo>
                      <a:lnTo>
                        <a:pt x="1180" y="394"/>
                      </a:lnTo>
                      <a:lnTo>
                        <a:pt x="1180" y="394"/>
                      </a:lnTo>
                      <a:lnTo>
                        <a:pt x="1160" y="398"/>
                      </a:lnTo>
                      <a:lnTo>
                        <a:pt x="1132" y="404"/>
                      </a:lnTo>
                      <a:lnTo>
                        <a:pt x="1092" y="410"/>
                      </a:lnTo>
                      <a:lnTo>
                        <a:pt x="1092" y="410"/>
                      </a:lnTo>
                      <a:lnTo>
                        <a:pt x="1062" y="410"/>
                      </a:lnTo>
                      <a:lnTo>
                        <a:pt x="1046" y="410"/>
                      </a:lnTo>
                      <a:lnTo>
                        <a:pt x="1038" y="412"/>
                      </a:lnTo>
                      <a:lnTo>
                        <a:pt x="1038" y="412"/>
                      </a:lnTo>
                      <a:lnTo>
                        <a:pt x="1028" y="416"/>
                      </a:lnTo>
                      <a:lnTo>
                        <a:pt x="1024" y="418"/>
                      </a:lnTo>
                      <a:lnTo>
                        <a:pt x="1024" y="422"/>
                      </a:lnTo>
                      <a:lnTo>
                        <a:pt x="1024" y="422"/>
                      </a:lnTo>
                      <a:lnTo>
                        <a:pt x="1026" y="428"/>
                      </a:lnTo>
                      <a:lnTo>
                        <a:pt x="1028" y="434"/>
                      </a:lnTo>
                      <a:lnTo>
                        <a:pt x="1030" y="442"/>
                      </a:lnTo>
                      <a:lnTo>
                        <a:pt x="1032" y="448"/>
                      </a:lnTo>
                      <a:lnTo>
                        <a:pt x="1032" y="448"/>
                      </a:lnTo>
                      <a:lnTo>
                        <a:pt x="1030" y="456"/>
                      </a:lnTo>
                      <a:lnTo>
                        <a:pt x="1028" y="466"/>
                      </a:lnTo>
                      <a:lnTo>
                        <a:pt x="1024" y="472"/>
                      </a:lnTo>
                      <a:lnTo>
                        <a:pt x="1022" y="474"/>
                      </a:lnTo>
                      <a:lnTo>
                        <a:pt x="1020" y="472"/>
                      </a:lnTo>
                      <a:lnTo>
                        <a:pt x="1020" y="472"/>
                      </a:lnTo>
                      <a:lnTo>
                        <a:pt x="1006" y="462"/>
                      </a:lnTo>
                      <a:lnTo>
                        <a:pt x="1006" y="462"/>
                      </a:lnTo>
                      <a:lnTo>
                        <a:pt x="958" y="522"/>
                      </a:lnTo>
                      <a:lnTo>
                        <a:pt x="958" y="522"/>
                      </a:lnTo>
                      <a:lnTo>
                        <a:pt x="934" y="554"/>
                      </a:lnTo>
                      <a:lnTo>
                        <a:pt x="926" y="566"/>
                      </a:lnTo>
                      <a:lnTo>
                        <a:pt x="920" y="580"/>
                      </a:lnTo>
                      <a:lnTo>
                        <a:pt x="920" y="580"/>
                      </a:lnTo>
                      <a:lnTo>
                        <a:pt x="918" y="590"/>
                      </a:lnTo>
                      <a:lnTo>
                        <a:pt x="918" y="600"/>
                      </a:lnTo>
                      <a:lnTo>
                        <a:pt x="918" y="608"/>
                      </a:lnTo>
                      <a:lnTo>
                        <a:pt x="924" y="616"/>
                      </a:lnTo>
                      <a:lnTo>
                        <a:pt x="924" y="616"/>
                      </a:lnTo>
                      <a:lnTo>
                        <a:pt x="926" y="616"/>
                      </a:lnTo>
                      <a:lnTo>
                        <a:pt x="928" y="618"/>
                      </a:lnTo>
                      <a:lnTo>
                        <a:pt x="928" y="622"/>
                      </a:lnTo>
                      <a:lnTo>
                        <a:pt x="928" y="626"/>
                      </a:lnTo>
                      <a:lnTo>
                        <a:pt x="922" y="632"/>
                      </a:lnTo>
                      <a:lnTo>
                        <a:pt x="916" y="638"/>
                      </a:lnTo>
                      <a:lnTo>
                        <a:pt x="916" y="638"/>
                      </a:lnTo>
                      <a:lnTo>
                        <a:pt x="898" y="654"/>
                      </a:lnTo>
                      <a:lnTo>
                        <a:pt x="886" y="668"/>
                      </a:lnTo>
                      <a:lnTo>
                        <a:pt x="876" y="680"/>
                      </a:lnTo>
                      <a:lnTo>
                        <a:pt x="870" y="692"/>
                      </a:lnTo>
                      <a:lnTo>
                        <a:pt x="870" y="692"/>
                      </a:lnTo>
                      <a:lnTo>
                        <a:pt x="866" y="704"/>
                      </a:lnTo>
                      <a:lnTo>
                        <a:pt x="862" y="716"/>
                      </a:lnTo>
                      <a:lnTo>
                        <a:pt x="856" y="726"/>
                      </a:lnTo>
                      <a:lnTo>
                        <a:pt x="852" y="730"/>
                      </a:lnTo>
                      <a:lnTo>
                        <a:pt x="846" y="732"/>
                      </a:lnTo>
                      <a:lnTo>
                        <a:pt x="846" y="732"/>
                      </a:lnTo>
                      <a:lnTo>
                        <a:pt x="834" y="734"/>
                      </a:lnTo>
                      <a:lnTo>
                        <a:pt x="822" y="732"/>
                      </a:lnTo>
                      <a:lnTo>
                        <a:pt x="812" y="732"/>
                      </a:lnTo>
                      <a:lnTo>
                        <a:pt x="808" y="734"/>
                      </a:lnTo>
                      <a:lnTo>
                        <a:pt x="806" y="736"/>
                      </a:lnTo>
                      <a:lnTo>
                        <a:pt x="806" y="736"/>
                      </a:lnTo>
                      <a:lnTo>
                        <a:pt x="802" y="742"/>
                      </a:lnTo>
                      <a:lnTo>
                        <a:pt x="798" y="750"/>
                      </a:lnTo>
                      <a:lnTo>
                        <a:pt x="794" y="760"/>
                      </a:lnTo>
                      <a:lnTo>
                        <a:pt x="794" y="770"/>
                      </a:lnTo>
                      <a:lnTo>
                        <a:pt x="794" y="770"/>
                      </a:lnTo>
                      <a:lnTo>
                        <a:pt x="796" y="818"/>
                      </a:lnTo>
                      <a:lnTo>
                        <a:pt x="798" y="844"/>
                      </a:lnTo>
                      <a:lnTo>
                        <a:pt x="798" y="858"/>
                      </a:lnTo>
                      <a:lnTo>
                        <a:pt x="798" y="858"/>
                      </a:lnTo>
                      <a:lnTo>
                        <a:pt x="784" y="880"/>
                      </a:lnTo>
                      <a:lnTo>
                        <a:pt x="752" y="920"/>
                      </a:lnTo>
                      <a:lnTo>
                        <a:pt x="708" y="978"/>
                      </a:lnTo>
                      <a:lnTo>
                        <a:pt x="708" y="978"/>
                      </a:lnTo>
                      <a:lnTo>
                        <a:pt x="716" y="986"/>
                      </a:lnTo>
                      <a:lnTo>
                        <a:pt x="730" y="1002"/>
                      </a:lnTo>
                      <a:lnTo>
                        <a:pt x="744" y="1020"/>
                      </a:lnTo>
                      <a:lnTo>
                        <a:pt x="748" y="1028"/>
                      </a:lnTo>
                      <a:lnTo>
                        <a:pt x="748" y="1034"/>
                      </a:lnTo>
                      <a:lnTo>
                        <a:pt x="748" y="1034"/>
                      </a:lnTo>
                      <a:lnTo>
                        <a:pt x="740" y="1052"/>
                      </a:lnTo>
                      <a:lnTo>
                        <a:pt x="734" y="1060"/>
                      </a:lnTo>
                      <a:lnTo>
                        <a:pt x="730" y="1062"/>
                      </a:lnTo>
                      <a:lnTo>
                        <a:pt x="724" y="1064"/>
                      </a:lnTo>
                      <a:lnTo>
                        <a:pt x="724" y="1064"/>
                      </a:lnTo>
                      <a:lnTo>
                        <a:pt x="706" y="1064"/>
                      </a:lnTo>
                      <a:lnTo>
                        <a:pt x="682" y="1062"/>
                      </a:lnTo>
                      <a:lnTo>
                        <a:pt x="654" y="1060"/>
                      </a:lnTo>
                      <a:lnTo>
                        <a:pt x="574" y="1176"/>
                      </a:lnTo>
                      <a:lnTo>
                        <a:pt x="574" y="1176"/>
                      </a:lnTo>
                      <a:lnTo>
                        <a:pt x="570" y="1182"/>
                      </a:lnTo>
                      <a:lnTo>
                        <a:pt x="568" y="1188"/>
                      </a:lnTo>
                      <a:lnTo>
                        <a:pt x="568" y="1188"/>
                      </a:lnTo>
                      <a:lnTo>
                        <a:pt x="568" y="1190"/>
                      </a:lnTo>
                      <a:lnTo>
                        <a:pt x="568" y="1190"/>
                      </a:lnTo>
                      <a:lnTo>
                        <a:pt x="590" y="1192"/>
                      </a:lnTo>
                      <a:lnTo>
                        <a:pt x="590" y="1192"/>
                      </a:lnTo>
                      <a:lnTo>
                        <a:pt x="590" y="1202"/>
                      </a:lnTo>
                      <a:lnTo>
                        <a:pt x="590" y="1212"/>
                      </a:lnTo>
                      <a:lnTo>
                        <a:pt x="584" y="1222"/>
                      </a:lnTo>
                      <a:lnTo>
                        <a:pt x="584" y="1222"/>
                      </a:lnTo>
                      <a:lnTo>
                        <a:pt x="576" y="1238"/>
                      </a:lnTo>
                      <a:lnTo>
                        <a:pt x="568" y="1256"/>
                      </a:lnTo>
                      <a:lnTo>
                        <a:pt x="562" y="1276"/>
                      </a:lnTo>
                      <a:lnTo>
                        <a:pt x="560" y="1290"/>
                      </a:lnTo>
                      <a:lnTo>
                        <a:pt x="560" y="1290"/>
                      </a:lnTo>
                      <a:lnTo>
                        <a:pt x="560" y="1328"/>
                      </a:lnTo>
                      <a:lnTo>
                        <a:pt x="564" y="1370"/>
                      </a:lnTo>
                      <a:lnTo>
                        <a:pt x="564" y="1370"/>
                      </a:lnTo>
                      <a:lnTo>
                        <a:pt x="570" y="1418"/>
                      </a:lnTo>
                      <a:lnTo>
                        <a:pt x="572" y="1448"/>
                      </a:lnTo>
                      <a:lnTo>
                        <a:pt x="574" y="1468"/>
                      </a:lnTo>
                      <a:lnTo>
                        <a:pt x="574" y="1468"/>
                      </a:lnTo>
                      <a:lnTo>
                        <a:pt x="570" y="1484"/>
                      </a:lnTo>
                      <a:lnTo>
                        <a:pt x="566" y="1500"/>
                      </a:lnTo>
                      <a:lnTo>
                        <a:pt x="556" y="1532"/>
                      </a:lnTo>
                      <a:lnTo>
                        <a:pt x="556" y="1532"/>
                      </a:lnTo>
                      <a:lnTo>
                        <a:pt x="552" y="1554"/>
                      </a:lnTo>
                      <a:lnTo>
                        <a:pt x="550" y="1568"/>
                      </a:lnTo>
                      <a:lnTo>
                        <a:pt x="550" y="1586"/>
                      </a:lnTo>
                      <a:lnTo>
                        <a:pt x="550" y="1586"/>
                      </a:lnTo>
                      <a:lnTo>
                        <a:pt x="554" y="1610"/>
                      </a:lnTo>
                      <a:lnTo>
                        <a:pt x="558" y="1630"/>
                      </a:lnTo>
                      <a:lnTo>
                        <a:pt x="560" y="1648"/>
                      </a:lnTo>
                      <a:lnTo>
                        <a:pt x="558" y="1656"/>
                      </a:lnTo>
                      <a:lnTo>
                        <a:pt x="556" y="1662"/>
                      </a:lnTo>
                      <a:lnTo>
                        <a:pt x="556" y="1662"/>
                      </a:lnTo>
                      <a:lnTo>
                        <a:pt x="548" y="1676"/>
                      </a:lnTo>
                      <a:lnTo>
                        <a:pt x="538" y="1692"/>
                      </a:lnTo>
                      <a:lnTo>
                        <a:pt x="526" y="1706"/>
                      </a:lnTo>
                      <a:lnTo>
                        <a:pt x="518" y="1712"/>
                      </a:lnTo>
                      <a:lnTo>
                        <a:pt x="512" y="1716"/>
                      </a:lnTo>
                      <a:lnTo>
                        <a:pt x="512" y="1716"/>
                      </a:lnTo>
                      <a:lnTo>
                        <a:pt x="502" y="1720"/>
                      </a:lnTo>
                      <a:lnTo>
                        <a:pt x="492" y="1726"/>
                      </a:lnTo>
                      <a:lnTo>
                        <a:pt x="486" y="1734"/>
                      </a:lnTo>
                      <a:lnTo>
                        <a:pt x="480" y="1742"/>
                      </a:lnTo>
                      <a:lnTo>
                        <a:pt x="480" y="1742"/>
                      </a:lnTo>
                      <a:lnTo>
                        <a:pt x="474" y="1752"/>
                      </a:lnTo>
                      <a:lnTo>
                        <a:pt x="470" y="1760"/>
                      </a:lnTo>
                      <a:lnTo>
                        <a:pt x="468" y="1770"/>
                      </a:lnTo>
                      <a:lnTo>
                        <a:pt x="468" y="1780"/>
                      </a:lnTo>
                      <a:lnTo>
                        <a:pt x="468" y="1780"/>
                      </a:lnTo>
                      <a:lnTo>
                        <a:pt x="468" y="1802"/>
                      </a:lnTo>
                      <a:lnTo>
                        <a:pt x="468" y="1818"/>
                      </a:lnTo>
                      <a:lnTo>
                        <a:pt x="468" y="1818"/>
                      </a:lnTo>
                      <a:lnTo>
                        <a:pt x="468" y="1842"/>
                      </a:lnTo>
                      <a:lnTo>
                        <a:pt x="466" y="1858"/>
                      </a:lnTo>
                      <a:lnTo>
                        <a:pt x="454" y="185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1" name="Freeform 35">
                  <a:extLst>
                    <a:ext uri="{FF2B5EF4-FFF2-40B4-BE49-F238E27FC236}">
                      <a16:creationId xmlns:a16="http://schemas.microsoft.com/office/drawing/2014/main" id="{F1FC4D1E-B068-40E1-AE03-3FDCC54BA2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7468" y="3534298"/>
                  <a:ext cx="172242" cy="326192"/>
                </a:xfrm>
                <a:custGeom>
                  <a:avLst/>
                  <a:gdLst/>
                  <a:ahLst/>
                  <a:cxnLst>
                    <a:cxn ang="0">
                      <a:pos x="92" y="428"/>
                    </a:cxn>
                    <a:cxn ang="0">
                      <a:pos x="88" y="408"/>
                    </a:cxn>
                    <a:cxn ang="0">
                      <a:pos x="90" y="372"/>
                    </a:cxn>
                    <a:cxn ang="0">
                      <a:pos x="94" y="360"/>
                    </a:cxn>
                    <a:cxn ang="0">
                      <a:pos x="110" y="326"/>
                    </a:cxn>
                    <a:cxn ang="0">
                      <a:pos x="128" y="302"/>
                    </a:cxn>
                    <a:cxn ang="0">
                      <a:pos x="140" y="290"/>
                    </a:cxn>
                    <a:cxn ang="0">
                      <a:pos x="154" y="274"/>
                    </a:cxn>
                    <a:cxn ang="0">
                      <a:pos x="164" y="252"/>
                    </a:cxn>
                    <a:cxn ang="0">
                      <a:pos x="174" y="238"/>
                    </a:cxn>
                    <a:cxn ang="0">
                      <a:pos x="190" y="224"/>
                    </a:cxn>
                    <a:cxn ang="0">
                      <a:pos x="204" y="210"/>
                    </a:cxn>
                    <a:cxn ang="0">
                      <a:pos x="210" y="200"/>
                    </a:cxn>
                    <a:cxn ang="0">
                      <a:pos x="216" y="188"/>
                    </a:cxn>
                    <a:cxn ang="0">
                      <a:pos x="212" y="182"/>
                    </a:cxn>
                    <a:cxn ang="0">
                      <a:pos x="204" y="172"/>
                    </a:cxn>
                    <a:cxn ang="0">
                      <a:pos x="196" y="156"/>
                    </a:cxn>
                    <a:cxn ang="0">
                      <a:pos x="190" y="126"/>
                    </a:cxn>
                    <a:cxn ang="0">
                      <a:pos x="188" y="100"/>
                    </a:cxn>
                    <a:cxn ang="0">
                      <a:pos x="192" y="82"/>
                    </a:cxn>
                    <a:cxn ang="0">
                      <a:pos x="196" y="74"/>
                    </a:cxn>
                    <a:cxn ang="0">
                      <a:pos x="196" y="78"/>
                    </a:cxn>
                    <a:cxn ang="0">
                      <a:pos x="208" y="52"/>
                    </a:cxn>
                    <a:cxn ang="0">
                      <a:pos x="218" y="30"/>
                    </a:cxn>
                    <a:cxn ang="0">
                      <a:pos x="226" y="12"/>
                    </a:cxn>
                    <a:cxn ang="0">
                      <a:pos x="222" y="6"/>
                    </a:cxn>
                    <a:cxn ang="0">
                      <a:pos x="218" y="4"/>
                    </a:cxn>
                    <a:cxn ang="0">
                      <a:pos x="202" y="0"/>
                    </a:cxn>
                    <a:cxn ang="0">
                      <a:pos x="180" y="6"/>
                    </a:cxn>
                    <a:cxn ang="0">
                      <a:pos x="162" y="18"/>
                    </a:cxn>
                    <a:cxn ang="0">
                      <a:pos x="138" y="32"/>
                    </a:cxn>
                    <a:cxn ang="0">
                      <a:pos x="82" y="52"/>
                    </a:cxn>
                    <a:cxn ang="0">
                      <a:pos x="80" y="66"/>
                    </a:cxn>
                    <a:cxn ang="0">
                      <a:pos x="66" y="96"/>
                    </a:cxn>
                    <a:cxn ang="0">
                      <a:pos x="60" y="104"/>
                    </a:cxn>
                    <a:cxn ang="0">
                      <a:pos x="32" y="132"/>
                    </a:cxn>
                    <a:cxn ang="0">
                      <a:pos x="6" y="156"/>
                    </a:cxn>
                    <a:cxn ang="0">
                      <a:pos x="4" y="164"/>
                    </a:cxn>
                    <a:cxn ang="0">
                      <a:pos x="4" y="180"/>
                    </a:cxn>
                    <a:cxn ang="0">
                      <a:pos x="14" y="216"/>
                    </a:cxn>
                    <a:cxn ang="0">
                      <a:pos x="14" y="232"/>
                    </a:cxn>
                    <a:cxn ang="0">
                      <a:pos x="14" y="240"/>
                    </a:cxn>
                    <a:cxn ang="0">
                      <a:pos x="4" y="260"/>
                    </a:cxn>
                    <a:cxn ang="0">
                      <a:pos x="0" y="272"/>
                    </a:cxn>
                    <a:cxn ang="0">
                      <a:pos x="4" y="284"/>
                    </a:cxn>
                    <a:cxn ang="0">
                      <a:pos x="8" y="290"/>
                    </a:cxn>
                    <a:cxn ang="0">
                      <a:pos x="26" y="304"/>
                    </a:cxn>
                    <a:cxn ang="0">
                      <a:pos x="34" y="316"/>
                    </a:cxn>
                    <a:cxn ang="0">
                      <a:pos x="36" y="332"/>
                    </a:cxn>
                    <a:cxn ang="0">
                      <a:pos x="34" y="354"/>
                    </a:cxn>
                    <a:cxn ang="0">
                      <a:pos x="38" y="402"/>
                    </a:cxn>
                  </a:cxnLst>
                  <a:rect l="0" t="0" r="r" b="b"/>
                  <a:pathLst>
                    <a:path w="226" h="428">
                      <a:moveTo>
                        <a:pt x="92" y="428"/>
                      </a:moveTo>
                      <a:lnTo>
                        <a:pt x="92" y="428"/>
                      </a:lnTo>
                      <a:lnTo>
                        <a:pt x="90" y="420"/>
                      </a:lnTo>
                      <a:lnTo>
                        <a:pt x="88" y="408"/>
                      </a:lnTo>
                      <a:lnTo>
                        <a:pt x="88" y="392"/>
                      </a:lnTo>
                      <a:lnTo>
                        <a:pt x="90" y="372"/>
                      </a:lnTo>
                      <a:lnTo>
                        <a:pt x="90" y="372"/>
                      </a:lnTo>
                      <a:lnTo>
                        <a:pt x="94" y="360"/>
                      </a:lnTo>
                      <a:lnTo>
                        <a:pt x="98" y="348"/>
                      </a:lnTo>
                      <a:lnTo>
                        <a:pt x="110" y="326"/>
                      </a:lnTo>
                      <a:lnTo>
                        <a:pt x="122" y="308"/>
                      </a:lnTo>
                      <a:lnTo>
                        <a:pt x="128" y="302"/>
                      </a:lnTo>
                      <a:lnTo>
                        <a:pt x="128" y="302"/>
                      </a:lnTo>
                      <a:lnTo>
                        <a:pt x="140" y="290"/>
                      </a:lnTo>
                      <a:lnTo>
                        <a:pt x="154" y="274"/>
                      </a:lnTo>
                      <a:lnTo>
                        <a:pt x="154" y="274"/>
                      </a:lnTo>
                      <a:lnTo>
                        <a:pt x="160" y="262"/>
                      </a:lnTo>
                      <a:lnTo>
                        <a:pt x="164" y="252"/>
                      </a:lnTo>
                      <a:lnTo>
                        <a:pt x="174" y="238"/>
                      </a:lnTo>
                      <a:lnTo>
                        <a:pt x="174" y="238"/>
                      </a:lnTo>
                      <a:lnTo>
                        <a:pt x="184" y="228"/>
                      </a:lnTo>
                      <a:lnTo>
                        <a:pt x="190" y="224"/>
                      </a:lnTo>
                      <a:lnTo>
                        <a:pt x="196" y="218"/>
                      </a:lnTo>
                      <a:lnTo>
                        <a:pt x="204" y="210"/>
                      </a:lnTo>
                      <a:lnTo>
                        <a:pt x="204" y="210"/>
                      </a:lnTo>
                      <a:lnTo>
                        <a:pt x="210" y="200"/>
                      </a:lnTo>
                      <a:lnTo>
                        <a:pt x="214" y="194"/>
                      </a:lnTo>
                      <a:lnTo>
                        <a:pt x="216" y="188"/>
                      </a:lnTo>
                      <a:lnTo>
                        <a:pt x="212" y="182"/>
                      </a:lnTo>
                      <a:lnTo>
                        <a:pt x="212" y="182"/>
                      </a:lnTo>
                      <a:lnTo>
                        <a:pt x="208" y="176"/>
                      </a:lnTo>
                      <a:lnTo>
                        <a:pt x="204" y="172"/>
                      </a:lnTo>
                      <a:lnTo>
                        <a:pt x="200" y="168"/>
                      </a:lnTo>
                      <a:lnTo>
                        <a:pt x="196" y="156"/>
                      </a:lnTo>
                      <a:lnTo>
                        <a:pt x="196" y="156"/>
                      </a:lnTo>
                      <a:lnTo>
                        <a:pt x="190" y="126"/>
                      </a:lnTo>
                      <a:lnTo>
                        <a:pt x="188" y="100"/>
                      </a:lnTo>
                      <a:lnTo>
                        <a:pt x="188" y="100"/>
                      </a:lnTo>
                      <a:lnTo>
                        <a:pt x="190" y="90"/>
                      </a:lnTo>
                      <a:lnTo>
                        <a:pt x="192" y="82"/>
                      </a:lnTo>
                      <a:lnTo>
                        <a:pt x="196" y="74"/>
                      </a:lnTo>
                      <a:lnTo>
                        <a:pt x="196" y="74"/>
                      </a:lnTo>
                      <a:lnTo>
                        <a:pt x="196" y="76"/>
                      </a:lnTo>
                      <a:lnTo>
                        <a:pt x="196" y="78"/>
                      </a:lnTo>
                      <a:lnTo>
                        <a:pt x="200" y="72"/>
                      </a:lnTo>
                      <a:lnTo>
                        <a:pt x="208" y="52"/>
                      </a:lnTo>
                      <a:lnTo>
                        <a:pt x="208" y="52"/>
                      </a:lnTo>
                      <a:lnTo>
                        <a:pt x="218" y="30"/>
                      </a:lnTo>
                      <a:lnTo>
                        <a:pt x="224" y="16"/>
                      </a:lnTo>
                      <a:lnTo>
                        <a:pt x="226" y="12"/>
                      </a:lnTo>
                      <a:lnTo>
                        <a:pt x="226" y="10"/>
                      </a:lnTo>
                      <a:lnTo>
                        <a:pt x="222" y="6"/>
                      </a:lnTo>
                      <a:lnTo>
                        <a:pt x="218" y="4"/>
                      </a:lnTo>
                      <a:lnTo>
                        <a:pt x="218" y="4"/>
                      </a:lnTo>
                      <a:lnTo>
                        <a:pt x="206" y="0"/>
                      </a:lnTo>
                      <a:lnTo>
                        <a:pt x="202" y="0"/>
                      </a:lnTo>
                      <a:lnTo>
                        <a:pt x="194" y="0"/>
                      </a:lnTo>
                      <a:lnTo>
                        <a:pt x="180" y="6"/>
                      </a:lnTo>
                      <a:lnTo>
                        <a:pt x="162" y="18"/>
                      </a:lnTo>
                      <a:lnTo>
                        <a:pt x="162" y="18"/>
                      </a:lnTo>
                      <a:lnTo>
                        <a:pt x="150" y="26"/>
                      </a:lnTo>
                      <a:lnTo>
                        <a:pt x="138" y="32"/>
                      </a:lnTo>
                      <a:lnTo>
                        <a:pt x="110" y="44"/>
                      </a:lnTo>
                      <a:lnTo>
                        <a:pt x="82" y="52"/>
                      </a:lnTo>
                      <a:lnTo>
                        <a:pt x="82" y="52"/>
                      </a:lnTo>
                      <a:lnTo>
                        <a:pt x="80" y="66"/>
                      </a:lnTo>
                      <a:lnTo>
                        <a:pt x="74" y="80"/>
                      </a:lnTo>
                      <a:lnTo>
                        <a:pt x="66" y="96"/>
                      </a:lnTo>
                      <a:lnTo>
                        <a:pt x="66" y="96"/>
                      </a:lnTo>
                      <a:lnTo>
                        <a:pt x="60" y="104"/>
                      </a:lnTo>
                      <a:lnTo>
                        <a:pt x="52" y="114"/>
                      </a:lnTo>
                      <a:lnTo>
                        <a:pt x="32" y="132"/>
                      </a:lnTo>
                      <a:lnTo>
                        <a:pt x="14" y="148"/>
                      </a:lnTo>
                      <a:lnTo>
                        <a:pt x="6" y="156"/>
                      </a:lnTo>
                      <a:lnTo>
                        <a:pt x="4" y="164"/>
                      </a:lnTo>
                      <a:lnTo>
                        <a:pt x="4" y="164"/>
                      </a:lnTo>
                      <a:lnTo>
                        <a:pt x="4" y="172"/>
                      </a:lnTo>
                      <a:lnTo>
                        <a:pt x="4" y="180"/>
                      </a:lnTo>
                      <a:lnTo>
                        <a:pt x="8" y="198"/>
                      </a:lnTo>
                      <a:lnTo>
                        <a:pt x="14" y="216"/>
                      </a:lnTo>
                      <a:lnTo>
                        <a:pt x="14" y="226"/>
                      </a:lnTo>
                      <a:lnTo>
                        <a:pt x="14" y="232"/>
                      </a:lnTo>
                      <a:lnTo>
                        <a:pt x="14" y="232"/>
                      </a:lnTo>
                      <a:lnTo>
                        <a:pt x="14" y="240"/>
                      </a:lnTo>
                      <a:lnTo>
                        <a:pt x="10" y="248"/>
                      </a:lnTo>
                      <a:lnTo>
                        <a:pt x="4" y="260"/>
                      </a:lnTo>
                      <a:lnTo>
                        <a:pt x="2" y="266"/>
                      </a:lnTo>
                      <a:lnTo>
                        <a:pt x="0" y="272"/>
                      </a:lnTo>
                      <a:lnTo>
                        <a:pt x="0" y="278"/>
                      </a:lnTo>
                      <a:lnTo>
                        <a:pt x="4" y="284"/>
                      </a:lnTo>
                      <a:lnTo>
                        <a:pt x="4" y="284"/>
                      </a:lnTo>
                      <a:lnTo>
                        <a:pt x="8" y="290"/>
                      </a:lnTo>
                      <a:lnTo>
                        <a:pt x="14" y="296"/>
                      </a:lnTo>
                      <a:lnTo>
                        <a:pt x="26" y="304"/>
                      </a:lnTo>
                      <a:lnTo>
                        <a:pt x="30" y="310"/>
                      </a:lnTo>
                      <a:lnTo>
                        <a:pt x="34" y="316"/>
                      </a:lnTo>
                      <a:lnTo>
                        <a:pt x="36" y="324"/>
                      </a:lnTo>
                      <a:lnTo>
                        <a:pt x="36" y="332"/>
                      </a:lnTo>
                      <a:lnTo>
                        <a:pt x="36" y="332"/>
                      </a:lnTo>
                      <a:lnTo>
                        <a:pt x="34" y="354"/>
                      </a:lnTo>
                      <a:lnTo>
                        <a:pt x="34" y="376"/>
                      </a:lnTo>
                      <a:lnTo>
                        <a:pt x="38" y="402"/>
                      </a:lnTo>
                      <a:lnTo>
                        <a:pt x="92" y="42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2" name="Freeform 36">
                  <a:extLst>
                    <a:ext uri="{FF2B5EF4-FFF2-40B4-BE49-F238E27FC236}">
                      <a16:creationId xmlns:a16="http://schemas.microsoft.com/office/drawing/2014/main" id="{7FB14D2C-3F34-4CA7-8DC5-754AA2B099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690" y="3781229"/>
                  <a:ext cx="36582" cy="51825"/>
                </a:xfrm>
                <a:custGeom>
                  <a:avLst/>
                  <a:gdLst/>
                  <a:ahLst/>
                  <a:cxnLst>
                    <a:cxn ang="0">
                      <a:pos x="0" y="22"/>
                    </a:cxn>
                    <a:cxn ang="0">
                      <a:pos x="0" y="22"/>
                    </a:cxn>
                    <a:cxn ang="0">
                      <a:pos x="2" y="30"/>
                    </a:cxn>
                    <a:cxn ang="0">
                      <a:pos x="4" y="44"/>
                    </a:cxn>
                    <a:cxn ang="0">
                      <a:pos x="8" y="58"/>
                    </a:cxn>
                    <a:cxn ang="0">
                      <a:pos x="12" y="62"/>
                    </a:cxn>
                    <a:cxn ang="0">
                      <a:pos x="18" y="64"/>
                    </a:cxn>
                    <a:cxn ang="0">
                      <a:pos x="18" y="64"/>
                    </a:cxn>
                    <a:cxn ang="0">
                      <a:pos x="26" y="68"/>
                    </a:cxn>
                    <a:cxn ang="0">
                      <a:pos x="32" y="68"/>
                    </a:cxn>
                    <a:cxn ang="0">
                      <a:pos x="38" y="66"/>
                    </a:cxn>
                    <a:cxn ang="0">
                      <a:pos x="42" y="60"/>
                    </a:cxn>
                    <a:cxn ang="0">
                      <a:pos x="42" y="60"/>
                    </a:cxn>
                    <a:cxn ang="0">
                      <a:pos x="48" y="50"/>
                    </a:cxn>
                    <a:cxn ang="0">
                      <a:pos x="48" y="44"/>
                    </a:cxn>
                    <a:cxn ang="0">
                      <a:pos x="46" y="38"/>
                    </a:cxn>
                    <a:cxn ang="0">
                      <a:pos x="46" y="38"/>
                    </a:cxn>
                    <a:cxn ang="0">
                      <a:pos x="42" y="24"/>
                    </a:cxn>
                    <a:cxn ang="0">
                      <a:pos x="40" y="16"/>
                    </a:cxn>
                    <a:cxn ang="0">
                      <a:pos x="36" y="8"/>
                    </a:cxn>
                    <a:cxn ang="0">
                      <a:pos x="36" y="8"/>
                    </a:cxn>
                    <a:cxn ang="0">
                      <a:pos x="32" y="4"/>
                    </a:cxn>
                    <a:cxn ang="0">
                      <a:pos x="26" y="2"/>
                    </a:cxn>
                    <a:cxn ang="0">
                      <a:pos x="20" y="0"/>
                    </a:cxn>
                    <a:cxn ang="0">
                      <a:pos x="14" y="2"/>
                    </a:cxn>
                    <a:cxn ang="0">
                      <a:pos x="10" y="4"/>
                    </a:cxn>
                    <a:cxn ang="0">
                      <a:pos x="4" y="8"/>
                    </a:cxn>
                    <a:cxn ang="0">
                      <a:pos x="2" y="14"/>
                    </a:cxn>
                    <a:cxn ang="0">
                      <a:pos x="0" y="22"/>
                    </a:cxn>
                    <a:cxn ang="0">
                      <a:pos x="0" y="22"/>
                    </a:cxn>
                  </a:cxnLst>
                  <a:rect l="0" t="0" r="r" b="b"/>
                  <a:pathLst>
                    <a:path w="48" h="68">
                      <a:moveTo>
                        <a:pt x="0" y="22"/>
                      </a:moveTo>
                      <a:lnTo>
                        <a:pt x="0" y="22"/>
                      </a:lnTo>
                      <a:lnTo>
                        <a:pt x="2" y="30"/>
                      </a:lnTo>
                      <a:lnTo>
                        <a:pt x="4" y="44"/>
                      </a:lnTo>
                      <a:lnTo>
                        <a:pt x="8" y="58"/>
                      </a:lnTo>
                      <a:lnTo>
                        <a:pt x="12" y="62"/>
                      </a:lnTo>
                      <a:lnTo>
                        <a:pt x="18" y="64"/>
                      </a:lnTo>
                      <a:lnTo>
                        <a:pt x="18" y="64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8" y="66"/>
                      </a:lnTo>
                      <a:lnTo>
                        <a:pt x="42" y="60"/>
                      </a:lnTo>
                      <a:lnTo>
                        <a:pt x="42" y="60"/>
                      </a:lnTo>
                      <a:lnTo>
                        <a:pt x="48" y="50"/>
                      </a:lnTo>
                      <a:lnTo>
                        <a:pt x="48" y="44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42" y="24"/>
                      </a:lnTo>
                      <a:lnTo>
                        <a:pt x="40" y="16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2" y="4"/>
                      </a:lnTo>
                      <a:lnTo>
                        <a:pt x="26" y="2"/>
                      </a:lnTo>
                      <a:lnTo>
                        <a:pt x="20" y="0"/>
                      </a:lnTo>
                      <a:lnTo>
                        <a:pt x="14" y="2"/>
                      </a:lnTo>
                      <a:lnTo>
                        <a:pt x="10" y="4"/>
                      </a:lnTo>
                      <a:lnTo>
                        <a:pt x="4" y="8"/>
                      </a:lnTo>
                      <a:lnTo>
                        <a:pt x="2" y="14"/>
                      </a:lnTo>
                      <a:lnTo>
                        <a:pt x="0" y="22"/>
                      </a:lnTo>
                      <a:lnTo>
                        <a:pt x="0" y="2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3" name="Freeform 37">
                  <a:extLst>
                    <a:ext uri="{FF2B5EF4-FFF2-40B4-BE49-F238E27FC236}">
                      <a16:creationId xmlns:a16="http://schemas.microsoft.com/office/drawing/2014/main" id="{B8DB134D-2E08-40E3-8C56-A5C49CD904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6476" y="3727879"/>
                  <a:ext cx="83834" cy="137184"/>
                </a:xfrm>
                <a:custGeom>
                  <a:avLst/>
                  <a:gdLst/>
                  <a:ahLst/>
                  <a:cxnLst>
                    <a:cxn ang="0">
                      <a:pos x="4" y="66"/>
                    </a:cxn>
                    <a:cxn ang="0">
                      <a:pos x="4" y="66"/>
                    </a:cxn>
                    <a:cxn ang="0">
                      <a:pos x="18" y="84"/>
                    </a:cxn>
                    <a:cxn ang="0">
                      <a:pos x="26" y="102"/>
                    </a:cxn>
                    <a:cxn ang="0">
                      <a:pos x="30" y="118"/>
                    </a:cxn>
                    <a:cxn ang="0">
                      <a:pos x="32" y="134"/>
                    </a:cxn>
                    <a:cxn ang="0">
                      <a:pos x="32" y="134"/>
                    </a:cxn>
                    <a:cxn ang="0">
                      <a:pos x="34" y="154"/>
                    </a:cxn>
                    <a:cxn ang="0">
                      <a:pos x="36" y="172"/>
                    </a:cxn>
                    <a:cxn ang="0">
                      <a:pos x="38" y="178"/>
                    </a:cxn>
                    <a:cxn ang="0">
                      <a:pos x="42" y="180"/>
                    </a:cxn>
                    <a:cxn ang="0">
                      <a:pos x="46" y="180"/>
                    </a:cxn>
                    <a:cxn ang="0">
                      <a:pos x="52" y="176"/>
                    </a:cxn>
                    <a:cxn ang="0">
                      <a:pos x="52" y="176"/>
                    </a:cxn>
                    <a:cxn ang="0">
                      <a:pos x="60" y="164"/>
                    </a:cxn>
                    <a:cxn ang="0">
                      <a:pos x="66" y="154"/>
                    </a:cxn>
                    <a:cxn ang="0">
                      <a:pos x="68" y="142"/>
                    </a:cxn>
                    <a:cxn ang="0">
                      <a:pos x="70" y="124"/>
                    </a:cxn>
                    <a:cxn ang="0">
                      <a:pos x="70" y="124"/>
                    </a:cxn>
                    <a:cxn ang="0">
                      <a:pos x="74" y="104"/>
                    </a:cxn>
                    <a:cxn ang="0">
                      <a:pos x="74" y="94"/>
                    </a:cxn>
                    <a:cxn ang="0">
                      <a:pos x="74" y="86"/>
                    </a:cxn>
                    <a:cxn ang="0">
                      <a:pos x="80" y="80"/>
                    </a:cxn>
                    <a:cxn ang="0">
                      <a:pos x="80" y="80"/>
                    </a:cxn>
                    <a:cxn ang="0">
                      <a:pos x="84" y="76"/>
                    </a:cxn>
                    <a:cxn ang="0">
                      <a:pos x="84" y="74"/>
                    </a:cxn>
                    <a:cxn ang="0">
                      <a:pos x="86" y="68"/>
                    </a:cxn>
                    <a:cxn ang="0">
                      <a:pos x="92" y="54"/>
                    </a:cxn>
                    <a:cxn ang="0">
                      <a:pos x="92" y="54"/>
                    </a:cxn>
                    <a:cxn ang="0">
                      <a:pos x="100" y="38"/>
                    </a:cxn>
                    <a:cxn ang="0">
                      <a:pos x="108" y="28"/>
                    </a:cxn>
                    <a:cxn ang="0">
                      <a:pos x="110" y="22"/>
                    </a:cxn>
                    <a:cxn ang="0">
                      <a:pos x="110" y="18"/>
                    </a:cxn>
                    <a:cxn ang="0">
                      <a:pos x="108" y="14"/>
                    </a:cxn>
                    <a:cxn ang="0">
                      <a:pos x="102" y="10"/>
                    </a:cxn>
                    <a:cxn ang="0">
                      <a:pos x="102" y="10"/>
                    </a:cxn>
                    <a:cxn ang="0">
                      <a:pos x="92" y="4"/>
                    </a:cxn>
                    <a:cxn ang="0">
                      <a:pos x="84" y="0"/>
                    </a:cxn>
                    <a:cxn ang="0">
                      <a:pos x="80" y="0"/>
                    </a:cxn>
                    <a:cxn ang="0">
                      <a:pos x="78" y="0"/>
                    </a:cxn>
                    <a:cxn ang="0">
                      <a:pos x="74" y="8"/>
                    </a:cxn>
                    <a:cxn ang="0">
                      <a:pos x="74" y="8"/>
                    </a:cxn>
                    <a:cxn ang="0">
                      <a:pos x="70" y="20"/>
                    </a:cxn>
                    <a:cxn ang="0">
                      <a:pos x="62" y="32"/>
                    </a:cxn>
                    <a:cxn ang="0">
                      <a:pos x="56" y="44"/>
                    </a:cxn>
                    <a:cxn ang="0">
                      <a:pos x="52" y="54"/>
                    </a:cxn>
                    <a:cxn ang="0">
                      <a:pos x="52" y="54"/>
                    </a:cxn>
                    <a:cxn ang="0">
                      <a:pos x="50" y="60"/>
                    </a:cxn>
                    <a:cxn ang="0">
                      <a:pos x="48" y="62"/>
                    </a:cxn>
                    <a:cxn ang="0">
                      <a:pos x="42" y="62"/>
                    </a:cxn>
                    <a:cxn ang="0">
                      <a:pos x="32" y="60"/>
                    </a:cxn>
                    <a:cxn ang="0">
                      <a:pos x="32" y="60"/>
                    </a:cxn>
                    <a:cxn ang="0">
                      <a:pos x="20" y="56"/>
                    </a:cxn>
                    <a:cxn ang="0">
                      <a:pos x="6" y="54"/>
                    </a:cxn>
                    <a:cxn ang="0">
                      <a:pos x="2" y="54"/>
                    </a:cxn>
                    <a:cxn ang="0">
                      <a:pos x="0" y="56"/>
                    </a:cxn>
                    <a:cxn ang="0">
                      <a:pos x="0" y="60"/>
                    </a:cxn>
                    <a:cxn ang="0">
                      <a:pos x="4" y="66"/>
                    </a:cxn>
                    <a:cxn ang="0">
                      <a:pos x="4" y="66"/>
                    </a:cxn>
                  </a:cxnLst>
                  <a:rect l="0" t="0" r="r" b="b"/>
                  <a:pathLst>
                    <a:path w="110" h="180">
                      <a:moveTo>
                        <a:pt x="4" y="66"/>
                      </a:moveTo>
                      <a:lnTo>
                        <a:pt x="4" y="66"/>
                      </a:lnTo>
                      <a:lnTo>
                        <a:pt x="18" y="84"/>
                      </a:lnTo>
                      <a:lnTo>
                        <a:pt x="26" y="102"/>
                      </a:lnTo>
                      <a:lnTo>
                        <a:pt x="30" y="118"/>
                      </a:lnTo>
                      <a:lnTo>
                        <a:pt x="32" y="134"/>
                      </a:lnTo>
                      <a:lnTo>
                        <a:pt x="32" y="134"/>
                      </a:lnTo>
                      <a:lnTo>
                        <a:pt x="34" y="154"/>
                      </a:lnTo>
                      <a:lnTo>
                        <a:pt x="36" y="172"/>
                      </a:lnTo>
                      <a:lnTo>
                        <a:pt x="38" y="178"/>
                      </a:lnTo>
                      <a:lnTo>
                        <a:pt x="42" y="180"/>
                      </a:lnTo>
                      <a:lnTo>
                        <a:pt x="46" y="180"/>
                      </a:lnTo>
                      <a:lnTo>
                        <a:pt x="52" y="176"/>
                      </a:lnTo>
                      <a:lnTo>
                        <a:pt x="52" y="176"/>
                      </a:lnTo>
                      <a:lnTo>
                        <a:pt x="60" y="164"/>
                      </a:lnTo>
                      <a:lnTo>
                        <a:pt x="66" y="154"/>
                      </a:lnTo>
                      <a:lnTo>
                        <a:pt x="68" y="142"/>
                      </a:lnTo>
                      <a:lnTo>
                        <a:pt x="70" y="124"/>
                      </a:lnTo>
                      <a:lnTo>
                        <a:pt x="70" y="124"/>
                      </a:lnTo>
                      <a:lnTo>
                        <a:pt x="74" y="104"/>
                      </a:lnTo>
                      <a:lnTo>
                        <a:pt x="74" y="94"/>
                      </a:lnTo>
                      <a:lnTo>
                        <a:pt x="74" y="86"/>
                      </a:lnTo>
                      <a:lnTo>
                        <a:pt x="80" y="80"/>
                      </a:lnTo>
                      <a:lnTo>
                        <a:pt x="80" y="80"/>
                      </a:lnTo>
                      <a:lnTo>
                        <a:pt x="84" y="76"/>
                      </a:lnTo>
                      <a:lnTo>
                        <a:pt x="84" y="74"/>
                      </a:lnTo>
                      <a:lnTo>
                        <a:pt x="86" y="68"/>
                      </a:lnTo>
                      <a:lnTo>
                        <a:pt x="92" y="54"/>
                      </a:lnTo>
                      <a:lnTo>
                        <a:pt x="92" y="54"/>
                      </a:lnTo>
                      <a:lnTo>
                        <a:pt x="100" y="38"/>
                      </a:lnTo>
                      <a:lnTo>
                        <a:pt x="108" y="28"/>
                      </a:lnTo>
                      <a:lnTo>
                        <a:pt x="110" y="22"/>
                      </a:lnTo>
                      <a:lnTo>
                        <a:pt x="110" y="18"/>
                      </a:lnTo>
                      <a:lnTo>
                        <a:pt x="108" y="14"/>
                      </a:lnTo>
                      <a:lnTo>
                        <a:pt x="102" y="10"/>
                      </a:lnTo>
                      <a:lnTo>
                        <a:pt x="102" y="10"/>
                      </a:lnTo>
                      <a:lnTo>
                        <a:pt x="92" y="4"/>
                      </a:lnTo>
                      <a:lnTo>
                        <a:pt x="84" y="0"/>
                      </a:lnTo>
                      <a:lnTo>
                        <a:pt x="80" y="0"/>
                      </a:lnTo>
                      <a:lnTo>
                        <a:pt x="78" y="0"/>
                      </a:lnTo>
                      <a:lnTo>
                        <a:pt x="74" y="8"/>
                      </a:lnTo>
                      <a:lnTo>
                        <a:pt x="74" y="8"/>
                      </a:lnTo>
                      <a:lnTo>
                        <a:pt x="70" y="20"/>
                      </a:lnTo>
                      <a:lnTo>
                        <a:pt x="62" y="32"/>
                      </a:lnTo>
                      <a:lnTo>
                        <a:pt x="56" y="44"/>
                      </a:lnTo>
                      <a:lnTo>
                        <a:pt x="52" y="54"/>
                      </a:lnTo>
                      <a:lnTo>
                        <a:pt x="52" y="54"/>
                      </a:lnTo>
                      <a:lnTo>
                        <a:pt x="50" y="60"/>
                      </a:lnTo>
                      <a:lnTo>
                        <a:pt x="48" y="62"/>
                      </a:lnTo>
                      <a:lnTo>
                        <a:pt x="42" y="62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20" y="56"/>
                      </a:lnTo>
                      <a:lnTo>
                        <a:pt x="6" y="54"/>
                      </a:lnTo>
                      <a:lnTo>
                        <a:pt x="2" y="54"/>
                      </a:lnTo>
                      <a:lnTo>
                        <a:pt x="0" y="56"/>
                      </a:lnTo>
                      <a:lnTo>
                        <a:pt x="0" y="60"/>
                      </a:lnTo>
                      <a:lnTo>
                        <a:pt x="4" y="66"/>
                      </a:lnTo>
                      <a:lnTo>
                        <a:pt x="4" y="6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4" name="Freeform 38">
                  <a:extLst>
                    <a:ext uri="{FF2B5EF4-FFF2-40B4-BE49-F238E27FC236}">
                      <a16:creationId xmlns:a16="http://schemas.microsoft.com/office/drawing/2014/main" id="{4AF1D51B-5735-478C-838C-3AC74AF122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8185" y="3862014"/>
                  <a:ext cx="36582" cy="36582"/>
                </a:xfrm>
                <a:custGeom>
                  <a:avLst/>
                  <a:gdLst/>
                  <a:ahLst/>
                  <a:cxnLst>
                    <a:cxn ang="0">
                      <a:pos x="4" y="26"/>
                    </a:cxn>
                    <a:cxn ang="0">
                      <a:pos x="4" y="26"/>
                    </a:cxn>
                    <a:cxn ang="0">
                      <a:pos x="6" y="32"/>
                    </a:cxn>
                    <a:cxn ang="0">
                      <a:pos x="8" y="40"/>
                    </a:cxn>
                    <a:cxn ang="0">
                      <a:pos x="12" y="46"/>
                    </a:cxn>
                    <a:cxn ang="0">
                      <a:pos x="16" y="48"/>
                    </a:cxn>
                    <a:cxn ang="0">
                      <a:pos x="20" y="48"/>
                    </a:cxn>
                    <a:cxn ang="0">
                      <a:pos x="20" y="48"/>
                    </a:cxn>
                    <a:cxn ang="0">
                      <a:pos x="28" y="48"/>
                    </a:cxn>
                    <a:cxn ang="0">
                      <a:pos x="34" y="48"/>
                    </a:cxn>
                    <a:cxn ang="0">
                      <a:pos x="40" y="44"/>
                    </a:cxn>
                    <a:cxn ang="0">
                      <a:pos x="46" y="38"/>
                    </a:cxn>
                    <a:cxn ang="0">
                      <a:pos x="46" y="38"/>
                    </a:cxn>
                    <a:cxn ang="0">
                      <a:pos x="48" y="32"/>
                    </a:cxn>
                    <a:cxn ang="0">
                      <a:pos x="46" y="30"/>
                    </a:cxn>
                    <a:cxn ang="0">
                      <a:pos x="40" y="26"/>
                    </a:cxn>
                    <a:cxn ang="0">
                      <a:pos x="32" y="20"/>
                    </a:cxn>
                    <a:cxn ang="0">
                      <a:pos x="32" y="20"/>
                    </a:cxn>
                    <a:cxn ang="0">
                      <a:pos x="30" y="16"/>
                    </a:cxn>
                    <a:cxn ang="0">
                      <a:pos x="28" y="12"/>
                    </a:cxn>
                    <a:cxn ang="0">
                      <a:pos x="28" y="4"/>
                    </a:cxn>
                    <a:cxn ang="0">
                      <a:pos x="26" y="0"/>
                    </a:cxn>
                    <a:cxn ang="0">
                      <a:pos x="24" y="0"/>
                    </a:cxn>
                    <a:cxn ang="0">
                      <a:pos x="20" y="2"/>
                    </a:cxn>
                    <a:cxn ang="0">
                      <a:pos x="20" y="2"/>
                    </a:cxn>
                    <a:cxn ang="0">
                      <a:pos x="12" y="6"/>
                    </a:cxn>
                    <a:cxn ang="0">
                      <a:pos x="2" y="10"/>
                    </a:cxn>
                    <a:cxn ang="0">
                      <a:pos x="0" y="12"/>
                    </a:cxn>
                    <a:cxn ang="0">
                      <a:pos x="0" y="16"/>
                    </a:cxn>
                    <a:cxn ang="0">
                      <a:pos x="0" y="20"/>
                    </a:cxn>
                    <a:cxn ang="0">
                      <a:pos x="4" y="26"/>
                    </a:cxn>
                    <a:cxn ang="0">
                      <a:pos x="4" y="26"/>
                    </a:cxn>
                  </a:cxnLst>
                  <a:rect l="0" t="0" r="r" b="b"/>
                  <a:pathLst>
                    <a:path w="48" h="48">
                      <a:moveTo>
                        <a:pt x="4" y="26"/>
                      </a:moveTo>
                      <a:lnTo>
                        <a:pt x="4" y="26"/>
                      </a:lnTo>
                      <a:lnTo>
                        <a:pt x="6" y="32"/>
                      </a:lnTo>
                      <a:lnTo>
                        <a:pt x="8" y="40"/>
                      </a:lnTo>
                      <a:lnTo>
                        <a:pt x="12" y="46"/>
                      </a:lnTo>
                      <a:lnTo>
                        <a:pt x="16" y="48"/>
                      </a:lnTo>
                      <a:lnTo>
                        <a:pt x="20" y="48"/>
                      </a:lnTo>
                      <a:lnTo>
                        <a:pt x="20" y="48"/>
                      </a:lnTo>
                      <a:lnTo>
                        <a:pt x="28" y="48"/>
                      </a:lnTo>
                      <a:lnTo>
                        <a:pt x="34" y="48"/>
                      </a:lnTo>
                      <a:lnTo>
                        <a:pt x="40" y="44"/>
                      </a:lnTo>
                      <a:lnTo>
                        <a:pt x="46" y="38"/>
                      </a:lnTo>
                      <a:lnTo>
                        <a:pt x="46" y="38"/>
                      </a:lnTo>
                      <a:lnTo>
                        <a:pt x="48" y="32"/>
                      </a:lnTo>
                      <a:lnTo>
                        <a:pt x="46" y="30"/>
                      </a:lnTo>
                      <a:lnTo>
                        <a:pt x="40" y="26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0" y="16"/>
                      </a:lnTo>
                      <a:lnTo>
                        <a:pt x="28" y="12"/>
                      </a:lnTo>
                      <a:lnTo>
                        <a:pt x="28" y="4"/>
                      </a:lnTo>
                      <a:lnTo>
                        <a:pt x="26" y="0"/>
                      </a:lnTo>
                      <a:lnTo>
                        <a:pt x="24" y="0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2" y="6"/>
                      </a:lnTo>
                      <a:lnTo>
                        <a:pt x="2" y="10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4" y="26"/>
                      </a:lnTo>
                      <a:lnTo>
                        <a:pt x="4" y="2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5" name="Freeform 39">
                  <a:extLst>
                    <a:ext uri="{FF2B5EF4-FFF2-40B4-BE49-F238E27FC236}">
                      <a16:creationId xmlns:a16="http://schemas.microsoft.com/office/drawing/2014/main" id="{88ED551B-C2DA-412D-827E-733158BD66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6819" y="3840675"/>
                  <a:ext cx="681345" cy="938945"/>
                </a:xfrm>
                <a:custGeom>
                  <a:avLst/>
                  <a:gdLst/>
                  <a:ahLst/>
                  <a:cxnLst>
                    <a:cxn ang="0">
                      <a:pos x="456" y="38"/>
                    </a:cxn>
                    <a:cxn ang="0">
                      <a:pos x="492" y="102"/>
                    </a:cxn>
                    <a:cxn ang="0">
                      <a:pos x="542" y="154"/>
                    </a:cxn>
                    <a:cxn ang="0">
                      <a:pos x="556" y="180"/>
                    </a:cxn>
                    <a:cxn ang="0">
                      <a:pos x="632" y="170"/>
                    </a:cxn>
                    <a:cxn ang="0">
                      <a:pos x="694" y="140"/>
                    </a:cxn>
                    <a:cxn ang="0">
                      <a:pos x="740" y="130"/>
                    </a:cxn>
                    <a:cxn ang="0">
                      <a:pos x="746" y="102"/>
                    </a:cxn>
                    <a:cxn ang="0">
                      <a:pos x="766" y="142"/>
                    </a:cxn>
                    <a:cxn ang="0">
                      <a:pos x="758" y="166"/>
                    </a:cxn>
                    <a:cxn ang="0">
                      <a:pos x="836" y="314"/>
                    </a:cxn>
                    <a:cxn ang="0">
                      <a:pos x="828" y="396"/>
                    </a:cxn>
                    <a:cxn ang="0">
                      <a:pos x="848" y="456"/>
                    </a:cxn>
                    <a:cxn ang="0">
                      <a:pos x="868" y="600"/>
                    </a:cxn>
                    <a:cxn ang="0">
                      <a:pos x="892" y="688"/>
                    </a:cxn>
                    <a:cxn ang="0">
                      <a:pos x="750" y="728"/>
                    </a:cxn>
                    <a:cxn ang="0">
                      <a:pos x="664" y="774"/>
                    </a:cxn>
                    <a:cxn ang="0">
                      <a:pos x="632" y="784"/>
                    </a:cxn>
                    <a:cxn ang="0">
                      <a:pos x="644" y="888"/>
                    </a:cxn>
                    <a:cxn ang="0">
                      <a:pos x="698" y="980"/>
                    </a:cxn>
                    <a:cxn ang="0">
                      <a:pos x="782" y="1050"/>
                    </a:cxn>
                    <a:cxn ang="0">
                      <a:pos x="754" y="1084"/>
                    </a:cxn>
                    <a:cxn ang="0">
                      <a:pos x="682" y="1126"/>
                    </a:cxn>
                    <a:cxn ang="0">
                      <a:pos x="690" y="1210"/>
                    </a:cxn>
                    <a:cxn ang="0">
                      <a:pos x="636" y="1228"/>
                    </a:cxn>
                    <a:cxn ang="0">
                      <a:pos x="574" y="1196"/>
                    </a:cxn>
                    <a:cxn ang="0">
                      <a:pos x="536" y="1220"/>
                    </a:cxn>
                    <a:cxn ang="0">
                      <a:pos x="466" y="1222"/>
                    </a:cxn>
                    <a:cxn ang="0">
                      <a:pos x="412" y="1218"/>
                    </a:cxn>
                    <a:cxn ang="0">
                      <a:pos x="320" y="1174"/>
                    </a:cxn>
                    <a:cxn ang="0">
                      <a:pos x="294" y="1152"/>
                    </a:cxn>
                    <a:cxn ang="0">
                      <a:pos x="178" y="1156"/>
                    </a:cxn>
                    <a:cxn ang="0">
                      <a:pos x="136" y="1128"/>
                    </a:cxn>
                    <a:cxn ang="0">
                      <a:pos x="160" y="1016"/>
                    </a:cxn>
                    <a:cxn ang="0">
                      <a:pos x="234" y="944"/>
                    </a:cxn>
                    <a:cxn ang="0">
                      <a:pos x="96" y="884"/>
                    </a:cxn>
                    <a:cxn ang="0">
                      <a:pos x="54" y="830"/>
                    </a:cxn>
                    <a:cxn ang="0">
                      <a:pos x="8" y="778"/>
                    </a:cxn>
                    <a:cxn ang="0">
                      <a:pos x="40" y="724"/>
                    </a:cxn>
                    <a:cxn ang="0">
                      <a:pos x="72" y="682"/>
                    </a:cxn>
                    <a:cxn ang="0">
                      <a:pos x="44" y="590"/>
                    </a:cxn>
                    <a:cxn ang="0">
                      <a:pos x="62" y="526"/>
                    </a:cxn>
                    <a:cxn ang="0">
                      <a:pos x="80" y="502"/>
                    </a:cxn>
                    <a:cxn ang="0">
                      <a:pos x="68" y="438"/>
                    </a:cxn>
                    <a:cxn ang="0">
                      <a:pos x="134" y="428"/>
                    </a:cxn>
                    <a:cxn ang="0">
                      <a:pos x="174" y="414"/>
                    </a:cxn>
                    <a:cxn ang="0">
                      <a:pos x="148" y="338"/>
                    </a:cxn>
                    <a:cxn ang="0">
                      <a:pos x="186" y="308"/>
                    </a:cxn>
                    <a:cxn ang="0">
                      <a:pos x="208" y="256"/>
                    </a:cxn>
                    <a:cxn ang="0">
                      <a:pos x="198" y="180"/>
                    </a:cxn>
                    <a:cxn ang="0">
                      <a:pos x="268" y="154"/>
                    </a:cxn>
                    <a:cxn ang="0">
                      <a:pos x="294" y="200"/>
                    </a:cxn>
                    <a:cxn ang="0">
                      <a:pos x="316" y="206"/>
                    </a:cxn>
                    <a:cxn ang="0">
                      <a:pos x="366" y="150"/>
                    </a:cxn>
                    <a:cxn ang="0">
                      <a:pos x="382" y="152"/>
                    </a:cxn>
                    <a:cxn ang="0">
                      <a:pos x="394" y="54"/>
                    </a:cxn>
                  </a:cxnLst>
                  <a:rect l="0" t="0" r="r" b="b"/>
                  <a:pathLst>
                    <a:path w="894" h="1232">
                      <a:moveTo>
                        <a:pt x="442" y="34"/>
                      </a:moveTo>
                      <a:lnTo>
                        <a:pt x="442" y="34"/>
                      </a:lnTo>
                      <a:lnTo>
                        <a:pt x="444" y="34"/>
                      </a:lnTo>
                      <a:lnTo>
                        <a:pt x="448" y="32"/>
                      </a:lnTo>
                      <a:lnTo>
                        <a:pt x="450" y="32"/>
                      </a:lnTo>
                      <a:lnTo>
                        <a:pt x="454" y="34"/>
                      </a:lnTo>
                      <a:lnTo>
                        <a:pt x="456" y="38"/>
                      </a:lnTo>
                      <a:lnTo>
                        <a:pt x="460" y="46"/>
                      </a:lnTo>
                      <a:lnTo>
                        <a:pt x="460" y="46"/>
                      </a:lnTo>
                      <a:lnTo>
                        <a:pt x="472" y="74"/>
                      </a:lnTo>
                      <a:lnTo>
                        <a:pt x="476" y="84"/>
                      </a:lnTo>
                      <a:lnTo>
                        <a:pt x="484" y="94"/>
                      </a:lnTo>
                      <a:lnTo>
                        <a:pt x="484" y="94"/>
                      </a:lnTo>
                      <a:lnTo>
                        <a:pt x="492" y="102"/>
                      </a:lnTo>
                      <a:lnTo>
                        <a:pt x="502" y="110"/>
                      </a:lnTo>
                      <a:lnTo>
                        <a:pt x="514" y="116"/>
                      </a:lnTo>
                      <a:lnTo>
                        <a:pt x="528" y="122"/>
                      </a:lnTo>
                      <a:lnTo>
                        <a:pt x="528" y="122"/>
                      </a:lnTo>
                      <a:lnTo>
                        <a:pt x="550" y="128"/>
                      </a:lnTo>
                      <a:lnTo>
                        <a:pt x="550" y="128"/>
                      </a:lnTo>
                      <a:lnTo>
                        <a:pt x="542" y="154"/>
                      </a:lnTo>
                      <a:lnTo>
                        <a:pt x="542" y="154"/>
                      </a:lnTo>
                      <a:lnTo>
                        <a:pt x="542" y="160"/>
                      </a:lnTo>
                      <a:lnTo>
                        <a:pt x="542" y="166"/>
                      </a:lnTo>
                      <a:lnTo>
                        <a:pt x="544" y="170"/>
                      </a:lnTo>
                      <a:lnTo>
                        <a:pt x="546" y="174"/>
                      </a:lnTo>
                      <a:lnTo>
                        <a:pt x="550" y="178"/>
                      </a:lnTo>
                      <a:lnTo>
                        <a:pt x="556" y="180"/>
                      </a:lnTo>
                      <a:lnTo>
                        <a:pt x="562" y="180"/>
                      </a:lnTo>
                      <a:lnTo>
                        <a:pt x="570" y="178"/>
                      </a:lnTo>
                      <a:lnTo>
                        <a:pt x="570" y="178"/>
                      </a:lnTo>
                      <a:lnTo>
                        <a:pt x="588" y="176"/>
                      </a:lnTo>
                      <a:lnTo>
                        <a:pt x="608" y="174"/>
                      </a:lnTo>
                      <a:lnTo>
                        <a:pt x="624" y="172"/>
                      </a:lnTo>
                      <a:lnTo>
                        <a:pt x="632" y="170"/>
                      </a:lnTo>
                      <a:lnTo>
                        <a:pt x="638" y="166"/>
                      </a:lnTo>
                      <a:lnTo>
                        <a:pt x="638" y="166"/>
                      </a:lnTo>
                      <a:lnTo>
                        <a:pt x="652" y="156"/>
                      </a:lnTo>
                      <a:lnTo>
                        <a:pt x="668" y="148"/>
                      </a:lnTo>
                      <a:lnTo>
                        <a:pt x="682" y="142"/>
                      </a:lnTo>
                      <a:lnTo>
                        <a:pt x="694" y="140"/>
                      </a:lnTo>
                      <a:lnTo>
                        <a:pt x="694" y="140"/>
                      </a:lnTo>
                      <a:lnTo>
                        <a:pt x="716" y="146"/>
                      </a:lnTo>
                      <a:lnTo>
                        <a:pt x="728" y="150"/>
                      </a:lnTo>
                      <a:lnTo>
                        <a:pt x="728" y="150"/>
                      </a:lnTo>
                      <a:lnTo>
                        <a:pt x="734" y="146"/>
                      </a:lnTo>
                      <a:lnTo>
                        <a:pt x="738" y="140"/>
                      </a:lnTo>
                      <a:lnTo>
                        <a:pt x="740" y="130"/>
                      </a:lnTo>
                      <a:lnTo>
                        <a:pt x="740" y="130"/>
                      </a:lnTo>
                      <a:lnTo>
                        <a:pt x="740" y="124"/>
                      </a:lnTo>
                      <a:lnTo>
                        <a:pt x="740" y="118"/>
                      </a:lnTo>
                      <a:lnTo>
                        <a:pt x="738" y="106"/>
                      </a:lnTo>
                      <a:lnTo>
                        <a:pt x="736" y="102"/>
                      </a:lnTo>
                      <a:lnTo>
                        <a:pt x="738" y="100"/>
                      </a:lnTo>
                      <a:lnTo>
                        <a:pt x="740" y="100"/>
                      </a:lnTo>
                      <a:lnTo>
                        <a:pt x="746" y="102"/>
                      </a:lnTo>
                      <a:lnTo>
                        <a:pt x="746" y="102"/>
                      </a:lnTo>
                      <a:lnTo>
                        <a:pt x="758" y="112"/>
                      </a:lnTo>
                      <a:lnTo>
                        <a:pt x="766" y="120"/>
                      </a:lnTo>
                      <a:lnTo>
                        <a:pt x="768" y="128"/>
                      </a:lnTo>
                      <a:lnTo>
                        <a:pt x="768" y="138"/>
                      </a:lnTo>
                      <a:lnTo>
                        <a:pt x="768" y="138"/>
                      </a:lnTo>
                      <a:lnTo>
                        <a:pt x="766" y="142"/>
                      </a:lnTo>
                      <a:lnTo>
                        <a:pt x="762" y="142"/>
                      </a:lnTo>
                      <a:lnTo>
                        <a:pt x="754" y="144"/>
                      </a:lnTo>
                      <a:lnTo>
                        <a:pt x="752" y="146"/>
                      </a:lnTo>
                      <a:lnTo>
                        <a:pt x="750" y="150"/>
                      </a:lnTo>
                      <a:lnTo>
                        <a:pt x="752" y="156"/>
                      </a:lnTo>
                      <a:lnTo>
                        <a:pt x="758" y="166"/>
                      </a:lnTo>
                      <a:lnTo>
                        <a:pt x="758" y="166"/>
                      </a:lnTo>
                      <a:lnTo>
                        <a:pt x="794" y="222"/>
                      </a:lnTo>
                      <a:lnTo>
                        <a:pt x="814" y="250"/>
                      </a:lnTo>
                      <a:lnTo>
                        <a:pt x="814" y="250"/>
                      </a:lnTo>
                      <a:lnTo>
                        <a:pt x="826" y="276"/>
                      </a:lnTo>
                      <a:lnTo>
                        <a:pt x="834" y="298"/>
                      </a:lnTo>
                      <a:lnTo>
                        <a:pt x="836" y="306"/>
                      </a:lnTo>
                      <a:lnTo>
                        <a:pt x="836" y="314"/>
                      </a:lnTo>
                      <a:lnTo>
                        <a:pt x="836" y="314"/>
                      </a:lnTo>
                      <a:lnTo>
                        <a:pt x="834" y="338"/>
                      </a:lnTo>
                      <a:lnTo>
                        <a:pt x="832" y="350"/>
                      </a:lnTo>
                      <a:lnTo>
                        <a:pt x="828" y="372"/>
                      </a:lnTo>
                      <a:lnTo>
                        <a:pt x="828" y="372"/>
                      </a:lnTo>
                      <a:lnTo>
                        <a:pt x="826" y="384"/>
                      </a:lnTo>
                      <a:lnTo>
                        <a:pt x="828" y="396"/>
                      </a:lnTo>
                      <a:lnTo>
                        <a:pt x="832" y="406"/>
                      </a:lnTo>
                      <a:lnTo>
                        <a:pt x="838" y="416"/>
                      </a:lnTo>
                      <a:lnTo>
                        <a:pt x="842" y="426"/>
                      </a:lnTo>
                      <a:lnTo>
                        <a:pt x="846" y="436"/>
                      </a:lnTo>
                      <a:lnTo>
                        <a:pt x="848" y="446"/>
                      </a:lnTo>
                      <a:lnTo>
                        <a:pt x="848" y="456"/>
                      </a:lnTo>
                      <a:lnTo>
                        <a:pt x="848" y="456"/>
                      </a:lnTo>
                      <a:lnTo>
                        <a:pt x="846" y="466"/>
                      </a:lnTo>
                      <a:lnTo>
                        <a:pt x="844" y="480"/>
                      </a:lnTo>
                      <a:lnTo>
                        <a:pt x="844" y="506"/>
                      </a:lnTo>
                      <a:lnTo>
                        <a:pt x="848" y="532"/>
                      </a:lnTo>
                      <a:lnTo>
                        <a:pt x="854" y="554"/>
                      </a:lnTo>
                      <a:lnTo>
                        <a:pt x="854" y="554"/>
                      </a:lnTo>
                      <a:lnTo>
                        <a:pt x="868" y="600"/>
                      </a:lnTo>
                      <a:lnTo>
                        <a:pt x="878" y="642"/>
                      </a:lnTo>
                      <a:lnTo>
                        <a:pt x="878" y="642"/>
                      </a:lnTo>
                      <a:lnTo>
                        <a:pt x="880" y="650"/>
                      </a:lnTo>
                      <a:lnTo>
                        <a:pt x="884" y="658"/>
                      </a:lnTo>
                      <a:lnTo>
                        <a:pt x="892" y="672"/>
                      </a:lnTo>
                      <a:lnTo>
                        <a:pt x="894" y="680"/>
                      </a:lnTo>
                      <a:lnTo>
                        <a:pt x="892" y="688"/>
                      </a:lnTo>
                      <a:lnTo>
                        <a:pt x="886" y="692"/>
                      </a:lnTo>
                      <a:lnTo>
                        <a:pt x="874" y="696"/>
                      </a:lnTo>
                      <a:lnTo>
                        <a:pt x="874" y="696"/>
                      </a:lnTo>
                      <a:lnTo>
                        <a:pt x="812" y="712"/>
                      </a:lnTo>
                      <a:lnTo>
                        <a:pt x="760" y="724"/>
                      </a:lnTo>
                      <a:lnTo>
                        <a:pt x="760" y="724"/>
                      </a:lnTo>
                      <a:lnTo>
                        <a:pt x="750" y="728"/>
                      </a:lnTo>
                      <a:lnTo>
                        <a:pt x="740" y="732"/>
                      </a:lnTo>
                      <a:lnTo>
                        <a:pt x="718" y="746"/>
                      </a:lnTo>
                      <a:lnTo>
                        <a:pt x="694" y="762"/>
                      </a:lnTo>
                      <a:lnTo>
                        <a:pt x="684" y="768"/>
                      </a:lnTo>
                      <a:lnTo>
                        <a:pt x="672" y="772"/>
                      </a:lnTo>
                      <a:lnTo>
                        <a:pt x="672" y="772"/>
                      </a:lnTo>
                      <a:lnTo>
                        <a:pt x="664" y="774"/>
                      </a:lnTo>
                      <a:lnTo>
                        <a:pt x="656" y="774"/>
                      </a:lnTo>
                      <a:lnTo>
                        <a:pt x="646" y="772"/>
                      </a:lnTo>
                      <a:lnTo>
                        <a:pt x="642" y="770"/>
                      </a:lnTo>
                      <a:lnTo>
                        <a:pt x="638" y="772"/>
                      </a:lnTo>
                      <a:lnTo>
                        <a:pt x="636" y="776"/>
                      </a:lnTo>
                      <a:lnTo>
                        <a:pt x="632" y="784"/>
                      </a:lnTo>
                      <a:lnTo>
                        <a:pt x="632" y="784"/>
                      </a:lnTo>
                      <a:lnTo>
                        <a:pt x="630" y="792"/>
                      </a:lnTo>
                      <a:lnTo>
                        <a:pt x="628" y="802"/>
                      </a:lnTo>
                      <a:lnTo>
                        <a:pt x="628" y="820"/>
                      </a:lnTo>
                      <a:lnTo>
                        <a:pt x="632" y="840"/>
                      </a:lnTo>
                      <a:lnTo>
                        <a:pt x="638" y="864"/>
                      </a:lnTo>
                      <a:lnTo>
                        <a:pt x="638" y="864"/>
                      </a:lnTo>
                      <a:lnTo>
                        <a:pt x="644" y="888"/>
                      </a:lnTo>
                      <a:lnTo>
                        <a:pt x="650" y="906"/>
                      </a:lnTo>
                      <a:lnTo>
                        <a:pt x="658" y="922"/>
                      </a:lnTo>
                      <a:lnTo>
                        <a:pt x="666" y="934"/>
                      </a:lnTo>
                      <a:lnTo>
                        <a:pt x="666" y="934"/>
                      </a:lnTo>
                      <a:lnTo>
                        <a:pt x="676" y="948"/>
                      </a:lnTo>
                      <a:lnTo>
                        <a:pt x="686" y="962"/>
                      </a:lnTo>
                      <a:lnTo>
                        <a:pt x="698" y="980"/>
                      </a:lnTo>
                      <a:lnTo>
                        <a:pt x="714" y="998"/>
                      </a:lnTo>
                      <a:lnTo>
                        <a:pt x="714" y="998"/>
                      </a:lnTo>
                      <a:lnTo>
                        <a:pt x="736" y="1018"/>
                      </a:lnTo>
                      <a:lnTo>
                        <a:pt x="756" y="1032"/>
                      </a:lnTo>
                      <a:lnTo>
                        <a:pt x="774" y="1044"/>
                      </a:lnTo>
                      <a:lnTo>
                        <a:pt x="778" y="1048"/>
                      </a:lnTo>
                      <a:lnTo>
                        <a:pt x="782" y="1050"/>
                      </a:lnTo>
                      <a:lnTo>
                        <a:pt x="782" y="1050"/>
                      </a:lnTo>
                      <a:lnTo>
                        <a:pt x="784" y="1054"/>
                      </a:lnTo>
                      <a:lnTo>
                        <a:pt x="780" y="1056"/>
                      </a:lnTo>
                      <a:lnTo>
                        <a:pt x="774" y="1062"/>
                      </a:lnTo>
                      <a:lnTo>
                        <a:pt x="762" y="1076"/>
                      </a:lnTo>
                      <a:lnTo>
                        <a:pt x="762" y="1076"/>
                      </a:lnTo>
                      <a:lnTo>
                        <a:pt x="754" y="1084"/>
                      </a:lnTo>
                      <a:lnTo>
                        <a:pt x="746" y="1090"/>
                      </a:lnTo>
                      <a:lnTo>
                        <a:pt x="732" y="1100"/>
                      </a:lnTo>
                      <a:lnTo>
                        <a:pt x="710" y="1112"/>
                      </a:lnTo>
                      <a:lnTo>
                        <a:pt x="710" y="1112"/>
                      </a:lnTo>
                      <a:lnTo>
                        <a:pt x="698" y="1116"/>
                      </a:lnTo>
                      <a:lnTo>
                        <a:pt x="686" y="1122"/>
                      </a:lnTo>
                      <a:lnTo>
                        <a:pt x="682" y="1126"/>
                      </a:lnTo>
                      <a:lnTo>
                        <a:pt x="678" y="1132"/>
                      </a:lnTo>
                      <a:lnTo>
                        <a:pt x="678" y="1140"/>
                      </a:lnTo>
                      <a:lnTo>
                        <a:pt x="680" y="1150"/>
                      </a:lnTo>
                      <a:lnTo>
                        <a:pt x="680" y="1150"/>
                      </a:lnTo>
                      <a:lnTo>
                        <a:pt x="686" y="1172"/>
                      </a:lnTo>
                      <a:lnTo>
                        <a:pt x="690" y="1194"/>
                      </a:lnTo>
                      <a:lnTo>
                        <a:pt x="690" y="1210"/>
                      </a:lnTo>
                      <a:lnTo>
                        <a:pt x="690" y="1220"/>
                      </a:lnTo>
                      <a:lnTo>
                        <a:pt x="690" y="1220"/>
                      </a:lnTo>
                      <a:lnTo>
                        <a:pt x="680" y="1224"/>
                      </a:lnTo>
                      <a:lnTo>
                        <a:pt x="664" y="1230"/>
                      </a:lnTo>
                      <a:lnTo>
                        <a:pt x="656" y="1232"/>
                      </a:lnTo>
                      <a:lnTo>
                        <a:pt x="646" y="1230"/>
                      </a:lnTo>
                      <a:lnTo>
                        <a:pt x="636" y="1228"/>
                      </a:lnTo>
                      <a:lnTo>
                        <a:pt x="628" y="1222"/>
                      </a:lnTo>
                      <a:lnTo>
                        <a:pt x="628" y="1222"/>
                      </a:lnTo>
                      <a:lnTo>
                        <a:pt x="614" y="1210"/>
                      </a:lnTo>
                      <a:lnTo>
                        <a:pt x="600" y="1204"/>
                      </a:lnTo>
                      <a:lnTo>
                        <a:pt x="590" y="1198"/>
                      </a:lnTo>
                      <a:lnTo>
                        <a:pt x="590" y="1198"/>
                      </a:lnTo>
                      <a:lnTo>
                        <a:pt x="574" y="1196"/>
                      </a:lnTo>
                      <a:lnTo>
                        <a:pt x="560" y="1198"/>
                      </a:lnTo>
                      <a:lnTo>
                        <a:pt x="552" y="1200"/>
                      </a:lnTo>
                      <a:lnTo>
                        <a:pt x="546" y="1204"/>
                      </a:lnTo>
                      <a:lnTo>
                        <a:pt x="546" y="1204"/>
                      </a:lnTo>
                      <a:lnTo>
                        <a:pt x="542" y="1208"/>
                      </a:lnTo>
                      <a:lnTo>
                        <a:pt x="538" y="1212"/>
                      </a:lnTo>
                      <a:lnTo>
                        <a:pt x="536" y="1220"/>
                      </a:lnTo>
                      <a:lnTo>
                        <a:pt x="534" y="1222"/>
                      </a:lnTo>
                      <a:lnTo>
                        <a:pt x="530" y="1226"/>
                      </a:lnTo>
                      <a:lnTo>
                        <a:pt x="524" y="1226"/>
                      </a:lnTo>
                      <a:lnTo>
                        <a:pt x="514" y="1228"/>
                      </a:lnTo>
                      <a:lnTo>
                        <a:pt x="514" y="1228"/>
                      </a:lnTo>
                      <a:lnTo>
                        <a:pt x="478" y="1224"/>
                      </a:lnTo>
                      <a:lnTo>
                        <a:pt x="466" y="1222"/>
                      </a:lnTo>
                      <a:lnTo>
                        <a:pt x="458" y="1218"/>
                      </a:lnTo>
                      <a:lnTo>
                        <a:pt x="458" y="1218"/>
                      </a:lnTo>
                      <a:lnTo>
                        <a:pt x="454" y="1216"/>
                      </a:lnTo>
                      <a:lnTo>
                        <a:pt x="448" y="1216"/>
                      </a:lnTo>
                      <a:lnTo>
                        <a:pt x="434" y="1218"/>
                      </a:lnTo>
                      <a:lnTo>
                        <a:pt x="422" y="1218"/>
                      </a:lnTo>
                      <a:lnTo>
                        <a:pt x="412" y="1218"/>
                      </a:lnTo>
                      <a:lnTo>
                        <a:pt x="412" y="1218"/>
                      </a:lnTo>
                      <a:lnTo>
                        <a:pt x="404" y="1214"/>
                      </a:lnTo>
                      <a:lnTo>
                        <a:pt x="376" y="1198"/>
                      </a:lnTo>
                      <a:lnTo>
                        <a:pt x="376" y="1198"/>
                      </a:lnTo>
                      <a:lnTo>
                        <a:pt x="354" y="1186"/>
                      </a:lnTo>
                      <a:lnTo>
                        <a:pt x="338" y="1180"/>
                      </a:lnTo>
                      <a:lnTo>
                        <a:pt x="320" y="1174"/>
                      </a:lnTo>
                      <a:lnTo>
                        <a:pt x="320" y="1174"/>
                      </a:lnTo>
                      <a:lnTo>
                        <a:pt x="318" y="1174"/>
                      </a:lnTo>
                      <a:lnTo>
                        <a:pt x="318" y="1170"/>
                      </a:lnTo>
                      <a:lnTo>
                        <a:pt x="312" y="1164"/>
                      </a:lnTo>
                      <a:lnTo>
                        <a:pt x="308" y="1160"/>
                      </a:lnTo>
                      <a:lnTo>
                        <a:pt x="302" y="1156"/>
                      </a:lnTo>
                      <a:lnTo>
                        <a:pt x="294" y="1152"/>
                      </a:lnTo>
                      <a:lnTo>
                        <a:pt x="282" y="1152"/>
                      </a:lnTo>
                      <a:lnTo>
                        <a:pt x="282" y="1152"/>
                      </a:lnTo>
                      <a:lnTo>
                        <a:pt x="258" y="1150"/>
                      </a:lnTo>
                      <a:lnTo>
                        <a:pt x="236" y="1152"/>
                      </a:lnTo>
                      <a:lnTo>
                        <a:pt x="200" y="1156"/>
                      </a:lnTo>
                      <a:lnTo>
                        <a:pt x="200" y="1156"/>
                      </a:lnTo>
                      <a:lnTo>
                        <a:pt x="178" y="1156"/>
                      </a:lnTo>
                      <a:lnTo>
                        <a:pt x="158" y="1152"/>
                      </a:lnTo>
                      <a:lnTo>
                        <a:pt x="148" y="1150"/>
                      </a:lnTo>
                      <a:lnTo>
                        <a:pt x="142" y="1146"/>
                      </a:lnTo>
                      <a:lnTo>
                        <a:pt x="136" y="1142"/>
                      </a:lnTo>
                      <a:lnTo>
                        <a:pt x="134" y="1136"/>
                      </a:lnTo>
                      <a:lnTo>
                        <a:pt x="134" y="1136"/>
                      </a:lnTo>
                      <a:lnTo>
                        <a:pt x="136" y="1128"/>
                      </a:lnTo>
                      <a:lnTo>
                        <a:pt x="138" y="1118"/>
                      </a:lnTo>
                      <a:lnTo>
                        <a:pt x="144" y="1094"/>
                      </a:lnTo>
                      <a:lnTo>
                        <a:pt x="152" y="1070"/>
                      </a:lnTo>
                      <a:lnTo>
                        <a:pt x="156" y="1052"/>
                      </a:lnTo>
                      <a:lnTo>
                        <a:pt x="156" y="1052"/>
                      </a:lnTo>
                      <a:lnTo>
                        <a:pt x="158" y="1034"/>
                      </a:lnTo>
                      <a:lnTo>
                        <a:pt x="160" y="1016"/>
                      </a:lnTo>
                      <a:lnTo>
                        <a:pt x="162" y="1008"/>
                      </a:lnTo>
                      <a:lnTo>
                        <a:pt x="166" y="1000"/>
                      </a:lnTo>
                      <a:lnTo>
                        <a:pt x="172" y="992"/>
                      </a:lnTo>
                      <a:lnTo>
                        <a:pt x="180" y="984"/>
                      </a:lnTo>
                      <a:lnTo>
                        <a:pt x="180" y="984"/>
                      </a:lnTo>
                      <a:lnTo>
                        <a:pt x="216" y="958"/>
                      </a:lnTo>
                      <a:lnTo>
                        <a:pt x="234" y="944"/>
                      </a:lnTo>
                      <a:lnTo>
                        <a:pt x="234" y="944"/>
                      </a:lnTo>
                      <a:lnTo>
                        <a:pt x="176" y="920"/>
                      </a:lnTo>
                      <a:lnTo>
                        <a:pt x="136" y="902"/>
                      </a:lnTo>
                      <a:lnTo>
                        <a:pt x="114" y="892"/>
                      </a:lnTo>
                      <a:lnTo>
                        <a:pt x="114" y="892"/>
                      </a:lnTo>
                      <a:lnTo>
                        <a:pt x="108" y="890"/>
                      </a:lnTo>
                      <a:lnTo>
                        <a:pt x="96" y="884"/>
                      </a:lnTo>
                      <a:lnTo>
                        <a:pt x="90" y="880"/>
                      </a:lnTo>
                      <a:lnTo>
                        <a:pt x="82" y="874"/>
                      </a:lnTo>
                      <a:lnTo>
                        <a:pt x="76" y="866"/>
                      </a:lnTo>
                      <a:lnTo>
                        <a:pt x="68" y="852"/>
                      </a:lnTo>
                      <a:lnTo>
                        <a:pt x="68" y="852"/>
                      </a:lnTo>
                      <a:lnTo>
                        <a:pt x="62" y="840"/>
                      </a:lnTo>
                      <a:lnTo>
                        <a:pt x="54" y="830"/>
                      </a:lnTo>
                      <a:lnTo>
                        <a:pt x="44" y="822"/>
                      </a:lnTo>
                      <a:lnTo>
                        <a:pt x="36" y="814"/>
                      </a:lnTo>
                      <a:lnTo>
                        <a:pt x="22" y="804"/>
                      </a:lnTo>
                      <a:lnTo>
                        <a:pt x="18" y="798"/>
                      </a:lnTo>
                      <a:lnTo>
                        <a:pt x="14" y="792"/>
                      </a:lnTo>
                      <a:lnTo>
                        <a:pt x="14" y="792"/>
                      </a:lnTo>
                      <a:lnTo>
                        <a:pt x="8" y="778"/>
                      </a:lnTo>
                      <a:lnTo>
                        <a:pt x="2" y="760"/>
                      </a:lnTo>
                      <a:lnTo>
                        <a:pt x="0" y="752"/>
                      </a:lnTo>
                      <a:lnTo>
                        <a:pt x="2" y="744"/>
                      </a:lnTo>
                      <a:lnTo>
                        <a:pt x="6" y="738"/>
                      </a:lnTo>
                      <a:lnTo>
                        <a:pt x="16" y="732"/>
                      </a:lnTo>
                      <a:lnTo>
                        <a:pt x="16" y="732"/>
                      </a:lnTo>
                      <a:lnTo>
                        <a:pt x="40" y="724"/>
                      </a:lnTo>
                      <a:lnTo>
                        <a:pt x="48" y="720"/>
                      </a:lnTo>
                      <a:lnTo>
                        <a:pt x="58" y="714"/>
                      </a:lnTo>
                      <a:lnTo>
                        <a:pt x="64" y="708"/>
                      </a:lnTo>
                      <a:lnTo>
                        <a:pt x="68" y="702"/>
                      </a:lnTo>
                      <a:lnTo>
                        <a:pt x="72" y="694"/>
                      </a:lnTo>
                      <a:lnTo>
                        <a:pt x="72" y="682"/>
                      </a:lnTo>
                      <a:lnTo>
                        <a:pt x="72" y="682"/>
                      </a:lnTo>
                      <a:lnTo>
                        <a:pt x="70" y="670"/>
                      </a:lnTo>
                      <a:lnTo>
                        <a:pt x="68" y="658"/>
                      </a:lnTo>
                      <a:lnTo>
                        <a:pt x="58" y="636"/>
                      </a:lnTo>
                      <a:lnTo>
                        <a:pt x="50" y="612"/>
                      </a:lnTo>
                      <a:lnTo>
                        <a:pt x="46" y="602"/>
                      </a:lnTo>
                      <a:lnTo>
                        <a:pt x="44" y="590"/>
                      </a:lnTo>
                      <a:lnTo>
                        <a:pt x="44" y="590"/>
                      </a:lnTo>
                      <a:lnTo>
                        <a:pt x="44" y="568"/>
                      </a:lnTo>
                      <a:lnTo>
                        <a:pt x="46" y="548"/>
                      </a:lnTo>
                      <a:lnTo>
                        <a:pt x="52" y="534"/>
                      </a:lnTo>
                      <a:lnTo>
                        <a:pt x="54" y="530"/>
                      </a:lnTo>
                      <a:lnTo>
                        <a:pt x="58" y="526"/>
                      </a:lnTo>
                      <a:lnTo>
                        <a:pt x="58" y="526"/>
                      </a:lnTo>
                      <a:lnTo>
                        <a:pt x="62" y="526"/>
                      </a:lnTo>
                      <a:lnTo>
                        <a:pt x="66" y="526"/>
                      </a:lnTo>
                      <a:lnTo>
                        <a:pt x="74" y="528"/>
                      </a:lnTo>
                      <a:lnTo>
                        <a:pt x="76" y="526"/>
                      </a:lnTo>
                      <a:lnTo>
                        <a:pt x="80" y="522"/>
                      </a:lnTo>
                      <a:lnTo>
                        <a:pt x="80" y="514"/>
                      </a:lnTo>
                      <a:lnTo>
                        <a:pt x="80" y="502"/>
                      </a:lnTo>
                      <a:lnTo>
                        <a:pt x="80" y="502"/>
                      </a:lnTo>
                      <a:lnTo>
                        <a:pt x="80" y="488"/>
                      </a:lnTo>
                      <a:lnTo>
                        <a:pt x="76" y="476"/>
                      </a:lnTo>
                      <a:lnTo>
                        <a:pt x="66" y="456"/>
                      </a:lnTo>
                      <a:lnTo>
                        <a:pt x="62" y="448"/>
                      </a:lnTo>
                      <a:lnTo>
                        <a:pt x="62" y="444"/>
                      </a:lnTo>
                      <a:lnTo>
                        <a:pt x="62" y="440"/>
                      </a:lnTo>
                      <a:lnTo>
                        <a:pt x="68" y="438"/>
                      </a:lnTo>
                      <a:lnTo>
                        <a:pt x="68" y="438"/>
                      </a:lnTo>
                      <a:lnTo>
                        <a:pt x="80" y="436"/>
                      </a:lnTo>
                      <a:lnTo>
                        <a:pt x="90" y="434"/>
                      </a:lnTo>
                      <a:lnTo>
                        <a:pt x="102" y="432"/>
                      </a:lnTo>
                      <a:lnTo>
                        <a:pt x="122" y="428"/>
                      </a:lnTo>
                      <a:lnTo>
                        <a:pt x="122" y="428"/>
                      </a:lnTo>
                      <a:lnTo>
                        <a:pt x="134" y="428"/>
                      </a:lnTo>
                      <a:lnTo>
                        <a:pt x="144" y="432"/>
                      </a:lnTo>
                      <a:lnTo>
                        <a:pt x="160" y="442"/>
                      </a:lnTo>
                      <a:lnTo>
                        <a:pt x="164" y="444"/>
                      </a:lnTo>
                      <a:lnTo>
                        <a:pt x="166" y="444"/>
                      </a:lnTo>
                      <a:lnTo>
                        <a:pt x="168" y="442"/>
                      </a:lnTo>
                      <a:lnTo>
                        <a:pt x="172" y="432"/>
                      </a:lnTo>
                      <a:lnTo>
                        <a:pt x="174" y="414"/>
                      </a:lnTo>
                      <a:lnTo>
                        <a:pt x="174" y="414"/>
                      </a:lnTo>
                      <a:lnTo>
                        <a:pt x="174" y="394"/>
                      </a:lnTo>
                      <a:lnTo>
                        <a:pt x="170" y="378"/>
                      </a:lnTo>
                      <a:lnTo>
                        <a:pt x="164" y="366"/>
                      </a:lnTo>
                      <a:lnTo>
                        <a:pt x="158" y="356"/>
                      </a:lnTo>
                      <a:lnTo>
                        <a:pt x="148" y="342"/>
                      </a:lnTo>
                      <a:lnTo>
                        <a:pt x="148" y="338"/>
                      </a:lnTo>
                      <a:lnTo>
                        <a:pt x="150" y="332"/>
                      </a:lnTo>
                      <a:lnTo>
                        <a:pt x="150" y="332"/>
                      </a:lnTo>
                      <a:lnTo>
                        <a:pt x="160" y="326"/>
                      </a:lnTo>
                      <a:lnTo>
                        <a:pt x="168" y="324"/>
                      </a:lnTo>
                      <a:lnTo>
                        <a:pt x="176" y="318"/>
                      </a:lnTo>
                      <a:lnTo>
                        <a:pt x="186" y="308"/>
                      </a:lnTo>
                      <a:lnTo>
                        <a:pt x="186" y="308"/>
                      </a:lnTo>
                      <a:lnTo>
                        <a:pt x="192" y="304"/>
                      </a:lnTo>
                      <a:lnTo>
                        <a:pt x="196" y="300"/>
                      </a:lnTo>
                      <a:lnTo>
                        <a:pt x="204" y="296"/>
                      </a:lnTo>
                      <a:lnTo>
                        <a:pt x="206" y="294"/>
                      </a:lnTo>
                      <a:lnTo>
                        <a:pt x="208" y="286"/>
                      </a:lnTo>
                      <a:lnTo>
                        <a:pt x="208" y="256"/>
                      </a:lnTo>
                      <a:lnTo>
                        <a:pt x="208" y="256"/>
                      </a:lnTo>
                      <a:lnTo>
                        <a:pt x="208" y="236"/>
                      </a:lnTo>
                      <a:lnTo>
                        <a:pt x="206" y="220"/>
                      </a:lnTo>
                      <a:lnTo>
                        <a:pt x="202" y="198"/>
                      </a:lnTo>
                      <a:lnTo>
                        <a:pt x="198" y="186"/>
                      </a:lnTo>
                      <a:lnTo>
                        <a:pt x="196" y="182"/>
                      </a:lnTo>
                      <a:lnTo>
                        <a:pt x="198" y="180"/>
                      </a:lnTo>
                      <a:lnTo>
                        <a:pt x="198" y="180"/>
                      </a:lnTo>
                      <a:lnTo>
                        <a:pt x="208" y="172"/>
                      </a:lnTo>
                      <a:lnTo>
                        <a:pt x="226" y="164"/>
                      </a:lnTo>
                      <a:lnTo>
                        <a:pt x="246" y="156"/>
                      </a:lnTo>
                      <a:lnTo>
                        <a:pt x="256" y="154"/>
                      </a:lnTo>
                      <a:lnTo>
                        <a:pt x="262" y="152"/>
                      </a:lnTo>
                      <a:lnTo>
                        <a:pt x="262" y="152"/>
                      </a:lnTo>
                      <a:lnTo>
                        <a:pt x="268" y="154"/>
                      </a:lnTo>
                      <a:lnTo>
                        <a:pt x="274" y="158"/>
                      </a:lnTo>
                      <a:lnTo>
                        <a:pt x="284" y="170"/>
                      </a:lnTo>
                      <a:lnTo>
                        <a:pt x="298" y="190"/>
                      </a:lnTo>
                      <a:lnTo>
                        <a:pt x="298" y="190"/>
                      </a:lnTo>
                      <a:lnTo>
                        <a:pt x="298" y="192"/>
                      </a:lnTo>
                      <a:lnTo>
                        <a:pt x="298" y="194"/>
                      </a:lnTo>
                      <a:lnTo>
                        <a:pt x="294" y="200"/>
                      </a:lnTo>
                      <a:lnTo>
                        <a:pt x="294" y="202"/>
                      </a:lnTo>
                      <a:lnTo>
                        <a:pt x="294" y="204"/>
                      </a:lnTo>
                      <a:lnTo>
                        <a:pt x="298" y="206"/>
                      </a:lnTo>
                      <a:lnTo>
                        <a:pt x="304" y="208"/>
                      </a:lnTo>
                      <a:lnTo>
                        <a:pt x="304" y="208"/>
                      </a:lnTo>
                      <a:lnTo>
                        <a:pt x="310" y="208"/>
                      </a:lnTo>
                      <a:lnTo>
                        <a:pt x="316" y="206"/>
                      </a:lnTo>
                      <a:lnTo>
                        <a:pt x="320" y="202"/>
                      </a:lnTo>
                      <a:lnTo>
                        <a:pt x="322" y="196"/>
                      </a:lnTo>
                      <a:lnTo>
                        <a:pt x="330" y="184"/>
                      </a:lnTo>
                      <a:lnTo>
                        <a:pt x="336" y="178"/>
                      </a:lnTo>
                      <a:lnTo>
                        <a:pt x="342" y="170"/>
                      </a:lnTo>
                      <a:lnTo>
                        <a:pt x="342" y="170"/>
                      </a:lnTo>
                      <a:lnTo>
                        <a:pt x="366" y="150"/>
                      </a:lnTo>
                      <a:lnTo>
                        <a:pt x="374" y="146"/>
                      </a:lnTo>
                      <a:lnTo>
                        <a:pt x="378" y="146"/>
                      </a:lnTo>
                      <a:lnTo>
                        <a:pt x="380" y="148"/>
                      </a:lnTo>
                      <a:lnTo>
                        <a:pt x="380" y="148"/>
                      </a:lnTo>
                      <a:lnTo>
                        <a:pt x="382" y="150"/>
                      </a:lnTo>
                      <a:lnTo>
                        <a:pt x="382" y="152"/>
                      </a:lnTo>
                      <a:lnTo>
                        <a:pt x="382" y="152"/>
                      </a:lnTo>
                      <a:lnTo>
                        <a:pt x="380" y="146"/>
                      </a:lnTo>
                      <a:lnTo>
                        <a:pt x="382" y="128"/>
                      </a:lnTo>
                      <a:lnTo>
                        <a:pt x="382" y="128"/>
                      </a:lnTo>
                      <a:lnTo>
                        <a:pt x="392" y="84"/>
                      </a:lnTo>
                      <a:lnTo>
                        <a:pt x="394" y="68"/>
                      </a:lnTo>
                      <a:lnTo>
                        <a:pt x="394" y="60"/>
                      </a:lnTo>
                      <a:lnTo>
                        <a:pt x="394" y="54"/>
                      </a:lnTo>
                      <a:lnTo>
                        <a:pt x="394" y="54"/>
                      </a:lnTo>
                      <a:lnTo>
                        <a:pt x="384" y="22"/>
                      </a:lnTo>
                      <a:lnTo>
                        <a:pt x="380" y="0"/>
                      </a:lnTo>
                      <a:lnTo>
                        <a:pt x="442" y="3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6" name="Freeform 40">
                  <a:extLst>
                    <a:ext uri="{FF2B5EF4-FFF2-40B4-BE49-F238E27FC236}">
                      <a16:creationId xmlns:a16="http://schemas.microsoft.com/office/drawing/2014/main" id="{D502C139-FA2E-4CB7-94EB-80ECF83185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3422" y="4168392"/>
                  <a:ext cx="269794" cy="275891"/>
                </a:xfrm>
                <a:custGeom>
                  <a:avLst/>
                  <a:gdLst/>
                  <a:ahLst/>
                  <a:cxnLst>
                    <a:cxn ang="0">
                      <a:pos x="10" y="44"/>
                    </a:cxn>
                    <a:cxn ang="0">
                      <a:pos x="58" y="20"/>
                    </a:cxn>
                    <a:cxn ang="0">
                      <a:pos x="66" y="16"/>
                    </a:cxn>
                    <a:cxn ang="0">
                      <a:pos x="78" y="4"/>
                    </a:cxn>
                    <a:cxn ang="0">
                      <a:pos x="86" y="0"/>
                    </a:cxn>
                    <a:cxn ang="0">
                      <a:pos x="96" y="2"/>
                    </a:cxn>
                    <a:cxn ang="0">
                      <a:pos x="108" y="8"/>
                    </a:cxn>
                    <a:cxn ang="0">
                      <a:pos x="120" y="18"/>
                    </a:cxn>
                    <a:cxn ang="0">
                      <a:pos x="128" y="22"/>
                    </a:cxn>
                    <a:cxn ang="0">
                      <a:pos x="142" y="28"/>
                    </a:cxn>
                    <a:cxn ang="0">
                      <a:pos x="150" y="22"/>
                    </a:cxn>
                    <a:cxn ang="0">
                      <a:pos x="168" y="10"/>
                    </a:cxn>
                    <a:cxn ang="0">
                      <a:pos x="178" y="12"/>
                    </a:cxn>
                    <a:cxn ang="0">
                      <a:pos x="196" y="22"/>
                    </a:cxn>
                    <a:cxn ang="0">
                      <a:pos x="216" y="36"/>
                    </a:cxn>
                    <a:cxn ang="0">
                      <a:pos x="248" y="56"/>
                    </a:cxn>
                    <a:cxn ang="0">
                      <a:pos x="260" y="68"/>
                    </a:cxn>
                    <a:cxn ang="0">
                      <a:pos x="300" y="94"/>
                    </a:cxn>
                    <a:cxn ang="0">
                      <a:pos x="326" y="108"/>
                    </a:cxn>
                    <a:cxn ang="0">
                      <a:pos x="324" y="148"/>
                    </a:cxn>
                    <a:cxn ang="0">
                      <a:pos x="324" y="160"/>
                    </a:cxn>
                    <a:cxn ang="0">
                      <a:pos x="338" y="192"/>
                    </a:cxn>
                    <a:cxn ang="0">
                      <a:pos x="350" y="226"/>
                    </a:cxn>
                    <a:cxn ang="0">
                      <a:pos x="352" y="240"/>
                    </a:cxn>
                    <a:cxn ang="0">
                      <a:pos x="354" y="264"/>
                    </a:cxn>
                    <a:cxn ang="0">
                      <a:pos x="350" y="276"/>
                    </a:cxn>
                    <a:cxn ang="0">
                      <a:pos x="344" y="280"/>
                    </a:cxn>
                    <a:cxn ang="0">
                      <a:pos x="296" y="302"/>
                    </a:cxn>
                    <a:cxn ang="0">
                      <a:pos x="280" y="316"/>
                    </a:cxn>
                    <a:cxn ang="0">
                      <a:pos x="278" y="326"/>
                    </a:cxn>
                    <a:cxn ang="0">
                      <a:pos x="282" y="338"/>
                    </a:cxn>
                    <a:cxn ang="0">
                      <a:pos x="294" y="362"/>
                    </a:cxn>
                    <a:cxn ang="0">
                      <a:pos x="278" y="358"/>
                    </a:cxn>
                    <a:cxn ang="0">
                      <a:pos x="252" y="346"/>
                    </a:cxn>
                    <a:cxn ang="0">
                      <a:pos x="240" y="340"/>
                    </a:cxn>
                    <a:cxn ang="0">
                      <a:pos x="214" y="324"/>
                    </a:cxn>
                    <a:cxn ang="0">
                      <a:pos x="200" y="308"/>
                    </a:cxn>
                    <a:cxn ang="0">
                      <a:pos x="194" y="298"/>
                    </a:cxn>
                    <a:cxn ang="0">
                      <a:pos x="168" y="256"/>
                    </a:cxn>
                    <a:cxn ang="0">
                      <a:pos x="150" y="228"/>
                    </a:cxn>
                    <a:cxn ang="0">
                      <a:pos x="142" y="214"/>
                    </a:cxn>
                    <a:cxn ang="0">
                      <a:pos x="112" y="176"/>
                    </a:cxn>
                    <a:cxn ang="0">
                      <a:pos x="94" y="162"/>
                    </a:cxn>
                    <a:cxn ang="0">
                      <a:pos x="86" y="156"/>
                    </a:cxn>
                    <a:cxn ang="0">
                      <a:pos x="78" y="142"/>
                    </a:cxn>
                    <a:cxn ang="0">
                      <a:pos x="74" y="122"/>
                    </a:cxn>
                    <a:cxn ang="0">
                      <a:pos x="72" y="110"/>
                    </a:cxn>
                    <a:cxn ang="0">
                      <a:pos x="66" y="94"/>
                    </a:cxn>
                    <a:cxn ang="0">
                      <a:pos x="38" y="82"/>
                    </a:cxn>
                    <a:cxn ang="0">
                      <a:pos x="26" y="78"/>
                    </a:cxn>
                    <a:cxn ang="0">
                      <a:pos x="8" y="68"/>
                    </a:cxn>
                    <a:cxn ang="0">
                      <a:pos x="0" y="56"/>
                    </a:cxn>
                    <a:cxn ang="0">
                      <a:pos x="2" y="48"/>
                    </a:cxn>
                    <a:cxn ang="0">
                      <a:pos x="10" y="44"/>
                    </a:cxn>
                  </a:cxnLst>
                  <a:rect l="0" t="0" r="r" b="b"/>
                  <a:pathLst>
                    <a:path w="354" h="362">
                      <a:moveTo>
                        <a:pt x="10" y="44"/>
                      </a:moveTo>
                      <a:lnTo>
                        <a:pt x="10" y="44"/>
                      </a:lnTo>
                      <a:lnTo>
                        <a:pt x="26" y="34"/>
                      </a:lnTo>
                      <a:lnTo>
                        <a:pt x="58" y="20"/>
                      </a:lnTo>
                      <a:lnTo>
                        <a:pt x="58" y="20"/>
                      </a:lnTo>
                      <a:lnTo>
                        <a:pt x="66" y="16"/>
                      </a:lnTo>
                      <a:lnTo>
                        <a:pt x="70" y="12"/>
                      </a:lnTo>
                      <a:lnTo>
                        <a:pt x="78" y="4"/>
                      </a:lnTo>
                      <a:lnTo>
                        <a:pt x="82" y="0"/>
                      </a:lnTo>
                      <a:lnTo>
                        <a:pt x="86" y="0"/>
                      </a:lnTo>
                      <a:lnTo>
                        <a:pt x="90" y="0"/>
                      </a:lnTo>
                      <a:lnTo>
                        <a:pt x="96" y="2"/>
                      </a:lnTo>
                      <a:lnTo>
                        <a:pt x="96" y="2"/>
                      </a:lnTo>
                      <a:lnTo>
                        <a:pt x="108" y="8"/>
                      </a:lnTo>
                      <a:lnTo>
                        <a:pt x="114" y="14"/>
                      </a:lnTo>
                      <a:lnTo>
                        <a:pt x="120" y="18"/>
                      </a:lnTo>
                      <a:lnTo>
                        <a:pt x="128" y="22"/>
                      </a:lnTo>
                      <a:lnTo>
                        <a:pt x="128" y="22"/>
                      </a:lnTo>
                      <a:lnTo>
                        <a:pt x="138" y="28"/>
                      </a:lnTo>
                      <a:lnTo>
                        <a:pt x="142" y="28"/>
                      </a:lnTo>
                      <a:lnTo>
                        <a:pt x="150" y="22"/>
                      </a:lnTo>
                      <a:lnTo>
                        <a:pt x="150" y="22"/>
                      </a:lnTo>
                      <a:lnTo>
                        <a:pt x="160" y="16"/>
                      </a:lnTo>
                      <a:lnTo>
                        <a:pt x="168" y="10"/>
                      </a:lnTo>
                      <a:lnTo>
                        <a:pt x="172" y="10"/>
                      </a:lnTo>
                      <a:lnTo>
                        <a:pt x="178" y="12"/>
                      </a:lnTo>
                      <a:lnTo>
                        <a:pt x="186" y="14"/>
                      </a:lnTo>
                      <a:lnTo>
                        <a:pt x="196" y="22"/>
                      </a:lnTo>
                      <a:lnTo>
                        <a:pt x="196" y="22"/>
                      </a:lnTo>
                      <a:lnTo>
                        <a:pt x="216" y="36"/>
                      </a:lnTo>
                      <a:lnTo>
                        <a:pt x="232" y="46"/>
                      </a:lnTo>
                      <a:lnTo>
                        <a:pt x="248" y="56"/>
                      </a:lnTo>
                      <a:lnTo>
                        <a:pt x="260" y="68"/>
                      </a:lnTo>
                      <a:lnTo>
                        <a:pt x="260" y="68"/>
                      </a:lnTo>
                      <a:lnTo>
                        <a:pt x="278" y="80"/>
                      </a:lnTo>
                      <a:lnTo>
                        <a:pt x="300" y="94"/>
                      </a:lnTo>
                      <a:lnTo>
                        <a:pt x="326" y="108"/>
                      </a:lnTo>
                      <a:lnTo>
                        <a:pt x="326" y="108"/>
                      </a:lnTo>
                      <a:lnTo>
                        <a:pt x="324" y="130"/>
                      </a:lnTo>
                      <a:lnTo>
                        <a:pt x="324" y="148"/>
                      </a:lnTo>
                      <a:lnTo>
                        <a:pt x="324" y="160"/>
                      </a:lnTo>
                      <a:lnTo>
                        <a:pt x="324" y="160"/>
                      </a:lnTo>
                      <a:lnTo>
                        <a:pt x="330" y="174"/>
                      </a:lnTo>
                      <a:lnTo>
                        <a:pt x="338" y="192"/>
                      </a:lnTo>
                      <a:lnTo>
                        <a:pt x="346" y="210"/>
                      </a:lnTo>
                      <a:lnTo>
                        <a:pt x="350" y="226"/>
                      </a:lnTo>
                      <a:lnTo>
                        <a:pt x="350" y="226"/>
                      </a:lnTo>
                      <a:lnTo>
                        <a:pt x="352" y="240"/>
                      </a:lnTo>
                      <a:lnTo>
                        <a:pt x="354" y="256"/>
                      </a:lnTo>
                      <a:lnTo>
                        <a:pt x="354" y="264"/>
                      </a:lnTo>
                      <a:lnTo>
                        <a:pt x="352" y="272"/>
                      </a:lnTo>
                      <a:lnTo>
                        <a:pt x="350" y="276"/>
                      </a:lnTo>
                      <a:lnTo>
                        <a:pt x="344" y="280"/>
                      </a:lnTo>
                      <a:lnTo>
                        <a:pt x="344" y="280"/>
                      </a:lnTo>
                      <a:lnTo>
                        <a:pt x="296" y="302"/>
                      </a:lnTo>
                      <a:lnTo>
                        <a:pt x="296" y="302"/>
                      </a:lnTo>
                      <a:lnTo>
                        <a:pt x="286" y="308"/>
                      </a:lnTo>
                      <a:lnTo>
                        <a:pt x="280" y="316"/>
                      </a:lnTo>
                      <a:lnTo>
                        <a:pt x="280" y="320"/>
                      </a:lnTo>
                      <a:lnTo>
                        <a:pt x="278" y="326"/>
                      </a:lnTo>
                      <a:lnTo>
                        <a:pt x="280" y="332"/>
                      </a:lnTo>
                      <a:lnTo>
                        <a:pt x="282" y="338"/>
                      </a:lnTo>
                      <a:lnTo>
                        <a:pt x="282" y="338"/>
                      </a:lnTo>
                      <a:lnTo>
                        <a:pt x="294" y="362"/>
                      </a:lnTo>
                      <a:lnTo>
                        <a:pt x="294" y="362"/>
                      </a:lnTo>
                      <a:lnTo>
                        <a:pt x="278" y="358"/>
                      </a:lnTo>
                      <a:lnTo>
                        <a:pt x="266" y="354"/>
                      </a:lnTo>
                      <a:lnTo>
                        <a:pt x="252" y="346"/>
                      </a:lnTo>
                      <a:lnTo>
                        <a:pt x="252" y="346"/>
                      </a:lnTo>
                      <a:lnTo>
                        <a:pt x="240" y="340"/>
                      </a:lnTo>
                      <a:lnTo>
                        <a:pt x="224" y="330"/>
                      </a:lnTo>
                      <a:lnTo>
                        <a:pt x="214" y="324"/>
                      </a:lnTo>
                      <a:lnTo>
                        <a:pt x="206" y="318"/>
                      </a:lnTo>
                      <a:lnTo>
                        <a:pt x="200" y="308"/>
                      </a:lnTo>
                      <a:lnTo>
                        <a:pt x="194" y="298"/>
                      </a:lnTo>
                      <a:lnTo>
                        <a:pt x="194" y="298"/>
                      </a:lnTo>
                      <a:lnTo>
                        <a:pt x="182" y="276"/>
                      </a:lnTo>
                      <a:lnTo>
                        <a:pt x="168" y="256"/>
                      </a:lnTo>
                      <a:lnTo>
                        <a:pt x="158" y="240"/>
                      </a:lnTo>
                      <a:lnTo>
                        <a:pt x="150" y="228"/>
                      </a:lnTo>
                      <a:lnTo>
                        <a:pt x="150" y="228"/>
                      </a:lnTo>
                      <a:lnTo>
                        <a:pt x="142" y="214"/>
                      </a:lnTo>
                      <a:lnTo>
                        <a:pt x="128" y="196"/>
                      </a:lnTo>
                      <a:lnTo>
                        <a:pt x="112" y="176"/>
                      </a:lnTo>
                      <a:lnTo>
                        <a:pt x="104" y="168"/>
                      </a:lnTo>
                      <a:lnTo>
                        <a:pt x="94" y="162"/>
                      </a:lnTo>
                      <a:lnTo>
                        <a:pt x="94" y="162"/>
                      </a:lnTo>
                      <a:lnTo>
                        <a:pt x="86" y="156"/>
                      </a:lnTo>
                      <a:lnTo>
                        <a:pt x="80" y="148"/>
                      </a:lnTo>
                      <a:lnTo>
                        <a:pt x="78" y="142"/>
                      </a:lnTo>
                      <a:lnTo>
                        <a:pt x="76" y="134"/>
                      </a:lnTo>
                      <a:lnTo>
                        <a:pt x="74" y="122"/>
                      </a:lnTo>
                      <a:lnTo>
                        <a:pt x="72" y="110"/>
                      </a:lnTo>
                      <a:lnTo>
                        <a:pt x="72" y="110"/>
                      </a:lnTo>
                      <a:lnTo>
                        <a:pt x="70" y="100"/>
                      </a:lnTo>
                      <a:lnTo>
                        <a:pt x="66" y="94"/>
                      </a:lnTo>
                      <a:lnTo>
                        <a:pt x="56" y="88"/>
                      </a:lnTo>
                      <a:lnTo>
                        <a:pt x="38" y="82"/>
                      </a:lnTo>
                      <a:lnTo>
                        <a:pt x="38" y="82"/>
                      </a:lnTo>
                      <a:lnTo>
                        <a:pt x="26" y="78"/>
                      </a:lnTo>
                      <a:lnTo>
                        <a:pt x="16" y="74"/>
                      </a:lnTo>
                      <a:lnTo>
                        <a:pt x="8" y="68"/>
                      </a:lnTo>
                      <a:lnTo>
                        <a:pt x="2" y="62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2" y="48"/>
                      </a:lnTo>
                      <a:lnTo>
                        <a:pt x="10" y="44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7" name="Freeform 41">
                  <a:extLst>
                    <a:ext uri="{FF2B5EF4-FFF2-40B4-BE49-F238E27FC236}">
                      <a16:creationId xmlns:a16="http://schemas.microsoft.com/office/drawing/2014/main" id="{DC8B2B68-6957-4F59-9474-6B06E69866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3354" y="3962616"/>
                  <a:ext cx="283513" cy="288086"/>
                </a:xfrm>
                <a:custGeom>
                  <a:avLst/>
                  <a:gdLst/>
                  <a:ahLst/>
                  <a:cxnLst>
                    <a:cxn ang="0">
                      <a:pos x="360" y="22"/>
                    </a:cxn>
                    <a:cxn ang="0">
                      <a:pos x="352" y="28"/>
                    </a:cxn>
                    <a:cxn ang="0">
                      <a:pos x="324" y="26"/>
                    </a:cxn>
                    <a:cxn ang="0">
                      <a:pos x="284" y="20"/>
                    </a:cxn>
                    <a:cxn ang="0">
                      <a:pos x="268" y="12"/>
                    </a:cxn>
                    <a:cxn ang="0">
                      <a:pos x="214" y="0"/>
                    </a:cxn>
                    <a:cxn ang="0">
                      <a:pos x="216" y="28"/>
                    </a:cxn>
                    <a:cxn ang="0">
                      <a:pos x="212" y="52"/>
                    </a:cxn>
                    <a:cxn ang="0">
                      <a:pos x="206" y="94"/>
                    </a:cxn>
                    <a:cxn ang="0">
                      <a:pos x="198" y="112"/>
                    </a:cxn>
                    <a:cxn ang="0">
                      <a:pos x="194" y="112"/>
                    </a:cxn>
                    <a:cxn ang="0">
                      <a:pos x="186" y="88"/>
                    </a:cxn>
                    <a:cxn ang="0">
                      <a:pos x="180" y="70"/>
                    </a:cxn>
                    <a:cxn ang="0">
                      <a:pos x="168" y="58"/>
                    </a:cxn>
                    <a:cxn ang="0">
                      <a:pos x="162" y="62"/>
                    </a:cxn>
                    <a:cxn ang="0">
                      <a:pos x="132" y="110"/>
                    </a:cxn>
                    <a:cxn ang="0">
                      <a:pos x="90" y="180"/>
                    </a:cxn>
                    <a:cxn ang="0">
                      <a:pos x="76" y="194"/>
                    </a:cxn>
                    <a:cxn ang="0">
                      <a:pos x="40" y="216"/>
                    </a:cxn>
                    <a:cxn ang="0">
                      <a:pos x="34" y="228"/>
                    </a:cxn>
                    <a:cxn ang="0">
                      <a:pos x="14" y="262"/>
                    </a:cxn>
                    <a:cxn ang="0">
                      <a:pos x="4" y="270"/>
                    </a:cxn>
                    <a:cxn ang="0">
                      <a:pos x="4" y="290"/>
                    </a:cxn>
                    <a:cxn ang="0">
                      <a:pos x="18" y="294"/>
                    </a:cxn>
                    <a:cxn ang="0">
                      <a:pos x="38" y="290"/>
                    </a:cxn>
                    <a:cxn ang="0">
                      <a:pos x="62" y="280"/>
                    </a:cxn>
                    <a:cxn ang="0">
                      <a:pos x="142" y="338"/>
                    </a:cxn>
                    <a:cxn ang="0">
                      <a:pos x="208" y="378"/>
                    </a:cxn>
                    <a:cxn ang="0">
                      <a:pos x="224" y="368"/>
                    </a:cxn>
                    <a:cxn ang="0">
                      <a:pos x="232" y="370"/>
                    </a:cxn>
                    <a:cxn ang="0">
                      <a:pos x="244" y="358"/>
                    </a:cxn>
                    <a:cxn ang="0">
                      <a:pos x="244" y="338"/>
                    </a:cxn>
                    <a:cxn ang="0">
                      <a:pos x="230" y="302"/>
                    </a:cxn>
                    <a:cxn ang="0">
                      <a:pos x="222" y="284"/>
                    </a:cxn>
                    <a:cxn ang="0">
                      <a:pos x="230" y="278"/>
                    </a:cxn>
                    <a:cxn ang="0">
                      <a:pos x="284" y="268"/>
                    </a:cxn>
                    <a:cxn ang="0">
                      <a:pos x="300" y="274"/>
                    </a:cxn>
                    <a:cxn ang="0">
                      <a:pos x="324" y="286"/>
                    </a:cxn>
                    <a:cxn ang="0">
                      <a:pos x="334" y="280"/>
                    </a:cxn>
                    <a:cxn ang="0">
                      <a:pos x="340" y="258"/>
                    </a:cxn>
                    <a:cxn ang="0">
                      <a:pos x="336" y="224"/>
                    </a:cxn>
                    <a:cxn ang="0">
                      <a:pos x="330" y="204"/>
                    </a:cxn>
                    <a:cxn ang="0">
                      <a:pos x="316" y="174"/>
                    </a:cxn>
                    <a:cxn ang="0">
                      <a:pos x="330" y="164"/>
                    </a:cxn>
                    <a:cxn ang="0">
                      <a:pos x="348" y="148"/>
                    </a:cxn>
                    <a:cxn ang="0">
                      <a:pos x="364" y="138"/>
                    </a:cxn>
                    <a:cxn ang="0">
                      <a:pos x="370" y="128"/>
                    </a:cxn>
                    <a:cxn ang="0">
                      <a:pos x="368" y="52"/>
                    </a:cxn>
                  </a:cxnLst>
                  <a:rect l="0" t="0" r="r" b="b"/>
                  <a:pathLst>
                    <a:path w="372" h="378">
                      <a:moveTo>
                        <a:pt x="360" y="20"/>
                      </a:moveTo>
                      <a:lnTo>
                        <a:pt x="360" y="20"/>
                      </a:lnTo>
                      <a:lnTo>
                        <a:pt x="360" y="22"/>
                      </a:lnTo>
                      <a:lnTo>
                        <a:pt x="358" y="24"/>
                      </a:lnTo>
                      <a:lnTo>
                        <a:pt x="356" y="26"/>
                      </a:lnTo>
                      <a:lnTo>
                        <a:pt x="352" y="28"/>
                      </a:lnTo>
                      <a:lnTo>
                        <a:pt x="340" y="26"/>
                      </a:lnTo>
                      <a:lnTo>
                        <a:pt x="340" y="26"/>
                      </a:lnTo>
                      <a:lnTo>
                        <a:pt x="324" y="26"/>
                      </a:lnTo>
                      <a:lnTo>
                        <a:pt x="308" y="24"/>
                      </a:lnTo>
                      <a:lnTo>
                        <a:pt x="292" y="22"/>
                      </a:lnTo>
                      <a:lnTo>
                        <a:pt x="284" y="20"/>
                      </a:lnTo>
                      <a:lnTo>
                        <a:pt x="278" y="16"/>
                      </a:lnTo>
                      <a:lnTo>
                        <a:pt x="278" y="16"/>
                      </a:lnTo>
                      <a:lnTo>
                        <a:pt x="268" y="12"/>
                      </a:lnTo>
                      <a:lnTo>
                        <a:pt x="258" y="8"/>
                      </a:lnTo>
                      <a:lnTo>
                        <a:pt x="238" y="4"/>
                      </a:lnTo>
                      <a:lnTo>
                        <a:pt x="214" y="0"/>
                      </a:lnTo>
                      <a:lnTo>
                        <a:pt x="214" y="0"/>
                      </a:lnTo>
                      <a:lnTo>
                        <a:pt x="214" y="14"/>
                      </a:lnTo>
                      <a:lnTo>
                        <a:pt x="216" y="28"/>
                      </a:lnTo>
                      <a:lnTo>
                        <a:pt x="214" y="40"/>
                      </a:lnTo>
                      <a:lnTo>
                        <a:pt x="214" y="40"/>
                      </a:lnTo>
                      <a:lnTo>
                        <a:pt x="212" y="52"/>
                      </a:lnTo>
                      <a:lnTo>
                        <a:pt x="210" y="68"/>
                      </a:lnTo>
                      <a:lnTo>
                        <a:pt x="208" y="84"/>
                      </a:lnTo>
                      <a:lnTo>
                        <a:pt x="206" y="94"/>
                      </a:lnTo>
                      <a:lnTo>
                        <a:pt x="206" y="94"/>
                      </a:lnTo>
                      <a:lnTo>
                        <a:pt x="200" y="108"/>
                      </a:lnTo>
                      <a:lnTo>
                        <a:pt x="198" y="112"/>
                      </a:lnTo>
                      <a:lnTo>
                        <a:pt x="196" y="112"/>
                      </a:lnTo>
                      <a:lnTo>
                        <a:pt x="194" y="112"/>
                      </a:lnTo>
                      <a:lnTo>
                        <a:pt x="194" y="112"/>
                      </a:lnTo>
                      <a:lnTo>
                        <a:pt x="192" y="108"/>
                      </a:lnTo>
                      <a:lnTo>
                        <a:pt x="190" y="98"/>
                      </a:lnTo>
                      <a:lnTo>
                        <a:pt x="186" y="88"/>
                      </a:lnTo>
                      <a:lnTo>
                        <a:pt x="184" y="78"/>
                      </a:lnTo>
                      <a:lnTo>
                        <a:pt x="184" y="78"/>
                      </a:lnTo>
                      <a:lnTo>
                        <a:pt x="180" y="70"/>
                      </a:lnTo>
                      <a:lnTo>
                        <a:pt x="174" y="62"/>
                      </a:lnTo>
                      <a:lnTo>
                        <a:pt x="172" y="58"/>
                      </a:lnTo>
                      <a:lnTo>
                        <a:pt x="168" y="58"/>
                      </a:lnTo>
                      <a:lnTo>
                        <a:pt x="166" y="58"/>
                      </a:lnTo>
                      <a:lnTo>
                        <a:pt x="162" y="62"/>
                      </a:lnTo>
                      <a:lnTo>
                        <a:pt x="162" y="62"/>
                      </a:lnTo>
                      <a:lnTo>
                        <a:pt x="150" y="82"/>
                      </a:lnTo>
                      <a:lnTo>
                        <a:pt x="132" y="110"/>
                      </a:lnTo>
                      <a:lnTo>
                        <a:pt x="132" y="110"/>
                      </a:lnTo>
                      <a:lnTo>
                        <a:pt x="120" y="132"/>
                      </a:lnTo>
                      <a:lnTo>
                        <a:pt x="104" y="158"/>
                      </a:lnTo>
                      <a:lnTo>
                        <a:pt x="90" y="180"/>
                      </a:lnTo>
                      <a:lnTo>
                        <a:pt x="82" y="188"/>
                      </a:lnTo>
                      <a:lnTo>
                        <a:pt x="76" y="194"/>
                      </a:lnTo>
                      <a:lnTo>
                        <a:pt x="76" y="194"/>
                      </a:lnTo>
                      <a:lnTo>
                        <a:pt x="62" y="200"/>
                      </a:lnTo>
                      <a:lnTo>
                        <a:pt x="50" y="206"/>
                      </a:lnTo>
                      <a:lnTo>
                        <a:pt x="40" y="216"/>
                      </a:lnTo>
                      <a:lnTo>
                        <a:pt x="36" y="222"/>
                      </a:lnTo>
                      <a:lnTo>
                        <a:pt x="34" y="228"/>
                      </a:lnTo>
                      <a:lnTo>
                        <a:pt x="34" y="228"/>
                      </a:lnTo>
                      <a:lnTo>
                        <a:pt x="28" y="242"/>
                      </a:lnTo>
                      <a:lnTo>
                        <a:pt x="22" y="252"/>
                      </a:lnTo>
                      <a:lnTo>
                        <a:pt x="14" y="262"/>
                      </a:lnTo>
                      <a:lnTo>
                        <a:pt x="8" y="266"/>
                      </a:lnTo>
                      <a:lnTo>
                        <a:pt x="8" y="266"/>
                      </a:lnTo>
                      <a:lnTo>
                        <a:pt x="4" y="270"/>
                      </a:lnTo>
                      <a:lnTo>
                        <a:pt x="0" y="276"/>
                      </a:lnTo>
                      <a:lnTo>
                        <a:pt x="0" y="282"/>
                      </a:lnTo>
                      <a:lnTo>
                        <a:pt x="4" y="290"/>
                      </a:lnTo>
                      <a:lnTo>
                        <a:pt x="4" y="290"/>
                      </a:lnTo>
                      <a:lnTo>
                        <a:pt x="10" y="294"/>
                      </a:lnTo>
                      <a:lnTo>
                        <a:pt x="18" y="294"/>
                      </a:lnTo>
                      <a:lnTo>
                        <a:pt x="32" y="292"/>
                      </a:lnTo>
                      <a:lnTo>
                        <a:pt x="32" y="292"/>
                      </a:lnTo>
                      <a:lnTo>
                        <a:pt x="38" y="290"/>
                      </a:lnTo>
                      <a:lnTo>
                        <a:pt x="48" y="284"/>
                      </a:lnTo>
                      <a:lnTo>
                        <a:pt x="58" y="280"/>
                      </a:lnTo>
                      <a:lnTo>
                        <a:pt x="62" y="280"/>
                      </a:lnTo>
                      <a:lnTo>
                        <a:pt x="66" y="284"/>
                      </a:lnTo>
                      <a:lnTo>
                        <a:pt x="66" y="284"/>
                      </a:lnTo>
                      <a:lnTo>
                        <a:pt x="142" y="338"/>
                      </a:lnTo>
                      <a:lnTo>
                        <a:pt x="142" y="338"/>
                      </a:lnTo>
                      <a:lnTo>
                        <a:pt x="208" y="378"/>
                      </a:lnTo>
                      <a:lnTo>
                        <a:pt x="208" y="378"/>
                      </a:lnTo>
                      <a:lnTo>
                        <a:pt x="214" y="372"/>
                      </a:lnTo>
                      <a:lnTo>
                        <a:pt x="222" y="368"/>
                      </a:lnTo>
                      <a:lnTo>
                        <a:pt x="224" y="368"/>
                      </a:lnTo>
                      <a:lnTo>
                        <a:pt x="228" y="368"/>
                      </a:lnTo>
                      <a:lnTo>
                        <a:pt x="228" y="368"/>
                      </a:lnTo>
                      <a:lnTo>
                        <a:pt x="232" y="370"/>
                      </a:lnTo>
                      <a:lnTo>
                        <a:pt x="234" y="370"/>
                      </a:lnTo>
                      <a:lnTo>
                        <a:pt x="240" y="366"/>
                      </a:lnTo>
                      <a:lnTo>
                        <a:pt x="244" y="358"/>
                      </a:lnTo>
                      <a:lnTo>
                        <a:pt x="246" y="348"/>
                      </a:lnTo>
                      <a:lnTo>
                        <a:pt x="246" y="348"/>
                      </a:lnTo>
                      <a:lnTo>
                        <a:pt x="244" y="338"/>
                      </a:lnTo>
                      <a:lnTo>
                        <a:pt x="240" y="324"/>
                      </a:lnTo>
                      <a:lnTo>
                        <a:pt x="230" y="302"/>
                      </a:lnTo>
                      <a:lnTo>
                        <a:pt x="230" y="302"/>
                      </a:lnTo>
                      <a:lnTo>
                        <a:pt x="226" y="294"/>
                      </a:lnTo>
                      <a:lnTo>
                        <a:pt x="224" y="286"/>
                      </a:lnTo>
                      <a:lnTo>
                        <a:pt x="222" y="284"/>
                      </a:lnTo>
                      <a:lnTo>
                        <a:pt x="224" y="280"/>
                      </a:lnTo>
                      <a:lnTo>
                        <a:pt x="226" y="278"/>
                      </a:lnTo>
                      <a:lnTo>
                        <a:pt x="230" y="278"/>
                      </a:lnTo>
                      <a:lnTo>
                        <a:pt x="230" y="278"/>
                      </a:lnTo>
                      <a:lnTo>
                        <a:pt x="260" y="274"/>
                      </a:lnTo>
                      <a:lnTo>
                        <a:pt x="284" y="268"/>
                      </a:lnTo>
                      <a:lnTo>
                        <a:pt x="284" y="268"/>
                      </a:lnTo>
                      <a:lnTo>
                        <a:pt x="290" y="270"/>
                      </a:lnTo>
                      <a:lnTo>
                        <a:pt x="300" y="274"/>
                      </a:lnTo>
                      <a:lnTo>
                        <a:pt x="318" y="284"/>
                      </a:lnTo>
                      <a:lnTo>
                        <a:pt x="318" y="284"/>
                      </a:lnTo>
                      <a:lnTo>
                        <a:pt x="324" y="286"/>
                      </a:lnTo>
                      <a:lnTo>
                        <a:pt x="328" y="286"/>
                      </a:lnTo>
                      <a:lnTo>
                        <a:pt x="332" y="284"/>
                      </a:lnTo>
                      <a:lnTo>
                        <a:pt x="334" y="280"/>
                      </a:lnTo>
                      <a:lnTo>
                        <a:pt x="338" y="274"/>
                      </a:lnTo>
                      <a:lnTo>
                        <a:pt x="338" y="268"/>
                      </a:lnTo>
                      <a:lnTo>
                        <a:pt x="340" y="258"/>
                      </a:lnTo>
                      <a:lnTo>
                        <a:pt x="340" y="258"/>
                      </a:lnTo>
                      <a:lnTo>
                        <a:pt x="338" y="238"/>
                      </a:lnTo>
                      <a:lnTo>
                        <a:pt x="336" y="224"/>
                      </a:lnTo>
                      <a:lnTo>
                        <a:pt x="332" y="212"/>
                      </a:lnTo>
                      <a:lnTo>
                        <a:pt x="330" y="204"/>
                      </a:lnTo>
                      <a:lnTo>
                        <a:pt x="330" y="204"/>
                      </a:lnTo>
                      <a:lnTo>
                        <a:pt x="308" y="182"/>
                      </a:lnTo>
                      <a:lnTo>
                        <a:pt x="308" y="182"/>
                      </a:lnTo>
                      <a:lnTo>
                        <a:pt x="316" y="174"/>
                      </a:lnTo>
                      <a:lnTo>
                        <a:pt x="322" y="168"/>
                      </a:lnTo>
                      <a:lnTo>
                        <a:pt x="330" y="164"/>
                      </a:lnTo>
                      <a:lnTo>
                        <a:pt x="330" y="164"/>
                      </a:lnTo>
                      <a:lnTo>
                        <a:pt x="340" y="160"/>
                      </a:lnTo>
                      <a:lnTo>
                        <a:pt x="348" y="148"/>
                      </a:lnTo>
                      <a:lnTo>
                        <a:pt x="348" y="148"/>
                      </a:lnTo>
                      <a:lnTo>
                        <a:pt x="356" y="142"/>
                      </a:lnTo>
                      <a:lnTo>
                        <a:pt x="360" y="138"/>
                      </a:lnTo>
                      <a:lnTo>
                        <a:pt x="364" y="138"/>
                      </a:lnTo>
                      <a:lnTo>
                        <a:pt x="368" y="136"/>
                      </a:lnTo>
                      <a:lnTo>
                        <a:pt x="368" y="136"/>
                      </a:lnTo>
                      <a:lnTo>
                        <a:pt x="370" y="128"/>
                      </a:lnTo>
                      <a:lnTo>
                        <a:pt x="372" y="116"/>
                      </a:lnTo>
                      <a:lnTo>
                        <a:pt x="372" y="86"/>
                      </a:lnTo>
                      <a:lnTo>
                        <a:pt x="368" y="52"/>
                      </a:lnTo>
                      <a:lnTo>
                        <a:pt x="360" y="20"/>
                      </a:lnTo>
                      <a:lnTo>
                        <a:pt x="360" y="2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8" name="Freeform 42">
                  <a:extLst>
                    <a:ext uri="{FF2B5EF4-FFF2-40B4-BE49-F238E27FC236}">
                      <a16:creationId xmlns:a16="http://schemas.microsoft.com/office/drawing/2014/main" id="{93DBDF97-B444-4E58-8CA7-968B933821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05727" y="4183634"/>
                  <a:ext cx="969431" cy="1085275"/>
                </a:xfrm>
                <a:custGeom>
                  <a:avLst/>
                  <a:gdLst/>
                  <a:ahLst/>
                  <a:cxnLst>
                    <a:cxn ang="0">
                      <a:pos x="722" y="4"/>
                    </a:cxn>
                    <a:cxn ang="0">
                      <a:pos x="684" y="14"/>
                    </a:cxn>
                    <a:cxn ang="0">
                      <a:pos x="672" y="66"/>
                    </a:cxn>
                    <a:cxn ang="0">
                      <a:pos x="666" y="108"/>
                    </a:cxn>
                    <a:cxn ang="0">
                      <a:pos x="574" y="156"/>
                    </a:cxn>
                    <a:cxn ang="0">
                      <a:pos x="502" y="174"/>
                    </a:cxn>
                    <a:cxn ang="0">
                      <a:pos x="492" y="206"/>
                    </a:cxn>
                    <a:cxn ang="0">
                      <a:pos x="372" y="150"/>
                    </a:cxn>
                    <a:cxn ang="0">
                      <a:pos x="374" y="106"/>
                    </a:cxn>
                    <a:cxn ang="0">
                      <a:pos x="326" y="96"/>
                    </a:cxn>
                    <a:cxn ang="0">
                      <a:pos x="332" y="188"/>
                    </a:cxn>
                    <a:cxn ang="0">
                      <a:pos x="330" y="250"/>
                    </a:cxn>
                    <a:cxn ang="0">
                      <a:pos x="296" y="268"/>
                    </a:cxn>
                    <a:cxn ang="0">
                      <a:pos x="224" y="240"/>
                    </a:cxn>
                    <a:cxn ang="0">
                      <a:pos x="200" y="232"/>
                    </a:cxn>
                    <a:cxn ang="0">
                      <a:pos x="158" y="162"/>
                    </a:cxn>
                    <a:cxn ang="0">
                      <a:pos x="110" y="172"/>
                    </a:cxn>
                    <a:cxn ang="0">
                      <a:pos x="8" y="164"/>
                    </a:cxn>
                    <a:cxn ang="0">
                      <a:pos x="26" y="174"/>
                    </a:cxn>
                    <a:cxn ang="0">
                      <a:pos x="62" y="216"/>
                    </a:cxn>
                    <a:cxn ang="0">
                      <a:pos x="14" y="250"/>
                    </a:cxn>
                    <a:cxn ang="0">
                      <a:pos x="112" y="330"/>
                    </a:cxn>
                    <a:cxn ang="0">
                      <a:pos x="160" y="406"/>
                    </a:cxn>
                    <a:cxn ang="0">
                      <a:pos x="210" y="484"/>
                    </a:cxn>
                    <a:cxn ang="0">
                      <a:pos x="190" y="534"/>
                    </a:cxn>
                    <a:cxn ang="0">
                      <a:pos x="244" y="626"/>
                    </a:cxn>
                    <a:cxn ang="0">
                      <a:pos x="262" y="732"/>
                    </a:cxn>
                    <a:cxn ang="0">
                      <a:pos x="224" y="944"/>
                    </a:cxn>
                    <a:cxn ang="0">
                      <a:pos x="170" y="1074"/>
                    </a:cxn>
                    <a:cxn ang="0">
                      <a:pos x="124" y="1120"/>
                    </a:cxn>
                    <a:cxn ang="0">
                      <a:pos x="228" y="1210"/>
                    </a:cxn>
                    <a:cxn ang="0">
                      <a:pos x="308" y="1274"/>
                    </a:cxn>
                    <a:cxn ang="0">
                      <a:pos x="428" y="1320"/>
                    </a:cxn>
                    <a:cxn ang="0">
                      <a:pos x="548" y="1402"/>
                    </a:cxn>
                    <a:cxn ang="0">
                      <a:pos x="644" y="1362"/>
                    </a:cxn>
                    <a:cxn ang="0">
                      <a:pos x="666" y="1310"/>
                    </a:cxn>
                    <a:cxn ang="0">
                      <a:pos x="798" y="1272"/>
                    </a:cxn>
                    <a:cxn ang="0">
                      <a:pos x="894" y="1340"/>
                    </a:cxn>
                    <a:cxn ang="0">
                      <a:pos x="962" y="1386"/>
                    </a:cxn>
                    <a:cxn ang="0">
                      <a:pos x="1072" y="1340"/>
                    </a:cxn>
                    <a:cxn ang="0">
                      <a:pos x="1138" y="1312"/>
                    </a:cxn>
                    <a:cxn ang="0">
                      <a:pos x="1122" y="1260"/>
                    </a:cxn>
                    <a:cxn ang="0">
                      <a:pos x="1092" y="1164"/>
                    </a:cxn>
                    <a:cxn ang="0">
                      <a:pos x="1090" y="1086"/>
                    </a:cxn>
                    <a:cxn ang="0">
                      <a:pos x="1108" y="1048"/>
                    </a:cxn>
                    <a:cxn ang="0">
                      <a:pos x="1096" y="928"/>
                    </a:cxn>
                    <a:cxn ang="0">
                      <a:pos x="1072" y="874"/>
                    </a:cxn>
                    <a:cxn ang="0">
                      <a:pos x="1042" y="842"/>
                    </a:cxn>
                    <a:cxn ang="0">
                      <a:pos x="1106" y="746"/>
                    </a:cxn>
                    <a:cxn ang="0">
                      <a:pos x="1194" y="622"/>
                    </a:cxn>
                    <a:cxn ang="0">
                      <a:pos x="1218" y="534"/>
                    </a:cxn>
                    <a:cxn ang="0">
                      <a:pos x="1124" y="428"/>
                    </a:cxn>
                    <a:cxn ang="0">
                      <a:pos x="1086" y="376"/>
                    </a:cxn>
                    <a:cxn ang="0">
                      <a:pos x="1000" y="318"/>
                    </a:cxn>
                    <a:cxn ang="0">
                      <a:pos x="926" y="234"/>
                    </a:cxn>
                    <a:cxn ang="0">
                      <a:pos x="850" y="138"/>
                    </a:cxn>
                    <a:cxn ang="0">
                      <a:pos x="828" y="80"/>
                    </a:cxn>
                    <a:cxn ang="0">
                      <a:pos x="758" y="38"/>
                    </a:cxn>
                  </a:cxnLst>
                  <a:rect l="0" t="0" r="r" b="b"/>
                  <a:pathLst>
                    <a:path w="1272" h="1424">
                      <a:moveTo>
                        <a:pt x="762" y="18"/>
                      </a:moveTo>
                      <a:lnTo>
                        <a:pt x="762" y="18"/>
                      </a:lnTo>
                      <a:lnTo>
                        <a:pt x="760" y="14"/>
                      </a:lnTo>
                      <a:lnTo>
                        <a:pt x="752" y="8"/>
                      </a:lnTo>
                      <a:lnTo>
                        <a:pt x="748" y="4"/>
                      </a:lnTo>
                      <a:lnTo>
                        <a:pt x="740" y="2"/>
                      </a:lnTo>
                      <a:lnTo>
                        <a:pt x="732" y="2"/>
                      </a:lnTo>
                      <a:lnTo>
                        <a:pt x="722" y="4"/>
                      </a:lnTo>
                      <a:lnTo>
                        <a:pt x="722" y="4"/>
                      </a:lnTo>
                      <a:lnTo>
                        <a:pt x="712" y="4"/>
                      </a:lnTo>
                      <a:lnTo>
                        <a:pt x="704" y="4"/>
                      </a:lnTo>
                      <a:lnTo>
                        <a:pt x="690" y="0"/>
                      </a:lnTo>
                      <a:lnTo>
                        <a:pt x="684" y="0"/>
                      </a:lnTo>
                      <a:lnTo>
                        <a:pt x="682" y="2"/>
                      </a:lnTo>
                      <a:lnTo>
                        <a:pt x="682" y="6"/>
                      </a:lnTo>
                      <a:lnTo>
                        <a:pt x="684" y="14"/>
                      </a:lnTo>
                      <a:lnTo>
                        <a:pt x="684" y="14"/>
                      </a:lnTo>
                      <a:lnTo>
                        <a:pt x="686" y="22"/>
                      </a:lnTo>
                      <a:lnTo>
                        <a:pt x="686" y="30"/>
                      </a:lnTo>
                      <a:lnTo>
                        <a:pt x="684" y="34"/>
                      </a:lnTo>
                      <a:lnTo>
                        <a:pt x="682" y="38"/>
                      </a:lnTo>
                      <a:lnTo>
                        <a:pt x="678" y="48"/>
                      </a:lnTo>
                      <a:lnTo>
                        <a:pt x="674" y="56"/>
                      </a:lnTo>
                      <a:lnTo>
                        <a:pt x="672" y="66"/>
                      </a:lnTo>
                      <a:lnTo>
                        <a:pt x="672" y="66"/>
                      </a:lnTo>
                      <a:lnTo>
                        <a:pt x="672" y="74"/>
                      </a:lnTo>
                      <a:lnTo>
                        <a:pt x="672" y="80"/>
                      </a:lnTo>
                      <a:lnTo>
                        <a:pt x="676" y="86"/>
                      </a:lnTo>
                      <a:lnTo>
                        <a:pt x="676" y="88"/>
                      </a:lnTo>
                      <a:lnTo>
                        <a:pt x="676" y="90"/>
                      </a:lnTo>
                      <a:lnTo>
                        <a:pt x="666" y="108"/>
                      </a:lnTo>
                      <a:lnTo>
                        <a:pt x="666" y="108"/>
                      </a:lnTo>
                      <a:lnTo>
                        <a:pt x="656" y="126"/>
                      </a:lnTo>
                      <a:lnTo>
                        <a:pt x="648" y="138"/>
                      </a:lnTo>
                      <a:lnTo>
                        <a:pt x="642" y="142"/>
                      </a:lnTo>
                      <a:lnTo>
                        <a:pt x="636" y="144"/>
                      </a:lnTo>
                      <a:lnTo>
                        <a:pt x="614" y="150"/>
                      </a:lnTo>
                      <a:lnTo>
                        <a:pt x="614" y="150"/>
                      </a:lnTo>
                      <a:lnTo>
                        <a:pt x="590" y="156"/>
                      </a:lnTo>
                      <a:lnTo>
                        <a:pt x="574" y="156"/>
                      </a:lnTo>
                      <a:lnTo>
                        <a:pt x="558" y="156"/>
                      </a:lnTo>
                      <a:lnTo>
                        <a:pt x="540" y="156"/>
                      </a:lnTo>
                      <a:lnTo>
                        <a:pt x="540" y="156"/>
                      </a:lnTo>
                      <a:lnTo>
                        <a:pt x="524" y="154"/>
                      </a:lnTo>
                      <a:lnTo>
                        <a:pt x="514" y="156"/>
                      </a:lnTo>
                      <a:lnTo>
                        <a:pt x="510" y="158"/>
                      </a:lnTo>
                      <a:lnTo>
                        <a:pt x="506" y="160"/>
                      </a:lnTo>
                      <a:lnTo>
                        <a:pt x="502" y="174"/>
                      </a:lnTo>
                      <a:lnTo>
                        <a:pt x="502" y="174"/>
                      </a:lnTo>
                      <a:lnTo>
                        <a:pt x="502" y="184"/>
                      </a:lnTo>
                      <a:lnTo>
                        <a:pt x="502" y="190"/>
                      </a:lnTo>
                      <a:lnTo>
                        <a:pt x="504" y="202"/>
                      </a:lnTo>
                      <a:lnTo>
                        <a:pt x="504" y="204"/>
                      </a:lnTo>
                      <a:lnTo>
                        <a:pt x="502" y="206"/>
                      </a:lnTo>
                      <a:lnTo>
                        <a:pt x="498" y="208"/>
                      </a:lnTo>
                      <a:lnTo>
                        <a:pt x="492" y="206"/>
                      </a:lnTo>
                      <a:lnTo>
                        <a:pt x="492" y="206"/>
                      </a:lnTo>
                      <a:lnTo>
                        <a:pt x="480" y="204"/>
                      </a:lnTo>
                      <a:lnTo>
                        <a:pt x="464" y="198"/>
                      </a:lnTo>
                      <a:lnTo>
                        <a:pt x="426" y="180"/>
                      </a:lnTo>
                      <a:lnTo>
                        <a:pt x="378" y="154"/>
                      </a:lnTo>
                      <a:lnTo>
                        <a:pt x="378" y="154"/>
                      </a:lnTo>
                      <a:lnTo>
                        <a:pt x="376" y="152"/>
                      </a:lnTo>
                      <a:lnTo>
                        <a:pt x="372" y="150"/>
                      </a:lnTo>
                      <a:lnTo>
                        <a:pt x="370" y="146"/>
                      </a:lnTo>
                      <a:lnTo>
                        <a:pt x="370" y="142"/>
                      </a:lnTo>
                      <a:lnTo>
                        <a:pt x="370" y="136"/>
                      </a:lnTo>
                      <a:lnTo>
                        <a:pt x="372" y="130"/>
                      </a:lnTo>
                      <a:lnTo>
                        <a:pt x="372" y="130"/>
                      </a:lnTo>
                      <a:lnTo>
                        <a:pt x="376" y="116"/>
                      </a:lnTo>
                      <a:lnTo>
                        <a:pt x="376" y="110"/>
                      </a:lnTo>
                      <a:lnTo>
                        <a:pt x="374" y="106"/>
                      </a:lnTo>
                      <a:lnTo>
                        <a:pt x="368" y="98"/>
                      </a:lnTo>
                      <a:lnTo>
                        <a:pt x="360" y="92"/>
                      </a:lnTo>
                      <a:lnTo>
                        <a:pt x="360" y="92"/>
                      </a:lnTo>
                      <a:lnTo>
                        <a:pt x="348" y="88"/>
                      </a:lnTo>
                      <a:lnTo>
                        <a:pt x="338" y="88"/>
                      </a:lnTo>
                      <a:lnTo>
                        <a:pt x="332" y="90"/>
                      </a:lnTo>
                      <a:lnTo>
                        <a:pt x="328" y="92"/>
                      </a:lnTo>
                      <a:lnTo>
                        <a:pt x="326" y="96"/>
                      </a:lnTo>
                      <a:lnTo>
                        <a:pt x="324" y="100"/>
                      </a:lnTo>
                      <a:lnTo>
                        <a:pt x="324" y="100"/>
                      </a:lnTo>
                      <a:lnTo>
                        <a:pt x="324" y="122"/>
                      </a:lnTo>
                      <a:lnTo>
                        <a:pt x="324" y="134"/>
                      </a:lnTo>
                      <a:lnTo>
                        <a:pt x="326" y="148"/>
                      </a:lnTo>
                      <a:lnTo>
                        <a:pt x="326" y="148"/>
                      </a:lnTo>
                      <a:lnTo>
                        <a:pt x="330" y="168"/>
                      </a:lnTo>
                      <a:lnTo>
                        <a:pt x="332" y="188"/>
                      </a:lnTo>
                      <a:lnTo>
                        <a:pt x="332" y="206"/>
                      </a:lnTo>
                      <a:lnTo>
                        <a:pt x="330" y="218"/>
                      </a:lnTo>
                      <a:lnTo>
                        <a:pt x="330" y="218"/>
                      </a:lnTo>
                      <a:lnTo>
                        <a:pt x="328" y="224"/>
                      </a:lnTo>
                      <a:lnTo>
                        <a:pt x="330" y="230"/>
                      </a:lnTo>
                      <a:lnTo>
                        <a:pt x="330" y="238"/>
                      </a:lnTo>
                      <a:lnTo>
                        <a:pt x="330" y="250"/>
                      </a:lnTo>
                      <a:lnTo>
                        <a:pt x="330" y="250"/>
                      </a:lnTo>
                      <a:lnTo>
                        <a:pt x="330" y="256"/>
                      </a:lnTo>
                      <a:lnTo>
                        <a:pt x="332" y="260"/>
                      </a:lnTo>
                      <a:lnTo>
                        <a:pt x="338" y="266"/>
                      </a:lnTo>
                      <a:lnTo>
                        <a:pt x="340" y="268"/>
                      </a:lnTo>
                      <a:lnTo>
                        <a:pt x="338" y="268"/>
                      </a:lnTo>
                      <a:lnTo>
                        <a:pt x="328" y="268"/>
                      </a:lnTo>
                      <a:lnTo>
                        <a:pt x="328" y="268"/>
                      </a:lnTo>
                      <a:lnTo>
                        <a:pt x="296" y="268"/>
                      </a:lnTo>
                      <a:lnTo>
                        <a:pt x="282" y="264"/>
                      </a:lnTo>
                      <a:lnTo>
                        <a:pt x="266" y="256"/>
                      </a:lnTo>
                      <a:lnTo>
                        <a:pt x="266" y="256"/>
                      </a:lnTo>
                      <a:lnTo>
                        <a:pt x="250" y="248"/>
                      </a:lnTo>
                      <a:lnTo>
                        <a:pt x="240" y="244"/>
                      </a:lnTo>
                      <a:lnTo>
                        <a:pt x="232" y="240"/>
                      </a:lnTo>
                      <a:lnTo>
                        <a:pt x="224" y="240"/>
                      </a:lnTo>
                      <a:lnTo>
                        <a:pt x="224" y="240"/>
                      </a:lnTo>
                      <a:lnTo>
                        <a:pt x="220" y="242"/>
                      </a:lnTo>
                      <a:lnTo>
                        <a:pt x="216" y="244"/>
                      </a:lnTo>
                      <a:lnTo>
                        <a:pt x="210" y="248"/>
                      </a:lnTo>
                      <a:lnTo>
                        <a:pt x="206" y="248"/>
                      </a:lnTo>
                      <a:lnTo>
                        <a:pt x="204" y="246"/>
                      </a:lnTo>
                      <a:lnTo>
                        <a:pt x="202" y="242"/>
                      </a:lnTo>
                      <a:lnTo>
                        <a:pt x="200" y="232"/>
                      </a:lnTo>
                      <a:lnTo>
                        <a:pt x="200" y="232"/>
                      </a:lnTo>
                      <a:lnTo>
                        <a:pt x="196" y="208"/>
                      </a:lnTo>
                      <a:lnTo>
                        <a:pt x="188" y="190"/>
                      </a:lnTo>
                      <a:lnTo>
                        <a:pt x="188" y="190"/>
                      </a:lnTo>
                      <a:lnTo>
                        <a:pt x="180" y="176"/>
                      </a:lnTo>
                      <a:lnTo>
                        <a:pt x="172" y="166"/>
                      </a:lnTo>
                      <a:lnTo>
                        <a:pt x="168" y="164"/>
                      </a:lnTo>
                      <a:lnTo>
                        <a:pt x="164" y="162"/>
                      </a:lnTo>
                      <a:lnTo>
                        <a:pt x="158" y="162"/>
                      </a:lnTo>
                      <a:lnTo>
                        <a:pt x="150" y="164"/>
                      </a:lnTo>
                      <a:lnTo>
                        <a:pt x="150" y="164"/>
                      </a:lnTo>
                      <a:lnTo>
                        <a:pt x="138" y="170"/>
                      </a:lnTo>
                      <a:lnTo>
                        <a:pt x="132" y="176"/>
                      </a:lnTo>
                      <a:lnTo>
                        <a:pt x="128" y="176"/>
                      </a:lnTo>
                      <a:lnTo>
                        <a:pt x="124" y="176"/>
                      </a:lnTo>
                      <a:lnTo>
                        <a:pt x="110" y="172"/>
                      </a:lnTo>
                      <a:lnTo>
                        <a:pt x="110" y="172"/>
                      </a:lnTo>
                      <a:lnTo>
                        <a:pt x="88" y="162"/>
                      </a:lnTo>
                      <a:lnTo>
                        <a:pt x="68" y="154"/>
                      </a:lnTo>
                      <a:lnTo>
                        <a:pt x="48" y="150"/>
                      </a:lnTo>
                      <a:lnTo>
                        <a:pt x="40" y="148"/>
                      </a:lnTo>
                      <a:lnTo>
                        <a:pt x="34" y="148"/>
                      </a:lnTo>
                      <a:lnTo>
                        <a:pt x="34" y="148"/>
                      </a:lnTo>
                      <a:lnTo>
                        <a:pt x="20" y="154"/>
                      </a:lnTo>
                      <a:lnTo>
                        <a:pt x="8" y="164"/>
                      </a:lnTo>
                      <a:lnTo>
                        <a:pt x="0" y="172"/>
                      </a:lnTo>
                      <a:lnTo>
                        <a:pt x="0" y="174"/>
                      </a:lnTo>
                      <a:lnTo>
                        <a:pt x="2" y="176"/>
                      </a:lnTo>
                      <a:lnTo>
                        <a:pt x="2" y="176"/>
                      </a:lnTo>
                      <a:lnTo>
                        <a:pt x="8" y="174"/>
                      </a:lnTo>
                      <a:lnTo>
                        <a:pt x="12" y="172"/>
                      </a:lnTo>
                      <a:lnTo>
                        <a:pt x="16" y="170"/>
                      </a:lnTo>
                      <a:lnTo>
                        <a:pt x="26" y="174"/>
                      </a:lnTo>
                      <a:lnTo>
                        <a:pt x="26" y="174"/>
                      </a:lnTo>
                      <a:lnTo>
                        <a:pt x="42" y="182"/>
                      </a:lnTo>
                      <a:lnTo>
                        <a:pt x="56" y="192"/>
                      </a:lnTo>
                      <a:lnTo>
                        <a:pt x="60" y="196"/>
                      </a:lnTo>
                      <a:lnTo>
                        <a:pt x="64" y="202"/>
                      </a:lnTo>
                      <a:lnTo>
                        <a:pt x="64" y="208"/>
                      </a:lnTo>
                      <a:lnTo>
                        <a:pt x="62" y="216"/>
                      </a:lnTo>
                      <a:lnTo>
                        <a:pt x="62" y="216"/>
                      </a:lnTo>
                      <a:lnTo>
                        <a:pt x="54" y="230"/>
                      </a:lnTo>
                      <a:lnTo>
                        <a:pt x="46" y="240"/>
                      </a:lnTo>
                      <a:lnTo>
                        <a:pt x="42" y="244"/>
                      </a:lnTo>
                      <a:lnTo>
                        <a:pt x="38" y="248"/>
                      </a:lnTo>
                      <a:lnTo>
                        <a:pt x="32" y="248"/>
                      </a:lnTo>
                      <a:lnTo>
                        <a:pt x="24" y="250"/>
                      </a:lnTo>
                      <a:lnTo>
                        <a:pt x="24" y="250"/>
                      </a:lnTo>
                      <a:lnTo>
                        <a:pt x="14" y="250"/>
                      </a:lnTo>
                      <a:lnTo>
                        <a:pt x="14" y="252"/>
                      </a:lnTo>
                      <a:lnTo>
                        <a:pt x="16" y="254"/>
                      </a:lnTo>
                      <a:lnTo>
                        <a:pt x="24" y="260"/>
                      </a:lnTo>
                      <a:lnTo>
                        <a:pt x="38" y="270"/>
                      </a:lnTo>
                      <a:lnTo>
                        <a:pt x="38" y="270"/>
                      </a:lnTo>
                      <a:lnTo>
                        <a:pt x="78" y="298"/>
                      </a:lnTo>
                      <a:lnTo>
                        <a:pt x="98" y="316"/>
                      </a:lnTo>
                      <a:lnTo>
                        <a:pt x="112" y="330"/>
                      </a:lnTo>
                      <a:lnTo>
                        <a:pt x="112" y="330"/>
                      </a:lnTo>
                      <a:lnTo>
                        <a:pt x="120" y="342"/>
                      </a:lnTo>
                      <a:lnTo>
                        <a:pt x="124" y="354"/>
                      </a:lnTo>
                      <a:lnTo>
                        <a:pt x="130" y="370"/>
                      </a:lnTo>
                      <a:lnTo>
                        <a:pt x="144" y="390"/>
                      </a:lnTo>
                      <a:lnTo>
                        <a:pt x="144" y="390"/>
                      </a:lnTo>
                      <a:lnTo>
                        <a:pt x="152" y="400"/>
                      </a:lnTo>
                      <a:lnTo>
                        <a:pt x="160" y="406"/>
                      </a:lnTo>
                      <a:lnTo>
                        <a:pt x="176" y="414"/>
                      </a:lnTo>
                      <a:lnTo>
                        <a:pt x="182" y="418"/>
                      </a:lnTo>
                      <a:lnTo>
                        <a:pt x="188" y="422"/>
                      </a:lnTo>
                      <a:lnTo>
                        <a:pt x="192" y="428"/>
                      </a:lnTo>
                      <a:lnTo>
                        <a:pt x="196" y="436"/>
                      </a:lnTo>
                      <a:lnTo>
                        <a:pt x="196" y="436"/>
                      </a:lnTo>
                      <a:lnTo>
                        <a:pt x="208" y="476"/>
                      </a:lnTo>
                      <a:lnTo>
                        <a:pt x="210" y="484"/>
                      </a:lnTo>
                      <a:lnTo>
                        <a:pt x="210" y="492"/>
                      </a:lnTo>
                      <a:lnTo>
                        <a:pt x="208" y="502"/>
                      </a:lnTo>
                      <a:lnTo>
                        <a:pt x="206" y="510"/>
                      </a:lnTo>
                      <a:lnTo>
                        <a:pt x="206" y="510"/>
                      </a:lnTo>
                      <a:lnTo>
                        <a:pt x="202" y="516"/>
                      </a:lnTo>
                      <a:lnTo>
                        <a:pt x="198" y="522"/>
                      </a:lnTo>
                      <a:lnTo>
                        <a:pt x="192" y="530"/>
                      </a:lnTo>
                      <a:lnTo>
                        <a:pt x="190" y="534"/>
                      </a:lnTo>
                      <a:lnTo>
                        <a:pt x="192" y="538"/>
                      </a:lnTo>
                      <a:lnTo>
                        <a:pt x="200" y="556"/>
                      </a:lnTo>
                      <a:lnTo>
                        <a:pt x="200" y="556"/>
                      </a:lnTo>
                      <a:lnTo>
                        <a:pt x="214" y="574"/>
                      </a:lnTo>
                      <a:lnTo>
                        <a:pt x="226" y="588"/>
                      </a:lnTo>
                      <a:lnTo>
                        <a:pt x="234" y="604"/>
                      </a:lnTo>
                      <a:lnTo>
                        <a:pt x="244" y="626"/>
                      </a:lnTo>
                      <a:lnTo>
                        <a:pt x="244" y="626"/>
                      </a:lnTo>
                      <a:lnTo>
                        <a:pt x="248" y="638"/>
                      </a:lnTo>
                      <a:lnTo>
                        <a:pt x="252" y="648"/>
                      </a:lnTo>
                      <a:lnTo>
                        <a:pt x="262" y="666"/>
                      </a:lnTo>
                      <a:lnTo>
                        <a:pt x="264" y="676"/>
                      </a:lnTo>
                      <a:lnTo>
                        <a:pt x="266" y="690"/>
                      </a:lnTo>
                      <a:lnTo>
                        <a:pt x="266" y="708"/>
                      </a:lnTo>
                      <a:lnTo>
                        <a:pt x="262" y="732"/>
                      </a:lnTo>
                      <a:lnTo>
                        <a:pt x="262" y="732"/>
                      </a:lnTo>
                      <a:lnTo>
                        <a:pt x="258" y="758"/>
                      </a:lnTo>
                      <a:lnTo>
                        <a:pt x="250" y="784"/>
                      </a:lnTo>
                      <a:lnTo>
                        <a:pt x="236" y="836"/>
                      </a:lnTo>
                      <a:lnTo>
                        <a:pt x="224" y="882"/>
                      </a:lnTo>
                      <a:lnTo>
                        <a:pt x="220" y="902"/>
                      </a:lnTo>
                      <a:lnTo>
                        <a:pt x="220" y="918"/>
                      </a:lnTo>
                      <a:lnTo>
                        <a:pt x="220" y="918"/>
                      </a:lnTo>
                      <a:lnTo>
                        <a:pt x="224" y="944"/>
                      </a:lnTo>
                      <a:lnTo>
                        <a:pt x="226" y="966"/>
                      </a:lnTo>
                      <a:lnTo>
                        <a:pt x="226" y="976"/>
                      </a:lnTo>
                      <a:lnTo>
                        <a:pt x="224" y="986"/>
                      </a:lnTo>
                      <a:lnTo>
                        <a:pt x="218" y="998"/>
                      </a:lnTo>
                      <a:lnTo>
                        <a:pt x="212" y="1012"/>
                      </a:lnTo>
                      <a:lnTo>
                        <a:pt x="212" y="1012"/>
                      </a:lnTo>
                      <a:lnTo>
                        <a:pt x="182" y="1058"/>
                      </a:lnTo>
                      <a:lnTo>
                        <a:pt x="170" y="1074"/>
                      </a:lnTo>
                      <a:lnTo>
                        <a:pt x="158" y="1086"/>
                      </a:lnTo>
                      <a:lnTo>
                        <a:pt x="158" y="1086"/>
                      </a:lnTo>
                      <a:lnTo>
                        <a:pt x="138" y="1104"/>
                      </a:lnTo>
                      <a:lnTo>
                        <a:pt x="128" y="1112"/>
                      </a:lnTo>
                      <a:lnTo>
                        <a:pt x="128" y="1112"/>
                      </a:lnTo>
                      <a:lnTo>
                        <a:pt x="124" y="1116"/>
                      </a:lnTo>
                      <a:lnTo>
                        <a:pt x="124" y="1118"/>
                      </a:lnTo>
                      <a:lnTo>
                        <a:pt x="124" y="1120"/>
                      </a:lnTo>
                      <a:lnTo>
                        <a:pt x="132" y="1132"/>
                      </a:lnTo>
                      <a:lnTo>
                        <a:pt x="154" y="1154"/>
                      </a:lnTo>
                      <a:lnTo>
                        <a:pt x="154" y="1154"/>
                      </a:lnTo>
                      <a:lnTo>
                        <a:pt x="170" y="1166"/>
                      </a:lnTo>
                      <a:lnTo>
                        <a:pt x="180" y="1176"/>
                      </a:lnTo>
                      <a:lnTo>
                        <a:pt x="200" y="1188"/>
                      </a:lnTo>
                      <a:lnTo>
                        <a:pt x="218" y="1202"/>
                      </a:lnTo>
                      <a:lnTo>
                        <a:pt x="228" y="1210"/>
                      </a:lnTo>
                      <a:lnTo>
                        <a:pt x="240" y="1224"/>
                      </a:lnTo>
                      <a:lnTo>
                        <a:pt x="240" y="1224"/>
                      </a:lnTo>
                      <a:lnTo>
                        <a:pt x="262" y="1246"/>
                      </a:lnTo>
                      <a:lnTo>
                        <a:pt x="274" y="1258"/>
                      </a:lnTo>
                      <a:lnTo>
                        <a:pt x="286" y="1264"/>
                      </a:lnTo>
                      <a:lnTo>
                        <a:pt x="298" y="1270"/>
                      </a:lnTo>
                      <a:lnTo>
                        <a:pt x="298" y="1270"/>
                      </a:lnTo>
                      <a:lnTo>
                        <a:pt x="308" y="1274"/>
                      </a:lnTo>
                      <a:lnTo>
                        <a:pt x="316" y="1278"/>
                      </a:lnTo>
                      <a:lnTo>
                        <a:pt x="340" y="1280"/>
                      </a:lnTo>
                      <a:lnTo>
                        <a:pt x="352" y="1284"/>
                      </a:lnTo>
                      <a:lnTo>
                        <a:pt x="366" y="1288"/>
                      </a:lnTo>
                      <a:lnTo>
                        <a:pt x="382" y="1294"/>
                      </a:lnTo>
                      <a:lnTo>
                        <a:pt x="400" y="1302"/>
                      </a:lnTo>
                      <a:lnTo>
                        <a:pt x="400" y="1302"/>
                      </a:lnTo>
                      <a:lnTo>
                        <a:pt x="428" y="1320"/>
                      </a:lnTo>
                      <a:lnTo>
                        <a:pt x="448" y="1334"/>
                      </a:lnTo>
                      <a:lnTo>
                        <a:pt x="466" y="1350"/>
                      </a:lnTo>
                      <a:lnTo>
                        <a:pt x="484" y="1370"/>
                      </a:lnTo>
                      <a:lnTo>
                        <a:pt x="484" y="1370"/>
                      </a:lnTo>
                      <a:lnTo>
                        <a:pt x="490" y="1376"/>
                      </a:lnTo>
                      <a:lnTo>
                        <a:pt x="500" y="1382"/>
                      </a:lnTo>
                      <a:lnTo>
                        <a:pt x="522" y="1392"/>
                      </a:lnTo>
                      <a:lnTo>
                        <a:pt x="548" y="1402"/>
                      </a:lnTo>
                      <a:lnTo>
                        <a:pt x="576" y="1410"/>
                      </a:lnTo>
                      <a:lnTo>
                        <a:pt x="624" y="1420"/>
                      </a:lnTo>
                      <a:lnTo>
                        <a:pt x="646" y="1424"/>
                      </a:lnTo>
                      <a:lnTo>
                        <a:pt x="646" y="1424"/>
                      </a:lnTo>
                      <a:lnTo>
                        <a:pt x="642" y="1400"/>
                      </a:lnTo>
                      <a:lnTo>
                        <a:pt x="642" y="1380"/>
                      </a:lnTo>
                      <a:lnTo>
                        <a:pt x="642" y="1370"/>
                      </a:lnTo>
                      <a:lnTo>
                        <a:pt x="644" y="1362"/>
                      </a:lnTo>
                      <a:lnTo>
                        <a:pt x="644" y="1362"/>
                      </a:lnTo>
                      <a:lnTo>
                        <a:pt x="646" y="1354"/>
                      </a:lnTo>
                      <a:lnTo>
                        <a:pt x="644" y="1346"/>
                      </a:lnTo>
                      <a:lnTo>
                        <a:pt x="644" y="1340"/>
                      </a:lnTo>
                      <a:lnTo>
                        <a:pt x="642" y="1334"/>
                      </a:lnTo>
                      <a:lnTo>
                        <a:pt x="646" y="1328"/>
                      </a:lnTo>
                      <a:lnTo>
                        <a:pt x="652" y="1320"/>
                      </a:lnTo>
                      <a:lnTo>
                        <a:pt x="666" y="1310"/>
                      </a:lnTo>
                      <a:lnTo>
                        <a:pt x="686" y="1300"/>
                      </a:lnTo>
                      <a:lnTo>
                        <a:pt x="686" y="1300"/>
                      </a:lnTo>
                      <a:lnTo>
                        <a:pt x="730" y="1282"/>
                      </a:lnTo>
                      <a:lnTo>
                        <a:pt x="750" y="1274"/>
                      </a:lnTo>
                      <a:lnTo>
                        <a:pt x="764" y="1270"/>
                      </a:lnTo>
                      <a:lnTo>
                        <a:pt x="778" y="1268"/>
                      </a:lnTo>
                      <a:lnTo>
                        <a:pt x="788" y="1270"/>
                      </a:lnTo>
                      <a:lnTo>
                        <a:pt x="798" y="1272"/>
                      </a:lnTo>
                      <a:lnTo>
                        <a:pt x="804" y="1278"/>
                      </a:lnTo>
                      <a:lnTo>
                        <a:pt x="804" y="1278"/>
                      </a:lnTo>
                      <a:lnTo>
                        <a:pt x="812" y="1292"/>
                      </a:lnTo>
                      <a:lnTo>
                        <a:pt x="822" y="1298"/>
                      </a:lnTo>
                      <a:lnTo>
                        <a:pt x="844" y="1312"/>
                      </a:lnTo>
                      <a:lnTo>
                        <a:pt x="844" y="1312"/>
                      </a:lnTo>
                      <a:lnTo>
                        <a:pt x="876" y="1330"/>
                      </a:lnTo>
                      <a:lnTo>
                        <a:pt x="894" y="1340"/>
                      </a:lnTo>
                      <a:lnTo>
                        <a:pt x="914" y="1354"/>
                      </a:lnTo>
                      <a:lnTo>
                        <a:pt x="914" y="1354"/>
                      </a:lnTo>
                      <a:lnTo>
                        <a:pt x="924" y="1362"/>
                      </a:lnTo>
                      <a:lnTo>
                        <a:pt x="930" y="1370"/>
                      </a:lnTo>
                      <a:lnTo>
                        <a:pt x="936" y="1380"/>
                      </a:lnTo>
                      <a:lnTo>
                        <a:pt x="940" y="1384"/>
                      </a:lnTo>
                      <a:lnTo>
                        <a:pt x="948" y="1386"/>
                      </a:lnTo>
                      <a:lnTo>
                        <a:pt x="962" y="1386"/>
                      </a:lnTo>
                      <a:lnTo>
                        <a:pt x="982" y="1384"/>
                      </a:lnTo>
                      <a:lnTo>
                        <a:pt x="982" y="1384"/>
                      </a:lnTo>
                      <a:lnTo>
                        <a:pt x="1002" y="1380"/>
                      </a:lnTo>
                      <a:lnTo>
                        <a:pt x="1020" y="1374"/>
                      </a:lnTo>
                      <a:lnTo>
                        <a:pt x="1034" y="1368"/>
                      </a:lnTo>
                      <a:lnTo>
                        <a:pt x="1046" y="1360"/>
                      </a:lnTo>
                      <a:lnTo>
                        <a:pt x="1064" y="1346"/>
                      </a:lnTo>
                      <a:lnTo>
                        <a:pt x="1072" y="1340"/>
                      </a:lnTo>
                      <a:lnTo>
                        <a:pt x="1080" y="1334"/>
                      </a:lnTo>
                      <a:lnTo>
                        <a:pt x="1080" y="1334"/>
                      </a:lnTo>
                      <a:lnTo>
                        <a:pt x="1098" y="1324"/>
                      </a:lnTo>
                      <a:lnTo>
                        <a:pt x="1110" y="1318"/>
                      </a:lnTo>
                      <a:lnTo>
                        <a:pt x="1122" y="1316"/>
                      </a:lnTo>
                      <a:lnTo>
                        <a:pt x="1130" y="1314"/>
                      </a:lnTo>
                      <a:lnTo>
                        <a:pt x="1130" y="1314"/>
                      </a:lnTo>
                      <a:lnTo>
                        <a:pt x="1138" y="1312"/>
                      </a:lnTo>
                      <a:lnTo>
                        <a:pt x="1144" y="1310"/>
                      </a:lnTo>
                      <a:lnTo>
                        <a:pt x="1148" y="1306"/>
                      </a:lnTo>
                      <a:lnTo>
                        <a:pt x="1148" y="1306"/>
                      </a:lnTo>
                      <a:lnTo>
                        <a:pt x="1142" y="1290"/>
                      </a:lnTo>
                      <a:lnTo>
                        <a:pt x="1134" y="1276"/>
                      </a:lnTo>
                      <a:lnTo>
                        <a:pt x="1128" y="1264"/>
                      </a:lnTo>
                      <a:lnTo>
                        <a:pt x="1128" y="1264"/>
                      </a:lnTo>
                      <a:lnTo>
                        <a:pt x="1122" y="1260"/>
                      </a:lnTo>
                      <a:lnTo>
                        <a:pt x="1118" y="1256"/>
                      </a:lnTo>
                      <a:lnTo>
                        <a:pt x="1108" y="1250"/>
                      </a:lnTo>
                      <a:lnTo>
                        <a:pt x="1102" y="1244"/>
                      </a:lnTo>
                      <a:lnTo>
                        <a:pt x="1100" y="1236"/>
                      </a:lnTo>
                      <a:lnTo>
                        <a:pt x="1096" y="1226"/>
                      </a:lnTo>
                      <a:lnTo>
                        <a:pt x="1094" y="1212"/>
                      </a:lnTo>
                      <a:lnTo>
                        <a:pt x="1094" y="1212"/>
                      </a:lnTo>
                      <a:lnTo>
                        <a:pt x="1092" y="1164"/>
                      </a:lnTo>
                      <a:lnTo>
                        <a:pt x="1092" y="1150"/>
                      </a:lnTo>
                      <a:lnTo>
                        <a:pt x="1094" y="1134"/>
                      </a:lnTo>
                      <a:lnTo>
                        <a:pt x="1094" y="1134"/>
                      </a:lnTo>
                      <a:lnTo>
                        <a:pt x="1094" y="1120"/>
                      </a:lnTo>
                      <a:lnTo>
                        <a:pt x="1092" y="1108"/>
                      </a:lnTo>
                      <a:lnTo>
                        <a:pt x="1090" y="1098"/>
                      </a:lnTo>
                      <a:lnTo>
                        <a:pt x="1090" y="1086"/>
                      </a:lnTo>
                      <a:lnTo>
                        <a:pt x="1090" y="1086"/>
                      </a:lnTo>
                      <a:lnTo>
                        <a:pt x="1092" y="1082"/>
                      </a:lnTo>
                      <a:lnTo>
                        <a:pt x="1094" y="1078"/>
                      </a:lnTo>
                      <a:lnTo>
                        <a:pt x="1102" y="1072"/>
                      </a:lnTo>
                      <a:lnTo>
                        <a:pt x="1106" y="1068"/>
                      </a:lnTo>
                      <a:lnTo>
                        <a:pt x="1108" y="1062"/>
                      </a:lnTo>
                      <a:lnTo>
                        <a:pt x="1110" y="1056"/>
                      </a:lnTo>
                      <a:lnTo>
                        <a:pt x="1108" y="1048"/>
                      </a:lnTo>
                      <a:lnTo>
                        <a:pt x="1108" y="1048"/>
                      </a:lnTo>
                      <a:lnTo>
                        <a:pt x="1108" y="1026"/>
                      </a:lnTo>
                      <a:lnTo>
                        <a:pt x="1108" y="1002"/>
                      </a:lnTo>
                      <a:lnTo>
                        <a:pt x="1112" y="974"/>
                      </a:lnTo>
                      <a:lnTo>
                        <a:pt x="1112" y="974"/>
                      </a:lnTo>
                      <a:lnTo>
                        <a:pt x="1104" y="960"/>
                      </a:lnTo>
                      <a:lnTo>
                        <a:pt x="1098" y="946"/>
                      </a:lnTo>
                      <a:lnTo>
                        <a:pt x="1096" y="928"/>
                      </a:lnTo>
                      <a:lnTo>
                        <a:pt x="1096" y="928"/>
                      </a:lnTo>
                      <a:lnTo>
                        <a:pt x="1096" y="910"/>
                      </a:lnTo>
                      <a:lnTo>
                        <a:pt x="1096" y="892"/>
                      </a:lnTo>
                      <a:lnTo>
                        <a:pt x="1094" y="886"/>
                      </a:lnTo>
                      <a:lnTo>
                        <a:pt x="1092" y="880"/>
                      </a:lnTo>
                      <a:lnTo>
                        <a:pt x="1088" y="876"/>
                      </a:lnTo>
                      <a:lnTo>
                        <a:pt x="1080" y="876"/>
                      </a:lnTo>
                      <a:lnTo>
                        <a:pt x="1080" y="876"/>
                      </a:lnTo>
                      <a:lnTo>
                        <a:pt x="1072" y="874"/>
                      </a:lnTo>
                      <a:lnTo>
                        <a:pt x="1064" y="872"/>
                      </a:lnTo>
                      <a:lnTo>
                        <a:pt x="1058" y="868"/>
                      </a:lnTo>
                      <a:lnTo>
                        <a:pt x="1052" y="864"/>
                      </a:lnTo>
                      <a:lnTo>
                        <a:pt x="1046" y="860"/>
                      </a:lnTo>
                      <a:lnTo>
                        <a:pt x="1044" y="854"/>
                      </a:lnTo>
                      <a:lnTo>
                        <a:pt x="1042" y="848"/>
                      </a:lnTo>
                      <a:lnTo>
                        <a:pt x="1042" y="842"/>
                      </a:lnTo>
                      <a:lnTo>
                        <a:pt x="1042" y="842"/>
                      </a:lnTo>
                      <a:lnTo>
                        <a:pt x="1042" y="832"/>
                      </a:lnTo>
                      <a:lnTo>
                        <a:pt x="1046" y="822"/>
                      </a:lnTo>
                      <a:lnTo>
                        <a:pt x="1054" y="806"/>
                      </a:lnTo>
                      <a:lnTo>
                        <a:pt x="1074" y="784"/>
                      </a:lnTo>
                      <a:lnTo>
                        <a:pt x="1074" y="784"/>
                      </a:lnTo>
                      <a:lnTo>
                        <a:pt x="1090" y="764"/>
                      </a:lnTo>
                      <a:lnTo>
                        <a:pt x="1098" y="754"/>
                      </a:lnTo>
                      <a:lnTo>
                        <a:pt x="1106" y="746"/>
                      </a:lnTo>
                      <a:lnTo>
                        <a:pt x="1122" y="730"/>
                      </a:lnTo>
                      <a:lnTo>
                        <a:pt x="1122" y="730"/>
                      </a:lnTo>
                      <a:lnTo>
                        <a:pt x="1142" y="710"/>
                      </a:lnTo>
                      <a:lnTo>
                        <a:pt x="1158" y="696"/>
                      </a:lnTo>
                      <a:lnTo>
                        <a:pt x="1172" y="686"/>
                      </a:lnTo>
                      <a:lnTo>
                        <a:pt x="1172" y="686"/>
                      </a:lnTo>
                      <a:lnTo>
                        <a:pt x="1194" y="622"/>
                      </a:lnTo>
                      <a:lnTo>
                        <a:pt x="1194" y="622"/>
                      </a:lnTo>
                      <a:lnTo>
                        <a:pt x="1196" y="606"/>
                      </a:lnTo>
                      <a:lnTo>
                        <a:pt x="1198" y="590"/>
                      </a:lnTo>
                      <a:lnTo>
                        <a:pt x="1198" y="568"/>
                      </a:lnTo>
                      <a:lnTo>
                        <a:pt x="1198" y="568"/>
                      </a:lnTo>
                      <a:lnTo>
                        <a:pt x="1200" y="560"/>
                      </a:lnTo>
                      <a:lnTo>
                        <a:pt x="1206" y="550"/>
                      </a:lnTo>
                      <a:lnTo>
                        <a:pt x="1212" y="542"/>
                      </a:lnTo>
                      <a:lnTo>
                        <a:pt x="1218" y="534"/>
                      </a:lnTo>
                      <a:lnTo>
                        <a:pt x="1218" y="534"/>
                      </a:lnTo>
                      <a:lnTo>
                        <a:pt x="1272" y="494"/>
                      </a:lnTo>
                      <a:lnTo>
                        <a:pt x="1272" y="494"/>
                      </a:lnTo>
                      <a:lnTo>
                        <a:pt x="1208" y="464"/>
                      </a:lnTo>
                      <a:lnTo>
                        <a:pt x="1162" y="442"/>
                      </a:lnTo>
                      <a:lnTo>
                        <a:pt x="1136" y="432"/>
                      </a:lnTo>
                      <a:lnTo>
                        <a:pt x="1136" y="432"/>
                      </a:lnTo>
                      <a:lnTo>
                        <a:pt x="1124" y="428"/>
                      </a:lnTo>
                      <a:lnTo>
                        <a:pt x="1120" y="424"/>
                      </a:lnTo>
                      <a:lnTo>
                        <a:pt x="1118" y="420"/>
                      </a:lnTo>
                      <a:lnTo>
                        <a:pt x="1118" y="420"/>
                      </a:lnTo>
                      <a:lnTo>
                        <a:pt x="1106" y="400"/>
                      </a:lnTo>
                      <a:lnTo>
                        <a:pt x="1100" y="390"/>
                      </a:lnTo>
                      <a:lnTo>
                        <a:pt x="1094" y="384"/>
                      </a:lnTo>
                      <a:lnTo>
                        <a:pt x="1094" y="384"/>
                      </a:lnTo>
                      <a:lnTo>
                        <a:pt x="1086" y="376"/>
                      </a:lnTo>
                      <a:lnTo>
                        <a:pt x="1074" y="362"/>
                      </a:lnTo>
                      <a:lnTo>
                        <a:pt x="1060" y="350"/>
                      </a:lnTo>
                      <a:lnTo>
                        <a:pt x="1052" y="342"/>
                      </a:lnTo>
                      <a:lnTo>
                        <a:pt x="1052" y="342"/>
                      </a:lnTo>
                      <a:lnTo>
                        <a:pt x="1040" y="338"/>
                      </a:lnTo>
                      <a:lnTo>
                        <a:pt x="1018" y="328"/>
                      </a:lnTo>
                      <a:lnTo>
                        <a:pt x="1018" y="328"/>
                      </a:lnTo>
                      <a:lnTo>
                        <a:pt x="1000" y="318"/>
                      </a:lnTo>
                      <a:lnTo>
                        <a:pt x="978" y="302"/>
                      </a:lnTo>
                      <a:lnTo>
                        <a:pt x="960" y="288"/>
                      </a:lnTo>
                      <a:lnTo>
                        <a:pt x="952" y="278"/>
                      </a:lnTo>
                      <a:lnTo>
                        <a:pt x="952" y="278"/>
                      </a:lnTo>
                      <a:lnTo>
                        <a:pt x="946" y="268"/>
                      </a:lnTo>
                      <a:lnTo>
                        <a:pt x="938" y="254"/>
                      </a:lnTo>
                      <a:lnTo>
                        <a:pt x="926" y="234"/>
                      </a:lnTo>
                      <a:lnTo>
                        <a:pt x="926" y="234"/>
                      </a:lnTo>
                      <a:lnTo>
                        <a:pt x="906" y="206"/>
                      </a:lnTo>
                      <a:lnTo>
                        <a:pt x="894" y="188"/>
                      </a:lnTo>
                      <a:lnTo>
                        <a:pt x="886" y="176"/>
                      </a:lnTo>
                      <a:lnTo>
                        <a:pt x="886" y="176"/>
                      </a:lnTo>
                      <a:lnTo>
                        <a:pt x="882" y="168"/>
                      </a:lnTo>
                      <a:lnTo>
                        <a:pt x="878" y="162"/>
                      </a:lnTo>
                      <a:lnTo>
                        <a:pt x="866" y="152"/>
                      </a:lnTo>
                      <a:lnTo>
                        <a:pt x="850" y="138"/>
                      </a:lnTo>
                      <a:lnTo>
                        <a:pt x="850" y="138"/>
                      </a:lnTo>
                      <a:lnTo>
                        <a:pt x="840" y="128"/>
                      </a:lnTo>
                      <a:lnTo>
                        <a:pt x="836" y="120"/>
                      </a:lnTo>
                      <a:lnTo>
                        <a:pt x="832" y="110"/>
                      </a:lnTo>
                      <a:lnTo>
                        <a:pt x="832" y="110"/>
                      </a:lnTo>
                      <a:lnTo>
                        <a:pt x="830" y="100"/>
                      </a:lnTo>
                      <a:lnTo>
                        <a:pt x="830" y="90"/>
                      </a:lnTo>
                      <a:lnTo>
                        <a:pt x="828" y="80"/>
                      </a:lnTo>
                      <a:lnTo>
                        <a:pt x="826" y="76"/>
                      </a:lnTo>
                      <a:lnTo>
                        <a:pt x="824" y="74"/>
                      </a:lnTo>
                      <a:lnTo>
                        <a:pt x="824" y="74"/>
                      </a:lnTo>
                      <a:lnTo>
                        <a:pt x="800" y="62"/>
                      </a:lnTo>
                      <a:lnTo>
                        <a:pt x="782" y="56"/>
                      </a:lnTo>
                      <a:lnTo>
                        <a:pt x="782" y="56"/>
                      </a:lnTo>
                      <a:lnTo>
                        <a:pt x="768" y="46"/>
                      </a:lnTo>
                      <a:lnTo>
                        <a:pt x="758" y="38"/>
                      </a:lnTo>
                      <a:lnTo>
                        <a:pt x="756" y="34"/>
                      </a:lnTo>
                      <a:lnTo>
                        <a:pt x="756" y="32"/>
                      </a:lnTo>
                      <a:lnTo>
                        <a:pt x="756" y="32"/>
                      </a:lnTo>
                      <a:lnTo>
                        <a:pt x="764" y="26"/>
                      </a:lnTo>
                      <a:lnTo>
                        <a:pt x="768" y="24"/>
                      </a:lnTo>
                      <a:lnTo>
                        <a:pt x="762" y="1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29" name="Freeform 43">
                  <a:extLst>
                    <a:ext uri="{FF2B5EF4-FFF2-40B4-BE49-F238E27FC236}">
                      <a16:creationId xmlns:a16="http://schemas.microsoft.com/office/drawing/2014/main" id="{2308755C-C716-47DE-9C96-8D94BF6E3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1660" y="3383396"/>
                  <a:ext cx="346007" cy="411551"/>
                </a:xfrm>
                <a:custGeom>
                  <a:avLst/>
                  <a:gdLst/>
                  <a:ahLst/>
                  <a:cxnLst>
                    <a:cxn ang="0">
                      <a:pos x="438" y="292"/>
                    </a:cxn>
                    <a:cxn ang="0">
                      <a:pos x="442" y="324"/>
                    </a:cxn>
                    <a:cxn ang="0">
                      <a:pos x="418" y="370"/>
                    </a:cxn>
                    <a:cxn ang="0">
                      <a:pos x="396" y="436"/>
                    </a:cxn>
                    <a:cxn ang="0">
                      <a:pos x="388" y="476"/>
                    </a:cxn>
                    <a:cxn ang="0">
                      <a:pos x="360" y="500"/>
                    </a:cxn>
                    <a:cxn ang="0">
                      <a:pos x="276" y="520"/>
                    </a:cxn>
                    <a:cxn ang="0">
                      <a:pos x="214" y="512"/>
                    </a:cxn>
                    <a:cxn ang="0">
                      <a:pos x="178" y="516"/>
                    </a:cxn>
                    <a:cxn ang="0">
                      <a:pos x="104" y="540"/>
                    </a:cxn>
                    <a:cxn ang="0">
                      <a:pos x="44" y="530"/>
                    </a:cxn>
                    <a:cxn ang="0">
                      <a:pos x="6" y="510"/>
                    </a:cxn>
                    <a:cxn ang="0">
                      <a:pos x="16" y="496"/>
                    </a:cxn>
                    <a:cxn ang="0">
                      <a:pos x="30" y="478"/>
                    </a:cxn>
                    <a:cxn ang="0">
                      <a:pos x="10" y="452"/>
                    </a:cxn>
                    <a:cxn ang="0">
                      <a:pos x="0" y="416"/>
                    </a:cxn>
                    <a:cxn ang="0">
                      <a:pos x="16" y="394"/>
                    </a:cxn>
                    <a:cxn ang="0">
                      <a:pos x="72" y="350"/>
                    </a:cxn>
                    <a:cxn ang="0">
                      <a:pos x="74" y="328"/>
                    </a:cxn>
                    <a:cxn ang="0">
                      <a:pos x="94" y="326"/>
                    </a:cxn>
                    <a:cxn ang="0">
                      <a:pos x="136" y="292"/>
                    </a:cxn>
                    <a:cxn ang="0">
                      <a:pos x="158" y="278"/>
                    </a:cxn>
                    <a:cxn ang="0">
                      <a:pos x="162" y="250"/>
                    </a:cxn>
                    <a:cxn ang="0">
                      <a:pos x="136" y="220"/>
                    </a:cxn>
                    <a:cxn ang="0">
                      <a:pos x="112" y="198"/>
                    </a:cxn>
                    <a:cxn ang="0">
                      <a:pos x="112" y="164"/>
                    </a:cxn>
                    <a:cxn ang="0">
                      <a:pos x="128" y="150"/>
                    </a:cxn>
                    <a:cxn ang="0">
                      <a:pos x="156" y="136"/>
                    </a:cxn>
                    <a:cxn ang="0">
                      <a:pos x="162" y="120"/>
                    </a:cxn>
                    <a:cxn ang="0">
                      <a:pos x="156" y="100"/>
                    </a:cxn>
                    <a:cxn ang="0">
                      <a:pos x="178" y="74"/>
                    </a:cxn>
                    <a:cxn ang="0">
                      <a:pos x="210" y="64"/>
                    </a:cxn>
                    <a:cxn ang="0">
                      <a:pos x="226" y="72"/>
                    </a:cxn>
                    <a:cxn ang="0">
                      <a:pos x="244" y="96"/>
                    </a:cxn>
                    <a:cxn ang="0">
                      <a:pos x="282" y="110"/>
                    </a:cxn>
                    <a:cxn ang="0">
                      <a:pos x="310" y="106"/>
                    </a:cxn>
                    <a:cxn ang="0">
                      <a:pos x="328" y="90"/>
                    </a:cxn>
                    <a:cxn ang="0">
                      <a:pos x="332" y="76"/>
                    </a:cxn>
                    <a:cxn ang="0">
                      <a:pos x="318" y="58"/>
                    </a:cxn>
                    <a:cxn ang="0">
                      <a:pos x="328" y="38"/>
                    </a:cxn>
                    <a:cxn ang="0">
                      <a:pos x="374" y="2"/>
                    </a:cxn>
                    <a:cxn ang="0">
                      <a:pos x="410" y="4"/>
                    </a:cxn>
                    <a:cxn ang="0">
                      <a:pos x="438" y="14"/>
                    </a:cxn>
                    <a:cxn ang="0">
                      <a:pos x="444" y="34"/>
                    </a:cxn>
                    <a:cxn ang="0">
                      <a:pos x="448" y="58"/>
                    </a:cxn>
                    <a:cxn ang="0">
                      <a:pos x="360" y="130"/>
                    </a:cxn>
                    <a:cxn ang="0">
                      <a:pos x="342" y="140"/>
                    </a:cxn>
                    <a:cxn ang="0">
                      <a:pos x="336" y="156"/>
                    </a:cxn>
                    <a:cxn ang="0">
                      <a:pos x="352" y="182"/>
                    </a:cxn>
                    <a:cxn ang="0">
                      <a:pos x="366" y="186"/>
                    </a:cxn>
                    <a:cxn ang="0">
                      <a:pos x="396" y="174"/>
                    </a:cxn>
                    <a:cxn ang="0">
                      <a:pos x="410" y="180"/>
                    </a:cxn>
                    <a:cxn ang="0">
                      <a:pos x="422" y="222"/>
                    </a:cxn>
                    <a:cxn ang="0">
                      <a:pos x="430" y="286"/>
                    </a:cxn>
                  </a:cxnLst>
                  <a:rect l="0" t="0" r="r" b="b"/>
                  <a:pathLst>
                    <a:path w="454" h="540">
                      <a:moveTo>
                        <a:pt x="430" y="286"/>
                      </a:moveTo>
                      <a:lnTo>
                        <a:pt x="430" y="286"/>
                      </a:lnTo>
                      <a:lnTo>
                        <a:pt x="436" y="288"/>
                      </a:lnTo>
                      <a:lnTo>
                        <a:pt x="438" y="292"/>
                      </a:lnTo>
                      <a:lnTo>
                        <a:pt x="442" y="296"/>
                      </a:lnTo>
                      <a:lnTo>
                        <a:pt x="444" y="304"/>
                      </a:lnTo>
                      <a:lnTo>
                        <a:pt x="446" y="312"/>
                      </a:lnTo>
                      <a:lnTo>
                        <a:pt x="442" y="324"/>
                      </a:lnTo>
                      <a:lnTo>
                        <a:pt x="434" y="338"/>
                      </a:lnTo>
                      <a:lnTo>
                        <a:pt x="434" y="338"/>
                      </a:lnTo>
                      <a:lnTo>
                        <a:pt x="426" y="354"/>
                      </a:lnTo>
                      <a:lnTo>
                        <a:pt x="418" y="370"/>
                      </a:lnTo>
                      <a:lnTo>
                        <a:pt x="408" y="398"/>
                      </a:lnTo>
                      <a:lnTo>
                        <a:pt x="402" y="420"/>
                      </a:lnTo>
                      <a:lnTo>
                        <a:pt x="396" y="436"/>
                      </a:lnTo>
                      <a:lnTo>
                        <a:pt x="396" y="436"/>
                      </a:lnTo>
                      <a:lnTo>
                        <a:pt x="394" y="444"/>
                      </a:lnTo>
                      <a:lnTo>
                        <a:pt x="394" y="450"/>
                      </a:lnTo>
                      <a:lnTo>
                        <a:pt x="390" y="466"/>
                      </a:lnTo>
                      <a:lnTo>
                        <a:pt x="388" y="476"/>
                      </a:lnTo>
                      <a:lnTo>
                        <a:pt x="382" y="484"/>
                      </a:lnTo>
                      <a:lnTo>
                        <a:pt x="374" y="492"/>
                      </a:lnTo>
                      <a:lnTo>
                        <a:pt x="360" y="500"/>
                      </a:lnTo>
                      <a:lnTo>
                        <a:pt x="360" y="500"/>
                      </a:lnTo>
                      <a:lnTo>
                        <a:pt x="336" y="510"/>
                      </a:lnTo>
                      <a:lnTo>
                        <a:pt x="316" y="518"/>
                      </a:lnTo>
                      <a:lnTo>
                        <a:pt x="300" y="520"/>
                      </a:lnTo>
                      <a:lnTo>
                        <a:pt x="276" y="520"/>
                      </a:lnTo>
                      <a:lnTo>
                        <a:pt x="276" y="520"/>
                      </a:lnTo>
                      <a:lnTo>
                        <a:pt x="252" y="518"/>
                      </a:lnTo>
                      <a:lnTo>
                        <a:pt x="232" y="514"/>
                      </a:lnTo>
                      <a:lnTo>
                        <a:pt x="214" y="512"/>
                      </a:lnTo>
                      <a:lnTo>
                        <a:pt x="204" y="512"/>
                      </a:lnTo>
                      <a:lnTo>
                        <a:pt x="192" y="512"/>
                      </a:lnTo>
                      <a:lnTo>
                        <a:pt x="192" y="512"/>
                      </a:lnTo>
                      <a:lnTo>
                        <a:pt x="178" y="516"/>
                      </a:lnTo>
                      <a:lnTo>
                        <a:pt x="164" y="520"/>
                      </a:lnTo>
                      <a:lnTo>
                        <a:pt x="134" y="532"/>
                      </a:lnTo>
                      <a:lnTo>
                        <a:pt x="120" y="536"/>
                      </a:lnTo>
                      <a:lnTo>
                        <a:pt x="104" y="540"/>
                      </a:lnTo>
                      <a:lnTo>
                        <a:pt x="88" y="540"/>
                      </a:lnTo>
                      <a:lnTo>
                        <a:pt x="72" y="538"/>
                      </a:lnTo>
                      <a:lnTo>
                        <a:pt x="72" y="538"/>
                      </a:lnTo>
                      <a:lnTo>
                        <a:pt x="44" y="530"/>
                      </a:lnTo>
                      <a:lnTo>
                        <a:pt x="20" y="524"/>
                      </a:lnTo>
                      <a:lnTo>
                        <a:pt x="12" y="520"/>
                      </a:lnTo>
                      <a:lnTo>
                        <a:pt x="8" y="514"/>
                      </a:lnTo>
                      <a:lnTo>
                        <a:pt x="6" y="510"/>
                      </a:lnTo>
                      <a:lnTo>
                        <a:pt x="6" y="504"/>
                      </a:lnTo>
                      <a:lnTo>
                        <a:pt x="6" y="504"/>
                      </a:lnTo>
                      <a:lnTo>
                        <a:pt x="10" y="500"/>
                      </a:lnTo>
                      <a:lnTo>
                        <a:pt x="16" y="496"/>
                      </a:lnTo>
                      <a:lnTo>
                        <a:pt x="26" y="490"/>
                      </a:lnTo>
                      <a:lnTo>
                        <a:pt x="30" y="486"/>
                      </a:lnTo>
                      <a:lnTo>
                        <a:pt x="30" y="484"/>
                      </a:lnTo>
                      <a:lnTo>
                        <a:pt x="30" y="478"/>
                      </a:lnTo>
                      <a:lnTo>
                        <a:pt x="26" y="472"/>
                      </a:lnTo>
                      <a:lnTo>
                        <a:pt x="26" y="472"/>
                      </a:lnTo>
                      <a:lnTo>
                        <a:pt x="16" y="462"/>
                      </a:lnTo>
                      <a:lnTo>
                        <a:pt x="10" y="452"/>
                      </a:lnTo>
                      <a:lnTo>
                        <a:pt x="6" y="442"/>
                      </a:lnTo>
                      <a:lnTo>
                        <a:pt x="2" y="430"/>
                      </a:lnTo>
                      <a:lnTo>
                        <a:pt x="2" y="430"/>
                      </a:lnTo>
                      <a:lnTo>
                        <a:pt x="0" y="416"/>
                      </a:lnTo>
                      <a:lnTo>
                        <a:pt x="2" y="404"/>
                      </a:lnTo>
                      <a:lnTo>
                        <a:pt x="8" y="398"/>
                      </a:lnTo>
                      <a:lnTo>
                        <a:pt x="16" y="394"/>
                      </a:lnTo>
                      <a:lnTo>
                        <a:pt x="16" y="394"/>
                      </a:lnTo>
                      <a:lnTo>
                        <a:pt x="86" y="374"/>
                      </a:lnTo>
                      <a:lnTo>
                        <a:pt x="86" y="374"/>
                      </a:lnTo>
                      <a:lnTo>
                        <a:pt x="82" y="366"/>
                      </a:lnTo>
                      <a:lnTo>
                        <a:pt x="72" y="350"/>
                      </a:lnTo>
                      <a:lnTo>
                        <a:pt x="70" y="342"/>
                      </a:lnTo>
                      <a:lnTo>
                        <a:pt x="70" y="334"/>
                      </a:lnTo>
                      <a:lnTo>
                        <a:pt x="70" y="332"/>
                      </a:lnTo>
                      <a:lnTo>
                        <a:pt x="74" y="328"/>
                      </a:lnTo>
                      <a:lnTo>
                        <a:pt x="76" y="328"/>
                      </a:lnTo>
                      <a:lnTo>
                        <a:pt x="82" y="326"/>
                      </a:lnTo>
                      <a:lnTo>
                        <a:pt x="82" y="326"/>
                      </a:lnTo>
                      <a:lnTo>
                        <a:pt x="94" y="326"/>
                      </a:lnTo>
                      <a:lnTo>
                        <a:pt x="106" y="320"/>
                      </a:lnTo>
                      <a:lnTo>
                        <a:pt x="114" y="314"/>
                      </a:lnTo>
                      <a:lnTo>
                        <a:pt x="124" y="306"/>
                      </a:lnTo>
                      <a:lnTo>
                        <a:pt x="136" y="292"/>
                      </a:lnTo>
                      <a:lnTo>
                        <a:pt x="140" y="286"/>
                      </a:lnTo>
                      <a:lnTo>
                        <a:pt x="140" y="286"/>
                      </a:lnTo>
                      <a:lnTo>
                        <a:pt x="146" y="284"/>
                      </a:lnTo>
                      <a:lnTo>
                        <a:pt x="158" y="278"/>
                      </a:lnTo>
                      <a:lnTo>
                        <a:pt x="164" y="274"/>
                      </a:lnTo>
                      <a:lnTo>
                        <a:pt x="166" y="268"/>
                      </a:lnTo>
                      <a:lnTo>
                        <a:pt x="166" y="260"/>
                      </a:lnTo>
                      <a:lnTo>
                        <a:pt x="162" y="250"/>
                      </a:lnTo>
                      <a:lnTo>
                        <a:pt x="162" y="250"/>
                      </a:lnTo>
                      <a:lnTo>
                        <a:pt x="150" y="234"/>
                      </a:lnTo>
                      <a:lnTo>
                        <a:pt x="142" y="226"/>
                      </a:lnTo>
                      <a:lnTo>
                        <a:pt x="136" y="220"/>
                      </a:lnTo>
                      <a:lnTo>
                        <a:pt x="122" y="212"/>
                      </a:lnTo>
                      <a:lnTo>
                        <a:pt x="122" y="212"/>
                      </a:lnTo>
                      <a:lnTo>
                        <a:pt x="116" y="206"/>
                      </a:lnTo>
                      <a:lnTo>
                        <a:pt x="112" y="198"/>
                      </a:lnTo>
                      <a:lnTo>
                        <a:pt x="110" y="190"/>
                      </a:lnTo>
                      <a:lnTo>
                        <a:pt x="108" y="182"/>
                      </a:lnTo>
                      <a:lnTo>
                        <a:pt x="110" y="172"/>
                      </a:lnTo>
                      <a:lnTo>
                        <a:pt x="112" y="164"/>
                      </a:lnTo>
                      <a:lnTo>
                        <a:pt x="116" y="158"/>
                      </a:lnTo>
                      <a:lnTo>
                        <a:pt x="120" y="154"/>
                      </a:lnTo>
                      <a:lnTo>
                        <a:pt x="120" y="154"/>
                      </a:lnTo>
                      <a:lnTo>
                        <a:pt x="128" y="150"/>
                      </a:lnTo>
                      <a:lnTo>
                        <a:pt x="140" y="148"/>
                      </a:lnTo>
                      <a:lnTo>
                        <a:pt x="146" y="144"/>
                      </a:lnTo>
                      <a:lnTo>
                        <a:pt x="152" y="142"/>
                      </a:lnTo>
                      <a:lnTo>
                        <a:pt x="156" y="136"/>
                      </a:lnTo>
                      <a:lnTo>
                        <a:pt x="160" y="130"/>
                      </a:lnTo>
                      <a:lnTo>
                        <a:pt x="160" y="130"/>
                      </a:lnTo>
                      <a:lnTo>
                        <a:pt x="162" y="124"/>
                      </a:lnTo>
                      <a:lnTo>
                        <a:pt x="162" y="120"/>
                      </a:lnTo>
                      <a:lnTo>
                        <a:pt x="156" y="114"/>
                      </a:lnTo>
                      <a:lnTo>
                        <a:pt x="154" y="110"/>
                      </a:lnTo>
                      <a:lnTo>
                        <a:pt x="154" y="106"/>
                      </a:lnTo>
                      <a:lnTo>
                        <a:pt x="156" y="100"/>
                      </a:lnTo>
                      <a:lnTo>
                        <a:pt x="162" y="90"/>
                      </a:lnTo>
                      <a:lnTo>
                        <a:pt x="162" y="90"/>
                      </a:lnTo>
                      <a:lnTo>
                        <a:pt x="170" y="80"/>
                      </a:lnTo>
                      <a:lnTo>
                        <a:pt x="178" y="74"/>
                      </a:lnTo>
                      <a:lnTo>
                        <a:pt x="186" y="68"/>
                      </a:lnTo>
                      <a:lnTo>
                        <a:pt x="194" y="64"/>
                      </a:lnTo>
                      <a:lnTo>
                        <a:pt x="202" y="64"/>
                      </a:lnTo>
                      <a:lnTo>
                        <a:pt x="210" y="64"/>
                      </a:lnTo>
                      <a:lnTo>
                        <a:pt x="216" y="66"/>
                      </a:lnTo>
                      <a:lnTo>
                        <a:pt x="222" y="68"/>
                      </a:lnTo>
                      <a:lnTo>
                        <a:pt x="222" y="68"/>
                      </a:lnTo>
                      <a:lnTo>
                        <a:pt x="226" y="72"/>
                      </a:lnTo>
                      <a:lnTo>
                        <a:pt x="228" y="76"/>
                      </a:lnTo>
                      <a:lnTo>
                        <a:pt x="232" y="84"/>
                      </a:lnTo>
                      <a:lnTo>
                        <a:pt x="238" y="92"/>
                      </a:lnTo>
                      <a:lnTo>
                        <a:pt x="244" y="96"/>
                      </a:lnTo>
                      <a:lnTo>
                        <a:pt x="252" y="102"/>
                      </a:lnTo>
                      <a:lnTo>
                        <a:pt x="252" y="102"/>
                      </a:lnTo>
                      <a:lnTo>
                        <a:pt x="270" y="108"/>
                      </a:lnTo>
                      <a:lnTo>
                        <a:pt x="282" y="110"/>
                      </a:lnTo>
                      <a:lnTo>
                        <a:pt x="292" y="110"/>
                      </a:lnTo>
                      <a:lnTo>
                        <a:pt x="302" y="108"/>
                      </a:lnTo>
                      <a:lnTo>
                        <a:pt x="302" y="108"/>
                      </a:lnTo>
                      <a:lnTo>
                        <a:pt x="310" y="106"/>
                      </a:lnTo>
                      <a:lnTo>
                        <a:pt x="316" y="102"/>
                      </a:lnTo>
                      <a:lnTo>
                        <a:pt x="320" y="96"/>
                      </a:lnTo>
                      <a:lnTo>
                        <a:pt x="320" y="96"/>
                      </a:lnTo>
                      <a:lnTo>
                        <a:pt x="328" y="90"/>
                      </a:lnTo>
                      <a:lnTo>
                        <a:pt x="332" y="84"/>
                      </a:lnTo>
                      <a:lnTo>
                        <a:pt x="332" y="80"/>
                      </a:lnTo>
                      <a:lnTo>
                        <a:pt x="332" y="76"/>
                      </a:lnTo>
                      <a:lnTo>
                        <a:pt x="332" y="76"/>
                      </a:lnTo>
                      <a:lnTo>
                        <a:pt x="330" y="72"/>
                      </a:lnTo>
                      <a:lnTo>
                        <a:pt x="326" y="70"/>
                      </a:lnTo>
                      <a:lnTo>
                        <a:pt x="318" y="64"/>
                      </a:lnTo>
                      <a:lnTo>
                        <a:pt x="318" y="58"/>
                      </a:lnTo>
                      <a:lnTo>
                        <a:pt x="318" y="54"/>
                      </a:lnTo>
                      <a:lnTo>
                        <a:pt x="320" y="48"/>
                      </a:lnTo>
                      <a:lnTo>
                        <a:pt x="328" y="38"/>
                      </a:lnTo>
                      <a:lnTo>
                        <a:pt x="328" y="38"/>
                      </a:lnTo>
                      <a:lnTo>
                        <a:pt x="344" y="22"/>
                      </a:lnTo>
                      <a:lnTo>
                        <a:pt x="360" y="8"/>
                      </a:lnTo>
                      <a:lnTo>
                        <a:pt x="368" y="4"/>
                      </a:lnTo>
                      <a:lnTo>
                        <a:pt x="374" y="2"/>
                      </a:lnTo>
                      <a:lnTo>
                        <a:pt x="384" y="0"/>
                      </a:lnTo>
                      <a:lnTo>
                        <a:pt x="392" y="2"/>
                      </a:lnTo>
                      <a:lnTo>
                        <a:pt x="392" y="2"/>
                      </a:lnTo>
                      <a:lnTo>
                        <a:pt x="410" y="4"/>
                      </a:lnTo>
                      <a:lnTo>
                        <a:pt x="424" y="6"/>
                      </a:lnTo>
                      <a:lnTo>
                        <a:pt x="430" y="6"/>
                      </a:lnTo>
                      <a:lnTo>
                        <a:pt x="434" y="10"/>
                      </a:lnTo>
                      <a:lnTo>
                        <a:pt x="438" y="14"/>
                      </a:lnTo>
                      <a:lnTo>
                        <a:pt x="440" y="22"/>
                      </a:lnTo>
                      <a:lnTo>
                        <a:pt x="440" y="22"/>
                      </a:lnTo>
                      <a:lnTo>
                        <a:pt x="442" y="28"/>
                      </a:lnTo>
                      <a:lnTo>
                        <a:pt x="444" y="34"/>
                      </a:lnTo>
                      <a:lnTo>
                        <a:pt x="452" y="42"/>
                      </a:lnTo>
                      <a:lnTo>
                        <a:pt x="454" y="46"/>
                      </a:lnTo>
                      <a:lnTo>
                        <a:pt x="452" y="52"/>
                      </a:lnTo>
                      <a:lnTo>
                        <a:pt x="448" y="58"/>
                      </a:lnTo>
                      <a:lnTo>
                        <a:pt x="440" y="64"/>
                      </a:lnTo>
                      <a:lnTo>
                        <a:pt x="440" y="64"/>
                      </a:lnTo>
                      <a:lnTo>
                        <a:pt x="394" y="102"/>
                      </a:lnTo>
                      <a:lnTo>
                        <a:pt x="360" y="130"/>
                      </a:lnTo>
                      <a:lnTo>
                        <a:pt x="360" y="130"/>
                      </a:lnTo>
                      <a:lnTo>
                        <a:pt x="356" y="134"/>
                      </a:lnTo>
                      <a:lnTo>
                        <a:pt x="352" y="136"/>
                      </a:lnTo>
                      <a:lnTo>
                        <a:pt x="342" y="140"/>
                      </a:lnTo>
                      <a:lnTo>
                        <a:pt x="338" y="142"/>
                      </a:lnTo>
                      <a:lnTo>
                        <a:pt x="336" y="144"/>
                      </a:lnTo>
                      <a:lnTo>
                        <a:pt x="336" y="148"/>
                      </a:lnTo>
                      <a:lnTo>
                        <a:pt x="336" y="156"/>
                      </a:lnTo>
                      <a:lnTo>
                        <a:pt x="336" y="156"/>
                      </a:lnTo>
                      <a:lnTo>
                        <a:pt x="342" y="168"/>
                      </a:lnTo>
                      <a:lnTo>
                        <a:pt x="348" y="178"/>
                      </a:lnTo>
                      <a:lnTo>
                        <a:pt x="352" y="182"/>
                      </a:lnTo>
                      <a:lnTo>
                        <a:pt x="356" y="184"/>
                      </a:lnTo>
                      <a:lnTo>
                        <a:pt x="360" y="186"/>
                      </a:lnTo>
                      <a:lnTo>
                        <a:pt x="366" y="186"/>
                      </a:lnTo>
                      <a:lnTo>
                        <a:pt x="366" y="186"/>
                      </a:lnTo>
                      <a:lnTo>
                        <a:pt x="372" y="184"/>
                      </a:lnTo>
                      <a:lnTo>
                        <a:pt x="378" y="182"/>
                      </a:lnTo>
                      <a:lnTo>
                        <a:pt x="390" y="176"/>
                      </a:lnTo>
                      <a:lnTo>
                        <a:pt x="396" y="174"/>
                      </a:lnTo>
                      <a:lnTo>
                        <a:pt x="402" y="172"/>
                      </a:lnTo>
                      <a:lnTo>
                        <a:pt x="406" y="174"/>
                      </a:lnTo>
                      <a:lnTo>
                        <a:pt x="410" y="180"/>
                      </a:lnTo>
                      <a:lnTo>
                        <a:pt x="410" y="180"/>
                      </a:lnTo>
                      <a:lnTo>
                        <a:pt x="420" y="198"/>
                      </a:lnTo>
                      <a:lnTo>
                        <a:pt x="422" y="206"/>
                      </a:lnTo>
                      <a:lnTo>
                        <a:pt x="422" y="222"/>
                      </a:lnTo>
                      <a:lnTo>
                        <a:pt x="422" y="222"/>
                      </a:lnTo>
                      <a:lnTo>
                        <a:pt x="424" y="244"/>
                      </a:lnTo>
                      <a:lnTo>
                        <a:pt x="426" y="264"/>
                      </a:lnTo>
                      <a:lnTo>
                        <a:pt x="430" y="286"/>
                      </a:lnTo>
                      <a:lnTo>
                        <a:pt x="430" y="28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0" name="Freeform 44">
                  <a:extLst>
                    <a:ext uri="{FF2B5EF4-FFF2-40B4-BE49-F238E27FC236}">
                      <a16:creationId xmlns:a16="http://schemas.microsoft.com/office/drawing/2014/main" id="{402AC68C-B11F-423E-BA2F-AF8384656C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6212" y="3445891"/>
                  <a:ext cx="158523" cy="147853"/>
                </a:xfrm>
                <a:custGeom>
                  <a:avLst/>
                  <a:gdLst/>
                  <a:ahLst/>
                  <a:cxnLst>
                    <a:cxn ang="0">
                      <a:pos x="120" y="4"/>
                    </a:cxn>
                    <a:cxn ang="0">
                      <a:pos x="134" y="0"/>
                    </a:cxn>
                    <a:cxn ang="0">
                      <a:pos x="144" y="0"/>
                    </a:cxn>
                    <a:cxn ang="0">
                      <a:pos x="162" y="12"/>
                    </a:cxn>
                    <a:cxn ang="0">
                      <a:pos x="170" y="18"/>
                    </a:cxn>
                    <a:cxn ang="0">
                      <a:pos x="182" y="34"/>
                    </a:cxn>
                    <a:cxn ang="0">
                      <a:pos x="192" y="60"/>
                    </a:cxn>
                    <a:cxn ang="0">
                      <a:pos x="194" y="80"/>
                    </a:cxn>
                    <a:cxn ang="0">
                      <a:pos x="200" y="112"/>
                    </a:cxn>
                    <a:cxn ang="0">
                      <a:pos x="208" y="138"/>
                    </a:cxn>
                    <a:cxn ang="0">
                      <a:pos x="208" y="146"/>
                    </a:cxn>
                    <a:cxn ang="0">
                      <a:pos x="202" y="168"/>
                    </a:cxn>
                    <a:cxn ang="0">
                      <a:pos x="184" y="186"/>
                    </a:cxn>
                    <a:cxn ang="0">
                      <a:pos x="168" y="190"/>
                    </a:cxn>
                    <a:cxn ang="0">
                      <a:pos x="122" y="194"/>
                    </a:cxn>
                    <a:cxn ang="0">
                      <a:pos x="114" y="194"/>
                    </a:cxn>
                    <a:cxn ang="0">
                      <a:pos x="94" y="190"/>
                    </a:cxn>
                    <a:cxn ang="0">
                      <a:pos x="90" y="136"/>
                    </a:cxn>
                    <a:cxn ang="0">
                      <a:pos x="88" y="126"/>
                    </a:cxn>
                    <a:cxn ang="0">
                      <a:pos x="76" y="98"/>
                    </a:cxn>
                    <a:cxn ang="0">
                      <a:pos x="72" y="94"/>
                    </a:cxn>
                    <a:cxn ang="0">
                      <a:pos x="62" y="92"/>
                    </a:cxn>
                    <a:cxn ang="0">
                      <a:pos x="40" y="98"/>
                    </a:cxn>
                    <a:cxn ang="0">
                      <a:pos x="20" y="100"/>
                    </a:cxn>
                    <a:cxn ang="0">
                      <a:pos x="14" y="96"/>
                    </a:cxn>
                    <a:cxn ang="0">
                      <a:pos x="6" y="78"/>
                    </a:cxn>
                    <a:cxn ang="0">
                      <a:pos x="0" y="70"/>
                    </a:cxn>
                    <a:cxn ang="0">
                      <a:pos x="8" y="62"/>
                    </a:cxn>
                    <a:cxn ang="0">
                      <a:pos x="24" y="50"/>
                    </a:cxn>
                    <a:cxn ang="0">
                      <a:pos x="76" y="8"/>
                    </a:cxn>
                    <a:cxn ang="0">
                      <a:pos x="86" y="6"/>
                    </a:cxn>
                    <a:cxn ang="0">
                      <a:pos x="104" y="6"/>
                    </a:cxn>
                    <a:cxn ang="0">
                      <a:pos x="110" y="6"/>
                    </a:cxn>
                    <a:cxn ang="0">
                      <a:pos x="120" y="4"/>
                    </a:cxn>
                  </a:cxnLst>
                  <a:rect l="0" t="0" r="r" b="b"/>
                  <a:pathLst>
                    <a:path w="208" h="194">
                      <a:moveTo>
                        <a:pt x="120" y="4"/>
                      </a:moveTo>
                      <a:lnTo>
                        <a:pt x="120" y="4"/>
                      </a:lnTo>
                      <a:lnTo>
                        <a:pt x="128" y="2"/>
                      </a:lnTo>
                      <a:lnTo>
                        <a:pt x="134" y="0"/>
                      </a:lnTo>
                      <a:lnTo>
                        <a:pt x="138" y="0"/>
                      </a:lnTo>
                      <a:lnTo>
                        <a:pt x="144" y="0"/>
                      </a:lnTo>
                      <a:lnTo>
                        <a:pt x="152" y="4"/>
                      </a:lnTo>
                      <a:lnTo>
                        <a:pt x="162" y="12"/>
                      </a:lnTo>
                      <a:lnTo>
                        <a:pt x="162" y="12"/>
                      </a:lnTo>
                      <a:lnTo>
                        <a:pt x="170" y="18"/>
                      </a:lnTo>
                      <a:lnTo>
                        <a:pt x="178" y="26"/>
                      </a:lnTo>
                      <a:lnTo>
                        <a:pt x="182" y="34"/>
                      </a:lnTo>
                      <a:lnTo>
                        <a:pt x="186" y="44"/>
                      </a:lnTo>
                      <a:lnTo>
                        <a:pt x="192" y="60"/>
                      </a:lnTo>
                      <a:lnTo>
                        <a:pt x="194" y="80"/>
                      </a:lnTo>
                      <a:lnTo>
                        <a:pt x="194" y="80"/>
                      </a:lnTo>
                      <a:lnTo>
                        <a:pt x="196" y="98"/>
                      </a:lnTo>
                      <a:lnTo>
                        <a:pt x="200" y="112"/>
                      </a:lnTo>
                      <a:lnTo>
                        <a:pt x="204" y="124"/>
                      </a:lnTo>
                      <a:lnTo>
                        <a:pt x="208" y="138"/>
                      </a:lnTo>
                      <a:lnTo>
                        <a:pt x="208" y="138"/>
                      </a:lnTo>
                      <a:lnTo>
                        <a:pt x="208" y="146"/>
                      </a:lnTo>
                      <a:lnTo>
                        <a:pt x="208" y="154"/>
                      </a:lnTo>
                      <a:lnTo>
                        <a:pt x="202" y="168"/>
                      </a:lnTo>
                      <a:lnTo>
                        <a:pt x="194" y="180"/>
                      </a:lnTo>
                      <a:lnTo>
                        <a:pt x="184" y="186"/>
                      </a:lnTo>
                      <a:lnTo>
                        <a:pt x="184" y="186"/>
                      </a:lnTo>
                      <a:lnTo>
                        <a:pt x="168" y="190"/>
                      </a:lnTo>
                      <a:lnTo>
                        <a:pt x="152" y="192"/>
                      </a:lnTo>
                      <a:lnTo>
                        <a:pt x="122" y="194"/>
                      </a:lnTo>
                      <a:lnTo>
                        <a:pt x="122" y="194"/>
                      </a:lnTo>
                      <a:lnTo>
                        <a:pt x="114" y="194"/>
                      </a:lnTo>
                      <a:lnTo>
                        <a:pt x="104" y="192"/>
                      </a:lnTo>
                      <a:lnTo>
                        <a:pt x="94" y="190"/>
                      </a:lnTo>
                      <a:lnTo>
                        <a:pt x="94" y="190"/>
                      </a:lnTo>
                      <a:lnTo>
                        <a:pt x="90" y="136"/>
                      </a:lnTo>
                      <a:lnTo>
                        <a:pt x="90" y="136"/>
                      </a:lnTo>
                      <a:lnTo>
                        <a:pt x="88" y="126"/>
                      </a:lnTo>
                      <a:lnTo>
                        <a:pt x="82" y="114"/>
                      </a:lnTo>
                      <a:lnTo>
                        <a:pt x="76" y="98"/>
                      </a:lnTo>
                      <a:lnTo>
                        <a:pt x="76" y="98"/>
                      </a:lnTo>
                      <a:lnTo>
                        <a:pt x="72" y="94"/>
                      </a:lnTo>
                      <a:lnTo>
                        <a:pt x="68" y="92"/>
                      </a:lnTo>
                      <a:lnTo>
                        <a:pt x="62" y="92"/>
                      </a:lnTo>
                      <a:lnTo>
                        <a:pt x="62" y="92"/>
                      </a:lnTo>
                      <a:lnTo>
                        <a:pt x="40" y="98"/>
                      </a:lnTo>
                      <a:lnTo>
                        <a:pt x="26" y="100"/>
                      </a:lnTo>
                      <a:lnTo>
                        <a:pt x="20" y="100"/>
                      </a:lnTo>
                      <a:lnTo>
                        <a:pt x="20" y="100"/>
                      </a:lnTo>
                      <a:lnTo>
                        <a:pt x="14" y="96"/>
                      </a:lnTo>
                      <a:lnTo>
                        <a:pt x="12" y="90"/>
                      </a:lnTo>
                      <a:lnTo>
                        <a:pt x="6" y="78"/>
                      </a:lnTo>
                      <a:lnTo>
                        <a:pt x="6" y="78"/>
                      </a:lnTo>
                      <a:lnTo>
                        <a:pt x="0" y="70"/>
                      </a:lnTo>
                      <a:lnTo>
                        <a:pt x="0" y="66"/>
                      </a:lnTo>
                      <a:lnTo>
                        <a:pt x="8" y="62"/>
                      </a:lnTo>
                      <a:lnTo>
                        <a:pt x="8" y="62"/>
                      </a:lnTo>
                      <a:lnTo>
                        <a:pt x="24" y="50"/>
                      </a:lnTo>
                      <a:lnTo>
                        <a:pt x="46" y="32"/>
                      </a:lnTo>
                      <a:lnTo>
                        <a:pt x="76" y="8"/>
                      </a:lnTo>
                      <a:lnTo>
                        <a:pt x="76" y="8"/>
                      </a:lnTo>
                      <a:lnTo>
                        <a:pt x="86" y="6"/>
                      </a:lnTo>
                      <a:lnTo>
                        <a:pt x="94" y="4"/>
                      </a:lnTo>
                      <a:lnTo>
                        <a:pt x="104" y="6"/>
                      </a:lnTo>
                      <a:lnTo>
                        <a:pt x="104" y="6"/>
                      </a:lnTo>
                      <a:lnTo>
                        <a:pt x="110" y="6"/>
                      </a:lnTo>
                      <a:lnTo>
                        <a:pt x="116" y="6"/>
                      </a:lnTo>
                      <a:lnTo>
                        <a:pt x="120" y="4"/>
                      </a:lnTo>
                      <a:lnTo>
                        <a:pt x="120" y="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1" name="Freeform 45">
                  <a:extLst>
                    <a:ext uri="{FF2B5EF4-FFF2-40B4-BE49-F238E27FC236}">
                      <a16:creationId xmlns:a16="http://schemas.microsoft.com/office/drawing/2014/main" id="{30D6B113-B5B2-4172-A58F-F1F2F681F4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6581" y="3109029"/>
                  <a:ext cx="583792" cy="1065459"/>
                </a:xfrm>
                <a:custGeom>
                  <a:avLst/>
                  <a:gdLst/>
                  <a:ahLst/>
                  <a:cxnLst>
                    <a:cxn ang="0">
                      <a:pos x="698" y="1364"/>
                    </a:cxn>
                    <a:cxn ang="0">
                      <a:pos x="572" y="1396"/>
                    </a:cxn>
                    <a:cxn ang="0">
                      <a:pos x="428" y="1352"/>
                    </a:cxn>
                    <a:cxn ang="0">
                      <a:pos x="252" y="1276"/>
                    </a:cxn>
                    <a:cxn ang="0">
                      <a:pos x="182" y="1318"/>
                    </a:cxn>
                    <a:cxn ang="0">
                      <a:pos x="124" y="1280"/>
                    </a:cxn>
                    <a:cxn ang="0">
                      <a:pos x="2" y="1286"/>
                    </a:cxn>
                    <a:cxn ang="0">
                      <a:pos x="112" y="1228"/>
                    </a:cxn>
                    <a:cxn ang="0">
                      <a:pos x="208" y="1168"/>
                    </a:cxn>
                    <a:cxn ang="0">
                      <a:pos x="308" y="1184"/>
                    </a:cxn>
                    <a:cxn ang="0">
                      <a:pos x="272" y="1150"/>
                    </a:cxn>
                    <a:cxn ang="0">
                      <a:pos x="244" y="1100"/>
                    </a:cxn>
                    <a:cxn ang="0">
                      <a:pos x="144" y="1056"/>
                    </a:cxn>
                    <a:cxn ang="0">
                      <a:pos x="132" y="1018"/>
                    </a:cxn>
                    <a:cxn ang="0">
                      <a:pos x="156" y="996"/>
                    </a:cxn>
                    <a:cxn ang="0">
                      <a:pos x="222" y="1010"/>
                    </a:cxn>
                    <a:cxn ang="0">
                      <a:pos x="272" y="954"/>
                    </a:cxn>
                    <a:cxn ang="0">
                      <a:pos x="282" y="904"/>
                    </a:cxn>
                    <a:cxn ang="0">
                      <a:pos x="270" y="858"/>
                    </a:cxn>
                    <a:cxn ang="0">
                      <a:pos x="334" y="854"/>
                    </a:cxn>
                    <a:cxn ang="0">
                      <a:pos x="394" y="830"/>
                    </a:cxn>
                    <a:cxn ang="0">
                      <a:pos x="448" y="758"/>
                    </a:cxn>
                    <a:cxn ang="0">
                      <a:pos x="424" y="634"/>
                    </a:cxn>
                    <a:cxn ang="0">
                      <a:pos x="412" y="608"/>
                    </a:cxn>
                    <a:cxn ang="0">
                      <a:pos x="322" y="576"/>
                    </a:cxn>
                    <a:cxn ang="0">
                      <a:pos x="342" y="502"/>
                    </a:cxn>
                    <a:cxn ang="0">
                      <a:pos x="376" y="442"/>
                    </a:cxn>
                    <a:cxn ang="0">
                      <a:pos x="398" y="414"/>
                    </a:cxn>
                    <a:cxn ang="0">
                      <a:pos x="356" y="396"/>
                    </a:cxn>
                    <a:cxn ang="0">
                      <a:pos x="326" y="348"/>
                    </a:cxn>
                    <a:cxn ang="0">
                      <a:pos x="386" y="270"/>
                    </a:cxn>
                    <a:cxn ang="0">
                      <a:pos x="330" y="276"/>
                    </a:cxn>
                    <a:cxn ang="0">
                      <a:pos x="382" y="200"/>
                    </a:cxn>
                    <a:cxn ang="0">
                      <a:pos x="360" y="154"/>
                    </a:cxn>
                    <a:cxn ang="0">
                      <a:pos x="334" y="98"/>
                    </a:cxn>
                    <a:cxn ang="0">
                      <a:pos x="374" y="82"/>
                    </a:cxn>
                    <a:cxn ang="0">
                      <a:pos x="412" y="94"/>
                    </a:cxn>
                    <a:cxn ang="0">
                      <a:pos x="458" y="84"/>
                    </a:cxn>
                    <a:cxn ang="0">
                      <a:pos x="508" y="2"/>
                    </a:cxn>
                    <a:cxn ang="0">
                      <a:pos x="588" y="26"/>
                    </a:cxn>
                    <a:cxn ang="0">
                      <a:pos x="650" y="54"/>
                    </a:cxn>
                    <a:cxn ang="0">
                      <a:pos x="598" y="112"/>
                    </a:cxn>
                    <a:cxn ang="0">
                      <a:pos x="508" y="154"/>
                    </a:cxn>
                    <a:cxn ang="0">
                      <a:pos x="586" y="170"/>
                    </a:cxn>
                    <a:cxn ang="0">
                      <a:pos x="584" y="378"/>
                    </a:cxn>
                    <a:cxn ang="0">
                      <a:pos x="562" y="406"/>
                    </a:cxn>
                    <a:cxn ang="0">
                      <a:pos x="512" y="456"/>
                    </a:cxn>
                    <a:cxn ang="0">
                      <a:pos x="584" y="500"/>
                    </a:cxn>
                    <a:cxn ang="0">
                      <a:pos x="612" y="626"/>
                    </a:cxn>
                    <a:cxn ang="0">
                      <a:pos x="598" y="734"/>
                    </a:cxn>
                    <a:cxn ang="0">
                      <a:pos x="650" y="770"/>
                    </a:cxn>
                    <a:cxn ang="0">
                      <a:pos x="672" y="858"/>
                    </a:cxn>
                    <a:cxn ang="0">
                      <a:pos x="636" y="924"/>
                    </a:cxn>
                    <a:cxn ang="0">
                      <a:pos x="656" y="1014"/>
                    </a:cxn>
                    <a:cxn ang="0">
                      <a:pos x="626" y="1048"/>
                    </a:cxn>
                    <a:cxn ang="0">
                      <a:pos x="724" y="1092"/>
                    </a:cxn>
                    <a:cxn ang="0">
                      <a:pos x="760" y="1180"/>
                    </a:cxn>
                    <a:cxn ang="0">
                      <a:pos x="690" y="1270"/>
                    </a:cxn>
                    <a:cxn ang="0">
                      <a:pos x="592" y="1262"/>
                    </a:cxn>
                    <a:cxn ang="0">
                      <a:pos x="626" y="1294"/>
                    </a:cxn>
                  </a:cxnLst>
                  <a:rect l="0" t="0" r="r" b="b"/>
                  <a:pathLst>
                    <a:path w="766" h="1398">
                      <a:moveTo>
                        <a:pt x="626" y="1294"/>
                      </a:moveTo>
                      <a:lnTo>
                        <a:pt x="696" y="1342"/>
                      </a:lnTo>
                      <a:lnTo>
                        <a:pt x="696" y="1342"/>
                      </a:lnTo>
                      <a:lnTo>
                        <a:pt x="698" y="1344"/>
                      </a:lnTo>
                      <a:lnTo>
                        <a:pt x="704" y="1348"/>
                      </a:lnTo>
                      <a:lnTo>
                        <a:pt x="704" y="1350"/>
                      </a:lnTo>
                      <a:lnTo>
                        <a:pt x="704" y="1354"/>
                      </a:lnTo>
                      <a:lnTo>
                        <a:pt x="702" y="1358"/>
                      </a:lnTo>
                      <a:lnTo>
                        <a:pt x="698" y="1364"/>
                      </a:lnTo>
                      <a:lnTo>
                        <a:pt x="698" y="1364"/>
                      </a:lnTo>
                      <a:lnTo>
                        <a:pt x="686" y="1374"/>
                      </a:lnTo>
                      <a:lnTo>
                        <a:pt x="672" y="1380"/>
                      </a:lnTo>
                      <a:lnTo>
                        <a:pt x="638" y="1390"/>
                      </a:lnTo>
                      <a:lnTo>
                        <a:pt x="638" y="1390"/>
                      </a:lnTo>
                      <a:lnTo>
                        <a:pt x="618" y="1396"/>
                      </a:lnTo>
                      <a:lnTo>
                        <a:pt x="604" y="1398"/>
                      </a:lnTo>
                      <a:lnTo>
                        <a:pt x="590" y="1398"/>
                      </a:lnTo>
                      <a:lnTo>
                        <a:pt x="580" y="1398"/>
                      </a:lnTo>
                      <a:lnTo>
                        <a:pt x="580" y="1398"/>
                      </a:lnTo>
                      <a:lnTo>
                        <a:pt x="572" y="1396"/>
                      </a:lnTo>
                      <a:lnTo>
                        <a:pt x="564" y="1394"/>
                      </a:lnTo>
                      <a:lnTo>
                        <a:pt x="542" y="1380"/>
                      </a:lnTo>
                      <a:lnTo>
                        <a:pt x="542" y="1380"/>
                      </a:lnTo>
                      <a:lnTo>
                        <a:pt x="522" y="1370"/>
                      </a:lnTo>
                      <a:lnTo>
                        <a:pt x="502" y="1362"/>
                      </a:lnTo>
                      <a:lnTo>
                        <a:pt x="482" y="1358"/>
                      </a:lnTo>
                      <a:lnTo>
                        <a:pt x="462" y="1356"/>
                      </a:lnTo>
                      <a:lnTo>
                        <a:pt x="462" y="1356"/>
                      </a:lnTo>
                      <a:lnTo>
                        <a:pt x="446" y="1354"/>
                      </a:lnTo>
                      <a:lnTo>
                        <a:pt x="428" y="1352"/>
                      </a:lnTo>
                      <a:lnTo>
                        <a:pt x="390" y="1344"/>
                      </a:lnTo>
                      <a:lnTo>
                        <a:pt x="390" y="1344"/>
                      </a:lnTo>
                      <a:lnTo>
                        <a:pt x="372" y="1342"/>
                      </a:lnTo>
                      <a:lnTo>
                        <a:pt x="358" y="1336"/>
                      </a:lnTo>
                      <a:lnTo>
                        <a:pt x="344" y="1330"/>
                      </a:lnTo>
                      <a:lnTo>
                        <a:pt x="330" y="1320"/>
                      </a:lnTo>
                      <a:lnTo>
                        <a:pt x="330" y="1320"/>
                      </a:lnTo>
                      <a:lnTo>
                        <a:pt x="308" y="1306"/>
                      </a:lnTo>
                      <a:lnTo>
                        <a:pt x="282" y="1292"/>
                      </a:lnTo>
                      <a:lnTo>
                        <a:pt x="252" y="1276"/>
                      </a:lnTo>
                      <a:lnTo>
                        <a:pt x="252" y="1276"/>
                      </a:lnTo>
                      <a:lnTo>
                        <a:pt x="242" y="1284"/>
                      </a:lnTo>
                      <a:lnTo>
                        <a:pt x="222" y="1298"/>
                      </a:lnTo>
                      <a:lnTo>
                        <a:pt x="222" y="1298"/>
                      </a:lnTo>
                      <a:lnTo>
                        <a:pt x="212" y="1304"/>
                      </a:lnTo>
                      <a:lnTo>
                        <a:pt x="206" y="1312"/>
                      </a:lnTo>
                      <a:lnTo>
                        <a:pt x="200" y="1316"/>
                      </a:lnTo>
                      <a:lnTo>
                        <a:pt x="188" y="1318"/>
                      </a:lnTo>
                      <a:lnTo>
                        <a:pt x="188" y="1318"/>
                      </a:lnTo>
                      <a:lnTo>
                        <a:pt x="182" y="1318"/>
                      </a:lnTo>
                      <a:lnTo>
                        <a:pt x="178" y="1316"/>
                      </a:lnTo>
                      <a:lnTo>
                        <a:pt x="174" y="1314"/>
                      </a:lnTo>
                      <a:lnTo>
                        <a:pt x="174" y="1310"/>
                      </a:lnTo>
                      <a:lnTo>
                        <a:pt x="172" y="1302"/>
                      </a:lnTo>
                      <a:lnTo>
                        <a:pt x="172" y="1298"/>
                      </a:lnTo>
                      <a:lnTo>
                        <a:pt x="172" y="1298"/>
                      </a:lnTo>
                      <a:lnTo>
                        <a:pt x="166" y="1294"/>
                      </a:lnTo>
                      <a:lnTo>
                        <a:pt x="148" y="1286"/>
                      </a:lnTo>
                      <a:lnTo>
                        <a:pt x="136" y="1282"/>
                      </a:lnTo>
                      <a:lnTo>
                        <a:pt x="124" y="1280"/>
                      </a:lnTo>
                      <a:lnTo>
                        <a:pt x="114" y="1280"/>
                      </a:lnTo>
                      <a:lnTo>
                        <a:pt x="104" y="1282"/>
                      </a:lnTo>
                      <a:lnTo>
                        <a:pt x="104" y="1282"/>
                      </a:lnTo>
                      <a:lnTo>
                        <a:pt x="74" y="1292"/>
                      </a:lnTo>
                      <a:lnTo>
                        <a:pt x="64" y="1296"/>
                      </a:lnTo>
                      <a:lnTo>
                        <a:pt x="50" y="1298"/>
                      </a:lnTo>
                      <a:lnTo>
                        <a:pt x="50" y="1298"/>
                      </a:lnTo>
                      <a:lnTo>
                        <a:pt x="34" y="1296"/>
                      </a:lnTo>
                      <a:lnTo>
                        <a:pt x="16" y="1292"/>
                      </a:lnTo>
                      <a:lnTo>
                        <a:pt x="2" y="1286"/>
                      </a:lnTo>
                      <a:lnTo>
                        <a:pt x="0" y="1284"/>
                      </a:lnTo>
                      <a:lnTo>
                        <a:pt x="2" y="1282"/>
                      </a:lnTo>
                      <a:lnTo>
                        <a:pt x="2" y="1282"/>
                      </a:lnTo>
                      <a:lnTo>
                        <a:pt x="32" y="1264"/>
                      </a:lnTo>
                      <a:lnTo>
                        <a:pt x="50" y="1254"/>
                      </a:lnTo>
                      <a:lnTo>
                        <a:pt x="64" y="1250"/>
                      </a:lnTo>
                      <a:lnTo>
                        <a:pt x="64" y="1250"/>
                      </a:lnTo>
                      <a:lnTo>
                        <a:pt x="74" y="1246"/>
                      </a:lnTo>
                      <a:lnTo>
                        <a:pt x="84" y="1242"/>
                      </a:lnTo>
                      <a:lnTo>
                        <a:pt x="112" y="1228"/>
                      </a:lnTo>
                      <a:lnTo>
                        <a:pt x="136" y="1212"/>
                      </a:lnTo>
                      <a:lnTo>
                        <a:pt x="150" y="1202"/>
                      </a:lnTo>
                      <a:lnTo>
                        <a:pt x="150" y="1202"/>
                      </a:lnTo>
                      <a:lnTo>
                        <a:pt x="160" y="1192"/>
                      </a:lnTo>
                      <a:lnTo>
                        <a:pt x="172" y="1182"/>
                      </a:lnTo>
                      <a:lnTo>
                        <a:pt x="180" y="1176"/>
                      </a:lnTo>
                      <a:lnTo>
                        <a:pt x="188" y="1172"/>
                      </a:lnTo>
                      <a:lnTo>
                        <a:pt x="198" y="1168"/>
                      </a:lnTo>
                      <a:lnTo>
                        <a:pt x="208" y="1168"/>
                      </a:lnTo>
                      <a:lnTo>
                        <a:pt x="208" y="1168"/>
                      </a:lnTo>
                      <a:lnTo>
                        <a:pt x="240" y="1170"/>
                      </a:lnTo>
                      <a:lnTo>
                        <a:pt x="252" y="1172"/>
                      </a:lnTo>
                      <a:lnTo>
                        <a:pt x="264" y="1176"/>
                      </a:lnTo>
                      <a:lnTo>
                        <a:pt x="264" y="1176"/>
                      </a:lnTo>
                      <a:lnTo>
                        <a:pt x="274" y="1184"/>
                      </a:lnTo>
                      <a:lnTo>
                        <a:pt x="288" y="1188"/>
                      </a:lnTo>
                      <a:lnTo>
                        <a:pt x="298" y="1188"/>
                      </a:lnTo>
                      <a:lnTo>
                        <a:pt x="304" y="1186"/>
                      </a:lnTo>
                      <a:lnTo>
                        <a:pt x="308" y="1184"/>
                      </a:lnTo>
                      <a:lnTo>
                        <a:pt x="308" y="1184"/>
                      </a:lnTo>
                      <a:lnTo>
                        <a:pt x="314" y="1180"/>
                      </a:lnTo>
                      <a:lnTo>
                        <a:pt x="320" y="1178"/>
                      </a:lnTo>
                      <a:lnTo>
                        <a:pt x="332" y="1176"/>
                      </a:lnTo>
                      <a:lnTo>
                        <a:pt x="334" y="1174"/>
                      </a:lnTo>
                      <a:lnTo>
                        <a:pt x="336" y="1172"/>
                      </a:lnTo>
                      <a:lnTo>
                        <a:pt x="330" y="1170"/>
                      </a:lnTo>
                      <a:lnTo>
                        <a:pt x="320" y="1166"/>
                      </a:lnTo>
                      <a:lnTo>
                        <a:pt x="320" y="1166"/>
                      </a:lnTo>
                      <a:lnTo>
                        <a:pt x="296" y="1156"/>
                      </a:lnTo>
                      <a:lnTo>
                        <a:pt x="272" y="1150"/>
                      </a:lnTo>
                      <a:lnTo>
                        <a:pt x="252" y="1142"/>
                      </a:lnTo>
                      <a:lnTo>
                        <a:pt x="246" y="1138"/>
                      </a:lnTo>
                      <a:lnTo>
                        <a:pt x="240" y="1134"/>
                      </a:lnTo>
                      <a:lnTo>
                        <a:pt x="240" y="1134"/>
                      </a:lnTo>
                      <a:lnTo>
                        <a:pt x="240" y="1128"/>
                      </a:lnTo>
                      <a:lnTo>
                        <a:pt x="240" y="1124"/>
                      </a:lnTo>
                      <a:lnTo>
                        <a:pt x="246" y="1116"/>
                      </a:lnTo>
                      <a:lnTo>
                        <a:pt x="248" y="1110"/>
                      </a:lnTo>
                      <a:lnTo>
                        <a:pt x="248" y="1106"/>
                      </a:lnTo>
                      <a:lnTo>
                        <a:pt x="244" y="1100"/>
                      </a:lnTo>
                      <a:lnTo>
                        <a:pt x="234" y="1094"/>
                      </a:lnTo>
                      <a:lnTo>
                        <a:pt x="234" y="1094"/>
                      </a:lnTo>
                      <a:lnTo>
                        <a:pt x="192" y="1072"/>
                      </a:lnTo>
                      <a:lnTo>
                        <a:pt x="174" y="1062"/>
                      </a:lnTo>
                      <a:lnTo>
                        <a:pt x="174" y="1062"/>
                      </a:lnTo>
                      <a:lnTo>
                        <a:pt x="170" y="1064"/>
                      </a:lnTo>
                      <a:lnTo>
                        <a:pt x="160" y="1062"/>
                      </a:lnTo>
                      <a:lnTo>
                        <a:pt x="160" y="1062"/>
                      </a:lnTo>
                      <a:lnTo>
                        <a:pt x="150" y="1060"/>
                      </a:lnTo>
                      <a:lnTo>
                        <a:pt x="144" y="1056"/>
                      </a:lnTo>
                      <a:lnTo>
                        <a:pt x="140" y="1052"/>
                      </a:lnTo>
                      <a:lnTo>
                        <a:pt x="140" y="1046"/>
                      </a:lnTo>
                      <a:lnTo>
                        <a:pt x="140" y="1046"/>
                      </a:lnTo>
                      <a:lnTo>
                        <a:pt x="138" y="1044"/>
                      </a:lnTo>
                      <a:lnTo>
                        <a:pt x="134" y="1040"/>
                      </a:lnTo>
                      <a:lnTo>
                        <a:pt x="126" y="1032"/>
                      </a:lnTo>
                      <a:lnTo>
                        <a:pt x="122" y="1030"/>
                      </a:lnTo>
                      <a:lnTo>
                        <a:pt x="120" y="1026"/>
                      </a:lnTo>
                      <a:lnTo>
                        <a:pt x="124" y="1022"/>
                      </a:lnTo>
                      <a:lnTo>
                        <a:pt x="132" y="1018"/>
                      </a:lnTo>
                      <a:lnTo>
                        <a:pt x="132" y="1018"/>
                      </a:lnTo>
                      <a:lnTo>
                        <a:pt x="148" y="1012"/>
                      </a:lnTo>
                      <a:lnTo>
                        <a:pt x="152" y="1008"/>
                      </a:lnTo>
                      <a:lnTo>
                        <a:pt x="154" y="1006"/>
                      </a:lnTo>
                      <a:lnTo>
                        <a:pt x="154" y="1000"/>
                      </a:lnTo>
                      <a:lnTo>
                        <a:pt x="154" y="1000"/>
                      </a:lnTo>
                      <a:lnTo>
                        <a:pt x="154" y="1000"/>
                      </a:lnTo>
                      <a:lnTo>
                        <a:pt x="152" y="998"/>
                      </a:lnTo>
                      <a:lnTo>
                        <a:pt x="152" y="996"/>
                      </a:lnTo>
                      <a:lnTo>
                        <a:pt x="156" y="996"/>
                      </a:lnTo>
                      <a:lnTo>
                        <a:pt x="168" y="998"/>
                      </a:lnTo>
                      <a:lnTo>
                        <a:pt x="168" y="998"/>
                      </a:lnTo>
                      <a:lnTo>
                        <a:pt x="180" y="1006"/>
                      </a:lnTo>
                      <a:lnTo>
                        <a:pt x="190" y="1012"/>
                      </a:lnTo>
                      <a:lnTo>
                        <a:pt x="194" y="1014"/>
                      </a:lnTo>
                      <a:lnTo>
                        <a:pt x="200" y="1016"/>
                      </a:lnTo>
                      <a:lnTo>
                        <a:pt x="206" y="1016"/>
                      </a:lnTo>
                      <a:lnTo>
                        <a:pt x="212" y="1014"/>
                      </a:lnTo>
                      <a:lnTo>
                        <a:pt x="212" y="1014"/>
                      </a:lnTo>
                      <a:lnTo>
                        <a:pt x="222" y="1010"/>
                      </a:lnTo>
                      <a:lnTo>
                        <a:pt x="230" y="1008"/>
                      </a:lnTo>
                      <a:lnTo>
                        <a:pt x="238" y="1006"/>
                      </a:lnTo>
                      <a:lnTo>
                        <a:pt x="252" y="1000"/>
                      </a:lnTo>
                      <a:lnTo>
                        <a:pt x="252" y="1000"/>
                      </a:lnTo>
                      <a:lnTo>
                        <a:pt x="258" y="994"/>
                      </a:lnTo>
                      <a:lnTo>
                        <a:pt x="264" y="988"/>
                      </a:lnTo>
                      <a:lnTo>
                        <a:pt x="268" y="982"/>
                      </a:lnTo>
                      <a:lnTo>
                        <a:pt x="270" y="976"/>
                      </a:lnTo>
                      <a:lnTo>
                        <a:pt x="272" y="966"/>
                      </a:lnTo>
                      <a:lnTo>
                        <a:pt x="272" y="954"/>
                      </a:lnTo>
                      <a:lnTo>
                        <a:pt x="272" y="954"/>
                      </a:lnTo>
                      <a:lnTo>
                        <a:pt x="274" y="946"/>
                      </a:lnTo>
                      <a:lnTo>
                        <a:pt x="272" y="944"/>
                      </a:lnTo>
                      <a:lnTo>
                        <a:pt x="272" y="940"/>
                      </a:lnTo>
                      <a:lnTo>
                        <a:pt x="276" y="930"/>
                      </a:lnTo>
                      <a:lnTo>
                        <a:pt x="276" y="930"/>
                      </a:lnTo>
                      <a:lnTo>
                        <a:pt x="284" y="922"/>
                      </a:lnTo>
                      <a:lnTo>
                        <a:pt x="286" y="916"/>
                      </a:lnTo>
                      <a:lnTo>
                        <a:pt x="286" y="910"/>
                      </a:lnTo>
                      <a:lnTo>
                        <a:pt x="282" y="904"/>
                      </a:lnTo>
                      <a:lnTo>
                        <a:pt x="282" y="904"/>
                      </a:lnTo>
                      <a:lnTo>
                        <a:pt x="274" y="898"/>
                      </a:lnTo>
                      <a:lnTo>
                        <a:pt x="270" y="894"/>
                      </a:lnTo>
                      <a:lnTo>
                        <a:pt x="258" y="888"/>
                      </a:lnTo>
                      <a:lnTo>
                        <a:pt x="258" y="888"/>
                      </a:lnTo>
                      <a:lnTo>
                        <a:pt x="256" y="884"/>
                      </a:lnTo>
                      <a:lnTo>
                        <a:pt x="256" y="880"/>
                      </a:lnTo>
                      <a:lnTo>
                        <a:pt x="258" y="872"/>
                      </a:lnTo>
                      <a:lnTo>
                        <a:pt x="264" y="864"/>
                      </a:lnTo>
                      <a:lnTo>
                        <a:pt x="270" y="858"/>
                      </a:lnTo>
                      <a:lnTo>
                        <a:pt x="270" y="858"/>
                      </a:lnTo>
                      <a:lnTo>
                        <a:pt x="280" y="850"/>
                      </a:lnTo>
                      <a:lnTo>
                        <a:pt x="286" y="848"/>
                      </a:lnTo>
                      <a:lnTo>
                        <a:pt x="290" y="848"/>
                      </a:lnTo>
                      <a:lnTo>
                        <a:pt x="294" y="848"/>
                      </a:lnTo>
                      <a:lnTo>
                        <a:pt x="294" y="848"/>
                      </a:lnTo>
                      <a:lnTo>
                        <a:pt x="302" y="850"/>
                      </a:lnTo>
                      <a:lnTo>
                        <a:pt x="310" y="852"/>
                      </a:lnTo>
                      <a:lnTo>
                        <a:pt x="320" y="852"/>
                      </a:lnTo>
                      <a:lnTo>
                        <a:pt x="334" y="854"/>
                      </a:lnTo>
                      <a:lnTo>
                        <a:pt x="334" y="854"/>
                      </a:lnTo>
                      <a:lnTo>
                        <a:pt x="354" y="856"/>
                      </a:lnTo>
                      <a:lnTo>
                        <a:pt x="372" y="860"/>
                      </a:lnTo>
                      <a:lnTo>
                        <a:pt x="372" y="860"/>
                      </a:lnTo>
                      <a:lnTo>
                        <a:pt x="378" y="862"/>
                      </a:lnTo>
                      <a:lnTo>
                        <a:pt x="382" y="862"/>
                      </a:lnTo>
                      <a:lnTo>
                        <a:pt x="392" y="858"/>
                      </a:lnTo>
                      <a:lnTo>
                        <a:pt x="396" y="854"/>
                      </a:lnTo>
                      <a:lnTo>
                        <a:pt x="398" y="852"/>
                      </a:lnTo>
                      <a:lnTo>
                        <a:pt x="394" y="830"/>
                      </a:lnTo>
                      <a:lnTo>
                        <a:pt x="394" y="830"/>
                      </a:lnTo>
                      <a:lnTo>
                        <a:pt x="412" y="804"/>
                      </a:lnTo>
                      <a:lnTo>
                        <a:pt x="430" y="776"/>
                      </a:lnTo>
                      <a:lnTo>
                        <a:pt x="430" y="776"/>
                      </a:lnTo>
                      <a:lnTo>
                        <a:pt x="446" y="770"/>
                      </a:lnTo>
                      <a:lnTo>
                        <a:pt x="450" y="768"/>
                      </a:lnTo>
                      <a:lnTo>
                        <a:pt x="452" y="764"/>
                      </a:lnTo>
                      <a:lnTo>
                        <a:pt x="452" y="762"/>
                      </a:lnTo>
                      <a:lnTo>
                        <a:pt x="448" y="758"/>
                      </a:lnTo>
                      <a:lnTo>
                        <a:pt x="448" y="758"/>
                      </a:lnTo>
                      <a:lnTo>
                        <a:pt x="422" y="738"/>
                      </a:lnTo>
                      <a:lnTo>
                        <a:pt x="404" y="724"/>
                      </a:lnTo>
                      <a:lnTo>
                        <a:pt x="404" y="724"/>
                      </a:lnTo>
                      <a:lnTo>
                        <a:pt x="402" y="706"/>
                      </a:lnTo>
                      <a:lnTo>
                        <a:pt x="404" y="692"/>
                      </a:lnTo>
                      <a:lnTo>
                        <a:pt x="406" y="678"/>
                      </a:lnTo>
                      <a:lnTo>
                        <a:pt x="406" y="678"/>
                      </a:lnTo>
                      <a:lnTo>
                        <a:pt x="412" y="658"/>
                      </a:lnTo>
                      <a:lnTo>
                        <a:pt x="418" y="648"/>
                      </a:lnTo>
                      <a:lnTo>
                        <a:pt x="424" y="634"/>
                      </a:lnTo>
                      <a:lnTo>
                        <a:pt x="424" y="634"/>
                      </a:lnTo>
                      <a:lnTo>
                        <a:pt x="436" y="616"/>
                      </a:lnTo>
                      <a:lnTo>
                        <a:pt x="438" y="612"/>
                      </a:lnTo>
                      <a:lnTo>
                        <a:pt x="436" y="610"/>
                      </a:lnTo>
                      <a:lnTo>
                        <a:pt x="436" y="610"/>
                      </a:lnTo>
                      <a:lnTo>
                        <a:pt x="426" y="606"/>
                      </a:lnTo>
                      <a:lnTo>
                        <a:pt x="420" y="604"/>
                      </a:lnTo>
                      <a:lnTo>
                        <a:pt x="414" y="604"/>
                      </a:lnTo>
                      <a:lnTo>
                        <a:pt x="414" y="604"/>
                      </a:lnTo>
                      <a:lnTo>
                        <a:pt x="412" y="608"/>
                      </a:lnTo>
                      <a:lnTo>
                        <a:pt x="408" y="614"/>
                      </a:lnTo>
                      <a:lnTo>
                        <a:pt x="406" y="616"/>
                      </a:lnTo>
                      <a:lnTo>
                        <a:pt x="404" y="616"/>
                      </a:lnTo>
                      <a:lnTo>
                        <a:pt x="398" y="616"/>
                      </a:lnTo>
                      <a:lnTo>
                        <a:pt x="394" y="614"/>
                      </a:lnTo>
                      <a:lnTo>
                        <a:pt x="394" y="614"/>
                      </a:lnTo>
                      <a:lnTo>
                        <a:pt x="354" y="592"/>
                      </a:lnTo>
                      <a:lnTo>
                        <a:pt x="334" y="580"/>
                      </a:lnTo>
                      <a:lnTo>
                        <a:pt x="322" y="576"/>
                      </a:lnTo>
                      <a:lnTo>
                        <a:pt x="322" y="576"/>
                      </a:lnTo>
                      <a:lnTo>
                        <a:pt x="312" y="574"/>
                      </a:lnTo>
                      <a:lnTo>
                        <a:pt x="300" y="574"/>
                      </a:lnTo>
                      <a:lnTo>
                        <a:pt x="296" y="572"/>
                      </a:lnTo>
                      <a:lnTo>
                        <a:pt x="296" y="566"/>
                      </a:lnTo>
                      <a:lnTo>
                        <a:pt x="298" y="560"/>
                      </a:lnTo>
                      <a:lnTo>
                        <a:pt x="304" y="552"/>
                      </a:lnTo>
                      <a:lnTo>
                        <a:pt x="304" y="552"/>
                      </a:lnTo>
                      <a:lnTo>
                        <a:pt x="320" y="530"/>
                      </a:lnTo>
                      <a:lnTo>
                        <a:pt x="332" y="514"/>
                      </a:lnTo>
                      <a:lnTo>
                        <a:pt x="342" y="502"/>
                      </a:lnTo>
                      <a:lnTo>
                        <a:pt x="346" y="498"/>
                      </a:lnTo>
                      <a:lnTo>
                        <a:pt x="350" y="494"/>
                      </a:lnTo>
                      <a:lnTo>
                        <a:pt x="350" y="494"/>
                      </a:lnTo>
                      <a:lnTo>
                        <a:pt x="356" y="492"/>
                      </a:lnTo>
                      <a:lnTo>
                        <a:pt x="360" y="488"/>
                      </a:lnTo>
                      <a:lnTo>
                        <a:pt x="368" y="476"/>
                      </a:lnTo>
                      <a:lnTo>
                        <a:pt x="376" y="460"/>
                      </a:lnTo>
                      <a:lnTo>
                        <a:pt x="376" y="460"/>
                      </a:lnTo>
                      <a:lnTo>
                        <a:pt x="374" y="450"/>
                      </a:lnTo>
                      <a:lnTo>
                        <a:pt x="376" y="442"/>
                      </a:lnTo>
                      <a:lnTo>
                        <a:pt x="378" y="434"/>
                      </a:lnTo>
                      <a:lnTo>
                        <a:pt x="378" y="434"/>
                      </a:lnTo>
                      <a:lnTo>
                        <a:pt x="380" y="432"/>
                      </a:lnTo>
                      <a:lnTo>
                        <a:pt x="384" y="430"/>
                      </a:lnTo>
                      <a:lnTo>
                        <a:pt x="392" y="426"/>
                      </a:lnTo>
                      <a:lnTo>
                        <a:pt x="396" y="426"/>
                      </a:lnTo>
                      <a:lnTo>
                        <a:pt x="398" y="422"/>
                      </a:lnTo>
                      <a:lnTo>
                        <a:pt x="400" y="418"/>
                      </a:lnTo>
                      <a:lnTo>
                        <a:pt x="398" y="414"/>
                      </a:lnTo>
                      <a:lnTo>
                        <a:pt x="398" y="414"/>
                      </a:lnTo>
                      <a:lnTo>
                        <a:pt x="396" y="408"/>
                      </a:lnTo>
                      <a:lnTo>
                        <a:pt x="392" y="402"/>
                      </a:lnTo>
                      <a:lnTo>
                        <a:pt x="382" y="392"/>
                      </a:lnTo>
                      <a:lnTo>
                        <a:pt x="372" y="388"/>
                      </a:lnTo>
                      <a:lnTo>
                        <a:pt x="368" y="386"/>
                      </a:lnTo>
                      <a:lnTo>
                        <a:pt x="366" y="386"/>
                      </a:lnTo>
                      <a:lnTo>
                        <a:pt x="366" y="386"/>
                      </a:lnTo>
                      <a:lnTo>
                        <a:pt x="364" y="390"/>
                      </a:lnTo>
                      <a:lnTo>
                        <a:pt x="360" y="396"/>
                      </a:lnTo>
                      <a:lnTo>
                        <a:pt x="356" y="396"/>
                      </a:lnTo>
                      <a:lnTo>
                        <a:pt x="352" y="394"/>
                      </a:lnTo>
                      <a:lnTo>
                        <a:pt x="348" y="390"/>
                      </a:lnTo>
                      <a:lnTo>
                        <a:pt x="344" y="382"/>
                      </a:lnTo>
                      <a:lnTo>
                        <a:pt x="344" y="382"/>
                      </a:lnTo>
                      <a:lnTo>
                        <a:pt x="334" y="368"/>
                      </a:lnTo>
                      <a:lnTo>
                        <a:pt x="326" y="356"/>
                      </a:lnTo>
                      <a:lnTo>
                        <a:pt x="322" y="352"/>
                      </a:lnTo>
                      <a:lnTo>
                        <a:pt x="322" y="350"/>
                      </a:lnTo>
                      <a:lnTo>
                        <a:pt x="326" y="348"/>
                      </a:lnTo>
                      <a:lnTo>
                        <a:pt x="326" y="348"/>
                      </a:lnTo>
                      <a:lnTo>
                        <a:pt x="330" y="348"/>
                      </a:lnTo>
                      <a:lnTo>
                        <a:pt x="332" y="346"/>
                      </a:lnTo>
                      <a:lnTo>
                        <a:pt x="334" y="340"/>
                      </a:lnTo>
                      <a:lnTo>
                        <a:pt x="344" y="322"/>
                      </a:lnTo>
                      <a:lnTo>
                        <a:pt x="344" y="322"/>
                      </a:lnTo>
                      <a:lnTo>
                        <a:pt x="364" y="286"/>
                      </a:lnTo>
                      <a:lnTo>
                        <a:pt x="372" y="278"/>
                      </a:lnTo>
                      <a:lnTo>
                        <a:pt x="382" y="272"/>
                      </a:lnTo>
                      <a:lnTo>
                        <a:pt x="382" y="272"/>
                      </a:lnTo>
                      <a:lnTo>
                        <a:pt x="386" y="270"/>
                      </a:lnTo>
                      <a:lnTo>
                        <a:pt x="390" y="266"/>
                      </a:lnTo>
                      <a:lnTo>
                        <a:pt x="396" y="256"/>
                      </a:lnTo>
                      <a:lnTo>
                        <a:pt x="396" y="252"/>
                      </a:lnTo>
                      <a:lnTo>
                        <a:pt x="394" y="252"/>
                      </a:lnTo>
                      <a:lnTo>
                        <a:pt x="388" y="252"/>
                      </a:lnTo>
                      <a:lnTo>
                        <a:pt x="380" y="256"/>
                      </a:lnTo>
                      <a:lnTo>
                        <a:pt x="380" y="256"/>
                      </a:lnTo>
                      <a:lnTo>
                        <a:pt x="358" y="268"/>
                      </a:lnTo>
                      <a:lnTo>
                        <a:pt x="338" y="276"/>
                      </a:lnTo>
                      <a:lnTo>
                        <a:pt x="330" y="276"/>
                      </a:lnTo>
                      <a:lnTo>
                        <a:pt x="328" y="276"/>
                      </a:lnTo>
                      <a:lnTo>
                        <a:pt x="328" y="274"/>
                      </a:lnTo>
                      <a:lnTo>
                        <a:pt x="328" y="268"/>
                      </a:lnTo>
                      <a:lnTo>
                        <a:pt x="334" y="258"/>
                      </a:lnTo>
                      <a:lnTo>
                        <a:pt x="334" y="258"/>
                      </a:lnTo>
                      <a:lnTo>
                        <a:pt x="348" y="238"/>
                      </a:lnTo>
                      <a:lnTo>
                        <a:pt x="360" y="222"/>
                      </a:lnTo>
                      <a:lnTo>
                        <a:pt x="372" y="210"/>
                      </a:lnTo>
                      <a:lnTo>
                        <a:pt x="382" y="200"/>
                      </a:lnTo>
                      <a:lnTo>
                        <a:pt x="382" y="200"/>
                      </a:lnTo>
                      <a:lnTo>
                        <a:pt x="390" y="192"/>
                      </a:lnTo>
                      <a:lnTo>
                        <a:pt x="396" y="184"/>
                      </a:lnTo>
                      <a:lnTo>
                        <a:pt x="398" y="176"/>
                      </a:lnTo>
                      <a:lnTo>
                        <a:pt x="396" y="172"/>
                      </a:lnTo>
                      <a:lnTo>
                        <a:pt x="394" y="170"/>
                      </a:lnTo>
                      <a:lnTo>
                        <a:pt x="394" y="170"/>
                      </a:lnTo>
                      <a:lnTo>
                        <a:pt x="380" y="164"/>
                      </a:lnTo>
                      <a:lnTo>
                        <a:pt x="366" y="158"/>
                      </a:lnTo>
                      <a:lnTo>
                        <a:pt x="366" y="158"/>
                      </a:lnTo>
                      <a:lnTo>
                        <a:pt x="360" y="154"/>
                      </a:lnTo>
                      <a:lnTo>
                        <a:pt x="352" y="148"/>
                      </a:lnTo>
                      <a:lnTo>
                        <a:pt x="346" y="138"/>
                      </a:lnTo>
                      <a:lnTo>
                        <a:pt x="344" y="130"/>
                      </a:lnTo>
                      <a:lnTo>
                        <a:pt x="344" y="124"/>
                      </a:lnTo>
                      <a:lnTo>
                        <a:pt x="344" y="124"/>
                      </a:lnTo>
                      <a:lnTo>
                        <a:pt x="344" y="116"/>
                      </a:lnTo>
                      <a:lnTo>
                        <a:pt x="342" y="112"/>
                      </a:lnTo>
                      <a:lnTo>
                        <a:pt x="336" y="104"/>
                      </a:lnTo>
                      <a:lnTo>
                        <a:pt x="334" y="102"/>
                      </a:lnTo>
                      <a:lnTo>
                        <a:pt x="334" y="98"/>
                      </a:lnTo>
                      <a:lnTo>
                        <a:pt x="338" y="96"/>
                      </a:lnTo>
                      <a:lnTo>
                        <a:pt x="342" y="92"/>
                      </a:lnTo>
                      <a:lnTo>
                        <a:pt x="342" y="92"/>
                      </a:lnTo>
                      <a:lnTo>
                        <a:pt x="354" y="84"/>
                      </a:lnTo>
                      <a:lnTo>
                        <a:pt x="362" y="78"/>
                      </a:lnTo>
                      <a:lnTo>
                        <a:pt x="366" y="76"/>
                      </a:lnTo>
                      <a:lnTo>
                        <a:pt x="368" y="76"/>
                      </a:lnTo>
                      <a:lnTo>
                        <a:pt x="370" y="78"/>
                      </a:lnTo>
                      <a:lnTo>
                        <a:pt x="374" y="82"/>
                      </a:lnTo>
                      <a:lnTo>
                        <a:pt x="374" y="82"/>
                      </a:lnTo>
                      <a:lnTo>
                        <a:pt x="382" y="94"/>
                      </a:lnTo>
                      <a:lnTo>
                        <a:pt x="384" y="98"/>
                      </a:lnTo>
                      <a:lnTo>
                        <a:pt x="388" y="100"/>
                      </a:lnTo>
                      <a:lnTo>
                        <a:pt x="388" y="100"/>
                      </a:lnTo>
                      <a:lnTo>
                        <a:pt x="390" y="102"/>
                      </a:lnTo>
                      <a:lnTo>
                        <a:pt x="392" y="100"/>
                      </a:lnTo>
                      <a:lnTo>
                        <a:pt x="396" y="98"/>
                      </a:lnTo>
                      <a:lnTo>
                        <a:pt x="402" y="96"/>
                      </a:lnTo>
                      <a:lnTo>
                        <a:pt x="402" y="96"/>
                      </a:lnTo>
                      <a:lnTo>
                        <a:pt x="412" y="94"/>
                      </a:lnTo>
                      <a:lnTo>
                        <a:pt x="424" y="94"/>
                      </a:lnTo>
                      <a:lnTo>
                        <a:pt x="436" y="94"/>
                      </a:lnTo>
                      <a:lnTo>
                        <a:pt x="446" y="96"/>
                      </a:lnTo>
                      <a:lnTo>
                        <a:pt x="446" y="96"/>
                      </a:lnTo>
                      <a:lnTo>
                        <a:pt x="450" y="98"/>
                      </a:lnTo>
                      <a:lnTo>
                        <a:pt x="454" y="98"/>
                      </a:lnTo>
                      <a:lnTo>
                        <a:pt x="456" y="96"/>
                      </a:lnTo>
                      <a:lnTo>
                        <a:pt x="458" y="94"/>
                      </a:lnTo>
                      <a:lnTo>
                        <a:pt x="460" y="88"/>
                      </a:lnTo>
                      <a:lnTo>
                        <a:pt x="458" y="84"/>
                      </a:lnTo>
                      <a:lnTo>
                        <a:pt x="458" y="84"/>
                      </a:lnTo>
                      <a:lnTo>
                        <a:pt x="458" y="80"/>
                      </a:lnTo>
                      <a:lnTo>
                        <a:pt x="460" y="72"/>
                      </a:lnTo>
                      <a:lnTo>
                        <a:pt x="470" y="50"/>
                      </a:lnTo>
                      <a:lnTo>
                        <a:pt x="486" y="20"/>
                      </a:lnTo>
                      <a:lnTo>
                        <a:pt x="486" y="20"/>
                      </a:lnTo>
                      <a:lnTo>
                        <a:pt x="488" y="18"/>
                      </a:lnTo>
                      <a:lnTo>
                        <a:pt x="494" y="12"/>
                      </a:lnTo>
                      <a:lnTo>
                        <a:pt x="502" y="4"/>
                      </a:lnTo>
                      <a:lnTo>
                        <a:pt x="508" y="2"/>
                      </a:lnTo>
                      <a:lnTo>
                        <a:pt x="516" y="0"/>
                      </a:lnTo>
                      <a:lnTo>
                        <a:pt x="516" y="0"/>
                      </a:lnTo>
                      <a:lnTo>
                        <a:pt x="524" y="0"/>
                      </a:lnTo>
                      <a:lnTo>
                        <a:pt x="530" y="2"/>
                      </a:lnTo>
                      <a:lnTo>
                        <a:pt x="544" y="8"/>
                      </a:lnTo>
                      <a:lnTo>
                        <a:pt x="560" y="16"/>
                      </a:lnTo>
                      <a:lnTo>
                        <a:pt x="568" y="20"/>
                      </a:lnTo>
                      <a:lnTo>
                        <a:pt x="578" y="24"/>
                      </a:lnTo>
                      <a:lnTo>
                        <a:pt x="578" y="24"/>
                      </a:lnTo>
                      <a:lnTo>
                        <a:pt x="588" y="26"/>
                      </a:lnTo>
                      <a:lnTo>
                        <a:pt x="594" y="24"/>
                      </a:lnTo>
                      <a:lnTo>
                        <a:pt x="598" y="20"/>
                      </a:lnTo>
                      <a:lnTo>
                        <a:pt x="602" y="18"/>
                      </a:lnTo>
                      <a:lnTo>
                        <a:pt x="606" y="16"/>
                      </a:lnTo>
                      <a:lnTo>
                        <a:pt x="610" y="16"/>
                      </a:lnTo>
                      <a:lnTo>
                        <a:pt x="616" y="20"/>
                      </a:lnTo>
                      <a:lnTo>
                        <a:pt x="624" y="28"/>
                      </a:lnTo>
                      <a:lnTo>
                        <a:pt x="624" y="28"/>
                      </a:lnTo>
                      <a:lnTo>
                        <a:pt x="640" y="46"/>
                      </a:lnTo>
                      <a:lnTo>
                        <a:pt x="650" y="54"/>
                      </a:lnTo>
                      <a:lnTo>
                        <a:pt x="654" y="60"/>
                      </a:lnTo>
                      <a:lnTo>
                        <a:pt x="654" y="62"/>
                      </a:lnTo>
                      <a:lnTo>
                        <a:pt x="652" y="64"/>
                      </a:lnTo>
                      <a:lnTo>
                        <a:pt x="652" y="64"/>
                      </a:lnTo>
                      <a:lnTo>
                        <a:pt x="646" y="74"/>
                      </a:lnTo>
                      <a:lnTo>
                        <a:pt x="636" y="84"/>
                      </a:lnTo>
                      <a:lnTo>
                        <a:pt x="624" y="94"/>
                      </a:lnTo>
                      <a:lnTo>
                        <a:pt x="612" y="104"/>
                      </a:lnTo>
                      <a:lnTo>
                        <a:pt x="612" y="104"/>
                      </a:lnTo>
                      <a:lnTo>
                        <a:pt x="598" y="112"/>
                      </a:lnTo>
                      <a:lnTo>
                        <a:pt x="584" y="116"/>
                      </a:lnTo>
                      <a:lnTo>
                        <a:pt x="562" y="124"/>
                      </a:lnTo>
                      <a:lnTo>
                        <a:pt x="562" y="124"/>
                      </a:lnTo>
                      <a:lnTo>
                        <a:pt x="546" y="128"/>
                      </a:lnTo>
                      <a:lnTo>
                        <a:pt x="524" y="134"/>
                      </a:lnTo>
                      <a:lnTo>
                        <a:pt x="516" y="140"/>
                      </a:lnTo>
                      <a:lnTo>
                        <a:pt x="508" y="144"/>
                      </a:lnTo>
                      <a:lnTo>
                        <a:pt x="508" y="148"/>
                      </a:lnTo>
                      <a:lnTo>
                        <a:pt x="506" y="152"/>
                      </a:lnTo>
                      <a:lnTo>
                        <a:pt x="508" y="154"/>
                      </a:lnTo>
                      <a:lnTo>
                        <a:pt x="510" y="160"/>
                      </a:lnTo>
                      <a:lnTo>
                        <a:pt x="510" y="160"/>
                      </a:lnTo>
                      <a:lnTo>
                        <a:pt x="520" y="166"/>
                      </a:lnTo>
                      <a:lnTo>
                        <a:pt x="528" y="170"/>
                      </a:lnTo>
                      <a:lnTo>
                        <a:pt x="540" y="170"/>
                      </a:lnTo>
                      <a:lnTo>
                        <a:pt x="550" y="170"/>
                      </a:lnTo>
                      <a:lnTo>
                        <a:pt x="570" y="168"/>
                      </a:lnTo>
                      <a:lnTo>
                        <a:pt x="580" y="168"/>
                      </a:lnTo>
                      <a:lnTo>
                        <a:pt x="586" y="170"/>
                      </a:lnTo>
                      <a:lnTo>
                        <a:pt x="586" y="170"/>
                      </a:lnTo>
                      <a:lnTo>
                        <a:pt x="646" y="212"/>
                      </a:lnTo>
                      <a:lnTo>
                        <a:pt x="696" y="248"/>
                      </a:lnTo>
                      <a:lnTo>
                        <a:pt x="696" y="248"/>
                      </a:lnTo>
                      <a:lnTo>
                        <a:pt x="630" y="352"/>
                      </a:lnTo>
                      <a:lnTo>
                        <a:pt x="630" y="352"/>
                      </a:lnTo>
                      <a:lnTo>
                        <a:pt x="624" y="354"/>
                      </a:lnTo>
                      <a:lnTo>
                        <a:pt x="614" y="358"/>
                      </a:lnTo>
                      <a:lnTo>
                        <a:pt x="600" y="366"/>
                      </a:lnTo>
                      <a:lnTo>
                        <a:pt x="592" y="370"/>
                      </a:lnTo>
                      <a:lnTo>
                        <a:pt x="584" y="378"/>
                      </a:lnTo>
                      <a:lnTo>
                        <a:pt x="584" y="378"/>
                      </a:lnTo>
                      <a:lnTo>
                        <a:pt x="576" y="384"/>
                      </a:lnTo>
                      <a:lnTo>
                        <a:pt x="564" y="390"/>
                      </a:lnTo>
                      <a:lnTo>
                        <a:pt x="540" y="402"/>
                      </a:lnTo>
                      <a:lnTo>
                        <a:pt x="526" y="408"/>
                      </a:lnTo>
                      <a:lnTo>
                        <a:pt x="530" y="406"/>
                      </a:lnTo>
                      <a:lnTo>
                        <a:pt x="530" y="406"/>
                      </a:lnTo>
                      <a:lnTo>
                        <a:pt x="550" y="404"/>
                      </a:lnTo>
                      <a:lnTo>
                        <a:pt x="556" y="404"/>
                      </a:lnTo>
                      <a:lnTo>
                        <a:pt x="562" y="406"/>
                      </a:lnTo>
                      <a:lnTo>
                        <a:pt x="568" y="408"/>
                      </a:lnTo>
                      <a:lnTo>
                        <a:pt x="570" y="412"/>
                      </a:lnTo>
                      <a:lnTo>
                        <a:pt x="572" y="416"/>
                      </a:lnTo>
                      <a:lnTo>
                        <a:pt x="570" y="420"/>
                      </a:lnTo>
                      <a:lnTo>
                        <a:pt x="570" y="420"/>
                      </a:lnTo>
                      <a:lnTo>
                        <a:pt x="566" y="424"/>
                      </a:lnTo>
                      <a:lnTo>
                        <a:pt x="560" y="430"/>
                      </a:lnTo>
                      <a:lnTo>
                        <a:pt x="540" y="444"/>
                      </a:lnTo>
                      <a:lnTo>
                        <a:pt x="520" y="454"/>
                      </a:lnTo>
                      <a:lnTo>
                        <a:pt x="512" y="456"/>
                      </a:lnTo>
                      <a:lnTo>
                        <a:pt x="508" y="458"/>
                      </a:lnTo>
                      <a:lnTo>
                        <a:pt x="508" y="458"/>
                      </a:lnTo>
                      <a:lnTo>
                        <a:pt x="506" y="458"/>
                      </a:lnTo>
                      <a:lnTo>
                        <a:pt x="508" y="460"/>
                      </a:lnTo>
                      <a:lnTo>
                        <a:pt x="522" y="464"/>
                      </a:lnTo>
                      <a:lnTo>
                        <a:pt x="552" y="472"/>
                      </a:lnTo>
                      <a:lnTo>
                        <a:pt x="552" y="472"/>
                      </a:lnTo>
                      <a:lnTo>
                        <a:pt x="560" y="478"/>
                      </a:lnTo>
                      <a:lnTo>
                        <a:pt x="570" y="488"/>
                      </a:lnTo>
                      <a:lnTo>
                        <a:pt x="584" y="500"/>
                      </a:lnTo>
                      <a:lnTo>
                        <a:pt x="584" y="500"/>
                      </a:lnTo>
                      <a:lnTo>
                        <a:pt x="588" y="516"/>
                      </a:lnTo>
                      <a:lnTo>
                        <a:pt x="598" y="558"/>
                      </a:lnTo>
                      <a:lnTo>
                        <a:pt x="598" y="558"/>
                      </a:lnTo>
                      <a:lnTo>
                        <a:pt x="606" y="582"/>
                      </a:lnTo>
                      <a:lnTo>
                        <a:pt x="612" y="600"/>
                      </a:lnTo>
                      <a:lnTo>
                        <a:pt x="616" y="614"/>
                      </a:lnTo>
                      <a:lnTo>
                        <a:pt x="614" y="620"/>
                      </a:lnTo>
                      <a:lnTo>
                        <a:pt x="612" y="626"/>
                      </a:lnTo>
                      <a:lnTo>
                        <a:pt x="612" y="626"/>
                      </a:lnTo>
                      <a:lnTo>
                        <a:pt x="604" y="640"/>
                      </a:lnTo>
                      <a:lnTo>
                        <a:pt x="598" y="658"/>
                      </a:lnTo>
                      <a:lnTo>
                        <a:pt x="594" y="674"/>
                      </a:lnTo>
                      <a:lnTo>
                        <a:pt x="594" y="682"/>
                      </a:lnTo>
                      <a:lnTo>
                        <a:pt x="594" y="690"/>
                      </a:lnTo>
                      <a:lnTo>
                        <a:pt x="594" y="690"/>
                      </a:lnTo>
                      <a:lnTo>
                        <a:pt x="596" y="706"/>
                      </a:lnTo>
                      <a:lnTo>
                        <a:pt x="596" y="718"/>
                      </a:lnTo>
                      <a:lnTo>
                        <a:pt x="598" y="730"/>
                      </a:lnTo>
                      <a:lnTo>
                        <a:pt x="598" y="734"/>
                      </a:lnTo>
                      <a:lnTo>
                        <a:pt x="602" y="738"/>
                      </a:lnTo>
                      <a:lnTo>
                        <a:pt x="602" y="738"/>
                      </a:lnTo>
                      <a:lnTo>
                        <a:pt x="612" y="744"/>
                      </a:lnTo>
                      <a:lnTo>
                        <a:pt x="624" y="750"/>
                      </a:lnTo>
                      <a:lnTo>
                        <a:pt x="638" y="756"/>
                      </a:lnTo>
                      <a:lnTo>
                        <a:pt x="642" y="760"/>
                      </a:lnTo>
                      <a:lnTo>
                        <a:pt x="646" y="766"/>
                      </a:lnTo>
                      <a:lnTo>
                        <a:pt x="646" y="766"/>
                      </a:lnTo>
                      <a:lnTo>
                        <a:pt x="648" y="768"/>
                      </a:lnTo>
                      <a:lnTo>
                        <a:pt x="650" y="770"/>
                      </a:lnTo>
                      <a:lnTo>
                        <a:pt x="654" y="768"/>
                      </a:lnTo>
                      <a:lnTo>
                        <a:pt x="666" y="762"/>
                      </a:lnTo>
                      <a:lnTo>
                        <a:pt x="670" y="762"/>
                      </a:lnTo>
                      <a:lnTo>
                        <a:pt x="672" y="764"/>
                      </a:lnTo>
                      <a:lnTo>
                        <a:pt x="674" y="766"/>
                      </a:lnTo>
                      <a:lnTo>
                        <a:pt x="676" y="778"/>
                      </a:lnTo>
                      <a:lnTo>
                        <a:pt x="676" y="798"/>
                      </a:lnTo>
                      <a:lnTo>
                        <a:pt x="676" y="798"/>
                      </a:lnTo>
                      <a:lnTo>
                        <a:pt x="674" y="836"/>
                      </a:lnTo>
                      <a:lnTo>
                        <a:pt x="672" y="858"/>
                      </a:lnTo>
                      <a:lnTo>
                        <a:pt x="668" y="884"/>
                      </a:lnTo>
                      <a:lnTo>
                        <a:pt x="668" y="884"/>
                      </a:lnTo>
                      <a:lnTo>
                        <a:pt x="664" y="898"/>
                      </a:lnTo>
                      <a:lnTo>
                        <a:pt x="658" y="910"/>
                      </a:lnTo>
                      <a:lnTo>
                        <a:pt x="650" y="916"/>
                      </a:lnTo>
                      <a:lnTo>
                        <a:pt x="642" y="920"/>
                      </a:lnTo>
                      <a:lnTo>
                        <a:pt x="642" y="920"/>
                      </a:lnTo>
                      <a:lnTo>
                        <a:pt x="638" y="920"/>
                      </a:lnTo>
                      <a:lnTo>
                        <a:pt x="636" y="922"/>
                      </a:lnTo>
                      <a:lnTo>
                        <a:pt x="636" y="924"/>
                      </a:lnTo>
                      <a:lnTo>
                        <a:pt x="636" y="928"/>
                      </a:lnTo>
                      <a:lnTo>
                        <a:pt x="640" y="934"/>
                      </a:lnTo>
                      <a:lnTo>
                        <a:pt x="644" y="944"/>
                      </a:lnTo>
                      <a:lnTo>
                        <a:pt x="644" y="944"/>
                      </a:lnTo>
                      <a:lnTo>
                        <a:pt x="650" y="954"/>
                      </a:lnTo>
                      <a:lnTo>
                        <a:pt x="652" y="964"/>
                      </a:lnTo>
                      <a:lnTo>
                        <a:pt x="654" y="976"/>
                      </a:lnTo>
                      <a:lnTo>
                        <a:pt x="656" y="992"/>
                      </a:lnTo>
                      <a:lnTo>
                        <a:pt x="656" y="992"/>
                      </a:lnTo>
                      <a:lnTo>
                        <a:pt x="656" y="1014"/>
                      </a:lnTo>
                      <a:lnTo>
                        <a:pt x="654" y="1024"/>
                      </a:lnTo>
                      <a:lnTo>
                        <a:pt x="654" y="1024"/>
                      </a:lnTo>
                      <a:lnTo>
                        <a:pt x="650" y="1028"/>
                      </a:lnTo>
                      <a:lnTo>
                        <a:pt x="646" y="1030"/>
                      </a:lnTo>
                      <a:lnTo>
                        <a:pt x="632" y="1032"/>
                      </a:lnTo>
                      <a:lnTo>
                        <a:pt x="628" y="1034"/>
                      </a:lnTo>
                      <a:lnTo>
                        <a:pt x="624" y="1036"/>
                      </a:lnTo>
                      <a:lnTo>
                        <a:pt x="622" y="1040"/>
                      </a:lnTo>
                      <a:lnTo>
                        <a:pt x="626" y="1048"/>
                      </a:lnTo>
                      <a:lnTo>
                        <a:pt x="626" y="1048"/>
                      </a:lnTo>
                      <a:lnTo>
                        <a:pt x="632" y="1054"/>
                      </a:lnTo>
                      <a:lnTo>
                        <a:pt x="636" y="1056"/>
                      </a:lnTo>
                      <a:lnTo>
                        <a:pt x="642" y="1056"/>
                      </a:lnTo>
                      <a:lnTo>
                        <a:pt x="646" y="1056"/>
                      </a:lnTo>
                      <a:lnTo>
                        <a:pt x="652" y="1054"/>
                      </a:lnTo>
                      <a:lnTo>
                        <a:pt x="660" y="1054"/>
                      </a:lnTo>
                      <a:lnTo>
                        <a:pt x="668" y="1056"/>
                      </a:lnTo>
                      <a:lnTo>
                        <a:pt x="678" y="1060"/>
                      </a:lnTo>
                      <a:lnTo>
                        <a:pt x="678" y="1060"/>
                      </a:lnTo>
                      <a:lnTo>
                        <a:pt x="724" y="1092"/>
                      </a:lnTo>
                      <a:lnTo>
                        <a:pt x="744" y="1106"/>
                      </a:lnTo>
                      <a:lnTo>
                        <a:pt x="756" y="1116"/>
                      </a:lnTo>
                      <a:lnTo>
                        <a:pt x="756" y="1116"/>
                      </a:lnTo>
                      <a:lnTo>
                        <a:pt x="758" y="1122"/>
                      </a:lnTo>
                      <a:lnTo>
                        <a:pt x="760" y="1128"/>
                      </a:lnTo>
                      <a:lnTo>
                        <a:pt x="762" y="1146"/>
                      </a:lnTo>
                      <a:lnTo>
                        <a:pt x="760" y="1164"/>
                      </a:lnTo>
                      <a:lnTo>
                        <a:pt x="760" y="1176"/>
                      </a:lnTo>
                      <a:lnTo>
                        <a:pt x="760" y="1176"/>
                      </a:lnTo>
                      <a:lnTo>
                        <a:pt x="760" y="1180"/>
                      </a:lnTo>
                      <a:lnTo>
                        <a:pt x="760" y="1184"/>
                      </a:lnTo>
                      <a:lnTo>
                        <a:pt x="764" y="1186"/>
                      </a:lnTo>
                      <a:lnTo>
                        <a:pt x="766" y="1188"/>
                      </a:lnTo>
                      <a:lnTo>
                        <a:pt x="764" y="1192"/>
                      </a:lnTo>
                      <a:lnTo>
                        <a:pt x="754" y="1204"/>
                      </a:lnTo>
                      <a:lnTo>
                        <a:pt x="754" y="1204"/>
                      </a:lnTo>
                      <a:lnTo>
                        <a:pt x="722" y="1244"/>
                      </a:lnTo>
                      <a:lnTo>
                        <a:pt x="706" y="1260"/>
                      </a:lnTo>
                      <a:lnTo>
                        <a:pt x="698" y="1266"/>
                      </a:lnTo>
                      <a:lnTo>
                        <a:pt x="690" y="1270"/>
                      </a:lnTo>
                      <a:lnTo>
                        <a:pt x="690" y="1270"/>
                      </a:lnTo>
                      <a:lnTo>
                        <a:pt x="674" y="1276"/>
                      </a:lnTo>
                      <a:lnTo>
                        <a:pt x="664" y="1280"/>
                      </a:lnTo>
                      <a:lnTo>
                        <a:pt x="654" y="1280"/>
                      </a:lnTo>
                      <a:lnTo>
                        <a:pt x="640" y="1276"/>
                      </a:lnTo>
                      <a:lnTo>
                        <a:pt x="640" y="1276"/>
                      </a:lnTo>
                      <a:lnTo>
                        <a:pt x="624" y="1270"/>
                      </a:lnTo>
                      <a:lnTo>
                        <a:pt x="608" y="1266"/>
                      </a:lnTo>
                      <a:lnTo>
                        <a:pt x="592" y="1262"/>
                      </a:lnTo>
                      <a:lnTo>
                        <a:pt x="592" y="1262"/>
                      </a:lnTo>
                      <a:lnTo>
                        <a:pt x="570" y="1258"/>
                      </a:lnTo>
                      <a:lnTo>
                        <a:pt x="564" y="1258"/>
                      </a:lnTo>
                      <a:lnTo>
                        <a:pt x="560" y="1260"/>
                      </a:lnTo>
                      <a:lnTo>
                        <a:pt x="560" y="1262"/>
                      </a:lnTo>
                      <a:lnTo>
                        <a:pt x="566" y="1268"/>
                      </a:lnTo>
                      <a:lnTo>
                        <a:pt x="566" y="1268"/>
                      </a:lnTo>
                      <a:lnTo>
                        <a:pt x="586" y="1278"/>
                      </a:lnTo>
                      <a:lnTo>
                        <a:pt x="606" y="1286"/>
                      </a:lnTo>
                      <a:lnTo>
                        <a:pt x="626" y="1294"/>
                      </a:lnTo>
                      <a:lnTo>
                        <a:pt x="626" y="129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2" name="Freeform 46">
                  <a:extLst>
                    <a:ext uri="{FF2B5EF4-FFF2-40B4-BE49-F238E27FC236}">
                      <a16:creationId xmlns:a16="http://schemas.microsoft.com/office/drawing/2014/main" id="{D345D2AD-FAC7-4A32-A535-ECD7F30062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4065" y="3717210"/>
                  <a:ext cx="35058" cy="27437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0"/>
                    </a:cxn>
                    <a:cxn ang="0">
                      <a:pos x="2" y="8"/>
                    </a:cxn>
                    <a:cxn ang="0">
                      <a:pos x="10" y="4"/>
                    </a:cxn>
                    <a:cxn ang="0">
                      <a:pos x="18" y="0"/>
                    </a:cxn>
                    <a:cxn ang="0">
                      <a:pos x="24" y="2"/>
                    </a:cxn>
                    <a:cxn ang="0">
                      <a:pos x="28" y="4"/>
                    </a:cxn>
                    <a:cxn ang="0">
                      <a:pos x="28" y="4"/>
                    </a:cxn>
                    <a:cxn ang="0">
                      <a:pos x="34" y="6"/>
                    </a:cxn>
                    <a:cxn ang="0">
                      <a:pos x="38" y="6"/>
                    </a:cxn>
                    <a:cxn ang="0">
                      <a:pos x="44" y="4"/>
                    </a:cxn>
                    <a:cxn ang="0">
                      <a:pos x="46" y="2"/>
                    </a:cxn>
                    <a:cxn ang="0">
                      <a:pos x="46" y="4"/>
                    </a:cxn>
                    <a:cxn ang="0">
                      <a:pos x="42" y="12"/>
                    </a:cxn>
                    <a:cxn ang="0">
                      <a:pos x="42" y="12"/>
                    </a:cxn>
                    <a:cxn ang="0">
                      <a:pos x="30" y="22"/>
                    </a:cxn>
                    <a:cxn ang="0">
                      <a:pos x="20" y="30"/>
                    </a:cxn>
                    <a:cxn ang="0">
                      <a:pos x="8" y="36"/>
                    </a:cxn>
                    <a:cxn ang="0">
                      <a:pos x="0" y="10"/>
                    </a:cxn>
                  </a:cxnLst>
                  <a:rect l="0" t="0" r="r" b="b"/>
                  <a:pathLst>
                    <a:path w="46" h="36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2" y="8"/>
                      </a:lnTo>
                      <a:lnTo>
                        <a:pt x="10" y="4"/>
                      </a:lnTo>
                      <a:lnTo>
                        <a:pt x="18" y="0"/>
                      </a:lnTo>
                      <a:lnTo>
                        <a:pt x="24" y="2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34" y="6"/>
                      </a:lnTo>
                      <a:lnTo>
                        <a:pt x="38" y="6"/>
                      </a:lnTo>
                      <a:lnTo>
                        <a:pt x="44" y="4"/>
                      </a:lnTo>
                      <a:lnTo>
                        <a:pt x="46" y="2"/>
                      </a:lnTo>
                      <a:lnTo>
                        <a:pt x="46" y="4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30" y="22"/>
                      </a:lnTo>
                      <a:lnTo>
                        <a:pt x="20" y="30"/>
                      </a:lnTo>
                      <a:lnTo>
                        <a:pt x="8" y="36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3" name="Freeform 47">
                  <a:extLst>
                    <a:ext uri="{FF2B5EF4-FFF2-40B4-BE49-F238E27FC236}">
                      <a16:creationId xmlns:a16="http://schemas.microsoft.com/office/drawing/2014/main" id="{0A948D3B-3148-43DA-98EA-D9EEA1C0A5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269" y="3613560"/>
                  <a:ext cx="27437" cy="16767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4" y="0"/>
                    </a:cxn>
                    <a:cxn ang="0">
                      <a:pos x="2" y="4"/>
                    </a:cxn>
                    <a:cxn ang="0">
                      <a:pos x="0" y="10"/>
                    </a:cxn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2" y="20"/>
                    </a:cxn>
                    <a:cxn ang="0">
                      <a:pos x="6" y="22"/>
                    </a:cxn>
                    <a:cxn ang="0">
                      <a:pos x="6" y="22"/>
                    </a:cxn>
                    <a:cxn ang="0">
                      <a:pos x="12" y="22"/>
                    </a:cxn>
                    <a:cxn ang="0">
                      <a:pos x="16" y="20"/>
                    </a:cxn>
                    <a:cxn ang="0">
                      <a:pos x="26" y="16"/>
                    </a:cxn>
                    <a:cxn ang="0">
                      <a:pos x="36" y="8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36" h="22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2" y="4"/>
                      </a:lnTo>
                      <a:lnTo>
                        <a:pt x="0" y="10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2" y="20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12" y="22"/>
                      </a:lnTo>
                      <a:lnTo>
                        <a:pt x="16" y="20"/>
                      </a:lnTo>
                      <a:lnTo>
                        <a:pt x="26" y="16"/>
                      </a:lnTo>
                      <a:lnTo>
                        <a:pt x="36" y="8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4" name="Freeform 48">
                  <a:extLst>
                    <a:ext uri="{FF2B5EF4-FFF2-40B4-BE49-F238E27FC236}">
                      <a16:creationId xmlns:a16="http://schemas.microsoft.com/office/drawing/2014/main" id="{1CA31575-12E1-40E7-A7D3-049902DF9C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6444" y="3363581"/>
                  <a:ext cx="39631" cy="39631"/>
                </a:xfrm>
                <a:custGeom>
                  <a:avLst/>
                  <a:gdLst/>
                  <a:ahLst/>
                  <a:cxnLst>
                    <a:cxn ang="0">
                      <a:pos x="4" y="10"/>
                    </a:cxn>
                    <a:cxn ang="0">
                      <a:pos x="4" y="10"/>
                    </a:cxn>
                    <a:cxn ang="0">
                      <a:pos x="0" y="28"/>
                    </a:cxn>
                    <a:cxn ang="0">
                      <a:pos x="0" y="44"/>
                    </a:cxn>
                    <a:cxn ang="0">
                      <a:pos x="2" y="48"/>
                    </a:cxn>
                    <a:cxn ang="0">
                      <a:pos x="2" y="52"/>
                    </a:cxn>
                    <a:cxn ang="0">
                      <a:pos x="4" y="52"/>
                    </a:cxn>
                    <a:cxn ang="0">
                      <a:pos x="8" y="50"/>
                    </a:cxn>
                    <a:cxn ang="0">
                      <a:pos x="8" y="50"/>
                    </a:cxn>
                    <a:cxn ang="0">
                      <a:pos x="16" y="32"/>
                    </a:cxn>
                    <a:cxn ang="0">
                      <a:pos x="20" y="26"/>
                    </a:cxn>
                    <a:cxn ang="0">
                      <a:pos x="28" y="22"/>
                    </a:cxn>
                    <a:cxn ang="0">
                      <a:pos x="28" y="22"/>
                    </a:cxn>
                    <a:cxn ang="0">
                      <a:pos x="38" y="16"/>
                    </a:cxn>
                    <a:cxn ang="0">
                      <a:pos x="48" y="8"/>
                    </a:cxn>
                    <a:cxn ang="0">
                      <a:pos x="52" y="4"/>
                    </a:cxn>
                    <a:cxn ang="0">
                      <a:pos x="52" y="2"/>
                    </a:cxn>
                    <a:cxn ang="0">
                      <a:pos x="50" y="0"/>
                    </a:cxn>
                    <a:cxn ang="0">
                      <a:pos x="44" y="0"/>
                    </a:cxn>
                    <a:cxn ang="0">
                      <a:pos x="44" y="0"/>
                    </a:cxn>
                    <a:cxn ang="0">
                      <a:pos x="28" y="2"/>
                    </a:cxn>
                    <a:cxn ang="0">
                      <a:pos x="16" y="6"/>
                    </a:cxn>
                    <a:cxn ang="0">
                      <a:pos x="4" y="10"/>
                    </a:cxn>
                    <a:cxn ang="0">
                      <a:pos x="4" y="10"/>
                    </a:cxn>
                  </a:cxnLst>
                  <a:rect l="0" t="0" r="r" b="b"/>
                  <a:pathLst>
                    <a:path w="52" h="52">
                      <a:moveTo>
                        <a:pt x="4" y="10"/>
                      </a:moveTo>
                      <a:lnTo>
                        <a:pt x="4" y="10"/>
                      </a:lnTo>
                      <a:lnTo>
                        <a:pt x="0" y="28"/>
                      </a:lnTo>
                      <a:lnTo>
                        <a:pt x="0" y="44"/>
                      </a:lnTo>
                      <a:lnTo>
                        <a:pt x="2" y="48"/>
                      </a:lnTo>
                      <a:lnTo>
                        <a:pt x="2" y="52"/>
                      </a:lnTo>
                      <a:lnTo>
                        <a:pt x="4" y="52"/>
                      </a:lnTo>
                      <a:lnTo>
                        <a:pt x="8" y="50"/>
                      </a:lnTo>
                      <a:lnTo>
                        <a:pt x="8" y="50"/>
                      </a:lnTo>
                      <a:lnTo>
                        <a:pt x="16" y="32"/>
                      </a:lnTo>
                      <a:lnTo>
                        <a:pt x="20" y="26"/>
                      </a:lnTo>
                      <a:lnTo>
                        <a:pt x="28" y="22"/>
                      </a:lnTo>
                      <a:lnTo>
                        <a:pt x="28" y="22"/>
                      </a:lnTo>
                      <a:lnTo>
                        <a:pt x="38" y="16"/>
                      </a:lnTo>
                      <a:lnTo>
                        <a:pt x="48" y="8"/>
                      </a:lnTo>
                      <a:lnTo>
                        <a:pt x="52" y="4"/>
                      </a:lnTo>
                      <a:lnTo>
                        <a:pt x="52" y="2"/>
                      </a:lnTo>
                      <a:lnTo>
                        <a:pt x="50" y="0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28" y="2"/>
                      </a:lnTo>
                      <a:lnTo>
                        <a:pt x="16" y="6"/>
                      </a:lnTo>
                      <a:lnTo>
                        <a:pt x="4" y="10"/>
                      </a:ln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5" name="Freeform 49">
                  <a:extLst>
                    <a:ext uri="{FF2B5EF4-FFF2-40B4-BE49-F238E27FC236}">
                      <a16:creationId xmlns:a16="http://schemas.microsoft.com/office/drawing/2014/main" id="{0D19B27C-9F92-4973-BD7D-E8C25270B7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1318" y="3083117"/>
                  <a:ext cx="76213" cy="44204"/>
                </a:xfrm>
                <a:custGeom>
                  <a:avLst/>
                  <a:gdLst/>
                  <a:ahLst/>
                  <a:cxnLst>
                    <a:cxn ang="0">
                      <a:pos x="2" y="52"/>
                    </a:cxn>
                    <a:cxn ang="0">
                      <a:pos x="2" y="52"/>
                    </a:cxn>
                    <a:cxn ang="0">
                      <a:pos x="0" y="54"/>
                    </a:cxn>
                    <a:cxn ang="0">
                      <a:pos x="2" y="56"/>
                    </a:cxn>
                    <a:cxn ang="0">
                      <a:pos x="6" y="58"/>
                    </a:cxn>
                    <a:cxn ang="0">
                      <a:pos x="10" y="58"/>
                    </a:cxn>
                    <a:cxn ang="0">
                      <a:pos x="22" y="56"/>
                    </a:cxn>
                    <a:cxn ang="0">
                      <a:pos x="30" y="52"/>
                    </a:cxn>
                    <a:cxn ang="0">
                      <a:pos x="36" y="46"/>
                    </a:cxn>
                    <a:cxn ang="0">
                      <a:pos x="36" y="46"/>
                    </a:cxn>
                    <a:cxn ang="0">
                      <a:pos x="48" y="38"/>
                    </a:cxn>
                    <a:cxn ang="0">
                      <a:pos x="58" y="34"/>
                    </a:cxn>
                    <a:cxn ang="0">
                      <a:pos x="70" y="30"/>
                    </a:cxn>
                    <a:cxn ang="0">
                      <a:pos x="86" y="24"/>
                    </a:cxn>
                    <a:cxn ang="0">
                      <a:pos x="86" y="24"/>
                    </a:cxn>
                    <a:cxn ang="0">
                      <a:pos x="94" y="20"/>
                    </a:cxn>
                    <a:cxn ang="0">
                      <a:pos x="98" y="16"/>
                    </a:cxn>
                    <a:cxn ang="0">
                      <a:pos x="100" y="10"/>
                    </a:cxn>
                    <a:cxn ang="0">
                      <a:pos x="100" y="6"/>
                    </a:cxn>
                    <a:cxn ang="0">
                      <a:pos x="100" y="2"/>
                    </a:cxn>
                    <a:cxn ang="0">
                      <a:pos x="96" y="0"/>
                    </a:cxn>
                    <a:cxn ang="0">
                      <a:pos x="94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32" y="26"/>
                    </a:cxn>
                    <a:cxn ang="0">
                      <a:pos x="32" y="26"/>
                    </a:cxn>
                    <a:cxn ang="0">
                      <a:pos x="22" y="32"/>
                    </a:cxn>
                    <a:cxn ang="0">
                      <a:pos x="12" y="42"/>
                    </a:cxn>
                    <a:cxn ang="0">
                      <a:pos x="2" y="52"/>
                    </a:cxn>
                    <a:cxn ang="0">
                      <a:pos x="2" y="52"/>
                    </a:cxn>
                  </a:cxnLst>
                  <a:rect l="0" t="0" r="r" b="b"/>
                  <a:pathLst>
                    <a:path w="100" h="58">
                      <a:moveTo>
                        <a:pt x="2" y="52"/>
                      </a:moveTo>
                      <a:lnTo>
                        <a:pt x="2" y="52"/>
                      </a:lnTo>
                      <a:lnTo>
                        <a:pt x="0" y="54"/>
                      </a:lnTo>
                      <a:lnTo>
                        <a:pt x="2" y="56"/>
                      </a:lnTo>
                      <a:lnTo>
                        <a:pt x="6" y="58"/>
                      </a:lnTo>
                      <a:lnTo>
                        <a:pt x="10" y="58"/>
                      </a:lnTo>
                      <a:lnTo>
                        <a:pt x="22" y="56"/>
                      </a:lnTo>
                      <a:lnTo>
                        <a:pt x="30" y="52"/>
                      </a:lnTo>
                      <a:lnTo>
                        <a:pt x="36" y="46"/>
                      </a:lnTo>
                      <a:lnTo>
                        <a:pt x="36" y="46"/>
                      </a:lnTo>
                      <a:lnTo>
                        <a:pt x="48" y="38"/>
                      </a:lnTo>
                      <a:lnTo>
                        <a:pt x="58" y="34"/>
                      </a:lnTo>
                      <a:lnTo>
                        <a:pt x="70" y="30"/>
                      </a:lnTo>
                      <a:lnTo>
                        <a:pt x="86" y="24"/>
                      </a:lnTo>
                      <a:lnTo>
                        <a:pt x="86" y="24"/>
                      </a:lnTo>
                      <a:lnTo>
                        <a:pt x="94" y="20"/>
                      </a:lnTo>
                      <a:lnTo>
                        <a:pt x="98" y="16"/>
                      </a:lnTo>
                      <a:lnTo>
                        <a:pt x="100" y="10"/>
                      </a:lnTo>
                      <a:lnTo>
                        <a:pt x="100" y="6"/>
                      </a:lnTo>
                      <a:lnTo>
                        <a:pt x="100" y="2"/>
                      </a:lnTo>
                      <a:lnTo>
                        <a:pt x="96" y="0"/>
                      </a:lnTo>
                      <a:lnTo>
                        <a:pt x="94" y="0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2" y="32"/>
                      </a:lnTo>
                      <a:lnTo>
                        <a:pt x="12" y="42"/>
                      </a:lnTo>
                      <a:lnTo>
                        <a:pt x="2" y="52"/>
                      </a:lnTo>
                      <a:lnTo>
                        <a:pt x="2" y="5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6" name="Freeform 50">
                  <a:extLst>
                    <a:ext uri="{FF2B5EF4-FFF2-40B4-BE49-F238E27FC236}">
                      <a16:creationId xmlns:a16="http://schemas.microsoft.com/office/drawing/2014/main" id="{4E30BB63-D91A-422B-9347-F4FA0C480A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8918" y="3072447"/>
                  <a:ext cx="48776" cy="35058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0" y="24"/>
                    </a:cxn>
                    <a:cxn ang="0">
                      <a:pos x="4" y="34"/>
                    </a:cxn>
                    <a:cxn ang="0">
                      <a:pos x="10" y="40"/>
                    </a:cxn>
                    <a:cxn ang="0">
                      <a:pos x="16" y="46"/>
                    </a:cxn>
                    <a:cxn ang="0">
                      <a:pos x="16" y="46"/>
                    </a:cxn>
                    <a:cxn ang="0">
                      <a:pos x="24" y="46"/>
                    </a:cxn>
                    <a:cxn ang="0">
                      <a:pos x="30" y="46"/>
                    </a:cxn>
                    <a:cxn ang="0">
                      <a:pos x="36" y="44"/>
                    </a:cxn>
                    <a:cxn ang="0">
                      <a:pos x="44" y="42"/>
                    </a:cxn>
                    <a:cxn ang="0">
                      <a:pos x="44" y="42"/>
                    </a:cxn>
                    <a:cxn ang="0">
                      <a:pos x="50" y="36"/>
                    </a:cxn>
                    <a:cxn ang="0">
                      <a:pos x="56" y="28"/>
                    </a:cxn>
                    <a:cxn ang="0">
                      <a:pos x="64" y="18"/>
                    </a:cxn>
                    <a:cxn ang="0">
                      <a:pos x="64" y="18"/>
                    </a:cxn>
                    <a:cxn ang="0">
                      <a:pos x="58" y="18"/>
                    </a:cxn>
                    <a:cxn ang="0">
                      <a:pos x="56" y="18"/>
                    </a:cxn>
                    <a:cxn ang="0">
                      <a:pos x="52" y="12"/>
                    </a:cxn>
                    <a:cxn ang="0">
                      <a:pos x="52" y="12"/>
                    </a:cxn>
                    <a:cxn ang="0">
                      <a:pos x="50" y="8"/>
                    </a:cxn>
                    <a:cxn ang="0">
                      <a:pos x="44" y="4"/>
                    </a:cxn>
                    <a:cxn ang="0">
                      <a:pos x="38" y="2"/>
                    </a:cxn>
                    <a:cxn ang="0">
                      <a:pos x="28" y="0"/>
                    </a:cxn>
                    <a:cxn ang="0">
                      <a:pos x="20" y="2"/>
                    </a:cxn>
                    <a:cxn ang="0">
                      <a:pos x="12" y="6"/>
                    </a:cxn>
                    <a:cxn ang="0">
                      <a:pos x="6" y="12"/>
                    </a:cxn>
                    <a:cxn ang="0">
                      <a:pos x="0" y="24"/>
                    </a:cxn>
                    <a:cxn ang="0">
                      <a:pos x="0" y="24"/>
                    </a:cxn>
                  </a:cxnLst>
                  <a:rect l="0" t="0" r="r" b="b"/>
                  <a:pathLst>
                    <a:path w="64" h="46">
                      <a:moveTo>
                        <a:pt x="0" y="24"/>
                      </a:moveTo>
                      <a:lnTo>
                        <a:pt x="0" y="24"/>
                      </a:lnTo>
                      <a:lnTo>
                        <a:pt x="4" y="34"/>
                      </a:lnTo>
                      <a:lnTo>
                        <a:pt x="10" y="40"/>
                      </a:lnTo>
                      <a:lnTo>
                        <a:pt x="16" y="46"/>
                      </a:lnTo>
                      <a:lnTo>
                        <a:pt x="16" y="46"/>
                      </a:lnTo>
                      <a:lnTo>
                        <a:pt x="24" y="46"/>
                      </a:lnTo>
                      <a:lnTo>
                        <a:pt x="30" y="46"/>
                      </a:lnTo>
                      <a:lnTo>
                        <a:pt x="36" y="44"/>
                      </a:lnTo>
                      <a:lnTo>
                        <a:pt x="44" y="42"/>
                      </a:lnTo>
                      <a:lnTo>
                        <a:pt x="44" y="42"/>
                      </a:lnTo>
                      <a:lnTo>
                        <a:pt x="50" y="36"/>
                      </a:lnTo>
                      <a:lnTo>
                        <a:pt x="56" y="28"/>
                      </a:lnTo>
                      <a:lnTo>
                        <a:pt x="64" y="18"/>
                      </a:lnTo>
                      <a:lnTo>
                        <a:pt x="64" y="18"/>
                      </a:lnTo>
                      <a:lnTo>
                        <a:pt x="58" y="18"/>
                      </a:lnTo>
                      <a:lnTo>
                        <a:pt x="56" y="18"/>
                      </a:lnTo>
                      <a:lnTo>
                        <a:pt x="52" y="12"/>
                      </a:lnTo>
                      <a:lnTo>
                        <a:pt x="52" y="12"/>
                      </a:lnTo>
                      <a:lnTo>
                        <a:pt x="50" y="8"/>
                      </a:lnTo>
                      <a:lnTo>
                        <a:pt x="44" y="4"/>
                      </a:lnTo>
                      <a:lnTo>
                        <a:pt x="38" y="2"/>
                      </a:lnTo>
                      <a:lnTo>
                        <a:pt x="28" y="0"/>
                      </a:lnTo>
                      <a:lnTo>
                        <a:pt x="20" y="2"/>
                      </a:lnTo>
                      <a:lnTo>
                        <a:pt x="12" y="6"/>
                      </a:lnTo>
                      <a:lnTo>
                        <a:pt x="6" y="12"/>
                      </a:lnTo>
                      <a:lnTo>
                        <a:pt x="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7" name="Freeform 51">
                  <a:extLst>
                    <a:ext uri="{FF2B5EF4-FFF2-40B4-BE49-F238E27FC236}">
                      <a16:creationId xmlns:a16="http://schemas.microsoft.com/office/drawing/2014/main" id="{FF446108-CF93-4DB1-AFFD-BA883CB55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9123" y="3432173"/>
                  <a:ext cx="38107" cy="22864"/>
                </a:xfrm>
                <a:custGeom>
                  <a:avLst/>
                  <a:gdLst/>
                  <a:ahLst/>
                  <a:cxnLst>
                    <a:cxn ang="0">
                      <a:pos x="4" y="6"/>
                    </a:cxn>
                    <a:cxn ang="0">
                      <a:pos x="4" y="6"/>
                    </a:cxn>
                    <a:cxn ang="0">
                      <a:pos x="0" y="20"/>
                    </a:cxn>
                    <a:cxn ang="0">
                      <a:pos x="0" y="28"/>
                    </a:cxn>
                    <a:cxn ang="0">
                      <a:pos x="0" y="30"/>
                    </a:cxn>
                    <a:cxn ang="0">
                      <a:pos x="4" y="30"/>
                    </a:cxn>
                    <a:cxn ang="0">
                      <a:pos x="4" y="30"/>
                    </a:cxn>
                    <a:cxn ang="0">
                      <a:pos x="16" y="24"/>
                    </a:cxn>
                    <a:cxn ang="0">
                      <a:pos x="30" y="18"/>
                    </a:cxn>
                    <a:cxn ang="0">
                      <a:pos x="50" y="12"/>
                    </a:cxn>
                    <a:cxn ang="0">
                      <a:pos x="28" y="0"/>
                    </a:cxn>
                    <a:cxn ang="0">
                      <a:pos x="4" y="6"/>
                    </a:cxn>
                  </a:cxnLst>
                  <a:rect l="0" t="0" r="r" b="b"/>
                  <a:pathLst>
                    <a:path w="50" h="30">
                      <a:moveTo>
                        <a:pt x="4" y="6"/>
                      </a:moveTo>
                      <a:lnTo>
                        <a:pt x="4" y="6"/>
                      </a:lnTo>
                      <a:lnTo>
                        <a:pt x="0" y="20"/>
                      </a:lnTo>
                      <a:lnTo>
                        <a:pt x="0" y="28"/>
                      </a:lnTo>
                      <a:lnTo>
                        <a:pt x="0" y="30"/>
                      </a:lnTo>
                      <a:lnTo>
                        <a:pt x="4" y="30"/>
                      </a:lnTo>
                      <a:lnTo>
                        <a:pt x="4" y="30"/>
                      </a:lnTo>
                      <a:lnTo>
                        <a:pt x="16" y="24"/>
                      </a:lnTo>
                      <a:lnTo>
                        <a:pt x="30" y="18"/>
                      </a:lnTo>
                      <a:lnTo>
                        <a:pt x="50" y="12"/>
                      </a:lnTo>
                      <a:lnTo>
                        <a:pt x="28" y="0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8" name="Freeform 52">
                  <a:extLst>
                    <a:ext uri="{FF2B5EF4-FFF2-40B4-BE49-F238E27FC236}">
                      <a16:creationId xmlns:a16="http://schemas.microsoft.com/office/drawing/2014/main" id="{627EE0DC-6EA3-418A-BB3A-EEA2D501FC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6524" y="3909267"/>
                  <a:ext cx="716403" cy="705733"/>
                </a:xfrm>
                <a:custGeom>
                  <a:avLst/>
                  <a:gdLst/>
                  <a:ahLst/>
                  <a:cxnLst>
                    <a:cxn ang="0">
                      <a:pos x="492" y="94"/>
                    </a:cxn>
                    <a:cxn ang="0">
                      <a:pos x="442" y="104"/>
                    </a:cxn>
                    <a:cxn ang="0">
                      <a:pos x="424" y="96"/>
                    </a:cxn>
                    <a:cxn ang="0">
                      <a:pos x="398" y="94"/>
                    </a:cxn>
                    <a:cxn ang="0">
                      <a:pos x="396" y="74"/>
                    </a:cxn>
                    <a:cxn ang="0">
                      <a:pos x="392" y="30"/>
                    </a:cxn>
                    <a:cxn ang="0">
                      <a:pos x="346" y="0"/>
                    </a:cxn>
                    <a:cxn ang="0">
                      <a:pos x="280" y="22"/>
                    </a:cxn>
                    <a:cxn ang="0">
                      <a:pos x="222" y="52"/>
                    </a:cxn>
                    <a:cxn ang="0">
                      <a:pos x="162" y="108"/>
                    </a:cxn>
                    <a:cxn ang="0">
                      <a:pos x="90" y="116"/>
                    </a:cxn>
                    <a:cxn ang="0">
                      <a:pos x="6" y="148"/>
                    </a:cxn>
                    <a:cxn ang="0">
                      <a:pos x="36" y="224"/>
                    </a:cxn>
                    <a:cxn ang="0">
                      <a:pos x="26" y="270"/>
                    </a:cxn>
                    <a:cxn ang="0">
                      <a:pos x="26" y="314"/>
                    </a:cxn>
                    <a:cxn ang="0">
                      <a:pos x="46" y="356"/>
                    </a:cxn>
                    <a:cxn ang="0">
                      <a:pos x="46" y="434"/>
                    </a:cxn>
                    <a:cxn ang="0">
                      <a:pos x="78" y="552"/>
                    </a:cxn>
                    <a:cxn ang="0">
                      <a:pos x="92" y="592"/>
                    </a:cxn>
                    <a:cxn ang="0">
                      <a:pos x="98" y="606"/>
                    </a:cxn>
                    <a:cxn ang="0">
                      <a:pos x="164" y="652"/>
                    </a:cxn>
                    <a:cxn ang="0">
                      <a:pos x="210" y="656"/>
                    </a:cxn>
                    <a:cxn ang="0">
                      <a:pos x="220" y="678"/>
                    </a:cxn>
                    <a:cxn ang="0">
                      <a:pos x="226" y="726"/>
                    </a:cxn>
                    <a:cxn ang="0">
                      <a:pos x="266" y="756"/>
                    </a:cxn>
                    <a:cxn ang="0">
                      <a:pos x="288" y="736"/>
                    </a:cxn>
                    <a:cxn ang="0">
                      <a:pos x="306" y="718"/>
                    </a:cxn>
                    <a:cxn ang="0">
                      <a:pos x="348" y="752"/>
                    </a:cxn>
                    <a:cxn ang="0">
                      <a:pos x="384" y="786"/>
                    </a:cxn>
                    <a:cxn ang="0">
                      <a:pos x="426" y="800"/>
                    </a:cxn>
                    <a:cxn ang="0">
                      <a:pos x="442" y="844"/>
                    </a:cxn>
                    <a:cxn ang="0">
                      <a:pos x="468" y="856"/>
                    </a:cxn>
                    <a:cxn ang="0">
                      <a:pos x="506" y="850"/>
                    </a:cxn>
                    <a:cxn ang="0">
                      <a:pos x="536" y="890"/>
                    </a:cxn>
                    <a:cxn ang="0">
                      <a:pos x="564" y="902"/>
                    </a:cxn>
                    <a:cxn ang="0">
                      <a:pos x="606" y="868"/>
                    </a:cxn>
                    <a:cxn ang="0">
                      <a:pos x="640" y="872"/>
                    </a:cxn>
                    <a:cxn ang="0">
                      <a:pos x="672" y="876"/>
                    </a:cxn>
                    <a:cxn ang="0">
                      <a:pos x="824" y="926"/>
                    </a:cxn>
                    <a:cxn ang="0">
                      <a:pos x="860" y="924"/>
                    </a:cxn>
                    <a:cxn ang="0">
                      <a:pos x="836" y="882"/>
                    </a:cxn>
                    <a:cxn ang="0">
                      <a:pos x="842" y="826"/>
                    </a:cxn>
                    <a:cxn ang="0">
                      <a:pos x="928" y="706"/>
                    </a:cxn>
                    <a:cxn ang="0">
                      <a:pos x="938" y="698"/>
                    </a:cxn>
                    <a:cxn ang="0">
                      <a:pos x="934" y="634"/>
                    </a:cxn>
                    <a:cxn ang="0">
                      <a:pos x="906" y="604"/>
                    </a:cxn>
                    <a:cxn ang="0">
                      <a:pos x="882" y="536"/>
                    </a:cxn>
                    <a:cxn ang="0">
                      <a:pos x="868" y="478"/>
                    </a:cxn>
                    <a:cxn ang="0">
                      <a:pos x="824" y="412"/>
                    </a:cxn>
                    <a:cxn ang="0">
                      <a:pos x="834" y="388"/>
                    </a:cxn>
                    <a:cxn ang="0">
                      <a:pos x="882" y="348"/>
                    </a:cxn>
                    <a:cxn ang="0">
                      <a:pos x="890" y="314"/>
                    </a:cxn>
                    <a:cxn ang="0">
                      <a:pos x="850" y="224"/>
                    </a:cxn>
                    <a:cxn ang="0">
                      <a:pos x="828" y="134"/>
                    </a:cxn>
                    <a:cxn ang="0">
                      <a:pos x="758" y="82"/>
                    </a:cxn>
                    <a:cxn ang="0">
                      <a:pos x="736" y="96"/>
                    </a:cxn>
                    <a:cxn ang="0">
                      <a:pos x="608" y="102"/>
                    </a:cxn>
                    <a:cxn ang="0">
                      <a:pos x="534" y="96"/>
                    </a:cxn>
                    <a:cxn ang="0">
                      <a:pos x="516" y="80"/>
                    </a:cxn>
                  </a:cxnLst>
                  <a:rect l="0" t="0" r="r" b="b"/>
                  <a:pathLst>
                    <a:path w="940" h="926">
                      <a:moveTo>
                        <a:pt x="516" y="80"/>
                      </a:moveTo>
                      <a:lnTo>
                        <a:pt x="516" y="80"/>
                      </a:lnTo>
                      <a:lnTo>
                        <a:pt x="514" y="82"/>
                      </a:lnTo>
                      <a:lnTo>
                        <a:pt x="506" y="88"/>
                      </a:lnTo>
                      <a:lnTo>
                        <a:pt x="492" y="94"/>
                      </a:lnTo>
                      <a:lnTo>
                        <a:pt x="484" y="96"/>
                      </a:lnTo>
                      <a:lnTo>
                        <a:pt x="474" y="98"/>
                      </a:lnTo>
                      <a:lnTo>
                        <a:pt x="474" y="98"/>
                      </a:lnTo>
                      <a:lnTo>
                        <a:pt x="456" y="102"/>
                      </a:lnTo>
                      <a:lnTo>
                        <a:pt x="442" y="104"/>
                      </a:lnTo>
                      <a:lnTo>
                        <a:pt x="438" y="104"/>
                      </a:lnTo>
                      <a:lnTo>
                        <a:pt x="434" y="104"/>
                      </a:lnTo>
                      <a:lnTo>
                        <a:pt x="428" y="100"/>
                      </a:lnTo>
                      <a:lnTo>
                        <a:pt x="424" y="96"/>
                      </a:lnTo>
                      <a:lnTo>
                        <a:pt x="424" y="96"/>
                      </a:lnTo>
                      <a:lnTo>
                        <a:pt x="420" y="90"/>
                      </a:lnTo>
                      <a:lnTo>
                        <a:pt x="414" y="88"/>
                      </a:lnTo>
                      <a:lnTo>
                        <a:pt x="410" y="88"/>
                      </a:lnTo>
                      <a:lnTo>
                        <a:pt x="404" y="90"/>
                      </a:lnTo>
                      <a:lnTo>
                        <a:pt x="398" y="94"/>
                      </a:lnTo>
                      <a:lnTo>
                        <a:pt x="394" y="92"/>
                      </a:lnTo>
                      <a:lnTo>
                        <a:pt x="394" y="88"/>
                      </a:lnTo>
                      <a:lnTo>
                        <a:pt x="394" y="88"/>
                      </a:lnTo>
                      <a:lnTo>
                        <a:pt x="394" y="82"/>
                      </a:lnTo>
                      <a:lnTo>
                        <a:pt x="396" y="74"/>
                      </a:lnTo>
                      <a:lnTo>
                        <a:pt x="402" y="58"/>
                      </a:lnTo>
                      <a:lnTo>
                        <a:pt x="402" y="50"/>
                      </a:lnTo>
                      <a:lnTo>
                        <a:pt x="402" y="42"/>
                      </a:lnTo>
                      <a:lnTo>
                        <a:pt x="400" y="36"/>
                      </a:lnTo>
                      <a:lnTo>
                        <a:pt x="392" y="30"/>
                      </a:lnTo>
                      <a:lnTo>
                        <a:pt x="392" y="30"/>
                      </a:lnTo>
                      <a:lnTo>
                        <a:pt x="378" y="18"/>
                      </a:lnTo>
                      <a:lnTo>
                        <a:pt x="362" y="6"/>
                      </a:lnTo>
                      <a:lnTo>
                        <a:pt x="354" y="2"/>
                      </a:lnTo>
                      <a:lnTo>
                        <a:pt x="346" y="0"/>
                      </a:lnTo>
                      <a:lnTo>
                        <a:pt x="338" y="0"/>
                      </a:lnTo>
                      <a:lnTo>
                        <a:pt x="328" y="2"/>
                      </a:lnTo>
                      <a:lnTo>
                        <a:pt x="328" y="2"/>
                      </a:lnTo>
                      <a:lnTo>
                        <a:pt x="304" y="10"/>
                      </a:lnTo>
                      <a:lnTo>
                        <a:pt x="280" y="22"/>
                      </a:lnTo>
                      <a:lnTo>
                        <a:pt x="258" y="32"/>
                      </a:lnTo>
                      <a:lnTo>
                        <a:pt x="240" y="40"/>
                      </a:lnTo>
                      <a:lnTo>
                        <a:pt x="240" y="40"/>
                      </a:lnTo>
                      <a:lnTo>
                        <a:pt x="232" y="46"/>
                      </a:lnTo>
                      <a:lnTo>
                        <a:pt x="222" y="52"/>
                      </a:lnTo>
                      <a:lnTo>
                        <a:pt x="204" y="72"/>
                      </a:lnTo>
                      <a:lnTo>
                        <a:pt x="178" y="104"/>
                      </a:lnTo>
                      <a:lnTo>
                        <a:pt x="178" y="104"/>
                      </a:lnTo>
                      <a:lnTo>
                        <a:pt x="172" y="106"/>
                      </a:lnTo>
                      <a:lnTo>
                        <a:pt x="162" y="108"/>
                      </a:lnTo>
                      <a:lnTo>
                        <a:pt x="138" y="110"/>
                      </a:lnTo>
                      <a:lnTo>
                        <a:pt x="112" y="112"/>
                      </a:lnTo>
                      <a:lnTo>
                        <a:pt x="100" y="114"/>
                      </a:lnTo>
                      <a:lnTo>
                        <a:pt x="90" y="116"/>
                      </a:lnTo>
                      <a:lnTo>
                        <a:pt x="90" y="116"/>
                      </a:lnTo>
                      <a:lnTo>
                        <a:pt x="66" y="124"/>
                      </a:lnTo>
                      <a:lnTo>
                        <a:pt x="36" y="130"/>
                      </a:lnTo>
                      <a:lnTo>
                        <a:pt x="0" y="138"/>
                      </a:lnTo>
                      <a:lnTo>
                        <a:pt x="0" y="138"/>
                      </a:lnTo>
                      <a:lnTo>
                        <a:pt x="6" y="148"/>
                      </a:lnTo>
                      <a:lnTo>
                        <a:pt x="18" y="170"/>
                      </a:lnTo>
                      <a:lnTo>
                        <a:pt x="26" y="184"/>
                      </a:lnTo>
                      <a:lnTo>
                        <a:pt x="32" y="200"/>
                      </a:lnTo>
                      <a:lnTo>
                        <a:pt x="36" y="212"/>
                      </a:lnTo>
                      <a:lnTo>
                        <a:pt x="36" y="224"/>
                      </a:lnTo>
                      <a:lnTo>
                        <a:pt x="36" y="224"/>
                      </a:lnTo>
                      <a:lnTo>
                        <a:pt x="34" y="252"/>
                      </a:lnTo>
                      <a:lnTo>
                        <a:pt x="32" y="260"/>
                      </a:lnTo>
                      <a:lnTo>
                        <a:pt x="26" y="270"/>
                      </a:lnTo>
                      <a:lnTo>
                        <a:pt x="26" y="270"/>
                      </a:lnTo>
                      <a:lnTo>
                        <a:pt x="22" y="280"/>
                      </a:lnTo>
                      <a:lnTo>
                        <a:pt x="22" y="294"/>
                      </a:lnTo>
                      <a:lnTo>
                        <a:pt x="22" y="306"/>
                      </a:lnTo>
                      <a:lnTo>
                        <a:pt x="26" y="314"/>
                      </a:lnTo>
                      <a:lnTo>
                        <a:pt x="26" y="314"/>
                      </a:lnTo>
                      <a:lnTo>
                        <a:pt x="32" y="320"/>
                      </a:lnTo>
                      <a:lnTo>
                        <a:pt x="38" y="332"/>
                      </a:lnTo>
                      <a:lnTo>
                        <a:pt x="44" y="344"/>
                      </a:lnTo>
                      <a:lnTo>
                        <a:pt x="46" y="350"/>
                      </a:lnTo>
                      <a:lnTo>
                        <a:pt x="46" y="356"/>
                      </a:lnTo>
                      <a:lnTo>
                        <a:pt x="46" y="356"/>
                      </a:lnTo>
                      <a:lnTo>
                        <a:pt x="44" y="390"/>
                      </a:lnTo>
                      <a:lnTo>
                        <a:pt x="44" y="412"/>
                      </a:lnTo>
                      <a:lnTo>
                        <a:pt x="46" y="434"/>
                      </a:lnTo>
                      <a:lnTo>
                        <a:pt x="46" y="434"/>
                      </a:lnTo>
                      <a:lnTo>
                        <a:pt x="54" y="464"/>
                      </a:lnTo>
                      <a:lnTo>
                        <a:pt x="66" y="500"/>
                      </a:lnTo>
                      <a:lnTo>
                        <a:pt x="74" y="534"/>
                      </a:lnTo>
                      <a:lnTo>
                        <a:pt x="78" y="552"/>
                      </a:lnTo>
                      <a:lnTo>
                        <a:pt x="78" y="552"/>
                      </a:lnTo>
                      <a:lnTo>
                        <a:pt x="78" y="558"/>
                      </a:lnTo>
                      <a:lnTo>
                        <a:pt x="80" y="564"/>
                      </a:lnTo>
                      <a:lnTo>
                        <a:pt x="86" y="576"/>
                      </a:lnTo>
                      <a:lnTo>
                        <a:pt x="92" y="588"/>
                      </a:lnTo>
                      <a:lnTo>
                        <a:pt x="92" y="592"/>
                      </a:lnTo>
                      <a:lnTo>
                        <a:pt x="92" y="596"/>
                      </a:lnTo>
                      <a:lnTo>
                        <a:pt x="92" y="596"/>
                      </a:lnTo>
                      <a:lnTo>
                        <a:pt x="90" y="598"/>
                      </a:lnTo>
                      <a:lnTo>
                        <a:pt x="92" y="600"/>
                      </a:lnTo>
                      <a:lnTo>
                        <a:pt x="98" y="606"/>
                      </a:lnTo>
                      <a:lnTo>
                        <a:pt x="108" y="612"/>
                      </a:lnTo>
                      <a:lnTo>
                        <a:pt x="120" y="618"/>
                      </a:lnTo>
                      <a:lnTo>
                        <a:pt x="120" y="618"/>
                      </a:lnTo>
                      <a:lnTo>
                        <a:pt x="148" y="642"/>
                      </a:lnTo>
                      <a:lnTo>
                        <a:pt x="164" y="652"/>
                      </a:lnTo>
                      <a:lnTo>
                        <a:pt x="172" y="656"/>
                      </a:lnTo>
                      <a:lnTo>
                        <a:pt x="180" y="656"/>
                      </a:lnTo>
                      <a:lnTo>
                        <a:pt x="180" y="656"/>
                      </a:lnTo>
                      <a:lnTo>
                        <a:pt x="204" y="656"/>
                      </a:lnTo>
                      <a:lnTo>
                        <a:pt x="210" y="656"/>
                      </a:lnTo>
                      <a:lnTo>
                        <a:pt x="214" y="658"/>
                      </a:lnTo>
                      <a:lnTo>
                        <a:pt x="216" y="660"/>
                      </a:lnTo>
                      <a:lnTo>
                        <a:pt x="220" y="666"/>
                      </a:lnTo>
                      <a:lnTo>
                        <a:pt x="220" y="666"/>
                      </a:lnTo>
                      <a:lnTo>
                        <a:pt x="220" y="678"/>
                      </a:lnTo>
                      <a:lnTo>
                        <a:pt x="218" y="694"/>
                      </a:lnTo>
                      <a:lnTo>
                        <a:pt x="220" y="710"/>
                      </a:lnTo>
                      <a:lnTo>
                        <a:pt x="222" y="718"/>
                      </a:lnTo>
                      <a:lnTo>
                        <a:pt x="226" y="726"/>
                      </a:lnTo>
                      <a:lnTo>
                        <a:pt x="226" y="726"/>
                      </a:lnTo>
                      <a:lnTo>
                        <a:pt x="238" y="742"/>
                      </a:lnTo>
                      <a:lnTo>
                        <a:pt x="244" y="748"/>
                      </a:lnTo>
                      <a:lnTo>
                        <a:pt x="252" y="752"/>
                      </a:lnTo>
                      <a:lnTo>
                        <a:pt x="258" y="756"/>
                      </a:lnTo>
                      <a:lnTo>
                        <a:pt x="266" y="756"/>
                      </a:lnTo>
                      <a:lnTo>
                        <a:pt x="272" y="754"/>
                      </a:lnTo>
                      <a:lnTo>
                        <a:pt x="280" y="748"/>
                      </a:lnTo>
                      <a:lnTo>
                        <a:pt x="280" y="748"/>
                      </a:lnTo>
                      <a:lnTo>
                        <a:pt x="284" y="742"/>
                      </a:lnTo>
                      <a:lnTo>
                        <a:pt x="288" y="736"/>
                      </a:lnTo>
                      <a:lnTo>
                        <a:pt x="292" y="724"/>
                      </a:lnTo>
                      <a:lnTo>
                        <a:pt x="294" y="720"/>
                      </a:lnTo>
                      <a:lnTo>
                        <a:pt x="298" y="716"/>
                      </a:lnTo>
                      <a:lnTo>
                        <a:pt x="300" y="716"/>
                      </a:lnTo>
                      <a:lnTo>
                        <a:pt x="306" y="718"/>
                      </a:lnTo>
                      <a:lnTo>
                        <a:pt x="306" y="718"/>
                      </a:lnTo>
                      <a:lnTo>
                        <a:pt x="330" y="732"/>
                      </a:lnTo>
                      <a:lnTo>
                        <a:pt x="340" y="742"/>
                      </a:lnTo>
                      <a:lnTo>
                        <a:pt x="348" y="752"/>
                      </a:lnTo>
                      <a:lnTo>
                        <a:pt x="348" y="752"/>
                      </a:lnTo>
                      <a:lnTo>
                        <a:pt x="354" y="762"/>
                      </a:lnTo>
                      <a:lnTo>
                        <a:pt x="360" y="772"/>
                      </a:lnTo>
                      <a:lnTo>
                        <a:pt x="370" y="780"/>
                      </a:lnTo>
                      <a:lnTo>
                        <a:pt x="384" y="786"/>
                      </a:lnTo>
                      <a:lnTo>
                        <a:pt x="384" y="786"/>
                      </a:lnTo>
                      <a:lnTo>
                        <a:pt x="400" y="788"/>
                      </a:lnTo>
                      <a:lnTo>
                        <a:pt x="412" y="790"/>
                      </a:lnTo>
                      <a:lnTo>
                        <a:pt x="416" y="792"/>
                      </a:lnTo>
                      <a:lnTo>
                        <a:pt x="422" y="794"/>
                      </a:lnTo>
                      <a:lnTo>
                        <a:pt x="426" y="800"/>
                      </a:lnTo>
                      <a:lnTo>
                        <a:pt x="428" y="808"/>
                      </a:lnTo>
                      <a:lnTo>
                        <a:pt x="428" y="808"/>
                      </a:lnTo>
                      <a:lnTo>
                        <a:pt x="434" y="826"/>
                      </a:lnTo>
                      <a:lnTo>
                        <a:pt x="440" y="840"/>
                      </a:lnTo>
                      <a:lnTo>
                        <a:pt x="442" y="844"/>
                      </a:lnTo>
                      <a:lnTo>
                        <a:pt x="446" y="848"/>
                      </a:lnTo>
                      <a:lnTo>
                        <a:pt x="452" y="852"/>
                      </a:lnTo>
                      <a:lnTo>
                        <a:pt x="460" y="856"/>
                      </a:lnTo>
                      <a:lnTo>
                        <a:pt x="460" y="856"/>
                      </a:lnTo>
                      <a:lnTo>
                        <a:pt x="468" y="856"/>
                      </a:lnTo>
                      <a:lnTo>
                        <a:pt x="476" y="854"/>
                      </a:lnTo>
                      <a:lnTo>
                        <a:pt x="488" y="850"/>
                      </a:lnTo>
                      <a:lnTo>
                        <a:pt x="494" y="848"/>
                      </a:lnTo>
                      <a:lnTo>
                        <a:pt x="500" y="848"/>
                      </a:lnTo>
                      <a:lnTo>
                        <a:pt x="506" y="850"/>
                      </a:lnTo>
                      <a:lnTo>
                        <a:pt x="516" y="856"/>
                      </a:lnTo>
                      <a:lnTo>
                        <a:pt x="516" y="856"/>
                      </a:lnTo>
                      <a:lnTo>
                        <a:pt x="522" y="864"/>
                      </a:lnTo>
                      <a:lnTo>
                        <a:pt x="528" y="874"/>
                      </a:lnTo>
                      <a:lnTo>
                        <a:pt x="536" y="890"/>
                      </a:lnTo>
                      <a:lnTo>
                        <a:pt x="540" y="898"/>
                      </a:lnTo>
                      <a:lnTo>
                        <a:pt x="546" y="902"/>
                      </a:lnTo>
                      <a:lnTo>
                        <a:pt x="554" y="904"/>
                      </a:lnTo>
                      <a:lnTo>
                        <a:pt x="564" y="902"/>
                      </a:lnTo>
                      <a:lnTo>
                        <a:pt x="564" y="902"/>
                      </a:lnTo>
                      <a:lnTo>
                        <a:pt x="574" y="898"/>
                      </a:lnTo>
                      <a:lnTo>
                        <a:pt x="582" y="894"/>
                      </a:lnTo>
                      <a:lnTo>
                        <a:pt x="594" y="880"/>
                      </a:lnTo>
                      <a:lnTo>
                        <a:pt x="600" y="874"/>
                      </a:lnTo>
                      <a:lnTo>
                        <a:pt x="606" y="868"/>
                      </a:lnTo>
                      <a:lnTo>
                        <a:pt x="614" y="866"/>
                      </a:lnTo>
                      <a:lnTo>
                        <a:pt x="624" y="866"/>
                      </a:lnTo>
                      <a:lnTo>
                        <a:pt x="624" y="866"/>
                      </a:lnTo>
                      <a:lnTo>
                        <a:pt x="634" y="868"/>
                      </a:lnTo>
                      <a:lnTo>
                        <a:pt x="640" y="872"/>
                      </a:lnTo>
                      <a:lnTo>
                        <a:pt x="650" y="878"/>
                      </a:lnTo>
                      <a:lnTo>
                        <a:pt x="654" y="880"/>
                      </a:lnTo>
                      <a:lnTo>
                        <a:pt x="658" y="880"/>
                      </a:lnTo>
                      <a:lnTo>
                        <a:pt x="664" y="880"/>
                      </a:lnTo>
                      <a:lnTo>
                        <a:pt x="672" y="876"/>
                      </a:lnTo>
                      <a:lnTo>
                        <a:pt x="672" y="876"/>
                      </a:lnTo>
                      <a:lnTo>
                        <a:pt x="704" y="864"/>
                      </a:lnTo>
                      <a:lnTo>
                        <a:pt x="714" y="860"/>
                      </a:lnTo>
                      <a:lnTo>
                        <a:pt x="824" y="926"/>
                      </a:lnTo>
                      <a:lnTo>
                        <a:pt x="824" y="926"/>
                      </a:lnTo>
                      <a:lnTo>
                        <a:pt x="836" y="926"/>
                      </a:lnTo>
                      <a:lnTo>
                        <a:pt x="852" y="926"/>
                      </a:lnTo>
                      <a:lnTo>
                        <a:pt x="852" y="926"/>
                      </a:lnTo>
                      <a:lnTo>
                        <a:pt x="856" y="926"/>
                      </a:lnTo>
                      <a:lnTo>
                        <a:pt x="860" y="924"/>
                      </a:lnTo>
                      <a:lnTo>
                        <a:pt x="860" y="918"/>
                      </a:lnTo>
                      <a:lnTo>
                        <a:pt x="854" y="908"/>
                      </a:lnTo>
                      <a:lnTo>
                        <a:pt x="854" y="908"/>
                      </a:lnTo>
                      <a:lnTo>
                        <a:pt x="844" y="896"/>
                      </a:lnTo>
                      <a:lnTo>
                        <a:pt x="836" y="882"/>
                      </a:lnTo>
                      <a:lnTo>
                        <a:pt x="830" y="868"/>
                      </a:lnTo>
                      <a:lnTo>
                        <a:pt x="826" y="858"/>
                      </a:lnTo>
                      <a:lnTo>
                        <a:pt x="826" y="858"/>
                      </a:lnTo>
                      <a:lnTo>
                        <a:pt x="832" y="848"/>
                      </a:lnTo>
                      <a:lnTo>
                        <a:pt x="842" y="826"/>
                      </a:lnTo>
                      <a:lnTo>
                        <a:pt x="874" y="772"/>
                      </a:lnTo>
                      <a:lnTo>
                        <a:pt x="922" y="696"/>
                      </a:lnTo>
                      <a:lnTo>
                        <a:pt x="922" y="696"/>
                      </a:lnTo>
                      <a:lnTo>
                        <a:pt x="926" y="702"/>
                      </a:lnTo>
                      <a:lnTo>
                        <a:pt x="928" y="706"/>
                      </a:lnTo>
                      <a:lnTo>
                        <a:pt x="930" y="706"/>
                      </a:lnTo>
                      <a:lnTo>
                        <a:pt x="932" y="706"/>
                      </a:lnTo>
                      <a:lnTo>
                        <a:pt x="932" y="706"/>
                      </a:lnTo>
                      <a:lnTo>
                        <a:pt x="934" y="704"/>
                      </a:lnTo>
                      <a:lnTo>
                        <a:pt x="938" y="698"/>
                      </a:lnTo>
                      <a:lnTo>
                        <a:pt x="940" y="688"/>
                      </a:lnTo>
                      <a:lnTo>
                        <a:pt x="938" y="668"/>
                      </a:lnTo>
                      <a:lnTo>
                        <a:pt x="938" y="668"/>
                      </a:lnTo>
                      <a:lnTo>
                        <a:pt x="936" y="648"/>
                      </a:lnTo>
                      <a:lnTo>
                        <a:pt x="934" y="634"/>
                      </a:lnTo>
                      <a:lnTo>
                        <a:pt x="930" y="626"/>
                      </a:lnTo>
                      <a:lnTo>
                        <a:pt x="924" y="620"/>
                      </a:lnTo>
                      <a:lnTo>
                        <a:pt x="924" y="620"/>
                      </a:lnTo>
                      <a:lnTo>
                        <a:pt x="912" y="610"/>
                      </a:lnTo>
                      <a:lnTo>
                        <a:pt x="906" y="604"/>
                      </a:lnTo>
                      <a:lnTo>
                        <a:pt x="904" y="598"/>
                      </a:lnTo>
                      <a:lnTo>
                        <a:pt x="904" y="598"/>
                      </a:lnTo>
                      <a:lnTo>
                        <a:pt x="898" y="560"/>
                      </a:lnTo>
                      <a:lnTo>
                        <a:pt x="898" y="560"/>
                      </a:lnTo>
                      <a:lnTo>
                        <a:pt x="882" y="536"/>
                      </a:lnTo>
                      <a:lnTo>
                        <a:pt x="872" y="516"/>
                      </a:lnTo>
                      <a:lnTo>
                        <a:pt x="866" y="504"/>
                      </a:lnTo>
                      <a:lnTo>
                        <a:pt x="866" y="504"/>
                      </a:lnTo>
                      <a:lnTo>
                        <a:pt x="866" y="494"/>
                      </a:lnTo>
                      <a:lnTo>
                        <a:pt x="868" y="478"/>
                      </a:lnTo>
                      <a:lnTo>
                        <a:pt x="872" y="458"/>
                      </a:lnTo>
                      <a:lnTo>
                        <a:pt x="872" y="458"/>
                      </a:lnTo>
                      <a:lnTo>
                        <a:pt x="840" y="428"/>
                      </a:lnTo>
                      <a:lnTo>
                        <a:pt x="840" y="428"/>
                      </a:lnTo>
                      <a:lnTo>
                        <a:pt x="824" y="412"/>
                      </a:lnTo>
                      <a:lnTo>
                        <a:pt x="824" y="412"/>
                      </a:lnTo>
                      <a:lnTo>
                        <a:pt x="826" y="404"/>
                      </a:lnTo>
                      <a:lnTo>
                        <a:pt x="830" y="396"/>
                      </a:lnTo>
                      <a:lnTo>
                        <a:pt x="834" y="388"/>
                      </a:lnTo>
                      <a:lnTo>
                        <a:pt x="834" y="388"/>
                      </a:lnTo>
                      <a:lnTo>
                        <a:pt x="842" y="382"/>
                      </a:lnTo>
                      <a:lnTo>
                        <a:pt x="850" y="374"/>
                      </a:lnTo>
                      <a:lnTo>
                        <a:pt x="872" y="358"/>
                      </a:lnTo>
                      <a:lnTo>
                        <a:pt x="872" y="358"/>
                      </a:lnTo>
                      <a:lnTo>
                        <a:pt x="882" y="348"/>
                      </a:lnTo>
                      <a:lnTo>
                        <a:pt x="890" y="338"/>
                      </a:lnTo>
                      <a:lnTo>
                        <a:pt x="894" y="334"/>
                      </a:lnTo>
                      <a:lnTo>
                        <a:pt x="894" y="328"/>
                      </a:lnTo>
                      <a:lnTo>
                        <a:pt x="894" y="320"/>
                      </a:lnTo>
                      <a:lnTo>
                        <a:pt x="890" y="314"/>
                      </a:lnTo>
                      <a:lnTo>
                        <a:pt x="890" y="314"/>
                      </a:lnTo>
                      <a:lnTo>
                        <a:pt x="874" y="280"/>
                      </a:lnTo>
                      <a:lnTo>
                        <a:pt x="862" y="254"/>
                      </a:lnTo>
                      <a:lnTo>
                        <a:pt x="862" y="254"/>
                      </a:lnTo>
                      <a:lnTo>
                        <a:pt x="850" y="224"/>
                      </a:lnTo>
                      <a:lnTo>
                        <a:pt x="840" y="198"/>
                      </a:lnTo>
                      <a:lnTo>
                        <a:pt x="840" y="198"/>
                      </a:lnTo>
                      <a:lnTo>
                        <a:pt x="838" y="150"/>
                      </a:lnTo>
                      <a:lnTo>
                        <a:pt x="838" y="150"/>
                      </a:lnTo>
                      <a:lnTo>
                        <a:pt x="828" y="134"/>
                      </a:lnTo>
                      <a:lnTo>
                        <a:pt x="820" y="124"/>
                      </a:lnTo>
                      <a:lnTo>
                        <a:pt x="816" y="116"/>
                      </a:lnTo>
                      <a:lnTo>
                        <a:pt x="816" y="116"/>
                      </a:lnTo>
                      <a:lnTo>
                        <a:pt x="794" y="98"/>
                      </a:lnTo>
                      <a:lnTo>
                        <a:pt x="758" y="82"/>
                      </a:lnTo>
                      <a:lnTo>
                        <a:pt x="758" y="82"/>
                      </a:lnTo>
                      <a:lnTo>
                        <a:pt x="752" y="90"/>
                      </a:lnTo>
                      <a:lnTo>
                        <a:pt x="744" y="94"/>
                      </a:lnTo>
                      <a:lnTo>
                        <a:pt x="736" y="96"/>
                      </a:lnTo>
                      <a:lnTo>
                        <a:pt x="736" y="96"/>
                      </a:lnTo>
                      <a:lnTo>
                        <a:pt x="700" y="100"/>
                      </a:lnTo>
                      <a:lnTo>
                        <a:pt x="674" y="102"/>
                      </a:lnTo>
                      <a:lnTo>
                        <a:pt x="652" y="104"/>
                      </a:lnTo>
                      <a:lnTo>
                        <a:pt x="652" y="104"/>
                      </a:lnTo>
                      <a:lnTo>
                        <a:pt x="608" y="102"/>
                      </a:lnTo>
                      <a:lnTo>
                        <a:pt x="586" y="102"/>
                      </a:lnTo>
                      <a:lnTo>
                        <a:pt x="568" y="100"/>
                      </a:lnTo>
                      <a:lnTo>
                        <a:pt x="568" y="100"/>
                      </a:lnTo>
                      <a:lnTo>
                        <a:pt x="552" y="98"/>
                      </a:lnTo>
                      <a:lnTo>
                        <a:pt x="534" y="96"/>
                      </a:lnTo>
                      <a:lnTo>
                        <a:pt x="528" y="94"/>
                      </a:lnTo>
                      <a:lnTo>
                        <a:pt x="520" y="90"/>
                      </a:lnTo>
                      <a:lnTo>
                        <a:pt x="516" y="86"/>
                      </a:lnTo>
                      <a:lnTo>
                        <a:pt x="516" y="80"/>
                      </a:lnTo>
                      <a:lnTo>
                        <a:pt x="516" y="8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9" name="Freeform 53">
                  <a:extLst>
                    <a:ext uri="{FF2B5EF4-FFF2-40B4-BE49-F238E27FC236}">
                      <a16:creationId xmlns:a16="http://schemas.microsoft.com/office/drawing/2014/main" id="{8A6E6AEB-8C24-4BF2-AF2A-EF0619DB16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9340" y="4368070"/>
                  <a:ext cx="478618" cy="292658"/>
                </a:xfrm>
                <a:custGeom>
                  <a:avLst/>
                  <a:gdLst/>
                  <a:ahLst/>
                  <a:cxnLst>
                    <a:cxn ang="0">
                      <a:pos x="162" y="360"/>
                    </a:cxn>
                    <a:cxn ang="0">
                      <a:pos x="174" y="380"/>
                    </a:cxn>
                    <a:cxn ang="0">
                      <a:pos x="200" y="382"/>
                    </a:cxn>
                    <a:cxn ang="0">
                      <a:pos x="240" y="366"/>
                    </a:cxn>
                    <a:cxn ang="0">
                      <a:pos x="252" y="352"/>
                    </a:cxn>
                    <a:cxn ang="0">
                      <a:pos x="268" y="338"/>
                    </a:cxn>
                    <a:cxn ang="0">
                      <a:pos x="286" y="314"/>
                    </a:cxn>
                    <a:cxn ang="0">
                      <a:pos x="302" y="312"/>
                    </a:cxn>
                    <a:cxn ang="0">
                      <a:pos x="370" y="354"/>
                    </a:cxn>
                    <a:cxn ang="0">
                      <a:pos x="396" y="374"/>
                    </a:cxn>
                    <a:cxn ang="0">
                      <a:pos x="420" y="378"/>
                    </a:cxn>
                    <a:cxn ang="0">
                      <a:pos x="450" y="368"/>
                    </a:cxn>
                    <a:cxn ang="0">
                      <a:pos x="496" y="362"/>
                    </a:cxn>
                    <a:cxn ang="0">
                      <a:pos x="514" y="370"/>
                    </a:cxn>
                    <a:cxn ang="0">
                      <a:pos x="538" y="370"/>
                    </a:cxn>
                    <a:cxn ang="0">
                      <a:pos x="554" y="354"/>
                    </a:cxn>
                    <a:cxn ang="0">
                      <a:pos x="598" y="288"/>
                    </a:cxn>
                    <a:cxn ang="0">
                      <a:pos x="622" y="242"/>
                    </a:cxn>
                    <a:cxn ang="0">
                      <a:pos x="614" y="218"/>
                    </a:cxn>
                    <a:cxn ang="0">
                      <a:pos x="600" y="190"/>
                    </a:cxn>
                    <a:cxn ang="0">
                      <a:pos x="572" y="184"/>
                    </a:cxn>
                    <a:cxn ang="0">
                      <a:pos x="550" y="178"/>
                    </a:cxn>
                    <a:cxn ang="0">
                      <a:pos x="528" y="150"/>
                    </a:cxn>
                    <a:cxn ang="0">
                      <a:pos x="496" y="120"/>
                    </a:cxn>
                    <a:cxn ang="0">
                      <a:pos x="486" y="116"/>
                    </a:cxn>
                    <a:cxn ang="0">
                      <a:pos x="472" y="122"/>
                    </a:cxn>
                    <a:cxn ang="0">
                      <a:pos x="464" y="138"/>
                    </a:cxn>
                    <a:cxn ang="0">
                      <a:pos x="450" y="154"/>
                    </a:cxn>
                    <a:cxn ang="0">
                      <a:pos x="434" y="152"/>
                    </a:cxn>
                    <a:cxn ang="0">
                      <a:pos x="402" y="120"/>
                    </a:cxn>
                    <a:cxn ang="0">
                      <a:pos x="400" y="88"/>
                    </a:cxn>
                    <a:cxn ang="0">
                      <a:pos x="398" y="60"/>
                    </a:cxn>
                    <a:cxn ang="0">
                      <a:pos x="374" y="56"/>
                    </a:cxn>
                    <a:cxn ang="0">
                      <a:pos x="354" y="54"/>
                    </a:cxn>
                    <a:cxn ang="0">
                      <a:pos x="332" y="44"/>
                    </a:cxn>
                    <a:cxn ang="0">
                      <a:pos x="294" y="14"/>
                    </a:cxn>
                    <a:cxn ang="0">
                      <a:pos x="272" y="0"/>
                    </a:cxn>
                    <a:cxn ang="0">
                      <a:pos x="170" y="24"/>
                    </a:cxn>
                    <a:cxn ang="0">
                      <a:pos x="126" y="38"/>
                    </a:cxn>
                    <a:cxn ang="0">
                      <a:pos x="88" y="62"/>
                    </a:cxn>
                    <a:cxn ang="0">
                      <a:pos x="68" y="74"/>
                    </a:cxn>
                    <a:cxn ang="0">
                      <a:pos x="44" y="80"/>
                    </a:cxn>
                    <a:cxn ang="0">
                      <a:pos x="22" y="78"/>
                    </a:cxn>
                    <a:cxn ang="0">
                      <a:pos x="16" y="82"/>
                    </a:cxn>
                    <a:cxn ang="0">
                      <a:pos x="0" y="106"/>
                    </a:cxn>
                    <a:cxn ang="0">
                      <a:pos x="0" y="118"/>
                    </a:cxn>
                    <a:cxn ang="0">
                      <a:pos x="28" y="218"/>
                    </a:cxn>
                    <a:cxn ang="0">
                      <a:pos x="42" y="240"/>
                    </a:cxn>
                    <a:cxn ang="0">
                      <a:pos x="64" y="274"/>
                    </a:cxn>
                    <a:cxn ang="0">
                      <a:pos x="90" y="304"/>
                    </a:cxn>
                    <a:cxn ang="0">
                      <a:pos x="128" y="332"/>
                    </a:cxn>
                  </a:cxnLst>
                  <a:rect l="0" t="0" r="r" b="b"/>
                  <a:pathLst>
                    <a:path w="628" h="384">
                      <a:moveTo>
                        <a:pt x="158" y="356"/>
                      </a:moveTo>
                      <a:lnTo>
                        <a:pt x="158" y="356"/>
                      </a:lnTo>
                      <a:lnTo>
                        <a:pt x="162" y="360"/>
                      </a:lnTo>
                      <a:lnTo>
                        <a:pt x="164" y="364"/>
                      </a:lnTo>
                      <a:lnTo>
                        <a:pt x="170" y="376"/>
                      </a:lnTo>
                      <a:lnTo>
                        <a:pt x="174" y="380"/>
                      </a:lnTo>
                      <a:lnTo>
                        <a:pt x="180" y="384"/>
                      </a:lnTo>
                      <a:lnTo>
                        <a:pt x="188" y="384"/>
                      </a:lnTo>
                      <a:lnTo>
                        <a:pt x="200" y="382"/>
                      </a:lnTo>
                      <a:lnTo>
                        <a:pt x="200" y="382"/>
                      </a:lnTo>
                      <a:lnTo>
                        <a:pt x="232" y="370"/>
                      </a:lnTo>
                      <a:lnTo>
                        <a:pt x="240" y="366"/>
                      </a:lnTo>
                      <a:lnTo>
                        <a:pt x="244" y="364"/>
                      </a:lnTo>
                      <a:lnTo>
                        <a:pt x="248" y="356"/>
                      </a:lnTo>
                      <a:lnTo>
                        <a:pt x="252" y="352"/>
                      </a:lnTo>
                      <a:lnTo>
                        <a:pt x="260" y="344"/>
                      </a:lnTo>
                      <a:lnTo>
                        <a:pt x="260" y="344"/>
                      </a:lnTo>
                      <a:lnTo>
                        <a:pt x="268" y="338"/>
                      </a:lnTo>
                      <a:lnTo>
                        <a:pt x="274" y="330"/>
                      </a:lnTo>
                      <a:lnTo>
                        <a:pt x="282" y="318"/>
                      </a:lnTo>
                      <a:lnTo>
                        <a:pt x="286" y="314"/>
                      </a:lnTo>
                      <a:lnTo>
                        <a:pt x="290" y="310"/>
                      </a:lnTo>
                      <a:lnTo>
                        <a:pt x="296" y="310"/>
                      </a:lnTo>
                      <a:lnTo>
                        <a:pt x="302" y="312"/>
                      </a:lnTo>
                      <a:lnTo>
                        <a:pt x="302" y="312"/>
                      </a:lnTo>
                      <a:lnTo>
                        <a:pt x="336" y="332"/>
                      </a:lnTo>
                      <a:lnTo>
                        <a:pt x="370" y="354"/>
                      </a:lnTo>
                      <a:lnTo>
                        <a:pt x="370" y="354"/>
                      </a:lnTo>
                      <a:lnTo>
                        <a:pt x="384" y="364"/>
                      </a:lnTo>
                      <a:lnTo>
                        <a:pt x="396" y="374"/>
                      </a:lnTo>
                      <a:lnTo>
                        <a:pt x="404" y="376"/>
                      </a:lnTo>
                      <a:lnTo>
                        <a:pt x="410" y="378"/>
                      </a:lnTo>
                      <a:lnTo>
                        <a:pt x="420" y="378"/>
                      </a:lnTo>
                      <a:lnTo>
                        <a:pt x="430" y="374"/>
                      </a:lnTo>
                      <a:lnTo>
                        <a:pt x="430" y="374"/>
                      </a:lnTo>
                      <a:lnTo>
                        <a:pt x="450" y="368"/>
                      </a:lnTo>
                      <a:lnTo>
                        <a:pt x="470" y="364"/>
                      </a:lnTo>
                      <a:lnTo>
                        <a:pt x="486" y="362"/>
                      </a:lnTo>
                      <a:lnTo>
                        <a:pt x="496" y="362"/>
                      </a:lnTo>
                      <a:lnTo>
                        <a:pt x="496" y="362"/>
                      </a:lnTo>
                      <a:lnTo>
                        <a:pt x="508" y="366"/>
                      </a:lnTo>
                      <a:lnTo>
                        <a:pt x="514" y="370"/>
                      </a:lnTo>
                      <a:lnTo>
                        <a:pt x="522" y="372"/>
                      </a:lnTo>
                      <a:lnTo>
                        <a:pt x="530" y="372"/>
                      </a:lnTo>
                      <a:lnTo>
                        <a:pt x="538" y="370"/>
                      </a:lnTo>
                      <a:lnTo>
                        <a:pt x="546" y="364"/>
                      </a:lnTo>
                      <a:lnTo>
                        <a:pt x="554" y="354"/>
                      </a:lnTo>
                      <a:lnTo>
                        <a:pt x="554" y="354"/>
                      </a:lnTo>
                      <a:lnTo>
                        <a:pt x="562" y="338"/>
                      </a:lnTo>
                      <a:lnTo>
                        <a:pt x="572" y="322"/>
                      </a:lnTo>
                      <a:lnTo>
                        <a:pt x="598" y="288"/>
                      </a:lnTo>
                      <a:lnTo>
                        <a:pt x="628" y="252"/>
                      </a:lnTo>
                      <a:lnTo>
                        <a:pt x="628" y="252"/>
                      </a:lnTo>
                      <a:lnTo>
                        <a:pt x="622" y="242"/>
                      </a:lnTo>
                      <a:lnTo>
                        <a:pt x="616" y="230"/>
                      </a:lnTo>
                      <a:lnTo>
                        <a:pt x="614" y="218"/>
                      </a:lnTo>
                      <a:lnTo>
                        <a:pt x="614" y="218"/>
                      </a:lnTo>
                      <a:lnTo>
                        <a:pt x="612" y="206"/>
                      </a:lnTo>
                      <a:lnTo>
                        <a:pt x="606" y="196"/>
                      </a:lnTo>
                      <a:lnTo>
                        <a:pt x="600" y="190"/>
                      </a:lnTo>
                      <a:lnTo>
                        <a:pt x="594" y="188"/>
                      </a:lnTo>
                      <a:lnTo>
                        <a:pt x="594" y="188"/>
                      </a:lnTo>
                      <a:lnTo>
                        <a:pt x="572" y="184"/>
                      </a:lnTo>
                      <a:lnTo>
                        <a:pt x="558" y="180"/>
                      </a:lnTo>
                      <a:lnTo>
                        <a:pt x="550" y="178"/>
                      </a:lnTo>
                      <a:lnTo>
                        <a:pt x="550" y="178"/>
                      </a:lnTo>
                      <a:lnTo>
                        <a:pt x="546" y="174"/>
                      </a:lnTo>
                      <a:lnTo>
                        <a:pt x="540" y="166"/>
                      </a:lnTo>
                      <a:lnTo>
                        <a:pt x="528" y="150"/>
                      </a:lnTo>
                      <a:lnTo>
                        <a:pt x="528" y="150"/>
                      </a:lnTo>
                      <a:lnTo>
                        <a:pt x="508" y="128"/>
                      </a:lnTo>
                      <a:lnTo>
                        <a:pt x="496" y="120"/>
                      </a:lnTo>
                      <a:lnTo>
                        <a:pt x="490" y="118"/>
                      </a:lnTo>
                      <a:lnTo>
                        <a:pt x="486" y="116"/>
                      </a:lnTo>
                      <a:lnTo>
                        <a:pt x="486" y="116"/>
                      </a:lnTo>
                      <a:lnTo>
                        <a:pt x="478" y="118"/>
                      </a:lnTo>
                      <a:lnTo>
                        <a:pt x="474" y="120"/>
                      </a:lnTo>
                      <a:lnTo>
                        <a:pt x="472" y="122"/>
                      </a:lnTo>
                      <a:lnTo>
                        <a:pt x="468" y="128"/>
                      </a:lnTo>
                      <a:lnTo>
                        <a:pt x="468" y="128"/>
                      </a:lnTo>
                      <a:lnTo>
                        <a:pt x="464" y="138"/>
                      </a:lnTo>
                      <a:lnTo>
                        <a:pt x="458" y="148"/>
                      </a:lnTo>
                      <a:lnTo>
                        <a:pt x="454" y="152"/>
                      </a:lnTo>
                      <a:lnTo>
                        <a:pt x="450" y="154"/>
                      </a:lnTo>
                      <a:lnTo>
                        <a:pt x="442" y="154"/>
                      </a:lnTo>
                      <a:lnTo>
                        <a:pt x="434" y="152"/>
                      </a:lnTo>
                      <a:lnTo>
                        <a:pt x="434" y="152"/>
                      </a:lnTo>
                      <a:lnTo>
                        <a:pt x="420" y="142"/>
                      </a:lnTo>
                      <a:lnTo>
                        <a:pt x="408" y="130"/>
                      </a:lnTo>
                      <a:lnTo>
                        <a:pt x="402" y="120"/>
                      </a:lnTo>
                      <a:lnTo>
                        <a:pt x="400" y="114"/>
                      </a:lnTo>
                      <a:lnTo>
                        <a:pt x="400" y="114"/>
                      </a:lnTo>
                      <a:lnTo>
                        <a:pt x="400" y="88"/>
                      </a:lnTo>
                      <a:lnTo>
                        <a:pt x="400" y="64"/>
                      </a:lnTo>
                      <a:lnTo>
                        <a:pt x="400" y="64"/>
                      </a:lnTo>
                      <a:lnTo>
                        <a:pt x="398" y="60"/>
                      </a:lnTo>
                      <a:lnTo>
                        <a:pt x="392" y="58"/>
                      </a:lnTo>
                      <a:lnTo>
                        <a:pt x="384" y="56"/>
                      </a:lnTo>
                      <a:lnTo>
                        <a:pt x="374" y="56"/>
                      </a:lnTo>
                      <a:lnTo>
                        <a:pt x="374" y="56"/>
                      </a:lnTo>
                      <a:lnTo>
                        <a:pt x="364" y="56"/>
                      </a:lnTo>
                      <a:lnTo>
                        <a:pt x="354" y="54"/>
                      </a:lnTo>
                      <a:lnTo>
                        <a:pt x="344" y="50"/>
                      </a:lnTo>
                      <a:lnTo>
                        <a:pt x="332" y="44"/>
                      </a:lnTo>
                      <a:lnTo>
                        <a:pt x="332" y="44"/>
                      </a:lnTo>
                      <a:lnTo>
                        <a:pt x="320" y="36"/>
                      </a:lnTo>
                      <a:lnTo>
                        <a:pt x="310" y="26"/>
                      </a:lnTo>
                      <a:lnTo>
                        <a:pt x="294" y="14"/>
                      </a:lnTo>
                      <a:lnTo>
                        <a:pt x="294" y="14"/>
                      </a:lnTo>
                      <a:lnTo>
                        <a:pt x="272" y="0"/>
                      </a:lnTo>
                      <a:lnTo>
                        <a:pt x="272" y="0"/>
                      </a:lnTo>
                      <a:lnTo>
                        <a:pt x="222" y="12"/>
                      </a:lnTo>
                      <a:lnTo>
                        <a:pt x="170" y="24"/>
                      </a:lnTo>
                      <a:lnTo>
                        <a:pt x="170" y="24"/>
                      </a:lnTo>
                      <a:lnTo>
                        <a:pt x="160" y="26"/>
                      </a:lnTo>
                      <a:lnTo>
                        <a:pt x="138" y="32"/>
                      </a:lnTo>
                      <a:lnTo>
                        <a:pt x="126" y="38"/>
                      </a:lnTo>
                      <a:lnTo>
                        <a:pt x="112" y="44"/>
                      </a:lnTo>
                      <a:lnTo>
                        <a:pt x="100" y="52"/>
                      </a:lnTo>
                      <a:lnTo>
                        <a:pt x="88" y="62"/>
                      </a:lnTo>
                      <a:lnTo>
                        <a:pt x="88" y="62"/>
                      </a:lnTo>
                      <a:lnTo>
                        <a:pt x="80" y="68"/>
                      </a:lnTo>
                      <a:lnTo>
                        <a:pt x="68" y="74"/>
                      </a:lnTo>
                      <a:lnTo>
                        <a:pt x="54" y="80"/>
                      </a:lnTo>
                      <a:lnTo>
                        <a:pt x="48" y="82"/>
                      </a:lnTo>
                      <a:lnTo>
                        <a:pt x="44" y="80"/>
                      </a:lnTo>
                      <a:lnTo>
                        <a:pt x="44" y="80"/>
                      </a:lnTo>
                      <a:lnTo>
                        <a:pt x="30" y="78"/>
                      </a:lnTo>
                      <a:lnTo>
                        <a:pt x="22" y="78"/>
                      </a:lnTo>
                      <a:lnTo>
                        <a:pt x="18" y="82"/>
                      </a:lnTo>
                      <a:lnTo>
                        <a:pt x="16" y="82"/>
                      </a:lnTo>
                      <a:lnTo>
                        <a:pt x="16" y="82"/>
                      </a:lnTo>
                      <a:lnTo>
                        <a:pt x="14" y="86"/>
                      </a:lnTo>
                      <a:lnTo>
                        <a:pt x="6" y="94"/>
                      </a:lnTo>
                      <a:lnTo>
                        <a:pt x="0" y="106"/>
                      </a:lnTo>
                      <a:lnTo>
                        <a:pt x="0" y="112"/>
                      </a:lnTo>
                      <a:lnTo>
                        <a:pt x="0" y="118"/>
                      </a:lnTo>
                      <a:lnTo>
                        <a:pt x="0" y="118"/>
                      </a:lnTo>
                      <a:lnTo>
                        <a:pt x="22" y="196"/>
                      </a:lnTo>
                      <a:lnTo>
                        <a:pt x="22" y="196"/>
                      </a:lnTo>
                      <a:lnTo>
                        <a:pt x="28" y="218"/>
                      </a:lnTo>
                      <a:lnTo>
                        <a:pt x="34" y="230"/>
                      </a:lnTo>
                      <a:lnTo>
                        <a:pt x="42" y="240"/>
                      </a:lnTo>
                      <a:lnTo>
                        <a:pt x="42" y="240"/>
                      </a:lnTo>
                      <a:lnTo>
                        <a:pt x="48" y="248"/>
                      </a:lnTo>
                      <a:lnTo>
                        <a:pt x="54" y="256"/>
                      </a:lnTo>
                      <a:lnTo>
                        <a:pt x="64" y="274"/>
                      </a:lnTo>
                      <a:lnTo>
                        <a:pt x="76" y="292"/>
                      </a:lnTo>
                      <a:lnTo>
                        <a:pt x="84" y="300"/>
                      </a:lnTo>
                      <a:lnTo>
                        <a:pt x="90" y="304"/>
                      </a:lnTo>
                      <a:lnTo>
                        <a:pt x="90" y="304"/>
                      </a:lnTo>
                      <a:lnTo>
                        <a:pt x="106" y="316"/>
                      </a:lnTo>
                      <a:lnTo>
                        <a:pt x="128" y="332"/>
                      </a:lnTo>
                      <a:lnTo>
                        <a:pt x="158" y="356"/>
                      </a:lnTo>
                      <a:lnTo>
                        <a:pt x="158" y="35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0" name="Freeform 54">
                  <a:extLst>
                    <a:ext uri="{FF2B5EF4-FFF2-40B4-BE49-F238E27FC236}">
                      <a16:creationId xmlns:a16="http://schemas.microsoft.com/office/drawing/2014/main" id="{F4CE3D58-1896-4687-B9CD-A047A58F0B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1444" y="4555554"/>
                  <a:ext cx="413075" cy="228639"/>
                </a:xfrm>
                <a:custGeom>
                  <a:avLst/>
                  <a:gdLst/>
                  <a:ahLst/>
                  <a:cxnLst>
                    <a:cxn ang="0">
                      <a:pos x="502" y="182"/>
                    </a:cxn>
                    <a:cxn ang="0">
                      <a:pos x="504" y="186"/>
                    </a:cxn>
                    <a:cxn ang="0">
                      <a:pos x="482" y="188"/>
                    </a:cxn>
                    <a:cxn ang="0">
                      <a:pos x="474" y="184"/>
                    </a:cxn>
                    <a:cxn ang="0">
                      <a:pos x="450" y="176"/>
                    </a:cxn>
                    <a:cxn ang="0">
                      <a:pos x="430" y="166"/>
                    </a:cxn>
                    <a:cxn ang="0">
                      <a:pos x="420" y="164"/>
                    </a:cxn>
                    <a:cxn ang="0">
                      <a:pos x="380" y="168"/>
                    </a:cxn>
                    <a:cxn ang="0">
                      <a:pos x="354" y="176"/>
                    </a:cxn>
                    <a:cxn ang="0">
                      <a:pos x="346" y="186"/>
                    </a:cxn>
                    <a:cxn ang="0">
                      <a:pos x="314" y="222"/>
                    </a:cxn>
                    <a:cxn ang="0">
                      <a:pos x="300" y="230"/>
                    </a:cxn>
                    <a:cxn ang="0">
                      <a:pos x="290" y="230"/>
                    </a:cxn>
                    <a:cxn ang="0">
                      <a:pos x="266" y="232"/>
                    </a:cxn>
                    <a:cxn ang="0">
                      <a:pos x="250" y="238"/>
                    </a:cxn>
                    <a:cxn ang="0">
                      <a:pos x="190" y="276"/>
                    </a:cxn>
                    <a:cxn ang="0">
                      <a:pos x="178" y="282"/>
                    </a:cxn>
                    <a:cxn ang="0">
                      <a:pos x="138" y="298"/>
                    </a:cxn>
                    <a:cxn ang="0">
                      <a:pos x="118" y="300"/>
                    </a:cxn>
                    <a:cxn ang="0">
                      <a:pos x="98" y="298"/>
                    </a:cxn>
                    <a:cxn ang="0">
                      <a:pos x="72" y="288"/>
                    </a:cxn>
                    <a:cxn ang="0">
                      <a:pos x="54" y="276"/>
                    </a:cxn>
                    <a:cxn ang="0">
                      <a:pos x="46" y="266"/>
                    </a:cxn>
                    <a:cxn ang="0">
                      <a:pos x="28" y="250"/>
                    </a:cxn>
                    <a:cxn ang="0">
                      <a:pos x="12" y="240"/>
                    </a:cxn>
                    <a:cxn ang="0">
                      <a:pos x="6" y="224"/>
                    </a:cxn>
                    <a:cxn ang="0">
                      <a:pos x="4" y="210"/>
                    </a:cxn>
                    <a:cxn ang="0">
                      <a:pos x="0" y="158"/>
                    </a:cxn>
                    <a:cxn ang="0">
                      <a:pos x="0" y="134"/>
                    </a:cxn>
                    <a:cxn ang="0">
                      <a:pos x="2" y="128"/>
                    </a:cxn>
                    <a:cxn ang="0">
                      <a:pos x="6" y="118"/>
                    </a:cxn>
                    <a:cxn ang="0">
                      <a:pos x="16" y="114"/>
                    </a:cxn>
                    <a:cxn ang="0">
                      <a:pos x="22" y="114"/>
                    </a:cxn>
                    <a:cxn ang="0">
                      <a:pos x="58" y="124"/>
                    </a:cxn>
                    <a:cxn ang="0">
                      <a:pos x="64" y="126"/>
                    </a:cxn>
                    <a:cxn ang="0">
                      <a:pos x="74" y="124"/>
                    </a:cxn>
                    <a:cxn ang="0">
                      <a:pos x="86" y="116"/>
                    </a:cxn>
                    <a:cxn ang="0">
                      <a:pos x="92" y="108"/>
                    </a:cxn>
                    <a:cxn ang="0">
                      <a:pos x="144" y="30"/>
                    </a:cxn>
                    <a:cxn ang="0">
                      <a:pos x="166" y="6"/>
                    </a:cxn>
                    <a:cxn ang="0">
                      <a:pos x="190" y="8"/>
                    </a:cxn>
                    <a:cxn ang="0">
                      <a:pos x="200" y="4"/>
                    </a:cxn>
                    <a:cxn ang="0">
                      <a:pos x="208" y="0"/>
                    </a:cxn>
                    <a:cxn ang="0">
                      <a:pos x="222" y="0"/>
                    </a:cxn>
                    <a:cxn ang="0">
                      <a:pos x="228" y="2"/>
                    </a:cxn>
                    <a:cxn ang="0">
                      <a:pos x="240" y="18"/>
                    </a:cxn>
                    <a:cxn ang="0">
                      <a:pos x="252" y="36"/>
                    </a:cxn>
                    <a:cxn ang="0">
                      <a:pos x="258" y="44"/>
                    </a:cxn>
                    <a:cxn ang="0">
                      <a:pos x="270" y="56"/>
                    </a:cxn>
                    <a:cxn ang="0">
                      <a:pos x="282" y="56"/>
                    </a:cxn>
                    <a:cxn ang="0">
                      <a:pos x="322" y="22"/>
                    </a:cxn>
                    <a:cxn ang="0">
                      <a:pos x="326" y="20"/>
                    </a:cxn>
                    <a:cxn ang="0">
                      <a:pos x="346" y="18"/>
                    </a:cxn>
                    <a:cxn ang="0">
                      <a:pos x="356" y="24"/>
                    </a:cxn>
                    <a:cxn ang="0">
                      <a:pos x="370" y="32"/>
                    </a:cxn>
                    <a:cxn ang="0">
                      <a:pos x="380" y="34"/>
                    </a:cxn>
                    <a:cxn ang="0">
                      <a:pos x="432" y="12"/>
                    </a:cxn>
                    <a:cxn ang="0">
                      <a:pos x="542" y="78"/>
                    </a:cxn>
                    <a:cxn ang="0">
                      <a:pos x="530" y="90"/>
                    </a:cxn>
                    <a:cxn ang="0">
                      <a:pos x="524" y="100"/>
                    </a:cxn>
                    <a:cxn ang="0">
                      <a:pos x="502" y="162"/>
                    </a:cxn>
                    <a:cxn ang="0">
                      <a:pos x="502" y="174"/>
                    </a:cxn>
                    <a:cxn ang="0">
                      <a:pos x="502" y="182"/>
                    </a:cxn>
                  </a:cxnLst>
                  <a:rect l="0" t="0" r="r" b="b"/>
                  <a:pathLst>
                    <a:path w="542" h="300">
                      <a:moveTo>
                        <a:pt x="502" y="182"/>
                      </a:moveTo>
                      <a:lnTo>
                        <a:pt x="502" y="182"/>
                      </a:lnTo>
                      <a:lnTo>
                        <a:pt x="502" y="184"/>
                      </a:lnTo>
                      <a:lnTo>
                        <a:pt x="504" y="186"/>
                      </a:lnTo>
                      <a:lnTo>
                        <a:pt x="498" y="188"/>
                      </a:lnTo>
                      <a:lnTo>
                        <a:pt x="482" y="188"/>
                      </a:lnTo>
                      <a:lnTo>
                        <a:pt x="482" y="188"/>
                      </a:lnTo>
                      <a:lnTo>
                        <a:pt x="474" y="184"/>
                      </a:lnTo>
                      <a:lnTo>
                        <a:pt x="464" y="182"/>
                      </a:lnTo>
                      <a:lnTo>
                        <a:pt x="450" y="176"/>
                      </a:lnTo>
                      <a:lnTo>
                        <a:pt x="438" y="168"/>
                      </a:lnTo>
                      <a:lnTo>
                        <a:pt x="430" y="166"/>
                      </a:lnTo>
                      <a:lnTo>
                        <a:pt x="420" y="164"/>
                      </a:lnTo>
                      <a:lnTo>
                        <a:pt x="420" y="164"/>
                      </a:lnTo>
                      <a:lnTo>
                        <a:pt x="398" y="164"/>
                      </a:lnTo>
                      <a:lnTo>
                        <a:pt x="380" y="168"/>
                      </a:lnTo>
                      <a:lnTo>
                        <a:pt x="364" y="172"/>
                      </a:lnTo>
                      <a:lnTo>
                        <a:pt x="354" y="176"/>
                      </a:lnTo>
                      <a:lnTo>
                        <a:pt x="354" y="176"/>
                      </a:lnTo>
                      <a:lnTo>
                        <a:pt x="346" y="186"/>
                      </a:lnTo>
                      <a:lnTo>
                        <a:pt x="330" y="204"/>
                      </a:lnTo>
                      <a:lnTo>
                        <a:pt x="314" y="222"/>
                      </a:lnTo>
                      <a:lnTo>
                        <a:pt x="306" y="228"/>
                      </a:lnTo>
                      <a:lnTo>
                        <a:pt x="300" y="230"/>
                      </a:lnTo>
                      <a:lnTo>
                        <a:pt x="300" y="230"/>
                      </a:lnTo>
                      <a:lnTo>
                        <a:pt x="290" y="230"/>
                      </a:lnTo>
                      <a:lnTo>
                        <a:pt x="280" y="230"/>
                      </a:lnTo>
                      <a:lnTo>
                        <a:pt x="266" y="232"/>
                      </a:lnTo>
                      <a:lnTo>
                        <a:pt x="250" y="238"/>
                      </a:lnTo>
                      <a:lnTo>
                        <a:pt x="250" y="238"/>
                      </a:lnTo>
                      <a:lnTo>
                        <a:pt x="216" y="260"/>
                      </a:lnTo>
                      <a:lnTo>
                        <a:pt x="190" y="276"/>
                      </a:lnTo>
                      <a:lnTo>
                        <a:pt x="190" y="276"/>
                      </a:lnTo>
                      <a:lnTo>
                        <a:pt x="178" y="282"/>
                      </a:lnTo>
                      <a:lnTo>
                        <a:pt x="158" y="292"/>
                      </a:lnTo>
                      <a:lnTo>
                        <a:pt x="138" y="298"/>
                      </a:lnTo>
                      <a:lnTo>
                        <a:pt x="126" y="300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98" y="298"/>
                      </a:lnTo>
                      <a:lnTo>
                        <a:pt x="82" y="292"/>
                      </a:lnTo>
                      <a:lnTo>
                        <a:pt x="72" y="288"/>
                      </a:lnTo>
                      <a:lnTo>
                        <a:pt x="64" y="284"/>
                      </a:lnTo>
                      <a:lnTo>
                        <a:pt x="54" y="276"/>
                      </a:lnTo>
                      <a:lnTo>
                        <a:pt x="46" y="266"/>
                      </a:lnTo>
                      <a:lnTo>
                        <a:pt x="46" y="266"/>
                      </a:lnTo>
                      <a:lnTo>
                        <a:pt x="36" y="256"/>
                      </a:lnTo>
                      <a:lnTo>
                        <a:pt x="28" y="250"/>
                      </a:lnTo>
                      <a:lnTo>
                        <a:pt x="18" y="244"/>
                      </a:lnTo>
                      <a:lnTo>
                        <a:pt x="12" y="240"/>
                      </a:lnTo>
                      <a:lnTo>
                        <a:pt x="10" y="234"/>
                      </a:lnTo>
                      <a:lnTo>
                        <a:pt x="6" y="224"/>
                      </a:lnTo>
                      <a:lnTo>
                        <a:pt x="4" y="210"/>
                      </a:lnTo>
                      <a:lnTo>
                        <a:pt x="4" y="210"/>
                      </a:lnTo>
                      <a:lnTo>
                        <a:pt x="0" y="182"/>
                      </a:lnTo>
                      <a:lnTo>
                        <a:pt x="0" y="158"/>
                      </a:lnTo>
                      <a:lnTo>
                        <a:pt x="0" y="144"/>
                      </a:lnTo>
                      <a:lnTo>
                        <a:pt x="0" y="134"/>
                      </a:lnTo>
                      <a:lnTo>
                        <a:pt x="0" y="134"/>
                      </a:lnTo>
                      <a:lnTo>
                        <a:pt x="2" y="128"/>
                      </a:lnTo>
                      <a:lnTo>
                        <a:pt x="4" y="120"/>
                      </a:lnTo>
                      <a:lnTo>
                        <a:pt x="6" y="118"/>
                      </a:lnTo>
                      <a:lnTo>
                        <a:pt x="10" y="116"/>
                      </a:lnTo>
                      <a:lnTo>
                        <a:pt x="16" y="114"/>
                      </a:lnTo>
                      <a:lnTo>
                        <a:pt x="22" y="114"/>
                      </a:lnTo>
                      <a:lnTo>
                        <a:pt x="22" y="114"/>
                      </a:lnTo>
                      <a:lnTo>
                        <a:pt x="46" y="118"/>
                      </a:lnTo>
                      <a:lnTo>
                        <a:pt x="58" y="124"/>
                      </a:lnTo>
                      <a:lnTo>
                        <a:pt x="58" y="124"/>
                      </a:lnTo>
                      <a:lnTo>
                        <a:pt x="64" y="126"/>
                      </a:lnTo>
                      <a:lnTo>
                        <a:pt x="70" y="126"/>
                      </a:lnTo>
                      <a:lnTo>
                        <a:pt x="74" y="124"/>
                      </a:lnTo>
                      <a:lnTo>
                        <a:pt x="80" y="120"/>
                      </a:lnTo>
                      <a:lnTo>
                        <a:pt x="86" y="116"/>
                      </a:lnTo>
                      <a:lnTo>
                        <a:pt x="92" y="108"/>
                      </a:lnTo>
                      <a:lnTo>
                        <a:pt x="92" y="108"/>
                      </a:lnTo>
                      <a:lnTo>
                        <a:pt x="124" y="58"/>
                      </a:lnTo>
                      <a:lnTo>
                        <a:pt x="144" y="30"/>
                      </a:lnTo>
                      <a:lnTo>
                        <a:pt x="166" y="6"/>
                      </a:lnTo>
                      <a:lnTo>
                        <a:pt x="166" y="6"/>
                      </a:lnTo>
                      <a:lnTo>
                        <a:pt x="178" y="8"/>
                      </a:lnTo>
                      <a:lnTo>
                        <a:pt x="190" y="8"/>
                      </a:lnTo>
                      <a:lnTo>
                        <a:pt x="194" y="6"/>
                      </a:lnTo>
                      <a:lnTo>
                        <a:pt x="200" y="4"/>
                      </a:lnTo>
                      <a:lnTo>
                        <a:pt x="200" y="4"/>
                      </a:lnTo>
                      <a:lnTo>
                        <a:pt x="208" y="0"/>
                      </a:lnTo>
                      <a:lnTo>
                        <a:pt x="216" y="0"/>
                      </a:lnTo>
                      <a:lnTo>
                        <a:pt x="222" y="0"/>
                      </a:lnTo>
                      <a:lnTo>
                        <a:pt x="228" y="2"/>
                      </a:lnTo>
                      <a:lnTo>
                        <a:pt x="228" y="2"/>
                      </a:lnTo>
                      <a:lnTo>
                        <a:pt x="234" y="8"/>
                      </a:lnTo>
                      <a:lnTo>
                        <a:pt x="240" y="18"/>
                      </a:lnTo>
                      <a:lnTo>
                        <a:pt x="246" y="28"/>
                      </a:lnTo>
                      <a:lnTo>
                        <a:pt x="252" y="36"/>
                      </a:lnTo>
                      <a:lnTo>
                        <a:pt x="252" y="36"/>
                      </a:lnTo>
                      <a:lnTo>
                        <a:pt x="258" y="44"/>
                      </a:lnTo>
                      <a:lnTo>
                        <a:pt x="266" y="52"/>
                      </a:lnTo>
                      <a:lnTo>
                        <a:pt x="270" y="56"/>
                      </a:lnTo>
                      <a:lnTo>
                        <a:pt x="274" y="56"/>
                      </a:lnTo>
                      <a:lnTo>
                        <a:pt x="282" y="56"/>
                      </a:lnTo>
                      <a:lnTo>
                        <a:pt x="290" y="52"/>
                      </a:lnTo>
                      <a:lnTo>
                        <a:pt x="322" y="22"/>
                      </a:lnTo>
                      <a:lnTo>
                        <a:pt x="322" y="22"/>
                      </a:lnTo>
                      <a:lnTo>
                        <a:pt x="326" y="20"/>
                      </a:lnTo>
                      <a:lnTo>
                        <a:pt x="334" y="18"/>
                      </a:lnTo>
                      <a:lnTo>
                        <a:pt x="346" y="18"/>
                      </a:lnTo>
                      <a:lnTo>
                        <a:pt x="352" y="20"/>
                      </a:lnTo>
                      <a:lnTo>
                        <a:pt x="356" y="24"/>
                      </a:lnTo>
                      <a:lnTo>
                        <a:pt x="356" y="24"/>
                      </a:lnTo>
                      <a:lnTo>
                        <a:pt x="370" y="32"/>
                      </a:lnTo>
                      <a:lnTo>
                        <a:pt x="374" y="34"/>
                      </a:lnTo>
                      <a:lnTo>
                        <a:pt x="380" y="34"/>
                      </a:lnTo>
                      <a:lnTo>
                        <a:pt x="380" y="34"/>
                      </a:lnTo>
                      <a:lnTo>
                        <a:pt x="432" y="12"/>
                      </a:lnTo>
                      <a:lnTo>
                        <a:pt x="542" y="78"/>
                      </a:lnTo>
                      <a:lnTo>
                        <a:pt x="542" y="78"/>
                      </a:lnTo>
                      <a:lnTo>
                        <a:pt x="536" y="84"/>
                      </a:lnTo>
                      <a:lnTo>
                        <a:pt x="530" y="90"/>
                      </a:lnTo>
                      <a:lnTo>
                        <a:pt x="524" y="100"/>
                      </a:lnTo>
                      <a:lnTo>
                        <a:pt x="524" y="100"/>
                      </a:lnTo>
                      <a:lnTo>
                        <a:pt x="512" y="136"/>
                      </a:lnTo>
                      <a:lnTo>
                        <a:pt x="502" y="162"/>
                      </a:lnTo>
                      <a:lnTo>
                        <a:pt x="502" y="162"/>
                      </a:lnTo>
                      <a:lnTo>
                        <a:pt x="502" y="174"/>
                      </a:lnTo>
                      <a:lnTo>
                        <a:pt x="502" y="182"/>
                      </a:lnTo>
                      <a:lnTo>
                        <a:pt x="502" y="18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1" name="Freeform 55">
                  <a:extLst>
                    <a:ext uri="{FF2B5EF4-FFF2-40B4-BE49-F238E27FC236}">
                      <a16:creationId xmlns:a16="http://schemas.microsoft.com/office/drawing/2014/main" id="{7F263BD7-2168-4A92-B209-19A46E8D26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1814" y="4680544"/>
                  <a:ext cx="470997" cy="339910"/>
                </a:xfrm>
                <a:custGeom>
                  <a:avLst/>
                  <a:gdLst/>
                  <a:ahLst/>
                  <a:cxnLst>
                    <a:cxn ang="0">
                      <a:pos x="606" y="82"/>
                    </a:cxn>
                    <a:cxn ang="0">
                      <a:pos x="618" y="96"/>
                    </a:cxn>
                    <a:cxn ang="0">
                      <a:pos x="608" y="114"/>
                    </a:cxn>
                    <a:cxn ang="0">
                      <a:pos x="566" y="150"/>
                    </a:cxn>
                    <a:cxn ang="0">
                      <a:pos x="552" y="176"/>
                    </a:cxn>
                    <a:cxn ang="0">
                      <a:pos x="544" y="222"/>
                    </a:cxn>
                    <a:cxn ang="0">
                      <a:pos x="528" y="272"/>
                    </a:cxn>
                    <a:cxn ang="0">
                      <a:pos x="502" y="318"/>
                    </a:cxn>
                    <a:cxn ang="0">
                      <a:pos x="502" y="336"/>
                    </a:cxn>
                    <a:cxn ang="0">
                      <a:pos x="502" y="354"/>
                    </a:cxn>
                    <a:cxn ang="0">
                      <a:pos x="488" y="358"/>
                    </a:cxn>
                    <a:cxn ang="0">
                      <a:pos x="444" y="372"/>
                    </a:cxn>
                    <a:cxn ang="0">
                      <a:pos x="410" y="378"/>
                    </a:cxn>
                    <a:cxn ang="0">
                      <a:pos x="356" y="380"/>
                    </a:cxn>
                    <a:cxn ang="0">
                      <a:pos x="340" y="386"/>
                    </a:cxn>
                    <a:cxn ang="0">
                      <a:pos x="300" y="424"/>
                    </a:cxn>
                    <a:cxn ang="0">
                      <a:pos x="276" y="440"/>
                    </a:cxn>
                    <a:cxn ang="0">
                      <a:pos x="218" y="444"/>
                    </a:cxn>
                    <a:cxn ang="0">
                      <a:pos x="166" y="434"/>
                    </a:cxn>
                    <a:cxn ang="0">
                      <a:pos x="134" y="418"/>
                    </a:cxn>
                    <a:cxn ang="0">
                      <a:pos x="102" y="378"/>
                    </a:cxn>
                    <a:cxn ang="0">
                      <a:pos x="82" y="352"/>
                    </a:cxn>
                    <a:cxn ang="0">
                      <a:pos x="34" y="314"/>
                    </a:cxn>
                    <a:cxn ang="0">
                      <a:pos x="8" y="298"/>
                    </a:cxn>
                    <a:cxn ang="0">
                      <a:pos x="0" y="278"/>
                    </a:cxn>
                    <a:cxn ang="0">
                      <a:pos x="6" y="240"/>
                    </a:cxn>
                    <a:cxn ang="0">
                      <a:pos x="18" y="210"/>
                    </a:cxn>
                    <a:cxn ang="0">
                      <a:pos x="24" y="186"/>
                    </a:cxn>
                    <a:cxn ang="0">
                      <a:pos x="24" y="172"/>
                    </a:cxn>
                    <a:cxn ang="0">
                      <a:pos x="18" y="150"/>
                    </a:cxn>
                    <a:cxn ang="0">
                      <a:pos x="26" y="146"/>
                    </a:cxn>
                    <a:cxn ang="0">
                      <a:pos x="58" y="128"/>
                    </a:cxn>
                    <a:cxn ang="0">
                      <a:pos x="86" y="88"/>
                    </a:cxn>
                    <a:cxn ang="0">
                      <a:pos x="126" y="124"/>
                    </a:cxn>
                    <a:cxn ang="0">
                      <a:pos x="156" y="134"/>
                    </a:cxn>
                    <a:cxn ang="0">
                      <a:pos x="188" y="134"/>
                    </a:cxn>
                    <a:cxn ang="0">
                      <a:pos x="232" y="116"/>
                    </a:cxn>
                    <a:cxn ang="0">
                      <a:pos x="302" y="78"/>
                    </a:cxn>
                    <a:cxn ang="0">
                      <a:pos x="332" y="64"/>
                    </a:cxn>
                    <a:cxn ang="0">
                      <a:pos x="356" y="64"/>
                    </a:cxn>
                    <a:cxn ang="0">
                      <a:pos x="380" y="44"/>
                    </a:cxn>
                    <a:cxn ang="0">
                      <a:pos x="410" y="12"/>
                    </a:cxn>
                    <a:cxn ang="0">
                      <a:pos x="436" y="2"/>
                    </a:cxn>
                    <a:cxn ang="0">
                      <a:pos x="480" y="2"/>
                    </a:cxn>
                    <a:cxn ang="0">
                      <a:pos x="510" y="16"/>
                    </a:cxn>
                    <a:cxn ang="0">
                      <a:pos x="534" y="24"/>
                    </a:cxn>
                    <a:cxn ang="0">
                      <a:pos x="556" y="22"/>
                    </a:cxn>
                    <a:cxn ang="0">
                      <a:pos x="566" y="24"/>
                    </a:cxn>
                    <a:cxn ang="0">
                      <a:pos x="590" y="60"/>
                    </a:cxn>
                    <a:cxn ang="0">
                      <a:pos x="604" y="78"/>
                    </a:cxn>
                  </a:cxnLst>
                  <a:rect l="0" t="0" r="r" b="b"/>
                  <a:pathLst>
                    <a:path w="618" h="446">
                      <a:moveTo>
                        <a:pt x="604" y="78"/>
                      </a:moveTo>
                      <a:lnTo>
                        <a:pt x="604" y="78"/>
                      </a:lnTo>
                      <a:lnTo>
                        <a:pt x="606" y="82"/>
                      </a:lnTo>
                      <a:lnTo>
                        <a:pt x="610" y="86"/>
                      </a:lnTo>
                      <a:lnTo>
                        <a:pt x="616" y="92"/>
                      </a:lnTo>
                      <a:lnTo>
                        <a:pt x="618" y="96"/>
                      </a:lnTo>
                      <a:lnTo>
                        <a:pt x="618" y="100"/>
                      </a:lnTo>
                      <a:lnTo>
                        <a:pt x="614" y="106"/>
                      </a:lnTo>
                      <a:lnTo>
                        <a:pt x="608" y="114"/>
                      </a:lnTo>
                      <a:lnTo>
                        <a:pt x="608" y="114"/>
                      </a:lnTo>
                      <a:lnTo>
                        <a:pt x="576" y="138"/>
                      </a:lnTo>
                      <a:lnTo>
                        <a:pt x="566" y="150"/>
                      </a:lnTo>
                      <a:lnTo>
                        <a:pt x="558" y="164"/>
                      </a:lnTo>
                      <a:lnTo>
                        <a:pt x="558" y="164"/>
                      </a:lnTo>
                      <a:lnTo>
                        <a:pt x="552" y="176"/>
                      </a:lnTo>
                      <a:lnTo>
                        <a:pt x="550" y="182"/>
                      </a:lnTo>
                      <a:lnTo>
                        <a:pt x="544" y="222"/>
                      </a:lnTo>
                      <a:lnTo>
                        <a:pt x="544" y="222"/>
                      </a:lnTo>
                      <a:lnTo>
                        <a:pt x="540" y="240"/>
                      </a:lnTo>
                      <a:lnTo>
                        <a:pt x="534" y="256"/>
                      </a:lnTo>
                      <a:lnTo>
                        <a:pt x="528" y="272"/>
                      </a:lnTo>
                      <a:lnTo>
                        <a:pt x="520" y="286"/>
                      </a:lnTo>
                      <a:lnTo>
                        <a:pt x="506" y="308"/>
                      </a:lnTo>
                      <a:lnTo>
                        <a:pt x="502" y="318"/>
                      </a:lnTo>
                      <a:lnTo>
                        <a:pt x="500" y="324"/>
                      </a:lnTo>
                      <a:lnTo>
                        <a:pt x="500" y="324"/>
                      </a:lnTo>
                      <a:lnTo>
                        <a:pt x="502" y="336"/>
                      </a:lnTo>
                      <a:lnTo>
                        <a:pt x="504" y="346"/>
                      </a:lnTo>
                      <a:lnTo>
                        <a:pt x="504" y="352"/>
                      </a:lnTo>
                      <a:lnTo>
                        <a:pt x="502" y="354"/>
                      </a:lnTo>
                      <a:lnTo>
                        <a:pt x="496" y="358"/>
                      </a:lnTo>
                      <a:lnTo>
                        <a:pt x="488" y="358"/>
                      </a:lnTo>
                      <a:lnTo>
                        <a:pt x="488" y="358"/>
                      </a:lnTo>
                      <a:lnTo>
                        <a:pt x="470" y="362"/>
                      </a:lnTo>
                      <a:lnTo>
                        <a:pt x="456" y="366"/>
                      </a:lnTo>
                      <a:lnTo>
                        <a:pt x="444" y="372"/>
                      </a:lnTo>
                      <a:lnTo>
                        <a:pt x="428" y="376"/>
                      </a:lnTo>
                      <a:lnTo>
                        <a:pt x="428" y="376"/>
                      </a:lnTo>
                      <a:lnTo>
                        <a:pt x="410" y="378"/>
                      </a:lnTo>
                      <a:lnTo>
                        <a:pt x="392" y="378"/>
                      </a:lnTo>
                      <a:lnTo>
                        <a:pt x="374" y="378"/>
                      </a:lnTo>
                      <a:lnTo>
                        <a:pt x="356" y="380"/>
                      </a:lnTo>
                      <a:lnTo>
                        <a:pt x="356" y="380"/>
                      </a:lnTo>
                      <a:lnTo>
                        <a:pt x="348" y="382"/>
                      </a:lnTo>
                      <a:lnTo>
                        <a:pt x="340" y="386"/>
                      </a:lnTo>
                      <a:lnTo>
                        <a:pt x="324" y="402"/>
                      </a:lnTo>
                      <a:lnTo>
                        <a:pt x="310" y="418"/>
                      </a:lnTo>
                      <a:lnTo>
                        <a:pt x="300" y="424"/>
                      </a:lnTo>
                      <a:lnTo>
                        <a:pt x="292" y="430"/>
                      </a:lnTo>
                      <a:lnTo>
                        <a:pt x="292" y="430"/>
                      </a:lnTo>
                      <a:lnTo>
                        <a:pt x="276" y="440"/>
                      </a:lnTo>
                      <a:lnTo>
                        <a:pt x="260" y="446"/>
                      </a:lnTo>
                      <a:lnTo>
                        <a:pt x="242" y="446"/>
                      </a:lnTo>
                      <a:lnTo>
                        <a:pt x="218" y="444"/>
                      </a:lnTo>
                      <a:lnTo>
                        <a:pt x="218" y="444"/>
                      </a:lnTo>
                      <a:lnTo>
                        <a:pt x="192" y="438"/>
                      </a:lnTo>
                      <a:lnTo>
                        <a:pt x="166" y="434"/>
                      </a:lnTo>
                      <a:lnTo>
                        <a:pt x="154" y="430"/>
                      </a:lnTo>
                      <a:lnTo>
                        <a:pt x="142" y="424"/>
                      </a:lnTo>
                      <a:lnTo>
                        <a:pt x="134" y="418"/>
                      </a:lnTo>
                      <a:lnTo>
                        <a:pt x="126" y="410"/>
                      </a:lnTo>
                      <a:lnTo>
                        <a:pt x="126" y="410"/>
                      </a:lnTo>
                      <a:lnTo>
                        <a:pt x="102" y="378"/>
                      </a:lnTo>
                      <a:lnTo>
                        <a:pt x="92" y="364"/>
                      </a:lnTo>
                      <a:lnTo>
                        <a:pt x="82" y="352"/>
                      </a:lnTo>
                      <a:lnTo>
                        <a:pt x="82" y="352"/>
                      </a:lnTo>
                      <a:lnTo>
                        <a:pt x="60" y="334"/>
                      </a:lnTo>
                      <a:lnTo>
                        <a:pt x="48" y="324"/>
                      </a:lnTo>
                      <a:lnTo>
                        <a:pt x="34" y="314"/>
                      </a:lnTo>
                      <a:lnTo>
                        <a:pt x="34" y="314"/>
                      </a:lnTo>
                      <a:lnTo>
                        <a:pt x="20" y="306"/>
                      </a:lnTo>
                      <a:lnTo>
                        <a:pt x="8" y="298"/>
                      </a:lnTo>
                      <a:lnTo>
                        <a:pt x="2" y="288"/>
                      </a:lnTo>
                      <a:lnTo>
                        <a:pt x="0" y="284"/>
                      </a:lnTo>
                      <a:lnTo>
                        <a:pt x="0" y="278"/>
                      </a:lnTo>
                      <a:lnTo>
                        <a:pt x="0" y="278"/>
                      </a:lnTo>
                      <a:lnTo>
                        <a:pt x="2" y="254"/>
                      </a:lnTo>
                      <a:lnTo>
                        <a:pt x="6" y="240"/>
                      </a:lnTo>
                      <a:lnTo>
                        <a:pt x="12" y="222"/>
                      </a:lnTo>
                      <a:lnTo>
                        <a:pt x="12" y="222"/>
                      </a:lnTo>
                      <a:lnTo>
                        <a:pt x="18" y="210"/>
                      </a:lnTo>
                      <a:lnTo>
                        <a:pt x="20" y="202"/>
                      </a:lnTo>
                      <a:lnTo>
                        <a:pt x="22" y="196"/>
                      </a:lnTo>
                      <a:lnTo>
                        <a:pt x="24" y="186"/>
                      </a:lnTo>
                      <a:lnTo>
                        <a:pt x="24" y="186"/>
                      </a:lnTo>
                      <a:lnTo>
                        <a:pt x="26" y="180"/>
                      </a:lnTo>
                      <a:lnTo>
                        <a:pt x="24" y="172"/>
                      </a:lnTo>
                      <a:lnTo>
                        <a:pt x="20" y="160"/>
                      </a:lnTo>
                      <a:lnTo>
                        <a:pt x="18" y="154"/>
                      </a:lnTo>
                      <a:lnTo>
                        <a:pt x="18" y="150"/>
                      </a:lnTo>
                      <a:lnTo>
                        <a:pt x="20" y="148"/>
                      </a:lnTo>
                      <a:lnTo>
                        <a:pt x="26" y="146"/>
                      </a:lnTo>
                      <a:lnTo>
                        <a:pt x="26" y="146"/>
                      </a:lnTo>
                      <a:lnTo>
                        <a:pt x="32" y="144"/>
                      </a:lnTo>
                      <a:lnTo>
                        <a:pt x="40" y="140"/>
                      </a:lnTo>
                      <a:lnTo>
                        <a:pt x="58" y="128"/>
                      </a:lnTo>
                      <a:lnTo>
                        <a:pt x="76" y="114"/>
                      </a:lnTo>
                      <a:lnTo>
                        <a:pt x="86" y="88"/>
                      </a:lnTo>
                      <a:lnTo>
                        <a:pt x="86" y="88"/>
                      </a:lnTo>
                      <a:lnTo>
                        <a:pt x="100" y="104"/>
                      </a:lnTo>
                      <a:lnTo>
                        <a:pt x="114" y="116"/>
                      </a:lnTo>
                      <a:lnTo>
                        <a:pt x="126" y="124"/>
                      </a:lnTo>
                      <a:lnTo>
                        <a:pt x="126" y="124"/>
                      </a:lnTo>
                      <a:lnTo>
                        <a:pt x="140" y="128"/>
                      </a:lnTo>
                      <a:lnTo>
                        <a:pt x="156" y="134"/>
                      </a:lnTo>
                      <a:lnTo>
                        <a:pt x="174" y="136"/>
                      </a:lnTo>
                      <a:lnTo>
                        <a:pt x="182" y="136"/>
                      </a:lnTo>
                      <a:lnTo>
                        <a:pt x="188" y="134"/>
                      </a:lnTo>
                      <a:lnTo>
                        <a:pt x="188" y="134"/>
                      </a:lnTo>
                      <a:lnTo>
                        <a:pt x="206" y="128"/>
                      </a:lnTo>
                      <a:lnTo>
                        <a:pt x="232" y="116"/>
                      </a:lnTo>
                      <a:lnTo>
                        <a:pt x="272" y="94"/>
                      </a:lnTo>
                      <a:lnTo>
                        <a:pt x="272" y="94"/>
                      </a:lnTo>
                      <a:lnTo>
                        <a:pt x="302" y="78"/>
                      </a:lnTo>
                      <a:lnTo>
                        <a:pt x="318" y="68"/>
                      </a:lnTo>
                      <a:lnTo>
                        <a:pt x="332" y="64"/>
                      </a:lnTo>
                      <a:lnTo>
                        <a:pt x="332" y="64"/>
                      </a:lnTo>
                      <a:lnTo>
                        <a:pt x="340" y="66"/>
                      </a:lnTo>
                      <a:lnTo>
                        <a:pt x="350" y="66"/>
                      </a:lnTo>
                      <a:lnTo>
                        <a:pt x="356" y="64"/>
                      </a:lnTo>
                      <a:lnTo>
                        <a:pt x="362" y="60"/>
                      </a:lnTo>
                      <a:lnTo>
                        <a:pt x="370" y="54"/>
                      </a:lnTo>
                      <a:lnTo>
                        <a:pt x="380" y="44"/>
                      </a:lnTo>
                      <a:lnTo>
                        <a:pt x="380" y="44"/>
                      </a:lnTo>
                      <a:lnTo>
                        <a:pt x="396" y="26"/>
                      </a:lnTo>
                      <a:lnTo>
                        <a:pt x="410" y="12"/>
                      </a:lnTo>
                      <a:lnTo>
                        <a:pt x="422" y="4"/>
                      </a:lnTo>
                      <a:lnTo>
                        <a:pt x="436" y="2"/>
                      </a:lnTo>
                      <a:lnTo>
                        <a:pt x="436" y="2"/>
                      </a:lnTo>
                      <a:lnTo>
                        <a:pt x="450" y="0"/>
                      </a:lnTo>
                      <a:lnTo>
                        <a:pt x="464" y="0"/>
                      </a:lnTo>
                      <a:lnTo>
                        <a:pt x="480" y="2"/>
                      </a:lnTo>
                      <a:lnTo>
                        <a:pt x="490" y="6"/>
                      </a:lnTo>
                      <a:lnTo>
                        <a:pt x="490" y="6"/>
                      </a:lnTo>
                      <a:lnTo>
                        <a:pt x="510" y="16"/>
                      </a:lnTo>
                      <a:lnTo>
                        <a:pt x="522" y="20"/>
                      </a:lnTo>
                      <a:lnTo>
                        <a:pt x="534" y="24"/>
                      </a:lnTo>
                      <a:lnTo>
                        <a:pt x="534" y="24"/>
                      </a:lnTo>
                      <a:lnTo>
                        <a:pt x="546" y="24"/>
                      </a:lnTo>
                      <a:lnTo>
                        <a:pt x="552" y="22"/>
                      </a:lnTo>
                      <a:lnTo>
                        <a:pt x="556" y="22"/>
                      </a:lnTo>
                      <a:lnTo>
                        <a:pt x="562" y="22"/>
                      </a:lnTo>
                      <a:lnTo>
                        <a:pt x="562" y="22"/>
                      </a:lnTo>
                      <a:lnTo>
                        <a:pt x="566" y="24"/>
                      </a:lnTo>
                      <a:lnTo>
                        <a:pt x="570" y="28"/>
                      </a:lnTo>
                      <a:lnTo>
                        <a:pt x="578" y="40"/>
                      </a:lnTo>
                      <a:lnTo>
                        <a:pt x="590" y="60"/>
                      </a:lnTo>
                      <a:lnTo>
                        <a:pt x="590" y="60"/>
                      </a:lnTo>
                      <a:lnTo>
                        <a:pt x="598" y="72"/>
                      </a:lnTo>
                      <a:lnTo>
                        <a:pt x="604" y="78"/>
                      </a:lnTo>
                      <a:lnTo>
                        <a:pt x="604" y="7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2" name="Freeform 56">
                  <a:extLst>
                    <a:ext uri="{FF2B5EF4-FFF2-40B4-BE49-F238E27FC236}">
                      <a16:creationId xmlns:a16="http://schemas.microsoft.com/office/drawing/2014/main" id="{AD5FA3D3-B103-4E5A-9D18-9BE83B4F56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9867" y="4703408"/>
                  <a:ext cx="317046" cy="228639"/>
                </a:xfrm>
                <a:custGeom>
                  <a:avLst/>
                  <a:gdLst/>
                  <a:ahLst/>
                  <a:cxnLst>
                    <a:cxn ang="0">
                      <a:pos x="350" y="52"/>
                    </a:cxn>
                    <a:cxn ang="0">
                      <a:pos x="348" y="56"/>
                    </a:cxn>
                    <a:cxn ang="0">
                      <a:pos x="338" y="76"/>
                    </a:cxn>
                    <a:cxn ang="0">
                      <a:pos x="336" y="92"/>
                    </a:cxn>
                    <a:cxn ang="0">
                      <a:pos x="336" y="102"/>
                    </a:cxn>
                    <a:cxn ang="0">
                      <a:pos x="344" y="134"/>
                    </a:cxn>
                    <a:cxn ang="0">
                      <a:pos x="350" y="150"/>
                    </a:cxn>
                    <a:cxn ang="0">
                      <a:pos x="356" y="154"/>
                    </a:cxn>
                    <a:cxn ang="0">
                      <a:pos x="380" y="176"/>
                    </a:cxn>
                    <a:cxn ang="0">
                      <a:pos x="394" y="194"/>
                    </a:cxn>
                    <a:cxn ang="0">
                      <a:pos x="412" y="204"/>
                    </a:cxn>
                    <a:cxn ang="0">
                      <a:pos x="416" y="212"/>
                    </a:cxn>
                    <a:cxn ang="0">
                      <a:pos x="410" y="224"/>
                    </a:cxn>
                    <a:cxn ang="0">
                      <a:pos x="398" y="238"/>
                    </a:cxn>
                    <a:cxn ang="0">
                      <a:pos x="380" y="254"/>
                    </a:cxn>
                    <a:cxn ang="0">
                      <a:pos x="368" y="254"/>
                    </a:cxn>
                    <a:cxn ang="0">
                      <a:pos x="322" y="252"/>
                    </a:cxn>
                    <a:cxn ang="0">
                      <a:pos x="310" y="256"/>
                    </a:cxn>
                    <a:cxn ang="0">
                      <a:pos x="300" y="266"/>
                    </a:cxn>
                    <a:cxn ang="0">
                      <a:pos x="286" y="280"/>
                    </a:cxn>
                    <a:cxn ang="0">
                      <a:pos x="276" y="282"/>
                    </a:cxn>
                    <a:cxn ang="0">
                      <a:pos x="270" y="280"/>
                    </a:cxn>
                    <a:cxn ang="0">
                      <a:pos x="224" y="246"/>
                    </a:cxn>
                    <a:cxn ang="0">
                      <a:pos x="222" y="244"/>
                    </a:cxn>
                    <a:cxn ang="0">
                      <a:pos x="202" y="250"/>
                    </a:cxn>
                    <a:cxn ang="0">
                      <a:pos x="182" y="264"/>
                    </a:cxn>
                    <a:cxn ang="0">
                      <a:pos x="140" y="292"/>
                    </a:cxn>
                    <a:cxn ang="0">
                      <a:pos x="122" y="300"/>
                    </a:cxn>
                    <a:cxn ang="0">
                      <a:pos x="118" y="300"/>
                    </a:cxn>
                    <a:cxn ang="0">
                      <a:pos x="70" y="292"/>
                    </a:cxn>
                    <a:cxn ang="0">
                      <a:pos x="62" y="276"/>
                    </a:cxn>
                    <a:cxn ang="0">
                      <a:pos x="54" y="256"/>
                    </a:cxn>
                    <a:cxn ang="0">
                      <a:pos x="56" y="228"/>
                    </a:cxn>
                    <a:cxn ang="0">
                      <a:pos x="54" y="202"/>
                    </a:cxn>
                    <a:cxn ang="0">
                      <a:pos x="48" y="198"/>
                    </a:cxn>
                    <a:cxn ang="0">
                      <a:pos x="20" y="192"/>
                    </a:cxn>
                    <a:cxn ang="0">
                      <a:pos x="16" y="190"/>
                    </a:cxn>
                    <a:cxn ang="0">
                      <a:pos x="4" y="178"/>
                    </a:cxn>
                    <a:cxn ang="0">
                      <a:pos x="0" y="160"/>
                    </a:cxn>
                    <a:cxn ang="0">
                      <a:pos x="2" y="150"/>
                    </a:cxn>
                    <a:cxn ang="0">
                      <a:pos x="14" y="122"/>
                    </a:cxn>
                    <a:cxn ang="0">
                      <a:pos x="24" y="110"/>
                    </a:cxn>
                    <a:cxn ang="0">
                      <a:pos x="38" y="98"/>
                    </a:cxn>
                    <a:cxn ang="0">
                      <a:pos x="68" y="58"/>
                    </a:cxn>
                    <a:cxn ang="0">
                      <a:pos x="70" y="52"/>
                    </a:cxn>
                    <a:cxn ang="0">
                      <a:pos x="130" y="0"/>
                    </a:cxn>
                    <a:cxn ang="0">
                      <a:pos x="144" y="18"/>
                    </a:cxn>
                    <a:cxn ang="0">
                      <a:pos x="152" y="18"/>
                    </a:cxn>
                    <a:cxn ang="0">
                      <a:pos x="170" y="18"/>
                    </a:cxn>
                    <a:cxn ang="0">
                      <a:pos x="226" y="20"/>
                    </a:cxn>
                    <a:cxn ang="0">
                      <a:pos x="248" y="20"/>
                    </a:cxn>
                    <a:cxn ang="0">
                      <a:pos x="284" y="22"/>
                    </a:cxn>
                    <a:cxn ang="0">
                      <a:pos x="304" y="28"/>
                    </a:cxn>
                    <a:cxn ang="0">
                      <a:pos x="308" y="32"/>
                    </a:cxn>
                    <a:cxn ang="0">
                      <a:pos x="328" y="46"/>
                    </a:cxn>
                    <a:cxn ang="0">
                      <a:pos x="350" y="52"/>
                    </a:cxn>
                  </a:cxnLst>
                  <a:rect l="0" t="0" r="r" b="b"/>
                  <a:pathLst>
                    <a:path w="416" h="300">
                      <a:moveTo>
                        <a:pt x="350" y="52"/>
                      </a:moveTo>
                      <a:lnTo>
                        <a:pt x="350" y="52"/>
                      </a:lnTo>
                      <a:lnTo>
                        <a:pt x="350" y="54"/>
                      </a:lnTo>
                      <a:lnTo>
                        <a:pt x="348" y="56"/>
                      </a:lnTo>
                      <a:lnTo>
                        <a:pt x="342" y="68"/>
                      </a:lnTo>
                      <a:lnTo>
                        <a:pt x="338" y="76"/>
                      </a:lnTo>
                      <a:lnTo>
                        <a:pt x="336" y="84"/>
                      </a:lnTo>
                      <a:lnTo>
                        <a:pt x="336" y="92"/>
                      </a:lnTo>
                      <a:lnTo>
                        <a:pt x="336" y="102"/>
                      </a:lnTo>
                      <a:lnTo>
                        <a:pt x="336" y="102"/>
                      </a:lnTo>
                      <a:lnTo>
                        <a:pt x="340" y="120"/>
                      </a:lnTo>
                      <a:lnTo>
                        <a:pt x="344" y="134"/>
                      </a:lnTo>
                      <a:lnTo>
                        <a:pt x="348" y="144"/>
                      </a:lnTo>
                      <a:lnTo>
                        <a:pt x="350" y="150"/>
                      </a:lnTo>
                      <a:lnTo>
                        <a:pt x="356" y="154"/>
                      </a:lnTo>
                      <a:lnTo>
                        <a:pt x="356" y="154"/>
                      </a:lnTo>
                      <a:lnTo>
                        <a:pt x="368" y="164"/>
                      </a:lnTo>
                      <a:lnTo>
                        <a:pt x="380" y="176"/>
                      </a:lnTo>
                      <a:lnTo>
                        <a:pt x="394" y="194"/>
                      </a:lnTo>
                      <a:lnTo>
                        <a:pt x="394" y="194"/>
                      </a:lnTo>
                      <a:lnTo>
                        <a:pt x="402" y="200"/>
                      </a:lnTo>
                      <a:lnTo>
                        <a:pt x="412" y="204"/>
                      </a:lnTo>
                      <a:lnTo>
                        <a:pt x="414" y="208"/>
                      </a:lnTo>
                      <a:lnTo>
                        <a:pt x="416" y="212"/>
                      </a:lnTo>
                      <a:lnTo>
                        <a:pt x="414" y="218"/>
                      </a:lnTo>
                      <a:lnTo>
                        <a:pt x="410" y="224"/>
                      </a:lnTo>
                      <a:lnTo>
                        <a:pt x="410" y="224"/>
                      </a:lnTo>
                      <a:lnTo>
                        <a:pt x="398" y="238"/>
                      </a:lnTo>
                      <a:lnTo>
                        <a:pt x="390" y="248"/>
                      </a:lnTo>
                      <a:lnTo>
                        <a:pt x="380" y="254"/>
                      </a:lnTo>
                      <a:lnTo>
                        <a:pt x="368" y="254"/>
                      </a:lnTo>
                      <a:lnTo>
                        <a:pt x="368" y="254"/>
                      </a:lnTo>
                      <a:lnTo>
                        <a:pt x="336" y="252"/>
                      </a:lnTo>
                      <a:lnTo>
                        <a:pt x="322" y="252"/>
                      </a:lnTo>
                      <a:lnTo>
                        <a:pt x="316" y="254"/>
                      </a:lnTo>
                      <a:lnTo>
                        <a:pt x="310" y="256"/>
                      </a:lnTo>
                      <a:lnTo>
                        <a:pt x="310" y="256"/>
                      </a:lnTo>
                      <a:lnTo>
                        <a:pt x="300" y="266"/>
                      </a:lnTo>
                      <a:lnTo>
                        <a:pt x="290" y="276"/>
                      </a:lnTo>
                      <a:lnTo>
                        <a:pt x="286" y="280"/>
                      </a:lnTo>
                      <a:lnTo>
                        <a:pt x="280" y="282"/>
                      </a:lnTo>
                      <a:lnTo>
                        <a:pt x="276" y="282"/>
                      </a:lnTo>
                      <a:lnTo>
                        <a:pt x="270" y="280"/>
                      </a:lnTo>
                      <a:lnTo>
                        <a:pt x="270" y="280"/>
                      </a:lnTo>
                      <a:lnTo>
                        <a:pt x="242" y="260"/>
                      </a:lnTo>
                      <a:lnTo>
                        <a:pt x="224" y="246"/>
                      </a:lnTo>
                      <a:lnTo>
                        <a:pt x="224" y="246"/>
                      </a:lnTo>
                      <a:lnTo>
                        <a:pt x="222" y="244"/>
                      </a:lnTo>
                      <a:lnTo>
                        <a:pt x="214" y="244"/>
                      </a:lnTo>
                      <a:lnTo>
                        <a:pt x="202" y="250"/>
                      </a:lnTo>
                      <a:lnTo>
                        <a:pt x="182" y="264"/>
                      </a:lnTo>
                      <a:lnTo>
                        <a:pt x="182" y="264"/>
                      </a:lnTo>
                      <a:lnTo>
                        <a:pt x="160" y="280"/>
                      </a:lnTo>
                      <a:lnTo>
                        <a:pt x="140" y="292"/>
                      </a:lnTo>
                      <a:lnTo>
                        <a:pt x="126" y="298"/>
                      </a:lnTo>
                      <a:lnTo>
                        <a:pt x="122" y="300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90" y="294"/>
                      </a:lnTo>
                      <a:lnTo>
                        <a:pt x="70" y="292"/>
                      </a:lnTo>
                      <a:lnTo>
                        <a:pt x="70" y="292"/>
                      </a:lnTo>
                      <a:lnTo>
                        <a:pt x="62" y="276"/>
                      </a:lnTo>
                      <a:lnTo>
                        <a:pt x="56" y="264"/>
                      </a:lnTo>
                      <a:lnTo>
                        <a:pt x="54" y="256"/>
                      </a:lnTo>
                      <a:lnTo>
                        <a:pt x="54" y="256"/>
                      </a:lnTo>
                      <a:lnTo>
                        <a:pt x="56" y="228"/>
                      </a:lnTo>
                      <a:lnTo>
                        <a:pt x="56" y="212"/>
                      </a:lnTo>
                      <a:lnTo>
                        <a:pt x="54" y="202"/>
                      </a:lnTo>
                      <a:lnTo>
                        <a:pt x="54" y="202"/>
                      </a:lnTo>
                      <a:lnTo>
                        <a:pt x="48" y="198"/>
                      </a:lnTo>
                      <a:lnTo>
                        <a:pt x="40" y="196"/>
                      </a:lnTo>
                      <a:lnTo>
                        <a:pt x="20" y="192"/>
                      </a:lnTo>
                      <a:lnTo>
                        <a:pt x="20" y="192"/>
                      </a:lnTo>
                      <a:lnTo>
                        <a:pt x="16" y="190"/>
                      </a:lnTo>
                      <a:lnTo>
                        <a:pt x="12" y="186"/>
                      </a:lnTo>
                      <a:lnTo>
                        <a:pt x="4" y="178"/>
                      </a:lnTo>
                      <a:lnTo>
                        <a:pt x="0" y="168"/>
                      </a:lnTo>
                      <a:lnTo>
                        <a:pt x="0" y="160"/>
                      </a:lnTo>
                      <a:lnTo>
                        <a:pt x="0" y="160"/>
                      </a:lnTo>
                      <a:lnTo>
                        <a:pt x="2" y="150"/>
                      </a:lnTo>
                      <a:lnTo>
                        <a:pt x="6" y="136"/>
                      </a:lnTo>
                      <a:lnTo>
                        <a:pt x="14" y="122"/>
                      </a:lnTo>
                      <a:lnTo>
                        <a:pt x="20" y="116"/>
                      </a:lnTo>
                      <a:lnTo>
                        <a:pt x="24" y="110"/>
                      </a:lnTo>
                      <a:lnTo>
                        <a:pt x="24" y="110"/>
                      </a:lnTo>
                      <a:lnTo>
                        <a:pt x="38" y="98"/>
                      </a:lnTo>
                      <a:lnTo>
                        <a:pt x="50" y="82"/>
                      </a:lnTo>
                      <a:lnTo>
                        <a:pt x="68" y="58"/>
                      </a:lnTo>
                      <a:lnTo>
                        <a:pt x="68" y="58"/>
                      </a:lnTo>
                      <a:lnTo>
                        <a:pt x="70" y="52"/>
                      </a:lnTo>
                      <a:lnTo>
                        <a:pt x="130" y="0"/>
                      </a:lnTo>
                      <a:lnTo>
                        <a:pt x="130" y="0"/>
                      </a:lnTo>
                      <a:lnTo>
                        <a:pt x="136" y="10"/>
                      </a:lnTo>
                      <a:lnTo>
                        <a:pt x="144" y="18"/>
                      </a:lnTo>
                      <a:lnTo>
                        <a:pt x="148" y="18"/>
                      </a:lnTo>
                      <a:lnTo>
                        <a:pt x="152" y="18"/>
                      </a:lnTo>
                      <a:lnTo>
                        <a:pt x="152" y="18"/>
                      </a:lnTo>
                      <a:lnTo>
                        <a:pt x="170" y="18"/>
                      </a:lnTo>
                      <a:lnTo>
                        <a:pt x="196" y="18"/>
                      </a:lnTo>
                      <a:lnTo>
                        <a:pt x="226" y="20"/>
                      </a:lnTo>
                      <a:lnTo>
                        <a:pt x="248" y="20"/>
                      </a:lnTo>
                      <a:lnTo>
                        <a:pt x="248" y="20"/>
                      </a:lnTo>
                      <a:lnTo>
                        <a:pt x="266" y="20"/>
                      </a:lnTo>
                      <a:lnTo>
                        <a:pt x="284" y="22"/>
                      </a:lnTo>
                      <a:lnTo>
                        <a:pt x="300" y="26"/>
                      </a:lnTo>
                      <a:lnTo>
                        <a:pt x="304" y="28"/>
                      </a:lnTo>
                      <a:lnTo>
                        <a:pt x="308" y="32"/>
                      </a:lnTo>
                      <a:lnTo>
                        <a:pt x="308" y="32"/>
                      </a:lnTo>
                      <a:lnTo>
                        <a:pt x="318" y="40"/>
                      </a:lnTo>
                      <a:lnTo>
                        <a:pt x="328" y="46"/>
                      </a:lnTo>
                      <a:lnTo>
                        <a:pt x="340" y="50"/>
                      </a:lnTo>
                      <a:lnTo>
                        <a:pt x="350" y="52"/>
                      </a:lnTo>
                      <a:lnTo>
                        <a:pt x="350" y="5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3" name="Freeform 57">
                  <a:extLst>
                    <a:ext uri="{FF2B5EF4-FFF2-40B4-BE49-F238E27FC236}">
                      <a16:creationId xmlns:a16="http://schemas.microsoft.com/office/drawing/2014/main" id="{B6CAEA98-CD5A-4F90-9161-6A93F85D79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5943" y="4605855"/>
                  <a:ext cx="591414" cy="318571"/>
                </a:xfrm>
                <a:custGeom>
                  <a:avLst/>
                  <a:gdLst/>
                  <a:ahLst/>
                  <a:cxnLst>
                    <a:cxn ang="0">
                      <a:pos x="654" y="396"/>
                    </a:cxn>
                    <a:cxn ang="0">
                      <a:pos x="596" y="404"/>
                    </a:cxn>
                    <a:cxn ang="0">
                      <a:pos x="516" y="414"/>
                    </a:cxn>
                    <a:cxn ang="0">
                      <a:pos x="424" y="414"/>
                    </a:cxn>
                    <a:cxn ang="0">
                      <a:pos x="356" y="380"/>
                    </a:cxn>
                    <a:cxn ang="0">
                      <a:pos x="310" y="372"/>
                    </a:cxn>
                    <a:cxn ang="0">
                      <a:pos x="286" y="364"/>
                    </a:cxn>
                    <a:cxn ang="0">
                      <a:pos x="270" y="326"/>
                    </a:cxn>
                    <a:cxn ang="0">
                      <a:pos x="256" y="308"/>
                    </a:cxn>
                    <a:cxn ang="0">
                      <a:pos x="186" y="310"/>
                    </a:cxn>
                    <a:cxn ang="0">
                      <a:pos x="142" y="330"/>
                    </a:cxn>
                    <a:cxn ang="0">
                      <a:pos x="108" y="340"/>
                    </a:cxn>
                    <a:cxn ang="0">
                      <a:pos x="72" y="330"/>
                    </a:cxn>
                    <a:cxn ang="0">
                      <a:pos x="52" y="314"/>
                    </a:cxn>
                    <a:cxn ang="0">
                      <a:pos x="16" y="280"/>
                    </a:cxn>
                    <a:cxn ang="0">
                      <a:pos x="4" y="238"/>
                    </a:cxn>
                    <a:cxn ang="0">
                      <a:pos x="0" y="220"/>
                    </a:cxn>
                    <a:cxn ang="0">
                      <a:pos x="64" y="208"/>
                    </a:cxn>
                    <a:cxn ang="0">
                      <a:pos x="108" y="212"/>
                    </a:cxn>
                    <a:cxn ang="0">
                      <a:pos x="154" y="222"/>
                    </a:cxn>
                    <a:cxn ang="0">
                      <a:pos x="190" y="224"/>
                    </a:cxn>
                    <a:cxn ang="0">
                      <a:pos x="200" y="204"/>
                    </a:cxn>
                    <a:cxn ang="0">
                      <a:pos x="230" y="196"/>
                    </a:cxn>
                    <a:cxn ang="0">
                      <a:pos x="258" y="198"/>
                    </a:cxn>
                    <a:cxn ang="0">
                      <a:pos x="302" y="226"/>
                    </a:cxn>
                    <a:cxn ang="0">
                      <a:pos x="334" y="222"/>
                    </a:cxn>
                    <a:cxn ang="0">
                      <a:pos x="350" y="188"/>
                    </a:cxn>
                    <a:cxn ang="0">
                      <a:pos x="338" y="150"/>
                    </a:cxn>
                    <a:cxn ang="0">
                      <a:pos x="342" y="126"/>
                    </a:cxn>
                    <a:cxn ang="0">
                      <a:pos x="376" y="102"/>
                    </a:cxn>
                    <a:cxn ang="0">
                      <a:pos x="430" y="62"/>
                    </a:cxn>
                    <a:cxn ang="0">
                      <a:pos x="452" y="64"/>
                    </a:cxn>
                    <a:cxn ang="0">
                      <a:pos x="474" y="68"/>
                    </a:cxn>
                    <a:cxn ang="0">
                      <a:pos x="528" y="46"/>
                    </a:cxn>
                    <a:cxn ang="0">
                      <a:pos x="564" y="4"/>
                    </a:cxn>
                    <a:cxn ang="0">
                      <a:pos x="580" y="0"/>
                    </a:cxn>
                    <a:cxn ang="0">
                      <a:pos x="638" y="34"/>
                    </a:cxn>
                    <a:cxn ang="0">
                      <a:pos x="684" y="64"/>
                    </a:cxn>
                    <a:cxn ang="0">
                      <a:pos x="728" y="60"/>
                    </a:cxn>
                    <a:cxn ang="0">
                      <a:pos x="742" y="98"/>
                    </a:cxn>
                    <a:cxn ang="0">
                      <a:pos x="746" y="128"/>
                    </a:cxn>
                    <a:cxn ang="0">
                      <a:pos x="756" y="170"/>
                    </a:cxn>
                    <a:cxn ang="0">
                      <a:pos x="766" y="212"/>
                    </a:cxn>
                    <a:cxn ang="0">
                      <a:pos x="736" y="234"/>
                    </a:cxn>
                    <a:cxn ang="0">
                      <a:pos x="706" y="248"/>
                    </a:cxn>
                    <a:cxn ang="0">
                      <a:pos x="714" y="282"/>
                    </a:cxn>
                    <a:cxn ang="0">
                      <a:pos x="706" y="306"/>
                    </a:cxn>
                    <a:cxn ang="0">
                      <a:pos x="690" y="388"/>
                    </a:cxn>
                  </a:cxnLst>
                  <a:rect l="0" t="0" r="r" b="b"/>
                  <a:pathLst>
                    <a:path w="776" h="418">
                      <a:moveTo>
                        <a:pt x="690" y="388"/>
                      </a:moveTo>
                      <a:lnTo>
                        <a:pt x="690" y="388"/>
                      </a:lnTo>
                      <a:lnTo>
                        <a:pt x="670" y="394"/>
                      </a:lnTo>
                      <a:lnTo>
                        <a:pt x="654" y="396"/>
                      </a:lnTo>
                      <a:lnTo>
                        <a:pt x="638" y="398"/>
                      </a:lnTo>
                      <a:lnTo>
                        <a:pt x="638" y="398"/>
                      </a:lnTo>
                      <a:lnTo>
                        <a:pt x="620" y="400"/>
                      </a:lnTo>
                      <a:lnTo>
                        <a:pt x="596" y="404"/>
                      </a:lnTo>
                      <a:lnTo>
                        <a:pt x="572" y="410"/>
                      </a:lnTo>
                      <a:lnTo>
                        <a:pt x="552" y="412"/>
                      </a:lnTo>
                      <a:lnTo>
                        <a:pt x="552" y="412"/>
                      </a:lnTo>
                      <a:lnTo>
                        <a:pt x="516" y="414"/>
                      </a:lnTo>
                      <a:lnTo>
                        <a:pt x="464" y="418"/>
                      </a:lnTo>
                      <a:lnTo>
                        <a:pt x="464" y="418"/>
                      </a:lnTo>
                      <a:lnTo>
                        <a:pt x="440" y="418"/>
                      </a:lnTo>
                      <a:lnTo>
                        <a:pt x="424" y="414"/>
                      </a:lnTo>
                      <a:lnTo>
                        <a:pt x="410" y="408"/>
                      </a:lnTo>
                      <a:lnTo>
                        <a:pt x="390" y="398"/>
                      </a:lnTo>
                      <a:lnTo>
                        <a:pt x="390" y="398"/>
                      </a:lnTo>
                      <a:lnTo>
                        <a:pt x="356" y="380"/>
                      </a:lnTo>
                      <a:lnTo>
                        <a:pt x="342" y="376"/>
                      </a:lnTo>
                      <a:lnTo>
                        <a:pt x="324" y="372"/>
                      </a:lnTo>
                      <a:lnTo>
                        <a:pt x="324" y="372"/>
                      </a:lnTo>
                      <a:lnTo>
                        <a:pt x="310" y="372"/>
                      </a:lnTo>
                      <a:lnTo>
                        <a:pt x="300" y="372"/>
                      </a:lnTo>
                      <a:lnTo>
                        <a:pt x="296" y="372"/>
                      </a:lnTo>
                      <a:lnTo>
                        <a:pt x="290" y="370"/>
                      </a:lnTo>
                      <a:lnTo>
                        <a:pt x="286" y="364"/>
                      </a:lnTo>
                      <a:lnTo>
                        <a:pt x="282" y="358"/>
                      </a:lnTo>
                      <a:lnTo>
                        <a:pt x="282" y="358"/>
                      </a:lnTo>
                      <a:lnTo>
                        <a:pt x="274" y="340"/>
                      </a:lnTo>
                      <a:lnTo>
                        <a:pt x="270" y="326"/>
                      </a:lnTo>
                      <a:lnTo>
                        <a:pt x="264" y="316"/>
                      </a:lnTo>
                      <a:lnTo>
                        <a:pt x="260" y="312"/>
                      </a:lnTo>
                      <a:lnTo>
                        <a:pt x="256" y="308"/>
                      </a:lnTo>
                      <a:lnTo>
                        <a:pt x="256" y="308"/>
                      </a:lnTo>
                      <a:lnTo>
                        <a:pt x="248" y="306"/>
                      </a:lnTo>
                      <a:lnTo>
                        <a:pt x="238" y="304"/>
                      </a:lnTo>
                      <a:lnTo>
                        <a:pt x="214" y="304"/>
                      </a:lnTo>
                      <a:lnTo>
                        <a:pt x="186" y="310"/>
                      </a:lnTo>
                      <a:lnTo>
                        <a:pt x="174" y="314"/>
                      </a:lnTo>
                      <a:lnTo>
                        <a:pt x="162" y="320"/>
                      </a:lnTo>
                      <a:lnTo>
                        <a:pt x="162" y="320"/>
                      </a:lnTo>
                      <a:lnTo>
                        <a:pt x="142" y="330"/>
                      </a:lnTo>
                      <a:lnTo>
                        <a:pt x="128" y="336"/>
                      </a:lnTo>
                      <a:lnTo>
                        <a:pt x="118" y="340"/>
                      </a:lnTo>
                      <a:lnTo>
                        <a:pt x="108" y="340"/>
                      </a:lnTo>
                      <a:lnTo>
                        <a:pt x="108" y="340"/>
                      </a:lnTo>
                      <a:lnTo>
                        <a:pt x="96" y="338"/>
                      </a:lnTo>
                      <a:lnTo>
                        <a:pt x="84" y="334"/>
                      </a:lnTo>
                      <a:lnTo>
                        <a:pt x="72" y="330"/>
                      </a:lnTo>
                      <a:lnTo>
                        <a:pt x="72" y="330"/>
                      </a:lnTo>
                      <a:lnTo>
                        <a:pt x="66" y="326"/>
                      </a:lnTo>
                      <a:lnTo>
                        <a:pt x="58" y="320"/>
                      </a:lnTo>
                      <a:lnTo>
                        <a:pt x="52" y="314"/>
                      </a:lnTo>
                      <a:lnTo>
                        <a:pt x="52" y="314"/>
                      </a:lnTo>
                      <a:lnTo>
                        <a:pt x="38" y="300"/>
                      </a:lnTo>
                      <a:lnTo>
                        <a:pt x="24" y="288"/>
                      </a:lnTo>
                      <a:lnTo>
                        <a:pt x="24" y="288"/>
                      </a:lnTo>
                      <a:lnTo>
                        <a:pt x="16" y="280"/>
                      </a:lnTo>
                      <a:lnTo>
                        <a:pt x="10" y="276"/>
                      </a:lnTo>
                      <a:lnTo>
                        <a:pt x="10" y="276"/>
                      </a:lnTo>
                      <a:lnTo>
                        <a:pt x="6" y="254"/>
                      </a:lnTo>
                      <a:lnTo>
                        <a:pt x="4" y="238"/>
                      </a:lnTo>
                      <a:lnTo>
                        <a:pt x="0" y="230"/>
                      </a:lnTo>
                      <a:lnTo>
                        <a:pt x="0" y="230"/>
                      </a:lnTo>
                      <a:lnTo>
                        <a:pt x="0" y="226"/>
                      </a:lnTo>
                      <a:lnTo>
                        <a:pt x="0" y="220"/>
                      </a:lnTo>
                      <a:lnTo>
                        <a:pt x="4" y="204"/>
                      </a:lnTo>
                      <a:lnTo>
                        <a:pt x="12" y="182"/>
                      </a:lnTo>
                      <a:lnTo>
                        <a:pt x="12" y="182"/>
                      </a:lnTo>
                      <a:lnTo>
                        <a:pt x="64" y="208"/>
                      </a:lnTo>
                      <a:lnTo>
                        <a:pt x="64" y="208"/>
                      </a:lnTo>
                      <a:lnTo>
                        <a:pt x="74" y="212"/>
                      </a:lnTo>
                      <a:lnTo>
                        <a:pt x="92" y="212"/>
                      </a:lnTo>
                      <a:lnTo>
                        <a:pt x="108" y="212"/>
                      </a:lnTo>
                      <a:lnTo>
                        <a:pt x="118" y="214"/>
                      </a:lnTo>
                      <a:lnTo>
                        <a:pt x="118" y="214"/>
                      </a:lnTo>
                      <a:lnTo>
                        <a:pt x="132" y="218"/>
                      </a:lnTo>
                      <a:lnTo>
                        <a:pt x="154" y="222"/>
                      </a:lnTo>
                      <a:lnTo>
                        <a:pt x="176" y="226"/>
                      </a:lnTo>
                      <a:lnTo>
                        <a:pt x="184" y="226"/>
                      </a:lnTo>
                      <a:lnTo>
                        <a:pt x="190" y="224"/>
                      </a:lnTo>
                      <a:lnTo>
                        <a:pt x="190" y="224"/>
                      </a:lnTo>
                      <a:lnTo>
                        <a:pt x="192" y="222"/>
                      </a:lnTo>
                      <a:lnTo>
                        <a:pt x="194" y="218"/>
                      </a:lnTo>
                      <a:lnTo>
                        <a:pt x="198" y="210"/>
                      </a:lnTo>
                      <a:lnTo>
                        <a:pt x="200" y="204"/>
                      </a:lnTo>
                      <a:lnTo>
                        <a:pt x="202" y="202"/>
                      </a:lnTo>
                      <a:lnTo>
                        <a:pt x="206" y="200"/>
                      </a:lnTo>
                      <a:lnTo>
                        <a:pt x="206" y="200"/>
                      </a:lnTo>
                      <a:lnTo>
                        <a:pt x="230" y="196"/>
                      </a:lnTo>
                      <a:lnTo>
                        <a:pt x="246" y="194"/>
                      </a:lnTo>
                      <a:lnTo>
                        <a:pt x="252" y="196"/>
                      </a:lnTo>
                      <a:lnTo>
                        <a:pt x="258" y="198"/>
                      </a:lnTo>
                      <a:lnTo>
                        <a:pt x="258" y="198"/>
                      </a:lnTo>
                      <a:lnTo>
                        <a:pt x="268" y="206"/>
                      </a:lnTo>
                      <a:lnTo>
                        <a:pt x="282" y="216"/>
                      </a:lnTo>
                      <a:lnTo>
                        <a:pt x="296" y="224"/>
                      </a:lnTo>
                      <a:lnTo>
                        <a:pt x="302" y="226"/>
                      </a:lnTo>
                      <a:lnTo>
                        <a:pt x="308" y="228"/>
                      </a:lnTo>
                      <a:lnTo>
                        <a:pt x="308" y="228"/>
                      </a:lnTo>
                      <a:lnTo>
                        <a:pt x="320" y="226"/>
                      </a:lnTo>
                      <a:lnTo>
                        <a:pt x="334" y="222"/>
                      </a:lnTo>
                      <a:lnTo>
                        <a:pt x="350" y="216"/>
                      </a:lnTo>
                      <a:lnTo>
                        <a:pt x="350" y="216"/>
                      </a:lnTo>
                      <a:lnTo>
                        <a:pt x="350" y="200"/>
                      </a:lnTo>
                      <a:lnTo>
                        <a:pt x="350" y="188"/>
                      </a:lnTo>
                      <a:lnTo>
                        <a:pt x="348" y="176"/>
                      </a:lnTo>
                      <a:lnTo>
                        <a:pt x="348" y="176"/>
                      </a:lnTo>
                      <a:lnTo>
                        <a:pt x="344" y="164"/>
                      </a:lnTo>
                      <a:lnTo>
                        <a:pt x="338" y="150"/>
                      </a:lnTo>
                      <a:lnTo>
                        <a:pt x="336" y="144"/>
                      </a:lnTo>
                      <a:lnTo>
                        <a:pt x="336" y="138"/>
                      </a:lnTo>
                      <a:lnTo>
                        <a:pt x="338" y="132"/>
                      </a:lnTo>
                      <a:lnTo>
                        <a:pt x="342" y="126"/>
                      </a:lnTo>
                      <a:lnTo>
                        <a:pt x="342" y="126"/>
                      </a:lnTo>
                      <a:lnTo>
                        <a:pt x="348" y="120"/>
                      </a:lnTo>
                      <a:lnTo>
                        <a:pt x="356" y="114"/>
                      </a:lnTo>
                      <a:lnTo>
                        <a:pt x="376" y="102"/>
                      </a:lnTo>
                      <a:lnTo>
                        <a:pt x="396" y="92"/>
                      </a:lnTo>
                      <a:lnTo>
                        <a:pt x="410" y="84"/>
                      </a:lnTo>
                      <a:lnTo>
                        <a:pt x="410" y="84"/>
                      </a:lnTo>
                      <a:lnTo>
                        <a:pt x="430" y="62"/>
                      </a:lnTo>
                      <a:lnTo>
                        <a:pt x="442" y="46"/>
                      </a:lnTo>
                      <a:lnTo>
                        <a:pt x="442" y="46"/>
                      </a:lnTo>
                      <a:lnTo>
                        <a:pt x="446" y="56"/>
                      </a:lnTo>
                      <a:lnTo>
                        <a:pt x="452" y="64"/>
                      </a:lnTo>
                      <a:lnTo>
                        <a:pt x="456" y="66"/>
                      </a:lnTo>
                      <a:lnTo>
                        <a:pt x="460" y="68"/>
                      </a:lnTo>
                      <a:lnTo>
                        <a:pt x="460" y="68"/>
                      </a:lnTo>
                      <a:lnTo>
                        <a:pt x="474" y="68"/>
                      </a:lnTo>
                      <a:lnTo>
                        <a:pt x="494" y="64"/>
                      </a:lnTo>
                      <a:lnTo>
                        <a:pt x="514" y="56"/>
                      </a:lnTo>
                      <a:lnTo>
                        <a:pt x="522" y="52"/>
                      </a:lnTo>
                      <a:lnTo>
                        <a:pt x="528" y="46"/>
                      </a:lnTo>
                      <a:lnTo>
                        <a:pt x="528" y="46"/>
                      </a:lnTo>
                      <a:lnTo>
                        <a:pt x="548" y="20"/>
                      </a:lnTo>
                      <a:lnTo>
                        <a:pt x="558" y="8"/>
                      </a:lnTo>
                      <a:lnTo>
                        <a:pt x="564" y="4"/>
                      </a:lnTo>
                      <a:lnTo>
                        <a:pt x="570" y="0"/>
                      </a:lnTo>
                      <a:lnTo>
                        <a:pt x="570" y="0"/>
                      </a:lnTo>
                      <a:lnTo>
                        <a:pt x="574" y="0"/>
                      </a:lnTo>
                      <a:lnTo>
                        <a:pt x="580" y="0"/>
                      </a:lnTo>
                      <a:lnTo>
                        <a:pt x="590" y="4"/>
                      </a:lnTo>
                      <a:lnTo>
                        <a:pt x="612" y="18"/>
                      </a:lnTo>
                      <a:lnTo>
                        <a:pt x="612" y="18"/>
                      </a:lnTo>
                      <a:lnTo>
                        <a:pt x="638" y="34"/>
                      </a:lnTo>
                      <a:lnTo>
                        <a:pt x="664" y="52"/>
                      </a:lnTo>
                      <a:lnTo>
                        <a:pt x="664" y="52"/>
                      </a:lnTo>
                      <a:lnTo>
                        <a:pt x="674" y="58"/>
                      </a:lnTo>
                      <a:lnTo>
                        <a:pt x="684" y="64"/>
                      </a:lnTo>
                      <a:lnTo>
                        <a:pt x="694" y="68"/>
                      </a:lnTo>
                      <a:lnTo>
                        <a:pt x="702" y="66"/>
                      </a:lnTo>
                      <a:lnTo>
                        <a:pt x="702" y="66"/>
                      </a:lnTo>
                      <a:lnTo>
                        <a:pt x="728" y="60"/>
                      </a:lnTo>
                      <a:lnTo>
                        <a:pt x="748" y="54"/>
                      </a:lnTo>
                      <a:lnTo>
                        <a:pt x="748" y="54"/>
                      </a:lnTo>
                      <a:lnTo>
                        <a:pt x="744" y="78"/>
                      </a:lnTo>
                      <a:lnTo>
                        <a:pt x="742" y="98"/>
                      </a:lnTo>
                      <a:lnTo>
                        <a:pt x="742" y="106"/>
                      </a:lnTo>
                      <a:lnTo>
                        <a:pt x="744" y="112"/>
                      </a:lnTo>
                      <a:lnTo>
                        <a:pt x="744" y="112"/>
                      </a:lnTo>
                      <a:lnTo>
                        <a:pt x="746" y="128"/>
                      </a:lnTo>
                      <a:lnTo>
                        <a:pt x="748" y="146"/>
                      </a:lnTo>
                      <a:lnTo>
                        <a:pt x="750" y="162"/>
                      </a:lnTo>
                      <a:lnTo>
                        <a:pt x="752" y="168"/>
                      </a:lnTo>
                      <a:lnTo>
                        <a:pt x="756" y="170"/>
                      </a:lnTo>
                      <a:lnTo>
                        <a:pt x="756" y="170"/>
                      </a:lnTo>
                      <a:lnTo>
                        <a:pt x="768" y="180"/>
                      </a:lnTo>
                      <a:lnTo>
                        <a:pt x="776" y="186"/>
                      </a:lnTo>
                      <a:lnTo>
                        <a:pt x="766" y="212"/>
                      </a:lnTo>
                      <a:lnTo>
                        <a:pt x="766" y="212"/>
                      </a:lnTo>
                      <a:lnTo>
                        <a:pt x="758" y="218"/>
                      </a:lnTo>
                      <a:lnTo>
                        <a:pt x="750" y="226"/>
                      </a:lnTo>
                      <a:lnTo>
                        <a:pt x="736" y="234"/>
                      </a:lnTo>
                      <a:lnTo>
                        <a:pt x="736" y="234"/>
                      </a:lnTo>
                      <a:lnTo>
                        <a:pt x="712" y="244"/>
                      </a:lnTo>
                      <a:lnTo>
                        <a:pt x="708" y="246"/>
                      </a:lnTo>
                      <a:lnTo>
                        <a:pt x="706" y="248"/>
                      </a:lnTo>
                      <a:lnTo>
                        <a:pt x="708" y="252"/>
                      </a:lnTo>
                      <a:lnTo>
                        <a:pt x="708" y="252"/>
                      </a:lnTo>
                      <a:lnTo>
                        <a:pt x="714" y="270"/>
                      </a:lnTo>
                      <a:lnTo>
                        <a:pt x="714" y="282"/>
                      </a:lnTo>
                      <a:lnTo>
                        <a:pt x="714" y="286"/>
                      </a:lnTo>
                      <a:lnTo>
                        <a:pt x="712" y="292"/>
                      </a:lnTo>
                      <a:lnTo>
                        <a:pt x="712" y="292"/>
                      </a:lnTo>
                      <a:lnTo>
                        <a:pt x="706" y="306"/>
                      </a:lnTo>
                      <a:lnTo>
                        <a:pt x="702" y="322"/>
                      </a:lnTo>
                      <a:lnTo>
                        <a:pt x="696" y="350"/>
                      </a:lnTo>
                      <a:lnTo>
                        <a:pt x="696" y="350"/>
                      </a:lnTo>
                      <a:lnTo>
                        <a:pt x="690" y="388"/>
                      </a:lnTo>
                      <a:lnTo>
                        <a:pt x="690" y="38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4" name="Freeform 58">
                  <a:extLst>
                    <a:ext uri="{FF2B5EF4-FFF2-40B4-BE49-F238E27FC236}">
                      <a16:creationId xmlns:a16="http://schemas.microsoft.com/office/drawing/2014/main" id="{B00F44D6-3028-4E23-9D18-CCC0AE4FF0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6450" y="4837543"/>
                  <a:ext cx="1009061" cy="1149294"/>
                </a:xfrm>
                <a:custGeom>
                  <a:avLst/>
                  <a:gdLst/>
                  <a:ahLst/>
                  <a:cxnLst>
                    <a:cxn ang="0">
                      <a:pos x="1088" y="1196"/>
                    </a:cxn>
                    <a:cxn ang="0">
                      <a:pos x="1150" y="1246"/>
                    </a:cxn>
                    <a:cxn ang="0">
                      <a:pos x="1178" y="1292"/>
                    </a:cxn>
                    <a:cxn ang="0">
                      <a:pos x="1118" y="1384"/>
                    </a:cxn>
                    <a:cxn ang="0">
                      <a:pos x="1092" y="1444"/>
                    </a:cxn>
                    <a:cxn ang="0">
                      <a:pos x="1076" y="1496"/>
                    </a:cxn>
                    <a:cxn ang="0">
                      <a:pos x="1032" y="1492"/>
                    </a:cxn>
                    <a:cxn ang="0">
                      <a:pos x="1018" y="1442"/>
                    </a:cxn>
                    <a:cxn ang="0">
                      <a:pos x="1054" y="1366"/>
                    </a:cxn>
                    <a:cxn ang="0">
                      <a:pos x="1026" y="1212"/>
                    </a:cxn>
                    <a:cxn ang="0">
                      <a:pos x="942" y="1132"/>
                    </a:cxn>
                    <a:cxn ang="0">
                      <a:pos x="906" y="1110"/>
                    </a:cxn>
                    <a:cxn ang="0">
                      <a:pos x="870" y="1056"/>
                    </a:cxn>
                    <a:cxn ang="0">
                      <a:pos x="792" y="1018"/>
                    </a:cxn>
                    <a:cxn ang="0">
                      <a:pos x="734" y="944"/>
                    </a:cxn>
                    <a:cxn ang="0">
                      <a:pos x="648" y="914"/>
                    </a:cxn>
                    <a:cxn ang="0">
                      <a:pos x="522" y="790"/>
                    </a:cxn>
                    <a:cxn ang="0">
                      <a:pos x="450" y="692"/>
                    </a:cxn>
                    <a:cxn ang="0">
                      <a:pos x="376" y="620"/>
                    </a:cxn>
                    <a:cxn ang="0">
                      <a:pos x="354" y="498"/>
                    </a:cxn>
                    <a:cxn ang="0">
                      <a:pos x="260" y="406"/>
                    </a:cxn>
                    <a:cxn ang="0">
                      <a:pos x="174" y="382"/>
                    </a:cxn>
                    <a:cxn ang="0">
                      <a:pos x="108" y="444"/>
                    </a:cxn>
                    <a:cxn ang="0">
                      <a:pos x="58" y="448"/>
                    </a:cxn>
                    <a:cxn ang="0">
                      <a:pos x="12" y="382"/>
                    </a:cxn>
                    <a:cxn ang="0">
                      <a:pos x="0" y="292"/>
                    </a:cxn>
                    <a:cxn ang="0">
                      <a:pos x="2" y="228"/>
                    </a:cxn>
                    <a:cxn ang="0">
                      <a:pos x="18" y="178"/>
                    </a:cxn>
                    <a:cxn ang="0">
                      <a:pos x="86" y="116"/>
                    </a:cxn>
                    <a:cxn ang="0">
                      <a:pos x="182" y="78"/>
                    </a:cxn>
                    <a:cxn ang="0">
                      <a:pos x="238" y="104"/>
                    </a:cxn>
                    <a:cxn ang="0">
                      <a:pos x="284" y="74"/>
                    </a:cxn>
                    <a:cxn ang="0">
                      <a:pos x="350" y="64"/>
                    </a:cxn>
                    <a:cxn ang="0">
                      <a:pos x="368" y="34"/>
                    </a:cxn>
                    <a:cxn ang="0">
                      <a:pos x="440" y="20"/>
                    </a:cxn>
                    <a:cxn ang="0">
                      <a:pos x="544" y="4"/>
                    </a:cxn>
                    <a:cxn ang="0">
                      <a:pos x="578" y="64"/>
                    </a:cxn>
                    <a:cxn ang="0">
                      <a:pos x="656" y="80"/>
                    </a:cxn>
                    <a:cxn ang="0">
                      <a:pos x="692" y="116"/>
                    </a:cxn>
                    <a:cxn ang="0">
                      <a:pos x="690" y="192"/>
                    </a:cxn>
                    <a:cxn ang="0">
                      <a:pos x="644" y="234"/>
                    </a:cxn>
                    <a:cxn ang="0">
                      <a:pos x="542" y="292"/>
                    </a:cxn>
                    <a:cxn ang="0">
                      <a:pos x="546" y="334"/>
                    </a:cxn>
                    <a:cxn ang="0">
                      <a:pos x="566" y="414"/>
                    </a:cxn>
                    <a:cxn ang="0">
                      <a:pos x="588" y="488"/>
                    </a:cxn>
                    <a:cxn ang="0">
                      <a:pos x="712" y="578"/>
                    </a:cxn>
                    <a:cxn ang="0">
                      <a:pos x="748" y="662"/>
                    </a:cxn>
                    <a:cxn ang="0">
                      <a:pos x="794" y="772"/>
                    </a:cxn>
                    <a:cxn ang="0">
                      <a:pos x="916" y="856"/>
                    </a:cxn>
                    <a:cxn ang="0">
                      <a:pos x="1006" y="856"/>
                    </a:cxn>
                    <a:cxn ang="0">
                      <a:pos x="1016" y="884"/>
                    </a:cxn>
                    <a:cxn ang="0">
                      <a:pos x="984" y="916"/>
                    </a:cxn>
                    <a:cxn ang="0">
                      <a:pos x="1090" y="966"/>
                    </a:cxn>
                    <a:cxn ang="0">
                      <a:pos x="1296" y="1096"/>
                    </a:cxn>
                    <a:cxn ang="0">
                      <a:pos x="1324" y="1162"/>
                    </a:cxn>
                    <a:cxn ang="0">
                      <a:pos x="1292" y="1174"/>
                    </a:cxn>
                    <a:cxn ang="0">
                      <a:pos x="1200" y="1100"/>
                    </a:cxn>
                    <a:cxn ang="0">
                      <a:pos x="1146" y="1088"/>
                    </a:cxn>
                    <a:cxn ang="0">
                      <a:pos x="1098" y="1164"/>
                    </a:cxn>
                  </a:cxnLst>
                  <a:rect l="0" t="0" r="r" b="b"/>
                  <a:pathLst>
                    <a:path w="1324" h="1508">
                      <a:moveTo>
                        <a:pt x="1098" y="1164"/>
                      </a:moveTo>
                      <a:lnTo>
                        <a:pt x="1098" y="1164"/>
                      </a:lnTo>
                      <a:lnTo>
                        <a:pt x="1094" y="1168"/>
                      </a:lnTo>
                      <a:lnTo>
                        <a:pt x="1088" y="1178"/>
                      </a:lnTo>
                      <a:lnTo>
                        <a:pt x="1086" y="1184"/>
                      </a:lnTo>
                      <a:lnTo>
                        <a:pt x="1086" y="1190"/>
                      </a:lnTo>
                      <a:lnTo>
                        <a:pt x="1088" y="1196"/>
                      </a:lnTo>
                      <a:lnTo>
                        <a:pt x="1094" y="1202"/>
                      </a:lnTo>
                      <a:lnTo>
                        <a:pt x="1094" y="1202"/>
                      </a:lnTo>
                      <a:lnTo>
                        <a:pt x="1108" y="1212"/>
                      </a:lnTo>
                      <a:lnTo>
                        <a:pt x="1122" y="1224"/>
                      </a:lnTo>
                      <a:lnTo>
                        <a:pt x="1134" y="1236"/>
                      </a:lnTo>
                      <a:lnTo>
                        <a:pt x="1150" y="1246"/>
                      </a:lnTo>
                      <a:lnTo>
                        <a:pt x="1150" y="1246"/>
                      </a:lnTo>
                      <a:lnTo>
                        <a:pt x="1166" y="1258"/>
                      </a:lnTo>
                      <a:lnTo>
                        <a:pt x="1176" y="1270"/>
                      </a:lnTo>
                      <a:lnTo>
                        <a:pt x="1178" y="1276"/>
                      </a:lnTo>
                      <a:lnTo>
                        <a:pt x="1180" y="1282"/>
                      </a:lnTo>
                      <a:lnTo>
                        <a:pt x="1180" y="1286"/>
                      </a:lnTo>
                      <a:lnTo>
                        <a:pt x="1178" y="1292"/>
                      </a:lnTo>
                      <a:lnTo>
                        <a:pt x="1178" y="1292"/>
                      </a:lnTo>
                      <a:lnTo>
                        <a:pt x="1170" y="1302"/>
                      </a:lnTo>
                      <a:lnTo>
                        <a:pt x="1160" y="1316"/>
                      </a:lnTo>
                      <a:lnTo>
                        <a:pt x="1130" y="1352"/>
                      </a:lnTo>
                      <a:lnTo>
                        <a:pt x="1130" y="1352"/>
                      </a:lnTo>
                      <a:lnTo>
                        <a:pt x="1124" y="1362"/>
                      </a:lnTo>
                      <a:lnTo>
                        <a:pt x="1120" y="1372"/>
                      </a:lnTo>
                      <a:lnTo>
                        <a:pt x="1118" y="1384"/>
                      </a:lnTo>
                      <a:lnTo>
                        <a:pt x="1118" y="1394"/>
                      </a:lnTo>
                      <a:lnTo>
                        <a:pt x="1120" y="1410"/>
                      </a:lnTo>
                      <a:lnTo>
                        <a:pt x="1122" y="1416"/>
                      </a:lnTo>
                      <a:lnTo>
                        <a:pt x="1122" y="1416"/>
                      </a:lnTo>
                      <a:lnTo>
                        <a:pt x="1112" y="1422"/>
                      </a:lnTo>
                      <a:lnTo>
                        <a:pt x="1102" y="1432"/>
                      </a:lnTo>
                      <a:lnTo>
                        <a:pt x="1092" y="1444"/>
                      </a:lnTo>
                      <a:lnTo>
                        <a:pt x="1092" y="1444"/>
                      </a:lnTo>
                      <a:lnTo>
                        <a:pt x="1086" y="1458"/>
                      </a:lnTo>
                      <a:lnTo>
                        <a:pt x="1084" y="1470"/>
                      </a:lnTo>
                      <a:lnTo>
                        <a:pt x="1082" y="1480"/>
                      </a:lnTo>
                      <a:lnTo>
                        <a:pt x="1080" y="1492"/>
                      </a:lnTo>
                      <a:lnTo>
                        <a:pt x="1080" y="1492"/>
                      </a:lnTo>
                      <a:lnTo>
                        <a:pt x="1076" y="1496"/>
                      </a:lnTo>
                      <a:lnTo>
                        <a:pt x="1070" y="1502"/>
                      </a:lnTo>
                      <a:lnTo>
                        <a:pt x="1062" y="1506"/>
                      </a:lnTo>
                      <a:lnTo>
                        <a:pt x="1052" y="1508"/>
                      </a:lnTo>
                      <a:lnTo>
                        <a:pt x="1044" y="1508"/>
                      </a:lnTo>
                      <a:lnTo>
                        <a:pt x="1038" y="1506"/>
                      </a:lnTo>
                      <a:lnTo>
                        <a:pt x="1032" y="1500"/>
                      </a:lnTo>
                      <a:lnTo>
                        <a:pt x="1032" y="1492"/>
                      </a:lnTo>
                      <a:lnTo>
                        <a:pt x="1032" y="1492"/>
                      </a:lnTo>
                      <a:lnTo>
                        <a:pt x="1032" y="1484"/>
                      </a:lnTo>
                      <a:lnTo>
                        <a:pt x="1028" y="1476"/>
                      </a:lnTo>
                      <a:lnTo>
                        <a:pt x="1020" y="1464"/>
                      </a:lnTo>
                      <a:lnTo>
                        <a:pt x="1016" y="1458"/>
                      </a:lnTo>
                      <a:lnTo>
                        <a:pt x="1016" y="1450"/>
                      </a:lnTo>
                      <a:lnTo>
                        <a:pt x="1018" y="1442"/>
                      </a:lnTo>
                      <a:lnTo>
                        <a:pt x="1026" y="1430"/>
                      </a:lnTo>
                      <a:lnTo>
                        <a:pt x="1026" y="1430"/>
                      </a:lnTo>
                      <a:lnTo>
                        <a:pt x="1040" y="1412"/>
                      </a:lnTo>
                      <a:lnTo>
                        <a:pt x="1046" y="1400"/>
                      </a:lnTo>
                      <a:lnTo>
                        <a:pt x="1048" y="1386"/>
                      </a:lnTo>
                      <a:lnTo>
                        <a:pt x="1054" y="1366"/>
                      </a:lnTo>
                      <a:lnTo>
                        <a:pt x="1054" y="1366"/>
                      </a:lnTo>
                      <a:lnTo>
                        <a:pt x="1060" y="1344"/>
                      </a:lnTo>
                      <a:lnTo>
                        <a:pt x="1060" y="1332"/>
                      </a:lnTo>
                      <a:lnTo>
                        <a:pt x="1060" y="1322"/>
                      </a:lnTo>
                      <a:lnTo>
                        <a:pt x="1058" y="1298"/>
                      </a:lnTo>
                      <a:lnTo>
                        <a:pt x="1048" y="1270"/>
                      </a:lnTo>
                      <a:lnTo>
                        <a:pt x="1048" y="1270"/>
                      </a:lnTo>
                      <a:lnTo>
                        <a:pt x="1026" y="1212"/>
                      </a:lnTo>
                      <a:lnTo>
                        <a:pt x="1016" y="1188"/>
                      </a:lnTo>
                      <a:lnTo>
                        <a:pt x="1010" y="1180"/>
                      </a:lnTo>
                      <a:lnTo>
                        <a:pt x="1004" y="1174"/>
                      </a:lnTo>
                      <a:lnTo>
                        <a:pt x="1004" y="1174"/>
                      </a:lnTo>
                      <a:lnTo>
                        <a:pt x="976" y="1154"/>
                      </a:lnTo>
                      <a:lnTo>
                        <a:pt x="942" y="1132"/>
                      </a:lnTo>
                      <a:lnTo>
                        <a:pt x="942" y="1132"/>
                      </a:lnTo>
                      <a:lnTo>
                        <a:pt x="934" y="1128"/>
                      </a:lnTo>
                      <a:lnTo>
                        <a:pt x="928" y="1128"/>
                      </a:lnTo>
                      <a:lnTo>
                        <a:pt x="918" y="1128"/>
                      </a:lnTo>
                      <a:lnTo>
                        <a:pt x="914" y="1126"/>
                      </a:lnTo>
                      <a:lnTo>
                        <a:pt x="912" y="1124"/>
                      </a:lnTo>
                      <a:lnTo>
                        <a:pt x="908" y="1118"/>
                      </a:lnTo>
                      <a:lnTo>
                        <a:pt x="906" y="1110"/>
                      </a:lnTo>
                      <a:lnTo>
                        <a:pt x="906" y="1110"/>
                      </a:lnTo>
                      <a:lnTo>
                        <a:pt x="904" y="1100"/>
                      </a:lnTo>
                      <a:lnTo>
                        <a:pt x="902" y="1092"/>
                      </a:lnTo>
                      <a:lnTo>
                        <a:pt x="902" y="1082"/>
                      </a:lnTo>
                      <a:lnTo>
                        <a:pt x="900" y="1078"/>
                      </a:lnTo>
                      <a:lnTo>
                        <a:pt x="894" y="1072"/>
                      </a:lnTo>
                      <a:lnTo>
                        <a:pt x="870" y="1056"/>
                      </a:lnTo>
                      <a:lnTo>
                        <a:pt x="870" y="1056"/>
                      </a:lnTo>
                      <a:lnTo>
                        <a:pt x="854" y="1048"/>
                      </a:lnTo>
                      <a:lnTo>
                        <a:pt x="840" y="1044"/>
                      </a:lnTo>
                      <a:lnTo>
                        <a:pt x="818" y="1040"/>
                      </a:lnTo>
                      <a:lnTo>
                        <a:pt x="808" y="1038"/>
                      </a:lnTo>
                      <a:lnTo>
                        <a:pt x="800" y="1030"/>
                      </a:lnTo>
                      <a:lnTo>
                        <a:pt x="792" y="1018"/>
                      </a:lnTo>
                      <a:lnTo>
                        <a:pt x="782" y="1000"/>
                      </a:lnTo>
                      <a:lnTo>
                        <a:pt x="782" y="1000"/>
                      </a:lnTo>
                      <a:lnTo>
                        <a:pt x="766" y="966"/>
                      </a:lnTo>
                      <a:lnTo>
                        <a:pt x="760" y="956"/>
                      </a:lnTo>
                      <a:lnTo>
                        <a:pt x="754" y="950"/>
                      </a:lnTo>
                      <a:lnTo>
                        <a:pt x="746" y="946"/>
                      </a:lnTo>
                      <a:lnTo>
                        <a:pt x="734" y="944"/>
                      </a:lnTo>
                      <a:lnTo>
                        <a:pt x="704" y="940"/>
                      </a:lnTo>
                      <a:lnTo>
                        <a:pt x="704" y="940"/>
                      </a:lnTo>
                      <a:lnTo>
                        <a:pt x="674" y="934"/>
                      </a:lnTo>
                      <a:lnTo>
                        <a:pt x="666" y="932"/>
                      </a:lnTo>
                      <a:lnTo>
                        <a:pt x="660" y="928"/>
                      </a:lnTo>
                      <a:lnTo>
                        <a:pt x="654" y="922"/>
                      </a:lnTo>
                      <a:lnTo>
                        <a:pt x="648" y="914"/>
                      </a:lnTo>
                      <a:lnTo>
                        <a:pt x="624" y="884"/>
                      </a:lnTo>
                      <a:lnTo>
                        <a:pt x="624" y="884"/>
                      </a:lnTo>
                      <a:lnTo>
                        <a:pt x="606" y="864"/>
                      </a:lnTo>
                      <a:lnTo>
                        <a:pt x="592" y="848"/>
                      </a:lnTo>
                      <a:lnTo>
                        <a:pt x="564" y="824"/>
                      </a:lnTo>
                      <a:lnTo>
                        <a:pt x="540" y="806"/>
                      </a:lnTo>
                      <a:lnTo>
                        <a:pt x="522" y="790"/>
                      </a:lnTo>
                      <a:lnTo>
                        <a:pt x="522" y="790"/>
                      </a:lnTo>
                      <a:lnTo>
                        <a:pt x="512" y="782"/>
                      </a:lnTo>
                      <a:lnTo>
                        <a:pt x="504" y="770"/>
                      </a:lnTo>
                      <a:lnTo>
                        <a:pt x="488" y="744"/>
                      </a:lnTo>
                      <a:lnTo>
                        <a:pt x="470" y="718"/>
                      </a:lnTo>
                      <a:lnTo>
                        <a:pt x="460" y="704"/>
                      </a:lnTo>
                      <a:lnTo>
                        <a:pt x="450" y="692"/>
                      </a:lnTo>
                      <a:lnTo>
                        <a:pt x="450" y="692"/>
                      </a:lnTo>
                      <a:lnTo>
                        <a:pt x="426" y="670"/>
                      </a:lnTo>
                      <a:lnTo>
                        <a:pt x="402" y="650"/>
                      </a:lnTo>
                      <a:lnTo>
                        <a:pt x="384" y="632"/>
                      </a:lnTo>
                      <a:lnTo>
                        <a:pt x="378" y="626"/>
                      </a:lnTo>
                      <a:lnTo>
                        <a:pt x="376" y="620"/>
                      </a:lnTo>
                      <a:lnTo>
                        <a:pt x="376" y="620"/>
                      </a:lnTo>
                      <a:lnTo>
                        <a:pt x="370" y="586"/>
                      </a:lnTo>
                      <a:lnTo>
                        <a:pt x="362" y="546"/>
                      </a:lnTo>
                      <a:lnTo>
                        <a:pt x="362" y="546"/>
                      </a:lnTo>
                      <a:lnTo>
                        <a:pt x="362" y="532"/>
                      </a:lnTo>
                      <a:lnTo>
                        <a:pt x="362" y="516"/>
                      </a:lnTo>
                      <a:lnTo>
                        <a:pt x="360" y="508"/>
                      </a:lnTo>
                      <a:lnTo>
                        <a:pt x="354" y="498"/>
                      </a:lnTo>
                      <a:lnTo>
                        <a:pt x="348" y="486"/>
                      </a:lnTo>
                      <a:lnTo>
                        <a:pt x="336" y="472"/>
                      </a:lnTo>
                      <a:lnTo>
                        <a:pt x="336" y="472"/>
                      </a:lnTo>
                      <a:lnTo>
                        <a:pt x="320" y="456"/>
                      </a:lnTo>
                      <a:lnTo>
                        <a:pt x="300" y="438"/>
                      </a:lnTo>
                      <a:lnTo>
                        <a:pt x="280" y="422"/>
                      </a:lnTo>
                      <a:lnTo>
                        <a:pt x="260" y="406"/>
                      </a:lnTo>
                      <a:lnTo>
                        <a:pt x="238" y="392"/>
                      </a:lnTo>
                      <a:lnTo>
                        <a:pt x="218" y="382"/>
                      </a:lnTo>
                      <a:lnTo>
                        <a:pt x="202" y="378"/>
                      </a:lnTo>
                      <a:lnTo>
                        <a:pt x="194" y="376"/>
                      </a:lnTo>
                      <a:lnTo>
                        <a:pt x="186" y="378"/>
                      </a:lnTo>
                      <a:lnTo>
                        <a:pt x="186" y="378"/>
                      </a:lnTo>
                      <a:lnTo>
                        <a:pt x="174" y="382"/>
                      </a:lnTo>
                      <a:lnTo>
                        <a:pt x="162" y="388"/>
                      </a:lnTo>
                      <a:lnTo>
                        <a:pt x="150" y="396"/>
                      </a:lnTo>
                      <a:lnTo>
                        <a:pt x="140" y="404"/>
                      </a:lnTo>
                      <a:lnTo>
                        <a:pt x="122" y="422"/>
                      </a:lnTo>
                      <a:lnTo>
                        <a:pt x="114" y="434"/>
                      </a:lnTo>
                      <a:lnTo>
                        <a:pt x="114" y="434"/>
                      </a:lnTo>
                      <a:lnTo>
                        <a:pt x="108" y="444"/>
                      </a:lnTo>
                      <a:lnTo>
                        <a:pt x="106" y="452"/>
                      </a:lnTo>
                      <a:lnTo>
                        <a:pt x="100" y="458"/>
                      </a:lnTo>
                      <a:lnTo>
                        <a:pt x="94" y="462"/>
                      </a:lnTo>
                      <a:lnTo>
                        <a:pt x="84" y="462"/>
                      </a:lnTo>
                      <a:lnTo>
                        <a:pt x="74" y="458"/>
                      </a:lnTo>
                      <a:lnTo>
                        <a:pt x="58" y="448"/>
                      </a:lnTo>
                      <a:lnTo>
                        <a:pt x="58" y="448"/>
                      </a:lnTo>
                      <a:lnTo>
                        <a:pt x="50" y="430"/>
                      </a:lnTo>
                      <a:lnTo>
                        <a:pt x="44" y="414"/>
                      </a:lnTo>
                      <a:lnTo>
                        <a:pt x="38" y="406"/>
                      </a:lnTo>
                      <a:lnTo>
                        <a:pt x="38" y="406"/>
                      </a:lnTo>
                      <a:lnTo>
                        <a:pt x="22" y="394"/>
                      </a:lnTo>
                      <a:lnTo>
                        <a:pt x="14" y="388"/>
                      </a:lnTo>
                      <a:lnTo>
                        <a:pt x="12" y="382"/>
                      </a:lnTo>
                      <a:lnTo>
                        <a:pt x="12" y="382"/>
                      </a:lnTo>
                      <a:lnTo>
                        <a:pt x="8" y="376"/>
                      </a:lnTo>
                      <a:lnTo>
                        <a:pt x="4" y="364"/>
                      </a:lnTo>
                      <a:lnTo>
                        <a:pt x="2" y="352"/>
                      </a:lnTo>
                      <a:lnTo>
                        <a:pt x="0" y="338"/>
                      </a:lnTo>
                      <a:lnTo>
                        <a:pt x="0" y="318"/>
                      </a:lnTo>
                      <a:lnTo>
                        <a:pt x="0" y="292"/>
                      </a:lnTo>
                      <a:lnTo>
                        <a:pt x="0" y="292"/>
                      </a:lnTo>
                      <a:lnTo>
                        <a:pt x="2" y="266"/>
                      </a:lnTo>
                      <a:lnTo>
                        <a:pt x="2" y="252"/>
                      </a:lnTo>
                      <a:lnTo>
                        <a:pt x="2" y="244"/>
                      </a:lnTo>
                      <a:lnTo>
                        <a:pt x="2" y="244"/>
                      </a:lnTo>
                      <a:lnTo>
                        <a:pt x="0" y="236"/>
                      </a:lnTo>
                      <a:lnTo>
                        <a:pt x="2" y="228"/>
                      </a:lnTo>
                      <a:lnTo>
                        <a:pt x="6" y="218"/>
                      </a:lnTo>
                      <a:lnTo>
                        <a:pt x="10" y="214"/>
                      </a:lnTo>
                      <a:lnTo>
                        <a:pt x="14" y="210"/>
                      </a:lnTo>
                      <a:lnTo>
                        <a:pt x="14" y="210"/>
                      </a:lnTo>
                      <a:lnTo>
                        <a:pt x="18" y="200"/>
                      </a:lnTo>
                      <a:lnTo>
                        <a:pt x="18" y="190"/>
                      </a:lnTo>
                      <a:lnTo>
                        <a:pt x="18" y="178"/>
                      </a:lnTo>
                      <a:lnTo>
                        <a:pt x="18" y="178"/>
                      </a:lnTo>
                      <a:lnTo>
                        <a:pt x="18" y="162"/>
                      </a:lnTo>
                      <a:lnTo>
                        <a:pt x="18" y="142"/>
                      </a:lnTo>
                      <a:lnTo>
                        <a:pt x="22" y="116"/>
                      </a:lnTo>
                      <a:lnTo>
                        <a:pt x="70" y="124"/>
                      </a:lnTo>
                      <a:lnTo>
                        <a:pt x="70" y="124"/>
                      </a:lnTo>
                      <a:lnTo>
                        <a:pt x="86" y="116"/>
                      </a:lnTo>
                      <a:lnTo>
                        <a:pt x="114" y="104"/>
                      </a:lnTo>
                      <a:lnTo>
                        <a:pt x="114" y="104"/>
                      </a:lnTo>
                      <a:lnTo>
                        <a:pt x="144" y="82"/>
                      </a:lnTo>
                      <a:lnTo>
                        <a:pt x="162" y="70"/>
                      </a:lnTo>
                      <a:lnTo>
                        <a:pt x="172" y="66"/>
                      </a:lnTo>
                      <a:lnTo>
                        <a:pt x="172" y="66"/>
                      </a:lnTo>
                      <a:lnTo>
                        <a:pt x="182" y="78"/>
                      </a:lnTo>
                      <a:lnTo>
                        <a:pt x="202" y="92"/>
                      </a:lnTo>
                      <a:lnTo>
                        <a:pt x="202" y="92"/>
                      </a:lnTo>
                      <a:lnTo>
                        <a:pt x="210" y="98"/>
                      </a:lnTo>
                      <a:lnTo>
                        <a:pt x="222" y="104"/>
                      </a:lnTo>
                      <a:lnTo>
                        <a:pt x="226" y="106"/>
                      </a:lnTo>
                      <a:lnTo>
                        <a:pt x="232" y="106"/>
                      </a:lnTo>
                      <a:lnTo>
                        <a:pt x="238" y="104"/>
                      </a:lnTo>
                      <a:lnTo>
                        <a:pt x="244" y="100"/>
                      </a:lnTo>
                      <a:lnTo>
                        <a:pt x="244" y="100"/>
                      </a:lnTo>
                      <a:lnTo>
                        <a:pt x="254" y="90"/>
                      </a:lnTo>
                      <a:lnTo>
                        <a:pt x="264" y="82"/>
                      </a:lnTo>
                      <a:lnTo>
                        <a:pt x="270" y="78"/>
                      </a:lnTo>
                      <a:lnTo>
                        <a:pt x="276" y="76"/>
                      </a:lnTo>
                      <a:lnTo>
                        <a:pt x="284" y="74"/>
                      </a:lnTo>
                      <a:lnTo>
                        <a:pt x="294" y="74"/>
                      </a:lnTo>
                      <a:lnTo>
                        <a:pt x="294" y="74"/>
                      </a:lnTo>
                      <a:lnTo>
                        <a:pt x="314" y="76"/>
                      </a:lnTo>
                      <a:lnTo>
                        <a:pt x="332" y="74"/>
                      </a:lnTo>
                      <a:lnTo>
                        <a:pt x="338" y="72"/>
                      </a:lnTo>
                      <a:lnTo>
                        <a:pt x="344" y="68"/>
                      </a:lnTo>
                      <a:lnTo>
                        <a:pt x="350" y="64"/>
                      </a:lnTo>
                      <a:lnTo>
                        <a:pt x="356" y="58"/>
                      </a:lnTo>
                      <a:lnTo>
                        <a:pt x="356" y="58"/>
                      </a:lnTo>
                      <a:lnTo>
                        <a:pt x="362" y="44"/>
                      </a:lnTo>
                      <a:lnTo>
                        <a:pt x="366" y="34"/>
                      </a:lnTo>
                      <a:lnTo>
                        <a:pt x="368" y="32"/>
                      </a:lnTo>
                      <a:lnTo>
                        <a:pt x="368" y="34"/>
                      </a:lnTo>
                      <a:lnTo>
                        <a:pt x="368" y="34"/>
                      </a:lnTo>
                      <a:lnTo>
                        <a:pt x="382" y="34"/>
                      </a:lnTo>
                      <a:lnTo>
                        <a:pt x="382" y="34"/>
                      </a:lnTo>
                      <a:lnTo>
                        <a:pt x="404" y="36"/>
                      </a:lnTo>
                      <a:lnTo>
                        <a:pt x="416" y="32"/>
                      </a:lnTo>
                      <a:lnTo>
                        <a:pt x="428" y="28"/>
                      </a:lnTo>
                      <a:lnTo>
                        <a:pt x="428" y="28"/>
                      </a:lnTo>
                      <a:lnTo>
                        <a:pt x="440" y="20"/>
                      </a:lnTo>
                      <a:lnTo>
                        <a:pt x="458" y="12"/>
                      </a:lnTo>
                      <a:lnTo>
                        <a:pt x="478" y="6"/>
                      </a:lnTo>
                      <a:lnTo>
                        <a:pt x="494" y="2"/>
                      </a:lnTo>
                      <a:lnTo>
                        <a:pt x="494" y="2"/>
                      </a:lnTo>
                      <a:lnTo>
                        <a:pt x="510" y="0"/>
                      </a:lnTo>
                      <a:lnTo>
                        <a:pt x="528" y="2"/>
                      </a:lnTo>
                      <a:lnTo>
                        <a:pt x="544" y="4"/>
                      </a:lnTo>
                      <a:lnTo>
                        <a:pt x="550" y="8"/>
                      </a:lnTo>
                      <a:lnTo>
                        <a:pt x="552" y="12"/>
                      </a:lnTo>
                      <a:lnTo>
                        <a:pt x="552" y="12"/>
                      </a:lnTo>
                      <a:lnTo>
                        <a:pt x="564" y="38"/>
                      </a:lnTo>
                      <a:lnTo>
                        <a:pt x="576" y="60"/>
                      </a:lnTo>
                      <a:lnTo>
                        <a:pt x="576" y="60"/>
                      </a:lnTo>
                      <a:lnTo>
                        <a:pt x="578" y="64"/>
                      </a:lnTo>
                      <a:lnTo>
                        <a:pt x="584" y="66"/>
                      </a:lnTo>
                      <a:lnTo>
                        <a:pt x="596" y="68"/>
                      </a:lnTo>
                      <a:lnTo>
                        <a:pt x="616" y="70"/>
                      </a:lnTo>
                      <a:lnTo>
                        <a:pt x="616" y="70"/>
                      </a:lnTo>
                      <a:lnTo>
                        <a:pt x="628" y="70"/>
                      </a:lnTo>
                      <a:lnTo>
                        <a:pt x="638" y="72"/>
                      </a:lnTo>
                      <a:lnTo>
                        <a:pt x="656" y="80"/>
                      </a:lnTo>
                      <a:lnTo>
                        <a:pt x="676" y="92"/>
                      </a:lnTo>
                      <a:lnTo>
                        <a:pt x="676" y="92"/>
                      </a:lnTo>
                      <a:lnTo>
                        <a:pt x="682" y="98"/>
                      </a:lnTo>
                      <a:lnTo>
                        <a:pt x="688" y="104"/>
                      </a:lnTo>
                      <a:lnTo>
                        <a:pt x="692" y="110"/>
                      </a:lnTo>
                      <a:lnTo>
                        <a:pt x="692" y="110"/>
                      </a:lnTo>
                      <a:lnTo>
                        <a:pt x="692" y="116"/>
                      </a:lnTo>
                      <a:lnTo>
                        <a:pt x="692" y="124"/>
                      </a:lnTo>
                      <a:lnTo>
                        <a:pt x="684" y="152"/>
                      </a:lnTo>
                      <a:lnTo>
                        <a:pt x="684" y="152"/>
                      </a:lnTo>
                      <a:lnTo>
                        <a:pt x="682" y="162"/>
                      </a:lnTo>
                      <a:lnTo>
                        <a:pt x="684" y="170"/>
                      </a:lnTo>
                      <a:lnTo>
                        <a:pt x="688" y="186"/>
                      </a:lnTo>
                      <a:lnTo>
                        <a:pt x="690" y="192"/>
                      </a:lnTo>
                      <a:lnTo>
                        <a:pt x="692" y="198"/>
                      </a:lnTo>
                      <a:lnTo>
                        <a:pt x="692" y="204"/>
                      </a:lnTo>
                      <a:lnTo>
                        <a:pt x="688" y="208"/>
                      </a:lnTo>
                      <a:lnTo>
                        <a:pt x="688" y="208"/>
                      </a:lnTo>
                      <a:lnTo>
                        <a:pt x="670" y="218"/>
                      </a:lnTo>
                      <a:lnTo>
                        <a:pt x="644" y="234"/>
                      </a:lnTo>
                      <a:lnTo>
                        <a:pt x="644" y="234"/>
                      </a:lnTo>
                      <a:lnTo>
                        <a:pt x="624" y="244"/>
                      </a:lnTo>
                      <a:lnTo>
                        <a:pt x="606" y="250"/>
                      </a:lnTo>
                      <a:lnTo>
                        <a:pt x="590" y="256"/>
                      </a:lnTo>
                      <a:lnTo>
                        <a:pt x="576" y="266"/>
                      </a:lnTo>
                      <a:lnTo>
                        <a:pt x="576" y="266"/>
                      </a:lnTo>
                      <a:lnTo>
                        <a:pt x="560" y="278"/>
                      </a:lnTo>
                      <a:lnTo>
                        <a:pt x="542" y="292"/>
                      </a:lnTo>
                      <a:lnTo>
                        <a:pt x="534" y="300"/>
                      </a:lnTo>
                      <a:lnTo>
                        <a:pt x="530" y="306"/>
                      </a:lnTo>
                      <a:lnTo>
                        <a:pt x="528" y="314"/>
                      </a:lnTo>
                      <a:lnTo>
                        <a:pt x="528" y="316"/>
                      </a:lnTo>
                      <a:lnTo>
                        <a:pt x="528" y="318"/>
                      </a:lnTo>
                      <a:lnTo>
                        <a:pt x="528" y="318"/>
                      </a:lnTo>
                      <a:lnTo>
                        <a:pt x="546" y="334"/>
                      </a:lnTo>
                      <a:lnTo>
                        <a:pt x="554" y="344"/>
                      </a:lnTo>
                      <a:lnTo>
                        <a:pt x="560" y="354"/>
                      </a:lnTo>
                      <a:lnTo>
                        <a:pt x="560" y="354"/>
                      </a:lnTo>
                      <a:lnTo>
                        <a:pt x="562" y="364"/>
                      </a:lnTo>
                      <a:lnTo>
                        <a:pt x="562" y="378"/>
                      </a:lnTo>
                      <a:lnTo>
                        <a:pt x="564" y="396"/>
                      </a:lnTo>
                      <a:lnTo>
                        <a:pt x="566" y="414"/>
                      </a:lnTo>
                      <a:lnTo>
                        <a:pt x="566" y="414"/>
                      </a:lnTo>
                      <a:lnTo>
                        <a:pt x="572" y="434"/>
                      </a:lnTo>
                      <a:lnTo>
                        <a:pt x="576" y="456"/>
                      </a:lnTo>
                      <a:lnTo>
                        <a:pt x="580" y="476"/>
                      </a:lnTo>
                      <a:lnTo>
                        <a:pt x="584" y="482"/>
                      </a:lnTo>
                      <a:lnTo>
                        <a:pt x="588" y="488"/>
                      </a:lnTo>
                      <a:lnTo>
                        <a:pt x="588" y="488"/>
                      </a:lnTo>
                      <a:lnTo>
                        <a:pt x="606" y="504"/>
                      </a:lnTo>
                      <a:lnTo>
                        <a:pt x="636" y="524"/>
                      </a:lnTo>
                      <a:lnTo>
                        <a:pt x="636" y="524"/>
                      </a:lnTo>
                      <a:lnTo>
                        <a:pt x="664" y="540"/>
                      </a:lnTo>
                      <a:lnTo>
                        <a:pt x="680" y="550"/>
                      </a:lnTo>
                      <a:lnTo>
                        <a:pt x="696" y="562"/>
                      </a:lnTo>
                      <a:lnTo>
                        <a:pt x="712" y="578"/>
                      </a:lnTo>
                      <a:lnTo>
                        <a:pt x="726" y="594"/>
                      </a:lnTo>
                      <a:lnTo>
                        <a:pt x="732" y="604"/>
                      </a:lnTo>
                      <a:lnTo>
                        <a:pt x="738" y="616"/>
                      </a:lnTo>
                      <a:lnTo>
                        <a:pt x="742" y="626"/>
                      </a:lnTo>
                      <a:lnTo>
                        <a:pt x="744" y="638"/>
                      </a:lnTo>
                      <a:lnTo>
                        <a:pt x="744" y="638"/>
                      </a:lnTo>
                      <a:lnTo>
                        <a:pt x="748" y="662"/>
                      </a:lnTo>
                      <a:lnTo>
                        <a:pt x="754" y="684"/>
                      </a:lnTo>
                      <a:lnTo>
                        <a:pt x="758" y="704"/>
                      </a:lnTo>
                      <a:lnTo>
                        <a:pt x="766" y="724"/>
                      </a:lnTo>
                      <a:lnTo>
                        <a:pt x="772" y="740"/>
                      </a:lnTo>
                      <a:lnTo>
                        <a:pt x="780" y="754"/>
                      </a:lnTo>
                      <a:lnTo>
                        <a:pt x="788" y="764"/>
                      </a:lnTo>
                      <a:lnTo>
                        <a:pt x="794" y="772"/>
                      </a:lnTo>
                      <a:lnTo>
                        <a:pt x="794" y="772"/>
                      </a:lnTo>
                      <a:lnTo>
                        <a:pt x="814" y="786"/>
                      </a:lnTo>
                      <a:lnTo>
                        <a:pt x="840" y="804"/>
                      </a:lnTo>
                      <a:lnTo>
                        <a:pt x="888" y="836"/>
                      </a:lnTo>
                      <a:lnTo>
                        <a:pt x="888" y="836"/>
                      </a:lnTo>
                      <a:lnTo>
                        <a:pt x="904" y="848"/>
                      </a:lnTo>
                      <a:lnTo>
                        <a:pt x="916" y="856"/>
                      </a:lnTo>
                      <a:lnTo>
                        <a:pt x="928" y="858"/>
                      </a:lnTo>
                      <a:lnTo>
                        <a:pt x="944" y="856"/>
                      </a:lnTo>
                      <a:lnTo>
                        <a:pt x="944" y="856"/>
                      </a:lnTo>
                      <a:lnTo>
                        <a:pt x="964" y="854"/>
                      </a:lnTo>
                      <a:lnTo>
                        <a:pt x="982" y="852"/>
                      </a:lnTo>
                      <a:lnTo>
                        <a:pt x="1000" y="854"/>
                      </a:lnTo>
                      <a:lnTo>
                        <a:pt x="1006" y="856"/>
                      </a:lnTo>
                      <a:lnTo>
                        <a:pt x="1010" y="860"/>
                      </a:lnTo>
                      <a:lnTo>
                        <a:pt x="1010" y="860"/>
                      </a:lnTo>
                      <a:lnTo>
                        <a:pt x="1016" y="866"/>
                      </a:lnTo>
                      <a:lnTo>
                        <a:pt x="1020" y="874"/>
                      </a:lnTo>
                      <a:lnTo>
                        <a:pt x="1020" y="876"/>
                      </a:lnTo>
                      <a:lnTo>
                        <a:pt x="1018" y="880"/>
                      </a:lnTo>
                      <a:lnTo>
                        <a:pt x="1016" y="884"/>
                      </a:lnTo>
                      <a:lnTo>
                        <a:pt x="1010" y="886"/>
                      </a:lnTo>
                      <a:lnTo>
                        <a:pt x="1010" y="886"/>
                      </a:lnTo>
                      <a:lnTo>
                        <a:pt x="998" y="894"/>
                      </a:lnTo>
                      <a:lnTo>
                        <a:pt x="986" y="902"/>
                      </a:lnTo>
                      <a:lnTo>
                        <a:pt x="984" y="906"/>
                      </a:lnTo>
                      <a:lnTo>
                        <a:pt x="982" y="912"/>
                      </a:lnTo>
                      <a:lnTo>
                        <a:pt x="984" y="916"/>
                      </a:lnTo>
                      <a:lnTo>
                        <a:pt x="990" y="920"/>
                      </a:lnTo>
                      <a:lnTo>
                        <a:pt x="990" y="920"/>
                      </a:lnTo>
                      <a:lnTo>
                        <a:pt x="1010" y="930"/>
                      </a:lnTo>
                      <a:lnTo>
                        <a:pt x="1038" y="942"/>
                      </a:lnTo>
                      <a:lnTo>
                        <a:pt x="1066" y="954"/>
                      </a:lnTo>
                      <a:lnTo>
                        <a:pt x="1090" y="966"/>
                      </a:lnTo>
                      <a:lnTo>
                        <a:pt x="1090" y="966"/>
                      </a:lnTo>
                      <a:lnTo>
                        <a:pt x="1194" y="1032"/>
                      </a:lnTo>
                      <a:lnTo>
                        <a:pt x="1194" y="1032"/>
                      </a:lnTo>
                      <a:lnTo>
                        <a:pt x="1244" y="1060"/>
                      </a:lnTo>
                      <a:lnTo>
                        <a:pt x="1270" y="1076"/>
                      </a:lnTo>
                      <a:lnTo>
                        <a:pt x="1286" y="1086"/>
                      </a:lnTo>
                      <a:lnTo>
                        <a:pt x="1286" y="1086"/>
                      </a:lnTo>
                      <a:lnTo>
                        <a:pt x="1296" y="1096"/>
                      </a:lnTo>
                      <a:lnTo>
                        <a:pt x="1304" y="1108"/>
                      </a:lnTo>
                      <a:lnTo>
                        <a:pt x="1310" y="1120"/>
                      </a:lnTo>
                      <a:lnTo>
                        <a:pt x="1316" y="1132"/>
                      </a:lnTo>
                      <a:lnTo>
                        <a:pt x="1316" y="1132"/>
                      </a:lnTo>
                      <a:lnTo>
                        <a:pt x="1320" y="1144"/>
                      </a:lnTo>
                      <a:lnTo>
                        <a:pt x="1324" y="1154"/>
                      </a:lnTo>
                      <a:lnTo>
                        <a:pt x="1324" y="1162"/>
                      </a:lnTo>
                      <a:lnTo>
                        <a:pt x="1322" y="1168"/>
                      </a:lnTo>
                      <a:lnTo>
                        <a:pt x="1322" y="1168"/>
                      </a:lnTo>
                      <a:lnTo>
                        <a:pt x="1316" y="1172"/>
                      </a:lnTo>
                      <a:lnTo>
                        <a:pt x="1308" y="1176"/>
                      </a:lnTo>
                      <a:lnTo>
                        <a:pt x="1298" y="1176"/>
                      </a:lnTo>
                      <a:lnTo>
                        <a:pt x="1292" y="1174"/>
                      </a:lnTo>
                      <a:lnTo>
                        <a:pt x="1292" y="1174"/>
                      </a:lnTo>
                      <a:lnTo>
                        <a:pt x="1282" y="1164"/>
                      </a:lnTo>
                      <a:lnTo>
                        <a:pt x="1272" y="1150"/>
                      </a:lnTo>
                      <a:lnTo>
                        <a:pt x="1272" y="1150"/>
                      </a:lnTo>
                      <a:lnTo>
                        <a:pt x="1262" y="1136"/>
                      </a:lnTo>
                      <a:lnTo>
                        <a:pt x="1250" y="1126"/>
                      </a:lnTo>
                      <a:lnTo>
                        <a:pt x="1250" y="1126"/>
                      </a:lnTo>
                      <a:lnTo>
                        <a:pt x="1200" y="1100"/>
                      </a:lnTo>
                      <a:lnTo>
                        <a:pt x="1200" y="1100"/>
                      </a:lnTo>
                      <a:lnTo>
                        <a:pt x="1186" y="1088"/>
                      </a:lnTo>
                      <a:lnTo>
                        <a:pt x="1178" y="1082"/>
                      </a:lnTo>
                      <a:lnTo>
                        <a:pt x="1174" y="1080"/>
                      </a:lnTo>
                      <a:lnTo>
                        <a:pt x="1170" y="1080"/>
                      </a:lnTo>
                      <a:lnTo>
                        <a:pt x="1170" y="1080"/>
                      </a:lnTo>
                      <a:lnTo>
                        <a:pt x="1146" y="1088"/>
                      </a:lnTo>
                      <a:lnTo>
                        <a:pt x="1134" y="1092"/>
                      </a:lnTo>
                      <a:lnTo>
                        <a:pt x="1128" y="1098"/>
                      </a:lnTo>
                      <a:lnTo>
                        <a:pt x="1128" y="1098"/>
                      </a:lnTo>
                      <a:lnTo>
                        <a:pt x="1112" y="1130"/>
                      </a:lnTo>
                      <a:lnTo>
                        <a:pt x="1104" y="1152"/>
                      </a:lnTo>
                      <a:lnTo>
                        <a:pt x="1098" y="1164"/>
                      </a:lnTo>
                      <a:lnTo>
                        <a:pt x="1098" y="116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5" name="Freeform 59">
                  <a:extLst>
                    <a:ext uri="{FF2B5EF4-FFF2-40B4-BE49-F238E27FC236}">
                      <a16:creationId xmlns:a16="http://schemas.microsoft.com/office/drawing/2014/main" id="{F7FABCEC-1534-449E-B7C6-2D5645A73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1165" y="5936535"/>
                  <a:ext cx="283513" cy="201203"/>
                </a:xfrm>
                <a:custGeom>
                  <a:avLst/>
                  <a:gdLst/>
                  <a:ahLst/>
                  <a:cxnLst>
                    <a:cxn ang="0">
                      <a:pos x="316" y="20"/>
                    </a:cxn>
                    <a:cxn ang="0">
                      <a:pos x="294" y="20"/>
                    </a:cxn>
                    <a:cxn ang="0">
                      <a:pos x="276" y="24"/>
                    </a:cxn>
                    <a:cxn ang="0">
                      <a:pos x="236" y="38"/>
                    </a:cxn>
                    <a:cxn ang="0">
                      <a:pos x="204" y="48"/>
                    </a:cxn>
                    <a:cxn ang="0">
                      <a:pos x="190" y="50"/>
                    </a:cxn>
                    <a:cxn ang="0">
                      <a:pos x="162" y="48"/>
                    </a:cxn>
                    <a:cxn ang="0">
                      <a:pos x="148" y="44"/>
                    </a:cxn>
                    <a:cxn ang="0">
                      <a:pos x="126" y="34"/>
                    </a:cxn>
                    <a:cxn ang="0">
                      <a:pos x="112" y="26"/>
                    </a:cxn>
                    <a:cxn ang="0">
                      <a:pos x="108" y="22"/>
                    </a:cxn>
                    <a:cxn ang="0">
                      <a:pos x="94" y="8"/>
                    </a:cxn>
                    <a:cxn ang="0">
                      <a:pos x="78" y="6"/>
                    </a:cxn>
                    <a:cxn ang="0">
                      <a:pos x="54" y="12"/>
                    </a:cxn>
                    <a:cxn ang="0">
                      <a:pos x="28" y="18"/>
                    </a:cxn>
                    <a:cxn ang="0">
                      <a:pos x="8" y="22"/>
                    </a:cxn>
                    <a:cxn ang="0">
                      <a:pos x="2" y="28"/>
                    </a:cxn>
                    <a:cxn ang="0">
                      <a:pos x="0" y="40"/>
                    </a:cxn>
                    <a:cxn ang="0">
                      <a:pos x="2" y="54"/>
                    </a:cxn>
                    <a:cxn ang="0">
                      <a:pos x="14" y="74"/>
                    </a:cxn>
                    <a:cxn ang="0">
                      <a:pos x="22" y="92"/>
                    </a:cxn>
                    <a:cxn ang="0">
                      <a:pos x="32" y="100"/>
                    </a:cxn>
                    <a:cxn ang="0">
                      <a:pos x="36" y="98"/>
                    </a:cxn>
                    <a:cxn ang="0">
                      <a:pos x="54" y="96"/>
                    </a:cxn>
                    <a:cxn ang="0">
                      <a:pos x="82" y="108"/>
                    </a:cxn>
                    <a:cxn ang="0">
                      <a:pos x="138" y="146"/>
                    </a:cxn>
                    <a:cxn ang="0">
                      <a:pos x="184" y="176"/>
                    </a:cxn>
                    <a:cxn ang="0">
                      <a:pos x="190" y="176"/>
                    </a:cxn>
                    <a:cxn ang="0">
                      <a:pos x="208" y="174"/>
                    </a:cxn>
                    <a:cxn ang="0">
                      <a:pos x="220" y="174"/>
                    </a:cxn>
                    <a:cxn ang="0">
                      <a:pos x="232" y="182"/>
                    </a:cxn>
                    <a:cxn ang="0">
                      <a:pos x="258" y="218"/>
                    </a:cxn>
                    <a:cxn ang="0">
                      <a:pos x="270" y="232"/>
                    </a:cxn>
                    <a:cxn ang="0">
                      <a:pos x="308" y="256"/>
                    </a:cxn>
                    <a:cxn ang="0">
                      <a:pos x="320" y="262"/>
                    </a:cxn>
                    <a:cxn ang="0">
                      <a:pos x="330" y="264"/>
                    </a:cxn>
                    <a:cxn ang="0">
                      <a:pos x="338" y="260"/>
                    </a:cxn>
                    <a:cxn ang="0">
                      <a:pos x="344" y="248"/>
                    </a:cxn>
                    <a:cxn ang="0">
                      <a:pos x="348" y="232"/>
                    </a:cxn>
                    <a:cxn ang="0">
                      <a:pos x="352" y="218"/>
                    </a:cxn>
                    <a:cxn ang="0">
                      <a:pos x="348" y="206"/>
                    </a:cxn>
                    <a:cxn ang="0">
                      <a:pos x="334" y="168"/>
                    </a:cxn>
                    <a:cxn ang="0">
                      <a:pos x="330" y="154"/>
                    </a:cxn>
                    <a:cxn ang="0">
                      <a:pos x="332" y="118"/>
                    </a:cxn>
                    <a:cxn ang="0">
                      <a:pos x="338" y="88"/>
                    </a:cxn>
                    <a:cxn ang="0">
                      <a:pos x="348" y="68"/>
                    </a:cxn>
                    <a:cxn ang="0">
                      <a:pos x="366" y="34"/>
                    </a:cxn>
                    <a:cxn ang="0">
                      <a:pos x="372" y="18"/>
                    </a:cxn>
                    <a:cxn ang="0">
                      <a:pos x="370" y="6"/>
                    </a:cxn>
                    <a:cxn ang="0">
                      <a:pos x="364" y="0"/>
                    </a:cxn>
                    <a:cxn ang="0">
                      <a:pos x="356" y="2"/>
                    </a:cxn>
                    <a:cxn ang="0">
                      <a:pos x="332" y="12"/>
                    </a:cxn>
                    <a:cxn ang="0">
                      <a:pos x="316" y="20"/>
                    </a:cxn>
                  </a:cxnLst>
                  <a:rect l="0" t="0" r="r" b="b"/>
                  <a:pathLst>
                    <a:path w="372" h="264">
                      <a:moveTo>
                        <a:pt x="316" y="20"/>
                      </a:moveTo>
                      <a:lnTo>
                        <a:pt x="316" y="20"/>
                      </a:lnTo>
                      <a:lnTo>
                        <a:pt x="304" y="20"/>
                      </a:lnTo>
                      <a:lnTo>
                        <a:pt x="294" y="20"/>
                      </a:lnTo>
                      <a:lnTo>
                        <a:pt x="276" y="24"/>
                      </a:lnTo>
                      <a:lnTo>
                        <a:pt x="276" y="24"/>
                      </a:lnTo>
                      <a:lnTo>
                        <a:pt x="256" y="32"/>
                      </a:lnTo>
                      <a:lnTo>
                        <a:pt x="236" y="38"/>
                      </a:lnTo>
                      <a:lnTo>
                        <a:pt x="218" y="44"/>
                      </a:lnTo>
                      <a:lnTo>
                        <a:pt x="204" y="48"/>
                      </a:lnTo>
                      <a:lnTo>
                        <a:pt x="204" y="48"/>
                      </a:lnTo>
                      <a:lnTo>
                        <a:pt x="190" y="50"/>
                      </a:lnTo>
                      <a:lnTo>
                        <a:pt x="176" y="50"/>
                      </a:lnTo>
                      <a:lnTo>
                        <a:pt x="162" y="48"/>
                      </a:lnTo>
                      <a:lnTo>
                        <a:pt x="148" y="44"/>
                      </a:lnTo>
                      <a:lnTo>
                        <a:pt x="148" y="44"/>
                      </a:lnTo>
                      <a:lnTo>
                        <a:pt x="136" y="38"/>
                      </a:lnTo>
                      <a:lnTo>
                        <a:pt x="126" y="34"/>
                      </a:lnTo>
                      <a:lnTo>
                        <a:pt x="116" y="30"/>
                      </a:lnTo>
                      <a:lnTo>
                        <a:pt x="112" y="26"/>
                      </a:lnTo>
                      <a:lnTo>
                        <a:pt x="108" y="22"/>
                      </a:lnTo>
                      <a:lnTo>
                        <a:pt x="108" y="22"/>
                      </a:lnTo>
                      <a:lnTo>
                        <a:pt x="102" y="12"/>
                      </a:lnTo>
                      <a:lnTo>
                        <a:pt x="94" y="8"/>
                      </a:lnTo>
                      <a:lnTo>
                        <a:pt x="86" y="6"/>
                      </a:lnTo>
                      <a:lnTo>
                        <a:pt x="78" y="6"/>
                      </a:lnTo>
                      <a:lnTo>
                        <a:pt x="78" y="6"/>
                      </a:lnTo>
                      <a:lnTo>
                        <a:pt x="54" y="12"/>
                      </a:lnTo>
                      <a:lnTo>
                        <a:pt x="28" y="18"/>
                      </a:lnTo>
                      <a:lnTo>
                        <a:pt x="28" y="18"/>
                      </a:lnTo>
                      <a:lnTo>
                        <a:pt x="18" y="20"/>
                      </a:lnTo>
                      <a:lnTo>
                        <a:pt x="8" y="22"/>
                      </a:lnTo>
                      <a:lnTo>
                        <a:pt x="4" y="24"/>
                      </a:lnTo>
                      <a:lnTo>
                        <a:pt x="2" y="28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54"/>
                      </a:lnTo>
                      <a:lnTo>
                        <a:pt x="6" y="62"/>
                      </a:lnTo>
                      <a:lnTo>
                        <a:pt x="14" y="74"/>
                      </a:lnTo>
                      <a:lnTo>
                        <a:pt x="14" y="74"/>
                      </a:lnTo>
                      <a:lnTo>
                        <a:pt x="22" y="92"/>
                      </a:lnTo>
                      <a:lnTo>
                        <a:pt x="28" y="98"/>
                      </a:lnTo>
                      <a:lnTo>
                        <a:pt x="32" y="100"/>
                      </a:lnTo>
                      <a:lnTo>
                        <a:pt x="36" y="98"/>
                      </a:lnTo>
                      <a:lnTo>
                        <a:pt x="36" y="98"/>
                      </a:lnTo>
                      <a:lnTo>
                        <a:pt x="44" y="96"/>
                      </a:lnTo>
                      <a:lnTo>
                        <a:pt x="54" y="96"/>
                      </a:lnTo>
                      <a:lnTo>
                        <a:pt x="66" y="100"/>
                      </a:lnTo>
                      <a:lnTo>
                        <a:pt x="82" y="108"/>
                      </a:lnTo>
                      <a:lnTo>
                        <a:pt x="82" y="108"/>
                      </a:lnTo>
                      <a:lnTo>
                        <a:pt x="138" y="146"/>
                      </a:lnTo>
                      <a:lnTo>
                        <a:pt x="166" y="166"/>
                      </a:lnTo>
                      <a:lnTo>
                        <a:pt x="184" y="176"/>
                      </a:lnTo>
                      <a:lnTo>
                        <a:pt x="184" y="176"/>
                      </a:lnTo>
                      <a:lnTo>
                        <a:pt x="190" y="176"/>
                      </a:lnTo>
                      <a:lnTo>
                        <a:pt x="196" y="176"/>
                      </a:lnTo>
                      <a:lnTo>
                        <a:pt x="208" y="174"/>
                      </a:lnTo>
                      <a:lnTo>
                        <a:pt x="214" y="172"/>
                      </a:lnTo>
                      <a:lnTo>
                        <a:pt x="220" y="174"/>
                      </a:lnTo>
                      <a:lnTo>
                        <a:pt x="226" y="176"/>
                      </a:lnTo>
                      <a:lnTo>
                        <a:pt x="232" y="182"/>
                      </a:lnTo>
                      <a:lnTo>
                        <a:pt x="232" y="182"/>
                      </a:lnTo>
                      <a:lnTo>
                        <a:pt x="258" y="218"/>
                      </a:lnTo>
                      <a:lnTo>
                        <a:pt x="258" y="218"/>
                      </a:lnTo>
                      <a:lnTo>
                        <a:pt x="270" y="232"/>
                      </a:lnTo>
                      <a:lnTo>
                        <a:pt x="282" y="240"/>
                      </a:lnTo>
                      <a:lnTo>
                        <a:pt x="308" y="256"/>
                      </a:lnTo>
                      <a:lnTo>
                        <a:pt x="308" y="256"/>
                      </a:lnTo>
                      <a:lnTo>
                        <a:pt x="320" y="262"/>
                      </a:lnTo>
                      <a:lnTo>
                        <a:pt x="326" y="264"/>
                      </a:lnTo>
                      <a:lnTo>
                        <a:pt x="330" y="264"/>
                      </a:lnTo>
                      <a:lnTo>
                        <a:pt x="334" y="264"/>
                      </a:lnTo>
                      <a:lnTo>
                        <a:pt x="338" y="260"/>
                      </a:lnTo>
                      <a:lnTo>
                        <a:pt x="340" y="256"/>
                      </a:lnTo>
                      <a:lnTo>
                        <a:pt x="344" y="248"/>
                      </a:lnTo>
                      <a:lnTo>
                        <a:pt x="344" y="248"/>
                      </a:lnTo>
                      <a:lnTo>
                        <a:pt x="348" y="232"/>
                      </a:lnTo>
                      <a:lnTo>
                        <a:pt x="350" y="224"/>
                      </a:lnTo>
                      <a:lnTo>
                        <a:pt x="352" y="218"/>
                      </a:lnTo>
                      <a:lnTo>
                        <a:pt x="348" y="206"/>
                      </a:lnTo>
                      <a:lnTo>
                        <a:pt x="348" y="206"/>
                      </a:lnTo>
                      <a:lnTo>
                        <a:pt x="338" y="180"/>
                      </a:lnTo>
                      <a:lnTo>
                        <a:pt x="334" y="168"/>
                      </a:lnTo>
                      <a:lnTo>
                        <a:pt x="330" y="154"/>
                      </a:lnTo>
                      <a:lnTo>
                        <a:pt x="330" y="154"/>
                      </a:lnTo>
                      <a:lnTo>
                        <a:pt x="330" y="136"/>
                      </a:lnTo>
                      <a:lnTo>
                        <a:pt x="332" y="118"/>
                      </a:lnTo>
                      <a:lnTo>
                        <a:pt x="334" y="100"/>
                      </a:lnTo>
                      <a:lnTo>
                        <a:pt x="338" y="88"/>
                      </a:lnTo>
                      <a:lnTo>
                        <a:pt x="338" y="88"/>
                      </a:lnTo>
                      <a:lnTo>
                        <a:pt x="348" y="68"/>
                      </a:lnTo>
                      <a:lnTo>
                        <a:pt x="366" y="34"/>
                      </a:lnTo>
                      <a:lnTo>
                        <a:pt x="366" y="34"/>
                      </a:lnTo>
                      <a:lnTo>
                        <a:pt x="370" y="26"/>
                      </a:lnTo>
                      <a:lnTo>
                        <a:pt x="372" y="18"/>
                      </a:lnTo>
                      <a:lnTo>
                        <a:pt x="372" y="12"/>
                      </a:lnTo>
                      <a:lnTo>
                        <a:pt x="370" y="6"/>
                      </a:lnTo>
                      <a:lnTo>
                        <a:pt x="368" y="2"/>
                      </a:lnTo>
                      <a:lnTo>
                        <a:pt x="364" y="0"/>
                      </a:lnTo>
                      <a:lnTo>
                        <a:pt x="360" y="0"/>
                      </a:lnTo>
                      <a:lnTo>
                        <a:pt x="356" y="2"/>
                      </a:lnTo>
                      <a:lnTo>
                        <a:pt x="356" y="2"/>
                      </a:lnTo>
                      <a:lnTo>
                        <a:pt x="332" y="12"/>
                      </a:lnTo>
                      <a:lnTo>
                        <a:pt x="316" y="20"/>
                      </a:lnTo>
                      <a:lnTo>
                        <a:pt x="316" y="2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6" name="Freeform 60">
                  <a:extLst>
                    <a:ext uri="{FF2B5EF4-FFF2-40B4-BE49-F238E27FC236}">
                      <a16:creationId xmlns:a16="http://schemas.microsoft.com/office/drawing/2014/main" id="{B92569A5-016B-4E95-98A9-4815D583FC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4488" y="5332928"/>
                  <a:ext cx="74689" cy="152426"/>
                </a:xfrm>
                <a:custGeom>
                  <a:avLst/>
                  <a:gdLst/>
                  <a:ahLst/>
                  <a:cxnLst>
                    <a:cxn ang="0">
                      <a:pos x="0" y="74"/>
                    </a:cxn>
                    <a:cxn ang="0">
                      <a:pos x="0" y="74"/>
                    </a:cxn>
                    <a:cxn ang="0">
                      <a:pos x="6" y="104"/>
                    </a:cxn>
                    <a:cxn ang="0">
                      <a:pos x="12" y="136"/>
                    </a:cxn>
                    <a:cxn ang="0">
                      <a:pos x="12" y="136"/>
                    </a:cxn>
                    <a:cxn ang="0">
                      <a:pos x="14" y="154"/>
                    </a:cxn>
                    <a:cxn ang="0">
                      <a:pos x="14" y="166"/>
                    </a:cxn>
                    <a:cxn ang="0">
                      <a:pos x="16" y="172"/>
                    </a:cxn>
                    <a:cxn ang="0">
                      <a:pos x="16" y="176"/>
                    </a:cxn>
                    <a:cxn ang="0">
                      <a:pos x="20" y="182"/>
                    </a:cxn>
                    <a:cxn ang="0">
                      <a:pos x="26" y="186"/>
                    </a:cxn>
                    <a:cxn ang="0">
                      <a:pos x="26" y="186"/>
                    </a:cxn>
                    <a:cxn ang="0">
                      <a:pos x="34" y="192"/>
                    </a:cxn>
                    <a:cxn ang="0">
                      <a:pos x="40" y="196"/>
                    </a:cxn>
                    <a:cxn ang="0">
                      <a:pos x="54" y="200"/>
                    </a:cxn>
                    <a:cxn ang="0">
                      <a:pos x="66" y="200"/>
                    </a:cxn>
                    <a:cxn ang="0">
                      <a:pos x="70" y="200"/>
                    </a:cxn>
                    <a:cxn ang="0">
                      <a:pos x="70" y="200"/>
                    </a:cxn>
                    <a:cxn ang="0">
                      <a:pos x="80" y="182"/>
                    </a:cxn>
                    <a:cxn ang="0">
                      <a:pos x="86" y="164"/>
                    </a:cxn>
                    <a:cxn ang="0">
                      <a:pos x="88" y="156"/>
                    </a:cxn>
                    <a:cxn ang="0">
                      <a:pos x="90" y="148"/>
                    </a:cxn>
                    <a:cxn ang="0">
                      <a:pos x="90" y="148"/>
                    </a:cxn>
                    <a:cxn ang="0">
                      <a:pos x="90" y="138"/>
                    </a:cxn>
                    <a:cxn ang="0">
                      <a:pos x="94" y="128"/>
                    </a:cxn>
                    <a:cxn ang="0">
                      <a:pos x="96" y="112"/>
                    </a:cxn>
                    <a:cxn ang="0">
                      <a:pos x="98" y="82"/>
                    </a:cxn>
                    <a:cxn ang="0">
                      <a:pos x="98" y="82"/>
                    </a:cxn>
                    <a:cxn ang="0">
                      <a:pos x="96" y="48"/>
                    </a:cxn>
                    <a:cxn ang="0">
                      <a:pos x="94" y="24"/>
                    </a:cxn>
                    <a:cxn ang="0">
                      <a:pos x="92" y="8"/>
                    </a:cxn>
                    <a:cxn ang="0">
                      <a:pos x="90" y="4"/>
                    </a:cxn>
                    <a:cxn ang="0">
                      <a:pos x="88" y="2"/>
                    </a:cxn>
                    <a:cxn ang="0">
                      <a:pos x="88" y="2"/>
                    </a:cxn>
                    <a:cxn ang="0">
                      <a:pos x="82" y="0"/>
                    </a:cxn>
                    <a:cxn ang="0">
                      <a:pos x="76" y="0"/>
                    </a:cxn>
                    <a:cxn ang="0">
                      <a:pos x="68" y="2"/>
                    </a:cxn>
                    <a:cxn ang="0">
                      <a:pos x="60" y="10"/>
                    </a:cxn>
                    <a:cxn ang="0">
                      <a:pos x="60" y="10"/>
                    </a:cxn>
                    <a:cxn ang="0">
                      <a:pos x="50" y="18"/>
                    </a:cxn>
                    <a:cxn ang="0">
                      <a:pos x="38" y="26"/>
                    </a:cxn>
                    <a:cxn ang="0">
                      <a:pos x="26" y="30"/>
                    </a:cxn>
                    <a:cxn ang="0">
                      <a:pos x="18" y="36"/>
                    </a:cxn>
                    <a:cxn ang="0">
                      <a:pos x="18" y="36"/>
                    </a:cxn>
                    <a:cxn ang="0">
                      <a:pos x="12" y="46"/>
                    </a:cxn>
                    <a:cxn ang="0">
                      <a:pos x="6" y="58"/>
                    </a:cxn>
                    <a:cxn ang="0">
                      <a:pos x="0" y="74"/>
                    </a:cxn>
                    <a:cxn ang="0">
                      <a:pos x="0" y="74"/>
                    </a:cxn>
                  </a:cxnLst>
                  <a:rect l="0" t="0" r="r" b="b"/>
                  <a:pathLst>
                    <a:path w="98" h="200">
                      <a:moveTo>
                        <a:pt x="0" y="74"/>
                      </a:moveTo>
                      <a:lnTo>
                        <a:pt x="0" y="74"/>
                      </a:lnTo>
                      <a:lnTo>
                        <a:pt x="6" y="104"/>
                      </a:lnTo>
                      <a:lnTo>
                        <a:pt x="12" y="136"/>
                      </a:lnTo>
                      <a:lnTo>
                        <a:pt x="12" y="136"/>
                      </a:lnTo>
                      <a:lnTo>
                        <a:pt x="14" y="154"/>
                      </a:lnTo>
                      <a:lnTo>
                        <a:pt x="14" y="166"/>
                      </a:lnTo>
                      <a:lnTo>
                        <a:pt x="16" y="172"/>
                      </a:lnTo>
                      <a:lnTo>
                        <a:pt x="16" y="176"/>
                      </a:lnTo>
                      <a:lnTo>
                        <a:pt x="20" y="182"/>
                      </a:lnTo>
                      <a:lnTo>
                        <a:pt x="26" y="186"/>
                      </a:lnTo>
                      <a:lnTo>
                        <a:pt x="26" y="186"/>
                      </a:lnTo>
                      <a:lnTo>
                        <a:pt x="34" y="192"/>
                      </a:lnTo>
                      <a:lnTo>
                        <a:pt x="40" y="196"/>
                      </a:lnTo>
                      <a:lnTo>
                        <a:pt x="54" y="200"/>
                      </a:lnTo>
                      <a:lnTo>
                        <a:pt x="66" y="200"/>
                      </a:lnTo>
                      <a:lnTo>
                        <a:pt x="70" y="200"/>
                      </a:lnTo>
                      <a:lnTo>
                        <a:pt x="70" y="200"/>
                      </a:lnTo>
                      <a:lnTo>
                        <a:pt x="80" y="182"/>
                      </a:lnTo>
                      <a:lnTo>
                        <a:pt x="86" y="164"/>
                      </a:lnTo>
                      <a:lnTo>
                        <a:pt x="88" y="156"/>
                      </a:lnTo>
                      <a:lnTo>
                        <a:pt x="90" y="148"/>
                      </a:lnTo>
                      <a:lnTo>
                        <a:pt x="90" y="148"/>
                      </a:lnTo>
                      <a:lnTo>
                        <a:pt x="90" y="138"/>
                      </a:lnTo>
                      <a:lnTo>
                        <a:pt x="94" y="128"/>
                      </a:lnTo>
                      <a:lnTo>
                        <a:pt x="96" y="112"/>
                      </a:lnTo>
                      <a:lnTo>
                        <a:pt x="98" y="82"/>
                      </a:lnTo>
                      <a:lnTo>
                        <a:pt x="98" y="82"/>
                      </a:lnTo>
                      <a:lnTo>
                        <a:pt x="96" y="48"/>
                      </a:lnTo>
                      <a:lnTo>
                        <a:pt x="94" y="24"/>
                      </a:lnTo>
                      <a:lnTo>
                        <a:pt x="92" y="8"/>
                      </a:lnTo>
                      <a:lnTo>
                        <a:pt x="90" y="4"/>
                      </a:lnTo>
                      <a:lnTo>
                        <a:pt x="88" y="2"/>
                      </a:lnTo>
                      <a:lnTo>
                        <a:pt x="88" y="2"/>
                      </a:lnTo>
                      <a:lnTo>
                        <a:pt x="82" y="0"/>
                      </a:lnTo>
                      <a:lnTo>
                        <a:pt x="76" y="0"/>
                      </a:lnTo>
                      <a:lnTo>
                        <a:pt x="68" y="2"/>
                      </a:lnTo>
                      <a:lnTo>
                        <a:pt x="60" y="10"/>
                      </a:lnTo>
                      <a:lnTo>
                        <a:pt x="60" y="10"/>
                      </a:lnTo>
                      <a:lnTo>
                        <a:pt x="50" y="18"/>
                      </a:lnTo>
                      <a:lnTo>
                        <a:pt x="38" y="26"/>
                      </a:lnTo>
                      <a:lnTo>
                        <a:pt x="26" y="30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12" y="46"/>
                      </a:lnTo>
                      <a:lnTo>
                        <a:pt x="6" y="58"/>
                      </a:lnTo>
                      <a:lnTo>
                        <a:pt x="0" y="74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7" name="Freeform 61">
                  <a:extLst>
                    <a:ext uri="{FF2B5EF4-FFF2-40B4-BE49-F238E27FC236}">
                      <a16:creationId xmlns:a16="http://schemas.microsoft.com/office/drawing/2014/main" id="{0C9E6815-253E-4F3B-897A-0589EFF35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8760" y="5532606"/>
                  <a:ext cx="152426" cy="285037"/>
                </a:xfrm>
                <a:custGeom>
                  <a:avLst/>
                  <a:gdLst/>
                  <a:ahLst/>
                  <a:cxnLst>
                    <a:cxn ang="0">
                      <a:pos x="12" y="32"/>
                    </a:cxn>
                    <a:cxn ang="0">
                      <a:pos x="26" y="32"/>
                    </a:cxn>
                    <a:cxn ang="0">
                      <a:pos x="34" y="40"/>
                    </a:cxn>
                    <a:cxn ang="0">
                      <a:pos x="46" y="54"/>
                    </a:cxn>
                    <a:cxn ang="0">
                      <a:pos x="52" y="56"/>
                    </a:cxn>
                    <a:cxn ang="0">
                      <a:pos x="72" y="50"/>
                    </a:cxn>
                    <a:cxn ang="0">
                      <a:pos x="92" y="30"/>
                    </a:cxn>
                    <a:cxn ang="0">
                      <a:pos x="102" y="14"/>
                    </a:cxn>
                    <a:cxn ang="0">
                      <a:pos x="110" y="2"/>
                    </a:cxn>
                    <a:cxn ang="0">
                      <a:pos x="126" y="4"/>
                    </a:cxn>
                    <a:cxn ang="0">
                      <a:pos x="138" y="6"/>
                    </a:cxn>
                    <a:cxn ang="0">
                      <a:pos x="152" y="10"/>
                    </a:cxn>
                    <a:cxn ang="0">
                      <a:pos x="160" y="18"/>
                    </a:cxn>
                    <a:cxn ang="0">
                      <a:pos x="172" y="48"/>
                    </a:cxn>
                    <a:cxn ang="0">
                      <a:pos x="176" y="72"/>
                    </a:cxn>
                    <a:cxn ang="0">
                      <a:pos x="182" y="80"/>
                    </a:cxn>
                    <a:cxn ang="0">
                      <a:pos x="194" y="92"/>
                    </a:cxn>
                    <a:cxn ang="0">
                      <a:pos x="200" y="104"/>
                    </a:cxn>
                    <a:cxn ang="0">
                      <a:pos x="200" y="112"/>
                    </a:cxn>
                    <a:cxn ang="0">
                      <a:pos x="184" y="150"/>
                    </a:cxn>
                    <a:cxn ang="0">
                      <a:pos x="170" y="174"/>
                    </a:cxn>
                    <a:cxn ang="0">
                      <a:pos x="172" y="180"/>
                    </a:cxn>
                    <a:cxn ang="0">
                      <a:pos x="184" y="208"/>
                    </a:cxn>
                    <a:cxn ang="0">
                      <a:pos x="186" y="226"/>
                    </a:cxn>
                    <a:cxn ang="0">
                      <a:pos x="184" y="242"/>
                    </a:cxn>
                    <a:cxn ang="0">
                      <a:pos x="180" y="262"/>
                    </a:cxn>
                    <a:cxn ang="0">
                      <a:pos x="180" y="278"/>
                    </a:cxn>
                    <a:cxn ang="0">
                      <a:pos x="186" y="322"/>
                    </a:cxn>
                    <a:cxn ang="0">
                      <a:pos x="184" y="336"/>
                    </a:cxn>
                    <a:cxn ang="0">
                      <a:pos x="174" y="340"/>
                    </a:cxn>
                    <a:cxn ang="0">
                      <a:pos x="134" y="334"/>
                    </a:cxn>
                    <a:cxn ang="0">
                      <a:pos x="114" y="330"/>
                    </a:cxn>
                    <a:cxn ang="0">
                      <a:pos x="112" y="332"/>
                    </a:cxn>
                    <a:cxn ang="0">
                      <a:pos x="106" y="352"/>
                    </a:cxn>
                    <a:cxn ang="0">
                      <a:pos x="98" y="370"/>
                    </a:cxn>
                    <a:cxn ang="0">
                      <a:pos x="94" y="374"/>
                    </a:cxn>
                    <a:cxn ang="0">
                      <a:pos x="70" y="372"/>
                    </a:cxn>
                    <a:cxn ang="0">
                      <a:pos x="46" y="356"/>
                    </a:cxn>
                    <a:cxn ang="0">
                      <a:pos x="36" y="346"/>
                    </a:cxn>
                    <a:cxn ang="0">
                      <a:pos x="26" y="330"/>
                    </a:cxn>
                    <a:cxn ang="0">
                      <a:pos x="24" y="314"/>
                    </a:cxn>
                    <a:cxn ang="0">
                      <a:pos x="26" y="306"/>
                    </a:cxn>
                    <a:cxn ang="0">
                      <a:pos x="32" y="256"/>
                    </a:cxn>
                    <a:cxn ang="0">
                      <a:pos x="38" y="230"/>
                    </a:cxn>
                    <a:cxn ang="0">
                      <a:pos x="40" y="226"/>
                    </a:cxn>
                    <a:cxn ang="0">
                      <a:pos x="42" y="218"/>
                    </a:cxn>
                    <a:cxn ang="0">
                      <a:pos x="46" y="164"/>
                    </a:cxn>
                    <a:cxn ang="0">
                      <a:pos x="44" y="158"/>
                    </a:cxn>
                    <a:cxn ang="0">
                      <a:pos x="34" y="134"/>
                    </a:cxn>
                    <a:cxn ang="0">
                      <a:pos x="6" y="76"/>
                    </a:cxn>
                    <a:cxn ang="0">
                      <a:pos x="0" y="50"/>
                    </a:cxn>
                    <a:cxn ang="0">
                      <a:pos x="6" y="38"/>
                    </a:cxn>
                    <a:cxn ang="0">
                      <a:pos x="12" y="32"/>
                    </a:cxn>
                  </a:cxnLst>
                  <a:rect l="0" t="0" r="r" b="b"/>
                  <a:pathLst>
                    <a:path w="200" h="374">
                      <a:moveTo>
                        <a:pt x="12" y="32"/>
                      </a:moveTo>
                      <a:lnTo>
                        <a:pt x="12" y="32"/>
                      </a:lnTo>
                      <a:lnTo>
                        <a:pt x="20" y="30"/>
                      </a:lnTo>
                      <a:lnTo>
                        <a:pt x="26" y="32"/>
                      </a:lnTo>
                      <a:lnTo>
                        <a:pt x="30" y="36"/>
                      </a:lnTo>
                      <a:lnTo>
                        <a:pt x="34" y="40"/>
                      </a:lnTo>
                      <a:lnTo>
                        <a:pt x="42" y="50"/>
                      </a:lnTo>
                      <a:lnTo>
                        <a:pt x="46" y="54"/>
                      </a:lnTo>
                      <a:lnTo>
                        <a:pt x="52" y="56"/>
                      </a:lnTo>
                      <a:lnTo>
                        <a:pt x="52" y="56"/>
                      </a:lnTo>
                      <a:lnTo>
                        <a:pt x="62" y="54"/>
                      </a:lnTo>
                      <a:lnTo>
                        <a:pt x="72" y="50"/>
                      </a:lnTo>
                      <a:lnTo>
                        <a:pt x="80" y="44"/>
                      </a:lnTo>
                      <a:lnTo>
                        <a:pt x="92" y="30"/>
                      </a:lnTo>
                      <a:lnTo>
                        <a:pt x="92" y="30"/>
                      </a:lnTo>
                      <a:lnTo>
                        <a:pt x="102" y="14"/>
                      </a:lnTo>
                      <a:lnTo>
                        <a:pt x="108" y="4"/>
                      </a:lnTo>
                      <a:lnTo>
                        <a:pt x="110" y="2"/>
                      </a:lnTo>
                      <a:lnTo>
                        <a:pt x="114" y="0"/>
                      </a:lnTo>
                      <a:lnTo>
                        <a:pt x="126" y="4"/>
                      </a:lnTo>
                      <a:lnTo>
                        <a:pt x="126" y="4"/>
                      </a:lnTo>
                      <a:lnTo>
                        <a:pt x="138" y="6"/>
                      </a:lnTo>
                      <a:lnTo>
                        <a:pt x="146" y="6"/>
                      </a:lnTo>
                      <a:lnTo>
                        <a:pt x="152" y="10"/>
                      </a:lnTo>
                      <a:lnTo>
                        <a:pt x="160" y="18"/>
                      </a:lnTo>
                      <a:lnTo>
                        <a:pt x="160" y="18"/>
                      </a:lnTo>
                      <a:lnTo>
                        <a:pt x="166" y="32"/>
                      </a:lnTo>
                      <a:lnTo>
                        <a:pt x="172" y="48"/>
                      </a:lnTo>
                      <a:lnTo>
                        <a:pt x="176" y="72"/>
                      </a:lnTo>
                      <a:lnTo>
                        <a:pt x="176" y="72"/>
                      </a:lnTo>
                      <a:lnTo>
                        <a:pt x="178" y="78"/>
                      </a:lnTo>
                      <a:lnTo>
                        <a:pt x="182" y="80"/>
                      </a:lnTo>
                      <a:lnTo>
                        <a:pt x="190" y="88"/>
                      </a:lnTo>
                      <a:lnTo>
                        <a:pt x="194" y="92"/>
                      </a:lnTo>
                      <a:lnTo>
                        <a:pt x="198" y="98"/>
                      </a:lnTo>
                      <a:lnTo>
                        <a:pt x="200" y="104"/>
                      </a:lnTo>
                      <a:lnTo>
                        <a:pt x="200" y="112"/>
                      </a:lnTo>
                      <a:lnTo>
                        <a:pt x="200" y="112"/>
                      </a:lnTo>
                      <a:lnTo>
                        <a:pt x="194" y="132"/>
                      </a:lnTo>
                      <a:lnTo>
                        <a:pt x="184" y="150"/>
                      </a:lnTo>
                      <a:lnTo>
                        <a:pt x="170" y="174"/>
                      </a:lnTo>
                      <a:lnTo>
                        <a:pt x="170" y="174"/>
                      </a:lnTo>
                      <a:lnTo>
                        <a:pt x="170" y="176"/>
                      </a:lnTo>
                      <a:lnTo>
                        <a:pt x="172" y="180"/>
                      </a:lnTo>
                      <a:lnTo>
                        <a:pt x="178" y="192"/>
                      </a:lnTo>
                      <a:lnTo>
                        <a:pt x="184" y="208"/>
                      </a:lnTo>
                      <a:lnTo>
                        <a:pt x="186" y="216"/>
                      </a:lnTo>
                      <a:lnTo>
                        <a:pt x="186" y="226"/>
                      </a:lnTo>
                      <a:lnTo>
                        <a:pt x="186" y="226"/>
                      </a:lnTo>
                      <a:lnTo>
                        <a:pt x="184" y="242"/>
                      </a:lnTo>
                      <a:lnTo>
                        <a:pt x="182" y="250"/>
                      </a:lnTo>
                      <a:lnTo>
                        <a:pt x="180" y="262"/>
                      </a:lnTo>
                      <a:lnTo>
                        <a:pt x="180" y="278"/>
                      </a:lnTo>
                      <a:lnTo>
                        <a:pt x="180" y="278"/>
                      </a:lnTo>
                      <a:lnTo>
                        <a:pt x="182" y="302"/>
                      </a:lnTo>
                      <a:lnTo>
                        <a:pt x="186" y="322"/>
                      </a:lnTo>
                      <a:lnTo>
                        <a:pt x="186" y="330"/>
                      </a:lnTo>
                      <a:lnTo>
                        <a:pt x="184" y="336"/>
                      </a:lnTo>
                      <a:lnTo>
                        <a:pt x="180" y="340"/>
                      </a:lnTo>
                      <a:lnTo>
                        <a:pt x="174" y="340"/>
                      </a:lnTo>
                      <a:lnTo>
                        <a:pt x="174" y="340"/>
                      </a:lnTo>
                      <a:lnTo>
                        <a:pt x="134" y="334"/>
                      </a:lnTo>
                      <a:lnTo>
                        <a:pt x="118" y="330"/>
                      </a:lnTo>
                      <a:lnTo>
                        <a:pt x="114" y="330"/>
                      </a:lnTo>
                      <a:lnTo>
                        <a:pt x="112" y="332"/>
                      </a:lnTo>
                      <a:lnTo>
                        <a:pt x="112" y="332"/>
                      </a:lnTo>
                      <a:lnTo>
                        <a:pt x="110" y="340"/>
                      </a:lnTo>
                      <a:lnTo>
                        <a:pt x="106" y="352"/>
                      </a:lnTo>
                      <a:lnTo>
                        <a:pt x="102" y="366"/>
                      </a:lnTo>
                      <a:lnTo>
                        <a:pt x="98" y="370"/>
                      </a:lnTo>
                      <a:lnTo>
                        <a:pt x="94" y="374"/>
                      </a:lnTo>
                      <a:lnTo>
                        <a:pt x="94" y="374"/>
                      </a:lnTo>
                      <a:lnTo>
                        <a:pt x="82" y="374"/>
                      </a:lnTo>
                      <a:lnTo>
                        <a:pt x="70" y="372"/>
                      </a:lnTo>
                      <a:lnTo>
                        <a:pt x="58" y="366"/>
                      </a:lnTo>
                      <a:lnTo>
                        <a:pt x="46" y="356"/>
                      </a:lnTo>
                      <a:lnTo>
                        <a:pt x="46" y="356"/>
                      </a:lnTo>
                      <a:lnTo>
                        <a:pt x="36" y="346"/>
                      </a:lnTo>
                      <a:lnTo>
                        <a:pt x="28" y="336"/>
                      </a:lnTo>
                      <a:lnTo>
                        <a:pt x="26" y="330"/>
                      </a:lnTo>
                      <a:lnTo>
                        <a:pt x="24" y="322"/>
                      </a:lnTo>
                      <a:lnTo>
                        <a:pt x="24" y="314"/>
                      </a:lnTo>
                      <a:lnTo>
                        <a:pt x="26" y="306"/>
                      </a:lnTo>
                      <a:lnTo>
                        <a:pt x="26" y="306"/>
                      </a:lnTo>
                      <a:lnTo>
                        <a:pt x="30" y="282"/>
                      </a:lnTo>
                      <a:lnTo>
                        <a:pt x="32" y="256"/>
                      </a:lnTo>
                      <a:lnTo>
                        <a:pt x="36" y="236"/>
                      </a:lnTo>
                      <a:lnTo>
                        <a:pt x="38" y="230"/>
                      </a:lnTo>
                      <a:lnTo>
                        <a:pt x="40" y="226"/>
                      </a:lnTo>
                      <a:lnTo>
                        <a:pt x="40" y="226"/>
                      </a:lnTo>
                      <a:lnTo>
                        <a:pt x="42" y="224"/>
                      </a:lnTo>
                      <a:lnTo>
                        <a:pt x="42" y="218"/>
                      </a:lnTo>
                      <a:lnTo>
                        <a:pt x="44" y="204"/>
                      </a:lnTo>
                      <a:lnTo>
                        <a:pt x="46" y="164"/>
                      </a:lnTo>
                      <a:lnTo>
                        <a:pt x="46" y="164"/>
                      </a:lnTo>
                      <a:lnTo>
                        <a:pt x="44" y="158"/>
                      </a:lnTo>
                      <a:lnTo>
                        <a:pt x="42" y="150"/>
                      </a:lnTo>
                      <a:lnTo>
                        <a:pt x="34" y="134"/>
                      </a:lnTo>
                      <a:lnTo>
                        <a:pt x="14" y="94"/>
                      </a:lnTo>
                      <a:lnTo>
                        <a:pt x="6" y="76"/>
                      </a:lnTo>
                      <a:lnTo>
                        <a:pt x="0" y="58"/>
                      </a:lnTo>
                      <a:lnTo>
                        <a:pt x="0" y="50"/>
                      </a:lnTo>
                      <a:lnTo>
                        <a:pt x="2" y="44"/>
                      </a:lnTo>
                      <a:lnTo>
                        <a:pt x="6" y="38"/>
                      </a:lnTo>
                      <a:lnTo>
                        <a:pt x="12" y="32"/>
                      </a:lnTo>
                      <a:lnTo>
                        <a:pt x="12" y="3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8" name="Freeform 62">
                  <a:extLst>
                    <a:ext uri="{FF2B5EF4-FFF2-40B4-BE49-F238E27FC236}">
                      <a16:creationId xmlns:a16="http://schemas.microsoft.com/office/drawing/2014/main" id="{E727C1F1-00EA-4A7B-80A7-EFDAF785D2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97462" y="5587479"/>
                  <a:ext cx="92980" cy="83834"/>
                </a:xfrm>
                <a:custGeom>
                  <a:avLst/>
                  <a:gdLst/>
                  <a:ahLst/>
                  <a:cxnLst>
                    <a:cxn ang="0">
                      <a:pos x="2" y="40"/>
                    </a:cxn>
                    <a:cxn ang="0">
                      <a:pos x="2" y="40"/>
                    </a:cxn>
                    <a:cxn ang="0">
                      <a:pos x="16" y="56"/>
                    </a:cxn>
                    <a:cxn ang="0">
                      <a:pos x="44" y="80"/>
                    </a:cxn>
                    <a:cxn ang="0">
                      <a:pos x="44" y="80"/>
                    </a:cxn>
                    <a:cxn ang="0">
                      <a:pos x="62" y="94"/>
                    </a:cxn>
                    <a:cxn ang="0">
                      <a:pos x="76" y="106"/>
                    </a:cxn>
                    <a:cxn ang="0">
                      <a:pos x="82" y="108"/>
                    </a:cxn>
                    <a:cxn ang="0">
                      <a:pos x="86" y="110"/>
                    </a:cxn>
                    <a:cxn ang="0">
                      <a:pos x="92" y="108"/>
                    </a:cxn>
                    <a:cxn ang="0">
                      <a:pos x="98" y="106"/>
                    </a:cxn>
                    <a:cxn ang="0">
                      <a:pos x="98" y="106"/>
                    </a:cxn>
                    <a:cxn ang="0">
                      <a:pos x="108" y="96"/>
                    </a:cxn>
                    <a:cxn ang="0">
                      <a:pos x="118" y="84"/>
                    </a:cxn>
                    <a:cxn ang="0">
                      <a:pos x="122" y="72"/>
                    </a:cxn>
                    <a:cxn ang="0">
                      <a:pos x="122" y="68"/>
                    </a:cxn>
                    <a:cxn ang="0">
                      <a:pos x="120" y="66"/>
                    </a:cxn>
                    <a:cxn ang="0">
                      <a:pos x="120" y="66"/>
                    </a:cxn>
                    <a:cxn ang="0">
                      <a:pos x="112" y="62"/>
                    </a:cxn>
                    <a:cxn ang="0">
                      <a:pos x="108" y="56"/>
                    </a:cxn>
                    <a:cxn ang="0">
                      <a:pos x="104" y="44"/>
                    </a:cxn>
                    <a:cxn ang="0">
                      <a:pos x="104" y="44"/>
                    </a:cxn>
                    <a:cxn ang="0">
                      <a:pos x="94" y="18"/>
                    </a:cxn>
                    <a:cxn ang="0">
                      <a:pos x="94" y="18"/>
                    </a:cxn>
                    <a:cxn ang="0">
                      <a:pos x="94" y="16"/>
                    </a:cxn>
                    <a:cxn ang="0">
                      <a:pos x="94" y="10"/>
                    </a:cxn>
                    <a:cxn ang="0">
                      <a:pos x="92" y="8"/>
                    </a:cxn>
                    <a:cxn ang="0">
                      <a:pos x="88" y="4"/>
                    </a:cxn>
                    <a:cxn ang="0">
                      <a:pos x="82" y="2"/>
                    </a:cxn>
                    <a:cxn ang="0">
                      <a:pos x="74" y="0"/>
                    </a:cxn>
                    <a:cxn ang="0">
                      <a:pos x="74" y="0"/>
                    </a:cxn>
                    <a:cxn ang="0">
                      <a:pos x="62" y="0"/>
                    </a:cxn>
                    <a:cxn ang="0">
                      <a:pos x="50" y="4"/>
                    </a:cxn>
                    <a:cxn ang="0">
                      <a:pos x="36" y="8"/>
                    </a:cxn>
                    <a:cxn ang="0">
                      <a:pos x="22" y="14"/>
                    </a:cxn>
                    <a:cxn ang="0">
                      <a:pos x="12" y="20"/>
                    </a:cxn>
                    <a:cxn ang="0">
                      <a:pos x="4" y="28"/>
                    </a:cxn>
                    <a:cxn ang="0">
                      <a:pos x="0" y="34"/>
                    </a:cxn>
                    <a:cxn ang="0">
                      <a:pos x="0" y="38"/>
                    </a:cxn>
                    <a:cxn ang="0">
                      <a:pos x="2" y="40"/>
                    </a:cxn>
                    <a:cxn ang="0">
                      <a:pos x="2" y="40"/>
                    </a:cxn>
                  </a:cxnLst>
                  <a:rect l="0" t="0" r="r" b="b"/>
                  <a:pathLst>
                    <a:path w="122" h="110">
                      <a:moveTo>
                        <a:pt x="2" y="40"/>
                      </a:moveTo>
                      <a:lnTo>
                        <a:pt x="2" y="40"/>
                      </a:lnTo>
                      <a:lnTo>
                        <a:pt x="16" y="56"/>
                      </a:lnTo>
                      <a:lnTo>
                        <a:pt x="44" y="80"/>
                      </a:lnTo>
                      <a:lnTo>
                        <a:pt x="44" y="80"/>
                      </a:lnTo>
                      <a:lnTo>
                        <a:pt x="62" y="94"/>
                      </a:lnTo>
                      <a:lnTo>
                        <a:pt x="76" y="106"/>
                      </a:lnTo>
                      <a:lnTo>
                        <a:pt x="82" y="108"/>
                      </a:lnTo>
                      <a:lnTo>
                        <a:pt x="86" y="110"/>
                      </a:lnTo>
                      <a:lnTo>
                        <a:pt x="92" y="108"/>
                      </a:lnTo>
                      <a:lnTo>
                        <a:pt x="98" y="106"/>
                      </a:lnTo>
                      <a:lnTo>
                        <a:pt x="98" y="106"/>
                      </a:lnTo>
                      <a:lnTo>
                        <a:pt x="108" y="96"/>
                      </a:lnTo>
                      <a:lnTo>
                        <a:pt x="118" y="84"/>
                      </a:lnTo>
                      <a:lnTo>
                        <a:pt x="122" y="72"/>
                      </a:lnTo>
                      <a:lnTo>
                        <a:pt x="122" y="68"/>
                      </a:lnTo>
                      <a:lnTo>
                        <a:pt x="120" y="66"/>
                      </a:lnTo>
                      <a:lnTo>
                        <a:pt x="120" y="66"/>
                      </a:lnTo>
                      <a:lnTo>
                        <a:pt x="112" y="62"/>
                      </a:lnTo>
                      <a:lnTo>
                        <a:pt x="108" y="56"/>
                      </a:lnTo>
                      <a:lnTo>
                        <a:pt x="104" y="44"/>
                      </a:lnTo>
                      <a:lnTo>
                        <a:pt x="104" y="44"/>
                      </a:lnTo>
                      <a:lnTo>
                        <a:pt x="94" y="18"/>
                      </a:lnTo>
                      <a:lnTo>
                        <a:pt x="94" y="18"/>
                      </a:lnTo>
                      <a:lnTo>
                        <a:pt x="94" y="16"/>
                      </a:lnTo>
                      <a:lnTo>
                        <a:pt x="94" y="10"/>
                      </a:lnTo>
                      <a:lnTo>
                        <a:pt x="92" y="8"/>
                      </a:lnTo>
                      <a:lnTo>
                        <a:pt x="88" y="4"/>
                      </a:lnTo>
                      <a:lnTo>
                        <a:pt x="82" y="2"/>
                      </a:lnTo>
                      <a:lnTo>
                        <a:pt x="74" y="0"/>
                      </a:lnTo>
                      <a:lnTo>
                        <a:pt x="74" y="0"/>
                      </a:lnTo>
                      <a:lnTo>
                        <a:pt x="62" y="0"/>
                      </a:lnTo>
                      <a:lnTo>
                        <a:pt x="50" y="4"/>
                      </a:lnTo>
                      <a:lnTo>
                        <a:pt x="36" y="8"/>
                      </a:lnTo>
                      <a:lnTo>
                        <a:pt x="22" y="14"/>
                      </a:lnTo>
                      <a:lnTo>
                        <a:pt x="12" y="20"/>
                      </a:lnTo>
                      <a:lnTo>
                        <a:pt x="4" y="28"/>
                      </a:lnTo>
                      <a:lnTo>
                        <a:pt x="0" y="34"/>
                      </a:lnTo>
                      <a:lnTo>
                        <a:pt x="0" y="38"/>
                      </a:lnTo>
                      <a:lnTo>
                        <a:pt x="2" y="40"/>
                      </a:lnTo>
                      <a:lnTo>
                        <a:pt x="2" y="4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49" name="Freeform 63">
                  <a:extLst>
                    <a:ext uri="{FF2B5EF4-FFF2-40B4-BE49-F238E27FC236}">
                      <a16:creationId xmlns:a16="http://schemas.microsoft.com/office/drawing/2014/main" id="{2C1C30DA-782D-4ED6-8112-3FF2F3CD9C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4646" y="5589004"/>
                  <a:ext cx="35058" cy="39631"/>
                </a:xfrm>
                <a:custGeom>
                  <a:avLst/>
                  <a:gdLst/>
                  <a:ahLst/>
                  <a:cxnLst>
                    <a:cxn ang="0">
                      <a:pos x="0" y="14"/>
                    </a:cxn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0" y="22"/>
                    </a:cxn>
                    <a:cxn ang="0">
                      <a:pos x="6" y="26"/>
                    </a:cxn>
                    <a:cxn ang="0">
                      <a:pos x="28" y="36"/>
                    </a:cxn>
                    <a:cxn ang="0">
                      <a:pos x="28" y="36"/>
                    </a:cxn>
                    <a:cxn ang="0">
                      <a:pos x="34" y="44"/>
                    </a:cxn>
                    <a:cxn ang="0">
                      <a:pos x="38" y="50"/>
                    </a:cxn>
                    <a:cxn ang="0">
                      <a:pos x="40" y="52"/>
                    </a:cxn>
                    <a:cxn ang="0">
                      <a:pos x="42" y="46"/>
                    </a:cxn>
                    <a:cxn ang="0">
                      <a:pos x="42" y="46"/>
                    </a:cxn>
                    <a:cxn ang="0">
                      <a:pos x="44" y="38"/>
                    </a:cxn>
                    <a:cxn ang="0">
                      <a:pos x="46" y="30"/>
                    </a:cxn>
                    <a:cxn ang="0">
                      <a:pos x="44" y="24"/>
                    </a:cxn>
                    <a:cxn ang="0">
                      <a:pos x="40" y="18"/>
                    </a:cxn>
                    <a:cxn ang="0">
                      <a:pos x="40" y="18"/>
                    </a:cxn>
                    <a:cxn ang="0">
                      <a:pos x="30" y="8"/>
                    </a:cxn>
                    <a:cxn ang="0">
                      <a:pos x="24" y="4"/>
                    </a:cxn>
                    <a:cxn ang="0">
                      <a:pos x="18" y="2"/>
                    </a:cxn>
                    <a:cxn ang="0">
                      <a:pos x="12" y="0"/>
                    </a:cxn>
                    <a:cxn ang="0">
                      <a:pos x="8" y="2"/>
                    </a:cxn>
                    <a:cxn ang="0">
                      <a:pos x="2" y="6"/>
                    </a:cxn>
                    <a:cxn ang="0">
                      <a:pos x="0" y="14"/>
                    </a:cxn>
                    <a:cxn ang="0">
                      <a:pos x="0" y="14"/>
                    </a:cxn>
                  </a:cxnLst>
                  <a:rect l="0" t="0" r="r" b="b"/>
                  <a:pathLst>
                    <a:path w="46" h="52"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0" y="22"/>
                      </a:lnTo>
                      <a:lnTo>
                        <a:pt x="6" y="26"/>
                      </a:lnTo>
                      <a:lnTo>
                        <a:pt x="28" y="36"/>
                      </a:lnTo>
                      <a:lnTo>
                        <a:pt x="28" y="36"/>
                      </a:lnTo>
                      <a:lnTo>
                        <a:pt x="34" y="44"/>
                      </a:lnTo>
                      <a:lnTo>
                        <a:pt x="38" y="50"/>
                      </a:lnTo>
                      <a:lnTo>
                        <a:pt x="40" y="52"/>
                      </a:lnTo>
                      <a:lnTo>
                        <a:pt x="42" y="46"/>
                      </a:lnTo>
                      <a:lnTo>
                        <a:pt x="42" y="46"/>
                      </a:lnTo>
                      <a:lnTo>
                        <a:pt x="44" y="38"/>
                      </a:lnTo>
                      <a:lnTo>
                        <a:pt x="46" y="30"/>
                      </a:lnTo>
                      <a:lnTo>
                        <a:pt x="44" y="24"/>
                      </a:lnTo>
                      <a:lnTo>
                        <a:pt x="40" y="18"/>
                      </a:lnTo>
                      <a:lnTo>
                        <a:pt x="40" y="18"/>
                      </a:lnTo>
                      <a:lnTo>
                        <a:pt x="30" y="8"/>
                      </a:lnTo>
                      <a:lnTo>
                        <a:pt x="24" y="4"/>
                      </a:lnTo>
                      <a:lnTo>
                        <a:pt x="18" y="2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2" y="6"/>
                      </a:lnTo>
                      <a:lnTo>
                        <a:pt x="0" y="14"/>
                      </a:lnTo>
                      <a:lnTo>
                        <a:pt x="0" y="1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0" name="Freeform 64">
                  <a:extLst>
                    <a:ext uri="{FF2B5EF4-FFF2-40B4-BE49-F238E27FC236}">
                      <a16:creationId xmlns:a16="http://schemas.microsoft.com/office/drawing/2014/main" id="{BE0A78CD-F014-4AE5-BD98-D1D6C32058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6138" y="4767427"/>
                  <a:ext cx="1044119" cy="1070032"/>
                </a:xfrm>
                <a:custGeom>
                  <a:avLst/>
                  <a:gdLst/>
                  <a:ahLst/>
                  <a:cxnLst>
                    <a:cxn ang="0">
                      <a:pos x="1370" y="694"/>
                    </a:cxn>
                    <a:cxn ang="0">
                      <a:pos x="1334" y="768"/>
                    </a:cxn>
                    <a:cxn ang="0">
                      <a:pos x="1172" y="820"/>
                    </a:cxn>
                    <a:cxn ang="0">
                      <a:pos x="1074" y="854"/>
                    </a:cxn>
                    <a:cxn ang="0">
                      <a:pos x="1016" y="910"/>
                    </a:cxn>
                    <a:cxn ang="0">
                      <a:pos x="908" y="1038"/>
                    </a:cxn>
                    <a:cxn ang="0">
                      <a:pos x="930" y="1148"/>
                    </a:cxn>
                    <a:cxn ang="0">
                      <a:pos x="958" y="1180"/>
                    </a:cxn>
                    <a:cxn ang="0">
                      <a:pos x="924" y="1190"/>
                    </a:cxn>
                    <a:cxn ang="0">
                      <a:pos x="850" y="1228"/>
                    </a:cxn>
                    <a:cxn ang="0">
                      <a:pos x="838" y="1316"/>
                    </a:cxn>
                    <a:cxn ang="0">
                      <a:pos x="792" y="1320"/>
                    </a:cxn>
                    <a:cxn ang="0">
                      <a:pos x="720" y="1334"/>
                    </a:cxn>
                    <a:cxn ang="0">
                      <a:pos x="672" y="1400"/>
                    </a:cxn>
                    <a:cxn ang="0">
                      <a:pos x="572" y="1394"/>
                    </a:cxn>
                    <a:cxn ang="0">
                      <a:pos x="452" y="1356"/>
                    </a:cxn>
                    <a:cxn ang="0">
                      <a:pos x="368" y="1328"/>
                    </a:cxn>
                    <a:cxn ang="0">
                      <a:pos x="318" y="1352"/>
                    </a:cxn>
                    <a:cxn ang="0">
                      <a:pos x="240" y="1344"/>
                    </a:cxn>
                    <a:cxn ang="0">
                      <a:pos x="204" y="1380"/>
                    </a:cxn>
                    <a:cxn ang="0">
                      <a:pos x="134" y="1316"/>
                    </a:cxn>
                    <a:cxn ang="0">
                      <a:pos x="112" y="1212"/>
                    </a:cxn>
                    <a:cxn ang="0">
                      <a:pos x="82" y="1118"/>
                    </a:cxn>
                    <a:cxn ang="0">
                      <a:pos x="22" y="1110"/>
                    </a:cxn>
                    <a:cxn ang="0">
                      <a:pos x="2" y="1054"/>
                    </a:cxn>
                    <a:cxn ang="0">
                      <a:pos x="26" y="978"/>
                    </a:cxn>
                    <a:cxn ang="0">
                      <a:pos x="86" y="988"/>
                    </a:cxn>
                    <a:cxn ang="0">
                      <a:pos x="86" y="944"/>
                    </a:cxn>
                    <a:cxn ang="0">
                      <a:pos x="64" y="866"/>
                    </a:cxn>
                    <a:cxn ang="0">
                      <a:pos x="106" y="822"/>
                    </a:cxn>
                    <a:cxn ang="0">
                      <a:pos x="72" y="704"/>
                    </a:cxn>
                    <a:cxn ang="0">
                      <a:pos x="78" y="684"/>
                    </a:cxn>
                    <a:cxn ang="0">
                      <a:pos x="136" y="672"/>
                    </a:cxn>
                    <a:cxn ang="0">
                      <a:pos x="162" y="612"/>
                    </a:cxn>
                    <a:cxn ang="0">
                      <a:pos x="194" y="564"/>
                    </a:cxn>
                    <a:cxn ang="0">
                      <a:pos x="198" y="506"/>
                    </a:cxn>
                    <a:cxn ang="0">
                      <a:pos x="280" y="418"/>
                    </a:cxn>
                    <a:cxn ang="0">
                      <a:pos x="222" y="310"/>
                    </a:cxn>
                    <a:cxn ang="0">
                      <a:pos x="142" y="316"/>
                    </a:cxn>
                    <a:cxn ang="0">
                      <a:pos x="110" y="276"/>
                    </a:cxn>
                    <a:cxn ang="0">
                      <a:pos x="86" y="222"/>
                    </a:cxn>
                    <a:cxn ang="0">
                      <a:pos x="24" y="92"/>
                    </a:cxn>
                    <a:cxn ang="0">
                      <a:pos x="26" y="34"/>
                    </a:cxn>
                    <a:cxn ang="0">
                      <a:pos x="98" y="8"/>
                    </a:cxn>
                    <a:cxn ang="0">
                      <a:pos x="140" y="18"/>
                    </a:cxn>
                    <a:cxn ang="0">
                      <a:pos x="194" y="0"/>
                    </a:cxn>
                    <a:cxn ang="0">
                      <a:pos x="234" y="20"/>
                    </a:cxn>
                    <a:cxn ang="0">
                      <a:pos x="332" y="100"/>
                    </a:cxn>
                    <a:cxn ang="0">
                      <a:pos x="476" y="172"/>
                    </a:cxn>
                    <a:cxn ang="0">
                      <a:pos x="548" y="226"/>
                    </a:cxn>
                    <a:cxn ang="0">
                      <a:pos x="624" y="232"/>
                    </a:cxn>
                    <a:cxn ang="0">
                      <a:pos x="766" y="320"/>
                    </a:cxn>
                    <a:cxn ang="0">
                      <a:pos x="844" y="370"/>
                    </a:cxn>
                    <a:cxn ang="0">
                      <a:pos x="924" y="436"/>
                    </a:cxn>
                    <a:cxn ang="0">
                      <a:pos x="982" y="490"/>
                    </a:cxn>
                    <a:cxn ang="0">
                      <a:pos x="1106" y="534"/>
                    </a:cxn>
                    <a:cxn ang="0">
                      <a:pos x="1198" y="610"/>
                    </a:cxn>
                    <a:cxn ang="0">
                      <a:pos x="1354" y="658"/>
                    </a:cxn>
                  </a:cxnLst>
                  <a:rect l="0" t="0" r="r" b="b"/>
                  <a:pathLst>
                    <a:path w="1370" h="1404">
                      <a:moveTo>
                        <a:pt x="1354" y="658"/>
                      </a:moveTo>
                      <a:lnTo>
                        <a:pt x="1354" y="658"/>
                      </a:lnTo>
                      <a:lnTo>
                        <a:pt x="1358" y="662"/>
                      </a:lnTo>
                      <a:lnTo>
                        <a:pt x="1366" y="670"/>
                      </a:lnTo>
                      <a:lnTo>
                        <a:pt x="1370" y="676"/>
                      </a:lnTo>
                      <a:lnTo>
                        <a:pt x="1370" y="684"/>
                      </a:lnTo>
                      <a:lnTo>
                        <a:pt x="1370" y="694"/>
                      </a:lnTo>
                      <a:lnTo>
                        <a:pt x="1368" y="708"/>
                      </a:lnTo>
                      <a:lnTo>
                        <a:pt x="1368" y="708"/>
                      </a:lnTo>
                      <a:lnTo>
                        <a:pt x="1358" y="732"/>
                      </a:lnTo>
                      <a:lnTo>
                        <a:pt x="1350" y="750"/>
                      </a:lnTo>
                      <a:lnTo>
                        <a:pt x="1346" y="758"/>
                      </a:lnTo>
                      <a:lnTo>
                        <a:pt x="1340" y="762"/>
                      </a:lnTo>
                      <a:lnTo>
                        <a:pt x="1334" y="768"/>
                      </a:lnTo>
                      <a:lnTo>
                        <a:pt x="1326" y="770"/>
                      </a:lnTo>
                      <a:lnTo>
                        <a:pt x="1326" y="770"/>
                      </a:lnTo>
                      <a:lnTo>
                        <a:pt x="1308" y="776"/>
                      </a:lnTo>
                      <a:lnTo>
                        <a:pt x="1284" y="784"/>
                      </a:lnTo>
                      <a:lnTo>
                        <a:pt x="1214" y="808"/>
                      </a:lnTo>
                      <a:lnTo>
                        <a:pt x="1214" y="808"/>
                      </a:lnTo>
                      <a:lnTo>
                        <a:pt x="1172" y="820"/>
                      </a:lnTo>
                      <a:lnTo>
                        <a:pt x="1134" y="828"/>
                      </a:lnTo>
                      <a:lnTo>
                        <a:pt x="1102" y="834"/>
                      </a:lnTo>
                      <a:lnTo>
                        <a:pt x="1092" y="838"/>
                      </a:lnTo>
                      <a:lnTo>
                        <a:pt x="1084" y="842"/>
                      </a:lnTo>
                      <a:lnTo>
                        <a:pt x="1084" y="842"/>
                      </a:lnTo>
                      <a:lnTo>
                        <a:pt x="1078" y="848"/>
                      </a:lnTo>
                      <a:lnTo>
                        <a:pt x="1074" y="854"/>
                      </a:lnTo>
                      <a:lnTo>
                        <a:pt x="1070" y="868"/>
                      </a:lnTo>
                      <a:lnTo>
                        <a:pt x="1064" y="884"/>
                      </a:lnTo>
                      <a:lnTo>
                        <a:pt x="1058" y="890"/>
                      </a:lnTo>
                      <a:lnTo>
                        <a:pt x="1052" y="894"/>
                      </a:lnTo>
                      <a:lnTo>
                        <a:pt x="1052" y="894"/>
                      </a:lnTo>
                      <a:lnTo>
                        <a:pt x="1036" y="900"/>
                      </a:lnTo>
                      <a:lnTo>
                        <a:pt x="1016" y="910"/>
                      </a:lnTo>
                      <a:lnTo>
                        <a:pt x="1006" y="918"/>
                      </a:lnTo>
                      <a:lnTo>
                        <a:pt x="994" y="928"/>
                      </a:lnTo>
                      <a:lnTo>
                        <a:pt x="982" y="942"/>
                      </a:lnTo>
                      <a:lnTo>
                        <a:pt x="968" y="958"/>
                      </a:lnTo>
                      <a:lnTo>
                        <a:pt x="968" y="958"/>
                      </a:lnTo>
                      <a:lnTo>
                        <a:pt x="918" y="1024"/>
                      </a:lnTo>
                      <a:lnTo>
                        <a:pt x="908" y="1038"/>
                      </a:lnTo>
                      <a:lnTo>
                        <a:pt x="902" y="1048"/>
                      </a:lnTo>
                      <a:lnTo>
                        <a:pt x="898" y="1060"/>
                      </a:lnTo>
                      <a:lnTo>
                        <a:pt x="898" y="1068"/>
                      </a:lnTo>
                      <a:lnTo>
                        <a:pt x="898" y="1068"/>
                      </a:lnTo>
                      <a:lnTo>
                        <a:pt x="912" y="1106"/>
                      </a:lnTo>
                      <a:lnTo>
                        <a:pt x="920" y="1128"/>
                      </a:lnTo>
                      <a:lnTo>
                        <a:pt x="930" y="1148"/>
                      </a:lnTo>
                      <a:lnTo>
                        <a:pt x="930" y="1148"/>
                      </a:lnTo>
                      <a:lnTo>
                        <a:pt x="936" y="1154"/>
                      </a:lnTo>
                      <a:lnTo>
                        <a:pt x="942" y="1160"/>
                      </a:lnTo>
                      <a:lnTo>
                        <a:pt x="954" y="1168"/>
                      </a:lnTo>
                      <a:lnTo>
                        <a:pt x="958" y="1172"/>
                      </a:lnTo>
                      <a:lnTo>
                        <a:pt x="958" y="1176"/>
                      </a:lnTo>
                      <a:lnTo>
                        <a:pt x="958" y="1180"/>
                      </a:lnTo>
                      <a:lnTo>
                        <a:pt x="952" y="1184"/>
                      </a:lnTo>
                      <a:lnTo>
                        <a:pt x="952" y="1184"/>
                      </a:lnTo>
                      <a:lnTo>
                        <a:pt x="946" y="1186"/>
                      </a:lnTo>
                      <a:lnTo>
                        <a:pt x="942" y="1188"/>
                      </a:lnTo>
                      <a:lnTo>
                        <a:pt x="936" y="1186"/>
                      </a:lnTo>
                      <a:lnTo>
                        <a:pt x="932" y="1188"/>
                      </a:lnTo>
                      <a:lnTo>
                        <a:pt x="924" y="1190"/>
                      </a:lnTo>
                      <a:lnTo>
                        <a:pt x="914" y="1196"/>
                      </a:lnTo>
                      <a:lnTo>
                        <a:pt x="902" y="1204"/>
                      </a:lnTo>
                      <a:lnTo>
                        <a:pt x="902" y="1204"/>
                      </a:lnTo>
                      <a:lnTo>
                        <a:pt x="886" y="1214"/>
                      </a:lnTo>
                      <a:lnTo>
                        <a:pt x="874" y="1220"/>
                      </a:lnTo>
                      <a:lnTo>
                        <a:pt x="856" y="1224"/>
                      </a:lnTo>
                      <a:lnTo>
                        <a:pt x="850" y="1228"/>
                      </a:lnTo>
                      <a:lnTo>
                        <a:pt x="844" y="1234"/>
                      </a:lnTo>
                      <a:lnTo>
                        <a:pt x="842" y="1246"/>
                      </a:lnTo>
                      <a:lnTo>
                        <a:pt x="838" y="1264"/>
                      </a:lnTo>
                      <a:lnTo>
                        <a:pt x="838" y="1264"/>
                      </a:lnTo>
                      <a:lnTo>
                        <a:pt x="838" y="1282"/>
                      </a:lnTo>
                      <a:lnTo>
                        <a:pt x="838" y="1298"/>
                      </a:lnTo>
                      <a:lnTo>
                        <a:pt x="838" y="1316"/>
                      </a:lnTo>
                      <a:lnTo>
                        <a:pt x="836" y="1322"/>
                      </a:lnTo>
                      <a:lnTo>
                        <a:pt x="832" y="1324"/>
                      </a:lnTo>
                      <a:lnTo>
                        <a:pt x="824" y="1326"/>
                      </a:lnTo>
                      <a:lnTo>
                        <a:pt x="812" y="1326"/>
                      </a:lnTo>
                      <a:lnTo>
                        <a:pt x="812" y="1326"/>
                      </a:lnTo>
                      <a:lnTo>
                        <a:pt x="800" y="1324"/>
                      </a:lnTo>
                      <a:lnTo>
                        <a:pt x="792" y="1320"/>
                      </a:lnTo>
                      <a:lnTo>
                        <a:pt x="776" y="1312"/>
                      </a:lnTo>
                      <a:lnTo>
                        <a:pt x="770" y="1310"/>
                      </a:lnTo>
                      <a:lnTo>
                        <a:pt x="760" y="1310"/>
                      </a:lnTo>
                      <a:lnTo>
                        <a:pt x="750" y="1314"/>
                      </a:lnTo>
                      <a:lnTo>
                        <a:pt x="734" y="1322"/>
                      </a:lnTo>
                      <a:lnTo>
                        <a:pt x="734" y="1322"/>
                      </a:lnTo>
                      <a:lnTo>
                        <a:pt x="720" y="1334"/>
                      </a:lnTo>
                      <a:lnTo>
                        <a:pt x="712" y="1346"/>
                      </a:lnTo>
                      <a:lnTo>
                        <a:pt x="704" y="1360"/>
                      </a:lnTo>
                      <a:lnTo>
                        <a:pt x="698" y="1372"/>
                      </a:lnTo>
                      <a:lnTo>
                        <a:pt x="692" y="1384"/>
                      </a:lnTo>
                      <a:lnTo>
                        <a:pt x="684" y="1392"/>
                      </a:lnTo>
                      <a:lnTo>
                        <a:pt x="678" y="1396"/>
                      </a:lnTo>
                      <a:lnTo>
                        <a:pt x="672" y="1400"/>
                      </a:lnTo>
                      <a:lnTo>
                        <a:pt x="666" y="1402"/>
                      </a:lnTo>
                      <a:lnTo>
                        <a:pt x="656" y="1402"/>
                      </a:lnTo>
                      <a:lnTo>
                        <a:pt x="656" y="1402"/>
                      </a:lnTo>
                      <a:lnTo>
                        <a:pt x="610" y="1404"/>
                      </a:lnTo>
                      <a:lnTo>
                        <a:pt x="594" y="1402"/>
                      </a:lnTo>
                      <a:lnTo>
                        <a:pt x="572" y="1394"/>
                      </a:lnTo>
                      <a:lnTo>
                        <a:pt x="572" y="1394"/>
                      </a:lnTo>
                      <a:lnTo>
                        <a:pt x="548" y="1386"/>
                      </a:lnTo>
                      <a:lnTo>
                        <a:pt x="526" y="1382"/>
                      </a:lnTo>
                      <a:lnTo>
                        <a:pt x="506" y="1378"/>
                      </a:lnTo>
                      <a:lnTo>
                        <a:pt x="480" y="1370"/>
                      </a:lnTo>
                      <a:lnTo>
                        <a:pt x="480" y="1370"/>
                      </a:lnTo>
                      <a:lnTo>
                        <a:pt x="466" y="1364"/>
                      </a:lnTo>
                      <a:lnTo>
                        <a:pt x="452" y="1356"/>
                      </a:lnTo>
                      <a:lnTo>
                        <a:pt x="426" y="1340"/>
                      </a:lnTo>
                      <a:lnTo>
                        <a:pt x="414" y="1334"/>
                      </a:lnTo>
                      <a:lnTo>
                        <a:pt x="402" y="1328"/>
                      </a:lnTo>
                      <a:lnTo>
                        <a:pt x="390" y="1326"/>
                      </a:lnTo>
                      <a:lnTo>
                        <a:pt x="378" y="1326"/>
                      </a:lnTo>
                      <a:lnTo>
                        <a:pt x="378" y="1326"/>
                      </a:lnTo>
                      <a:lnTo>
                        <a:pt x="368" y="1328"/>
                      </a:lnTo>
                      <a:lnTo>
                        <a:pt x="360" y="1332"/>
                      </a:lnTo>
                      <a:lnTo>
                        <a:pt x="350" y="1340"/>
                      </a:lnTo>
                      <a:lnTo>
                        <a:pt x="344" y="1344"/>
                      </a:lnTo>
                      <a:lnTo>
                        <a:pt x="338" y="1348"/>
                      </a:lnTo>
                      <a:lnTo>
                        <a:pt x="330" y="1350"/>
                      </a:lnTo>
                      <a:lnTo>
                        <a:pt x="318" y="1352"/>
                      </a:lnTo>
                      <a:lnTo>
                        <a:pt x="318" y="1352"/>
                      </a:lnTo>
                      <a:lnTo>
                        <a:pt x="306" y="1352"/>
                      </a:lnTo>
                      <a:lnTo>
                        <a:pt x="292" y="1350"/>
                      </a:lnTo>
                      <a:lnTo>
                        <a:pt x="270" y="1344"/>
                      </a:lnTo>
                      <a:lnTo>
                        <a:pt x="252" y="1340"/>
                      </a:lnTo>
                      <a:lnTo>
                        <a:pt x="244" y="1340"/>
                      </a:lnTo>
                      <a:lnTo>
                        <a:pt x="240" y="1344"/>
                      </a:lnTo>
                      <a:lnTo>
                        <a:pt x="240" y="1344"/>
                      </a:lnTo>
                      <a:lnTo>
                        <a:pt x="236" y="1354"/>
                      </a:lnTo>
                      <a:lnTo>
                        <a:pt x="230" y="1366"/>
                      </a:lnTo>
                      <a:lnTo>
                        <a:pt x="224" y="1376"/>
                      </a:lnTo>
                      <a:lnTo>
                        <a:pt x="220" y="1380"/>
                      </a:lnTo>
                      <a:lnTo>
                        <a:pt x="216" y="1380"/>
                      </a:lnTo>
                      <a:lnTo>
                        <a:pt x="216" y="1380"/>
                      </a:lnTo>
                      <a:lnTo>
                        <a:pt x="204" y="1380"/>
                      </a:lnTo>
                      <a:lnTo>
                        <a:pt x="194" y="1378"/>
                      </a:lnTo>
                      <a:lnTo>
                        <a:pt x="182" y="1370"/>
                      </a:lnTo>
                      <a:lnTo>
                        <a:pt x="164" y="1356"/>
                      </a:lnTo>
                      <a:lnTo>
                        <a:pt x="164" y="1356"/>
                      </a:lnTo>
                      <a:lnTo>
                        <a:pt x="148" y="1340"/>
                      </a:lnTo>
                      <a:lnTo>
                        <a:pt x="140" y="1328"/>
                      </a:lnTo>
                      <a:lnTo>
                        <a:pt x="134" y="1316"/>
                      </a:lnTo>
                      <a:lnTo>
                        <a:pt x="128" y="1294"/>
                      </a:lnTo>
                      <a:lnTo>
                        <a:pt x="128" y="1294"/>
                      </a:lnTo>
                      <a:lnTo>
                        <a:pt x="116" y="1248"/>
                      </a:lnTo>
                      <a:lnTo>
                        <a:pt x="112" y="1230"/>
                      </a:lnTo>
                      <a:lnTo>
                        <a:pt x="112" y="1218"/>
                      </a:lnTo>
                      <a:lnTo>
                        <a:pt x="112" y="1218"/>
                      </a:lnTo>
                      <a:lnTo>
                        <a:pt x="112" y="1212"/>
                      </a:lnTo>
                      <a:lnTo>
                        <a:pt x="114" y="1208"/>
                      </a:lnTo>
                      <a:lnTo>
                        <a:pt x="114" y="1198"/>
                      </a:lnTo>
                      <a:lnTo>
                        <a:pt x="106" y="1174"/>
                      </a:lnTo>
                      <a:lnTo>
                        <a:pt x="106" y="1174"/>
                      </a:lnTo>
                      <a:lnTo>
                        <a:pt x="96" y="1146"/>
                      </a:lnTo>
                      <a:lnTo>
                        <a:pt x="86" y="1124"/>
                      </a:lnTo>
                      <a:lnTo>
                        <a:pt x="82" y="1118"/>
                      </a:lnTo>
                      <a:lnTo>
                        <a:pt x="76" y="1112"/>
                      </a:lnTo>
                      <a:lnTo>
                        <a:pt x="68" y="1108"/>
                      </a:lnTo>
                      <a:lnTo>
                        <a:pt x="58" y="1106"/>
                      </a:lnTo>
                      <a:lnTo>
                        <a:pt x="58" y="1106"/>
                      </a:lnTo>
                      <a:lnTo>
                        <a:pt x="48" y="1106"/>
                      </a:lnTo>
                      <a:lnTo>
                        <a:pt x="38" y="1108"/>
                      </a:lnTo>
                      <a:lnTo>
                        <a:pt x="22" y="1110"/>
                      </a:lnTo>
                      <a:lnTo>
                        <a:pt x="16" y="1110"/>
                      </a:lnTo>
                      <a:lnTo>
                        <a:pt x="12" y="1108"/>
                      </a:lnTo>
                      <a:lnTo>
                        <a:pt x="8" y="1104"/>
                      </a:lnTo>
                      <a:lnTo>
                        <a:pt x="8" y="1096"/>
                      </a:lnTo>
                      <a:lnTo>
                        <a:pt x="8" y="1096"/>
                      </a:lnTo>
                      <a:lnTo>
                        <a:pt x="6" y="1076"/>
                      </a:lnTo>
                      <a:lnTo>
                        <a:pt x="2" y="1054"/>
                      </a:lnTo>
                      <a:lnTo>
                        <a:pt x="0" y="1032"/>
                      </a:lnTo>
                      <a:lnTo>
                        <a:pt x="0" y="1024"/>
                      </a:lnTo>
                      <a:lnTo>
                        <a:pt x="2" y="1018"/>
                      </a:lnTo>
                      <a:lnTo>
                        <a:pt x="2" y="1018"/>
                      </a:lnTo>
                      <a:lnTo>
                        <a:pt x="10" y="1004"/>
                      </a:lnTo>
                      <a:lnTo>
                        <a:pt x="20" y="986"/>
                      </a:lnTo>
                      <a:lnTo>
                        <a:pt x="26" y="978"/>
                      </a:lnTo>
                      <a:lnTo>
                        <a:pt x="34" y="972"/>
                      </a:lnTo>
                      <a:lnTo>
                        <a:pt x="44" y="968"/>
                      </a:lnTo>
                      <a:lnTo>
                        <a:pt x="54" y="968"/>
                      </a:lnTo>
                      <a:lnTo>
                        <a:pt x="54" y="968"/>
                      </a:lnTo>
                      <a:lnTo>
                        <a:pt x="64" y="970"/>
                      </a:lnTo>
                      <a:lnTo>
                        <a:pt x="74" y="976"/>
                      </a:lnTo>
                      <a:lnTo>
                        <a:pt x="86" y="988"/>
                      </a:lnTo>
                      <a:lnTo>
                        <a:pt x="90" y="990"/>
                      </a:lnTo>
                      <a:lnTo>
                        <a:pt x="90" y="990"/>
                      </a:lnTo>
                      <a:lnTo>
                        <a:pt x="92" y="988"/>
                      </a:lnTo>
                      <a:lnTo>
                        <a:pt x="92" y="980"/>
                      </a:lnTo>
                      <a:lnTo>
                        <a:pt x="90" y="964"/>
                      </a:lnTo>
                      <a:lnTo>
                        <a:pt x="90" y="964"/>
                      </a:lnTo>
                      <a:lnTo>
                        <a:pt x="86" y="944"/>
                      </a:lnTo>
                      <a:lnTo>
                        <a:pt x="80" y="928"/>
                      </a:lnTo>
                      <a:lnTo>
                        <a:pt x="68" y="904"/>
                      </a:lnTo>
                      <a:lnTo>
                        <a:pt x="60" y="888"/>
                      </a:lnTo>
                      <a:lnTo>
                        <a:pt x="60" y="880"/>
                      </a:lnTo>
                      <a:lnTo>
                        <a:pt x="60" y="874"/>
                      </a:lnTo>
                      <a:lnTo>
                        <a:pt x="60" y="874"/>
                      </a:lnTo>
                      <a:lnTo>
                        <a:pt x="64" y="866"/>
                      </a:lnTo>
                      <a:lnTo>
                        <a:pt x="70" y="860"/>
                      </a:lnTo>
                      <a:lnTo>
                        <a:pt x="82" y="848"/>
                      </a:lnTo>
                      <a:lnTo>
                        <a:pt x="94" y="840"/>
                      </a:lnTo>
                      <a:lnTo>
                        <a:pt x="102" y="834"/>
                      </a:lnTo>
                      <a:lnTo>
                        <a:pt x="102" y="834"/>
                      </a:lnTo>
                      <a:lnTo>
                        <a:pt x="104" y="830"/>
                      </a:lnTo>
                      <a:lnTo>
                        <a:pt x="106" y="822"/>
                      </a:lnTo>
                      <a:lnTo>
                        <a:pt x="104" y="796"/>
                      </a:lnTo>
                      <a:lnTo>
                        <a:pt x="98" y="766"/>
                      </a:lnTo>
                      <a:lnTo>
                        <a:pt x="94" y="754"/>
                      </a:lnTo>
                      <a:lnTo>
                        <a:pt x="90" y="746"/>
                      </a:lnTo>
                      <a:lnTo>
                        <a:pt x="90" y="746"/>
                      </a:lnTo>
                      <a:lnTo>
                        <a:pt x="82" y="728"/>
                      </a:lnTo>
                      <a:lnTo>
                        <a:pt x="72" y="704"/>
                      </a:lnTo>
                      <a:lnTo>
                        <a:pt x="70" y="694"/>
                      </a:lnTo>
                      <a:lnTo>
                        <a:pt x="70" y="686"/>
                      </a:lnTo>
                      <a:lnTo>
                        <a:pt x="70" y="684"/>
                      </a:lnTo>
                      <a:lnTo>
                        <a:pt x="72" y="682"/>
                      </a:lnTo>
                      <a:lnTo>
                        <a:pt x="74" y="682"/>
                      </a:lnTo>
                      <a:lnTo>
                        <a:pt x="78" y="684"/>
                      </a:lnTo>
                      <a:lnTo>
                        <a:pt x="78" y="684"/>
                      </a:lnTo>
                      <a:lnTo>
                        <a:pt x="94" y="692"/>
                      </a:lnTo>
                      <a:lnTo>
                        <a:pt x="102" y="696"/>
                      </a:lnTo>
                      <a:lnTo>
                        <a:pt x="108" y="698"/>
                      </a:lnTo>
                      <a:lnTo>
                        <a:pt x="116" y="698"/>
                      </a:lnTo>
                      <a:lnTo>
                        <a:pt x="122" y="694"/>
                      </a:lnTo>
                      <a:lnTo>
                        <a:pt x="130" y="686"/>
                      </a:lnTo>
                      <a:lnTo>
                        <a:pt x="136" y="672"/>
                      </a:lnTo>
                      <a:lnTo>
                        <a:pt x="136" y="672"/>
                      </a:lnTo>
                      <a:lnTo>
                        <a:pt x="146" y="644"/>
                      </a:lnTo>
                      <a:lnTo>
                        <a:pt x="150" y="628"/>
                      </a:lnTo>
                      <a:lnTo>
                        <a:pt x="154" y="618"/>
                      </a:lnTo>
                      <a:lnTo>
                        <a:pt x="158" y="616"/>
                      </a:lnTo>
                      <a:lnTo>
                        <a:pt x="162" y="612"/>
                      </a:lnTo>
                      <a:lnTo>
                        <a:pt x="162" y="612"/>
                      </a:lnTo>
                      <a:lnTo>
                        <a:pt x="174" y="606"/>
                      </a:lnTo>
                      <a:lnTo>
                        <a:pt x="184" y="598"/>
                      </a:lnTo>
                      <a:lnTo>
                        <a:pt x="192" y="586"/>
                      </a:lnTo>
                      <a:lnTo>
                        <a:pt x="194" y="578"/>
                      </a:lnTo>
                      <a:lnTo>
                        <a:pt x="194" y="570"/>
                      </a:lnTo>
                      <a:lnTo>
                        <a:pt x="194" y="570"/>
                      </a:lnTo>
                      <a:lnTo>
                        <a:pt x="194" y="564"/>
                      </a:lnTo>
                      <a:lnTo>
                        <a:pt x="192" y="556"/>
                      </a:lnTo>
                      <a:lnTo>
                        <a:pt x="186" y="542"/>
                      </a:lnTo>
                      <a:lnTo>
                        <a:pt x="184" y="534"/>
                      </a:lnTo>
                      <a:lnTo>
                        <a:pt x="186" y="526"/>
                      </a:lnTo>
                      <a:lnTo>
                        <a:pt x="190" y="516"/>
                      </a:lnTo>
                      <a:lnTo>
                        <a:pt x="198" y="506"/>
                      </a:lnTo>
                      <a:lnTo>
                        <a:pt x="198" y="506"/>
                      </a:lnTo>
                      <a:lnTo>
                        <a:pt x="222" y="486"/>
                      </a:lnTo>
                      <a:lnTo>
                        <a:pt x="246" y="468"/>
                      </a:lnTo>
                      <a:lnTo>
                        <a:pt x="268" y="454"/>
                      </a:lnTo>
                      <a:lnTo>
                        <a:pt x="278" y="444"/>
                      </a:lnTo>
                      <a:lnTo>
                        <a:pt x="278" y="444"/>
                      </a:lnTo>
                      <a:lnTo>
                        <a:pt x="280" y="434"/>
                      </a:lnTo>
                      <a:lnTo>
                        <a:pt x="280" y="418"/>
                      </a:lnTo>
                      <a:lnTo>
                        <a:pt x="274" y="398"/>
                      </a:lnTo>
                      <a:lnTo>
                        <a:pt x="266" y="376"/>
                      </a:lnTo>
                      <a:lnTo>
                        <a:pt x="266" y="376"/>
                      </a:lnTo>
                      <a:lnTo>
                        <a:pt x="254" y="352"/>
                      </a:lnTo>
                      <a:lnTo>
                        <a:pt x="238" y="328"/>
                      </a:lnTo>
                      <a:lnTo>
                        <a:pt x="230" y="318"/>
                      </a:lnTo>
                      <a:lnTo>
                        <a:pt x="222" y="310"/>
                      </a:lnTo>
                      <a:lnTo>
                        <a:pt x="212" y="304"/>
                      </a:lnTo>
                      <a:lnTo>
                        <a:pt x="202" y="302"/>
                      </a:lnTo>
                      <a:lnTo>
                        <a:pt x="202" y="302"/>
                      </a:lnTo>
                      <a:lnTo>
                        <a:pt x="190" y="304"/>
                      </a:lnTo>
                      <a:lnTo>
                        <a:pt x="178" y="306"/>
                      </a:lnTo>
                      <a:lnTo>
                        <a:pt x="154" y="314"/>
                      </a:lnTo>
                      <a:lnTo>
                        <a:pt x="142" y="316"/>
                      </a:lnTo>
                      <a:lnTo>
                        <a:pt x="132" y="314"/>
                      </a:lnTo>
                      <a:lnTo>
                        <a:pt x="128" y="310"/>
                      </a:lnTo>
                      <a:lnTo>
                        <a:pt x="122" y="306"/>
                      </a:lnTo>
                      <a:lnTo>
                        <a:pt x="118" y="300"/>
                      </a:lnTo>
                      <a:lnTo>
                        <a:pt x="114" y="292"/>
                      </a:lnTo>
                      <a:lnTo>
                        <a:pt x="114" y="292"/>
                      </a:lnTo>
                      <a:lnTo>
                        <a:pt x="110" y="276"/>
                      </a:lnTo>
                      <a:lnTo>
                        <a:pt x="106" y="260"/>
                      </a:lnTo>
                      <a:lnTo>
                        <a:pt x="106" y="238"/>
                      </a:lnTo>
                      <a:lnTo>
                        <a:pt x="106" y="230"/>
                      </a:lnTo>
                      <a:lnTo>
                        <a:pt x="102" y="224"/>
                      </a:lnTo>
                      <a:lnTo>
                        <a:pt x="96" y="222"/>
                      </a:lnTo>
                      <a:lnTo>
                        <a:pt x="86" y="222"/>
                      </a:lnTo>
                      <a:lnTo>
                        <a:pt x="86" y="222"/>
                      </a:lnTo>
                      <a:lnTo>
                        <a:pt x="40" y="234"/>
                      </a:lnTo>
                      <a:lnTo>
                        <a:pt x="18" y="240"/>
                      </a:lnTo>
                      <a:lnTo>
                        <a:pt x="50" y="174"/>
                      </a:lnTo>
                      <a:lnTo>
                        <a:pt x="50" y="174"/>
                      </a:lnTo>
                      <a:lnTo>
                        <a:pt x="38" y="138"/>
                      </a:lnTo>
                      <a:lnTo>
                        <a:pt x="24" y="92"/>
                      </a:lnTo>
                      <a:lnTo>
                        <a:pt x="24" y="92"/>
                      </a:lnTo>
                      <a:lnTo>
                        <a:pt x="18" y="80"/>
                      </a:lnTo>
                      <a:lnTo>
                        <a:pt x="14" y="66"/>
                      </a:lnTo>
                      <a:lnTo>
                        <a:pt x="14" y="58"/>
                      </a:lnTo>
                      <a:lnTo>
                        <a:pt x="16" y="50"/>
                      </a:lnTo>
                      <a:lnTo>
                        <a:pt x="18" y="42"/>
                      </a:lnTo>
                      <a:lnTo>
                        <a:pt x="26" y="34"/>
                      </a:lnTo>
                      <a:lnTo>
                        <a:pt x="26" y="34"/>
                      </a:lnTo>
                      <a:lnTo>
                        <a:pt x="34" y="26"/>
                      </a:lnTo>
                      <a:lnTo>
                        <a:pt x="44" y="20"/>
                      </a:lnTo>
                      <a:lnTo>
                        <a:pt x="66" y="10"/>
                      </a:lnTo>
                      <a:lnTo>
                        <a:pt x="76" y="6"/>
                      </a:lnTo>
                      <a:lnTo>
                        <a:pt x="84" y="6"/>
                      </a:lnTo>
                      <a:lnTo>
                        <a:pt x="92" y="6"/>
                      </a:lnTo>
                      <a:lnTo>
                        <a:pt x="98" y="8"/>
                      </a:lnTo>
                      <a:lnTo>
                        <a:pt x="98" y="8"/>
                      </a:lnTo>
                      <a:lnTo>
                        <a:pt x="110" y="18"/>
                      </a:lnTo>
                      <a:lnTo>
                        <a:pt x="110" y="18"/>
                      </a:lnTo>
                      <a:lnTo>
                        <a:pt x="114" y="20"/>
                      </a:lnTo>
                      <a:lnTo>
                        <a:pt x="126" y="20"/>
                      </a:lnTo>
                      <a:lnTo>
                        <a:pt x="134" y="20"/>
                      </a:lnTo>
                      <a:lnTo>
                        <a:pt x="140" y="18"/>
                      </a:lnTo>
                      <a:lnTo>
                        <a:pt x="148" y="16"/>
                      </a:lnTo>
                      <a:lnTo>
                        <a:pt x="152" y="10"/>
                      </a:lnTo>
                      <a:lnTo>
                        <a:pt x="152" y="10"/>
                      </a:lnTo>
                      <a:lnTo>
                        <a:pt x="160" y="6"/>
                      </a:lnTo>
                      <a:lnTo>
                        <a:pt x="170" y="2"/>
                      </a:lnTo>
                      <a:lnTo>
                        <a:pt x="182" y="0"/>
                      </a:lnTo>
                      <a:lnTo>
                        <a:pt x="194" y="0"/>
                      </a:lnTo>
                      <a:lnTo>
                        <a:pt x="208" y="0"/>
                      </a:lnTo>
                      <a:lnTo>
                        <a:pt x="220" y="2"/>
                      </a:lnTo>
                      <a:lnTo>
                        <a:pt x="228" y="6"/>
                      </a:lnTo>
                      <a:lnTo>
                        <a:pt x="234" y="10"/>
                      </a:lnTo>
                      <a:lnTo>
                        <a:pt x="234" y="10"/>
                      </a:lnTo>
                      <a:lnTo>
                        <a:pt x="234" y="14"/>
                      </a:lnTo>
                      <a:lnTo>
                        <a:pt x="234" y="20"/>
                      </a:lnTo>
                      <a:lnTo>
                        <a:pt x="232" y="30"/>
                      </a:lnTo>
                      <a:lnTo>
                        <a:pt x="234" y="36"/>
                      </a:lnTo>
                      <a:lnTo>
                        <a:pt x="238" y="42"/>
                      </a:lnTo>
                      <a:lnTo>
                        <a:pt x="246" y="50"/>
                      </a:lnTo>
                      <a:lnTo>
                        <a:pt x="260" y="58"/>
                      </a:lnTo>
                      <a:lnTo>
                        <a:pt x="260" y="58"/>
                      </a:lnTo>
                      <a:lnTo>
                        <a:pt x="332" y="100"/>
                      </a:ln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08" y="136"/>
                      </a:lnTo>
                      <a:lnTo>
                        <a:pt x="440" y="150"/>
                      </a:lnTo>
                      <a:lnTo>
                        <a:pt x="466" y="164"/>
                      </a:lnTo>
                      <a:lnTo>
                        <a:pt x="466" y="164"/>
                      </a:lnTo>
                      <a:lnTo>
                        <a:pt x="476" y="172"/>
                      </a:lnTo>
                      <a:lnTo>
                        <a:pt x="484" y="182"/>
                      </a:lnTo>
                      <a:lnTo>
                        <a:pt x="500" y="202"/>
                      </a:lnTo>
                      <a:lnTo>
                        <a:pt x="510" y="212"/>
                      </a:lnTo>
                      <a:lnTo>
                        <a:pt x="520" y="220"/>
                      </a:lnTo>
                      <a:lnTo>
                        <a:pt x="534" y="224"/>
                      </a:lnTo>
                      <a:lnTo>
                        <a:pt x="540" y="226"/>
                      </a:lnTo>
                      <a:lnTo>
                        <a:pt x="548" y="226"/>
                      </a:lnTo>
                      <a:lnTo>
                        <a:pt x="548" y="226"/>
                      </a:lnTo>
                      <a:lnTo>
                        <a:pt x="574" y="220"/>
                      </a:lnTo>
                      <a:lnTo>
                        <a:pt x="590" y="216"/>
                      </a:lnTo>
                      <a:lnTo>
                        <a:pt x="598" y="216"/>
                      </a:lnTo>
                      <a:lnTo>
                        <a:pt x="606" y="218"/>
                      </a:lnTo>
                      <a:lnTo>
                        <a:pt x="614" y="222"/>
                      </a:lnTo>
                      <a:lnTo>
                        <a:pt x="624" y="232"/>
                      </a:lnTo>
                      <a:lnTo>
                        <a:pt x="624" y="232"/>
                      </a:lnTo>
                      <a:lnTo>
                        <a:pt x="660" y="266"/>
                      </a:lnTo>
                      <a:lnTo>
                        <a:pt x="674" y="278"/>
                      </a:lnTo>
                      <a:lnTo>
                        <a:pt x="686" y="286"/>
                      </a:lnTo>
                      <a:lnTo>
                        <a:pt x="686" y="286"/>
                      </a:lnTo>
                      <a:lnTo>
                        <a:pt x="716" y="300"/>
                      </a:lnTo>
                      <a:lnTo>
                        <a:pt x="766" y="320"/>
                      </a:lnTo>
                      <a:lnTo>
                        <a:pt x="836" y="346"/>
                      </a:lnTo>
                      <a:lnTo>
                        <a:pt x="836" y="346"/>
                      </a:lnTo>
                      <a:lnTo>
                        <a:pt x="834" y="352"/>
                      </a:lnTo>
                      <a:lnTo>
                        <a:pt x="836" y="358"/>
                      </a:lnTo>
                      <a:lnTo>
                        <a:pt x="840" y="366"/>
                      </a:lnTo>
                      <a:lnTo>
                        <a:pt x="840" y="366"/>
                      </a:lnTo>
                      <a:lnTo>
                        <a:pt x="844" y="370"/>
                      </a:lnTo>
                      <a:lnTo>
                        <a:pt x="850" y="374"/>
                      </a:lnTo>
                      <a:lnTo>
                        <a:pt x="856" y="380"/>
                      </a:lnTo>
                      <a:lnTo>
                        <a:pt x="862" y="388"/>
                      </a:lnTo>
                      <a:lnTo>
                        <a:pt x="862" y="388"/>
                      </a:lnTo>
                      <a:lnTo>
                        <a:pt x="874" y="400"/>
                      </a:lnTo>
                      <a:lnTo>
                        <a:pt x="892" y="414"/>
                      </a:lnTo>
                      <a:lnTo>
                        <a:pt x="924" y="436"/>
                      </a:lnTo>
                      <a:lnTo>
                        <a:pt x="924" y="436"/>
                      </a:lnTo>
                      <a:lnTo>
                        <a:pt x="936" y="446"/>
                      </a:lnTo>
                      <a:lnTo>
                        <a:pt x="950" y="462"/>
                      </a:lnTo>
                      <a:lnTo>
                        <a:pt x="964" y="476"/>
                      </a:lnTo>
                      <a:lnTo>
                        <a:pt x="974" y="484"/>
                      </a:lnTo>
                      <a:lnTo>
                        <a:pt x="974" y="484"/>
                      </a:lnTo>
                      <a:lnTo>
                        <a:pt x="982" y="490"/>
                      </a:lnTo>
                      <a:lnTo>
                        <a:pt x="998" y="498"/>
                      </a:lnTo>
                      <a:lnTo>
                        <a:pt x="1018" y="506"/>
                      </a:lnTo>
                      <a:lnTo>
                        <a:pt x="1048" y="512"/>
                      </a:lnTo>
                      <a:lnTo>
                        <a:pt x="1048" y="512"/>
                      </a:lnTo>
                      <a:lnTo>
                        <a:pt x="1064" y="516"/>
                      </a:lnTo>
                      <a:lnTo>
                        <a:pt x="1078" y="520"/>
                      </a:lnTo>
                      <a:lnTo>
                        <a:pt x="1106" y="534"/>
                      </a:lnTo>
                      <a:lnTo>
                        <a:pt x="1128" y="546"/>
                      </a:lnTo>
                      <a:lnTo>
                        <a:pt x="1140" y="554"/>
                      </a:lnTo>
                      <a:lnTo>
                        <a:pt x="1140" y="554"/>
                      </a:lnTo>
                      <a:lnTo>
                        <a:pt x="1150" y="564"/>
                      </a:lnTo>
                      <a:lnTo>
                        <a:pt x="1168" y="582"/>
                      </a:lnTo>
                      <a:lnTo>
                        <a:pt x="1186" y="600"/>
                      </a:lnTo>
                      <a:lnTo>
                        <a:pt x="1198" y="610"/>
                      </a:lnTo>
                      <a:lnTo>
                        <a:pt x="1198" y="610"/>
                      </a:lnTo>
                      <a:lnTo>
                        <a:pt x="1214" y="618"/>
                      </a:lnTo>
                      <a:lnTo>
                        <a:pt x="1238" y="628"/>
                      </a:lnTo>
                      <a:lnTo>
                        <a:pt x="1286" y="644"/>
                      </a:lnTo>
                      <a:lnTo>
                        <a:pt x="1286" y="644"/>
                      </a:lnTo>
                      <a:lnTo>
                        <a:pt x="1328" y="654"/>
                      </a:lnTo>
                      <a:lnTo>
                        <a:pt x="1354" y="658"/>
                      </a:lnTo>
                      <a:lnTo>
                        <a:pt x="1354" y="65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1" name="Freeform 65">
                  <a:extLst>
                    <a:ext uri="{FF2B5EF4-FFF2-40B4-BE49-F238E27FC236}">
                      <a16:creationId xmlns:a16="http://schemas.microsoft.com/office/drawing/2014/main" id="{85BD88C8-0573-40DD-BFBE-8DEE38E715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5906" y="4933571"/>
                  <a:ext cx="356677" cy="685918"/>
                </a:xfrm>
                <a:custGeom>
                  <a:avLst/>
                  <a:gdLst/>
                  <a:ahLst/>
                  <a:cxnLst>
                    <a:cxn ang="0">
                      <a:pos x="22" y="802"/>
                    </a:cxn>
                    <a:cxn ang="0">
                      <a:pos x="42" y="834"/>
                    </a:cxn>
                    <a:cxn ang="0">
                      <a:pos x="90" y="842"/>
                    </a:cxn>
                    <a:cxn ang="0">
                      <a:pos x="114" y="866"/>
                    </a:cxn>
                    <a:cxn ang="0">
                      <a:pos x="154" y="896"/>
                    </a:cxn>
                    <a:cxn ang="0">
                      <a:pos x="188" y="896"/>
                    </a:cxn>
                    <a:cxn ang="0">
                      <a:pos x="192" y="858"/>
                    </a:cxn>
                    <a:cxn ang="0">
                      <a:pos x="184" y="820"/>
                    </a:cxn>
                    <a:cxn ang="0">
                      <a:pos x="208" y="766"/>
                    </a:cxn>
                    <a:cxn ang="0">
                      <a:pos x="240" y="752"/>
                    </a:cxn>
                    <a:cxn ang="0">
                      <a:pos x="276" y="770"/>
                    </a:cxn>
                    <a:cxn ang="0">
                      <a:pos x="270" y="728"/>
                    </a:cxn>
                    <a:cxn ang="0">
                      <a:pos x="246" y="656"/>
                    </a:cxn>
                    <a:cxn ang="0">
                      <a:pos x="256" y="646"/>
                    </a:cxn>
                    <a:cxn ang="0">
                      <a:pos x="286" y="616"/>
                    </a:cxn>
                    <a:cxn ang="0">
                      <a:pos x="292" y="580"/>
                    </a:cxn>
                    <a:cxn ang="0">
                      <a:pos x="278" y="534"/>
                    </a:cxn>
                    <a:cxn ang="0">
                      <a:pos x="252" y="472"/>
                    </a:cxn>
                    <a:cxn ang="0">
                      <a:pos x="268" y="470"/>
                    </a:cxn>
                    <a:cxn ang="0">
                      <a:pos x="286" y="480"/>
                    </a:cxn>
                    <a:cxn ang="0">
                      <a:pos x="312" y="468"/>
                    </a:cxn>
                    <a:cxn ang="0">
                      <a:pos x="330" y="426"/>
                    </a:cxn>
                    <a:cxn ang="0">
                      <a:pos x="342" y="406"/>
                    </a:cxn>
                    <a:cxn ang="0">
                      <a:pos x="380" y="370"/>
                    </a:cxn>
                    <a:cxn ang="0">
                      <a:pos x="378" y="348"/>
                    </a:cxn>
                    <a:cxn ang="0">
                      <a:pos x="368" y="324"/>
                    </a:cxn>
                    <a:cxn ang="0">
                      <a:pos x="370" y="300"/>
                    </a:cxn>
                    <a:cxn ang="0">
                      <a:pos x="458" y="234"/>
                    </a:cxn>
                    <a:cxn ang="0">
                      <a:pos x="468" y="198"/>
                    </a:cxn>
                    <a:cxn ang="0">
                      <a:pos x="438" y="134"/>
                    </a:cxn>
                    <a:cxn ang="0">
                      <a:pos x="410" y="96"/>
                    </a:cxn>
                    <a:cxn ang="0">
                      <a:pos x="384" y="78"/>
                    </a:cxn>
                    <a:cxn ang="0">
                      <a:pos x="330" y="94"/>
                    </a:cxn>
                    <a:cxn ang="0">
                      <a:pos x="306" y="86"/>
                    </a:cxn>
                    <a:cxn ang="0">
                      <a:pos x="294" y="64"/>
                    </a:cxn>
                    <a:cxn ang="0">
                      <a:pos x="284" y="2"/>
                    </a:cxn>
                    <a:cxn ang="0">
                      <a:pos x="202" y="22"/>
                    </a:cxn>
                    <a:cxn ang="0">
                      <a:pos x="200" y="34"/>
                    </a:cxn>
                    <a:cxn ang="0">
                      <a:pos x="190" y="100"/>
                    </a:cxn>
                    <a:cxn ang="0">
                      <a:pos x="190" y="126"/>
                    </a:cxn>
                    <a:cxn ang="0">
                      <a:pos x="204" y="154"/>
                    </a:cxn>
                    <a:cxn ang="0">
                      <a:pos x="196" y="180"/>
                    </a:cxn>
                    <a:cxn ang="0">
                      <a:pos x="142" y="278"/>
                    </a:cxn>
                    <a:cxn ang="0">
                      <a:pos x="108" y="338"/>
                    </a:cxn>
                    <a:cxn ang="0">
                      <a:pos x="48" y="420"/>
                    </a:cxn>
                    <a:cxn ang="0">
                      <a:pos x="8" y="478"/>
                    </a:cxn>
                    <a:cxn ang="0">
                      <a:pos x="4" y="500"/>
                    </a:cxn>
                    <a:cxn ang="0">
                      <a:pos x="32" y="502"/>
                    </a:cxn>
                    <a:cxn ang="0">
                      <a:pos x="48" y="524"/>
                    </a:cxn>
                    <a:cxn ang="0">
                      <a:pos x="66" y="592"/>
                    </a:cxn>
                    <a:cxn ang="0">
                      <a:pos x="48" y="638"/>
                    </a:cxn>
                    <a:cxn ang="0">
                      <a:pos x="32" y="692"/>
                    </a:cxn>
                    <a:cxn ang="0">
                      <a:pos x="50" y="740"/>
                    </a:cxn>
                    <a:cxn ang="0">
                      <a:pos x="42" y="758"/>
                    </a:cxn>
                    <a:cxn ang="0">
                      <a:pos x="20" y="790"/>
                    </a:cxn>
                  </a:cxnLst>
                  <a:rect l="0" t="0" r="r" b="b"/>
                  <a:pathLst>
                    <a:path w="468" h="900">
                      <a:moveTo>
                        <a:pt x="20" y="790"/>
                      </a:moveTo>
                      <a:lnTo>
                        <a:pt x="20" y="790"/>
                      </a:lnTo>
                      <a:lnTo>
                        <a:pt x="22" y="796"/>
                      </a:lnTo>
                      <a:lnTo>
                        <a:pt x="22" y="802"/>
                      </a:lnTo>
                      <a:lnTo>
                        <a:pt x="26" y="816"/>
                      </a:lnTo>
                      <a:lnTo>
                        <a:pt x="28" y="824"/>
                      </a:lnTo>
                      <a:lnTo>
                        <a:pt x="34" y="830"/>
                      </a:lnTo>
                      <a:lnTo>
                        <a:pt x="42" y="834"/>
                      </a:lnTo>
                      <a:lnTo>
                        <a:pt x="52" y="836"/>
                      </a:lnTo>
                      <a:lnTo>
                        <a:pt x="52" y="836"/>
                      </a:lnTo>
                      <a:lnTo>
                        <a:pt x="76" y="838"/>
                      </a:lnTo>
                      <a:lnTo>
                        <a:pt x="90" y="842"/>
                      </a:lnTo>
                      <a:lnTo>
                        <a:pt x="96" y="846"/>
                      </a:lnTo>
                      <a:lnTo>
                        <a:pt x="102" y="850"/>
                      </a:lnTo>
                      <a:lnTo>
                        <a:pt x="114" y="866"/>
                      </a:lnTo>
                      <a:lnTo>
                        <a:pt x="114" y="866"/>
                      </a:lnTo>
                      <a:lnTo>
                        <a:pt x="122" y="874"/>
                      </a:lnTo>
                      <a:lnTo>
                        <a:pt x="132" y="882"/>
                      </a:lnTo>
                      <a:lnTo>
                        <a:pt x="142" y="890"/>
                      </a:lnTo>
                      <a:lnTo>
                        <a:pt x="154" y="896"/>
                      </a:lnTo>
                      <a:lnTo>
                        <a:pt x="166" y="900"/>
                      </a:lnTo>
                      <a:lnTo>
                        <a:pt x="176" y="900"/>
                      </a:lnTo>
                      <a:lnTo>
                        <a:pt x="184" y="900"/>
                      </a:lnTo>
                      <a:lnTo>
                        <a:pt x="188" y="896"/>
                      </a:lnTo>
                      <a:lnTo>
                        <a:pt x="188" y="896"/>
                      </a:lnTo>
                      <a:lnTo>
                        <a:pt x="192" y="888"/>
                      </a:lnTo>
                      <a:lnTo>
                        <a:pt x="192" y="878"/>
                      </a:lnTo>
                      <a:lnTo>
                        <a:pt x="192" y="858"/>
                      </a:lnTo>
                      <a:lnTo>
                        <a:pt x="188" y="838"/>
                      </a:lnTo>
                      <a:lnTo>
                        <a:pt x="184" y="824"/>
                      </a:lnTo>
                      <a:lnTo>
                        <a:pt x="184" y="824"/>
                      </a:lnTo>
                      <a:lnTo>
                        <a:pt x="184" y="820"/>
                      </a:lnTo>
                      <a:lnTo>
                        <a:pt x="184" y="812"/>
                      </a:lnTo>
                      <a:lnTo>
                        <a:pt x="192" y="794"/>
                      </a:lnTo>
                      <a:lnTo>
                        <a:pt x="200" y="776"/>
                      </a:lnTo>
                      <a:lnTo>
                        <a:pt x="208" y="766"/>
                      </a:lnTo>
                      <a:lnTo>
                        <a:pt x="208" y="766"/>
                      </a:lnTo>
                      <a:lnTo>
                        <a:pt x="216" y="760"/>
                      </a:lnTo>
                      <a:lnTo>
                        <a:pt x="228" y="754"/>
                      </a:lnTo>
                      <a:lnTo>
                        <a:pt x="240" y="752"/>
                      </a:lnTo>
                      <a:lnTo>
                        <a:pt x="246" y="754"/>
                      </a:lnTo>
                      <a:lnTo>
                        <a:pt x="252" y="756"/>
                      </a:lnTo>
                      <a:lnTo>
                        <a:pt x="252" y="756"/>
                      </a:lnTo>
                      <a:lnTo>
                        <a:pt x="276" y="770"/>
                      </a:lnTo>
                      <a:lnTo>
                        <a:pt x="276" y="770"/>
                      </a:lnTo>
                      <a:lnTo>
                        <a:pt x="272" y="736"/>
                      </a:lnTo>
                      <a:lnTo>
                        <a:pt x="272" y="736"/>
                      </a:lnTo>
                      <a:lnTo>
                        <a:pt x="270" y="728"/>
                      </a:lnTo>
                      <a:lnTo>
                        <a:pt x="266" y="714"/>
                      </a:lnTo>
                      <a:lnTo>
                        <a:pt x="256" y="688"/>
                      </a:lnTo>
                      <a:lnTo>
                        <a:pt x="246" y="664"/>
                      </a:lnTo>
                      <a:lnTo>
                        <a:pt x="246" y="656"/>
                      </a:lnTo>
                      <a:lnTo>
                        <a:pt x="246" y="652"/>
                      </a:lnTo>
                      <a:lnTo>
                        <a:pt x="246" y="652"/>
                      </a:lnTo>
                      <a:lnTo>
                        <a:pt x="250" y="650"/>
                      </a:lnTo>
                      <a:lnTo>
                        <a:pt x="256" y="646"/>
                      </a:lnTo>
                      <a:lnTo>
                        <a:pt x="266" y="634"/>
                      </a:lnTo>
                      <a:lnTo>
                        <a:pt x="266" y="634"/>
                      </a:lnTo>
                      <a:lnTo>
                        <a:pt x="286" y="616"/>
                      </a:lnTo>
                      <a:lnTo>
                        <a:pt x="286" y="616"/>
                      </a:lnTo>
                      <a:lnTo>
                        <a:pt x="290" y="604"/>
                      </a:lnTo>
                      <a:lnTo>
                        <a:pt x="292" y="592"/>
                      </a:lnTo>
                      <a:lnTo>
                        <a:pt x="292" y="580"/>
                      </a:lnTo>
                      <a:lnTo>
                        <a:pt x="292" y="580"/>
                      </a:lnTo>
                      <a:lnTo>
                        <a:pt x="290" y="570"/>
                      </a:lnTo>
                      <a:lnTo>
                        <a:pt x="286" y="556"/>
                      </a:lnTo>
                      <a:lnTo>
                        <a:pt x="278" y="534"/>
                      </a:lnTo>
                      <a:lnTo>
                        <a:pt x="278" y="534"/>
                      </a:lnTo>
                      <a:lnTo>
                        <a:pt x="262" y="504"/>
                      </a:lnTo>
                      <a:lnTo>
                        <a:pt x="254" y="484"/>
                      </a:lnTo>
                      <a:lnTo>
                        <a:pt x="252" y="478"/>
                      </a:lnTo>
                      <a:lnTo>
                        <a:pt x="252" y="472"/>
                      </a:lnTo>
                      <a:lnTo>
                        <a:pt x="252" y="472"/>
                      </a:lnTo>
                      <a:lnTo>
                        <a:pt x="256" y="468"/>
                      </a:lnTo>
                      <a:lnTo>
                        <a:pt x="262" y="468"/>
                      </a:lnTo>
                      <a:lnTo>
                        <a:pt x="268" y="470"/>
                      </a:lnTo>
                      <a:lnTo>
                        <a:pt x="272" y="472"/>
                      </a:lnTo>
                      <a:lnTo>
                        <a:pt x="272" y="472"/>
                      </a:lnTo>
                      <a:lnTo>
                        <a:pt x="280" y="476"/>
                      </a:lnTo>
                      <a:lnTo>
                        <a:pt x="286" y="480"/>
                      </a:lnTo>
                      <a:lnTo>
                        <a:pt x="292" y="482"/>
                      </a:lnTo>
                      <a:lnTo>
                        <a:pt x="298" y="482"/>
                      </a:lnTo>
                      <a:lnTo>
                        <a:pt x="306" y="478"/>
                      </a:lnTo>
                      <a:lnTo>
                        <a:pt x="312" y="468"/>
                      </a:lnTo>
                      <a:lnTo>
                        <a:pt x="320" y="454"/>
                      </a:lnTo>
                      <a:lnTo>
                        <a:pt x="320" y="454"/>
                      </a:lnTo>
                      <a:lnTo>
                        <a:pt x="326" y="436"/>
                      </a:lnTo>
                      <a:lnTo>
                        <a:pt x="330" y="426"/>
                      </a:lnTo>
                      <a:lnTo>
                        <a:pt x="334" y="420"/>
                      </a:lnTo>
                      <a:lnTo>
                        <a:pt x="340" y="410"/>
                      </a:lnTo>
                      <a:lnTo>
                        <a:pt x="340" y="410"/>
                      </a:lnTo>
                      <a:lnTo>
                        <a:pt x="342" y="406"/>
                      </a:lnTo>
                      <a:lnTo>
                        <a:pt x="346" y="400"/>
                      </a:lnTo>
                      <a:lnTo>
                        <a:pt x="358" y="390"/>
                      </a:lnTo>
                      <a:lnTo>
                        <a:pt x="370" y="380"/>
                      </a:lnTo>
                      <a:lnTo>
                        <a:pt x="380" y="370"/>
                      </a:lnTo>
                      <a:lnTo>
                        <a:pt x="380" y="370"/>
                      </a:lnTo>
                      <a:lnTo>
                        <a:pt x="380" y="366"/>
                      </a:lnTo>
                      <a:lnTo>
                        <a:pt x="382" y="360"/>
                      </a:lnTo>
                      <a:lnTo>
                        <a:pt x="378" y="348"/>
                      </a:lnTo>
                      <a:lnTo>
                        <a:pt x="374" y="336"/>
                      </a:lnTo>
                      <a:lnTo>
                        <a:pt x="370" y="330"/>
                      </a:lnTo>
                      <a:lnTo>
                        <a:pt x="370" y="330"/>
                      </a:lnTo>
                      <a:lnTo>
                        <a:pt x="368" y="324"/>
                      </a:lnTo>
                      <a:lnTo>
                        <a:pt x="366" y="316"/>
                      </a:lnTo>
                      <a:lnTo>
                        <a:pt x="366" y="308"/>
                      </a:lnTo>
                      <a:lnTo>
                        <a:pt x="368" y="304"/>
                      </a:lnTo>
                      <a:lnTo>
                        <a:pt x="370" y="300"/>
                      </a:lnTo>
                      <a:lnTo>
                        <a:pt x="370" y="300"/>
                      </a:lnTo>
                      <a:lnTo>
                        <a:pt x="418" y="264"/>
                      </a:lnTo>
                      <a:lnTo>
                        <a:pt x="458" y="234"/>
                      </a:lnTo>
                      <a:lnTo>
                        <a:pt x="458" y="234"/>
                      </a:lnTo>
                      <a:lnTo>
                        <a:pt x="460" y="228"/>
                      </a:lnTo>
                      <a:lnTo>
                        <a:pt x="466" y="216"/>
                      </a:lnTo>
                      <a:lnTo>
                        <a:pt x="468" y="208"/>
                      </a:lnTo>
                      <a:lnTo>
                        <a:pt x="468" y="198"/>
                      </a:lnTo>
                      <a:lnTo>
                        <a:pt x="466" y="186"/>
                      </a:lnTo>
                      <a:lnTo>
                        <a:pt x="462" y="172"/>
                      </a:lnTo>
                      <a:lnTo>
                        <a:pt x="462" y="172"/>
                      </a:lnTo>
                      <a:lnTo>
                        <a:pt x="438" y="134"/>
                      </a:lnTo>
                      <a:lnTo>
                        <a:pt x="426" y="112"/>
                      </a:lnTo>
                      <a:lnTo>
                        <a:pt x="416" y="102"/>
                      </a:lnTo>
                      <a:lnTo>
                        <a:pt x="416" y="102"/>
                      </a:lnTo>
                      <a:lnTo>
                        <a:pt x="410" y="96"/>
                      </a:lnTo>
                      <a:lnTo>
                        <a:pt x="402" y="86"/>
                      </a:lnTo>
                      <a:lnTo>
                        <a:pt x="398" y="80"/>
                      </a:lnTo>
                      <a:lnTo>
                        <a:pt x="392" y="78"/>
                      </a:lnTo>
                      <a:lnTo>
                        <a:pt x="384" y="78"/>
                      </a:lnTo>
                      <a:lnTo>
                        <a:pt x="374" y="78"/>
                      </a:lnTo>
                      <a:lnTo>
                        <a:pt x="374" y="78"/>
                      </a:lnTo>
                      <a:lnTo>
                        <a:pt x="342" y="92"/>
                      </a:lnTo>
                      <a:lnTo>
                        <a:pt x="330" y="94"/>
                      </a:lnTo>
                      <a:lnTo>
                        <a:pt x="324" y="96"/>
                      </a:lnTo>
                      <a:lnTo>
                        <a:pt x="324" y="96"/>
                      </a:lnTo>
                      <a:lnTo>
                        <a:pt x="316" y="92"/>
                      </a:lnTo>
                      <a:lnTo>
                        <a:pt x="306" y="86"/>
                      </a:lnTo>
                      <a:lnTo>
                        <a:pt x="298" y="74"/>
                      </a:lnTo>
                      <a:lnTo>
                        <a:pt x="296" y="70"/>
                      </a:lnTo>
                      <a:lnTo>
                        <a:pt x="294" y="64"/>
                      </a:lnTo>
                      <a:lnTo>
                        <a:pt x="294" y="64"/>
                      </a:lnTo>
                      <a:lnTo>
                        <a:pt x="290" y="28"/>
                      </a:lnTo>
                      <a:lnTo>
                        <a:pt x="290" y="2"/>
                      </a:lnTo>
                      <a:lnTo>
                        <a:pt x="290" y="2"/>
                      </a:lnTo>
                      <a:lnTo>
                        <a:pt x="284" y="2"/>
                      </a:lnTo>
                      <a:lnTo>
                        <a:pt x="274" y="0"/>
                      </a:lnTo>
                      <a:lnTo>
                        <a:pt x="274" y="0"/>
                      </a:lnTo>
                      <a:lnTo>
                        <a:pt x="236" y="12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202" y="24"/>
                      </a:lnTo>
                      <a:lnTo>
                        <a:pt x="200" y="34"/>
                      </a:lnTo>
                      <a:lnTo>
                        <a:pt x="198" y="56"/>
                      </a:lnTo>
                      <a:lnTo>
                        <a:pt x="198" y="56"/>
                      </a:lnTo>
                      <a:lnTo>
                        <a:pt x="194" y="82"/>
                      </a:lnTo>
                      <a:lnTo>
                        <a:pt x="190" y="100"/>
                      </a:lnTo>
                      <a:lnTo>
                        <a:pt x="188" y="112"/>
                      </a:lnTo>
                      <a:lnTo>
                        <a:pt x="188" y="120"/>
                      </a:lnTo>
                      <a:lnTo>
                        <a:pt x="190" y="126"/>
                      </a:lnTo>
                      <a:lnTo>
                        <a:pt x="190" y="126"/>
                      </a:lnTo>
                      <a:lnTo>
                        <a:pt x="192" y="134"/>
                      </a:lnTo>
                      <a:lnTo>
                        <a:pt x="196" y="140"/>
                      </a:lnTo>
                      <a:lnTo>
                        <a:pt x="202" y="148"/>
                      </a:lnTo>
                      <a:lnTo>
                        <a:pt x="204" y="154"/>
                      </a:lnTo>
                      <a:lnTo>
                        <a:pt x="204" y="160"/>
                      </a:lnTo>
                      <a:lnTo>
                        <a:pt x="202" y="170"/>
                      </a:lnTo>
                      <a:lnTo>
                        <a:pt x="196" y="180"/>
                      </a:lnTo>
                      <a:lnTo>
                        <a:pt x="196" y="180"/>
                      </a:lnTo>
                      <a:lnTo>
                        <a:pt x="182" y="206"/>
                      </a:lnTo>
                      <a:lnTo>
                        <a:pt x="166" y="232"/>
                      </a:lnTo>
                      <a:lnTo>
                        <a:pt x="152" y="256"/>
                      </a:lnTo>
                      <a:lnTo>
                        <a:pt x="142" y="278"/>
                      </a:lnTo>
                      <a:lnTo>
                        <a:pt x="142" y="278"/>
                      </a:lnTo>
                      <a:lnTo>
                        <a:pt x="132" y="298"/>
                      </a:lnTo>
                      <a:lnTo>
                        <a:pt x="122" y="318"/>
                      </a:lnTo>
                      <a:lnTo>
                        <a:pt x="108" y="338"/>
                      </a:lnTo>
                      <a:lnTo>
                        <a:pt x="92" y="360"/>
                      </a:lnTo>
                      <a:lnTo>
                        <a:pt x="92" y="360"/>
                      </a:lnTo>
                      <a:lnTo>
                        <a:pt x="62" y="402"/>
                      </a:lnTo>
                      <a:lnTo>
                        <a:pt x="48" y="420"/>
                      </a:lnTo>
                      <a:lnTo>
                        <a:pt x="36" y="440"/>
                      </a:lnTo>
                      <a:lnTo>
                        <a:pt x="36" y="440"/>
                      </a:lnTo>
                      <a:lnTo>
                        <a:pt x="22" y="460"/>
                      </a:lnTo>
                      <a:lnTo>
                        <a:pt x="8" y="478"/>
                      </a:lnTo>
                      <a:lnTo>
                        <a:pt x="2" y="486"/>
                      </a:lnTo>
                      <a:lnTo>
                        <a:pt x="0" y="492"/>
                      </a:lnTo>
                      <a:lnTo>
                        <a:pt x="0" y="498"/>
                      </a:lnTo>
                      <a:lnTo>
                        <a:pt x="4" y="500"/>
                      </a:lnTo>
                      <a:lnTo>
                        <a:pt x="4" y="500"/>
                      </a:lnTo>
                      <a:lnTo>
                        <a:pt x="16" y="500"/>
                      </a:lnTo>
                      <a:lnTo>
                        <a:pt x="28" y="500"/>
                      </a:lnTo>
                      <a:lnTo>
                        <a:pt x="32" y="502"/>
                      </a:lnTo>
                      <a:lnTo>
                        <a:pt x="38" y="506"/>
                      </a:lnTo>
                      <a:lnTo>
                        <a:pt x="42" y="514"/>
                      </a:lnTo>
                      <a:lnTo>
                        <a:pt x="48" y="524"/>
                      </a:lnTo>
                      <a:lnTo>
                        <a:pt x="48" y="524"/>
                      </a:lnTo>
                      <a:lnTo>
                        <a:pt x="58" y="550"/>
                      </a:lnTo>
                      <a:lnTo>
                        <a:pt x="64" y="572"/>
                      </a:lnTo>
                      <a:lnTo>
                        <a:pt x="66" y="582"/>
                      </a:lnTo>
                      <a:lnTo>
                        <a:pt x="66" y="592"/>
                      </a:lnTo>
                      <a:lnTo>
                        <a:pt x="64" y="604"/>
                      </a:lnTo>
                      <a:lnTo>
                        <a:pt x="60" y="616"/>
                      </a:lnTo>
                      <a:lnTo>
                        <a:pt x="60" y="616"/>
                      </a:lnTo>
                      <a:lnTo>
                        <a:pt x="48" y="638"/>
                      </a:lnTo>
                      <a:lnTo>
                        <a:pt x="38" y="658"/>
                      </a:lnTo>
                      <a:lnTo>
                        <a:pt x="34" y="668"/>
                      </a:lnTo>
                      <a:lnTo>
                        <a:pt x="32" y="680"/>
                      </a:lnTo>
                      <a:lnTo>
                        <a:pt x="32" y="692"/>
                      </a:lnTo>
                      <a:lnTo>
                        <a:pt x="36" y="704"/>
                      </a:lnTo>
                      <a:lnTo>
                        <a:pt x="36" y="704"/>
                      </a:lnTo>
                      <a:lnTo>
                        <a:pt x="44" y="728"/>
                      </a:lnTo>
                      <a:lnTo>
                        <a:pt x="50" y="740"/>
                      </a:lnTo>
                      <a:lnTo>
                        <a:pt x="50" y="746"/>
                      </a:lnTo>
                      <a:lnTo>
                        <a:pt x="50" y="750"/>
                      </a:lnTo>
                      <a:lnTo>
                        <a:pt x="42" y="758"/>
                      </a:lnTo>
                      <a:lnTo>
                        <a:pt x="42" y="758"/>
                      </a:lnTo>
                      <a:lnTo>
                        <a:pt x="24" y="774"/>
                      </a:lnTo>
                      <a:lnTo>
                        <a:pt x="18" y="782"/>
                      </a:lnTo>
                      <a:lnTo>
                        <a:pt x="18" y="786"/>
                      </a:lnTo>
                      <a:lnTo>
                        <a:pt x="20" y="790"/>
                      </a:lnTo>
                      <a:lnTo>
                        <a:pt x="20" y="79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2" name="Freeform 66">
                  <a:extLst>
                    <a:ext uri="{FF2B5EF4-FFF2-40B4-BE49-F238E27FC236}">
                      <a16:creationId xmlns:a16="http://schemas.microsoft.com/office/drawing/2014/main" id="{8CE283E6-21DE-4506-BED6-27A738E636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1918" y="5980739"/>
                  <a:ext cx="187484" cy="143281"/>
                </a:xfrm>
                <a:custGeom>
                  <a:avLst/>
                  <a:gdLst/>
                  <a:ahLst/>
                  <a:cxnLst>
                    <a:cxn ang="0">
                      <a:pos x="4" y="158"/>
                    </a:cxn>
                    <a:cxn ang="0">
                      <a:pos x="4" y="158"/>
                    </a:cxn>
                    <a:cxn ang="0">
                      <a:pos x="12" y="168"/>
                    </a:cxn>
                    <a:cxn ang="0">
                      <a:pos x="18" y="174"/>
                    </a:cxn>
                    <a:cxn ang="0">
                      <a:pos x="24" y="180"/>
                    </a:cxn>
                    <a:cxn ang="0">
                      <a:pos x="34" y="184"/>
                    </a:cxn>
                    <a:cxn ang="0">
                      <a:pos x="44" y="188"/>
                    </a:cxn>
                    <a:cxn ang="0">
                      <a:pos x="56" y="188"/>
                    </a:cxn>
                    <a:cxn ang="0">
                      <a:pos x="72" y="188"/>
                    </a:cxn>
                    <a:cxn ang="0">
                      <a:pos x="72" y="188"/>
                    </a:cxn>
                    <a:cxn ang="0">
                      <a:pos x="88" y="186"/>
                    </a:cxn>
                    <a:cxn ang="0">
                      <a:pos x="106" y="184"/>
                    </a:cxn>
                    <a:cxn ang="0">
                      <a:pos x="138" y="182"/>
                    </a:cxn>
                    <a:cxn ang="0">
                      <a:pos x="152" y="180"/>
                    </a:cxn>
                    <a:cxn ang="0">
                      <a:pos x="162" y="178"/>
                    </a:cxn>
                    <a:cxn ang="0">
                      <a:pos x="170" y="172"/>
                    </a:cxn>
                    <a:cxn ang="0">
                      <a:pos x="172" y="168"/>
                    </a:cxn>
                    <a:cxn ang="0">
                      <a:pos x="174" y="164"/>
                    </a:cxn>
                    <a:cxn ang="0">
                      <a:pos x="174" y="164"/>
                    </a:cxn>
                    <a:cxn ang="0">
                      <a:pos x="174" y="150"/>
                    </a:cxn>
                    <a:cxn ang="0">
                      <a:pos x="172" y="138"/>
                    </a:cxn>
                    <a:cxn ang="0">
                      <a:pos x="172" y="134"/>
                    </a:cxn>
                    <a:cxn ang="0">
                      <a:pos x="174" y="126"/>
                    </a:cxn>
                    <a:cxn ang="0">
                      <a:pos x="186" y="106"/>
                    </a:cxn>
                    <a:cxn ang="0">
                      <a:pos x="186" y="106"/>
                    </a:cxn>
                    <a:cxn ang="0">
                      <a:pos x="202" y="84"/>
                    </a:cxn>
                    <a:cxn ang="0">
                      <a:pos x="214" y="68"/>
                    </a:cxn>
                    <a:cxn ang="0">
                      <a:pos x="226" y="56"/>
                    </a:cxn>
                    <a:cxn ang="0">
                      <a:pos x="230" y="48"/>
                    </a:cxn>
                    <a:cxn ang="0">
                      <a:pos x="232" y="40"/>
                    </a:cxn>
                    <a:cxn ang="0">
                      <a:pos x="232" y="40"/>
                    </a:cxn>
                    <a:cxn ang="0">
                      <a:pos x="240" y="22"/>
                    </a:cxn>
                    <a:cxn ang="0">
                      <a:pos x="246" y="6"/>
                    </a:cxn>
                    <a:cxn ang="0">
                      <a:pos x="246" y="0"/>
                    </a:cxn>
                    <a:cxn ang="0">
                      <a:pos x="246" y="0"/>
                    </a:cxn>
                    <a:cxn ang="0">
                      <a:pos x="244" y="0"/>
                    </a:cxn>
                    <a:cxn ang="0">
                      <a:pos x="236" y="2"/>
                    </a:cxn>
                    <a:cxn ang="0">
                      <a:pos x="222" y="12"/>
                    </a:cxn>
                    <a:cxn ang="0">
                      <a:pos x="222" y="12"/>
                    </a:cxn>
                    <a:cxn ang="0">
                      <a:pos x="192" y="32"/>
                    </a:cxn>
                    <a:cxn ang="0">
                      <a:pos x="166" y="46"/>
                    </a:cxn>
                    <a:cxn ang="0">
                      <a:pos x="140" y="62"/>
                    </a:cxn>
                    <a:cxn ang="0">
                      <a:pos x="114" y="80"/>
                    </a:cxn>
                    <a:cxn ang="0">
                      <a:pos x="114" y="80"/>
                    </a:cxn>
                    <a:cxn ang="0">
                      <a:pos x="96" y="92"/>
                    </a:cxn>
                    <a:cxn ang="0">
                      <a:pos x="76" y="102"/>
                    </a:cxn>
                    <a:cxn ang="0">
                      <a:pos x="34" y="118"/>
                    </a:cxn>
                    <a:cxn ang="0">
                      <a:pos x="18" y="128"/>
                    </a:cxn>
                    <a:cxn ang="0">
                      <a:pos x="4" y="136"/>
                    </a:cxn>
                    <a:cxn ang="0">
                      <a:pos x="0" y="142"/>
                    </a:cxn>
                    <a:cxn ang="0">
                      <a:pos x="0" y="146"/>
                    </a:cxn>
                    <a:cxn ang="0">
                      <a:pos x="0" y="152"/>
                    </a:cxn>
                    <a:cxn ang="0">
                      <a:pos x="4" y="158"/>
                    </a:cxn>
                    <a:cxn ang="0">
                      <a:pos x="4" y="158"/>
                    </a:cxn>
                  </a:cxnLst>
                  <a:rect l="0" t="0" r="r" b="b"/>
                  <a:pathLst>
                    <a:path w="246" h="188">
                      <a:moveTo>
                        <a:pt x="4" y="158"/>
                      </a:moveTo>
                      <a:lnTo>
                        <a:pt x="4" y="158"/>
                      </a:lnTo>
                      <a:lnTo>
                        <a:pt x="12" y="168"/>
                      </a:lnTo>
                      <a:lnTo>
                        <a:pt x="18" y="174"/>
                      </a:lnTo>
                      <a:lnTo>
                        <a:pt x="24" y="180"/>
                      </a:lnTo>
                      <a:lnTo>
                        <a:pt x="34" y="184"/>
                      </a:lnTo>
                      <a:lnTo>
                        <a:pt x="44" y="188"/>
                      </a:lnTo>
                      <a:lnTo>
                        <a:pt x="56" y="188"/>
                      </a:lnTo>
                      <a:lnTo>
                        <a:pt x="72" y="188"/>
                      </a:lnTo>
                      <a:lnTo>
                        <a:pt x="72" y="188"/>
                      </a:lnTo>
                      <a:lnTo>
                        <a:pt x="88" y="186"/>
                      </a:lnTo>
                      <a:lnTo>
                        <a:pt x="106" y="184"/>
                      </a:lnTo>
                      <a:lnTo>
                        <a:pt x="138" y="182"/>
                      </a:lnTo>
                      <a:lnTo>
                        <a:pt x="152" y="180"/>
                      </a:lnTo>
                      <a:lnTo>
                        <a:pt x="162" y="178"/>
                      </a:lnTo>
                      <a:lnTo>
                        <a:pt x="170" y="172"/>
                      </a:lnTo>
                      <a:lnTo>
                        <a:pt x="172" y="168"/>
                      </a:lnTo>
                      <a:lnTo>
                        <a:pt x="174" y="164"/>
                      </a:lnTo>
                      <a:lnTo>
                        <a:pt x="174" y="164"/>
                      </a:lnTo>
                      <a:lnTo>
                        <a:pt x="174" y="150"/>
                      </a:lnTo>
                      <a:lnTo>
                        <a:pt x="172" y="138"/>
                      </a:lnTo>
                      <a:lnTo>
                        <a:pt x="172" y="134"/>
                      </a:lnTo>
                      <a:lnTo>
                        <a:pt x="174" y="126"/>
                      </a:lnTo>
                      <a:lnTo>
                        <a:pt x="186" y="106"/>
                      </a:lnTo>
                      <a:lnTo>
                        <a:pt x="186" y="106"/>
                      </a:lnTo>
                      <a:lnTo>
                        <a:pt x="202" y="84"/>
                      </a:lnTo>
                      <a:lnTo>
                        <a:pt x="214" y="68"/>
                      </a:lnTo>
                      <a:lnTo>
                        <a:pt x="226" y="56"/>
                      </a:lnTo>
                      <a:lnTo>
                        <a:pt x="230" y="48"/>
                      </a:lnTo>
                      <a:lnTo>
                        <a:pt x="232" y="40"/>
                      </a:lnTo>
                      <a:lnTo>
                        <a:pt x="232" y="40"/>
                      </a:lnTo>
                      <a:lnTo>
                        <a:pt x="240" y="22"/>
                      </a:lnTo>
                      <a:lnTo>
                        <a:pt x="246" y="6"/>
                      </a:lnTo>
                      <a:lnTo>
                        <a:pt x="246" y="0"/>
                      </a:lnTo>
                      <a:lnTo>
                        <a:pt x="246" y="0"/>
                      </a:lnTo>
                      <a:lnTo>
                        <a:pt x="244" y="0"/>
                      </a:lnTo>
                      <a:lnTo>
                        <a:pt x="236" y="2"/>
                      </a:lnTo>
                      <a:lnTo>
                        <a:pt x="222" y="12"/>
                      </a:lnTo>
                      <a:lnTo>
                        <a:pt x="222" y="12"/>
                      </a:lnTo>
                      <a:lnTo>
                        <a:pt x="192" y="32"/>
                      </a:lnTo>
                      <a:lnTo>
                        <a:pt x="166" y="46"/>
                      </a:lnTo>
                      <a:lnTo>
                        <a:pt x="140" y="62"/>
                      </a:lnTo>
                      <a:lnTo>
                        <a:pt x="114" y="80"/>
                      </a:lnTo>
                      <a:lnTo>
                        <a:pt x="114" y="80"/>
                      </a:lnTo>
                      <a:lnTo>
                        <a:pt x="96" y="92"/>
                      </a:lnTo>
                      <a:lnTo>
                        <a:pt x="76" y="102"/>
                      </a:lnTo>
                      <a:lnTo>
                        <a:pt x="34" y="118"/>
                      </a:lnTo>
                      <a:lnTo>
                        <a:pt x="18" y="128"/>
                      </a:lnTo>
                      <a:lnTo>
                        <a:pt x="4" y="136"/>
                      </a:lnTo>
                      <a:lnTo>
                        <a:pt x="0" y="142"/>
                      </a:lnTo>
                      <a:lnTo>
                        <a:pt x="0" y="146"/>
                      </a:lnTo>
                      <a:lnTo>
                        <a:pt x="0" y="152"/>
                      </a:lnTo>
                      <a:lnTo>
                        <a:pt x="4" y="158"/>
                      </a:lnTo>
                      <a:lnTo>
                        <a:pt x="4" y="15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3" name="Freeform 67">
                  <a:extLst>
                    <a:ext uri="{FF2B5EF4-FFF2-40B4-BE49-F238E27FC236}">
                      <a16:creationId xmlns:a16="http://schemas.microsoft.com/office/drawing/2014/main" id="{871B3F6E-C2AF-4BB1-A96C-B2FABB214E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1406" y="6035613"/>
                  <a:ext cx="35058" cy="82310"/>
                </a:xfrm>
                <a:custGeom>
                  <a:avLst/>
                  <a:gdLst/>
                  <a:ahLst/>
                  <a:cxnLst>
                    <a:cxn ang="0">
                      <a:pos x="12" y="10"/>
                    </a:cxn>
                    <a:cxn ang="0">
                      <a:pos x="12" y="10"/>
                    </a:cxn>
                    <a:cxn ang="0">
                      <a:pos x="2" y="48"/>
                    </a:cxn>
                    <a:cxn ang="0">
                      <a:pos x="0" y="62"/>
                    </a:cxn>
                    <a:cxn ang="0">
                      <a:pos x="2" y="74"/>
                    </a:cxn>
                    <a:cxn ang="0">
                      <a:pos x="2" y="74"/>
                    </a:cxn>
                    <a:cxn ang="0">
                      <a:pos x="4" y="88"/>
                    </a:cxn>
                    <a:cxn ang="0">
                      <a:pos x="6" y="100"/>
                    </a:cxn>
                    <a:cxn ang="0">
                      <a:pos x="8" y="106"/>
                    </a:cxn>
                    <a:cxn ang="0">
                      <a:pos x="10" y="108"/>
                    </a:cxn>
                    <a:cxn ang="0">
                      <a:pos x="12" y="106"/>
                    </a:cxn>
                    <a:cxn ang="0">
                      <a:pos x="18" y="100"/>
                    </a:cxn>
                    <a:cxn ang="0">
                      <a:pos x="18" y="100"/>
                    </a:cxn>
                    <a:cxn ang="0">
                      <a:pos x="28" y="90"/>
                    </a:cxn>
                    <a:cxn ang="0">
                      <a:pos x="34" y="80"/>
                    </a:cxn>
                    <a:cxn ang="0">
                      <a:pos x="40" y="70"/>
                    </a:cxn>
                    <a:cxn ang="0">
                      <a:pos x="44" y="52"/>
                    </a:cxn>
                    <a:cxn ang="0">
                      <a:pos x="44" y="52"/>
                    </a:cxn>
                    <a:cxn ang="0">
                      <a:pos x="46" y="24"/>
                    </a:cxn>
                    <a:cxn ang="0">
                      <a:pos x="46" y="24"/>
                    </a:cxn>
                    <a:cxn ang="0">
                      <a:pos x="42" y="18"/>
                    </a:cxn>
                    <a:cxn ang="0">
                      <a:pos x="34" y="6"/>
                    </a:cxn>
                    <a:cxn ang="0">
                      <a:pos x="28" y="2"/>
                    </a:cxn>
                    <a:cxn ang="0">
                      <a:pos x="22" y="0"/>
                    </a:cxn>
                    <a:cxn ang="0">
                      <a:pos x="16" y="4"/>
                    </a:cxn>
                    <a:cxn ang="0">
                      <a:pos x="12" y="10"/>
                    </a:cxn>
                    <a:cxn ang="0">
                      <a:pos x="12" y="10"/>
                    </a:cxn>
                  </a:cxnLst>
                  <a:rect l="0" t="0" r="r" b="b"/>
                  <a:pathLst>
                    <a:path w="46" h="108">
                      <a:moveTo>
                        <a:pt x="12" y="10"/>
                      </a:moveTo>
                      <a:lnTo>
                        <a:pt x="12" y="10"/>
                      </a:lnTo>
                      <a:lnTo>
                        <a:pt x="2" y="48"/>
                      </a:lnTo>
                      <a:lnTo>
                        <a:pt x="0" y="62"/>
                      </a:lnTo>
                      <a:lnTo>
                        <a:pt x="2" y="74"/>
                      </a:lnTo>
                      <a:lnTo>
                        <a:pt x="2" y="74"/>
                      </a:lnTo>
                      <a:lnTo>
                        <a:pt x="4" y="88"/>
                      </a:lnTo>
                      <a:lnTo>
                        <a:pt x="6" y="100"/>
                      </a:lnTo>
                      <a:lnTo>
                        <a:pt x="8" y="106"/>
                      </a:lnTo>
                      <a:lnTo>
                        <a:pt x="10" y="108"/>
                      </a:lnTo>
                      <a:lnTo>
                        <a:pt x="12" y="106"/>
                      </a:lnTo>
                      <a:lnTo>
                        <a:pt x="18" y="100"/>
                      </a:lnTo>
                      <a:lnTo>
                        <a:pt x="18" y="100"/>
                      </a:lnTo>
                      <a:lnTo>
                        <a:pt x="28" y="90"/>
                      </a:lnTo>
                      <a:lnTo>
                        <a:pt x="34" y="80"/>
                      </a:lnTo>
                      <a:lnTo>
                        <a:pt x="40" y="70"/>
                      </a:lnTo>
                      <a:lnTo>
                        <a:pt x="44" y="52"/>
                      </a:lnTo>
                      <a:lnTo>
                        <a:pt x="44" y="52"/>
                      </a:lnTo>
                      <a:lnTo>
                        <a:pt x="46" y="24"/>
                      </a:lnTo>
                      <a:lnTo>
                        <a:pt x="46" y="24"/>
                      </a:lnTo>
                      <a:lnTo>
                        <a:pt x="42" y="18"/>
                      </a:lnTo>
                      <a:lnTo>
                        <a:pt x="34" y="6"/>
                      </a:lnTo>
                      <a:lnTo>
                        <a:pt x="28" y="2"/>
                      </a:lnTo>
                      <a:lnTo>
                        <a:pt x="22" y="0"/>
                      </a:lnTo>
                      <a:lnTo>
                        <a:pt x="16" y="4"/>
                      </a:lnTo>
                      <a:lnTo>
                        <a:pt x="12" y="10"/>
                      </a:lnTo>
                      <a:lnTo>
                        <a:pt x="12" y="1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4" name="Freeform 68">
                  <a:extLst>
                    <a:ext uri="{FF2B5EF4-FFF2-40B4-BE49-F238E27FC236}">
                      <a16:creationId xmlns:a16="http://schemas.microsoft.com/office/drawing/2014/main" id="{1FCBEEED-C2E4-479B-ACA6-F957BC8315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5863" y="6124020"/>
                  <a:ext cx="27437" cy="57922"/>
                </a:xfrm>
                <a:custGeom>
                  <a:avLst/>
                  <a:gdLst/>
                  <a:ahLst/>
                  <a:cxnLst>
                    <a:cxn ang="0">
                      <a:pos x="0" y="56"/>
                    </a:cxn>
                    <a:cxn ang="0">
                      <a:pos x="10" y="76"/>
                    </a:cxn>
                    <a:cxn ang="0">
                      <a:pos x="10" y="76"/>
                    </a:cxn>
                    <a:cxn ang="0">
                      <a:pos x="14" y="74"/>
                    </a:cxn>
                    <a:cxn ang="0">
                      <a:pos x="16" y="72"/>
                    </a:cxn>
                    <a:cxn ang="0">
                      <a:pos x="20" y="68"/>
                    </a:cxn>
                    <a:cxn ang="0">
                      <a:pos x="20" y="68"/>
                    </a:cxn>
                    <a:cxn ang="0">
                      <a:pos x="24" y="64"/>
                    </a:cxn>
                    <a:cxn ang="0">
                      <a:pos x="30" y="62"/>
                    </a:cxn>
                    <a:cxn ang="0">
                      <a:pos x="32" y="58"/>
                    </a:cxn>
                    <a:cxn ang="0">
                      <a:pos x="34" y="54"/>
                    </a:cxn>
                    <a:cxn ang="0">
                      <a:pos x="36" y="48"/>
                    </a:cxn>
                    <a:cxn ang="0">
                      <a:pos x="34" y="40"/>
                    </a:cxn>
                    <a:cxn ang="0">
                      <a:pos x="34" y="40"/>
                    </a:cxn>
                    <a:cxn ang="0">
                      <a:pos x="32" y="20"/>
                    </a:cxn>
                    <a:cxn ang="0">
                      <a:pos x="30" y="6"/>
                    </a:cxn>
                    <a:cxn ang="0">
                      <a:pos x="28" y="2"/>
                    </a:cxn>
                    <a:cxn ang="0">
                      <a:pos x="26" y="0"/>
                    </a:cxn>
                    <a:cxn ang="0">
                      <a:pos x="24" y="2"/>
                    </a:cxn>
                    <a:cxn ang="0">
                      <a:pos x="22" y="8"/>
                    </a:cxn>
                    <a:cxn ang="0">
                      <a:pos x="22" y="8"/>
                    </a:cxn>
                    <a:cxn ang="0">
                      <a:pos x="0" y="56"/>
                    </a:cxn>
                    <a:cxn ang="0">
                      <a:pos x="0" y="56"/>
                    </a:cxn>
                  </a:cxnLst>
                  <a:rect l="0" t="0" r="r" b="b"/>
                  <a:pathLst>
                    <a:path w="36" h="76">
                      <a:moveTo>
                        <a:pt x="0" y="56"/>
                      </a:moveTo>
                      <a:lnTo>
                        <a:pt x="10" y="76"/>
                      </a:lnTo>
                      <a:lnTo>
                        <a:pt x="10" y="76"/>
                      </a:lnTo>
                      <a:lnTo>
                        <a:pt x="14" y="74"/>
                      </a:lnTo>
                      <a:lnTo>
                        <a:pt x="16" y="72"/>
                      </a:lnTo>
                      <a:lnTo>
                        <a:pt x="20" y="68"/>
                      </a:lnTo>
                      <a:lnTo>
                        <a:pt x="20" y="68"/>
                      </a:lnTo>
                      <a:lnTo>
                        <a:pt x="24" y="64"/>
                      </a:lnTo>
                      <a:lnTo>
                        <a:pt x="30" y="62"/>
                      </a:lnTo>
                      <a:lnTo>
                        <a:pt x="32" y="58"/>
                      </a:lnTo>
                      <a:lnTo>
                        <a:pt x="34" y="54"/>
                      </a:lnTo>
                      <a:lnTo>
                        <a:pt x="36" y="48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2" y="20"/>
                      </a:lnTo>
                      <a:lnTo>
                        <a:pt x="30" y="6"/>
                      </a:lnTo>
                      <a:lnTo>
                        <a:pt x="28" y="2"/>
                      </a:lnTo>
                      <a:lnTo>
                        <a:pt x="26" y="0"/>
                      </a:lnTo>
                      <a:lnTo>
                        <a:pt x="24" y="2"/>
                      </a:lnTo>
                      <a:lnTo>
                        <a:pt x="22" y="8"/>
                      </a:lnTo>
                      <a:lnTo>
                        <a:pt x="22" y="8"/>
                      </a:lnTo>
                      <a:lnTo>
                        <a:pt x="0" y="56"/>
                      </a:lnTo>
                      <a:lnTo>
                        <a:pt x="0" y="5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5" name="Freeform 69">
                  <a:extLst>
                    <a:ext uri="{FF2B5EF4-FFF2-40B4-BE49-F238E27FC236}">
                      <a16:creationId xmlns:a16="http://schemas.microsoft.com/office/drawing/2014/main" id="{5C536EA9-9D6B-473E-8415-BEC0F933EA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1011" y="6206330"/>
                  <a:ext cx="272843" cy="68592"/>
                </a:xfrm>
                <a:custGeom>
                  <a:avLst/>
                  <a:gdLst/>
                  <a:ahLst/>
                  <a:cxnLst>
                    <a:cxn ang="0">
                      <a:pos x="300" y="0"/>
                    </a:cxn>
                    <a:cxn ang="0">
                      <a:pos x="310" y="2"/>
                    </a:cxn>
                    <a:cxn ang="0">
                      <a:pos x="336" y="0"/>
                    </a:cxn>
                    <a:cxn ang="0">
                      <a:pos x="346" y="4"/>
                    </a:cxn>
                    <a:cxn ang="0">
                      <a:pos x="350" y="10"/>
                    </a:cxn>
                    <a:cxn ang="0">
                      <a:pos x="356" y="28"/>
                    </a:cxn>
                    <a:cxn ang="0">
                      <a:pos x="356" y="46"/>
                    </a:cxn>
                    <a:cxn ang="0">
                      <a:pos x="346" y="56"/>
                    </a:cxn>
                    <a:cxn ang="0">
                      <a:pos x="326" y="60"/>
                    </a:cxn>
                    <a:cxn ang="0">
                      <a:pos x="308" y="62"/>
                    </a:cxn>
                    <a:cxn ang="0">
                      <a:pos x="256" y="74"/>
                    </a:cxn>
                    <a:cxn ang="0">
                      <a:pos x="216" y="88"/>
                    </a:cxn>
                    <a:cxn ang="0">
                      <a:pos x="208" y="90"/>
                    </a:cxn>
                    <a:cxn ang="0">
                      <a:pos x="196" y="86"/>
                    </a:cxn>
                    <a:cxn ang="0">
                      <a:pos x="184" y="68"/>
                    </a:cxn>
                    <a:cxn ang="0">
                      <a:pos x="172" y="62"/>
                    </a:cxn>
                    <a:cxn ang="0">
                      <a:pos x="162" y="60"/>
                    </a:cxn>
                    <a:cxn ang="0">
                      <a:pos x="130" y="62"/>
                    </a:cxn>
                    <a:cxn ang="0">
                      <a:pos x="86" y="64"/>
                    </a:cxn>
                    <a:cxn ang="0">
                      <a:pos x="30" y="62"/>
                    </a:cxn>
                    <a:cxn ang="0">
                      <a:pos x="6" y="58"/>
                    </a:cxn>
                    <a:cxn ang="0">
                      <a:pos x="0" y="50"/>
                    </a:cxn>
                    <a:cxn ang="0">
                      <a:pos x="2" y="48"/>
                    </a:cxn>
                    <a:cxn ang="0">
                      <a:pos x="6" y="36"/>
                    </a:cxn>
                    <a:cxn ang="0">
                      <a:pos x="8" y="22"/>
                    </a:cxn>
                    <a:cxn ang="0">
                      <a:pos x="16" y="20"/>
                    </a:cxn>
                    <a:cxn ang="0">
                      <a:pos x="24" y="20"/>
                    </a:cxn>
                    <a:cxn ang="0">
                      <a:pos x="66" y="22"/>
                    </a:cxn>
                    <a:cxn ang="0">
                      <a:pos x="116" y="16"/>
                    </a:cxn>
                    <a:cxn ang="0">
                      <a:pos x="142" y="12"/>
                    </a:cxn>
                    <a:cxn ang="0">
                      <a:pos x="170" y="2"/>
                    </a:cxn>
                    <a:cxn ang="0">
                      <a:pos x="188" y="2"/>
                    </a:cxn>
                    <a:cxn ang="0">
                      <a:pos x="196" y="6"/>
                    </a:cxn>
                    <a:cxn ang="0">
                      <a:pos x="222" y="10"/>
                    </a:cxn>
                    <a:cxn ang="0">
                      <a:pos x="256" y="8"/>
                    </a:cxn>
                    <a:cxn ang="0">
                      <a:pos x="300" y="0"/>
                    </a:cxn>
                  </a:cxnLst>
                  <a:rect l="0" t="0" r="r" b="b"/>
                  <a:pathLst>
                    <a:path w="358" h="90">
                      <a:moveTo>
                        <a:pt x="300" y="0"/>
                      </a:moveTo>
                      <a:lnTo>
                        <a:pt x="300" y="0"/>
                      </a:lnTo>
                      <a:lnTo>
                        <a:pt x="304" y="2"/>
                      </a:lnTo>
                      <a:lnTo>
                        <a:pt x="310" y="2"/>
                      </a:lnTo>
                      <a:lnTo>
                        <a:pt x="324" y="0"/>
                      </a:lnTo>
                      <a:lnTo>
                        <a:pt x="336" y="0"/>
                      </a:lnTo>
                      <a:lnTo>
                        <a:pt x="340" y="2"/>
                      </a:lnTo>
                      <a:lnTo>
                        <a:pt x="346" y="4"/>
                      </a:lnTo>
                      <a:lnTo>
                        <a:pt x="346" y="4"/>
                      </a:lnTo>
                      <a:lnTo>
                        <a:pt x="350" y="10"/>
                      </a:lnTo>
                      <a:lnTo>
                        <a:pt x="354" y="18"/>
                      </a:lnTo>
                      <a:lnTo>
                        <a:pt x="356" y="28"/>
                      </a:lnTo>
                      <a:lnTo>
                        <a:pt x="358" y="36"/>
                      </a:lnTo>
                      <a:lnTo>
                        <a:pt x="356" y="46"/>
                      </a:lnTo>
                      <a:lnTo>
                        <a:pt x="352" y="52"/>
                      </a:lnTo>
                      <a:lnTo>
                        <a:pt x="346" y="56"/>
                      </a:lnTo>
                      <a:lnTo>
                        <a:pt x="342" y="58"/>
                      </a:lnTo>
                      <a:lnTo>
                        <a:pt x="326" y="60"/>
                      </a:lnTo>
                      <a:lnTo>
                        <a:pt x="326" y="60"/>
                      </a:lnTo>
                      <a:lnTo>
                        <a:pt x="308" y="62"/>
                      </a:lnTo>
                      <a:lnTo>
                        <a:pt x="290" y="64"/>
                      </a:lnTo>
                      <a:lnTo>
                        <a:pt x="256" y="74"/>
                      </a:lnTo>
                      <a:lnTo>
                        <a:pt x="228" y="84"/>
                      </a:lnTo>
                      <a:lnTo>
                        <a:pt x="216" y="88"/>
                      </a:lnTo>
                      <a:lnTo>
                        <a:pt x="208" y="90"/>
                      </a:lnTo>
                      <a:lnTo>
                        <a:pt x="208" y="90"/>
                      </a:lnTo>
                      <a:lnTo>
                        <a:pt x="202" y="88"/>
                      </a:lnTo>
                      <a:lnTo>
                        <a:pt x="196" y="86"/>
                      </a:lnTo>
                      <a:lnTo>
                        <a:pt x="190" y="76"/>
                      </a:lnTo>
                      <a:lnTo>
                        <a:pt x="184" y="68"/>
                      </a:lnTo>
                      <a:lnTo>
                        <a:pt x="178" y="64"/>
                      </a:lnTo>
                      <a:lnTo>
                        <a:pt x="172" y="62"/>
                      </a:lnTo>
                      <a:lnTo>
                        <a:pt x="172" y="62"/>
                      </a:lnTo>
                      <a:lnTo>
                        <a:pt x="162" y="60"/>
                      </a:lnTo>
                      <a:lnTo>
                        <a:pt x="152" y="60"/>
                      </a:lnTo>
                      <a:lnTo>
                        <a:pt x="130" y="62"/>
                      </a:lnTo>
                      <a:lnTo>
                        <a:pt x="108" y="64"/>
                      </a:lnTo>
                      <a:lnTo>
                        <a:pt x="86" y="64"/>
                      </a:lnTo>
                      <a:lnTo>
                        <a:pt x="86" y="64"/>
                      </a:lnTo>
                      <a:lnTo>
                        <a:pt x="30" y="62"/>
                      </a:lnTo>
                      <a:lnTo>
                        <a:pt x="16" y="60"/>
                      </a:lnTo>
                      <a:lnTo>
                        <a:pt x="6" y="58"/>
                      </a:lnTo>
                      <a:lnTo>
                        <a:pt x="0" y="54"/>
                      </a:lnTo>
                      <a:lnTo>
                        <a:pt x="0" y="50"/>
                      </a:lnTo>
                      <a:lnTo>
                        <a:pt x="2" y="48"/>
                      </a:lnTo>
                      <a:lnTo>
                        <a:pt x="2" y="48"/>
                      </a:lnTo>
                      <a:lnTo>
                        <a:pt x="4" y="42"/>
                      </a:lnTo>
                      <a:lnTo>
                        <a:pt x="6" y="36"/>
                      </a:lnTo>
                      <a:lnTo>
                        <a:pt x="6" y="26"/>
                      </a:lnTo>
                      <a:lnTo>
                        <a:pt x="8" y="22"/>
                      </a:lnTo>
                      <a:lnTo>
                        <a:pt x="10" y="20"/>
                      </a:lnTo>
                      <a:lnTo>
                        <a:pt x="16" y="20"/>
                      </a:lnTo>
                      <a:lnTo>
                        <a:pt x="24" y="20"/>
                      </a:lnTo>
                      <a:lnTo>
                        <a:pt x="24" y="20"/>
                      </a:lnTo>
                      <a:lnTo>
                        <a:pt x="44" y="22"/>
                      </a:lnTo>
                      <a:lnTo>
                        <a:pt x="66" y="22"/>
                      </a:lnTo>
                      <a:lnTo>
                        <a:pt x="116" y="16"/>
                      </a:lnTo>
                      <a:lnTo>
                        <a:pt x="116" y="16"/>
                      </a:lnTo>
                      <a:lnTo>
                        <a:pt x="130" y="14"/>
                      </a:lnTo>
                      <a:lnTo>
                        <a:pt x="142" y="12"/>
                      </a:lnTo>
                      <a:lnTo>
                        <a:pt x="162" y="4"/>
                      </a:lnTo>
                      <a:lnTo>
                        <a:pt x="170" y="2"/>
                      </a:lnTo>
                      <a:lnTo>
                        <a:pt x="180" y="2"/>
                      </a:lnTo>
                      <a:lnTo>
                        <a:pt x="188" y="2"/>
                      </a:lnTo>
                      <a:lnTo>
                        <a:pt x="196" y="6"/>
                      </a:lnTo>
                      <a:lnTo>
                        <a:pt x="196" y="6"/>
                      </a:lnTo>
                      <a:lnTo>
                        <a:pt x="206" y="10"/>
                      </a:lnTo>
                      <a:lnTo>
                        <a:pt x="222" y="10"/>
                      </a:lnTo>
                      <a:lnTo>
                        <a:pt x="238" y="10"/>
                      </a:lnTo>
                      <a:lnTo>
                        <a:pt x="256" y="8"/>
                      </a:lnTo>
                      <a:lnTo>
                        <a:pt x="288" y="4"/>
                      </a:lnTo>
                      <a:lnTo>
                        <a:pt x="300" y="0"/>
                      </a:lnTo>
                      <a:lnTo>
                        <a:pt x="30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6" name="Freeform 70">
                  <a:extLst>
                    <a:ext uri="{FF2B5EF4-FFF2-40B4-BE49-F238E27FC236}">
                      <a16:creationId xmlns:a16="http://schemas.microsoft.com/office/drawing/2014/main" id="{6288BEAD-F81B-4FF7-8003-12CBB48623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7710" y="5732285"/>
                  <a:ext cx="56398" cy="35058"/>
                </a:xfrm>
                <a:custGeom>
                  <a:avLst/>
                  <a:gdLst/>
                  <a:ahLst/>
                  <a:cxnLst>
                    <a:cxn ang="0">
                      <a:pos x="0" y="34"/>
                    </a:cxn>
                    <a:cxn ang="0">
                      <a:pos x="0" y="34"/>
                    </a:cxn>
                    <a:cxn ang="0">
                      <a:pos x="14" y="40"/>
                    </a:cxn>
                    <a:cxn ang="0">
                      <a:pos x="28" y="44"/>
                    </a:cxn>
                    <a:cxn ang="0">
                      <a:pos x="46" y="46"/>
                    </a:cxn>
                    <a:cxn ang="0">
                      <a:pos x="46" y="46"/>
                    </a:cxn>
                    <a:cxn ang="0">
                      <a:pos x="62" y="46"/>
                    </a:cxn>
                    <a:cxn ang="0">
                      <a:pos x="72" y="44"/>
                    </a:cxn>
                    <a:cxn ang="0">
                      <a:pos x="74" y="44"/>
                    </a:cxn>
                    <a:cxn ang="0">
                      <a:pos x="74" y="40"/>
                    </a:cxn>
                    <a:cxn ang="0">
                      <a:pos x="70" y="36"/>
                    </a:cxn>
                    <a:cxn ang="0">
                      <a:pos x="70" y="36"/>
                    </a:cxn>
                    <a:cxn ang="0">
                      <a:pos x="68" y="32"/>
                    </a:cxn>
                    <a:cxn ang="0">
                      <a:pos x="68" y="28"/>
                    </a:cxn>
                    <a:cxn ang="0">
                      <a:pos x="70" y="20"/>
                    </a:cxn>
                    <a:cxn ang="0">
                      <a:pos x="70" y="16"/>
                    </a:cxn>
                    <a:cxn ang="0">
                      <a:pos x="68" y="12"/>
                    </a:cxn>
                    <a:cxn ang="0">
                      <a:pos x="64" y="8"/>
                    </a:cxn>
                    <a:cxn ang="0">
                      <a:pos x="56" y="4"/>
                    </a:cxn>
                    <a:cxn ang="0">
                      <a:pos x="56" y="4"/>
                    </a:cxn>
                    <a:cxn ang="0">
                      <a:pos x="46" y="0"/>
                    </a:cxn>
                    <a:cxn ang="0">
                      <a:pos x="38" y="0"/>
                    </a:cxn>
                    <a:cxn ang="0">
                      <a:pos x="20" y="0"/>
                    </a:cxn>
                    <a:cxn ang="0">
                      <a:pos x="10" y="4"/>
                    </a:cxn>
                    <a:cxn ang="0">
                      <a:pos x="6" y="4"/>
                    </a:cxn>
                    <a:cxn ang="0">
                      <a:pos x="0" y="34"/>
                    </a:cxn>
                  </a:cxnLst>
                  <a:rect l="0" t="0" r="r" b="b"/>
                  <a:pathLst>
                    <a:path w="74" h="46">
                      <a:moveTo>
                        <a:pt x="0" y="34"/>
                      </a:moveTo>
                      <a:lnTo>
                        <a:pt x="0" y="34"/>
                      </a:lnTo>
                      <a:lnTo>
                        <a:pt x="14" y="40"/>
                      </a:lnTo>
                      <a:lnTo>
                        <a:pt x="28" y="44"/>
                      </a:lnTo>
                      <a:lnTo>
                        <a:pt x="46" y="46"/>
                      </a:lnTo>
                      <a:lnTo>
                        <a:pt x="46" y="46"/>
                      </a:lnTo>
                      <a:lnTo>
                        <a:pt x="62" y="46"/>
                      </a:lnTo>
                      <a:lnTo>
                        <a:pt x="72" y="44"/>
                      </a:lnTo>
                      <a:lnTo>
                        <a:pt x="74" y="44"/>
                      </a:lnTo>
                      <a:lnTo>
                        <a:pt x="74" y="40"/>
                      </a:lnTo>
                      <a:lnTo>
                        <a:pt x="70" y="36"/>
                      </a:lnTo>
                      <a:lnTo>
                        <a:pt x="70" y="36"/>
                      </a:lnTo>
                      <a:lnTo>
                        <a:pt x="68" y="32"/>
                      </a:lnTo>
                      <a:lnTo>
                        <a:pt x="68" y="28"/>
                      </a:lnTo>
                      <a:lnTo>
                        <a:pt x="70" y="20"/>
                      </a:lnTo>
                      <a:lnTo>
                        <a:pt x="70" y="16"/>
                      </a:lnTo>
                      <a:lnTo>
                        <a:pt x="68" y="12"/>
                      </a:lnTo>
                      <a:lnTo>
                        <a:pt x="64" y="8"/>
                      </a:lnTo>
                      <a:lnTo>
                        <a:pt x="56" y="4"/>
                      </a:lnTo>
                      <a:lnTo>
                        <a:pt x="56" y="4"/>
                      </a:lnTo>
                      <a:lnTo>
                        <a:pt x="46" y="0"/>
                      </a:lnTo>
                      <a:lnTo>
                        <a:pt x="38" y="0"/>
                      </a:lnTo>
                      <a:lnTo>
                        <a:pt x="20" y="0"/>
                      </a:lnTo>
                      <a:lnTo>
                        <a:pt x="10" y="4"/>
                      </a:lnTo>
                      <a:lnTo>
                        <a:pt x="6" y="4"/>
                      </a:lnTo>
                      <a:lnTo>
                        <a:pt x="0" y="3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7" name="Freeform 71">
                  <a:extLst>
                    <a:ext uri="{FF2B5EF4-FFF2-40B4-BE49-F238E27FC236}">
                      <a16:creationId xmlns:a16="http://schemas.microsoft.com/office/drawing/2014/main" id="{151C76D7-0926-4F49-8192-FA8B23FEB6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6185" y="5816119"/>
                  <a:ext cx="45728" cy="60970"/>
                </a:xfrm>
                <a:custGeom>
                  <a:avLst/>
                  <a:gdLst/>
                  <a:ahLst/>
                  <a:cxnLst>
                    <a:cxn ang="0">
                      <a:pos x="4" y="26"/>
                    </a:cxn>
                    <a:cxn ang="0">
                      <a:pos x="4" y="26"/>
                    </a:cxn>
                    <a:cxn ang="0">
                      <a:pos x="8" y="32"/>
                    </a:cxn>
                    <a:cxn ang="0">
                      <a:pos x="12" y="38"/>
                    </a:cxn>
                    <a:cxn ang="0">
                      <a:pos x="20" y="52"/>
                    </a:cxn>
                    <a:cxn ang="0">
                      <a:pos x="26" y="66"/>
                    </a:cxn>
                    <a:cxn ang="0">
                      <a:pos x="34" y="76"/>
                    </a:cxn>
                    <a:cxn ang="0">
                      <a:pos x="34" y="76"/>
                    </a:cxn>
                    <a:cxn ang="0">
                      <a:pos x="38" y="78"/>
                    </a:cxn>
                    <a:cxn ang="0">
                      <a:pos x="42" y="80"/>
                    </a:cxn>
                    <a:cxn ang="0">
                      <a:pos x="52" y="78"/>
                    </a:cxn>
                    <a:cxn ang="0">
                      <a:pos x="56" y="76"/>
                    </a:cxn>
                    <a:cxn ang="0">
                      <a:pos x="60" y="74"/>
                    </a:cxn>
                    <a:cxn ang="0">
                      <a:pos x="60" y="70"/>
                    </a:cxn>
                    <a:cxn ang="0">
                      <a:pos x="60" y="66"/>
                    </a:cxn>
                    <a:cxn ang="0">
                      <a:pos x="60" y="66"/>
                    </a:cxn>
                    <a:cxn ang="0">
                      <a:pos x="58" y="64"/>
                    </a:cxn>
                    <a:cxn ang="0">
                      <a:pos x="56" y="62"/>
                    </a:cxn>
                    <a:cxn ang="0">
                      <a:pos x="54" y="62"/>
                    </a:cxn>
                    <a:cxn ang="0">
                      <a:pos x="54" y="58"/>
                    </a:cxn>
                    <a:cxn ang="0">
                      <a:pos x="56" y="40"/>
                    </a:cxn>
                    <a:cxn ang="0">
                      <a:pos x="56" y="40"/>
                    </a:cxn>
                    <a:cxn ang="0">
                      <a:pos x="56" y="28"/>
                    </a:cxn>
                    <a:cxn ang="0">
                      <a:pos x="54" y="18"/>
                    </a:cxn>
                    <a:cxn ang="0">
                      <a:pos x="50" y="10"/>
                    </a:cxn>
                    <a:cxn ang="0">
                      <a:pos x="44" y="4"/>
                    </a:cxn>
                    <a:cxn ang="0">
                      <a:pos x="38" y="2"/>
                    </a:cxn>
                    <a:cxn ang="0">
                      <a:pos x="32" y="0"/>
                    </a:cxn>
                    <a:cxn ang="0">
                      <a:pos x="26" y="0"/>
                    </a:cxn>
                    <a:cxn ang="0">
                      <a:pos x="22" y="2"/>
                    </a:cxn>
                    <a:cxn ang="0">
                      <a:pos x="22" y="2"/>
                    </a:cxn>
                    <a:cxn ang="0">
                      <a:pos x="14" y="8"/>
                    </a:cxn>
                    <a:cxn ang="0">
                      <a:pos x="4" y="12"/>
                    </a:cxn>
                    <a:cxn ang="0">
                      <a:pos x="2" y="16"/>
                    </a:cxn>
                    <a:cxn ang="0">
                      <a:pos x="0" y="20"/>
                    </a:cxn>
                    <a:cxn ang="0">
                      <a:pos x="2" y="22"/>
                    </a:cxn>
                    <a:cxn ang="0">
                      <a:pos x="4" y="26"/>
                    </a:cxn>
                    <a:cxn ang="0">
                      <a:pos x="4" y="26"/>
                    </a:cxn>
                  </a:cxnLst>
                  <a:rect l="0" t="0" r="r" b="b"/>
                  <a:pathLst>
                    <a:path w="60" h="80">
                      <a:moveTo>
                        <a:pt x="4" y="26"/>
                      </a:moveTo>
                      <a:lnTo>
                        <a:pt x="4" y="26"/>
                      </a:lnTo>
                      <a:lnTo>
                        <a:pt x="8" y="32"/>
                      </a:lnTo>
                      <a:lnTo>
                        <a:pt x="12" y="38"/>
                      </a:lnTo>
                      <a:lnTo>
                        <a:pt x="20" y="52"/>
                      </a:lnTo>
                      <a:lnTo>
                        <a:pt x="26" y="66"/>
                      </a:lnTo>
                      <a:lnTo>
                        <a:pt x="34" y="76"/>
                      </a:lnTo>
                      <a:lnTo>
                        <a:pt x="34" y="76"/>
                      </a:lnTo>
                      <a:lnTo>
                        <a:pt x="38" y="78"/>
                      </a:lnTo>
                      <a:lnTo>
                        <a:pt x="42" y="80"/>
                      </a:lnTo>
                      <a:lnTo>
                        <a:pt x="52" y="78"/>
                      </a:lnTo>
                      <a:lnTo>
                        <a:pt x="56" y="76"/>
                      </a:lnTo>
                      <a:lnTo>
                        <a:pt x="60" y="74"/>
                      </a:lnTo>
                      <a:lnTo>
                        <a:pt x="60" y="70"/>
                      </a:lnTo>
                      <a:lnTo>
                        <a:pt x="60" y="66"/>
                      </a:lnTo>
                      <a:lnTo>
                        <a:pt x="60" y="66"/>
                      </a:lnTo>
                      <a:lnTo>
                        <a:pt x="58" y="64"/>
                      </a:lnTo>
                      <a:lnTo>
                        <a:pt x="56" y="62"/>
                      </a:lnTo>
                      <a:lnTo>
                        <a:pt x="54" y="62"/>
                      </a:lnTo>
                      <a:lnTo>
                        <a:pt x="54" y="58"/>
                      </a:lnTo>
                      <a:lnTo>
                        <a:pt x="56" y="40"/>
                      </a:lnTo>
                      <a:lnTo>
                        <a:pt x="56" y="40"/>
                      </a:lnTo>
                      <a:lnTo>
                        <a:pt x="56" y="28"/>
                      </a:lnTo>
                      <a:lnTo>
                        <a:pt x="54" y="18"/>
                      </a:lnTo>
                      <a:lnTo>
                        <a:pt x="50" y="10"/>
                      </a:lnTo>
                      <a:lnTo>
                        <a:pt x="44" y="4"/>
                      </a:lnTo>
                      <a:lnTo>
                        <a:pt x="38" y="2"/>
                      </a:ln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14" y="8"/>
                      </a:lnTo>
                      <a:lnTo>
                        <a:pt x="4" y="12"/>
                      </a:lnTo>
                      <a:lnTo>
                        <a:pt x="2" y="16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4" y="26"/>
                      </a:lnTo>
                      <a:lnTo>
                        <a:pt x="4" y="2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8" name="Freeform 72">
                  <a:extLst>
                    <a:ext uri="{FF2B5EF4-FFF2-40B4-BE49-F238E27FC236}">
                      <a16:creationId xmlns:a16="http://schemas.microsoft.com/office/drawing/2014/main" id="{F4D0F556-32EA-43BE-A998-7EBE360B21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4778" y="5813070"/>
                  <a:ext cx="36582" cy="51825"/>
                </a:xfrm>
                <a:custGeom>
                  <a:avLst/>
                  <a:gdLst/>
                  <a:ahLst/>
                  <a:cxnLst>
                    <a:cxn ang="0">
                      <a:pos x="4" y="30"/>
                    </a:cxn>
                    <a:cxn ang="0">
                      <a:pos x="4" y="30"/>
                    </a:cxn>
                    <a:cxn ang="0">
                      <a:pos x="16" y="48"/>
                    </a:cxn>
                    <a:cxn ang="0">
                      <a:pos x="32" y="64"/>
                    </a:cxn>
                    <a:cxn ang="0">
                      <a:pos x="32" y="64"/>
                    </a:cxn>
                    <a:cxn ang="0">
                      <a:pos x="36" y="68"/>
                    </a:cxn>
                    <a:cxn ang="0">
                      <a:pos x="40" y="68"/>
                    </a:cxn>
                    <a:cxn ang="0">
                      <a:pos x="44" y="66"/>
                    </a:cxn>
                    <a:cxn ang="0">
                      <a:pos x="46" y="64"/>
                    </a:cxn>
                    <a:cxn ang="0">
                      <a:pos x="48" y="60"/>
                    </a:cxn>
                    <a:cxn ang="0">
                      <a:pos x="48" y="56"/>
                    </a:cxn>
                    <a:cxn ang="0">
                      <a:pos x="46" y="50"/>
                    </a:cxn>
                    <a:cxn ang="0">
                      <a:pos x="42" y="44"/>
                    </a:cxn>
                    <a:cxn ang="0">
                      <a:pos x="42" y="44"/>
                    </a:cxn>
                    <a:cxn ang="0">
                      <a:pos x="32" y="36"/>
                    </a:cxn>
                    <a:cxn ang="0">
                      <a:pos x="26" y="32"/>
                    </a:cxn>
                    <a:cxn ang="0">
                      <a:pos x="24" y="24"/>
                    </a:cxn>
                    <a:cxn ang="0">
                      <a:pos x="20" y="12"/>
                    </a:cxn>
                    <a:cxn ang="0">
                      <a:pos x="20" y="12"/>
                    </a:cxn>
                    <a:cxn ang="0">
                      <a:pos x="18" y="4"/>
                    </a:cxn>
                    <a:cxn ang="0">
                      <a:pos x="16" y="0"/>
                    </a:cxn>
                    <a:cxn ang="0">
                      <a:pos x="12" y="2"/>
                    </a:cxn>
                    <a:cxn ang="0">
                      <a:pos x="6" y="4"/>
                    </a:cxn>
                    <a:cxn ang="0">
                      <a:pos x="4" y="8"/>
                    </a:cxn>
                    <a:cxn ang="0">
                      <a:pos x="0" y="16"/>
                    </a:cxn>
                    <a:cxn ang="0">
                      <a:pos x="0" y="22"/>
                    </a:cxn>
                    <a:cxn ang="0">
                      <a:pos x="4" y="30"/>
                    </a:cxn>
                    <a:cxn ang="0">
                      <a:pos x="4" y="30"/>
                    </a:cxn>
                  </a:cxnLst>
                  <a:rect l="0" t="0" r="r" b="b"/>
                  <a:pathLst>
                    <a:path w="48" h="68">
                      <a:moveTo>
                        <a:pt x="4" y="30"/>
                      </a:moveTo>
                      <a:lnTo>
                        <a:pt x="4" y="30"/>
                      </a:lnTo>
                      <a:lnTo>
                        <a:pt x="16" y="48"/>
                      </a:lnTo>
                      <a:lnTo>
                        <a:pt x="32" y="64"/>
                      </a:lnTo>
                      <a:lnTo>
                        <a:pt x="32" y="64"/>
                      </a:lnTo>
                      <a:lnTo>
                        <a:pt x="36" y="68"/>
                      </a:lnTo>
                      <a:lnTo>
                        <a:pt x="40" y="68"/>
                      </a:lnTo>
                      <a:lnTo>
                        <a:pt x="44" y="66"/>
                      </a:lnTo>
                      <a:lnTo>
                        <a:pt x="46" y="64"/>
                      </a:lnTo>
                      <a:lnTo>
                        <a:pt x="48" y="60"/>
                      </a:lnTo>
                      <a:lnTo>
                        <a:pt x="48" y="56"/>
                      </a:lnTo>
                      <a:lnTo>
                        <a:pt x="46" y="50"/>
                      </a:lnTo>
                      <a:lnTo>
                        <a:pt x="42" y="44"/>
                      </a:lnTo>
                      <a:lnTo>
                        <a:pt x="42" y="44"/>
                      </a:lnTo>
                      <a:lnTo>
                        <a:pt x="32" y="36"/>
                      </a:lnTo>
                      <a:lnTo>
                        <a:pt x="26" y="32"/>
                      </a:lnTo>
                      <a:lnTo>
                        <a:pt x="24" y="24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18" y="4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6" y="4"/>
                      </a:lnTo>
                      <a:lnTo>
                        <a:pt x="4" y="8"/>
                      </a:lnTo>
                      <a:lnTo>
                        <a:pt x="0" y="16"/>
                      </a:lnTo>
                      <a:lnTo>
                        <a:pt x="0" y="22"/>
                      </a:lnTo>
                      <a:lnTo>
                        <a:pt x="4" y="30"/>
                      </a:lnTo>
                      <a:lnTo>
                        <a:pt x="4" y="3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59" name="Freeform 73">
                  <a:extLst>
                    <a:ext uri="{FF2B5EF4-FFF2-40B4-BE49-F238E27FC236}">
                      <a16:creationId xmlns:a16="http://schemas.microsoft.com/office/drawing/2014/main" id="{D7565BC7-3009-4D1A-90AA-EB2CC761E2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0875" y="5910625"/>
                  <a:ext cx="30485" cy="28961"/>
                </a:xfrm>
                <a:custGeom>
                  <a:avLst/>
                  <a:gdLst/>
                  <a:ahLst/>
                  <a:cxnLst>
                    <a:cxn ang="0">
                      <a:pos x="0" y="30"/>
                    </a:cxn>
                    <a:cxn ang="0">
                      <a:pos x="0" y="30"/>
                    </a:cxn>
                    <a:cxn ang="0">
                      <a:pos x="0" y="32"/>
                    </a:cxn>
                    <a:cxn ang="0">
                      <a:pos x="0" y="36"/>
                    </a:cxn>
                    <a:cxn ang="0">
                      <a:pos x="2" y="38"/>
                    </a:cxn>
                    <a:cxn ang="0">
                      <a:pos x="4" y="38"/>
                    </a:cxn>
                    <a:cxn ang="0">
                      <a:pos x="10" y="32"/>
                    </a:cxn>
                    <a:cxn ang="0">
                      <a:pos x="10" y="32"/>
                    </a:cxn>
                    <a:cxn ang="0">
                      <a:pos x="34" y="14"/>
                    </a:cxn>
                    <a:cxn ang="0">
                      <a:pos x="38" y="12"/>
                    </a:cxn>
                    <a:cxn ang="0">
                      <a:pos x="40" y="8"/>
                    </a:cxn>
                    <a:cxn ang="0">
                      <a:pos x="38" y="6"/>
                    </a:cxn>
                    <a:cxn ang="0">
                      <a:pos x="34" y="6"/>
                    </a:cxn>
                    <a:cxn ang="0">
                      <a:pos x="34" y="6"/>
                    </a:cxn>
                    <a:cxn ang="0">
                      <a:pos x="28" y="6"/>
                    </a:cxn>
                    <a:cxn ang="0">
                      <a:pos x="24" y="4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14" y="6"/>
                    </a:cxn>
                    <a:cxn ang="0">
                      <a:pos x="14" y="6"/>
                    </a:cxn>
                    <a:cxn ang="0">
                      <a:pos x="0" y="30"/>
                    </a:cxn>
                    <a:cxn ang="0">
                      <a:pos x="0" y="30"/>
                    </a:cxn>
                  </a:cxnLst>
                  <a:rect l="0" t="0" r="r" b="b"/>
                  <a:pathLst>
                    <a:path w="40" h="38">
                      <a:moveTo>
                        <a:pt x="0" y="30"/>
                      </a:moveTo>
                      <a:lnTo>
                        <a:pt x="0" y="30"/>
                      </a:lnTo>
                      <a:lnTo>
                        <a:pt x="0" y="32"/>
                      </a:lnTo>
                      <a:lnTo>
                        <a:pt x="0" y="36"/>
                      </a:lnTo>
                      <a:lnTo>
                        <a:pt x="2" y="38"/>
                      </a:lnTo>
                      <a:lnTo>
                        <a:pt x="4" y="38"/>
                      </a:lnTo>
                      <a:lnTo>
                        <a:pt x="10" y="32"/>
                      </a:lnTo>
                      <a:lnTo>
                        <a:pt x="10" y="32"/>
                      </a:lnTo>
                      <a:lnTo>
                        <a:pt x="34" y="14"/>
                      </a:lnTo>
                      <a:lnTo>
                        <a:pt x="38" y="12"/>
                      </a:lnTo>
                      <a:lnTo>
                        <a:pt x="40" y="8"/>
                      </a:lnTo>
                      <a:lnTo>
                        <a:pt x="38" y="6"/>
                      </a:lnTo>
                      <a:lnTo>
                        <a:pt x="34" y="6"/>
                      </a:lnTo>
                      <a:lnTo>
                        <a:pt x="34" y="6"/>
                      </a:lnTo>
                      <a:lnTo>
                        <a:pt x="28" y="6"/>
                      </a:lnTo>
                      <a:lnTo>
                        <a:pt x="24" y="4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0" y="30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0" name="Freeform 74">
                  <a:extLst>
                    <a:ext uri="{FF2B5EF4-FFF2-40B4-BE49-F238E27FC236}">
                      <a16:creationId xmlns:a16="http://schemas.microsoft.com/office/drawing/2014/main" id="{B25B8C74-2A06-44C9-8E80-B3C23C061A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4223" y="5899954"/>
                  <a:ext cx="21340" cy="15243"/>
                </a:xfrm>
                <a:custGeom>
                  <a:avLst/>
                  <a:gdLst/>
                  <a:ahLst/>
                  <a:cxnLst>
                    <a:cxn ang="0">
                      <a:pos x="0" y="14"/>
                    </a:cxn>
                    <a:cxn ang="0">
                      <a:pos x="0" y="14"/>
                    </a:cxn>
                    <a:cxn ang="0">
                      <a:pos x="8" y="18"/>
                    </a:cxn>
                    <a:cxn ang="0">
                      <a:pos x="14" y="20"/>
                    </a:cxn>
                    <a:cxn ang="0">
                      <a:pos x="16" y="20"/>
                    </a:cxn>
                    <a:cxn ang="0">
                      <a:pos x="18" y="18"/>
                    </a:cxn>
                    <a:cxn ang="0">
                      <a:pos x="18" y="18"/>
                    </a:cxn>
                    <a:cxn ang="0">
                      <a:pos x="20" y="14"/>
                    </a:cxn>
                    <a:cxn ang="0">
                      <a:pos x="24" y="10"/>
                    </a:cxn>
                    <a:cxn ang="0">
                      <a:pos x="28" y="6"/>
                    </a:cxn>
                    <a:cxn ang="0">
                      <a:pos x="26" y="4"/>
                    </a:cxn>
                    <a:cxn ang="0">
                      <a:pos x="24" y="2"/>
                    </a:cxn>
                    <a:cxn ang="0">
                      <a:pos x="24" y="2"/>
                    </a:cxn>
                    <a:cxn ang="0">
                      <a:pos x="18" y="0"/>
                    </a:cxn>
                    <a:cxn ang="0">
                      <a:pos x="10" y="0"/>
                    </a:cxn>
                    <a:cxn ang="0">
                      <a:pos x="0" y="2"/>
                    </a:cxn>
                    <a:cxn ang="0">
                      <a:pos x="0" y="14"/>
                    </a:cxn>
                  </a:cxnLst>
                  <a:rect l="0" t="0" r="r" b="b"/>
                  <a:pathLst>
                    <a:path w="28" h="20">
                      <a:moveTo>
                        <a:pt x="0" y="14"/>
                      </a:moveTo>
                      <a:lnTo>
                        <a:pt x="0" y="14"/>
                      </a:lnTo>
                      <a:lnTo>
                        <a:pt x="8" y="18"/>
                      </a:lnTo>
                      <a:lnTo>
                        <a:pt x="14" y="20"/>
                      </a:lnTo>
                      <a:lnTo>
                        <a:pt x="16" y="20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20" y="14"/>
                      </a:lnTo>
                      <a:lnTo>
                        <a:pt x="24" y="10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4" y="2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2"/>
                      </a:lnTo>
                      <a:lnTo>
                        <a:pt x="0" y="1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1" name="Freeform 75">
                  <a:extLst>
                    <a:ext uri="{FF2B5EF4-FFF2-40B4-BE49-F238E27FC236}">
                      <a16:creationId xmlns:a16="http://schemas.microsoft.com/office/drawing/2014/main" id="{E1744460-3739-486D-8E00-4A0A3AE411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0341" y="5794780"/>
                  <a:ext cx="18291" cy="2591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10"/>
                    </a:cxn>
                    <a:cxn ang="0">
                      <a:pos x="6" y="24"/>
                    </a:cxn>
                    <a:cxn ang="0">
                      <a:pos x="12" y="32"/>
                    </a:cxn>
                    <a:cxn ang="0">
                      <a:pos x="16" y="34"/>
                    </a:cxn>
                    <a:cxn ang="0">
                      <a:pos x="18" y="34"/>
                    </a:cxn>
                    <a:cxn ang="0">
                      <a:pos x="18" y="34"/>
                    </a:cxn>
                    <a:cxn ang="0">
                      <a:pos x="22" y="22"/>
                    </a:cxn>
                    <a:cxn ang="0">
                      <a:pos x="24" y="1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4" h="3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10"/>
                      </a:lnTo>
                      <a:lnTo>
                        <a:pt x="6" y="24"/>
                      </a:lnTo>
                      <a:lnTo>
                        <a:pt x="12" y="32"/>
                      </a:lnTo>
                      <a:lnTo>
                        <a:pt x="16" y="34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22" y="22"/>
                      </a:lnTo>
                      <a:lnTo>
                        <a:pt x="24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2" name="Freeform 76">
                  <a:extLst>
                    <a:ext uri="{FF2B5EF4-FFF2-40B4-BE49-F238E27FC236}">
                      <a16:creationId xmlns:a16="http://schemas.microsoft.com/office/drawing/2014/main" id="{C49310BB-6104-493A-9D97-DD0B48E08E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7778" y="5666743"/>
                  <a:ext cx="27437" cy="1829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2" y="22"/>
                    </a:cxn>
                    <a:cxn ang="0">
                      <a:pos x="4" y="24"/>
                    </a:cxn>
                    <a:cxn ang="0">
                      <a:pos x="10" y="24"/>
                    </a:cxn>
                    <a:cxn ang="0">
                      <a:pos x="10" y="24"/>
                    </a:cxn>
                    <a:cxn ang="0">
                      <a:pos x="24" y="20"/>
                    </a:cxn>
                    <a:cxn ang="0">
                      <a:pos x="26" y="18"/>
                    </a:cxn>
                    <a:cxn ang="0">
                      <a:pos x="28" y="12"/>
                    </a:cxn>
                    <a:cxn ang="0">
                      <a:pos x="28" y="12"/>
                    </a:cxn>
                    <a:cxn ang="0">
                      <a:pos x="30" y="10"/>
                    </a:cxn>
                    <a:cxn ang="0">
                      <a:pos x="32" y="8"/>
                    </a:cxn>
                    <a:cxn ang="0">
                      <a:pos x="36" y="8"/>
                    </a:cxn>
                    <a:cxn ang="0">
                      <a:pos x="36" y="8"/>
                    </a:cxn>
                    <a:cxn ang="0">
                      <a:pos x="30" y="4"/>
                    </a:cxn>
                    <a:cxn ang="0">
                      <a:pos x="30" y="4"/>
                    </a:cxn>
                    <a:cxn ang="0">
                      <a:pos x="20" y="2"/>
                    </a:cxn>
                    <a:cxn ang="0">
                      <a:pos x="1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6" h="2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2" y="22"/>
                      </a:lnTo>
                      <a:lnTo>
                        <a:pt x="4" y="24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24" y="20"/>
                      </a:lnTo>
                      <a:lnTo>
                        <a:pt x="26" y="18"/>
                      </a:lnTo>
                      <a:lnTo>
                        <a:pt x="28" y="12"/>
                      </a:lnTo>
                      <a:lnTo>
                        <a:pt x="28" y="12"/>
                      </a:lnTo>
                      <a:lnTo>
                        <a:pt x="30" y="10"/>
                      </a:lnTo>
                      <a:lnTo>
                        <a:pt x="32" y="8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20" y="2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3" name="Freeform 77">
                  <a:extLst>
                    <a:ext uri="{FF2B5EF4-FFF2-40B4-BE49-F238E27FC236}">
                      <a16:creationId xmlns:a16="http://schemas.microsoft.com/office/drawing/2014/main" id="{8C585AA3-AA26-420A-8138-6F10BCE95D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0062" y="5156115"/>
                  <a:ext cx="512152" cy="374968"/>
                </a:xfrm>
                <a:custGeom>
                  <a:avLst/>
                  <a:gdLst/>
                  <a:ahLst/>
                  <a:cxnLst>
                    <a:cxn ang="0">
                      <a:pos x="670" y="298"/>
                    </a:cxn>
                    <a:cxn ang="0">
                      <a:pos x="650" y="268"/>
                    </a:cxn>
                    <a:cxn ang="0">
                      <a:pos x="622" y="262"/>
                    </a:cxn>
                    <a:cxn ang="0">
                      <a:pos x="610" y="244"/>
                    </a:cxn>
                    <a:cxn ang="0">
                      <a:pos x="602" y="214"/>
                    </a:cxn>
                    <a:cxn ang="0">
                      <a:pos x="616" y="186"/>
                    </a:cxn>
                    <a:cxn ang="0">
                      <a:pos x="622" y="154"/>
                    </a:cxn>
                    <a:cxn ang="0">
                      <a:pos x="622" y="92"/>
                    </a:cxn>
                    <a:cxn ang="0">
                      <a:pos x="638" y="84"/>
                    </a:cxn>
                    <a:cxn ang="0">
                      <a:pos x="664" y="58"/>
                    </a:cxn>
                    <a:cxn ang="0">
                      <a:pos x="644" y="34"/>
                    </a:cxn>
                    <a:cxn ang="0">
                      <a:pos x="550" y="8"/>
                    </a:cxn>
                    <a:cxn ang="0">
                      <a:pos x="506" y="0"/>
                    </a:cxn>
                    <a:cxn ang="0">
                      <a:pos x="410" y="38"/>
                    </a:cxn>
                    <a:cxn ang="0">
                      <a:pos x="380" y="74"/>
                    </a:cxn>
                    <a:cxn ang="0">
                      <a:pos x="332" y="100"/>
                    </a:cxn>
                    <a:cxn ang="0">
                      <a:pos x="284" y="92"/>
                    </a:cxn>
                    <a:cxn ang="0">
                      <a:pos x="242" y="98"/>
                    </a:cxn>
                    <a:cxn ang="0">
                      <a:pos x="216" y="116"/>
                    </a:cxn>
                    <a:cxn ang="0">
                      <a:pos x="176" y="112"/>
                    </a:cxn>
                    <a:cxn ang="0">
                      <a:pos x="130" y="88"/>
                    </a:cxn>
                    <a:cxn ang="0">
                      <a:pos x="96" y="108"/>
                    </a:cxn>
                    <a:cxn ang="0">
                      <a:pos x="76" y="110"/>
                    </a:cxn>
                    <a:cxn ang="0">
                      <a:pos x="48" y="64"/>
                    </a:cxn>
                    <a:cxn ang="0">
                      <a:pos x="30" y="44"/>
                    </a:cxn>
                    <a:cxn ang="0">
                      <a:pos x="2" y="84"/>
                    </a:cxn>
                    <a:cxn ang="0">
                      <a:pos x="6" y="108"/>
                    </a:cxn>
                    <a:cxn ang="0">
                      <a:pos x="28" y="144"/>
                    </a:cxn>
                    <a:cxn ang="0">
                      <a:pos x="76" y="176"/>
                    </a:cxn>
                    <a:cxn ang="0">
                      <a:pos x="98" y="196"/>
                    </a:cxn>
                    <a:cxn ang="0">
                      <a:pos x="94" y="236"/>
                    </a:cxn>
                    <a:cxn ang="0">
                      <a:pos x="54" y="254"/>
                    </a:cxn>
                    <a:cxn ang="0">
                      <a:pos x="52" y="282"/>
                    </a:cxn>
                    <a:cxn ang="0">
                      <a:pos x="62" y="306"/>
                    </a:cxn>
                    <a:cxn ang="0">
                      <a:pos x="46" y="344"/>
                    </a:cxn>
                    <a:cxn ang="0">
                      <a:pos x="60" y="368"/>
                    </a:cxn>
                    <a:cxn ang="0">
                      <a:pos x="96" y="390"/>
                    </a:cxn>
                    <a:cxn ang="0">
                      <a:pos x="130" y="434"/>
                    </a:cxn>
                    <a:cxn ang="0">
                      <a:pos x="138" y="478"/>
                    </a:cxn>
                    <a:cxn ang="0">
                      <a:pos x="150" y="492"/>
                    </a:cxn>
                    <a:cxn ang="0">
                      <a:pos x="190" y="476"/>
                    </a:cxn>
                    <a:cxn ang="0">
                      <a:pos x="244" y="458"/>
                    </a:cxn>
                    <a:cxn ang="0">
                      <a:pos x="270" y="438"/>
                    </a:cxn>
                    <a:cxn ang="0">
                      <a:pos x="302" y="436"/>
                    </a:cxn>
                    <a:cxn ang="0">
                      <a:pos x="342" y="452"/>
                    </a:cxn>
                    <a:cxn ang="0">
                      <a:pos x="398" y="474"/>
                    </a:cxn>
                    <a:cxn ang="0">
                      <a:pos x="436" y="462"/>
                    </a:cxn>
                    <a:cxn ang="0">
                      <a:pos x="486" y="456"/>
                    </a:cxn>
                    <a:cxn ang="0">
                      <a:pos x="494" y="426"/>
                    </a:cxn>
                    <a:cxn ang="0">
                      <a:pos x="480" y="390"/>
                    </a:cxn>
                    <a:cxn ang="0">
                      <a:pos x="576" y="324"/>
                    </a:cxn>
                    <a:cxn ang="0">
                      <a:pos x="650" y="312"/>
                    </a:cxn>
                  </a:cxnLst>
                  <a:rect l="0" t="0" r="r" b="b"/>
                  <a:pathLst>
                    <a:path w="672" h="492">
                      <a:moveTo>
                        <a:pt x="672" y="316"/>
                      </a:moveTo>
                      <a:lnTo>
                        <a:pt x="672" y="316"/>
                      </a:lnTo>
                      <a:lnTo>
                        <a:pt x="672" y="310"/>
                      </a:lnTo>
                      <a:lnTo>
                        <a:pt x="670" y="298"/>
                      </a:lnTo>
                      <a:lnTo>
                        <a:pt x="668" y="290"/>
                      </a:lnTo>
                      <a:lnTo>
                        <a:pt x="662" y="282"/>
                      </a:lnTo>
                      <a:lnTo>
                        <a:pt x="658" y="274"/>
                      </a:lnTo>
                      <a:lnTo>
                        <a:pt x="650" y="268"/>
                      </a:lnTo>
                      <a:lnTo>
                        <a:pt x="650" y="268"/>
                      </a:lnTo>
                      <a:lnTo>
                        <a:pt x="640" y="264"/>
                      </a:lnTo>
                      <a:lnTo>
                        <a:pt x="634" y="262"/>
                      </a:lnTo>
                      <a:lnTo>
                        <a:pt x="622" y="262"/>
                      </a:lnTo>
                      <a:lnTo>
                        <a:pt x="618" y="260"/>
                      </a:lnTo>
                      <a:lnTo>
                        <a:pt x="616" y="258"/>
                      </a:lnTo>
                      <a:lnTo>
                        <a:pt x="612" y="252"/>
                      </a:lnTo>
                      <a:lnTo>
                        <a:pt x="610" y="244"/>
                      </a:lnTo>
                      <a:lnTo>
                        <a:pt x="610" y="244"/>
                      </a:lnTo>
                      <a:lnTo>
                        <a:pt x="606" y="228"/>
                      </a:lnTo>
                      <a:lnTo>
                        <a:pt x="602" y="218"/>
                      </a:lnTo>
                      <a:lnTo>
                        <a:pt x="602" y="214"/>
                      </a:lnTo>
                      <a:lnTo>
                        <a:pt x="602" y="208"/>
                      </a:lnTo>
                      <a:lnTo>
                        <a:pt x="608" y="196"/>
                      </a:lnTo>
                      <a:lnTo>
                        <a:pt x="608" y="196"/>
                      </a:lnTo>
                      <a:lnTo>
                        <a:pt x="616" y="186"/>
                      </a:lnTo>
                      <a:lnTo>
                        <a:pt x="620" y="180"/>
                      </a:lnTo>
                      <a:lnTo>
                        <a:pt x="622" y="174"/>
                      </a:lnTo>
                      <a:lnTo>
                        <a:pt x="622" y="154"/>
                      </a:lnTo>
                      <a:lnTo>
                        <a:pt x="622" y="154"/>
                      </a:lnTo>
                      <a:lnTo>
                        <a:pt x="618" y="110"/>
                      </a:lnTo>
                      <a:lnTo>
                        <a:pt x="618" y="102"/>
                      </a:lnTo>
                      <a:lnTo>
                        <a:pt x="618" y="96"/>
                      </a:lnTo>
                      <a:lnTo>
                        <a:pt x="622" y="92"/>
                      </a:lnTo>
                      <a:lnTo>
                        <a:pt x="626" y="90"/>
                      </a:lnTo>
                      <a:lnTo>
                        <a:pt x="626" y="90"/>
                      </a:lnTo>
                      <a:lnTo>
                        <a:pt x="632" y="88"/>
                      </a:lnTo>
                      <a:lnTo>
                        <a:pt x="638" y="84"/>
                      </a:lnTo>
                      <a:lnTo>
                        <a:pt x="650" y="76"/>
                      </a:lnTo>
                      <a:lnTo>
                        <a:pt x="664" y="62"/>
                      </a:lnTo>
                      <a:lnTo>
                        <a:pt x="664" y="62"/>
                      </a:lnTo>
                      <a:lnTo>
                        <a:pt x="664" y="58"/>
                      </a:lnTo>
                      <a:lnTo>
                        <a:pt x="660" y="48"/>
                      </a:lnTo>
                      <a:lnTo>
                        <a:pt x="654" y="40"/>
                      </a:lnTo>
                      <a:lnTo>
                        <a:pt x="650" y="36"/>
                      </a:lnTo>
                      <a:lnTo>
                        <a:pt x="644" y="34"/>
                      </a:lnTo>
                      <a:lnTo>
                        <a:pt x="644" y="34"/>
                      </a:lnTo>
                      <a:lnTo>
                        <a:pt x="624" y="30"/>
                      </a:lnTo>
                      <a:lnTo>
                        <a:pt x="598" y="22"/>
                      </a:lnTo>
                      <a:lnTo>
                        <a:pt x="550" y="8"/>
                      </a:lnTo>
                      <a:lnTo>
                        <a:pt x="550" y="8"/>
                      </a:lnTo>
                      <a:lnTo>
                        <a:pt x="520" y="2"/>
                      </a:lnTo>
                      <a:lnTo>
                        <a:pt x="506" y="0"/>
                      </a:lnTo>
                      <a:lnTo>
                        <a:pt x="506" y="0"/>
                      </a:lnTo>
                      <a:lnTo>
                        <a:pt x="470" y="12"/>
                      </a:lnTo>
                      <a:lnTo>
                        <a:pt x="422" y="30"/>
                      </a:lnTo>
                      <a:lnTo>
                        <a:pt x="422" y="30"/>
                      </a:lnTo>
                      <a:lnTo>
                        <a:pt x="410" y="38"/>
                      </a:lnTo>
                      <a:lnTo>
                        <a:pt x="398" y="50"/>
                      </a:lnTo>
                      <a:lnTo>
                        <a:pt x="388" y="64"/>
                      </a:lnTo>
                      <a:lnTo>
                        <a:pt x="380" y="74"/>
                      </a:lnTo>
                      <a:lnTo>
                        <a:pt x="380" y="74"/>
                      </a:lnTo>
                      <a:lnTo>
                        <a:pt x="372" y="82"/>
                      </a:lnTo>
                      <a:lnTo>
                        <a:pt x="358" y="92"/>
                      </a:lnTo>
                      <a:lnTo>
                        <a:pt x="340" y="98"/>
                      </a:lnTo>
                      <a:lnTo>
                        <a:pt x="332" y="100"/>
                      </a:lnTo>
                      <a:lnTo>
                        <a:pt x="322" y="100"/>
                      </a:lnTo>
                      <a:lnTo>
                        <a:pt x="322" y="100"/>
                      </a:lnTo>
                      <a:lnTo>
                        <a:pt x="304" y="96"/>
                      </a:lnTo>
                      <a:lnTo>
                        <a:pt x="284" y="92"/>
                      </a:lnTo>
                      <a:lnTo>
                        <a:pt x="274" y="92"/>
                      </a:lnTo>
                      <a:lnTo>
                        <a:pt x="264" y="92"/>
                      </a:lnTo>
                      <a:lnTo>
                        <a:pt x="254" y="94"/>
                      </a:lnTo>
                      <a:lnTo>
                        <a:pt x="242" y="98"/>
                      </a:lnTo>
                      <a:lnTo>
                        <a:pt x="242" y="98"/>
                      </a:lnTo>
                      <a:lnTo>
                        <a:pt x="232" y="104"/>
                      </a:lnTo>
                      <a:lnTo>
                        <a:pt x="226" y="108"/>
                      </a:lnTo>
                      <a:lnTo>
                        <a:pt x="216" y="116"/>
                      </a:lnTo>
                      <a:lnTo>
                        <a:pt x="210" y="118"/>
                      </a:lnTo>
                      <a:lnTo>
                        <a:pt x="204" y="118"/>
                      </a:lnTo>
                      <a:lnTo>
                        <a:pt x="176" y="112"/>
                      </a:lnTo>
                      <a:lnTo>
                        <a:pt x="176" y="112"/>
                      </a:lnTo>
                      <a:lnTo>
                        <a:pt x="160" y="108"/>
                      </a:lnTo>
                      <a:lnTo>
                        <a:pt x="150" y="102"/>
                      </a:lnTo>
                      <a:lnTo>
                        <a:pt x="138" y="94"/>
                      </a:lnTo>
                      <a:lnTo>
                        <a:pt x="130" y="88"/>
                      </a:lnTo>
                      <a:lnTo>
                        <a:pt x="126" y="88"/>
                      </a:lnTo>
                      <a:lnTo>
                        <a:pt x="122" y="90"/>
                      </a:lnTo>
                      <a:lnTo>
                        <a:pt x="122" y="90"/>
                      </a:lnTo>
                      <a:lnTo>
                        <a:pt x="96" y="108"/>
                      </a:lnTo>
                      <a:lnTo>
                        <a:pt x="84" y="112"/>
                      </a:lnTo>
                      <a:lnTo>
                        <a:pt x="80" y="112"/>
                      </a:lnTo>
                      <a:lnTo>
                        <a:pt x="76" y="110"/>
                      </a:lnTo>
                      <a:lnTo>
                        <a:pt x="76" y="110"/>
                      </a:lnTo>
                      <a:lnTo>
                        <a:pt x="68" y="98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48" y="64"/>
                      </a:lnTo>
                      <a:lnTo>
                        <a:pt x="42" y="50"/>
                      </a:lnTo>
                      <a:lnTo>
                        <a:pt x="40" y="44"/>
                      </a:lnTo>
                      <a:lnTo>
                        <a:pt x="36" y="42"/>
                      </a:lnTo>
                      <a:lnTo>
                        <a:pt x="30" y="44"/>
                      </a:lnTo>
                      <a:lnTo>
                        <a:pt x="24" y="50"/>
                      </a:lnTo>
                      <a:lnTo>
                        <a:pt x="24" y="50"/>
                      </a:lnTo>
                      <a:lnTo>
                        <a:pt x="12" y="68"/>
                      </a:lnTo>
                      <a:lnTo>
                        <a:pt x="2" y="84"/>
                      </a:lnTo>
                      <a:lnTo>
                        <a:pt x="0" y="90"/>
                      </a:lnTo>
                      <a:lnTo>
                        <a:pt x="0" y="96"/>
                      </a:lnTo>
                      <a:lnTo>
                        <a:pt x="2" y="102"/>
                      </a:lnTo>
                      <a:lnTo>
                        <a:pt x="6" y="108"/>
                      </a:lnTo>
                      <a:lnTo>
                        <a:pt x="6" y="108"/>
                      </a:lnTo>
                      <a:lnTo>
                        <a:pt x="14" y="122"/>
                      </a:lnTo>
                      <a:lnTo>
                        <a:pt x="20" y="132"/>
                      </a:lnTo>
                      <a:lnTo>
                        <a:pt x="28" y="144"/>
                      </a:lnTo>
                      <a:lnTo>
                        <a:pt x="40" y="156"/>
                      </a:lnTo>
                      <a:lnTo>
                        <a:pt x="40" y="156"/>
                      </a:lnTo>
                      <a:lnTo>
                        <a:pt x="58" y="166"/>
                      </a:lnTo>
                      <a:lnTo>
                        <a:pt x="76" y="176"/>
                      </a:lnTo>
                      <a:lnTo>
                        <a:pt x="90" y="184"/>
                      </a:lnTo>
                      <a:lnTo>
                        <a:pt x="96" y="190"/>
                      </a:lnTo>
                      <a:lnTo>
                        <a:pt x="98" y="196"/>
                      </a:lnTo>
                      <a:lnTo>
                        <a:pt x="98" y="196"/>
                      </a:lnTo>
                      <a:lnTo>
                        <a:pt x="102" y="210"/>
                      </a:lnTo>
                      <a:lnTo>
                        <a:pt x="102" y="222"/>
                      </a:lnTo>
                      <a:lnTo>
                        <a:pt x="98" y="230"/>
                      </a:lnTo>
                      <a:lnTo>
                        <a:pt x="94" y="236"/>
                      </a:lnTo>
                      <a:lnTo>
                        <a:pt x="94" y="236"/>
                      </a:lnTo>
                      <a:lnTo>
                        <a:pt x="84" y="242"/>
                      </a:lnTo>
                      <a:lnTo>
                        <a:pt x="68" y="248"/>
                      </a:lnTo>
                      <a:lnTo>
                        <a:pt x="54" y="254"/>
                      </a:lnTo>
                      <a:lnTo>
                        <a:pt x="50" y="258"/>
                      </a:lnTo>
                      <a:lnTo>
                        <a:pt x="48" y="264"/>
                      </a:lnTo>
                      <a:lnTo>
                        <a:pt x="48" y="264"/>
                      </a:lnTo>
                      <a:lnTo>
                        <a:pt x="52" y="282"/>
                      </a:lnTo>
                      <a:lnTo>
                        <a:pt x="54" y="292"/>
                      </a:lnTo>
                      <a:lnTo>
                        <a:pt x="60" y="300"/>
                      </a:lnTo>
                      <a:lnTo>
                        <a:pt x="60" y="300"/>
                      </a:lnTo>
                      <a:lnTo>
                        <a:pt x="62" y="306"/>
                      </a:lnTo>
                      <a:lnTo>
                        <a:pt x="60" y="312"/>
                      </a:lnTo>
                      <a:lnTo>
                        <a:pt x="56" y="328"/>
                      </a:lnTo>
                      <a:lnTo>
                        <a:pt x="50" y="340"/>
                      </a:lnTo>
                      <a:lnTo>
                        <a:pt x="46" y="344"/>
                      </a:lnTo>
                      <a:lnTo>
                        <a:pt x="46" y="344"/>
                      </a:lnTo>
                      <a:lnTo>
                        <a:pt x="48" y="348"/>
                      </a:lnTo>
                      <a:lnTo>
                        <a:pt x="52" y="356"/>
                      </a:lnTo>
                      <a:lnTo>
                        <a:pt x="60" y="368"/>
                      </a:lnTo>
                      <a:lnTo>
                        <a:pt x="68" y="374"/>
                      </a:lnTo>
                      <a:lnTo>
                        <a:pt x="76" y="380"/>
                      </a:lnTo>
                      <a:lnTo>
                        <a:pt x="76" y="380"/>
                      </a:lnTo>
                      <a:lnTo>
                        <a:pt x="96" y="390"/>
                      </a:lnTo>
                      <a:lnTo>
                        <a:pt x="110" y="400"/>
                      </a:lnTo>
                      <a:lnTo>
                        <a:pt x="124" y="410"/>
                      </a:lnTo>
                      <a:lnTo>
                        <a:pt x="124" y="410"/>
                      </a:lnTo>
                      <a:lnTo>
                        <a:pt x="130" y="434"/>
                      </a:lnTo>
                      <a:lnTo>
                        <a:pt x="138" y="464"/>
                      </a:lnTo>
                      <a:lnTo>
                        <a:pt x="138" y="464"/>
                      </a:lnTo>
                      <a:lnTo>
                        <a:pt x="138" y="470"/>
                      </a:lnTo>
                      <a:lnTo>
                        <a:pt x="138" y="478"/>
                      </a:lnTo>
                      <a:lnTo>
                        <a:pt x="142" y="486"/>
                      </a:lnTo>
                      <a:lnTo>
                        <a:pt x="144" y="490"/>
                      </a:lnTo>
                      <a:lnTo>
                        <a:pt x="150" y="492"/>
                      </a:lnTo>
                      <a:lnTo>
                        <a:pt x="150" y="492"/>
                      </a:lnTo>
                      <a:lnTo>
                        <a:pt x="154" y="492"/>
                      </a:lnTo>
                      <a:lnTo>
                        <a:pt x="162" y="490"/>
                      </a:lnTo>
                      <a:lnTo>
                        <a:pt x="176" y="484"/>
                      </a:lnTo>
                      <a:lnTo>
                        <a:pt x="190" y="476"/>
                      </a:lnTo>
                      <a:lnTo>
                        <a:pt x="204" y="470"/>
                      </a:lnTo>
                      <a:lnTo>
                        <a:pt x="204" y="470"/>
                      </a:lnTo>
                      <a:lnTo>
                        <a:pt x="230" y="462"/>
                      </a:lnTo>
                      <a:lnTo>
                        <a:pt x="244" y="458"/>
                      </a:lnTo>
                      <a:lnTo>
                        <a:pt x="256" y="450"/>
                      </a:lnTo>
                      <a:lnTo>
                        <a:pt x="256" y="450"/>
                      </a:lnTo>
                      <a:lnTo>
                        <a:pt x="266" y="442"/>
                      </a:lnTo>
                      <a:lnTo>
                        <a:pt x="270" y="438"/>
                      </a:lnTo>
                      <a:lnTo>
                        <a:pt x="276" y="434"/>
                      </a:lnTo>
                      <a:lnTo>
                        <a:pt x="282" y="434"/>
                      </a:lnTo>
                      <a:lnTo>
                        <a:pt x="292" y="434"/>
                      </a:lnTo>
                      <a:lnTo>
                        <a:pt x="302" y="436"/>
                      </a:lnTo>
                      <a:lnTo>
                        <a:pt x="316" y="440"/>
                      </a:lnTo>
                      <a:lnTo>
                        <a:pt x="316" y="440"/>
                      </a:lnTo>
                      <a:lnTo>
                        <a:pt x="330" y="446"/>
                      </a:lnTo>
                      <a:lnTo>
                        <a:pt x="342" y="452"/>
                      </a:lnTo>
                      <a:lnTo>
                        <a:pt x="364" y="466"/>
                      </a:lnTo>
                      <a:lnTo>
                        <a:pt x="374" y="472"/>
                      </a:lnTo>
                      <a:lnTo>
                        <a:pt x="386" y="474"/>
                      </a:lnTo>
                      <a:lnTo>
                        <a:pt x="398" y="474"/>
                      </a:lnTo>
                      <a:lnTo>
                        <a:pt x="410" y="470"/>
                      </a:lnTo>
                      <a:lnTo>
                        <a:pt x="410" y="470"/>
                      </a:lnTo>
                      <a:lnTo>
                        <a:pt x="422" y="464"/>
                      </a:lnTo>
                      <a:lnTo>
                        <a:pt x="436" y="462"/>
                      </a:lnTo>
                      <a:lnTo>
                        <a:pt x="460" y="464"/>
                      </a:lnTo>
                      <a:lnTo>
                        <a:pt x="470" y="464"/>
                      </a:lnTo>
                      <a:lnTo>
                        <a:pt x="478" y="462"/>
                      </a:lnTo>
                      <a:lnTo>
                        <a:pt x="486" y="456"/>
                      </a:lnTo>
                      <a:lnTo>
                        <a:pt x="490" y="448"/>
                      </a:lnTo>
                      <a:lnTo>
                        <a:pt x="490" y="448"/>
                      </a:lnTo>
                      <a:lnTo>
                        <a:pt x="494" y="436"/>
                      </a:lnTo>
                      <a:lnTo>
                        <a:pt x="494" y="426"/>
                      </a:lnTo>
                      <a:lnTo>
                        <a:pt x="492" y="418"/>
                      </a:lnTo>
                      <a:lnTo>
                        <a:pt x="488" y="410"/>
                      </a:lnTo>
                      <a:lnTo>
                        <a:pt x="482" y="398"/>
                      </a:lnTo>
                      <a:lnTo>
                        <a:pt x="480" y="390"/>
                      </a:lnTo>
                      <a:lnTo>
                        <a:pt x="480" y="390"/>
                      </a:lnTo>
                      <a:lnTo>
                        <a:pt x="488" y="376"/>
                      </a:lnTo>
                      <a:lnTo>
                        <a:pt x="494" y="364"/>
                      </a:lnTo>
                      <a:lnTo>
                        <a:pt x="576" y="324"/>
                      </a:lnTo>
                      <a:lnTo>
                        <a:pt x="576" y="324"/>
                      </a:lnTo>
                      <a:lnTo>
                        <a:pt x="590" y="320"/>
                      </a:lnTo>
                      <a:lnTo>
                        <a:pt x="618" y="316"/>
                      </a:lnTo>
                      <a:lnTo>
                        <a:pt x="650" y="312"/>
                      </a:lnTo>
                      <a:lnTo>
                        <a:pt x="664" y="312"/>
                      </a:lnTo>
                      <a:lnTo>
                        <a:pt x="672" y="316"/>
                      </a:lnTo>
                      <a:lnTo>
                        <a:pt x="672" y="31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4" name="Freeform 78">
                  <a:extLst>
                    <a:ext uri="{FF2B5EF4-FFF2-40B4-BE49-F238E27FC236}">
                      <a16:creationId xmlns:a16="http://schemas.microsoft.com/office/drawing/2014/main" id="{2DBE2C68-FA55-4B2A-B227-C34EC252D0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4889" y="5413714"/>
                  <a:ext cx="213397" cy="189008"/>
                </a:xfrm>
                <a:custGeom>
                  <a:avLst/>
                  <a:gdLst/>
                  <a:ahLst/>
                  <a:cxnLst>
                    <a:cxn ang="0">
                      <a:pos x="280" y="156"/>
                    </a:cxn>
                    <a:cxn ang="0">
                      <a:pos x="264" y="180"/>
                    </a:cxn>
                    <a:cxn ang="0">
                      <a:pos x="256" y="188"/>
                    </a:cxn>
                    <a:cxn ang="0">
                      <a:pos x="232" y="198"/>
                    </a:cxn>
                    <a:cxn ang="0">
                      <a:pos x="198" y="204"/>
                    </a:cxn>
                    <a:cxn ang="0">
                      <a:pos x="190" y="204"/>
                    </a:cxn>
                    <a:cxn ang="0">
                      <a:pos x="174" y="210"/>
                    </a:cxn>
                    <a:cxn ang="0">
                      <a:pos x="154" y="226"/>
                    </a:cxn>
                    <a:cxn ang="0">
                      <a:pos x="136" y="236"/>
                    </a:cxn>
                    <a:cxn ang="0">
                      <a:pos x="86" y="248"/>
                    </a:cxn>
                    <a:cxn ang="0">
                      <a:pos x="68" y="246"/>
                    </a:cxn>
                    <a:cxn ang="0">
                      <a:pos x="52" y="240"/>
                    </a:cxn>
                    <a:cxn ang="0">
                      <a:pos x="22" y="228"/>
                    </a:cxn>
                    <a:cxn ang="0">
                      <a:pos x="10" y="214"/>
                    </a:cxn>
                    <a:cxn ang="0">
                      <a:pos x="6" y="204"/>
                    </a:cxn>
                    <a:cxn ang="0">
                      <a:pos x="4" y="152"/>
                    </a:cxn>
                    <a:cxn ang="0">
                      <a:pos x="2" y="108"/>
                    </a:cxn>
                    <a:cxn ang="0">
                      <a:pos x="0" y="94"/>
                    </a:cxn>
                    <a:cxn ang="0">
                      <a:pos x="2" y="84"/>
                    </a:cxn>
                    <a:cxn ang="0">
                      <a:pos x="8" y="74"/>
                    </a:cxn>
                    <a:cxn ang="0">
                      <a:pos x="26" y="66"/>
                    </a:cxn>
                    <a:cxn ang="0">
                      <a:pos x="46" y="60"/>
                    </a:cxn>
                    <a:cxn ang="0">
                      <a:pos x="78" y="44"/>
                    </a:cxn>
                    <a:cxn ang="0">
                      <a:pos x="94" y="30"/>
                    </a:cxn>
                    <a:cxn ang="0">
                      <a:pos x="116" y="6"/>
                    </a:cxn>
                    <a:cxn ang="0">
                      <a:pos x="126" y="0"/>
                    </a:cxn>
                    <a:cxn ang="0">
                      <a:pos x="138" y="0"/>
                    </a:cxn>
                    <a:cxn ang="0">
                      <a:pos x="172" y="8"/>
                    </a:cxn>
                    <a:cxn ang="0">
                      <a:pos x="188" y="14"/>
                    </a:cxn>
                    <a:cxn ang="0">
                      <a:pos x="206" y="34"/>
                    </a:cxn>
                    <a:cxn ang="0">
                      <a:pos x="214" y="42"/>
                    </a:cxn>
                    <a:cxn ang="0">
                      <a:pos x="254" y="64"/>
                    </a:cxn>
                    <a:cxn ang="0">
                      <a:pos x="262" y="72"/>
                    </a:cxn>
                    <a:cxn ang="0">
                      <a:pos x="272" y="104"/>
                    </a:cxn>
                    <a:cxn ang="0">
                      <a:pos x="278" y="134"/>
                    </a:cxn>
                    <a:cxn ang="0">
                      <a:pos x="280" y="156"/>
                    </a:cxn>
                  </a:cxnLst>
                  <a:rect l="0" t="0" r="r" b="b"/>
                  <a:pathLst>
                    <a:path w="280" h="248">
                      <a:moveTo>
                        <a:pt x="280" y="156"/>
                      </a:moveTo>
                      <a:lnTo>
                        <a:pt x="280" y="156"/>
                      </a:lnTo>
                      <a:lnTo>
                        <a:pt x="272" y="170"/>
                      </a:lnTo>
                      <a:lnTo>
                        <a:pt x="264" y="180"/>
                      </a:lnTo>
                      <a:lnTo>
                        <a:pt x="256" y="188"/>
                      </a:lnTo>
                      <a:lnTo>
                        <a:pt x="256" y="188"/>
                      </a:lnTo>
                      <a:lnTo>
                        <a:pt x="246" y="194"/>
                      </a:lnTo>
                      <a:lnTo>
                        <a:pt x="232" y="198"/>
                      </a:lnTo>
                      <a:lnTo>
                        <a:pt x="216" y="202"/>
                      </a:lnTo>
                      <a:lnTo>
                        <a:pt x="198" y="204"/>
                      </a:lnTo>
                      <a:lnTo>
                        <a:pt x="198" y="204"/>
                      </a:lnTo>
                      <a:lnTo>
                        <a:pt x="190" y="204"/>
                      </a:lnTo>
                      <a:lnTo>
                        <a:pt x="184" y="204"/>
                      </a:lnTo>
                      <a:lnTo>
                        <a:pt x="174" y="210"/>
                      </a:lnTo>
                      <a:lnTo>
                        <a:pt x="164" y="218"/>
                      </a:lnTo>
                      <a:lnTo>
                        <a:pt x="154" y="226"/>
                      </a:lnTo>
                      <a:lnTo>
                        <a:pt x="154" y="226"/>
                      </a:lnTo>
                      <a:lnTo>
                        <a:pt x="136" y="236"/>
                      </a:lnTo>
                      <a:lnTo>
                        <a:pt x="110" y="244"/>
                      </a:lnTo>
                      <a:lnTo>
                        <a:pt x="86" y="248"/>
                      </a:lnTo>
                      <a:lnTo>
                        <a:pt x="76" y="248"/>
                      </a:lnTo>
                      <a:lnTo>
                        <a:pt x="68" y="246"/>
                      </a:lnTo>
                      <a:lnTo>
                        <a:pt x="68" y="246"/>
                      </a:lnTo>
                      <a:lnTo>
                        <a:pt x="52" y="240"/>
                      </a:lnTo>
                      <a:lnTo>
                        <a:pt x="32" y="232"/>
                      </a:lnTo>
                      <a:lnTo>
                        <a:pt x="22" y="228"/>
                      </a:lnTo>
                      <a:lnTo>
                        <a:pt x="14" y="222"/>
                      </a:lnTo>
                      <a:lnTo>
                        <a:pt x="10" y="214"/>
                      </a:lnTo>
                      <a:lnTo>
                        <a:pt x="6" y="204"/>
                      </a:lnTo>
                      <a:lnTo>
                        <a:pt x="6" y="204"/>
                      </a:lnTo>
                      <a:lnTo>
                        <a:pt x="4" y="180"/>
                      </a:lnTo>
                      <a:lnTo>
                        <a:pt x="4" y="152"/>
                      </a:lnTo>
                      <a:lnTo>
                        <a:pt x="4" y="126"/>
                      </a:lnTo>
                      <a:lnTo>
                        <a:pt x="2" y="108"/>
                      </a:lnTo>
                      <a:lnTo>
                        <a:pt x="2" y="108"/>
                      </a:lnTo>
                      <a:lnTo>
                        <a:pt x="0" y="94"/>
                      </a:lnTo>
                      <a:lnTo>
                        <a:pt x="0" y="88"/>
                      </a:lnTo>
                      <a:lnTo>
                        <a:pt x="2" y="84"/>
                      </a:lnTo>
                      <a:lnTo>
                        <a:pt x="4" y="78"/>
                      </a:lnTo>
                      <a:lnTo>
                        <a:pt x="8" y="74"/>
                      </a:lnTo>
                      <a:lnTo>
                        <a:pt x="16" y="68"/>
                      </a:lnTo>
                      <a:lnTo>
                        <a:pt x="26" y="66"/>
                      </a:lnTo>
                      <a:lnTo>
                        <a:pt x="26" y="66"/>
                      </a:lnTo>
                      <a:lnTo>
                        <a:pt x="46" y="60"/>
                      </a:lnTo>
                      <a:lnTo>
                        <a:pt x="64" y="54"/>
                      </a:lnTo>
                      <a:lnTo>
                        <a:pt x="78" y="44"/>
                      </a:lnTo>
                      <a:lnTo>
                        <a:pt x="94" y="30"/>
                      </a:lnTo>
                      <a:lnTo>
                        <a:pt x="94" y="30"/>
                      </a:lnTo>
                      <a:lnTo>
                        <a:pt x="108" y="14"/>
                      </a:lnTo>
                      <a:lnTo>
                        <a:pt x="116" y="6"/>
                      </a:lnTo>
                      <a:lnTo>
                        <a:pt x="120" y="2"/>
                      </a:lnTo>
                      <a:lnTo>
                        <a:pt x="126" y="0"/>
                      </a:lnTo>
                      <a:lnTo>
                        <a:pt x="138" y="0"/>
                      </a:lnTo>
                      <a:lnTo>
                        <a:pt x="138" y="0"/>
                      </a:lnTo>
                      <a:lnTo>
                        <a:pt x="156" y="4"/>
                      </a:lnTo>
                      <a:lnTo>
                        <a:pt x="172" y="8"/>
                      </a:lnTo>
                      <a:lnTo>
                        <a:pt x="188" y="14"/>
                      </a:lnTo>
                      <a:lnTo>
                        <a:pt x="188" y="14"/>
                      </a:lnTo>
                      <a:lnTo>
                        <a:pt x="196" y="24"/>
                      </a:lnTo>
                      <a:lnTo>
                        <a:pt x="206" y="34"/>
                      </a:lnTo>
                      <a:lnTo>
                        <a:pt x="214" y="42"/>
                      </a:lnTo>
                      <a:lnTo>
                        <a:pt x="214" y="42"/>
                      </a:lnTo>
                      <a:lnTo>
                        <a:pt x="242" y="56"/>
                      </a:lnTo>
                      <a:lnTo>
                        <a:pt x="254" y="64"/>
                      </a:lnTo>
                      <a:lnTo>
                        <a:pt x="258" y="68"/>
                      </a:lnTo>
                      <a:lnTo>
                        <a:pt x="262" y="72"/>
                      </a:lnTo>
                      <a:lnTo>
                        <a:pt x="262" y="72"/>
                      </a:lnTo>
                      <a:lnTo>
                        <a:pt x="272" y="104"/>
                      </a:lnTo>
                      <a:lnTo>
                        <a:pt x="278" y="124"/>
                      </a:lnTo>
                      <a:lnTo>
                        <a:pt x="278" y="134"/>
                      </a:lnTo>
                      <a:lnTo>
                        <a:pt x="278" y="134"/>
                      </a:lnTo>
                      <a:lnTo>
                        <a:pt x="280" y="156"/>
                      </a:lnTo>
                      <a:lnTo>
                        <a:pt x="280" y="15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5" name="Freeform 79">
                  <a:extLst>
                    <a:ext uri="{FF2B5EF4-FFF2-40B4-BE49-F238E27FC236}">
                      <a16:creationId xmlns:a16="http://schemas.microsoft.com/office/drawing/2014/main" id="{4B654479-1428-4B3E-8508-6CEFD22164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2162" y="4968629"/>
                  <a:ext cx="385638" cy="503006"/>
                </a:xfrm>
                <a:custGeom>
                  <a:avLst/>
                  <a:gdLst/>
                  <a:ahLst/>
                  <a:cxnLst>
                    <a:cxn ang="0">
                      <a:pos x="130" y="6"/>
                    </a:cxn>
                    <a:cxn ang="0">
                      <a:pos x="176" y="36"/>
                    </a:cxn>
                    <a:cxn ang="0">
                      <a:pos x="208" y="64"/>
                    </a:cxn>
                    <a:cxn ang="0">
                      <a:pos x="208" y="80"/>
                    </a:cxn>
                    <a:cxn ang="0">
                      <a:pos x="216" y="104"/>
                    </a:cxn>
                    <a:cxn ang="0">
                      <a:pos x="240" y="124"/>
                    </a:cxn>
                    <a:cxn ang="0">
                      <a:pos x="278" y="134"/>
                    </a:cxn>
                    <a:cxn ang="0">
                      <a:pos x="298" y="158"/>
                    </a:cxn>
                    <a:cxn ang="0">
                      <a:pos x="296" y="188"/>
                    </a:cxn>
                    <a:cxn ang="0">
                      <a:pos x="306" y="200"/>
                    </a:cxn>
                    <a:cxn ang="0">
                      <a:pos x="322" y="218"/>
                    </a:cxn>
                    <a:cxn ang="0">
                      <a:pos x="360" y="220"/>
                    </a:cxn>
                    <a:cxn ang="0">
                      <a:pos x="394" y="202"/>
                    </a:cxn>
                    <a:cxn ang="0">
                      <a:pos x="414" y="202"/>
                    </a:cxn>
                    <a:cxn ang="0">
                      <a:pos x="436" y="228"/>
                    </a:cxn>
                    <a:cxn ang="0">
                      <a:pos x="412" y="238"/>
                    </a:cxn>
                    <a:cxn ang="0">
                      <a:pos x="410" y="242"/>
                    </a:cxn>
                    <a:cxn ang="0">
                      <a:pos x="422" y="276"/>
                    </a:cxn>
                    <a:cxn ang="0">
                      <a:pos x="432" y="288"/>
                    </a:cxn>
                    <a:cxn ang="0">
                      <a:pos x="416" y="314"/>
                    </a:cxn>
                    <a:cxn ang="0">
                      <a:pos x="408" y="340"/>
                    </a:cxn>
                    <a:cxn ang="0">
                      <a:pos x="428" y="384"/>
                    </a:cxn>
                    <a:cxn ang="0">
                      <a:pos x="468" y="412"/>
                    </a:cxn>
                    <a:cxn ang="0">
                      <a:pos x="502" y="442"/>
                    </a:cxn>
                    <a:cxn ang="0">
                      <a:pos x="504" y="480"/>
                    </a:cxn>
                    <a:cxn ang="0">
                      <a:pos x="474" y="498"/>
                    </a:cxn>
                    <a:cxn ang="0">
                      <a:pos x="452" y="510"/>
                    </a:cxn>
                    <a:cxn ang="0">
                      <a:pos x="462" y="558"/>
                    </a:cxn>
                    <a:cxn ang="0">
                      <a:pos x="454" y="598"/>
                    </a:cxn>
                    <a:cxn ang="0">
                      <a:pos x="412" y="586"/>
                    </a:cxn>
                    <a:cxn ang="0">
                      <a:pos x="378" y="594"/>
                    </a:cxn>
                    <a:cxn ang="0">
                      <a:pos x="338" y="636"/>
                    </a:cxn>
                    <a:cxn ang="0">
                      <a:pos x="274" y="660"/>
                    </a:cxn>
                    <a:cxn ang="0">
                      <a:pos x="246" y="636"/>
                    </a:cxn>
                    <a:cxn ang="0">
                      <a:pos x="200" y="590"/>
                    </a:cxn>
                    <a:cxn ang="0">
                      <a:pos x="168" y="566"/>
                    </a:cxn>
                    <a:cxn ang="0">
                      <a:pos x="158" y="562"/>
                    </a:cxn>
                    <a:cxn ang="0">
                      <a:pos x="172" y="536"/>
                    </a:cxn>
                    <a:cxn ang="0">
                      <a:pos x="186" y="496"/>
                    </a:cxn>
                    <a:cxn ang="0">
                      <a:pos x="172" y="484"/>
                    </a:cxn>
                    <a:cxn ang="0">
                      <a:pos x="116" y="466"/>
                    </a:cxn>
                    <a:cxn ang="0">
                      <a:pos x="78" y="462"/>
                    </a:cxn>
                    <a:cxn ang="0">
                      <a:pos x="68" y="446"/>
                    </a:cxn>
                    <a:cxn ang="0">
                      <a:pos x="94" y="394"/>
                    </a:cxn>
                    <a:cxn ang="0">
                      <a:pos x="102" y="358"/>
                    </a:cxn>
                    <a:cxn ang="0">
                      <a:pos x="92" y="338"/>
                    </a:cxn>
                    <a:cxn ang="0">
                      <a:pos x="72" y="308"/>
                    </a:cxn>
                    <a:cxn ang="0">
                      <a:pos x="60" y="288"/>
                    </a:cxn>
                    <a:cxn ang="0">
                      <a:pos x="60" y="252"/>
                    </a:cxn>
                    <a:cxn ang="0">
                      <a:pos x="74" y="232"/>
                    </a:cxn>
                    <a:cxn ang="0">
                      <a:pos x="56" y="214"/>
                    </a:cxn>
                    <a:cxn ang="0">
                      <a:pos x="36" y="212"/>
                    </a:cxn>
                    <a:cxn ang="0">
                      <a:pos x="28" y="204"/>
                    </a:cxn>
                    <a:cxn ang="0">
                      <a:pos x="54" y="174"/>
                    </a:cxn>
                    <a:cxn ang="0">
                      <a:pos x="52" y="164"/>
                    </a:cxn>
                    <a:cxn ang="0">
                      <a:pos x="32" y="136"/>
                    </a:cxn>
                    <a:cxn ang="0">
                      <a:pos x="2" y="100"/>
                    </a:cxn>
                    <a:cxn ang="0">
                      <a:pos x="4" y="76"/>
                    </a:cxn>
                    <a:cxn ang="0">
                      <a:pos x="14" y="48"/>
                    </a:cxn>
                    <a:cxn ang="0">
                      <a:pos x="74" y="4"/>
                    </a:cxn>
                    <a:cxn ang="0">
                      <a:pos x="126" y="0"/>
                    </a:cxn>
                  </a:cxnLst>
                  <a:rect l="0" t="0" r="r" b="b"/>
                  <a:pathLst>
                    <a:path w="506" h="660">
                      <a:moveTo>
                        <a:pt x="126" y="0"/>
                      </a:moveTo>
                      <a:lnTo>
                        <a:pt x="126" y="0"/>
                      </a:lnTo>
                      <a:lnTo>
                        <a:pt x="126" y="0"/>
                      </a:lnTo>
                      <a:lnTo>
                        <a:pt x="130" y="6"/>
                      </a:lnTo>
                      <a:lnTo>
                        <a:pt x="138" y="12"/>
                      </a:lnTo>
                      <a:lnTo>
                        <a:pt x="156" y="24"/>
                      </a:lnTo>
                      <a:lnTo>
                        <a:pt x="156" y="24"/>
                      </a:lnTo>
                      <a:lnTo>
                        <a:pt x="176" y="36"/>
                      </a:lnTo>
                      <a:lnTo>
                        <a:pt x="194" y="48"/>
                      </a:lnTo>
                      <a:lnTo>
                        <a:pt x="200" y="52"/>
                      </a:lnTo>
                      <a:lnTo>
                        <a:pt x="204" y="58"/>
                      </a:lnTo>
                      <a:lnTo>
                        <a:pt x="208" y="64"/>
                      </a:lnTo>
                      <a:lnTo>
                        <a:pt x="210" y="70"/>
                      </a:lnTo>
                      <a:lnTo>
                        <a:pt x="210" y="70"/>
                      </a:lnTo>
                      <a:lnTo>
                        <a:pt x="210" y="76"/>
                      </a:lnTo>
                      <a:lnTo>
                        <a:pt x="208" y="80"/>
                      </a:lnTo>
                      <a:lnTo>
                        <a:pt x="206" y="84"/>
                      </a:lnTo>
                      <a:lnTo>
                        <a:pt x="206" y="86"/>
                      </a:lnTo>
                      <a:lnTo>
                        <a:pt x="208" y="90"/>
                      </a:lnTo>
                      <a:lnTo>
                        <a:pt x="216" y="104"/>
                      </a:lnTo>
                      <a:lnTo>
                        <a:pt x="216" y="104"/>
                      </a:lnTo>
                      <a:lnTo>
                        <a:pt x="224" y="112"/>
                      </a:lnTo>
                      <a:lnTo>
                        <a:pt x="232" y="120"/>
                      </a:lnTo>
                      <a:lnTo>
                        <a:pt x="240" y="124"/>
                      </a:lnTo>
                      <a:lnTo>
                        <a:pt x="250" y="128"/>
                      </a:lnTo>
                      <a:lnTo>
                        <a:pt x="266" y="132"/>
                      </a:lnTo>
                      <a:lnTo>
                        <a:pt x="278" y="134"/>
                      </a:lnTo>
                      <a:lnTo>
                        <a:pt x="278" y="134"/>
                      </a:lnTo>
                      <a:lnTo>
                        <a:pt x="286" y="136"/>
                      </a:lnTo>
                      <a:lnTo>
                        <a:pt x="294" y="142"/>
                      </a:lnTo>
                      <a:lnTo>
                        <a:pt x="298" y="150"/>
                      </a:lnTo>
                      <a:lnTo>
                        <a:pt x="298" y="158"/>
                      </a:lnTo>
                      <a:lnTo>
                        <a:pt x="298" y="158"/>
                      </a:lnTo>
                      <a:lnTo>
                        <a:pt x="296" y="168"/>
                      </a:lnTo>
                      <a:lnTo>
                        <a:pt x="294" y="178"/>
                      </a:lnTo>
                      <a:lnTo>
                        <a:pt x="296" y="188"/>
                      </a:lnTo>
                      <a:lnTo>
                        <a:pt x="298" y="192"/>
                      </a:lnTo>
                      <a:lnTo>
                        <a:pt x="302" y="196"/>
                      </a:lnTo>
                      <a:lnTo>
                        <a:pt x="302" y="196"/>
                      </a:lnTo>
                      <a:lnTo>
                        <a:pt x="306" y="200"/>
                      </a:lnTo>
                      <a:lnTo>
                        <a:pt x="308" y="204"/>
                      </a:lnTo>
                      <a:lnTo>
                        <a:pt x="312" y="212"/>
                      </a:lnTo>
                      <a:lnTo>
                        <a:pt x="316" y="216"/>
                      </a:lnTo>
                      <a:lnTo>
                        <a:pt x="322" y="218"/>
                      </a:lnTo>
                      <a:lnTo>
                        <a:pt x="332" y="220"/>
                      </a:lnTo>
                      <a:lnTo>
                        <a:pt x="346" y="220"/>
                      </a:lnTo>
                      <a:lnTo>
                        <a:pt x="346" y="220"/>
                      </a:lnTo>
                      <a:lnTo>
                        <a:pt x="360" y="220"/>
                      </a:lnTo>
                      <a:lnTo>
                        <a:pt x="370" y="216"/>
                      </a:lnTo>
                      <a:lnTo>
                        <a:pt x="378" y="212"/>
                      </a:lnTo>
                      <a:lnTo>
                        <a:pt x="384" y="208"/>
                      </a:lnTo>
                      <a:lnTo>
                        <a:pt x="394" y="202"/>
                      </a:lnTo>
                      <a:lnTo>
                        <a:pt x="398" y="200"/>
                      </a:lnTo>
                      <a:lnTo>
                        <a:pt x="406" y="200"/>
                      </a:lnTo>
                      <a:lnTo>
                        <a:pt x="406" y="200"/>
                      </a:lnTo>
                      <a:lnTo>
                        <a:pt x="414" y="202"/>
                      </a:lnTo>
                      <a:lnTo>
                        <a:pt x="422" y="206"/>
                      </a:lnTo>
                      <a:lnTo>
                        <a:pt x="428" y="212"/>
                      </a:lnTo>
                      <a:lnTo>
                        <a:pt x="432" y="218"/>
                      </a:lnTo>
                      <a:lnTo>
                        <a:pt x="436" y="228"/>
                      </a:lnTo>
                      <a:lnTo>
                        <a:pt x="438" y="232"/>
                      </a:lnTo>
                      <a:lnTo>
                        <a:pt x="418" y="236"/>
                      </a:lnTo>
                      <a:lnTo>
                        <a:pt x="418" y="236"/>
                      </a:lnTo>
                      <a:lnTo>
                        <a:pt x="412" y="238"/>
                      </a:lnTo>
                      <a:lnTo>
                        <a:pt x="410" y="240"/>
                      </a:lnTo>
                      <a:lnTo>
                        <a:pt x="410" y="240"/>
                      </a:lnTo>
                      <a:lnTo>
                        <a:pt x="410" y="242"/>
                      </a:lnTo>
                      <a:lnTo>
                        <a:pt x="410" y="242"/>
                      </a:lnTo>
                      <a:lnTo>
                        <a:pt x="412" y="248"/>
                      </a:lnTo>
                      <a:lnTo>
                        <a:pt x="416" y="260"/>
                      </a:lnTo>
                      <a:lnTo>
                        <a:pt x="420" y="272"/>
                      </a:lnTo>
                      <a:lnTo>
                        <a:pt x="422" y="276"/>
                      </a:lnTo>
                      <a:lnTo>
                        <a:pt x="426" y="280"/>
                      </a:lnTo>
                      <a:lnTo>
                        <a:pt x="426" y="280"/>
                      </a:lnTo>
                      <a:lnTo>
                        <a:pt x="430" y="284"/>
                      </a:lnTo>
                      <a:lnTo>
                        <a:pt x="432" y="288"/>
                      </a:lnTo>
                      <a:lnTo>
                        <a:pt x="430" y="292"/>
                      </a:lnTo>
                      <a:lnTo>
                        <a:pt x="428" y="296"/>
                      </a:lnTo>
                      <a:lnTo>
                        <a:pt x="428" y="296"/>
                      </a:lnTo>
                      <a:lnTo>
                        <a:pt x="416" y="314"/>
                      </a:lnTo>
                      <a:lnTo>
                        <a:pt x="410" y="328"/>
                      </a:lnTo>
                      <a:lnTo>
                        <a:pt x="408" y="334"/>
                      </a:lnTo>
                      <a:lnTo>
                        <a:pt x="408" y="340"/>
                      </a:lnTo>
                      <a:lnTo>
                        <a:pt x="408" y="340"/>
                      </a:lnTo>
                      <a:lnTo>
                        <a:pt x="410" y="350"/>
                      </a:lnTo>
                      <a:lnTo>
                        <a:pt x="418" y="364"/>
                      </a:lnTo>
                      <a:lnTo>
                        <a:pt x="428" y="384"/>
                      </a:lnTo>
                      <a:lnTo>
                        <a:pt x="428" y="384"/>
                      </a:lnTo>
                      <a:lnTo>
                        <a:pt x="434" y="390"/>
                      </a:lnTo>
                      <a:lnTo>
                        <a:pt x="446" y="398"/>
                      </a:lnTo>
                      <a:lnTo>
                        <a:pt x="468" y="412"/>
                      </a:lnTo>
                      <a:lnTo>
                        <a:pt x="468" y="412"/>
                      </a:lnTo>
                      <a:lnTo>
                        <a:pt x="486" y="424"/>
                      </a:lnTo>
                      <a:lnTo>
                        <a:pt x="498" y="434"/>
                      </a:lnTo>
                      <a:lnTo>
                        <a:pt x="498" y="434"/>
                      </a:lnTo>
                      <a:lnTo>
                        <a:pt x="502" y="442"/>
                      </a:lnTo>
                      <a:lnTo>
                        <a:pt x="506" y="454"/>
                      </a:lnTo>
                      <a:lnTo>
                        <a:pt x="506" y="468"/>
                      </a:lnTo>
                      <a:lnTo>
                        <a:pt x="506" y="474"/>
                      </a:lnTo>
                      <a:lnTo>
                        <a:pt x="504" y="480"/>
                      </a:lnTo>
                      <a:lnTo>
                        <a:pt x="504" y="480"/>
                      </a:lnTo>
                      <a:lnTo>
                        <a:pt x="498" y="486"/>
                      </a:lnTo>
                      <a:lnTo>
                        <a:pt x="492" y="490"/>
                      </a:lnTo>
                      <a:lnTo>
                        <a:pt x="474" y="498"/>
                      </a:lnTo>
                      <a:lnTo>
                        <a:pt x="460" y="504"/>
                      </a:lnTo>
                      <a:lnTo>
                        <a:pt x="454" y="506"/>
                      </a:lnTo>
                      <a:lnTo>
                        <a:pt x="452" y="510"/>
                      </a:lnTo>
                      <a:lnTo>
                        <a:pt x="452" y="510"/>
                      </a:lnTo>
                      <a:lnTo>
                        <a:pt x="458" y="526"/>
                      </a:lnTo>
                      <a:lnTo>
                        <a:pt x="464" y="546"/>
                      </a:lnTo>
                      <a:lnTo>
                        <a:pt x="464" y="546"/>
                      </a:lnTo>
                      <a:lnTo>
                        <a:pt x="462" y="558"/>
                      </a:lnTo>
                      <a:lnTo>
                        <a:pt x="460" y="570"/>
                      </a:lnTo>
                      <a:lnTo>
                        <a:pt x="456" y="588"/>
                      </a:lnTo>
                      <a:lnTo>
                        <a:pt x="454" y="598"/>
                      </a:lnTo>
                      <a:lnTo>
                        <a:pt x="454" y="598"/>
                      </a:lnTo>
                      <a:lnTo>
                        <a:pt x="438" y="590"/>
                      </a:lnTo>
                      <a:lnTo>
                        <a:pt x="424" y="586"/>
                      </a:lnTo>
                      <a:lnTo>
                        <a:pt x="412" y="586"/>
                      </a:lnTo>
                      <a:lnTo>
                        <a:pt x="412" y="586"/>
                      </a:lnTo>
                      <a:lnTo>
                        <a:pt x="392" y="588"/>
                      </a:lnTo>
                      <a:lnTo>
                        <a:pt x="384" y="590"/>
                      </a:lnTo>
                      <a:lnTo>
                        <a:pt x="378" y="594"/>
                      </a:lnTo>
                      <a:lnTo>
                        <a:pt x="378" y="594"/>
                      </a:lnTo>
                      <a:lnTo>
                        <a:pt x="360" y="616"/>
                      </a:lnTo>
                      <a:lnTo>
                        <a:pt x="348" y="628"/>
                      </a:lnTo>
                      <a:lnTo>
                        <a:pt x="338" y="636"/>
                      </a:lnTo>
                      <a:lnTo>
                        <a:pt x="338" y="636"/>
                      </a:lnTo>
                      <a:lnTo>
                        <a:pt x="308" y="648"/>
                      </a:lnTo>
                      <a:lnTo>
                        <a:pt x="280" y="658"/>
                      </a:lnTo>
                      <a:lnTo>
                        <a:pt x="280" y="658"/>
                      </a:lnTo>
                      <a:lnTo>
                        <a:pt x="274" y="660"/>
                      </a:lnTo>
                      <a:lnTo>
                        <a:pt x="266" y="658"/>
                      </a:lnTo>
                      <a:lnTo>
                        <a:pt x="256" y="656"/>
                      </a:lnTo>
                      <a:lnTo>
                        <a:pt x="256" y="656"/>
                      </a:lnTo>
                      <a:lnTo>
                        <a:pt x="246" y="636"/>
                      </a:lnTo>
                      <a:lnTo>
                        <a:pt x="236" y="624"/>
                      </a:lnTo>
                      <a:lnTo>
                        <a:pt x="230" y="616"/>
                      </a:lnTo>
                      <a:lnTo>
                        <a:pt x="230" y="616"/>
                      </a:lnTo>
                      <a:lnTo>
                        <a:pt x="200" y="590"/>
                      </a:lnTo>
                      <a:lnTo>
                        <a:pt x="182" y="574"/>
                      </a:lnTo>
                      <a:lnTo>
                        <a:pt x="174" y="568"/>
                      </a:lnTo>
                      <a:lnTo>
                        <a:pt x="168" y="566"/>
                      </a:lnTo>
                      <a:lnTo>
                        <a:pt x="168" y="566"/>
                      </a:lnTo>
                      <a:lnTo>
                        <a:pt x="162" y="564"/>
                      </a:lnTo>
                      <a:lnTo>
                        <a:pt x="160" y="564"/>
                      </a:lnTo>
                      <a:lnTo>
                        <a:pt x="158" y="564"/>
                      </a:lnTo>
                      <a:lnTo>
                        <a:pt x="158" y="562"/>
                      </a:lnTo>
                      <a:lnTo>
                        <a:pt x="158" y="562"/>
                      </a:lnTo>
                      <a:lnTo>
                        <a:pt x="158" y="558"/>
                      </a:lnTo>
                      <a:lnTo>
                        <a:pt x="160" y="552"/>
                      </a:lnTo>
                      <a:lnTo>
                        <a:pt x="172" y="536"/>
                      </a:lnTo>
                      <a:lnTo>
                        <a:pt x="192" y="512"/>
                      </a:lnTo>
                      <a:lnTo>
                        <a:pt x="192" y="512"/>
                      </a:lnTo>
                      <a:lnTo>
                        <a:pt x="190" y="506"/>
                      </a:lnTo>
                      <a:lnTo>
                        <a:pt x="186" y="496"/>
                      </a:lnTo>
                      <a:lnTo>
                        <a:pt x="180" y="488"/>
                      </a:lnTo>
                      <a:lnTo>
                        <a:pt x="176" y="484"/>
                      </a:lnTo>
                      <a:lnTo>
                        <a:pt x="172" y="484"/>
                      </a:lnTo>
                      <a:lnTo>
                        <a:pt x="172" y="484"/>
                      </a:lnTo>
                      <a:lnTo>
                        <a:pt x="162" y="482"/>
                      </a:lnTo>
                      <a:lnTo>
                        <a:pt x="146" y="478"/>
                      </a:lnTo>
                      <a:lnTo>
                        <a:pt x="116" y="466"/>
                      </a:lnTo>
                      <a:lnTo>
                        <a:pt x="116" y="466"/>
                      </a:lnTo>
                      <a:lnTo>
                        <a:pt x="110" y="466"/>
                      </a:lnTo>
                      <a:lnTo>
                        <a:pt x="102" y="464"/>
                      </a:lnTo>
                      <a:lnTo>
                        <a:pt x="86" y="464"/>
                      </a:lnTo>
                      <a:lnTo>
                        <a:pt x="78" y="462"/>
                      </a:lnTo>
                      <a:lnTo>
                        <a:pt x="72" y="458"/>
                      </a:lnTo>
                      <a:lnTo>
                        <a:pt x="68" y="454"/>
                      </a:lnTo>
                      <a:lnTo>
                        <a:pt x="68" y="446"/>
                      </a:lnTo>
                      <a:lnTo>
                        <a:pt x="68" y="446"/>
                      </a:lnTo>
                      <a:lnTo>
                        <a:pt x="70" y="436"/>
                      </a:lnTo>
                      <a:lnTo>
                        <a:pt x="74" y="426"/>
                      </a:lnTo>
                      <a:lnTo>
                        <a:pt x="82" y="410"/>
                      </a:lnTo>
                      <a:lnTo>
                        <a:pt x="94" y="394"/>
                      </a:lnTo>
                      <a:lnTo>
                        <a:pt x="94" y="394"/>
                      </a:lnTo>
                      <a:lnTo>
                        <a:pt x="98" y="384"/>
                      </a:lnTo>
                      <a:lnTo>
                        <a:pt x="100" y="372"/>
                      </a:lnTo>
                      <a:lnTo>
                        <a:pt x="102" y="358"/>
                      </a:lnTo>
                      <a:lnTo>
                        <a:pt x="102" y="358"/>
                      </a:lnTo>
                      <a:lnTo>
                        <a:pt x="100" y="346"/>
                      </a:lnTo>
                      <a:lnTo>
                        <a:pt x="96" y="342"/>
                      </a:lnTo>
                      <a:lnTo>
                        <a:pt x="92" y="338"/>
                      </a:lnTo>
                      <a:lnTo>
                        <a:pt x="86" y="332"/>
                      </a:lnTo>
                      <a:lnTo>
                        <a:pt x="86" y="332"/>
                      </a:lnTo>
                      <a:lnTo>
                        <a:pt x="80" y="322"/>
                      </a:lnTo>
                      <a:lnTo>
                        <a:pt x="72" y="308"/>
                      </a:lnTo>
                      <a:lnTo>
                        <a:pt x="66" y="296"/>
                      </a:lnTo>
                      <a:lnTo>
                        <a:pt x="62" y="290"/>
                      </a:lnTo>
                      <a:lnTo>
                        <a:pt x="62" y="290"/>
                      </a:lnTo>
                      <a:lnTo>
                        <a:pt x="60" y="288"/>
                      </a:lnTo>
                      <a:lnTo>
                        <a:pt x="60" y="284"/>
                      </a:lnTo>
                      <a:lnTo>
                        <a:pt x="60" y="270"/>
                      </a:lnTo>
                      <a:lnTo>
                        <a:pt x="60" y="252"/>
                      </a:lnTo>
                      <a:lnTo>
                        <a:pt x="60" y="252"/>
                      </a:lnTo>
                      <a:lnTo>
                        <a:pt x="64" y="246"/>
                      </a:lnTo>
                      <a:lnTo>
                        <a:pt x="64" y="246"/>
                      </a:lnTo>
                      <a:lnTo>
                        <a:pt x="72" y="236"/>
                      </a:lnTo>
                      <a:lnTo>
                        <a:pt x="74" y="232"/>
                      </a:lnTo>
                      <a:lnTo>
                        <a:pt x="74" y="230"/>
                      </a:lnTo>
                      <a:lnTo>
                        <a:pt x="68" y="224"/>
                      </a:lnTo>
                      <a:lnTo>
                        <a:pt x="68" y="224"/>
                      </a:lnTo>
                      <a:lnTo>
                        <a:pt x="56" y="214"/>
                      </a:lnTo>
                      <a:lnTo>
                        <a:pt x="54" y="212"/>
                      </a:lnTo>
                      <a:lnTo>
                        <a:pt x="50" y="212"/>
                      </a:lnTo>
                      <a:lnTo>
                        <a:pt x="50" y="212"/>
                      </a:lnTo>
                      <a:lnTo>
                        <a:pt x="36" y="212"/>
                      </a:lnTo>
                      <a:lnTo>
                        <a:pt x="30" y="210"/>
                      </a:lnTo>
                      <a:lnTo>
                        <a:pt x="28" y="208"/>
                      </a:lnTo>
                      <a:lnTo>
                        <a:pt x="28" y="204"/>
                      </a:lnTo>
                      <a:lnTo>
                        <a:pt x="28" y="204"/>
                      </a:lnTo>
                      <a:lnTo>
                        <a:pt x="30" y="200"/>
                      </a:lnTo>
                      <a:lnTo>
                        <a:pt x="34" y="194"/>
                      </a:lnTo>
                      <a:lnTo>
                        <a:pt x="46" y="184"/>
                      </a:lnTo>
                      <a:lnTo>
                        <a:pt x="54" y="174"/>
                      </a:lnTo>
                      <a:lnTo>
                        <a:pt x="56" y="170"/>
                      </a:lnTo>
                      <a:lnTo>
                        <a:pt x="56" y="168"/>
                      </a:lnTo>
                      <a:lnTo>
                        <a:pt x="56" y="168"/>
                      </a:lnTo>
                      <a:lnTo>
                        <a:pt x="52" y="164"/>
                      </a:lnTo>
                      <a:lnTo>
                        <a:pt x="46" y="154"/>
                      </a:lnTo>
                      <a:lnTo>
                        <a:pt x="40" y="144"/>
                      </a:lnTo>
                      <a:lnTo>
                        <a:pt x="32" y="136"/>
                      </a:lnTo>
                      <a:lnTo>
                        <a:pt x="32" y="136"/>
                      </a:lnTo>
                      <a:lnTo>
                        <a:pt x="24" y="126"/>
                      </a:lnTo>
                      <a:lnTo>
                        <a:pt x="12" y="114"/>
                      </a:lnTo>
                      <a:lnTo>
                        <a:pt x="6" y="106"/>
                      </a:lnTo>
                      <a:lnTo>
                        <a:pt x="2" y="100"/>
                      </a:lnTo>
                      <a:lnTo>
                        <a:pt x="0" y="92"/>
                      </a:lnTo>
                      <a:lnTo>
                        <a:pt x="2" y="86"/>
                      </a:lnTo>
                      <a:lnTo>
                        <a:pt x="2" y="86"/>
                      </a:lnTo>
                      <a:lnTo>
                        <a:pt x="4" y="76"/>
                      </a:lnTo>
                      <a:lnTo>
                        <a:pt x="8" y="64"/>
                      </a:lnTo>
                      <a:lnTo>
                        <a:pt x="10" y="54"/>
                      </a:lnTo>
                      <a:lnTo>
                        <a:pt x="14" y="48"/>
                      </a:lnTo>
                      <a:lnTo>
                        <a:pt x="14" y="48"/>
                      </a:lnTo>
                      <a:lnTo>
                        <a:pt x="42" y="26"/>
                      </a:lnTo>
                      <a:lnTo>
                        <a:pt x="60" y="14"/>
                      </a:lnTo>
                      <a:lnTo>
                        <a:pt x="74" y="4"/>
                      </a:lnTo>
                      <a:lnTo>
                        <a:pt x="74" y="4"/>
                      </a:lnTo>
                      <a:lnTo>
                        <a:pt x="86" y="2"/>
                      </a:lnTo>
                      <a:lnTo>
                        <a:pt x="104" y="0"/>
                      </a:lnTo>
                      <a:lnTo>
                        <a:pt x="126" y="0"/>
                      </a:lnTo>
                      <a:lnTo>
                        <a:pt x="126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6" name="Freeform 80">
                  <a:extLst>
                    <a:ext uri="{FF2B5EF4-FFF2-40B4-BE49-F238E27FC236}">
                      <a16:creationId xmlns:a16="http://schemas.microsoft.com/office/drawing/2014/main" id="{EE67E634-B516-4A30-81E0-98583C483A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6735" y="5316163"/>
                  <a:ext cx="141756" cy="153950"/>
                </a:xfrm>
                <a:custGeom>
                  <a:avLst/>
                  <a:gdLst/>
                  <a:ahLst/>
                  <a:cxnLst>
                    <a:cxn ang="0">
                      <a:pos x="20" y="126"/>
                    </a:cxn>
                    <a:cxn ang="0">
                      <a:pos x="24" y="138"/>
                    </a:cxn>
                    <a:cxn ang="0">
                      <a:pos x="28" y="144"/>
                    </a:cxn>
                    <a:cxn ang="0">
                      <a:pos x="36" y="144"/>
                    </a:cxn>
                    <a:cxn ang="0">
                      <a:pos x="56" y="138"/>
                    </a:cxn>
                    <a:cxn ang="0">
                      <a:pos x="64" y="138"/>
                    </a:cxn>
                    <a:cxn ang="0">
                      <a:pos x="66" y="140"/>
                    </a:cxn>
                    <a:cxn ang="0">
                      <a:pos x="72" y="142"/>
                    </a:cxn>
                    <a:cxn ang="0">
                      <a:pos x="76" y="148"/>
                    </a:cxn>
                    <a:cxn ang="0">
                      <a:pos x="88" y="168"/>
                    </a:cxn>
                    <a:cxn ang="0">
                      <a:pos x="102" y="180"/>
                    </a:cxn>
                    <a:cxn ang="0">
                      <a:pos x="116" y="192"/>
                    </a:cxn>
                    <a:cxn ang="0">
                      <a:pos x="126" y="202"/>
                    </a:cxn>
                    <a:cxn ang="0">
                      <a:pos x="128" y="170"/>
                    </a:cxn>
                    <a:cxn ang="0">
                      <a:pos x="134" y="150"/>
                    </a:cxn>
                    <a:cxn ang="0">
                      <a:pos x="142" y="130"/>
                    </a:cxn>
                    <a:cxn ang="0">
                      <a:pos x="154" y="116"/>
                    </a:cxn>
                    <a:cxn ang="0">
                      <a:pos x="162" y="110"/>
                    </a:cxn>
                    <a:cxn ang="0">
                      <a:pos x="152" y="108"/>
                    </a:cxn>
                    <a:cxn ang="0">
                      <a:pos x="150" y="104"/>
                    </a:cxn>
                    <a:cxn ang="0">
                      <a:pos x="158" y="92"/>
                    </a:cxn>
                    <a:cxn ang="0">
                      <a:pos x="170" y="78"/>
                    </a:cxn>
                    <a:cxn ang="0">
                      <a:pos x="186" y="56"/>
                    </a:cxn>
                    <a:cxn ang="0">
                      <a:pos x="182" y="44"/>
                    </a:cxn>
                    <a:cxn ang="0">
                      <a:pos x="178" y="32"/>
                    </a:cxn>
                    <a:cxn ang="0">
                      <a:pos x="174" y="30"/>
                    </a:cxn>
                    <a:cxn ang="0">
                      <a:pos x="150" y="22"/>
                    </a:cxn>
                    <a:cxn ang="0">
                      <a:pos x="110" y="10"/>
                    </a:cxn>
                    <a:cxn ang="0">
                      <a:pos x="84" y="4"/>
                    </a:cxn>
                    <a:cxn ang="0">
                      <a:pos x="64" y="0"/>
                    </a:cxn>
                    <a:cxn ang="0">
                      <a:pos x="36" y="8"/>
                    </a:cxn>
                    <a:cxn ang="0">
                      <a:pos x="22" y="6"/>
                    </a:cxn>
                    <a:cxn ang="0">
                      <a:pos x="14" y="6"/>
                    </a:cxn>
                    <a:cxn ang="0">
                      <a:pos x="10" y="6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4"/>
                    </a:cxn>
                    <a:cxn ang="0">
                      <a:pos x="20" y="38"/>
                    </a:cxn>
                    <a:cxn ang="0">
                      <a:pos x="16" y="54"/>
                    </a:cxn>
                    <a:cxn ang="0">
                      <a:pos x="10" y="64"/>
                    </a:cxn>
                    <a:cxn ang="0">
                      <a:pos x="4" y="74"/>
                    </a:cxn>
                    <a:cxn ang="0">
                      <a:pos x="8" y="82"/>
                    </a:cxn>
                    <a:cxn ang="0">
                      <a:pos x="16" y="110"/>
                    </a:cxn>
                    <a:cxn ang="0">
                      <a:pos x="20" y="126"/>
                    </a:cxn>
                  </a:cxnLst>
                  <a:rect l="0" t="0" r="r" b="b"/>
                  <a:pathLst>
                    <a:path w="186" h="202">
                      <a:moveTo>
                        <a:pt x="20" y="126"/>
                      </a:moveTo>
                      <a:lnTo>
                        <a:pt x="20" y="126"/>
                      </a:lnTo>
                      <a:lnTo>
                        <a:pt x="22" y="132"/>
                      </a:lnTo>
                      <a:lnTo>
                        <a:pt x="24" y="138"/>
                      </a:lnTo>
                      <a:lnTo>
                        <a:pt x="24" y="142"/>
                      </a:lnTo>
                      <a:lnTo>
                        <a:pt x="28" y="144"/>
                      </a:lnTo>
                      <a:lnTo>
                        <a:pt x="32" y="146"/>
                      </a:lnTo>
                      <a:lnTo>
                        <a:pt x="36" y="144"/>
                      </a:lnTo>
                      <a:lnTo>
                        <a:pt x="36" y="144"/>
                      </a:lnTo>
                      <a:lnTo>
                        <a:pt x="56" y="138"/>
                      </a:lnTo>
                      <a:lnTo>
                        <a:pt x="60" y="136"/>
                      </a:lnTo>
                      <a:lnTo>
                        <a:pt x="64" y="138"/>
                      </a:lnTo>
                      <a:lnTo>
                        <a:pt x="64" y="138"/>
                      </a:lnTo>
                      <a:lnTo>
                        <a:pt x="66" y="140"/>
                      </a:lnTo>
                      <a:lnTo>
                        <a:pt x="70" y="140"/>
                      </a:lnTo>
                      <a:lnTo>
                        <a:pt x="72" y="142"/>
                      </a:lnTo>
                      <a:lnTo>
                        <a:pt x="76" y="148"/>
                      </a:lnTo>
                      <a:lnTo>
                        <a:pt x="76" y="148"/>
                      </a:lnTo>
                      <a:lnTo>
                        <a:pt x="80" y="158"/>
                      </a:lnTo>
                      <a:lnTo>
                        <a:pt x="88" y="168"/>
                      </a:lnTo>
                      <a:lnTo>
                        <a:pt x="96" y="176"/>
                      </a:lnTo>
                      <a:lnTo>
                        <a:pt x="102" y="180"/>
                      </a:lnTo>
                      <a:lnTo>
                        <a:pt x="102" y="180"/>
                      </a:lnTo>
                      <a:lnTo>
                        <a:pt x="116" y="192"/>
                      </a:lnTo>
                      <a:lnTo>
                        <a:pt x="126" y="202"/>
                      </a:lnTo>
                      <a:lnTo>
                        <a:pt x="126" y="202"/>
                      </a:lnTo>
                      <a:lnTo>
                        <a:pt x="126" y="188"/>
                      </a:lnTo>
                      <a:lnTo>
                        <a:pt x="128" y="170"/>
                      </a:lnTo>
                      <a:lnTo>
                        <a:pt x="128" y="170"/>
                      </a:lnTo>
                      <a:lnTo>
                        <a:pt x="134" y="150"/>
                      </a:lnTo>
                      <a:lnTo>
                        <a:pt x="142" y="130"/>
                      </a:lnTo>
                      <a:lnTo>
                        <a:pt x="142" y="130"/>
                      </a:lnTo>
                      <a:lnTo>
                        <a:pt x="148" y="124"/>
                      </a:lnTo>
                      <a:lnTo>
                        <a:pt x="154" y="116"/>
                      </a:lnTo>
                      <a:lnTo>
                        <a:pt x="162" y="110"/>
                      </a:lnTo>
                      <a:lnTo>
                        <a:pt x="162" y="110"/>
                      </a:lnTo>
                      <a:lnTo>
                        <a:pt x="160" y="110"/>
                      </a:lnTo>
                      <a:lnTo>
                        <a:pt x="152" y="108"/>
                      </a:lnTo>
                      <a:lnTo>
                        <a:pt x="150" y="108"/>
                      </a:lnTo>
                      <a:lnTo>
                        <a:pt x="150" y="104"/>
                      </a:lnTo>
                      <a:lnTo>
                        <a:pt x="152" y="100"/>
                      </a:lnTo>
                      <a:lnTo>
                        <a:pt x="158" y="92"/>
                      </a:lnTo>
                      <a:lnTo>
                        <a:pt x="158" y="92"/>
                      </a:lnTo>
                      <a:lnTo>
                        <a:pt x="170" y="78"/>
                      </a:lnTo>
                      <a:lnTo>
                        <a:pt x="180" y="66"/>
                      </a:lnTo>
                      <a:lnTo>
                        <a:pt x="186" y="56"/>
                      </a:lnTo>
                      <a:lnTo>
                        <a:pt x="186" y="56"/>
                      </a:lnTo>
                      <a:lnTo>
                        <a:pt x="182" y="44"/>
                      </a:lnTo>
                      <a:lnTo>
                        <a:pt x="180" y="36"/>
                      </a:lnTo>
                      <a:lnTo>
                        <a:pt x="178" y="32"/>
                      </a:lnTo>
                      <a:lnTo>
                        <a:pt x="174" y="30"/>
                      </a:lnTo>
                      <a:lnTo>
                        <a:pt x="174" y="30"/>
                      </a:lnTo>
                      <a:lnTo>
                        <a:pt x="150" y="22"/>
                      </a:lnTo>
                      <a:lnTo>
                        <a:pt x="150" y="22"/>
                      </a:lnTo>
                      <a:lnTo>
                        <a:pt x="130" y="16"/>
                      </a:lnTo>
                      <a:lnTo>
                        <a:pt x="110" y="10"/>
                      </a:lnTo>
                      <a:lnTo>
                        <a:pt x="110" y="10"/>
                      </a:lnTo>
                      <a:lnTo>
                        <a:pt x="84" y="4"/>
                      </a:lnTo>
                      <a:lnTo>
                        <a:pt x="64" y="0"/>
                      </a:lnTo>
                      <a:lnTo>
                        <a:pt x="64" y="0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28" y="8"/>
                      </a:lnTo>
                      <a:lnTo>
                        <a:pt x="22" y="6"/>
                      </a:lnTo>
                      <a:lnTo>
                        <a:pt x="16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8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6" y="28"/>
                      </a:lnTo>
                      <a:lnTo>
                        <a:pt x="20" y="38"/>
                      </a:lnTo>
                      <a:lnTo>
                        <a:pt x="20" y="44"/>
                      </a:lnTo>
                      <a:lnTo>
                        <a:pt x="16" y="54"/>
                      </a:lnTo>
                      <a:lnTo>
                        <a:pt x="16" y="54"/>
                      </a:lnTo>
                      <a:lnTo>
                        <a:pt x="10" y="64"/>
                      </a:lnTo>
                      <a:lnTo>
                        <a:pt x="6" y="70"/>
                      </a:lnTo>
                      <a:lnTo>
                        <a:pt x="4" y="74"/>
                      </a:lnTo>
                      <a:lnTo>
                        <a:pt x="8" y="82"/>
                      </a:lnTo>
                      <a:lnTo>
                        <a:pt x="8" y="82"/>
                      </a:lnTo>
                      <a:lnTo>
                        <a:pt x="12" y="94"/>
                      </a:lnTo>
                      <a:lnTo>
                        <a:pt x="16" y="110"/>
                      </a:lnTo>
                      <a:lnTo>
                        <a:pt x="20" y="126"/>
                      </a:lnTo>
                      <a:lnTo>
                        <a:pt x="20" y="12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7" name="Freeform 81">
                  <a:extLst>
                    <a:ext uri="{FF2B5EF4-FFF2-40B4-BE49-F238E27FC236}">
                      <a16:creationId xmlns:a16="http://schemas.microsoft.com/office/drawing/2014/main" id="{614ED9E8-3917-4021-ACE0-844786961D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7746" y="4909183"/>
                  <a:ext cx="208824" cy="129562"/>
                </a:xfrm>
                <a:custGeom>
                  <a:avLst/>
                  <a:gdLst/>
                  <a:ahLst/>
                  <a:cxnLst>
                    <a:cxn ang="0">
                      <a:pos x="4" y="114"/>
                    </a:cxn>
                    <a:cxn ang="0">
                      <a:pos x="16" y="122"/>
                    </a:cxn>
                    <a:cxn ang="0">
                      <a:pos x="24" y="132"/>
                    </a:cxn>
                    <a:cxn ang="0">
                      <a:pos x="44" y="150"/>
                    </a:cxn>
                    <a:cxn ang="0">
                      <a:pos x="52" y="160"/>
                    </a:cxn>
                    <a:cxn ang="0">
                      <a:pos x="52" y="162"/>
                    </a:cxn>
                    <a:cxn ang="0">
                      <a:pos x="48" y="170"/>
                    </a:cxn>
                    <a:cxn ang="0">
                      <a:pos x="84" y="170"/>
                    </a:cxn>
                    <a:cxn ang="0">
                      <a:pos x="94" y="168"/>
                    </a:cxn>
                    <a:cxn ang="0">
                      <a:pos x="120" y="154"/>
                    </a:cxn>
                    <a:cxn ang="0">
                      <a:pos x="130" y="156"/>
                    </a:cxn>
                    <a:cxn ang="0">
                      <a:pos x="132" y="158"/>
                    </a:cxn>
                    <a:cxn ang="0">
                      <a:pos x="140" y="168"/>
                    </a:cxn>
                    <a:cxn ang="0">
                      <a:pos x="150" y="170"/>
                    </a:cxn>
                    <a:cxn ang="0">
                      <a:pos x="168" y="168"/>
                    </a:cxn>
                    <a:cxn ang="0">
                      <a:pos x="182" y="162"/>
                    </a:cxn>
                    <a:cxn ang="0">
                      <a:pos x="186" y="156"/>
                    </a:cxn>
                    <a:cxn ang="0">
                      <a:pos x="188" y="142"/>
                    </a:cxn>
                    <a:cxn ang="0">
                      <a:pos x="192" y="134"/>
                    </a:cxn>
                    <a:cxn ang="0">
                      <a:pos x="200" y="116"/>
                    </a:cxn>
                    <a:cxn ang="0">
                      <a:pos x="204" y="100"/>
                    </a:cxn>
                    <a:cxn ang="0">
                      <a:pos x="212" y="90"/>
                    </a:cxn>
                    <a:cxn ang="0">
                      <a:pos x="222" y="86"/>
                    </a:cxn>
                    <a:cxn ang="0">
                      <a:pos x="256" y="66"/>
                    </a:cxn>
                    <a:cxn ang="0">
                      <a:pos x="262" y="56"/>
                    </a:cxn>
                    <a:cxn ang="0">
                      <a:pos x="274" y="38"/>
                    </a:cxn>
                    <a:cxn ang="0">
                      <a:pos x="270" y="24"/>
                    </a:cxn>
                    <a:cxn ang="0">
                      <a:pos x="266" y="16"/>
                    </a:cxn>
                    <a:cxn ang="0">
                      <a:pos x="260" y="2"/>
                    </a:cxn>
                    <a:cxn ang="0">
                      <a:pos x="256" y="0"/>
                    </a:cxn>
                    <a:cxn ang="0">
                      <a:pos x="222" y="4"/>
                    </a:cxn>
                    <a:cxn ang="0">
                      <a:pos x="186" y="10"/>
                    </a:cxn>
                    <a:cxn ang="0">
                      <a:pos x="86" y="20"/>
                    </a:cxn>
                    <a:cxn ang="0">
                      <a:pos x="52" y="18"/>
                    </a:cxn>
                    <a:cxn ang="0">
                      <a:pos x="24" y="12"/>
                    </a:cxn>
                    <a:cxn ang="0">
                      <a:pos x="14" y="6"/>
                    </a:cxn>
                    <a:cxn ang="0">
                      <a:pos x="10" y="10"/>
                    </a:cxn>
                    <a:cxn ang="0">
                      <a:pos x="10" y="20"/>
                    </a:cxn>
                    <a:cxn ang="0">
                      <a:pos x="4" y="36"/>
                    </a:cxn>
                    <a:cxn ang="0">
                      <a:pos x="0" y="58"/>
                    </a:cxn>
                    <a:cxn ang="0">
                      <a:pos x="4" y="88"/>
                    </a:cxn>
                    <a:cxn ang="0">
                      <a:pos x="4" y="110"/>
                    </a:cxn>
                    <a:cxn ang="0">
                      <a:pos x="4" y="114"/>
                    </a:cxn>
                  </a:cxnLst>
                  <a:rect l="0" t="0" r="r" b="b"/>
                  <a:pathLst>
                    <a:path w="274" h="170">
                      <a:moveTo>
                        <a:pt x="4" y="114"/>
                      </a:moveTo>
                      <a:lnTo>
                        <a:pt x="4" y="114"/>
                      </a:lnTo>
                      <a:lnTo>
                        <a:pt x="10" y="116"/>
                      </a:lnTo>
                      <a:lnTo>
                        <a:pt x="16" y="122"/>
                      </a:lnTo>
                      <a:lnTo>
                        <a:pt x="24" y="132"/>
                      </a:lnTo>
                      <a:lnTo>
                        <a:pt x="24" y="132"/>
                      </a:lnTo>
                      <a:lnTo>
                        <a:pt x="32" y="142"/>
                      </a:lnTo>
                      <a:lnTo>
                        <a:pt x="44" y="150"/>
                      </a:lnTo>
                      <a:lnTo>
                        <a:pt x="50" y="156"/>
                      </a:lnTo>
                      <a:lnTo>
                        <a:pt x="52" y="160"/>
                      </a:lnTo>
                      <a:lnTo>
                        <a:pt x="52" y="162"/>
                      </a:lnTo>
                      <a:lnTo>
                        <a:pt x="52" y="162"/>
                      </a:lnTo>
                      <a:lnTo>
                        <a:pt x="48" y="170"/>
                      </a:lnTo>
                      <a:lnTo>
                        <a:pt x="48" y="170"/>
                      </a:lnTo>
                      <a:lnTo>
                        <a:pt x="68" y="170"/>
                      </a:lnTo>
                      <a:lnTo>
                        <a:pt x="84" y="170"/>
                      </a:lnTo>
                      <a:lnTo>
                        <a:pt x="94" y="168"/>
                      </a:lnTo>
                      <a:lnTo>
                        <a:pt x="94" y="168"/>
                      </a:lnTo>
                      <a:lnTo>
                        <a:pt x="110" y="158"/>
                      </a:lnTo>
                      <a:lnTo>
                        <a:pt x="120" y="154"/>
                      </a:lnTo>
                      <a:lnTo>
                        <a:pt x="124" y="154"/>
                      </a:lnTo>
                      <a:lnTo>
                        <a:pt x="130" y="156"/>
                      </a:lnTo>
                      <a:lnTo>
                        <a:pt x="130" y="156"/>
                      </a:lnTo>
                      <a:lnTo>
                        <a:pt x="132" y="158"/>
                      </a:lnTo>
                      <a:lnTo>
                        <a:pt x="136" y="162"/>
                      </a:lnTo>
                      <a:lnTo>
                        <a:pt x="140" y="168"/>
                      </a:lnTo>
                      <a:lnTo>
                        <a:pt x="144" y="170"/>
                      </a:lnTo>
                      <a:lnTo>
                        <a:pt x="150" y="170"/>
                      </a:lnTo>
                      <a:lnTo>
                        <a:pt x="158" y="170"/>
                      </a:lnTo>
                      <a:lnTo>
                        <a:pt x="168" y="168"/>
                      </a:lnTo>
                      <a:lnTo>
                        <a:pt x="168" y="168"/>
                      </a:lnTo>
                      <a:lnTo>
                        <a:pt x="182" y="162"/>
                      </a:lnTo>
                      <a:lnTo>
                        <a:pt x="186" y="158"/>
                      </a:lnTo>
                      <a:lnTo>
                        <a:pt x="186" y="156"/>
                      </a:lnTo>
                      <a:lnTo>
                        <a:pt x="186" y="150"/>
                      </a:lnTo>
                      <a:lnTo>
                        <a:pt x="188" y="142"/>
                      </a:lnTo>
                      <a:lnTo>
                        <a:pt x="192" y="134"/>
                      </a:lnTo>
                      <a:lnTo>
                        <a:pt x="192" y="134"/>
                      </a:lnTo>
                      <a:lnTo>
                        <a:pt x="198" y="124"/>
                      </a:lnTo>
                      <a:lnTo>
                        <a:pt x="200" y="116"/>
                      </a:lnTo>
                      <a:lnTo>
                        <a:pt x="202" y="104"/>
                      </a:lnTo>
                      <a:lnTo>
                        <a:pt x="204" y="100"/>
                      </a:lnTo>
                      <a:lnTo>
                        <a:pt x="206" y="96"/>
                      </a:lnTo>
                      <a:lnTo>
                        <a:pt x="212" y="90"/>
                      </a:lnTo>
                      <a:lnTo>
                        <a:pt x="222" y="86"/>
                      </a:lnTo>
                      <a:lnTo>
                        <a:pt x="222" y="86"/>
                      </a:lnTo>
                      <a:lnTo>
                        <a:pt x="248" y="72"/>
                      </a:lnTo>
                      <a:lnTo>
                        <a:pt x="256" y="66"/>
                      </a:lnTo>
                      <a:lnTo>
                        <a:pt x="262" y="56"/>
                      </a:lnTo>
                      <a:lnTo>
                        <a:pt x="262" y="56"/>
                      </a:lnTo>
                      <a:lnTo>
                        <a:pt x="270" y="46"/>
                      </a:lnTo>
                      <a:lnTo>
                        <a:pt x="274" y="38"/>
                      </a:lnTo>
                      <a:lnTo>
                        <a:pt x="274" y="32"/>
                      </a:lnTo>
                      <a:lnTo>
                        <a:pt x="270" y="24"/>
                      </a:lnTo>
                      <a:lnTo>
                        <a:pt x="270" y="24"/>
                      </a:lnTo>
                      <a:lnTo>
                        <a:pt x="266" y="16"/>
                      </a:lnTo>
                      <a:lnTo>
                        <a:pt x="264" y="8"/>
                      </a:lnTo>
                      <a:lnTo>
                        <a:pt x="260" y="2"/>
                      </a:lnTo>
                      <a:lnTo>
                        <a:pt x="258" y="0"/>
                      </a:lnTo>
                      <a:lnTo>
                        <a:pt x="256" y="0"/>
                      </a:lnTo>
                      <a:lnTo>
                        <a:pt x="256" y="0"/>
                      </a:lnTo>
                      <a:lnTo>
                        <a:pt x="222" y="4"/>
                      </a:lnTo>
                      <a:lnTo>
                        <a:pt x="186" y="10"/>
                      </a:lnTo>
                      <a:lnTo>
                        <a:pt x="186" y="10"/>
                      </a:lnTo>
                      <a:lnTo>
                        <a:pt x="138" y="16"/>
                      </a:lnTo>
                      <a:lnTo>
                        <a:pt x="86" y="20"/>
                      </a:lnTo>
                      <a:lnTo>
                        <a:pt x="86" y="20"/>
                      </a:lnTo>
                      <a:lnTo>
                        <a:pt x="52" y="18"/>
                      </a:lnTo>
                      <a:lnTo>
                        <a:pt x="34" y="16"/>
                      </a:lnTo>
                      <a:lnTo>
                        <a:pt x="24" y="12"/>
                      </a:lnTo>
                      <a:lnTo>
                        <a:pt x="24" y="12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10" y="10"/>
                      </a:lnTo>
                      <a:lnTo>
                        <a:pt x="10" y="20"/>
                      </a:lnTo>
                      <a:lnTo>
                        <a:pt x="10" y="20"/>
                      </a:lnTo>
                      <a:lnTo>
                        <a:pt x="8" y="28"/>
                      </a:lnTo>
                      <a:lnTo>
                        <a:pt x="4" y="36"/>
                      </a:lnTo>
                      <a:lnTo>
                        <a:pt x="0" y="46"/>
                      </a:lnTo>
                      <a:lnTo>
                        <a:pt x="0" y="58"/>
                      </a:lnTo>
                      <a:lnTo>
                        <a:pt x="0" y="58"/>
                      </a:lnTo>
                      <a:lnTo>
                        <a:pt x="4" y="88"/>
                      </a:lnTo>
                      <a:lnTo>
                        <a:pt x="6" y="104"/>
                      </a:lnTo>
                      <a:lnTo>
                        <a:pt x="4" y="110"/>
                      </a:lnTo>
                      <a:lnTo>
                        <a:pt x="4" y="114"/>
                      </a:lnTo>
                      <a:lnTo>
                        <a:pt x="4" y="11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8" name="Freeform 82">
                  <a:extLst>
                    <a:ext uri="{FF2B5EF4-FFF2-40B4-BE49-F238E27FC236}">
                      <a16:creationId xmlns:a16="http://schemas.microsoft.com/office/drawing/2014/main" id="{172458C2-8DA1-4405-ADC8-AB09ADA57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0795" y="4901562"/>
                  <a:ext cx="474045" cy="452706"/>
                </a:xfrm>
                <a:custGeom>
                  <a:avLst/>
                  <a:gdLst/>
                  <a:ahLst/>
                  <a:cxnLst>
                    <a:cxn ang="0">
                      <a:pos x="566" y="268"/>
                    </a:cxn>
                    <a:cxn ang="0">
                      <a:pos x="496" y="258"/>
                    </a:cxn>
                    <a:cxn ang="0">
                      <a:pos x="378" y="240"/>
                    </a:cxn>
                    <a:cxn ang="0">
                      <a:pos x="356" y="230"/>
                    </a:cxn>
                    <a:cxn ang="0">
                      <a:pos x="326" y="246"/>
                    </a:cxn>
                    <a:cxn ang="0">
                      <a:pos x="264" y="252"/>
                    </a:cxn>
                    <a:cxn ang="0">
                      <a:pos x="244" y="262"/>
                    </a:cxn>
                    <a:cxn ang="0">
                      <a:pos x="268" y="304"/>
                    </a:cxn>
                    <a:cxn ang="0">
                      <a:pos x="304" y="346"/>
                    </a:cxn>
                    <a:cxn ang="0">
                      <a:pos x="298" y="386"/>
                    </a:cxn>
                    <a:cxn ang="0">
                      <a:pos x="318" y="426"/>
                    </a:cxn>
                    <a:cxn ang="0">
                      <a:pos x="362" y="456"/>
                    </a:cxn>
                    <a:cxn ang="0">
                      <a:pos x="386" y="482"/>
                    </a:cxn>
                    <a:cxn ang="0">
                      <a:pos x="428" y="550"/>
                    </a:cxn>
                    <a:cxn ang="0">
                      <a:pos x="454" y="578"/>
                    </a:cxn>
                    <a:cxn ang="0">
                      <a:pos x="382" y="524"/>
                    </a:cxn>
                    <a:cxn ang="0">
                      <a:pos x="346" y="508"/>
                    </a:cxn>
                    <a:cxn ang="0">
                      <a:pos x="334" y="488"/>
                    </a:cxn>
                    <a:cxn ang="0">
                      <a:pos x="322" y="486"/>
                    </a:cxn>
                    <a:cxn ang="0">
                      <a:pos x="312" y="498"/>
                    </a:cxn>
                    <a:cxn ang="0">
                      <a:pos x="280" y="506"/>
                    </a:cxn>
                    <a:cxn ang="0">
                      <a:pos x="272" y="484"/>
                    </a:cxn>
                    <a:cxn ang="0">
                      <a:pos x="238" y="454"/>
                    </a:cxn>
                    <a:cxn ang="0">
                      <a:pos x="238" y="442"/>
                    </a:cxn>
                    <a:cxn ang="0">
                      <a:pos x="230" y="404"/>
                    </a:cxn>
                    <a:cxn ang="0">
                      <a:pos x="222" y="390"/>
                    </a:cxn>
                    <a:cxn ang="0">
                      <a:pos x="192" y="352"/>
                    </a:cxn>
                    <a:cxn ang="0">
                      <a:pos x="174" y="294"/>
                    </a:cxn>
                    <a:cxn ang="0">
                      <a:pos x="162" y="266"/>
                    </a:cxn>
                    <a:cxn ang="0">
                      <a:pos x="138" y="234"/>
                    </a:cxn>
                    <a:cxn ang="0">
                      <a:pos x="90" y="200"/>
                    </a:cxn>
                    <a:cxn ang="0">
                      <a:pos x="78" y="200"/>
                    </a:cxn>
                    <a:cxn ang="0">
                      <a:pos x="76" y="230"/>
                    </a:cxn>
                    <a:cxn ang="0">
                      <a:pos x="76" y="264"/>
                    </a:cxn>
                    <a:cxn ang="0">
                      <a:pos x="56" y="282"/>
                    </a:cxn>
                    <a:cxn ang="0">
                      <a:pos x="32" y="270"/>
                    </a:cxn>
                    <a:cxn ang="0">
                      <a:pos x="14" y="230"/>
                    </a:cxn>
                    <a:cxn ang="0">
                      <a:pos x="6" y="200"/>
                    </a:cxn>
                    <a:cxn ang="0">
                      <a:pos x="2" y="182"/>
                    </a:cxn>
                    <a:cxn ang="0">
                      <a:pos x="56" y="178"/>
                    </a:cxn>
                    <a:cxn ang="0">
                      <a:pos x="130" y="172"/>
                    </a:cxn>
                    <a:cxn ang="0">
                      <a:pos x="164" y="178"/>
                    </a:cxn>
                    <a:cxn ang="0">
                      <a:pos x="182" y="166"/>
                    </a:cxn>
                    <a:cxn ang="0">
                      <a:pos x="196" y="126"/>
                    </a:cxn>
                    <a:cxn ang="0">
                      <a:pos x="236" y="88"/>
                    </a:cxn>
                    <a:cxn ang="0">
                      <a:pos x="260" y="64"/>
                    </a:cxn>
                    <a:cxn ang="0">
                      <a:pos x="300" y="8"/>
                    </a:cxn>
                    <a:cxn ang="0">
                      <a:pos x="354" y="46"/>
                    </a:cxn>
                    <a:cxn ang="0">
                      <a:pos x="412" y="112"/>
                    </a:cxn>
                    <a:cxn ang="0">
                      <a:pos x="490" y="150"/>
                    </a:cxn>
                    <a:cxn ang="0">
                      <a:pos x="548" y="154"/>
                    </a:cxn>
                    <a:cxn ang="0">
                      <a:pos x="568" y="172"/>
                    </a:cxn>
                    <a:cxn ang="0">
                      <a:pos x="584" y="206"/>
                    </a:cxn>
                    <a:cxn ang="0">
                      <a:pos x="622" y="256"/>
                    </a:cxn>
                    <a:cxn ang="0">
                      <a:pos x="604" y="280"/>
                    </a:cxn>
                  </a:cxnLst>
                  <a:rect l="0" t="0" r="r" b="b"/>
                  <a:pathLst>
                    <a:path w="622" h="594">
                      <a:moveTo>
                        <a:pt x="590" y="288"/>
                      </a:moveTo>
                      <a:lnTo>
                        <a:pt x="590" y="288"/>
                      </a:lnTo>
                      <a:lnTo>
                        <a:pt x="580" y="280"/>
                      </a:lnTo>
                      <a:lnTo>
                        <a:pt x="572" y="272"/>
                      </a:lnTo>
                      <a:lnTo>
                        <a:pt x="566" y="268"/>
                      </a:lnTo>
                      <a:lnTo>
                        <a:pt x="560" y="266"/>
                      </a:lnTo>
                      <a:lnTo>
                        <a:pt x="552" y="262"/>
                      </a:lnTo>
                      <a:lnTo>
                        <a:pt x="540" y="262"/>
                      </a:lnTo>
                      <a:lnTo>
                        <a:pt x="540" y="262"/>
                      </a:lnTo>
                      <a:lnTo>
                        <a:pt x="496" y="258"/>
                      </a:lnTo>
                      <a:lnTo>
                        <a:pt x="476" y="258"/>
                      </a:lnTo>
                      <a:lnTo>
                        <a:pt x="456" y="254"/>
                      </a:lnTo>
                      <a:lnTo>
                        <a:pt x="456" y="254"/>
                      </a:lnTo>
                      <a:lnTo>
                        <a:pt x="416" y="246"/>
                      </a:lnTo>
                      <a:lnTo>
                        <a:pt x="378" y="240"/>
                      </a:lnTo>
                      <a:lnTo>
                        <a:pt x="378" y="240"/>
                      </a:lnTo>
                      <a:lnTo>
                        <a:pt x="374" y="238"/>
                      </a:lnTo>
                      <a:lnTo>
                        <a:pt x="368" y="236"/>
                      </a:lnTo>
                      <a:lnTo>
                        <a:pt x="360" y="232"/>
                      </a:lnTo>
                      <a:lnTo>
                        <a:pt x="356" y="230"/>
                      </a:lnTo>
                      <a:lnTo>
                        <a:pt x="352" y="230"/>
                      </a:lnTo>
                      <a:lnTo>
                        <a:pt x="346" y="230"/>
                      </a:lnTo>
                      <a:lnTo>
                        <a:pt x="340" y="234"/>
                      </a:lnTo>
                      <a:lnTo>
                        <a:pt x="340" y="234"/>
                      </a:lnTo>
                      <a:lnTo>
                        <a:pt x="326" y="246"/>
                      </a:lnTo>
                      <a:lnTo>
                        <a:pt x="318" y="250"/>
                      </a:lnTo>
                      <a:lnTo>
                        <a:pt x="300" y="252"/>
                      </a:lnTo>
                      <a:lnTo>
                        <a:pt x="300" y="252"/>
                      </a:lnTo>
                      <a:lnTo>
                        <a:pt x="280" y="252"/>
                      </a:lnTo>
                      <a:lnTo>
                        <a:pt x="264" y="252"/>
                      </a:lnTo>
                      <a:lnTo>
                        <a:pt x="252" y="250"/>
                      </a:lnTo>
                      <a:lnTo>
                        <a:pt x="250" y="252"/>
                      </a:lnTo>
                      <a:lnTo>
                        <a:pt x="248" y="254"/>
                      </a:lnTo>
                      <a:lnTo>
                        <a:pt x="248" y="254"/>
                      </a:lnTo>
                      <a:lnTo>
                        <a:pt x="244" y="262"/>
                      </a:lnTo>
                      <a:lnTo>
                        <a:pt x="244" y="270"/>
                      </a:lnTo>
                      <a:lnTo>
                        <a:pt x="250" y="280"/>
                      </a:lnTo>
                      <a:lnTo>
                        <a:pt x="260" y="296"/>
                      </a:lnTo>
                      <a:lnTo>
                        <a:pt x="260" y="296"/>
                      </a:lnTo>
                      <a:lnTo>
                        <a:pt x="268" y="304"/>
                      </a:lnTo>
                      <a:lnTo>
                        <a:pt x="274" y="312"/>
                      </a:lnTo>
                      <a:lnTo>
                        <a:pt x="290" y="326"/>
                      </a:lnTo>
                      <a:lnTo>
                        <a:pt x="296" y="332"/>
                      </a:lnTo>
                      <a:lnTo>
                        <a:pt x="302" y="338"/>
                      </a:lnTo>
                      <a:lnTo>
                        <a:pt x="304" y="346"/>
                      </a:lnTo>
                      <a:lnTo>
                        <a:pt x="304" y="354"/>
                      </a:lnTo>
                      <a:lnTo>
                        <a:pt x="304" y="354"/>
                      </a:lnTo>
                      <a:lnTo>
                        <a:pt x="300" y="368"/>
                      </a:lnTo>
                      <a:lnTo>
                        <a:pt x="298" y="380"/>
                      </a:lnTo>
                      <a:lnTo>
                        <a:pt x="298" y="386"/>
                      </a:lnTo>
                      <a:lnTo>
                        <a:pt x="298" y="394"/>
                      </a:lnTo>
                      <a:lnTo>
                        <a:pt x="302" y="400"/>
                      </a:lnTo>
                      <a:lnTo>
                        <a:pt x="306" y="408"/>
                      </a:lnTo>
                      <a:lnTo>
                        <a:pt x="306" y="408"/>
                      </a:lnTo>
                      <a:lnTo>
                        <a:pt x="318" y="426"/>
                      </a:lnTo>
                      <a:lnTo>
                        <a:pt x="332" y="440"/>
                      </a:lnTo>
                      <a:lnTo>
                        <a:pt x="344" y="450"/>
                      </a:lnTo>
                      <a:lnTo>
                        <a:pt x="356" y="456"/>
                      </a:lnTo>
                      <a:lnTo>
                        <a:pt x="356" y="456"/>
                      </a:lnTo>
                      <a:lnTo>
                        <a:pt x="362" y="456"/>
                      </a:lnTo>
                      <a:lnTo>
                        <a:pt x="364" y="456"/>
                      </a:lnTo>
                      <a:lnTo>
                        <a:pt x="368" y="454"/>
                      </a:lnTo>
                      <a:lnTo>
                        <a:pt x="370" y="456"/>
                      </a:lnTo>
                      <a:lnTo>
                        <a:pt x="374" y="460"/>
                      </a:lnTo>
                      <a:lnTo>
                        <a:pt x="386" y="482"/>
                      </a:lnTo>
                      <a:lnTo>
                        <a:pt x="386" y="482"/>
                      </a:lnTo>
                      <a:lnTo>
                        <a:pt x="414" y="530"/>
                      </a:lnTo>
                      <a:lnTo>
                        <a:pt x="422" y="544"/>
                      </a:lnTo>
                      <a:lnTo>
                        <a:pt x="428" y="550"/>
                      </a:lnTo>
                      <a:lnTo>
                        <a:pt x="428" y="550"/>
                      </a:lnTo>
                      <a:lnTo>
                        <a:pt x="468" y="574"/>
                      </a:lnTo>
                      <a:lnTo>
                        <a:pt x="480" y="594"/>
                      </a:lnTo>
                      <a:lnTo>
                        <a:pt x="480" y="594"/>
                      </a:lnTo>
                      <a:lnTo>
                        <a:pt x="454" y="578"/>
                      </a:lnTo>
                      <a:lnTo>
                        <a:pt x="454" y="578"/>
                      </a:lnTo>
                      <a:lnTo>
                        <a:pt x="422" y="558"/>
                      </a:lnTo>
                      <a:lnTo>
                        <a:pt x="394" y="538"/>
                      </a:lnTo>
                      <a:lnTo>
                        <a:pt x="394" y="538"/>
                      </a:lnTo>
                      <a:lnTo>
                        <a:pt x="388" y="530"/>
                      </a:lnTo>
                      <a:lnTo>
                        <a:pt x="382" y="524"/>
                      </a:lnTo>
                      <a:lnTo>
                        <a:pt x="374" y="518"/>
                      </a:lnTo>
                      <a:lnTo>
                        <a:pt x="374" y="518"/>
                      </a:lnTo>
                      <a:lnTo>
                        <a:pt x="364" y="514"/>
                      </a:lnTo>
                      <a:lnTo>
                        <a:pt x="354" y="512"/>
                      </a:lnTo>
                      <a:lnTo>
                        <a:pt x="346" y="508"/>
                      </a:lnTo>
                      <a:lnTo>
                        <a:pt x="344" y="506"/>
                      </a:lnTo>
                      <a:lnTo>
                        <a:pt x="344" y="504"/>
                      </a:lnTo>
                      <a:lnTo>
                        <a:pt x="344" y="504"/>
                      </a:lnTo>
                      <a:lnTo>
                        <a:pt x="340" y="496"/>
                      </a:lnTo>
                      <a:lnTo>
                        <a:pt x="334" y="488"/>
                      </a:lnTo>
                      <a:lnTo>
                        <a:pt x="328" y="484"/>
                      </a:lnTo>
                      <a:lnTo>
                        <a:pt x="324" y="484"/>
                      </a:lnTo>
                      <a:lnTo>
                        <a:pt x="322" y="486"/>
                      </a:lnTo>
                      <a:lnTo>
                        <a:pt x="322" y="486"/>
                      </a:lnTo>
                      <a:lnTo>
                        <a:pt x="322" y="486"/>
                      </a:lnTo>
                      <a:lnTo>
                        <a:pt x="322" y="488"/>
                      </a:lnTo>
                      <a:lnTo>
                        <a:pt x="326" y="490"/>
                      </a:lnTo>
                      <a:lnTo>
                        <a:pt x="326" y="492"/>
                      </a:lnTo>
                      <a:lnTo>
                        <a:pt x="324" y="492"/>
                      </a:lnTo>
                      <a:lnTo>
                        <a:pt x="312" y="498"/>
                      </a:lnTo>
                      <a:lnTo>
                        <a:pt x="312" y="498"/>
                      </a:lnTo>
                      <a:lnTo>
                        <a:pt x="296" y="504"/>
                      </a:lnTo>
                      <a:lnTo>
                        <a:pt x="286" y="508"/>
                      </a:lnTo>
                      <a:lnTo>
                        <a:pt x="282" y="508"/>
                      </a:lnTo>
                      <a:lnTo>
                        <a:pt x="280" y="506"/>
                      </a:lnTo>
                      <a:lnTo>
                        <a:pt x="278" y="504"/>
                      </a:lnTo>
                      <a:lnTo>
                        <a:pt x="278" y="500"/>
                      </a:lnTo>
                      <a:lnTo>
                        <a:pt x="278" y="500"/>
                      </a:lnTo>
                      <a:lnTo>
                        <a:pt x="274" y="488"/>
                      </a:lnTo>
                      <a:lnTo>
                        <a:pt x="272" y="484"/>
                      </a:lnTo>
                      <a:lnTo>
                        <a:pt x="266" y="480"/>
                      </a:lnTo>
                      <a:lnTo>
                        <a:pt x="266" y="480"/>
                      </a:lnTo>
                      <a:lnTo>
                        <a:pt x="256" y="474"/>
                      </a:lnTo>
                      <a:lnTo>
                        <a:pt x="246" y="464"/>
                      </a:lnTo>
                      <a:lnTo>
                        <a:pt x="238" y="454"/>
                      </a:lnTo>
                      <a:lnTo>
                        <a:pt x="236" y="450"/>
                      </a:lnTo>
                      <a:lnTo>
                        <a:pt x="236" y="446"/>
                      </a:lnTo>
                      <a:lnTo>
                        <a:pt x="236" y="446"/>
                      </a:lnTo>
                      <a:lnTo>
                        <a:pt x="236" y="444"/>
                      </a:lnTo>
                      <a:lnTo>
                        <a:pt x="238" y="442"/>
                      </a:lnTo>
                      <a:lnTo>
                        <a:pt x="240" y="442"/>
                      </a:lnTo>
                      <a:lnTo>
                        <a:pt x="240" y="438"/>
                      </a:lnTo>
                      <a:lnTo>
                        <a:pt x="236" y="420"/>
                      </a:lnTo>
                      <a:lnTo>
                        <a:pt x="236" y="420"/>
                      </a:lnTo>
                      <a:lnTo>
                        <a:pt x="230" y="404"/>
                      </a:lnTo>
                      <a:lnTo>
                        <a:pt x="226" y="398"/>
                      </a:lnTo>
                      <a:lnTo>
                        <a:pt x="224" y="398"/>
                      </a:lnTo>
                      <a:lnTo>
                        <a:pt x="224" y="394"/>
                      </a:lnTo>
                      <a:lnTo>
                        <a:pt x="224" y="394"/>
                      </a:lnTo>
                      <a:lnTo>
                        <a:pt x="222" y="390"/>
                      </a:lnTo>
                      <a:lnTo>
                        <a:pt x="220" y="386"/>
                      </a:lnTo>
                      <a:lnTo>
                        <a:pt x="210" y="378"/>
                      </a:lnTo>
                      <a:lnTo>
                        <a:pt x="200" y="370"/>
                      </a:lnTo>
                      <a:lnTo>
                        <a:pt x="196" y="362"/>
                      </a:lnTo>
                      <a:lnTo>
                        <a:pt x="192" y="352"/>
                      </a:lnTo>
                      <a:lnTo>
                        <a:pt x="192" y="352"/>
                      </a:lnTo>
                      <a:lnTo>
                        <a:pt x="186" y="330"/>
                      </a:lnTo>
                      <a:lnTo>
                        <a:pt x="180" y="310"/>
                      </a:lnTo>
                      <a:lnTo>
                        <a:pt x="180" y="310"/>
                      </a:lnTo>
                      <a:lnTo>
                        <a:pt x="174" y="294"/>
                      </a:lnTo>
                      <a:lnTo>
                        <a:pt x="172" y="284"/>
                      </a:lnTo>
                      <a:lnTo>
                        <a:pt x="170" y="276"/>
                      </a:lnTo>
                      <a:lnTo>
                        <a:pt x="168" y="270"/>
                      </a:lnTo>
                      <a:lnTo>
                        <a:pt x="168" y="270"/>
                      </a:lnTo>
                      <a:lnTo>
                        <a:pt x="162" y="266"/>
                      </a:lnTo>
                      <a:lnTo>
                        <a:pt x="156" y="260"/>
                      </a:lnTo>
                      <a:lnTo>
                        <a:pt x="148" y="254"/>
                      </a:lnTo>
                      <a:lnTo>
                        <a:pt x="142" y="244"/>
                      </a:lnTo>
                      <a:lnTo>
                        <a:pt x="142" y="244"/>
                      </a:lnTo>
                      <a:lnTo>
                        <a:pt x="138" y="234"/>
                      </a:lnTo>
                      <a:lnTo>
                        <a:pt x="132" y="224"/>
                      </a:lnTo>
                      <a:lnTo>
                        <a:pt x="122" y="216"/>
                      </a:lnTo>
                      <a:lnTo>
                        <a:pt x="122" y="216"/>
                      </a:lnTo>
                      <a:lnTo>
                        <a:pt x="102" y="204"/>
                      </a:lnTo>
                      <a:lnTo>
                        <a:pt x="90" y="200"/>
                      </a:lnTo>
                      <a:lnTo>
                        <a:pt x="86" y="198"/>
                      </a:lnTo>
                      <a:lnTo>
                        <a:pt x="82" y="200"/>
                      </a:lnTo>
                      <a:lnTo>
                        <a:pt x="82" y="200"/>
                      </a:lnTo>
                      <a:lnTo>
                        <a:pt x="80" y="200"/>
                      </a:lnTo>
                      <a:lnTo>
                        <a:pt x="78" y="200"/>
                      </a:lnTo>
                      <a:lnTo>
                        <a:pt x="76" y="204"/>
                      </a:lnTo>
                      <a:lnTo>
                        <a:pt x="76" y="212"/>
                      </a:lnTo>
                      <a:lnTo>
                        <a:pt x="76" y="212"/>
                      </a:lnTo>
                      <a:lnTo>
                        <a:pt x="76" y="224"/>
                      </a:lnTo>
                      <a:lnTo>
                        <a:pt x="76" y="230"/>
                      </a:lnTo>
                      <a:lnTo>
                        <a:pt x="78" y="236"/>
                      </a:lnTo>
                      <a:lnTo>
                        <a:pt x="78" y="236"/>
                      </a:lnTo>
                      <a:lnTo>
                        <a:pt x="80" y="248"/>
                      </a:lnTo>
                      <a:lnTo>
                        <a:pt x="78" y="258"/>
                      </a:lnTo>
                      <a:lnTo>
                        <a:pt x="76" y="264"/>
                      </a:lnTo>
                      <a:lnTo>
                        <a:pt x="72" y="266"/>
                      </a:lnTo>
                      <a:lnTo>
                        <a:pt x="72" y="266"/>
                      </a:lnTo>
                      <a:lnTo>
                        <a:pt x="64" y="272"/>
                      </a:lnTo>
                      <a:lnTo>
                        <a:pt x="58" y="280"/>
                      </a:lnTo>
                      <a:lnTo>
                        <a:pt x="56" y="282"/>
                      </a:lnTo>
                      <a:lnTo>
                        <a:pt x="52" y="282"/>
                      </a:lnTo>
                      <a:lnTo>
                        <a:pt x="48" y="280"/>
                      </a:lnTo>
                      <a:lnTo>
                        <a:pt x="42" y="276"/>
                      </a:lnTo>
                      <a:lnTo>
                        <a:pt x="42" y="276"/>
                      </a:lnTo>
                      <a:lnTo>
                        <a:pt x="32" y="270"/>
                      </a:lnTo>
                      <a:lnTo>
                        <a:pt x="26" y="266"/>
                      </a:lnTo>
                      <a:lnTo>
                        <a:pt x="22" y="260"/>
                      </a:lnTo>
                      <a:lnTo>
                        <a:pt x="18" y="246"/>
                      </a:lnTo>
                      <a:lnTo>
                        <a:pt x="18" y="246"/>
                      </a:lnTo>
                      <a:lnTo>
                        <a:pt x="14" y="230"/>
                      </a:lnTo>
                      <a:lnTo>
                        <a:pt x="12" y="224"/>
                      </a:lnTo>
                      <a:lnTo>
                        <a:pt x="10" y="220"/>
                      </a:lnTo>
                      <a:lnTo>
                        <a:pt x="8" y="210"/>
                      </a:lnTo>
                      <a:lnTo>
                        <a:pt x="8" y="210"/>
                      </a:lnTo>
                      <a:lnTo>
                        <a:pt x="6" y="200"/>
                      </a:lnTo>
                      <a:lnTo>
                        <a:pt x="2" y="194"/>
                      </a:lnTo>
                      <a:lnTo>
                        <a:pt x="0" y="188"/>
                      </a:lnTo>
                      <a:lnTo>
                        <a:pt x="0" y="184"/>
                      </a:lnTo>
                      <a:lnTo>
                        <a:pt x="2" y="182"/>
                      </a:lnTo>
                      <a:lnTo>
                        <a:pt x="2" y="182"/>
                      </a:lnTo>
                      <a:lnTo>
                        <a:pt x="10" y="176"/>
                      </a:lnTo>
                      <a:lnTo>
                        <a:pt x="16" y="176"/>
                      </a:lnTo>
                      <a:lnTo>
                        <a:pt x="28" y="178"/>
                      </a:lnTo>
                      <a:lnTo>
                        <a:pt x="28" y="178"/>
                      </a:lnTo>
                      <a:lnTo>
                        <a:pt x="56" y="178"/>
                      </a:lnTo>
                      <a:lnTo>
                        <a:pt x="82" y="180"/>
                      </a:lnTo>
                      <a:lnTo>
                        <a:pt x="112" y="164"/>
                      </a:lnTo>
                      <a:lnTo>
                        <a:pt x="112" y="164"/>
                      </a:lnTo>
                      <a:lnTo>
                        <a:pt x="122" y="168"/>
                      </a:lnTo>
                      <a:lnTo>
                        <a:pt x="130" y="172"/>
                      </a:lnTo>
                      <a:lnTo>
                        <a:pt x="136" y="176"/>
                      </a:lnTo>
                      <a:lnTo>
                        <a:pt x="136" y="176"/>
                      </a:lnTo>
                      <a:lnTo>
                        <a:pt x="142" y="178"/>
                      </a:lnTo>
                      <a:lnTo>
                        <a:pt x="148" y="180"/>
                      </a:lnTo>
                      <a:lnTo>
                        <a:pt x="164" y="178"/>
                      </a:lnTo>
                      <a:lnTo>
                        <a:pt x="164" y="178"/>
                      </a:lnTo>
                      <a:lnTo>
                        <a:pt x="172" y="174"/>
                      </a:lnTo>
                      <a:lnTo>
                        <a:pt x="178" y="170"/>
                      </a:lnTo>
                      <a:lnTo>
                        <a:pt x="182" y="166"/>
                      </a:lnTo>
                      <a:lnTo>
                        <a:pt x="182" y="166"/>
                      </a:lnTo>
                      <a:lnTo>
                        <a:pt x="184" y="156"/>
                      </a:lnTo>
                      <a:lnTo>
                        <a:pt x="186" y="150"/>
                      </a:lnTo>
                      <a:lnTo>
                        <a:pt x="188" y="144"/>
                      </a:lnTo>
                      <a:lnTo>
                        <a:pt x="188" y="144"/>
                      </a:lnTo>
                      <a:lnTo>
                        <a:pt x="196" y="126"/>
                      </a:lnTo>
                      <a:lnTo>
                        <a:pt x="204" y="110"/>
                      </a:lnTo>
                      <a:lnTo>
                        <a:pt x="204" y="110"/>
                      </a:lnTo>
                      <a:lnTo>
                        <a:pt x="210" y="104"/>
                      </a:lnTo>
                      <a:lnTo>
                        <a:pt x="222" y="96"/>
                      </a:lnTo>
                      <a:lnTo>
                        <a:pt x="236" y="88"/>
                      </a:lnTo>
                      <a:lnTo>
                        <a:pt x="244" y="84"/>
                      </a:lnTo>
                      <a:lnTo>
                        <a:pt x="244" y="84"/>
                      </a:lnTo>
                      <a:lnTo>
                        <a:pt x="248" y="80"/>
                      </a:lnTo>
                      <a:lnTo>
                        <a:pt x="252" y="76"/>
                      </a:lnTo>
                      <a:lnTo>
                        <a:pt x="260" y="64"/>
                      </a:lnTo>
                      <a:lnTo>
                        <a:pt x="272" y="46"/>
                      </a:lnTo>
                      <a:lnTo>
                        <a:pt x="256" y="8"/>
                      </a:lnTo>
                      <a:lnTo>
                        <a:pt x="290" y="0"/>
                      </a:lnTo>
                      <a:lnTo>
                        <a:pt x="290" y="0"/>
                      </a:lnTo>
                      <a:lnTo>
                        <a:pt x="300" y="8"/>
                      </a:lnTo>
                      <a:lnTo>
                        <a:pt x="310" y="16"/>
                      </a:lnTo>
                      <a:lnTo>
                        <a:pt x="324" y="24"/>
                      </a:lnTo>
                      <a:lnTo>
                        <a:pt x="324" y="24"/>
                      </a:lnTo>
                      <a:lnTo>
                        <a:pt x="340" y="34"/>
                      </a:lnTo>
                      <a:lnTo>
                        <a:pt x="354" y="46"/>
                      </a:lnTo>
                      <a:lnTo>
                        <a:pt x="370" y="58"/>
                      </a:lnTo>
                      <a:lnTo>
                        <a:pt x="382" y="74"/>
                      </a:lnTo>
                      <a:lnTo>
                        <a:pt x="382" y="74"/>
                      </a:lnTo>
                      <a:lnTo>
                        <a:pt x="396" y="92"/>
                      </a:lnTo>
                      <a:lnTo>
                        <a:pt x="412" y="112"/>
                      </a:lnTo>
                      <a:lnTo>
                        <a:pt x="428" y="128"/>
                      </a:lnTo>
                      <a:lnTo>
                        <a:pt x="436" y="132"/>
                      </a:lnTo>
                      <a:lnTo>
                        <a:pt x="442" y="136"/>
                      </a:lnTo>
                      <a:lnTo>
                        <a:pt x="442" y="136"/>
                      </a:lnTo>
                      <a:lnTo>
                        <a:pt x="490" y="150"/>
                      </a:lnTo>
                      <a:lnTo>
                        <a:pt x="518" y="156"/>
                      </a:lnTo>
                      <a:lnTo>
                        <a:pt x="528" y="158"/>
                      </a:lnTo>
                      <a:lnTo>
                        <a:pt x="536" y="158"/>
                      </a:lnTo>
                      <a:lnTo>
                        <a:pt x="536" y="158"/>
                      </a:lnTo>
                      <a:lnTo>
                        <a:pt x="548" y="154"/>
                      </a:lnTo>
                      <a:lnTo>
                        <a:pt x="560" y="150"/>
                      </a:lnTo>
                      <a:lnTo>
                        <a:pt x="576" y="144"/>
                      </a:lnTo>
                      <a:lnTo>
                        <a:pt x="576" y="144"/>
                      </a:lnTo>
                      <a:lnTo>
                        <a:pt x="570" y="158"/>
                      </a:lnTo>
                      <a:lnTo>
                        <a:pt x="568" y="172"/>
                      </a:lnTo>
                      <a:lnTo>
                        <a:pt x="568" y="178"/>
                      </a:lnTo>
                      <a:lnTo>
                        <a:pt x="570" y="184"/>
                      </a:lnTo>
                      <a:lnTo>
                        <a:pt x="570" y="184"/>
                      </a:lnTo>
                      <a:lnTo>
                        <a:pt x="576" y="196"/>
                      </a:lnTo>
                      <a:lnTo>
                        <a:pt x="584" y="206"/>
                      </a:lnTo>
                      <a:lnTo>
                        <a:pt x="598" y="224"/>
                      </a:lnTo>
                      <a:lnTo>
                        <a:pt x="598" y="224"/>
                      </a:lnTo>
                      <a:lnTo>
                        <a:pt x="614" y="244"/>
                      </a:lnTo>
                      <a:lnTo>
                        <a:pt x="622" y="256"/>
                      </a:lnTo>
                      <a:lnTo>
                        <a:pt x="622" y="256"/>
                      </a:lnTo>
                      <a:lnTo>
                        <a:pt x="618" y="264"/>
                      </a:lnTo>
                      <a:lnTo>
                        <a:pt x="614" y="272"/>
                      </a:lnTo>
                      <a:lnTo>
                        <a:pt x="608" y="276"/>
                      </a:lnTo>
                      <a:lnTo>
                        <a:pt x="608" y="276"/>
                      </a:lnTo>
                      <a:lnTo>
                        <a:pt x="604" y="280"/>
                      </a:lnTo>
                      <a:lnTo>
                        <a:pt x="600" y="286"/>
                      </a:lnTo>
                      <a:lnTo>
                        <a:pt x="594" y="292"/>
                      </a:lnTo>
                      <a:lnTo>
                        <a:pt x="590" y="28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69" name="Freeform 83">
                  <a:extLst>
                    <a:ext uri="{FF2B5EF4-FFF2-40B4-BE49-F238E27FC236}">
                      <a16:creationId xmlns:a16="http://schemas.microsoft.com/office/drawing/2014/main" id="{3F3AAFE9-F8D5-4882-B21A-87F88044E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4725" y="5378656"/>
                  <a:ext cx="48776" cy="4420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8" y="0"/>
                    </a:cxn>
                    <a:cxn ang="0">
                      <a:pos x="14" y="2"/>
                    </a:cxn>
                    <a:cxn ang="0">
                      <a:pos x="18" y="4"/>
                    </a:cxn>
                    <a:cxn ang="0">
                      <a:pos x="18" y="4"/>
                    </a:cxn>
                    <a:cxn ang="0">
                      <a:pos x="30" y="16"/>
                    </a:cxn>
                    <a:cxn ang="0">
                      <a:pos x="36" y="22"/>
                    </a:cxn>
                    <a:cxn ang="0">
                      <a:pos x="60" y="36"/>
                    </a:cxn>
                    <a:cxn ang="0">
                      <a:pos x="64" y="58"/>
                    </a:cxn>
                    <a:cxn ang="0">
                      <a:pos x="64" y="58"/>
                    </a:cxn>
                    <a:cxn ang="0">
                      <a:pos x="44" y="44"/>
                    </a:cxn>
                    <a:cxn ang="0">
                      <a:pos x="44" y="44"/>
                    </a:cxn>
                    <a:cxn ang="0">
                      <a:pos x="34" y="36"/>
                    </a:cxn>
                    <a:cxn ang="0">
                      <a:pos x="18" y="24"/>
                    </a:cxn>
                    <a:cxn ang="0">
                      <a:pos x="2" y="10"/>
                    </a:cxn>
                    <a:cxn ang="0">
                      <a:pos x="0" y="4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4" h="5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4" y="2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30" y="16"/>
                      </a:lnTo>
                      <a:lnTo>
                        <a:pt x="36" y="22"/>
                      </a:lnTo>
                      <a:lnTo>
                        <a:pt x="60" y="36"/>
                      </a:lnTo>
                      <a:lnTo>
                        <a:pt x="64" y="58"/>
                      </a:lnTo>
                      <a:lnTo>
                        <a:pt x="64" y="58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34" y="36"/>
                      </a:lnTo>
                      <a:lnTo>
                        <a:pt x="18" y="24"/>
                      </a:lnTo>
                      <a:lnTo>
                        <a:pt x="2" y="10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0" name="Freeform 84">
                  <a:extLst>
                    <a:ext uri="{FF2B5EF4-FFF2-40B4-BE49-F238E27FC236}">
                      <a16:creationId xmlns:a16="http://schemas.microsoft.com/office/drawing/2014/main" id="{3A13AA07-1668-426E-96F0-C9D0EA8AB6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6756" y="5076852"/>
                  <a:ext cx="326192" cy="329241"/>
                </a:xfrm>
                <a:custGeom>
                  <a:avLst/>
                  <a:gdLst/>
                  <a:ahLst/>
                  <a:cxnLst>
                    <a:cxn ang="0">
                      <a:pos x="392" y="312"/>
                    </a:cxn>
                    <a:cxn ang="0">
                      <a:pos x="390" y="294"/>
                    </a:cxn>
                    <a:cxn ang="0">
                      <a:pos x="400" y="278"/>
                    </a:cxn>
                    <a:cxn ang="0">
                      <a:pos x="428" y="230"/>
                    </a:cxn>
                    <a:cxn ang="0">
                      <a:pos x="426" y="216"/>
                    </a:cxn>
                    <a:cxn ang="0">
                      <a:pos x="424" y="200"/>
                    </a:cxn>
                    <a:cxn ang="0">
                      <a:pos x="416" y="200"/>
                    </a:cxn>
                    <a:cxn ang="0">
                      <a:pos x="408" y="190"/>
                    </a:cxn>
                    <a:cxn ang="0">
                      <a:pos x="390" y="160"/>
                    </a:cxn>
                    <a:cxn ang="0">
                      <a:pos x="384" y="140"/>
                    </a:cxn>
                    <a:cxn ang="0">
                      <a:pos x="384" y="122"/>
                    </a:cxn>
                    <a:cxn ang="0">
                      <a:pos x="394" y="88"/>
                    </a:cxn>
                    <a:cxn ang="0">
                      <a:pos x="382" y="74"/>
                    </a:cxn>
                    <a:cxn ang="0">
                      <a:pos x="364" y="72"/>
                    </a:cxn>
                    <a:cxn ang="0">
                      <a:pos x="354" y="70"/>
                    </a:cxn>
                    <a:cxn ang="0">
                      <a:pos x="352" y="58"/>
                    </a:cxn>
                    <a:cxn ang="0">
                      <a:pos x="316" y="34"/>
                    </a:cxn>
                    <a:cxn ang="0">
                      <a:pos x="268" y="30"/>
                    </a:cxn>
                    <a:cxn ang="0">
                      <a:pos x="214" y="22"/>
                    </a:cxn>
                    <a:cxn ang="0">
                      <a:pos x="126" y="6"/>
                    </a:cxn>
                    <a:cxn ang="0">
                      <a:pos x="114" y="0"/>
                    </a:cxn>
                    <a:cxn ang="0">
                      <a:pos x="100" y="4"/>
                    </a:cxn>
                    <a:cxn ang="0">
                      <a:pos x="78" y="20"/>
                    </a:cxn>
                    <a:cxn ang="0">
                      <a:pos x="28" y="20"/>
                    </a:cxn>
                    <a:cxn ang="0">
                      <a:pos x="6" y="18"/>
                    </a:cxn>
                    <a:cxn ang="0">
                      <a:pos x="0" y="26"/>
                    </a:cxn>
                    <a:cxn ang="0">
                      <a:pos x="4" y="48"/>
                    </a:cxn>
                    <a:cxn ang="0">
                      <a:pos x="18" y="70"/>
                    </a:cxn>
                    <a:cxn ang="0">
                      <a:pos x="56" y="108"/>
                    </a:cxn>
                    <a:cxn ang="0">
                      <a:pos x="60" y="124"/>
                    </a:cxn>
                    <a:cxn ang="0">
                      <a:pos x="54" y="152"/>
                    </a:cxn>
                    <a:cxn ang="0">
                      <a:pos x="60" y="174"/>
                    </a:cxn>
                    <a:cxn ang="0">
                      <a:pos x="80" y="204"/>
                    </a:cxn>
                    <a:cxn ang="0">
                      <a:pos x="110" y="224"/>
                    </a:cxn>
                    <a:cxn ang="0">
                      <a:pos x="122" y="226"/>
                    </a:cxn>
                    <a:cxn ang="0">
                      <a:pos x="130" y="234"/>
                    </a:cxn>
                    <a:cxn ang="0">
                      <a:pos x="162" y="290"/>
                    </a:cxn>
                    <a:cxn ang="0">
                      <a:pos x="178" y="314"/>
                    </a:cxn>
                    <a:cxn ang="0">
                      <a:pos x="240" y="370"/>
                    </a:cxn>
                    <a:cxn ang="0">
                      <a:pos x="250" y="382"/>
                    </a:cxn>
                    <a:cxn ang="0">
                      <a:pos x="268" y="392"/>
                    </a:cxn>
                    <a:cxn ang="0">
                      <a:pos x="288" y="398"/>
                    </a:cxn>
                    <a:cxn ang="0">
                      <a:pos x="300" y="398"/>
                    </a:cxn>
                    <a:cxn ang="0">
                      <a:pos x="332" y="386"/>
                    </a:cxn>
                    <a:cxn ang="0">
                      <a:pos x="350" y="362"/>
                    </a:cxn>
                    <a:cxn ang="0">
                      <a:pos x="344" y="348"/>
                    </a:cxn>
                    <a:cxn ang="0">
                      <a:pos x="358" y="326"/>
                    </a:cxn>
                  </a:cxnLst>
                  <a:rect l="0" t="0" r="r" b="b"/>
                  <a:pathLst>
                    <a:path w="428" h="432">
                      <a:moveTo>
                        <a:pt x="392" y="314"/>
                      </a:moveTo>
                      <a:lnTo>
                        <a:pt x="392" y="314"/>
                      </a:lnTo>
                      <a:lnTo>
                        <a:pt x="392" y="312"/>
                      </a:lnTo>
                      <a:lnTo>
                        <a:pt x="390" y="306"/>
                      </a:lnTo>
                      <a:lnTo>
                        <a:pt x="390" y="300"/>
                      </a:lnTo>
                      <a:lnTo>
                        <a:pt x="390" y="294"/>
                      </a:lnTo>
                      <a:lnTo>
                        <a:pt x="394" y="286"/>
                      </a:lnTo>
                      <a:lnTo>
                        <a:pt x="400" y="278"/>
                      </a:lnTo>
                      <a:lnTo>
                        <a:pt x="400" y="278"/>
                      </a:lnTo>
                      <a:lnTo>
                        <a:pt x="422" y="246"/>
                      </a:lnTo>
                      <a:lnTo>
                        <a:pt x="428" y="236"/>
                      </a:lnTo>
                      <a:lnTo>
                        <a:pt x="428" y="230"/>
                      </a:lnTo>
                      <a:lnTo>
                        <a:pt x="428" y="226"/>
                      </a:lnTo>
                      <a:lnTo>
                        <a:pt x="428" y="226"/>
                      </a:lnTo>
                      <a:lnTo>
                        <a:pt x="426" y="216"/>
                      </a:lnTo>
                      <a:lnTo>
                        <a:pt x="426" y="208"/>
                      </a:lnTo>
                      <a:lnTo>
                        <a:pt x="426" y="204"/>
                      </a:lnTo>
                      <a:lnTo>
                        <a:pt x="424" y="200"/>
                      </a:lnTo>
                      <a:lnTo>
                        <a:pt x="424" y="200"/>
                      </a:lnTo>
                      <a:lnTo>
                        <a:pt x="420" y="198"/>
                      </a:lnTo>
                      <a:lnTo>
                        <a:pt x="416" y="200"/>
                      </a:lnTo>
                      <a:lnTo>
                        <a:pt x="412" y="198"/>
                      </a:lnTo>
                      <a:lnTo>
                        <a:pt x="408" y="190"/>
                      </a:lnTo>
                      <a:lnTo>
                        <a:pt x="408" y="190"/>
                      </a:lnTo>
                      <a:lnTo>
                        <a:pt x="402" y="178"/>
                      </a:lnTo>
                      <a:lnTo>
                        <a:pt x="396" y="168"/>
                      </a:lnTo>
                      <a:lnTo>
                        <a:pt x="390" y="160"/>
                      </a:lnTo>
                      <a:lnTo>
                        <a:pt x="388" y="154"/>
                      </a:lnTo>
                      <a:lnTo>
                        <a:pt x="388" y="154"/>
                      </a:lnTo>
                      <a:lnTo>
                        <a:pt x="384" y="140"/>
                      </a:lnTo>
                      <a:lnTo>
                        <a:pt x="384" y="132"/>
                      </a:lnTo>
                      <a:lnTo>
                        <a:pt x="384" y="122"/>
                      </a:lnTo>
                      <a:lnTo>
                        <a:pt x="384" y="122"/>
                      </a:lnTo>
                      <a:lnTo>
                        <a:pt x="386" y="110"/>
                      </a:lnTo>
                      <a:lnTo>
                        <a:pt x="390" y="100"/>
                      </a:lnTo>
                      <a:lnTo>
                        <a:pt x="394" y="88"/>
                      </a:lnTo>
                      <a:lnTo>
                        <a:pt x="394" y="88"/>
                      </a:lnTo>
                      <a:lnTo>
                        <a:pt x="388" y="80"/>
                      </a:lnTo>
                      <a:lnTo>
                        <a:pt x="382" y="74"/>
                      </a:lnTo>
                      <a:lnTo>
                        <a:pt x="376" y="70"/>
                      </a:lnTo>
                      <a:lnTo>
                        <a:pt x="376" y="70"/>
                      </a:lnTo>
                      <a:lnTo>
                        <a:pt x="364" y="72"/>
                      </a:lnTo>
                      <a:lnTo>
                        <a:pt x="358" y="72"/>
                      </a:lnTo>
                      <a:lnTo>
                        <a:pt x="354" y="72"/>
                      </a:lnTo>
                      <a:lnTo>
                        <a:pt x="354" y="70"/>
                      </a:lnTo>
                      <a:lnTo>
                        <a:pt x="354" y="70"/>
                      </a:lnTo>
                      <a:lnTo>
                        <a:pt x="352" y="60"/>
                      </a:lnTo>
                      <a:lnTo>
                        <a:pt x="352" y="58"/>
                      </a:lnTo>
                      <a:lnTo>
                        <a:pt x="352" y="58"/>
                      </a:lnTo>
                      <a:lnTo>
                        <a:pt x="316" y="34"/>
                      </a:lnTo>
                      <a:lnTo>
                        <a:pt x="316" y="34"/>
                      </a:lnTo>
                      <a:lnTo>
                        <a:pt x="308" y="32"/>
                      </a:lnTo>
                      <a:lnTo>
                        <a:pt x="296" y="30"/>
                      </a:lnTo>
                      <a:lnTo>
                        <a:pt x="268" y="30"/>
                      </a:lnTo>
                      <a:lnTo>
                        <a:pt x="268" y="30"/>
                      </a:lnTo>
                      <a:lnTo>
                        <a:pt x="246" y="28"/>
                      </a:lnTo>
                      <a:lnTo>
                        <a:pt x="214" y="22"/>
                      </a:lnTo>
                      <a:lnTo>
                        <a:pt x="166" y="14"/>
                      </a:lnTo>
                      <a:lnTo>
                        <a:pt x="166" y="14"/>
                      </a:lnTo>
                      <a:lnTo>
                        <a:pt x="126" y="6"/>
                      </a:lnTo>
                      <a:lnTo>
                        <a:pt x="126" y="6"/>
                      </a:lnTo>
                      <a:lnTo>
                        <a:pt x="120" y="2"/>
                      </a:lnTo>
                      <a:lnTo>
                        <a:pt x="114" y="0"/>
                      </a:lnTo>
                      <a:lnTo>
                        <a:pt x="106" y="0"/>
                      </a:lnTo>
                      <a:lnTo>
                        <a:pt x="106" y="0"/>
                      </a:lnTo>
                      <a:lnTo>
                        <a:pt x="100" y="4"/>
                      </a:lnTo>
                      <a:lnTo>
                        <a:pt x="92" y="10"/>
                      </a:lnTo>
                      <a:lnTo>
                        <a:pt x="78" y="20"/>
                      </a:lnTo>
                      <a:lnTo>
                        <a:pt x="78" y="20"/>
                      </a:lnTo>
                      <a:lnTo>
                        <a:pt x="70" y="22"/>
                      </a:lnTo>
                      <a:lnTo>
                        <a:pt x="56" y="22"/>
                      </a:lnTo>
                      <a:lnTo>
                        <a:pt x="28" y="20"/>
                      </a:lnTo>
                      <a:lnTo>
                        <a:pt x="28" y="20"/>
                      </a:lnTo>
                      <a:lnTo>
                        <a:pt x="16" y="20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0" y="26"/>
                      </a:lnTo>
                      <a:lnTo>
                        <a:pt x="0" y="26"/>
                      </a:lnTo>
                      <a:lnTo>
                        <a:pt x="0" y="36"/>
                      </a:lnTo>
                      <a:lnTo>
                        <a:pt x="4" y="48"/>
                      </a:lnTo>
                      <a:lnTo>
                        <a:pt x="10" y="60"/>
                      </a:lnTo>
                      <a:lnTo>
                        <a:pt x="18" y="70"/>
                      </a:lnTo>
                      <a:lnTo>
                        <a:pt x="18" y="70"/>
                      </a:lnTo>
                      <a:lnTo>
                        <a:pt x="40" y="90"/>
                      </a:lnTo>
                      <a:lnTo>
                        <a:pt x="50" y="100"/>
                      </a:lnTo>
                      <a:lnTo>
                        <a:pt x="56" y="108"/>
                      </a:lnTo>
                      <a:lnTo>
                        <a:pt x="56" y="108"/>
                      </a:lnTo>
                      <a:lnTo>
                        <a:pt x="58" y="118"/>
                      </a:lnTo>
                      <a:lnTo>
                        <a:pt x="60" y="124"/>
                      </a:lnTo>
                      <a:lnTo>
                        <a:pt x="60" y="124"/>
                      </a:lnTo>
                      <a:lnTo>
                        <a:pt x="56" y="134"/>
                      </a:lnTo>
                      <a:lnTo>
                        <a:pt x="54" y="152"/>
                      </a:lnTo>
                      <a:lnTo>
                        <a:pt x="54" y="152"/>
                      </a:lnTo>
                      <a:lnTo>
                        <a:pt x="54" y="162"/>
                      </a:lnTo>
                      <a:lnTo>
                        <a:pt x="60" y="174"/>
                      </a:lnTo>
                      <a:lnTo>
                        <a:pt x="70" y="190"/>
                      </a:lnTo>
                      <a:lnTo>
                        <a:pt x="80" y="204"/>
                      </a:lnTo>
                      <a:lnTo>
                        <a:pt x="80" y="204"/>
                      </a:lnTo>
                      <a:lnTo>
                        <a:pt x="88" y="212"/>
                      </a:lnTo>
                      <a:lnTo>
                        <a:pt x="96" y="218"/>
                      </a:lnTo>
                      <a:lnTo>
                        <a:pt x="110" y="224"/>
                      </a:lnTo>
                      <a:lnTo>
                        <a:pt x="120" y="226"/>
                      </a:lnTo>
                      <a:lnTo>
                        <a:pt x="122" y="226"/>
                      </a:lnTo>
                      <a:lnTo>
                        <a:pt x="122" y="226"/>
                      </a:lnTo>
                      <a:lnTo>
                        <a:pt x="126" y="228"/>
                      </a:lnTo>
                      <a:lnTo>
                        <a:pt x="130" y="234"/>
                      </a:lnTo>
                      <a:lnTo>
                        <a:pt x="130" y="234"/>
                      </a:lnTo>
                      <a:lnTo>
                        <a:pt x="144" y="258"/>
                      </a:lnTo>
                      <a:lnTo>
                        <a:pt x="154" y="274"/>
                      </a:lnTo>
                      <a:lnTo>
                        <a:pt x="162" y="290"/>
                      </a:lnTo>
                      <a:lnTo>
                        <a:pt x="162" y="290"/>
                      </a:lnTo>
                      <a:lnTo>
                        <a:pt x="170" y="304"/>
                      </a:lnTo>
                      <a:lnTo>
                        <a:pt x="178" y="314"/>
                      </a:lnTo>
                      <a:lnTo>
                        <a:pt x="190" y="324"/>
                      </a:lnTo>
                      <a:lnTo>
                        <a:pt x="224" y="344"/>
                      </a:lnTo>
                      <a:lnTo>
                        <a:pt x="240" y="370"/>
                      </a:lnTo>
                      <a:lnTo>
                        <a:pt x="240" y="370"/>
                      </a:lnTo>
                      <a:lnTo>
                        <a:pt x="246" y="378"/>
                      </a:lnTo>
                      <a:lnTo>
                        <a:pt x="250" y="382"/>
                      </a:lnTo>
                      <a:lnTo>
                        <a:pt x="254" y="386"/>
                      </a:lnTo>
                      <a:lnTo>
                        <a:pt x="254" y="386"/>
                      </a:lnTo>
                      <a:lnTo>
                        <a:pt x="268" y="392"/>
                      </a:lnTo>
                      <a:lnTo>
                        <a:pt x="280" y="400"/>
                      </a:lnTo>
                      <a:lnTo>
                        <a:pt x="280" y="400"/>
                      </a:lnTo>
                      <a:lnTo>
                        <a:pt x="288" y="398"/>
                      </a:lnTo>
                      <a:lnTo>
                        <a:pt x="296" y="396"/>
                      </a:lnTo>
                      <a:lnTo>
                        <a:pt x="300" y="398"/>
                      </a:lnTo>
                      <a:lnTo>
                        <a:pt x="300" y="398"/>
                      </a:lnTo>
                      <a:lnTo>
                        <a:pt x="346" y="432"/>
                      </a:lnTo>
                      <a:lnTo>
                        <a:pt x="332" y="386"/>
                      </a:lnTo>
                      <a:lnTo>
                        <a:pt x="332" y="386"/>
                      </a:lnTo>
                      <a:lnTo>
                        <a:pt x="344" y="374"/>
                      </a:lnTo>
                      <a:lnTo>
                        <a:pt x="350" y="366"/>
                      </a:lnTo>
                      <a:lnTo>
                        <a:pt x="350" y="362"/>
                      </a:lnTo>
                      <a:lnTo>
                        <a:pt x="350" y="358"/>
                      </a:lnTo>
                      <a:lnTo>
                        <a:pt x="350" y="358"/>
                      </a:lnTo>
                      <a:lnTo>
                        <a:pt x="344" y="348"/>
                      </a:lnTo>
                      <a:lnTo>
                        <a:pt x="338" y="336"/>
                      </a:lnTo>
                      <a:lnTo>
                        <a:pt x="332" y="320"/>
                      </a:lnTo>
                      <a:lnTo>
                        <a:pt x="358" y="326"/>
                      </a:lnTo>
                      <a:lnTo>
                        <a:pt x="392" y="31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1" name="Freeform 85">
                  <a:extLst>
                    <a:ext uri="{FF2B5EF4-FFF2-40B4-BE49-F238E27FC236}">
                      <a16:creationId xmlns:a16="http://schemas.microsoft.com/office/drawing/2014/main" id="{45797E91-F2D9-4D8F-A57B-024D406EE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1239" y="5398473"/>
                  <a:ext cx="155475" cy="373444"/>
                </a:xfrm>
                <a:custGeom>
                  <a:avLst/>
                  <a:gdLst/>
                  <a:ahLst/>
                  <a:cxnLst>
                    <a:cxn ang="0">
                      <a:pos x="2" y="102"/>
                    </a:cxn>
                    <a:cxn ang="0">
                      <a:pos x="10" y="98"/>
                    </a:cxn>
                    <a:cxn ang="0">
                      <a:pos x="16" y="102"/>
                    </a:cxn>
                    <a:cxn ang="0">
                      <a:pos x="22" y="116"/>
                    </a:cxn>
                    <a:cxn ang="0">
                      <a:pos x="26" y="124"/>
                    </a:cxn>
                    <a:cxn ang="0">
                      <a:pos x="34" y="136"/>
                    </a:cxn>
                    <a:cxn ang="0">
                      <a:pos x="34" y="144"/>
                    </a:cxn>
                    <a:cxn ang="0">
                      <a:pos x="30" y="166"/>
                    </a:cxn>
                    <a:cxn ang="0">
                      <a:pos x="28" y="194"/>
                    </a:cxn>
                    <a:cxn ang="0">
                      <a:pos x="30" y="214"/>
                    </a:cxn>
                    <a:cxn ang="0">
                      <a:pos x="36" y="244"/>
                    </a:cxn>
                    <a:cxn ang="0">
                      <a:pos x="34" y="256"/>
                    </a:cxn>
                    <a:cxn ang="0">
                      <a:pos x="26" y="294"/>
                    </a:cxn>
                    <a:cxn ang="0">
                      <a:pos x="26" y="320"/>
                    </a:cxn>
                    <a:cxn ang="0">
                      <a:pos x="26" y="328"/>
                    </a:cxn>
                    <a:cxn ang="0">
                      <a:pos x="22" y="350"/>
                    </a:cxn>
                    <a:cxn ang="0">
                      <a:pos x="24" y="362"/>
                    </a:cxn>
                    <a:cxn ang="0">
                      <a:pos x="38" y="372"/>
                    </a:cxn>
                    <a:cxn ang="0">
                      <a:pos x="58" y="378"/>
                    </a:cxn>
                    <a:cxn ang="0">
                      <a:pos x="80" y="390"/>
                    </a:cxn>
                    <a:cxn ang="0">
                      <a:pos x="86" y="398"/>
                    </a:cxn>
                    <a:cxn ang="0">
                      <a:pos x="104" y="422"/>
                    </a:cxn>
                    <a:cxn ang="0">
                      <a:pos x="124" y="444"/>
                    </a:cxn>
                    <a:cxn ang="0">
                      <a:pos x="144" y="474"/>
                    </a:cxn>
                    <a:cxn ang="0">
                      <a:pos x="158" y="490"/>
                    </a:cxn>
                    <a:cxn ang="0">
                      <a:pos x="162" y="488"/>
                    </a:cxn>
                    <a:cxn ang="0">
                      <a:pos x="172" y="460"/>
                    </a:cxn>
                    <a:cxn ang="0">
                      <a:pos x="186" y="424"/>
                    </a:cxn>
                    <a:cxn ang="0">
                      <a:pos x="200" y="376"/>
                    </a:cxn>
                    <a:cxn ang="0">
                      <a:pos x="200" y="354"/>
                    </a:cxn>
                    <a:cxn ang="0">
                      <a:pos x="168" y="252"/>
                    </a:cxn>
                    <a:cxn ang="0">
                      <a:pos x="156" y="246"/>
                    </a:cxn>
                    <a:cxn ang="0">
                      <a:pos x="146" y="236"/>
                    </a:cxn>
                    <a:cxn ang="0">
                      <a:pos x="144" y="232"/>
                    </a:cxn>
                    <a:cxn ang="0">
                      <a:pos x="140" y="184"/>
                    </a:cxn>
                    <a:cxn ang="0">
                      <a:pos x="140" y="172"/>
                    </a:cxn>
                    <a:cxn ang="0">
                      <a:pos x="140" y="150"/>
                    </a:cxn>
                    <a:cxn ang="0">
                      <a:pos x="136" y="120"/>
                    </a:cxn>
                    <a:cxn ang="0">
                      <a:pos x="138" y="108"/>
                    </a:cxn>
                    <a:cxn ang="0">
                      <a:pos x="140" y="98"/>
                    </a:cxn>
                    <a:cxn ang="0">
                      <a:pos x="138" y="96"/>
                    </a:cxn>
                    <a:cxn ang="0">
                      <a:pos x="126" y="92"/>
                    </a:cxn>
                    <a:cxn ang="0">
                      <a:pos x="120" y="78"/>
                    </a:cxn>
                    <a:cxn ang="0">
                      <a:pos x="108" y="60"/>
                    </a:cxn>
                    <a:cxn ang="0">
                      <a:pos x="76" y="30"/>
                    </a:cxn>
                    <a:cxn ang="0">
                      <a:pos x="46" y="0"/>
                    </a:cxn>
                    <a:cxn ang="0">
                      <a:pos x="30" y="6"/>
                    </a:cxn>
                    <a:cxn ang="0">
                      <a:pos x="26" y="10"/>
                    </a:cxn>
                    <a:cxn ang="0">
                      <a:pos x="6" y="44"/>
                    </a:cxn>
                    <a:cxn ang="0">
                      <a:pos x="0" y="94"/>
                    </a:cxn>
                    <a:cxn ang="0">
                      <a:pos x="2" y="102"/>
                    </a:cxn>
                  </a:cxnLst>
                  <a:rect l="0" t="0" r="r" b="b"/>
                  <a:pathLst>
                    <a:path w="204" h="490">
                      <a:moveTo>
                        <a:pt x="2" y="102"/>
                      </a:moveTo>
                      <a:lnTo>
                        <a:pt x="2" y="102"/>
                      </a:lnTo>
                      <a:lnTo>
                        <a:pt x="4" y="100"/>
                      </a:lnTo>
                      <a:lnTo>
                        <a:pt x="10" y="98"/>
                      </a:lnTo>
                      <a:lnTo>
                        <a:pt x="12" y="98"/>
                      </a:lnTo>
                      <a:lnTo>
                        <a:pt x="16" y="102"/>
                      </a:lnTo>
                      <a:lnTo>
                        <a:pt x="20" y="106"/>
                      </a:lnTo>
                      <a:lnTo>
                        <a:pt x="22" y="116"/>
                      </a:lnTo>
                      <a:lnTo>
                        <a:pt x="22" y="116"/>
                      </a:lnTo>
                      <a:lnTo>
                        <a:pt x="26" y="124"/>
                      </a:lnTo>
                      <a:lnTo>
                        <a:pt x="28" y="128"/>
                      </a:lnTo>
                      <a:lnTo>
                        <a:pt x="34" y="136"/>
                      </a:lnTo>
                      <a:lnTo>
                        <a:pt x="34" y="138"/>
                      </a:lnTo>
                      <a:lnTo>
                        <a:pt x="34" y="144"/>
                      </a:lnTo>
                      <a:lnTo>
                        <a:pt x="30" y="166"/>
                      </a:lnTo>
                      <a:lnTo>
                        <a:pt x="30" y="166"/>
                      </a:lnTo>
                      <a:lnTo>
                        <a:pt x="28" y="180"/>
                      </a:lnTo>
                      <a:lnTo>
                        <a:pt x="28" y="194"/>
                      </a:lnTo>
                      <a:lnTo>
                        <a:pt x="28" y="204"/>
                      </a:lnTo>
                      <a:lnTo>
                        <a:pt x="30" y="214"/>
                      </a:lnTo>
                      <a:lnTo>
                        <a:pt x="36" y="234"/>
                      </a:lnTo>
                      <a:lnTo>
                        <a:pt x="36" y="244"/>
                      </a:lnTo>
                      <a:lnTo>
                        <a:pt x="34" y="256"/>
                      </a:lnTo>
                      <a:lnTo>
                        <a:pt x="34" y="256"/>
                      </a:lnTo>
                      <a:lnTo>
                        <a:pt x="30" y="278"/>
                      </a:lnTo>
                      <a:lnTo>
                        <a:pt x="26" y="294"/>
                      </a:lnTo>
                      <a:lnTo>
                        <a:pt x="24" y="308"/>
                      </a:lnTo>
                      <a:lnTo>
                        <a:pt x="26" y="320"/>
                      </a:lnTo>
                      <a:lnTo>
                        <a:pt x="26" y="320"/>
                      </a:lnTo>
                      <a:lnTo>
                        <a:pt x="26" y="328"/>
                      </a:lnTo>
                      <a:lnTo>
                        <a:pt x="26" y="334"/>
                      </a:lnTo>
                      <a:lnTo>
                        <a:pt x="22" y="350"/>
                      </a:lnTo>
                      <a:lnTo>
                        <a:pt x="22" y="356"/>
                      </a:lnTo>
                      <a:lnTo>
                        <a:pt x="24" y="362"/>
                      </a:lnTo>
                      <a:lnTo>
                        <a:pt x="30" y="368"/>
                      </a:lnTo>
                      <a:lnTo>
                        <a:pt x="38" y="372"/>
                      </a:lnTo>
                      <a:lnTo>
                        <a:pt x="38" y="372"/>
                      </a:lnTo>
                      <a:lnTo>
                        <a:pt x="58" y="378"/>
                      </a:lnTo>
                      <a:lnTo>
                        <a:pt x="70" y="384"/>
                      </a:lnTo>
                      <a:lnTo>
                        <a:pt x="80" y="390"/>
                      </a:lnTo>
                      <a:lnTo>
                        <a:pt x="86" y="398"/>
                      </a:lnTo>
                      <a:lnTo>
                        <a:pt x="86" y="398"/>
                      </a:lnTo>
                      <a:lnTo>
                        <a:pt x="94" y="408"/>
                      </a:lnTo>
                      <a:lnTo>
                        <a:pt x="104" y="422"/>
                      </a:lnTo>
                      <a:lnTo>
                        <a:pt x="124" y="444"/>
                      </a:lnTo>
                      <a:lnTo>
                        <a:pt x="124" y="444"/>
                      </a:lnTo>
                      <a:lnTo>
                        <a:pt x="134" y="458"/>
                      </a:lnTo>
                      <a:lnTo>
                        <a:pt x="144" y="474"/>
                      </a:lnTo>
                      <a:lnTo>
                        <a:pt x="154" y="486"/>
                      </a:lnTo>
                      <a:lnTo>
                        <a:pt x="158" y="490"/>
                      </a:lnTo>
                      <a:lnTo>
                        <a:pt x="162" y="488"/>
                      </a:lnTo>
                      <a:lnTo>
                        <a:pt x="162" y="488"/>
                      </a:lnTo>
                      <a:lnTo>
                        <a:pt x="166" y="476"/>
                      </a:lnTo>
                      <a:lnTo>
                        <a:pt x="172" y="460"/>
                      </a:lnTo>
                      <a:lnTo>
                        <a:pt x="186" y="424"/>
                      </a:lnTo>
                      <a:lnTo>
                        <a:pt x="186" y="424"/>
                      </a:lnTo>
                      <a:lnTo>
                        <a:pt x="196" y="392"/>
                      </a:lnTo>
                      <a:lnTo>
                        <a:pt x="200" y="376"/>
                      </a:lnTo>
                      <a:lnTo>
                        <a:pt x="200" y="354"/>
                      </a:lnTo>
                      <a:lnTo>
                        <a:pt x="200" y="354"/>
                      </a:lnTo>
                      <a:lnTo>
                        <a:pt x="204" y="266"/>
                      </a:lnTo>
                      <a:lnTo>
                        <a:pt x="168" y="252"/>
                      </a:lnTo>
                      <a:lnTo>
                        <a:pt x="168" y="252"/>
                      </a:lnTo>
                      <a:lnTo>
                        <a:pt x="156" y="246"/>
                      </a:lnTo>
                      <a:lnTo>
                        <a:pt x="148" y="240"/>
                      </a:lnTo>
                      <a:lnTo>
                        <a:pt x="146" y="236"/>
                      </a:lnTo>
                      <a:lnTo>
                        <a:pt x="144" y="232"/>
                      </a:lnTo>
                      <a:lnTo>
                        <a:pt x="144" y="232"/>
                      </a:lnTo>
                      <a:lnTo>
                        <a:pt x="142" y="202"/>
                      </a:lnTo>
                      <a:lnTo>
                        <a:pt x="140" y="184"/>
                      </a:lnTo>
                      <a:lnTo>
                        <a:pt x="140" y="172"/>
                      </a:lnTo>
                      <a:lnTo>
                        <a:pt x="140" y="172"/>
                      </a:lnTo>
                      <a:lnTo>
                        <a:pt x="140" y="164"/>
                      </a:lnTo>
                      <a:lnTo>
                        <a:pt x="140" y="150"/>
                      </a:lnTo>
                      <a:lnTo>
                        <a:pt x="138" y="134"/>
                      </a:lnTo>
                      <a:lnTo>
                        <a:pt x="136" y="120"/>
                      </a:lnTo>
                      <a:lnTo>
                        <a:pt x="136" y="120"/>
                      </a:lnTo>
                      <a:lnTo>
                        <a:pt x="138" y="108"/>
                      </a:lnTo>
                      <a:lnTo>
                        <a:pt x="140" y="100"/>
                      </a:lnTo>
                      <a:lnTo>
                        <a:pt x="140" y="98"/>
                      </a:lnTo>
                      <a:lnTo>
                        <a:pt x="138" y="96"/>
                      </a:lnTo>
                      <a:lnTo>
                        <a:pt x="138" y="96"/>
                      </a:lnTo>
                      <a:lnTo>
                        <a:pt x="130" y="94"/>
                      </a:lnTo>
                      <a:lnTo>
                        <a:pt x="126" y="92"/>
                      </a:lnTo>
                      <a:lnTo>
                        <a:pt x="126" y="92"/>
                      </a:lnTo>
                      <a:lnTo>
                        <a:pt x="120" y="78"/>
                      </a:lnTo>
                      <a:lnTo>
                        <a:pt x="114" y="68"/>
                      </a:lnTo>
                      <a:lnTo>
                        <a:pt x="108" y="60"/>
                      </a:lnTo>
                      <a:lnTo>
                        <a:pt x="108" y="60"/>
                      </a:lnTo>
                      <a:lnTo>
                        <a:pt x="76" y="30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36" y="2"/>
                      </a:lnTo>
                      <a:lnTo>
                        <a:pt x="30" y="6"/>
                      </a:lnTo>
                      <a:lnTo>
                        <a:pt x="26" y="10"/>
                      </a:lnTo>
                      <a:lnTo>
                        <a:pt x="26" y="10"/>
                      </a:lnTo>
                      <a:lnTo>
                        <a:pt x="6" y="44"/>
                      </a:lnTo>
                      <a:lnTo>
                        <a:pt x="6" y="44"/>
                      </a:lnTo>
                      <a:lnTo>
                        <a:pt x="2" y="74"/>
                      </a:lnTo>
                      <a:lnTo>
                        <a:pt x="0" y="94"/>
                      </a:lnTo>
                      <a:lnTo>
                        <a:pt x="0" y="100"/>
                      </a:lnTo>
                      <a:lnTo>
                        <a:pt x="2" y="102"/>
                      </a:lnTo>
                      <a:lnTo>
                        <a:pt x="2" y="102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2" name="Freeform 86">
                  <a:extLst>
                    <a:ext uri="{FF2B5EF4-FFF2-40B4-BE49-F238E27FC236}">
                      <a16:creationId xmlns:a16="http://schemas.microsoft.com/office/drawing/2014/main" id="{0916E550-2436-4269-AD86-7B64B78742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1654" y="5435052"/>
                  <a:ext cx="499958" cy="507579"/>
                </a:xfrm>
                <a:custGeom>
                  <a:avLst/>
                  <a:gdLst/>
                  <a:ahLst/>
                  <a:cxnLst>
                    <a:cxn ang="0">
                      <a:pos x="646" y="190"/>
                    </a:cxn>
                    <a:cxn ang="0">
                      <a:pos x="622" y="156"/>
                    </a:cxn>
                    <a:cxn ang="0">
                      <a:pos x="534" y="154"/>
                    </a:cxn>
                    <a:cxn ang="0">
                      <a:pos x="488" y="166"/>
                    </a:cxn>
                    <a:cxn ang="0">
                      <a:pos x="476" y="192"/>
                    </a:cxn>
                    <a:cxn ang="0">
                      <a:pos x="454" y="198"/>
                    </a:cxn>
                    <a:cxn ang="0">
                      <a:pos x="406" y="186"/>
                    </a:cxn>
                    <a:cxn ang="0">
                      <a:pos x="346" y="210"/>
                    </a:cxn>
                    <a:cxn ang="0">
                      <a:pos x="372" y="250"/>
                    </a:cxn>
                    <a:cxn ang="0">
                      <a:pos x="362" y="282"/>
                    </a:cxn>
                    <a:cxn ang="0">
                      <a:pos x="294" y="280"/>
                    </a:cxn>
                    <a:cxn ang="0">
                      <a:pos x="278" y="260"/>
                    </a:cxn>
                    <a:cxn ang="0">
                      <a:pos x="266" y="236"/>
                    </a:cxn>
                    <a:cxn ang="0">
                      <a:pos x="226" y="262"/>
                    </a:cxn>
                    <a:cxn ang="0">
                      <a:pos x="240" y="320"/>
                    </a:cxn>
                    <a:cxn ang="0">
                      <a:pos x="270" y="372"/>
                    </a:cxn>
                    <a:cxn ang="0">
                      <a:pos x="324" y="418"/>
                    </a:cxn>
                    <a:cxn ang="0">
                      <a:pos x="306" y="454"/>
                    </a:cxn>
                    <a:cxn ang="0">
                      <a:pos x="294" y="510"/>
                    </a:cxn>
                    <a:cxn ang="0">
                      <a:pos x="316" y="536"/>
                    </a:cxn>
                    <a:cxn ang="0">
                      <a:pos x="402" y="548"/>
                    </a:cxn>
                    <a:cxn ang="0">
                      <a:pos x="412" y="540"/>
                    </a:cxn>
                    <a:cxn ang="0">
                      <a:pos x="436" y="530"/>
                    </a:cxn>
                    <a:cxn ang="0">
                      <a:pos x="464" y="548"/>
                    </a:cxn>
                    <a:cxn ang="0">
                      <a:pos x="470" y="592"/>
                    </a:cxn>
                    <a:cxn ang="0">
                      <a:pos x="510" y="608"/>
                    </a:cxn>
                    <a:cxn ang="0">
                      <a:pos x="538" y="620"/>
                    </a:cxn>
                    <a:cxn ang="0">
                      <a:pos x="496" y="638"/>
                    </a:cxn>
                    <a:cxn ang="0">
                      <a:pos x="472" y="654"/>
                    </a:cxn>
                    <a:cxn ang="0">
                      <a:pos x="460" y="666"/>
                    </a:cxn>
                    <a:cxn ang="0">
                      <a:pos x="434" y="644"/>
                    </a:cxn>
                    <a:cxn ang="0">
                      <a:pos x="406" y="642"/>
                    </a:cxn>
                    <a:cxn ang="0">
                      <a:pos x="394" y="618"/>
                    </a:cxn>
                    <a:cxn ang="0">
                      <a:pos x="332" y="594"/>
                    </a:cxn>
                    <a:cxn ang="0">
                      <a:pos x="238" y="598"/>
                    </a:cxn>
                    <a:cxn ang="0">
                      <a:pos x="178" y="604"/>
                    </a:cxn>
                    <a:cxn ang="0">
                      <a:pos x="144" y="622"/>
                    </a:cxn>
                    <a:cxn ang="0">
                      <a:pos x="124" y="570"/>
                    </a:cxn>
                    <a:cxn ang="0">
                      <a:pos x="112" y="518"/>
                    </a:cxn>
                    <a:cxn ang="0">
                      <a:pos x="70" y="496"/>
                    </a:cxn>
                    <a:cxn ang="0">
                      <a:pos x="30" y="480"/>
                    </a:cxn>
                    <a:cxn ang="0">
                      <a:pos x="18" y="402"/>
                    </a:cxn>
                    <a:cxn ang="0">
                      <a:pos x="42" y="312"/>
                    </a:cxn>
                    <a:cxn ang="0">
                      <a:pos x="68" y="216"/>
                    </a:cxn>
                    <a:cxn ang="0">
                      <a:pos x="152" y="180"/>
                    </a:cxn>
                    <a:cxn ang="0">
                      <a:pos x="218" y="168"/>
                    </a:cxn>
                    <a:cxn ang="0">
                      <a:pos x="258" y="124"/>
                    </a:cxn>
                    <a:cxn ang="0">
                      <a:pos x="306" y="106"/>
                    </a:cxn>
                    <a:cxn ang="0">
                      <a:pos x="372" y="80"/>
                    </a:cxn>
                    <a:cxn ang="0">
                      <a:pos x="422" y="70"/>
                    </a:cxn>
                    <a:cxn ang="0">
                      <a:pos x="504" y="110"/>
                    </a:cxn>
                    <a:cxn ang="0">
                      <a:pos x="560" y="98"/>
                    </a:cxn>
                    <a:cxn ang="0">
                      <a:pos x="606" y="82"/>
                    </a:cxn>
                    <a:cxn ang="0">
                      <a:pos x="598" y="32"/>
                    </a:cxn>
                    <a:cxn ang="0">
                      <a:pos x="610" y="0"/>
                    </a:cxn>
                    <a:cxn ang="0">
                      <a:pos x="646" y="30"/>
                    </a:cxn>
                    <a:cxn ang="0">
                      <a:pos x="648" y="72"/>
                    </a:cxn>
                    <a:cxn ang="0">
                      <a:pos x="646" y="148"/>
                    </a:cxn>
                  </a:cxnLst>
                  <a:rect l="0" t="0" r="r" b="b"/>
                  <a:pathLst>
                    <a:path w="656" h="666">
                      <a:moveTo>
                        <a:pt x="656" y="174"/>
                      </a:moveTo>
                      <a:lnTo>
                        <a:pt x="656" y="174"/>
                      </a:lnTo>
                      <a:lnTo>
                        <a:pt x="654" y="178"/>
                      </a:lnTo>
                      <a:lnTo>
                        <a:pt x="650" y="186"/>
                      </a:lnTo>
                      <a:lnTo>
                        <a:pt x="648" y="190"/>
                      </a:lnTo>
                      <a:lnTo>
                        <a:pt x="646" y="190"/>
                      </a:lnTo>
                      <a:lnTo>
                        <a:pt x="642" y="190"/>
                      </a:lnTo>
                      <a:lnTo>
                        <a:pt x="638" y="184"/>
                      </a:lnTo>
                      <a:lnTo>
                        <a:pt x="638" y="184"/>
                      </a:lnTo>
                      <a:lnTo>
                        <a:pt x="626" y="164"/>
                      </a:lnTo>
                      <a:lnTo>
                        <a:pt x="622" y="156"/>
                      </a:lnTo>
                      <a:lnTo>
                        <a:pt x="622" y="156"/>
                      </a:lnTo>
                      <a:lnTo>
                        <a:pt x="618" y="156"/>
                      </a:lnTo>
                      <a:lnTo>
                        <a:pt x="596" y="156"/>
                      </a:lnTo>
                      <a:lnTo>
                        <a:pt x="596" y="156"/>
                      </a:lnTo>
                      <a:lnTo>
                        <a:pt x="558" y="154"/>
                      </a:lnTo>
                      <a:lnTo>
                        <a:pt x="534" y="154"/>
                      </a:lnTo>
                      <a:lnTo>
                        <a:pt x="534" y="154"/>
                      </a:lnTo>
                      <a:lnTo>
                        <a:pt x="528" y="152"/>
                      </a:lnTo>
                      <a:lnTo>
                        <a:pt x="522" y="152"/>
                      </a:lnTo>
                      <a:lnTo>
                        <a:pt x="512" y="154"/>
                      </a:lnTo>
                      <a:lnTo>
                        <a:pt x="500" y="160"/>
                      </a:lnTo>
                      <a:lnTo>
                        <a:pt x="500" y="160"/>
                      </a:lnTo>
                      <a:lnTo>
                        <a:pt x="488" y="166"/>
                      </a:lnTo>
                      <a:lnTo>
                        <a:pt x="476" y="168"/>
                      </a:lnTo>
                      <a:lnTo>
                        <a:pt x="470" y="172"/>
                      </a:lnTo>
                      <a:lnTo>
                        <a:pt x="470" y="174"/>
                      </a:lnTo>
                      <a:lnTo>
                        <a:pt x="470" y="178"/>
                      </a:lnTo>
                      <a:lnTo>
                        <a:pt x="470" y="178"/>
                      </a:lnTo>
                      <a:lnTo>
                        <a:pt x="476" y="192"/>
                      </a:lnTo>
                      <a:lnTo>
                        <a:pt x="476" y="198"/>
                      </a:lnTo>
                      <a:lnTo>
                        <a:pt x="476" y="198"/>
                      </a:lnTo>
                      <a:lnTo>
                        <a:pt x="474" y="200"/>
                      </a:lnTo>
                      <a:lnTo>
                        <a:pt x="474" y="200"/>
                      </a:lnTo>
                      <a:lnTo>
                        <a:pt x="464" y="200"/>
                      </a:lnTo>
                      <a:lnTo>
                        <a:pt x="454" y="198"/>
                      </a:lnTo>
                      <a:lnTo>
                        <a:pt x="442" y="194"/>
                      </a:lnTo>
                      <a:lnTo>
                        <a:pt x="434" y="190"/>
                      </a:lnTo>
                      <a:lnTo>
                        <a:pt x="434" y="190"/>
                      </a:lnTo>
                      <a:lnTo>
                        <a:pt x="426" y="188"/>
                      </a:lnTo>
                      <a:lnTo>
                        <a:pt x="418" y="186"/>
                      </a:lnTo>
                      <a:lnTo>
                        <a:pt x="406" y="186"/>
                      </a:lnTo>
                      <a:lnTo>
                        <a:pt x="396" y="190"/>
                      </a:lnTo>
                      <a:lnTo>
                        <a:pt x="396" y="190"/>
                      </a:lnTo>
                      <a:lnTo>
                        <a:pt x="380" y="196"/>
                      </a:lnTo>
                      <a:lnTo>
                        <a:pt x="362" y="202"/>
                      </a:lnTo>
                      <a:lnTo>
                        <a:pt x="348" y="208"/>
                      </a:lnTo>
                      <a:lnTo>
                        <a:pt x="346" y="210"/>
                      </a:lnTo>
                      <a:lnTo>
                        <a:pt x="346" y="214"/>
                      </a:lnTo>
                      <a:lnTo>
                        <a:pt x="346" y="214"/>
                      </a:lnTo>
                      <a:lnTo>
                        <a:pt x="354" y="222"/>
                      </a:lnTo>
                      <a:lnTo>
                        <a:pt x="362" y="232"/>
                      </a:lnTo>
                      <a:lnTo>
                        <a:pt x="372" y="250"/>
                      </a:lnTo>
                      <a:lnTo>
                        <a:pt x="372" y="250"/>
                      </a:lnTo>
                      <a:lnTo>
                        <a:pt x="376" y="258"/>
                      </a:lnTo>
                      <a:lnTo>
                        <a:pt x="376" y="264"/>
                      </a:lnTo>
                      <a:lnTo>
                        <a:pt x="376" y="270"/>
                      </a:lnTo>
                      <a:lnTo>
                        <a:pt x="374" y="274"/>
                      </a:lnTo>
                      <a:lnTo>
                        <a:pt x="368" y="280"/>
                      </a:lnTo>
                      <a:lnTo>
                        <a:pt x="362" y="282"/>
                      </a:lnTo>
                      <a:lnTo>
                        <a:pt x="352" y="282"/>
                      </a:lnTo>
                      <a:lnTo>
                        <a:pt x="352" y="282"/>
                      </a:lnTo>
                      <a:lnTo>
                        <a:pt x="312" y="280"/>
                      </a:lnTo>
                      <a:lnTo>
                        <a:pt x="312" y="280"/>
                      </a:lnTo>
                      <a:lnTo>
                        <a:pt x="308" y="280"/>
                      </a:lnTo>
                      <a:lnTo>
                        <a:pt x="294" y="280"/>
                      </a:lnTo>
                      <a:lnTo>
                        <a:pt x="288" y="278"/>
                      </a:lnTo>
                      <a:lnTo>
                        <a:pt x="282" y="276"/>
                      </a:lnTo>
                      <a:lnTo>
                        <a:pt x="278" y="272"/>
                      </a:lnTo>
                      <a:lnTo>
                        <a:pt x="276" y="266"/>
                      </a:lnTo>
                      <a:lnTo>
                        <a:pt x="276" y="266"/>
                      </a:lnTo>
                      <a:lnTo>
                        <a:pt x="278" y="260"/>
                      </a:lnTo>
                      <a:lnTo>
                        <a:pt x="280" y="252"/>
                      </a:lnTo>
                      <a:lnTo>
                        <a:pt x="284" y="240"/>
                      </a:lnTo>
                      <a:lnTo>
                        <a:pt x="286" y="236"/>
                      </a:lnTo>
                      <a:lnTo>
                        <a:pt x="282" y="234"/>
                      </a:lnTo>
                      <a:lnTo>
                        <a:pt x="276" y="232"/>
                      </a:lnTo>
                      <a:lnTo>
                        <a:pt x="266" y="236"/>
                      </a:lnTo>
                      <a:lnTo>
                        <a:pt x="266" y="236"/>
                      </a:lnTo>
                      <a:lnTo>
                        <a:pt x="242" y="244"/>
                      </a:lnTo>
                      <a:lnTo>
                        <a:pt x="234" y="246"/>
                      </a:lnTo>
                      <a:lnTo>
                        <a:pt x="230" y="250"/>
                      </a:lnTo>
                      <a:lnTo>
                        <a:pt x="226" y="254"/>
                      </a:lnTo>
                      <a:lnTo>
                        <a:pt x="226" y="262"/>
                      </a:lnTo>
                      <a:lnTo>
                        <a:pt x="228" y="270"/>
                      </a:lnTo>
                      <a:lnTo>
                        <a:pt x="232" y="282"/>
                      </a:lnTo>
                      <a:lnTo>
                        <a:pt x="232" y="282"/>
                      </a:lnTo>
                      <a:lnTo>
                        <a:pt x="236" y="294"/>
                      </a:lnTo>
                      <a:lnTo>
                        <a:pt x="238" y="304"/>
                      </a:lnTo>
                      <a:lnTo>
                        <a:pt x="240" y="320"/>
                      </a:lnTo>
                      <a:lnTo>
                        <a:pt x="242" y="326"/>
                      </a:lnTo>
                      <a:lnTo>
                        <a:pt x="244" y="336"/>
                      </a:lnTo>
                      <a:lnTo>
                        <a:pt x="250" y="346"/>
                      </a:lnTo>
                      <a:lnTo>
                        <a:pt x="260" y="358"/>
                      </a:lnTo>
                      <a:lnTo>
                        <a:pt x="260" y="358"/>
                      </a:lnTo>
                      <a:lnTo>
                        <a:pt x="270" y="372"/>
                      </a:lnTo>
                      <a:lnTo>
                        <a:pt x="282" y="382"/>
                      </a:lnTo>
                      <a:lnTo>
                        <a:pt x="302" y="400"/>
                      </a:lnTo>
                      <a:lnTo>
                        <a:pt x="316" y="412"/>
                      </a:lnTo>
                      <a:lnTo>
                        <a:pt x="322" y="416"/>
                      </a:lnTo>
                      <a:lnTo>
                        <a:pt x="324" y="418"/>
                      </a:lnTo>
                      <a:lnTo>
                        <a:pt x="324" y="418"/>
                      </a:lnTo>
                      <a:lnTo>
                        <a:pt x="324" y="420"/>
                      </a:lnTo>
                      <a:lnTo>
                        <a:pt x="322" y="424"/>
                      </a:lnTo>
                      <a:lnTo>
                        <a:pt x="316" y="430"/>
                      </a:lnTo>
                      <a:lnTo>
                        <a:pt x="310" y="440"/>
                      </a:lnTo>
                      <a:lnTo>
                        <a:pt x="306" y="446"/>
                      </a:lnTo>
                      <a:lnTo>
                        <a:pt x="306" y="454"/>
                      </a:lnTo>
                      <a:lnTo>
                        <a:pt x="306" y="454"/>
                      </a:lnTo>
                      <a:lnTo>
                        <a:pt x="304" y="484"/>
                      </a:lnTo>
                      <a:lnTo>
                        <a:pt x="306" y="500"/>
                      </a:lnTo>
                      <a:lnTo>
                        <a:pt x="306" y="500"/>
                      </a:lnTo>
                      <a:lnTo>
                        <a:pt x="302" y="504"/>
                      </a:lnTo>
                      <a:lnTo>
                        <a:pt x="294" y="510"/>
                      </a:lnTo>
                      <a:lnTo>
                        <a:pt x="292" y="516"/>
                      </a:lnTo>
                      <a:lnTo>
                        <a:pt x="290" y="520"/>
                      </a:lnTo>
                      <a:lnTo>
                        <a:pt x="292" y="526"/>
                      </a:lnTo>
                      <a:lnTo>
                        <a:pt x="296" y="530"/>
                      </a:lnTo>
                      <a:lnTo>
                        <a:pt x="296" y="530"/>
                      </a:lnTo>
                      <a:lnTo>
                        <a:pt x="316" y="536"/>
                      </a:lnTo>
                      <a:lnTo>
                        <a:pt x="346" y="544"/>
                      </a:lnTo>
                      <a:lnTo>
                        <a:pt x="374" y="550"/>
                      </a:lnTo>
                      <a:lnTo>
                        <a:pt x="386" y="550"/>
                      </a:lnTo>
                      <a:lnTo>
                        <a:pt x="392" y="548"/>
                      </a:lnTo>
                      <a:lnTo>
                        <a:pt x="392" y="548"/>
                      </a:lnTo>
                      <a:lnTo>
                        <a:pt x="402" y="548"/>
                      </a:lnTo>
                      <a:lnTo>
                        <a:pt x="408" y="550"/>
                      </a:lnTo>
                      <a:lnTo>
                        <a:pt x="410" y="552"/>
                      </a:lnTo>
                      <a:lnTo>
                        <a:pt x="412" y="554"/>
                      </a:lnTo>
                      <a:lnTo>
                        <a:pt x="412" y="554"/>
                      </a:lnTo>
                      <a:lnTo>
                        <a:pt x="410" y="550"/>
                      </a:lnTo>
                      <a:lnTo>
                        <a:pt x="412" y="540"/>
                      </a:lnTo>
                      <a:lnTo>
                        <a:pt x="412" y="536"/>
                      </a:lnTo>
                      <a:lnTo>
                        <a:pt x="414" y="532"/>
                      </a:lnTo>
                      <a:lnTo>
                        <a:pt x="418" y="530"/>
                      </a:lnTo>
                      <a:lnTo>
                        <a:pt x="422" y="530"/>
                      </a:lnTo>
                      <a:lnTo>
                        <a:pt x="422" y="530"/>
                      </a:lnTo>
                      <a:lnTo>
                        <a:pt x="436" y="530"/>
                      </a:lnTo>
                      <a:lnTo>
                        <a:pt x="452" y="532"/>
                      </a:lnTo>
                      <a:lnTo>
                        <a:pt x="458" y="532"/>
                      </a:lnTo>
                      <a:lnTo>
                        <a:pt x="462" y="536"/>
                      </a:lnTo>
                      <a:lnTo>
                        <a:pt x="466" y="540"/>
                      </a:lnTo>
                      <a:lnTo>
                        <a:pt x="464" y="548"/>
                      </a:lnTo>
                      <a:lnTo>
                        <a:pt x="464" y="548"/>
                      </a:lnTo>
                      <a:lnTo>
                        <a:pt x="460" y="566"/>
                      </a:lnTo>
                      <a:lnTo>
                        <a:pt x="460" y="580"/>
                      </a:lnTo>
                      <a:lnTo>
                        <a:pt x="464" y="588"/>
                      </a:lnTo>
                      <a:lnTo>
                        <a:pt x="468" y="592"/>
                      </a:lnTo>
                      <a:lnTo>
                        <a:pt x="470" y="592"/>
                      </a:lnTo>
                      <a:lnTo>
                        <a:pt x="470" y="592"/>
                      </a:lnTo>
                      <a:lnTo>
                        <a:pt x="474" y="592"/>
                      </a:lnTo>
                      <a:lnTo>
                        <a:pt x="476" y="594"/>
                      </a:lnTo>
                      <a:lnTo>
                        <a:pt x="480" y="598"/>
                      </a:lnTo>
                      <a:lnTo>
                        <a:pt x="492" y="604"/>
                      </a:lnTo>
                      <a:lnTo>
                        <a:pt x="492" y="604"/>
                      </a:lnTo>
                      <a:lnTo>
                        <a:pt x="510" y="608"/>
                      </a:lnTo>
                      <a:lnTo>
                        <a:pt x="524" y="608"/>
                      </a:lnTo>
                      <a:lnTo>
                        <a:pt x="534" y="610"/>
                      </a:lnTo>
                      <a:lnTo>
                        <a:pt x="538" y="612"/>
                      </a:lnTo>
                      <a:lnTo>
                        <a:pt x="538" y="616"/>
                      </a:lnTo>
                      <a:lnTo>
                        <a:pt x="538" y="616"/>
                      </a:lnTo>
                      <a:lnTo>
                        <a:pt x="538" y="620"/>
                      </a:lnTo>
                      <a:lnTo>
                        <a:pt x="534" y="624"/>
                      </a:lnTo>
                      <a:lnTo>
                        <a:pt x="524" y="632"/>
                      </a:lnTo>
                      <a:lnTo>
                        <a:pt x="510" y="638"/>
                      </a:lnTo>
                      <a:lnTo>
                        <a:pt x="504" y="638"/>
                      </a:lnTo>
                      <a:lnTo>
                        <a:pt x="496" y="638"/>
                      </a:lnTo>
                      <a:lnTo>
                        <a:pt x="496" y="638"/>
                      </a:lnTo>
                      <a:lnTo>
                        <a:pt x="488" y="640"/>
                      </a:lnTo>
                      <a:lnTo>
                        <a:pt x="482" y="640"/>
                      </a:lnTo>
                      <a:lnTo>
                        <a:pt x="478" y="644"/>
                      </a:lnTo>
                      <a:lnTo>
                        <a:pt x="474" y="646"/>
                      </a:lnTo>
                      <a:lnTo>
                        <a:pt x="472" y="650"/>
                      </a:lnTo>
                      <a:lnTo>
                        <a:pt x="472" y="654"/>
                      </a:lnTo>
                      <a:lnTo>
                        <a:pt x="472" y="658"/>
                      </a:lnTo>
                      <a:lnTo>
                        <a:pt x="474" y="660"/>
                      </a:lnTo>
                      <a:lnTo>
                        <a:pt x="474" y="660"/>
                      </a:lnTo>
                      <a:lnTo>
                        <a:pt x="474" y="664"/>
                      </a:lnTo>
                      <a:lnTo>
                        <a:pt x="472" y="664"/>
                      </a:lnTo>
                      <a:lnTo>
                        <a:pt x="460" y="666"/>
                      </a:lnTo>
                      <a:lnTo>
                        <a:pt x="442" y="664"/>
                      </a:lnTo>
                      <a:lnTo>
                        <a:pt x="442" y="664"/>
                      </a:lnTo>
                      <a:lnTo>
                        <a:pt x="442" y="656"/>
                      </a:lnTo>
                      <a:lnTo>
                        <a:pt x="440" y="650"/>
                      </a:lnTo>
                      <a:lnTo>
                        <a:pt x="438" y="646"/>
                      </a:lnTo>
                      <a:lnTo>
                        <a:pt x="434" y="644"/>
                      </a:lnTo>
                      <a:lnTo>
                        <a:pt x="434" y="644"/>
                      </a:lnTo>
                      <a:lnTo>
                        <a:pt x="426" y="640"/>
                      </a:lnTo>
                      <a:lnTo>
                        <a:pt x="418" y="640"/>
                      </a:lnTo>
                      <a:lnTo>
                        <a:pt x="412" y="640"/>
                      </a:lnTo>
                      <a:lnTo>
                        <a:pt x="406" y="642"/>
                      </a:lnTo>
                      <a:lnTo>
                        <a:pt x="406" y="642"/>
                      </a:lnTo>
                      <a:lnTo>
                        <a:pt x="402" y="642"/>
                      </a:lnTo>
                      <a:lnTo>
                        <a:pt x="402" y="640"/>
                      </a:lnTo>
                      <a:lnTo>
                        <a:pt x="400" y="634"/>
                      </a:lnTo>
                      <a:lnTo>
                        <a:pt x="400" y="634"/>
                      </a:lnTo>
                      <a:lnTo>
                        <a:pt x="398" y="628"/>
                      </a:lnTo>
                      <a:lnTo>
                        <a:pt x="394" y="618"/>
                      </a:lnTo>
                      <a:lnTo>
                        <a:pt x="384" y="610"/>
                      </a:lnTo>
                      <a:lnTo>
                        <a:pt x="372" y="602"/>
                      </a:lnTo>
                      <a:lnTo>
                        <a:pt x="372" y="602"/>
                      </a:lnTo>
                      <a:lnTo>
                        <a:pt x="360" y="598"/>
                      </a:lnTo>
                      <a:lnTo>
                        <a:pt x="348" y="596"/>
                      </a:lnTo>
                      <a:lnTo>
                        <a:pt x="332" y="594"/>
                      </a:lnTo>
                      <a:lnTo>
                        <a:pt x="310" y="590"/>
                      </a:lnTo>
                      <a:lnTo>
                        <a:pt x="310" y="590"/>
                      </a:lnTo>
                      <a:lnTo>
                        <a:pt x="288" y="586"/>
                      </a:lnTo>
                      <a:lnTo>
                        <a:pt x="272" y="586"/>
                      </a:lnTo>
                      <a:lnTo>
                        <a:pt x="256" y="590"/>
                      </a:lnTo>
                      <a:lnTo>
                        <a:pt x="238" y="598"/>
                      </a:lnTo>
                      <a:lnTo>
                        <a:pt x="238" y="598"/>
                      </a:lnTo>
                      <a:lnTo>
                        <a:pt x="228" y="604"/>
                      </a:lnTo>
                      <a:lnTo>
                        <a:pt x="218" y="606"/>
                      </a:lnTo>
                      <a:lnTo>
                        <a:pt x="208" y="606"/>
                      </a:lnTo>
                      <a:lnTo>
                        <a:pt x="196" y="606"/>
                      </a:lnTo>
                      <a:lnTo>
                        <a:pt x="178" y="604"/>
                      </a:lnTo>
                      <a:lnTo>
                        <a:pt x="166" y="604"/>
                      </a:lnTo>
                      <a:lnTo>
                        <a:pt x="166" y="604"/>
                      </a:lnTo>
                      <a:lnTo>
                        <a:pt x="162" y="606"/>
                      </a:lnTo>
                      <a:lnTo>
                        <a:pt x="158" y="610"/>
                      </a:lnTo>
                      <a:lnTo>
                        <a:pt x="148" y="620"/>
                      </a:lnTo>
                      <a:lnTo>
                        <a:pt x="144" y="622"/>
                      </a:lnTo>
                      <a:lnTo>
                        <a:pt x="140" y="622"/>
                      </a:lnTo>
                      <a:lnTo>
                        <a:pt x="136" y="616"/>
                      </a:lnTo>
                      <a:lnTo>
                        <a:pt x="132" y="604"/>
                      </a:lnTo>
                      <a:lnTo>
                        <a:pt x="132" y="604"/>
                      </a:lnTo>
                      <a:lnTo>
                        <a:pt x="126" y="582"/>
                      </a:lnTo>
                      <a:lnTo>
                        <a:pt x="124" y="570"/>
                      </a:lnTo>
                      <a:lnTo>
                        <a:pt x="122" y="560"/>
                      </a:lnTo>
                      <a:lnTo>
                        <a:pt x="116" y="546"/>
                      </a:lnTo>
                      <a:lnTo>
                        <a:pt x="116" y="546"/>
                      </a:lnTo>
                      <a:lnTo>
                        <a:pt x="114" y="538"/>
                      </a:lnTo>
                      <a:lnTo>
                        <a:pt x="112" y="530"/>
                      </a:lnTo>
                      <a:lnTo>
                        <a:pt x="112" y="518"/>
                      </a:lnTo>
                      <a:lnTo>
                        <a:pt x="110" y="512"/>
                      </a:lnTo>
                      <a:lnTo>
                        <a:pt x="108" y="508"/>
                      </a:lnTo>
                      <a:lnTo>
                        <a:pt x="102" y="502"/>
                      </a:lnTo>
                      <a:lnTo>
                        <a:pt x="92" y="500"/>
                      </a:lnTo>
                      <a:lnTo>
                        <a:pt x="92" y="500"/>
                      </a:lnTo>
                      <a:lnTo>
                        <a:pt x="70" y="496"/>
                      </a:lnTo>
                      <a:lnTo>
                        <a:pt x="54" y="494"/>
                      </a:lnTo>
                      <a:lnTo>
                        <a:pt x="48" y="492"/>
                      </a:lnTo>
                      <a:lnTo>
                        <a:pt x="42" y="490"/>
                      </a:lnTo>
                      <a:lnTo>
                        <a:pt x="36" y="486"/>
                      </a:lnTo>
                      <a:lnTo>
                        <a:pt x="30" y="480"/>
                      </a:lnTo>
                      <a:lnTo>
                        <a:pt x="30" y="480"/>
                      </a:lnTo>
                      <a:lnTo>
                        <a:pt x="20" y="466"/>
                      </a:lnTo>
                      <a:lnTo>
                        <a:pt x="10" y="456"/>
                      </a:lnTo>
                      <a:lnTo>
                        <a:pt x="0" y="446"/>
                      </a:lnTo>
                      <a:lnTo>
                        <a:pt x="0" y="446"/>
                      </a:lnTo>
                      <a:lnTo>
                        <a:pt x="10" y="422"/>
                      </a:lnTo>
                      <a:lnTo>
                        <a:pt x="18" y="402"/>
                      </a:lnTo>
                      <a:lnTo>
                        <a:pt x="24" y="390"/>
                      </a:lnTo>
                      <a:lnTo>
                        <a:pt x="24" y="390"/>
                      </a:lnTo>
                      <a:lnTo>
                        <a:pt x="34" y="352"/>
                      </a:lnTo>
                      <a:lnTo>
                        <a:pt x="40" y="328"/>
                      </a:lnTo>
                      <a:lnTo>
                        <a:pt x="42" y="318"/>
                      </a:lnTo>
                      <a:lnTo>
                        <a:pt x="42" y="312"/>
                      </a:lnTo>
                      <a:lnTo>
                        <a:pt x="42" y="312"/>
                      </a:lnTo>
                      <a:lnTo>
                        <a:pt x="42" y="292"/>
                      </a:lnTo>
                      <a:lnTo>
                        <a:pt x="44" y="260"/>
                      </a:lnTo>
                      <a:lnTo>
                        <a:pt x="46" y="218"/>
                      </a:lnTo>
                      <a:lnTo>
                        <a:pt x="46" y="218"/>
                      </a:lnTo>
                      <a:lnTo>
                        <a:pt x="68" y="216"/>
                      </a:lnTo>
                      <a:lnTo>
                        <a:pt x="86" y="214"/>
                      </a:lnTo>
                      <a:lnTo>
                        <a:pt x="100" y="212"/>
                      </a:lnTo>
                      <a:lnTo>
                        <a:pt x="100" y="212"/>
                      </a:lnTo>
                      <a:lnTo>
                        <a:pt x="114" y="204"/>
                      </a:lnTo>
                      <a:lnTo>
                        <a:pt x="128" y="194"/>
                      </a:lnTo>
                      <a:lnTo>
                        <a:pt x="152" y="180"/>
                      </a:lnTo>
                      <a:lnTo>
                        <a:pt x="152" y="180"/>
                      </a:lnTo>
                      <a:lnTo>
                        <a:pt x="162" y="176"/>
                      </a:lnTo>
                      <a:lnTo>
                        <a:pt x="180" y="174"/>
                      </a:lnTo>
                      <a:lnTo>
                        <a:pt x="210" y="170"/>
                      </a:lnTo>
                      <a:lnTo>
                        <a:pt x="210" y="170"/>
                      </a:lnTo>
                      <a:lnTo>
                        <a:pt x="218" y="168"/>
                      </a:lnTo>
                      <a:lnTo>
                        <a:pt x="228" y="162"/>
                      </a:lnTo>
                      <a:lnTo>
                        <a:pt x="238" y="154"/>
                      </a:lnTo>
                      <a:lnTo>
                        <a:pt x="246" y="144"/>
                      </a:lnTo>
                      <a:lnTo>
                        <a:pt x="246" y="144"/>
                      </a:lnTo>
                      <a:lnTo>
                        <a:pt x="254" y="130"/>
                      </a:lnTo>
                      <a:lnTo>
                        <a:pt x="258" y="124"/>
                      </a:lnTo>
                      <a:lnTo>
                        <a:pt x="258" y="124"/>
                      </a:lnTo>
                      <a:lnTo>
                        <a:pt x="272" y="122"/>
                      </a:lnTo>
                      <a:lnTo>
                        <a:pt x="284" y="120"/>
                      </a:lnTo>
                      <a:lnTo>
                        <a:pt x="296" y="114"/>
                      </a:lnTo>
                      <a:lnTo>
                        <a:pt x="296" y="114"/>
                      </a:lnTo>
                      <a:lnTo>
                        <a:pt x="306" y="106"/>
                      </a:lnTo>
                      <a:lnTo>
                        <a:pt x="318" y="102"/>
                      </a:lnTo>
                      <a:lnTo>
                        <a:pt x="346" y="98"/>
                      </a:lnTo>
                      <a:lnTo>
                        <a:pt x="346" y="98"/>
                      </a:lnTo>
                      <a:lnTo>
                        <a:pt x="352" y="94"/>
                      </a:lnTo>
                      <a:lnTo>
                        <a:pt x="360" y="92"/>
                      </a:lnTo>
                      <a:lnTo>
                        <a:pt x="372" y="80"/>
                      </a:lnTo>
                      <a:lnTo>
                        <a:pt x="384" y="72"/>
                      </a:lnTo>
                      <a:lnTo>
                        <a:pt x="390" y="68"/>
                      </a:lnTo>
                      <a:lnTo>
                        <a:pt x="394" y="66"/>
                      </a:lnTo>
                      <a:lnTo>
                        <a:pt x="394" y="66"/>
                      </a:lnTo>
                      <a:lnTo>
                        <a:pt x="406" y="68"/>
                      </a:lnTo>
                      <a:lnTo>
                        <a:pt x="422" y="70"/>
                      </a:lnTo>
                      <a:lnTo>
                        <a:pt x="440" y="76"/>
                      </a:lnTo>
                      <a:lnTo>
                        <a:pt x="458" y="84"/>
                      </a:lnTo>
                      <a:lnTo>
                        <a:pt x="458" y="84"/>
                      </a:lnTo>
                      <a:lnTo>
                        <a:pt x="484" y="102"/>
                      </a:lnTo>
                      <a:lnTo>
                        <a:pt x="498" y="108"/>
                      </a:lnTo>
                      <a:lnTo>
                        <a:pt x="504" y="110"/>
                      </a:lnTo>
                      <a:lnTo>
                        <a:pt x="510" y="108"/>
                      </a:lnTo>
                      <a:lnTo>
                        <a:pt x="510" y="108"/>
                      </a:lnTo>
                      <a:lnTo>
                        <a:pt x="534" y="100"/>
                      </a:lnTo>
                      <a:lnTo>
                        <a:pt x="546" y="98"/>
                      </a:lnTo>
                      <a:lnTo>
                        <a:pt x="560" y="98"/>
                      </a:lnTo>
                      <a:lnTo>
                        <a:pt x="560" y="98"/>
                      </a:lnTo>
                      <a:lnTo>
                        <a:pt x="574" y="98"/>
                      </a:lnTo>
                      <a:lnTo>
                        <a:pt x="588" y="98"/>
                      </a:lnTo>
                      <a:lnTo>
                        <a:pt x="594" y="96"/>
                      </a:lnTo>
                      <a:lnTo>
                        <a:pt x="600" y="92"/>
                      </a:lnTo>
                      <a:lnTo>
                        <a:pt x="604" y="88"/>
                      </a:lnTo>
                      <a:lnTo>
                        <a:pt x="606" y="82"/>
                      </a:lnTo>
                      <a:lnTo>
                        <a:pt x="606" y="82"/>
                      </a:lnTo>
                      <a:lnTo>
                        <a:pt x="608" y="68"/>
                      </a:lnTo>
                      <a:lnTo>
                        <a:pt x="606" y="56"/>
                      </a:lnTo>
                      <a:lnTo>
                        <a:pt x="602" y="38"/>
                      </a:lnTo>
                      <a:lnTo>
                        <a:pt x="602" y="38"/>
                      </a:lnTo>
                      <a:lnTo>
                        <a:pt x="598" y="32"/>
                      </a:lnTo>
                      <a:lnTo>
                        <a:pt x="596" y="28"/>
                      </a:lnTo>
                      <a:lnTo>
                        <a:pt x="596" y="26"/>
                      </a:lnTo>
                      <a:lnTo>
                        <a:pt x="598" y="20"/>
                      </a:lnTo>
                      <a:lnTo>
                        <a:pt x="598" y="20"/>
                      </a:lnTo>
                      <a:lnTo>
                        <a:pt x="606" y="6"/>
                      </a:lnTo>
                      <a:lnTo>
                        <a:pt x="610" y="0"/>
                      </a:lnTo>
                      <a:lnTo>
                        <a:pt x="612" y="0"/>
                      </a:lnTo>
                      <a:lnTo>
                        <a:pt x="614" y="2"/>
                      </a:lnTo>
                      <a:lnTo>
                        <a:pt x="614" y="2"/>
                      </a:lnTo>
                      <a:lnTo>
                        <a:pt x="624" y="8"/>
                      </a:lnTo>
                      <a:lnTo>
                        <a:pt x="636" y="18"/>
                      </a:lnTo>
                      <a:lnTo>
                        <a:pt x="646" y="30"/>
                      </a:lnTo>
                      <a:lnTo>
                        <a:pt x="650" y="36"/>
                      </a:lnTo>
                      <a:lnTo>
                        <a:pt x="652" y="42"/>
                      </a:lnTo>
                      <a:lnTo>
                        <a:pt x="652" y="42"/>
                      </a:lnTo>
                      <a:lnTo>
                        <a:pt x="652" y="50"/>
                      </a:lnTo>
                      <a:lnTo>
                        <a:pt x="652" y="60"/>
                      </a:lnTo>
                      <a:lnTo>
                        <a:pt x="648" y="72"/>
                      </a:lnTo>
                      <a:lnTo>
                        <a:pt x="646" y="86"/>
                      </a:lnTo>
                      <a:lnTo>
                        <a:pt x="646" y="86"/>
                      </a:lnTo>
                      <a:lnTo>
                        <a:pt x="644" y="104"/>
                      </a:lnTo>
                      <a:lnTo>
                        <a:pt x="646" y="120"/>
                      </a:lnTo>
                      <a:lnTo>
                        <a:pt x="646" y="148"/>
                      </a:lnTo>
                      <a:lnTo>
                        <a:pt x="646" y="148"/>
                      </a:lnTo>
                      <a:lnTo>
                        <a:pt x="648" y="160"/>
                      </a:lnTo>
                      <a:lnTo>
                        <a:pt x="650" y="168"/>
                      </a:lnTo>
                      <a:lnTo>
                        <a:pt x="656" y="174"/>
                      </a:lnTo>
                      <a:lnTo>
                        <a:pt x="656" y="17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3" name="Freeform 87">
                  <a:extLst>
                    <a:ext uri="{FF2B5EF4-FFF2-40B4-BE49-F238E27FC236}">
                      <a16:creationId xmlns:a16="http://schemas.microsoft.com/office/drawing/2014/main" id="{F7E9CD3A-5A7D-4E27-A5EA-96A903863A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984" y="5913674"/>
                  <a:ext cx="192057" cy="210348"/>
                </a:xfrm>
                <a:custGeom>
                  <a:avLst/>
                  <a:gdLst/>
                  <a:ahLst/>
                  <a:cxnLst>
                    <a:cxn ang="0">
                      <a:pos x="6" y="78"/>
                    </a:cxn>
                    <a:cxn ang="0">
                      <a:pos x="32" y="110"/>
                    </a:cxn>
                    <a:cxn ang="0">
                      <a:pos x="42" y="136"/>
                    </a:cxn>
                    <a:cxn ang="0">
                      <a:pos x="40" y="172"/>
                    </a:cxn>
                    <a:cxn ang="0">
                      <a:pos x="44" y="188"/>
                    </a:cxn>
                    <a:cxn ang="0">
                      <a:pos x="52" y="198"/>
                    </a:cxn>
                    <a:cxn ang="0">
                      <a:pos x="66" y="216"/>
                    </a:cxn>
                    <a:cxn ang="0">
                      <a:pos x="88" y="210"/>
                    </a:cxn>
                    <a:cxn ang="0">
                      <a:pos x="112" y="188"/>
                    </a:cxn>
                    <a:cxn ang="0">
                      <a:pos x="120" y="186"/>
                    </a:cxn>
                    <a:cxn ang="0">
                      <a:pos x="120" y="202"/>
                    </a:cxn>
                    <a:cxn ang="0">
                      <a:pos x="128" y="212"/>
                    </a:cxn>
                    <a:cxn ang="0">
                      <a:pos x="144" y="212"/>
                    </a:cxn>
                    <a:cxn ang="0">
                      <a:pos x="164" y="202"/>
                    </a:cxn>
                    <a:cxn ang="0">
                      <a:pos x="180" y="202"/>
                    </a:cxn>
                    <a:cxn ang="0">
                      <a:pos x="210" y="220"/>
                    </a:cxn>
                    <a:cxn ang="0">
                      <a:pos x="214" y="230"/>
                    </a:cxn>
                    <a:cxn ang="0">
                      <a:pos x="216" y="272"/>
                    </a:cxn>
                    <a:cxn ang="0">
                      <a:pos x="232" y="276"/>
                    </a:cxn>
                    <a:cxn ang="0">
                      <a:pos x="240" y="266"/>
                    </a:cxn>
                    <a:cxn ang="0">
                      <a:pos x="226" y="214"/>
                    </a:cxn>
                    <a:cxn ang="0">
                      <a:pos x="214" y="184"/>
                    </a:cxn>
                    <a:cxn ang="0">
                      <a:pos x="186" y="164"/>
                    </a:cxn>
                    <a:cxn ang="0">
                      <a:pos x="178" y="152"/>
                    </a:cxn>
                    <a:cxn ang="0">
                      <a:pos x="164" y="136"/>
                    </a:cxn>
                    <a:cxn ang="0">
                      <a:pos x="158" y="124"/>
                    </a:cxn>
                    <a:cxn ang="0">
                      <a:pos x="174" y="118"/>
                    </a:cxn>
                    <a:cxn ang="0">
                      <a:pos x="218" y="126"/>
                    </a:cxn>
                    <a:cxn ang="0">
                      <a:pos x="244" y="122"/>
                    </a:cxn>
                    <a:cxn ang="0">
                      <a:pos x="252" y="112"/>
                    </a:cxn>
                    <a:cxn ang="0">
                      <a:pos x="244" y="104"/>
                    </a:cxn>
                    <a:cxn ang="0">
                      <a:pos x="202" y="92"/>
                    </a:cxn>
                    <a:cxn ang="0">
                      <a:pos x="182" y="84"/>
                    </a:cxn>
                    <a:cxn ang="0">
                      <a:pos x="174" y="66"/>
                    </a:cxn>
                    <a:cxn ang="0">
                      <a:pos x="168" y="44"/>
                    </a:cxn>
                    <a:cxn ang="0">
                      <a:pos x="166" y="30"/>
                    </a:cxn>
                    <a:cxn ang="0">
                      <a:pos x="156" y="24"/>
                    </a:cxn>
                    <a:cxn ang="0">
                      <a:pos x="134" y="22"/>
                    </a:cxn>
                    <a:cxn ang="0">
                      <a:pos x="90" y="16"/>
                    </a:cxn>
                    <a:cxn ang="0">
                      <a:pos x="76" y="12"/>
                    </a:cxn>
                    <a:cxn ang="0">
                      <a:pos x="38" y="0"/>
                    </a:cxn>
                    <a:cxn ang="0">
                      <a:pos x="18" y="10"/>
                    </a:cxn>
                    <a:cxn ang="0">
                      <a:pos x="0" y="36"/>
                    </a:cxn>
                    <a:cxn ang="0">
                      <a:pos x="4" y="52"/>
                    </a:cxn>
                    <a:cxn ang="0">
                      <a:pos x="2" y="68"/>
                    </a:cxn>
                  </a:cxnLst>
                  <a:rect l="0" t="0" r="r" b="b"/>
                  <a:pathLst>
                    <a:path w="252" h="276">
                      <a:moveTo>
                        <a:pt x="2" y="68"/>
                      </a:moveTo>
                      <a:lnTo>
                        <a:pt x="2" y="68"/>
                      </a:lnTo>
                      <a:lnTo>
                        <a:pt x="6" y="78"/>
                      </a:lnTo>
                      <a:lnTo>
                        <a:pt x="12" y="88"/>
                      </a:lnTo>
                      <a:lnTo>
                        <a:pt x="24" y="102"/>
                      </a:lnTo>
                      <a:lnTo>
                        <a:pt x="32" y="110"/>
                      </a:lnTo>
                      <a:lnTo>
                        <a:pt x="36" y="118"/>
                      </a:lnTo>
                      <a:lnTo>
                        <a:pt x="40" y="126"/>
                      </a:lnTo>
                      <a:lnTo>
                        <a:pt x="42" y="136"/>
                      </a:lnTo>
                      <a:lnTo>
                        <a:pt x="42" y="136"/>
                      </a:lnTo>
                      <a:lnTo>
                        <a:pt x="42" y="156"/>
                      </a:lnTo>
                      <a:lnTo>
                        <a:pt x="40" y="172"/>
                      </a:lnTo>
                      <a:lnTo>
                        <a:pt x="40" y="178"/>
                      </a:lnTo>
                      <a:lnTo>
                        <a:pt x="40" y="184"/>
                      </a:lnTo>
                      <a:lnTo>
                        <a:pt x="44" y="188"/>
                      </a:lnTo>
                      <a:lnTo>
                        <a:pt x="48" y="194"/>
                      </a:lnTo>
                      <a:lnTo>
                        <a:pt x="48" y="194"/>
                      </a:lnTo>
                      <a:lnTo>
                        <a:pt x="52" y="198"/>
                      </a:lnTo>
                      <a:lnTo>
                        <a:pt x="56" y="204"/>
                      </a:lnTo>
                      <a:lnTo>
                        <a:pt x="62" y="214"/>
                      </a:lnTo>
                      <a:lnTo>
                        <a:pt x="66" y="216"/>
                      </a:lnTo>
                      <a:lnTo>
                        <a:pt x="72" y="216"/>
                      </a:lnTo>
                      <a:lnTo>
                        <a:pt x="78" y="214"/>
                      </a:lnTo>
                      <a:lnTo>
                        <a:pt x="88" y="210"/>
                      </a:lnTo>
                      <a:lnTo>
                        <a:pt x="88" y="210"/>
                      </a:lnTo>
                      <a:lnTo>
                        <a:pt x="104" y="196"/>
                      </a:lnTo>
                      <a:lnTo>
                        <a:pt x="112" y="188"/>
                      </a:lnTo>
                      <a:lnTo>
                        <a:pt x="118" y="184"/>
                      </a:lnTo>
                      <a:lnTo>
                        <a:pt x="118" y="186"/>
                      </a:lnTo>
                      <a:lnTo>
                        <a:pt x="120" y="186"/>
                      </a:lnTo>
                      <a:lnTo>
                        <a:pt x="120" y="186"/>
                      </a:lnTo>
                      <a:lnTo>
                        <a:pt x="120" y="194"/>
                      </a:lnTo>
                      <a:lnTo>
                        <a:pt x="120" y="202"/>
                      </a:lnTo>
                      <a:lnTo>
                        <a:pt x="120" y="206"/>
                      </a:lnTo>
                      <a:lnTo>
                        <a:pt x="124" y="210"/>
                      </a:lnTo>
                      <a:lnTo>
                        <a:pt x="128" y="212"/>
                      </a:lnTo>
                      <a:lnTo>
                        <a:pt x="136" y="214"/>
                      </a:lnTo>
                      <a:lnTo>
                        <a:pt x="136" y="214"/>
                      </a:lnTo>
                      <a:lnTo>
                        <a:pt x="144" y="212"/>
                      </a:lnTo>
                      <a:lnTo>
                        <a:pt x="150" y="210"/>
                      </a:lnTo>
                      <a:lnTo>
                        <a:pt x="160" y="204"/>
                      </a:lnTo>
                      <a:lnTo>
                        <a:pt x="164" y="202"/>
                      </a:lnTo>
                      <a:lnTo>
                        <a:pt x="170" y="200"/>
                      </a:lnTo>
                      <a:lnTo>
                        <a:pt x="174" y="200"/>
                      </a:lnTo>
                      <a:lnTo>
                        <a:pt x="180" y="202"/>
                      </a:lnTo>
                      <a:lnTo>
                        <a:pt x="180" y="202"/>
                      </a:lnTo>
                      <a:lnTo>
                        <a:pt x="204" y="214"/>
                      </a:lnTo>
                      <a:lnTo>
                        <a:pt x="210" y="220"/>
                      </a:lnTo>
                      <a:lnTo>
                        <a:pt x="212" y="224"/>
                      </a:lnTo>
                      <a:lnTo>
                        <a:pt x="214" y="230"/>
                      </a:lnTo>
                      <a:lnTo>
                        <a:pt x="214" y="230"/>
                      </a:lnTo>
                      <a:lnTo>
                        <a:pt x="214" y="264"/>
                      </a:lnTo>
                      <a:lnTo>
                        <a:pt x="216" y="272"/>
                      </a:lnTo>
                      <a:lnTo>
                        <a:pt x="216" y="272"/>
                      </a:lnTo>
                      <a:lnTo>
                        <a:pt x="218" y="274"/>
                      </a:lnTo>
                      <a:lnTo>
                        <a:pt x="228" y="276"/>
                      </a:lnTo>
                      <a:lnTo>
                        <a:pt x="232" y="276"/>
                      </a:lnTo>
                      <a:lnTo>
                        <a:pt x="236" y="274"/>
                      </a:lnTo>
                      <a:lnTo>
                        <a:pt x="238" y="272"/>
                      </a:lnTo>
                      <a:lnTo>
                        <a:pt x="240" y="266"/>
                      </a:lnTo>
                      <a:lnTo>
                        <a:pt x="240" y="266"/>
                      </a:lnTo>
                      <a:lnTo>
                        <a:pt x="236" y="244"/>
                      </a:lnTo>
                      <a:lnTo>
                        <a:pt x="226" y="214"/>
                      </a:lnTo>
                      <a:lnTo>
                        <a:pt x="226" y="214"/>
                      </a:lnTo>
                      <a:lnTo>
                        <a:pt x="218" y="192"/>
                      </a:lnTo>
                      <a:lnTo>
                        <a:pt x="214" y="184"/>
                      </a:lnTo>
                      <a:lnTo>
                        <a:pt x="204" y="178"/>
                      </a:lnTo>
                      <a:lnTo>
                        <a:pt x="204" y="178"/>
                      </a:lnTo>
                      <a:lnTo>
                        <a:pt x="186" y="164"/>
                      </a:lnTo>
                      <a:lnTo>
                        <a:pt x="180" y="158"/>
                      </a:lnTo>
                      <a:lnTo>
                        <a:pt x="178" y="152"/>
                      </a:lnTo>
                      <a:lnTo>
                        <a:pt x="178" y="152"/>
                      </a:lnTo>
                      <a:lnTo>
                        <a:pt x="178" y="148"/>
                      </a:lnTo>
                      <a:lnTo>
                        <a:pt x="174" y="144"/>
                      </a:lnTo>
                      <a:lnTo>
                        <a:pt x="164" y="136"/>
                      </a:lnTo>
                      <a:lnTo>
                        <a:pt x="158" y="132"/>
                      </a:lnTo>
                      <a:lnTo>
                        <a:pt x="156" y="128"/>
                      </a:lnTo>
                      <a:lnTo>
                        <a:pt x="158" y="124"/>
                      </a:lnTo>
                      <a:lnTo>
                        <a:pt x="164" y="122"/>
                      </a:lnTo>
                      <a:lnTo>
                        <a:pt x="164" y="122"/>
                      </a:lnTo>
                      <a:lnTo>
                        <a:pt x="174" y="118"/>
                      </a:lnTo>
                      <a:lnTo>
                        <a:pt x="182" y="118"/>
                      </a:lnTo>
                      <a:lnTo>
                        <a:pt x="196" y="118"/>
                      </a:lnTo>
                      <a:lnTo>
                        <a:pt x="218" y="126"/>
                      </a:lnTo>
                      <a:lnTo>
                        <a:pt x="218" y="126"/>
                      </a:lnTo>
                      <a:lnTo>
                        <a:pt x="230" y="124"/>
                      </a:lnTo>
                      <a:lnTo>
                        <a:pt x="244" y="122"/>
                      </a:lnTo>
                      <a:lnTo>
                        <a:pt x="248" y="118"/>
                      </a:lnTo>
                      <a:lnTo>
                        <a:pt x="252" y="116"/>
                      </a:lnTo>
                      <a:lnTo>
                        <a:pt x="252" y="112"/>
                      </a:lnTo>
                      <a:lnTo>
                        <a:pt x="250" y="108"/>
                      </a:lnTo>
                      <a:lnTo>
                        <a:pt x="250" y="108"/>
                      </a:lnTo>
                      <a:lnTo>
                        <a:pt x="244" y="104"/>
                      </a:lnTo>
                      <a:lnTo>
                        <a:pt x="238" y="100"/>
                      </a:lnTo>
                      <a:lnTo>
                        <a:pt x="220" y="96"/>
                      </a:lnTo>
                      <a:lnTo>
                        <a:pt x="202" y="92"/>
                      </a:lnTo>
                      <a:lnTo>
                        <a:pt x="190" y="88"/>
                      </a:lnTo>
                      <a:lnTo>
                        <a:pt x="190" y="88"/>
                      </a:lnTo>
                      <a:lnTo>
                        <a:pt x="182" y="84"/>
                      </a:lnTo>
                      <a:lnTo>
                        <a:pt x="176" y="78"/>
                      </a:lnTo>
                      <a:lnTo>
                        <a:pt x="174" y="72"/>
                      </a:lnTo>
                      <a:lnTo>
                        <a:pt x="174" y="66"/>
                      </a:lnTo>
                      <a:lnTo>
                        <a:pt x="174" y="66"/>
                      </a:lnTo>
                      <a:lnTo>
                        <a:pt x="170" y="54"/>
                      </a:lnTo>
                      <a:lnTo>
                        <a:pt x="168" y="44"/>
                      </a:lnTo>
                      <a:lnTo>
                        <a:pt x="168" y="44"/>
                      </a:lnTo>
                      <a:lnTo>
                        <a:pt x="166" y="36"/>
                      </a:lnTo>
                      <a:lnTo>
                        <a:pt x="166" y="30"/>
                      </a:lnTo>
                      <a:lnTo>
                        <a:pt x="164" y="28"/>
                      </a:lnTo>
                      <a:lnTo>
                        <a:pt x="162" y="24"/>
                      </a:lnTo>
                      <a:lnTo>
                        <a:pt x="156" y="24"/>
                      </a:lnTo>
                      <a:lnTo>
                        <a:pt x="150" y="24"/>
                      </a:lnTo>
                      <a:lnTo>
                        <a:pt x="150" y="24"/>
                      </a:lnTo>
                      <a:lnTo>
                        <a:pt x="134" y="22"/>
                      </a:lnTo>
                      <a:lnTo>
                        <a:pt x="116" y="20"/>
                      </a:lnTo>
                      <a:lnTo>
                        <a:pt x="102" y="16"/>
                      </a:lnTo>
                      <a:lnTo>
                        <a:pt x="90" y="16"/>
                      </a:lnTo>
                      <a:lnTo>
                        <a:pt x="90" y="16"/>
                      </a:lnTo>
                      <a:lnTo>
                        <a:pt x="84" y="14"/>
                      </a:lnTo>
                      <a:lnTo>
                        <a:pt x="76" y="12"/>
                      </a:lnTo>
                      <a:lnTo>
                        <a:pt x="58" y="4"/>
                      </a:lnTo>
                      <a:lnTo>
                        <a:pt x="48" y="2"/>
                      </a:lnTo>
                      <a:lnTo>
                        <a:pt x="38" y="0"/>
                      </a:lnTo>
                      <a:lnTo>
                        <a:pt x="28" y="4"/>
                      </a:lnTo>
                      <a:lnTo>
                        <a:pt x="18" y="10"/>
                      </a:lnTo>
                      <a:lnTo>
                        <a:pt x="18" y="10"/>
                      </a:lnTo>
                      <a:lnTo>
                        <a:pt x="4" y="26"/>
                      </a:lnTo>
                      <a:lnTo>
                        <a:pt x="2" y="30"/>
                      </a:lnTo>
                      <a:lnTo>
                        <a:pt x="0" y="36"/>
                      </a:lnTo>
                      <a:lnTo>
                        <a:pt x="0" y="44"/>
                      </a:lnTo>
                      <a:lnTo>
                        <a:pt x="4" y="52"/>
                      </a:lnTo>
                      <a:lnTo>
                        <a:pt x="4" y="52"/>
                      </a:lnTo>
                      <a:lnTo>
                        <a:pt x="4" y="60"/>
                      </a:lnTo>
                      <a:lnTo>
                        <a:pt x="4" y="64"/>
                      </a:lnTo>
                      <a:lnTo>
                        <a:pt x="2" y="68"/>
                      </a:lnTo>
                      <a:lnTo>
                        <a:pt x="2" y="6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4" name="Freeform 88">
                  <a:extLst>
                    <a:ext uri="{FF2B5EF4-FFF2-40B4-BE49-F238E27FC236}">
                      <a16:creationId xmlns:a16="http://schemas.microsoft.com/office/drawing/2014/main" id="{320D0AF7-4D65-4852-86E6-D4DEBA7C4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8190" y="4618049"/>
                  <a:ext cx="756034" cy="629520"/>
                </a:xfrm>
                <a:custGeom>
                  <a:avLst/>
                  <a:gdLst/>
                  <a:ahLst/>
                  <a:cxnLst>
                    <a:cxn ang="0">
                      <a:pos x="950" y="492"/>
                    </a:cxn>
                    <a:cxn ang="0">
                      <a:pos x="980" y="512"/>
                    </a:cxn>
                    <a:cxn ang="0">
                      <a:pos x="980" y="562"/>
                    </a:cxn>
                    <a:cxn ang="0">
                      <a:pos x="950" y="586"/>
                    </a:cxn>
                    <a:cxn ang="0">
                      <a:pos x="930" y="568"/>
                    </a:cxn>
                    <a:cxn ang="0">
                      <a:pos x="924" y="646"/>
                    </a:cxn>
                    <a:cxn ang="0">
                      <a:pos x="928" y="742"/>
                    </a:cxn>
                    <a:cxn ang="0">
                      <a:pos x="772" y="714"/>
                    </a:cxn>
                    <a:cxn ang="0">
                      <a:pos x="672" y="758"/>
                    </a:cxn>
                    <a:cxn ang="0">
                      <a:pos x="632" y="804"/>
                    </a:cxn>
                    <a:cxn ang="0">
                      <a:pos x="552" y="804"/>
                    </a:cxn>
                    <a:cxn ang="0">
                      <a:pos x="504" y="818"/>
                    </a:cxn>
                    <a:cxn ang="0">
                      <a:pos x="466" y="826"/>
                    </a:cxn>
                    <a:cxn ang="0">
                      <a:pos x="410" y="796"/>
                    </a:cxn>
                    <a:cxn ang="0">
                      <a:pos x="372" y="820"/>
                    </a:cxn>
                    <a:cxn ang="0">
                      <a:pos x="354" y="816"/>
                    </a:cxn>
                    <a:cxn ang="0">
                      <a:pos x="328" y="772"/>
                    </a:cxn>
                    <a:cxn ang="0">
                      <a:pos x="298" y="742"/>
                    </a:cxn>
                    <a:cxn ang="0">
                      <a:pos x="292" y="698"/>
                    </a:cxn>
                    <a:cxn ang="0">
                      <a:pos x="302" y="674"/>
                    </a:cxn>
                    <a:cxn ang="0">
                      <a:pos x="268" y="662"/>
                    </a:cxn>
                    <a:cxn ang="0">
                      <a:pos x="232" y="680"/>
                    </a:cxn>
                    <a:cxn ang="0">
                      <a:pos x="174" y="656"/>
                    </a:cxn>
                    <a:cxn ang="0">
                      <a:pos x="170" y="610"/>
                    </a:cxn>
                    <a:cxn ang="0">
                      <a:pos x="136" y="592"/>
                    </a:cxn>
                    <a:cxn ang="0">
                      <a:pos x="86" y="556"/>
                    </a:cxn>
                    <a:cxn ang="0">
                      <a:pos x="60" y="504"/>
                    </a:cxn>
                    <a:cxn ang="0">
                      <a:pos x="0" y="460"/>
                    </a:cxn>
                    <a:cxn ang="0">
                      <a:pos x="94" y="438"/>
                    </a:cxn>
                    <a:cxn ang="0">
                      <a:pos x="96" y="418"/>
                    </a:cxn>
                    <a:cxn ang="0">
                      <a:pos x="124" y="362"/>
                    </a:cxn>
                    <a:cxn ang="0">
                      <a:pos x="152" y="258"/>
                    </a:cxn>
                    <a:cxn ang="0">
                      <a:pos x="194" y="204"/>
                    </a:cxn>
                    <a:cxn ang="0">
                      <a:pos x="278" y="150"/>
                    </a:cxn>
                    <a:cxn ang="0">
                      <a:pos x="364" y="144"/>
                    </a:cxn>
                    <a:cxn ang="0">
                      <a:pos x="434" y="182"/>
                    </a:cxn>
                    <a:cxn ang="0">
                      <a:pos x="458" y="176"/>
                    </a:cxn>
                    <a:cxn ang="0">
                      <a:pos x="502" y="130"/>
                    </a:cxn>
                    <a:cxn ang="0">
                      <a:pos x="568" y="102"/>
                    </a:cxn>
                    <a:cxn ang="0">
                      <a:pos x="644" y="40"/>
                    </a:cxn>
                    <a:cxn ang="0">
                      <a:pos x="700" y="0"/>
                    </a:cxn>
                    <a:cxn ang="0">
                      <a:pos x="736" y="42"/>
                    </a:cxn>
                    <a:cxn ang="0">
                      <a:pos x="850" y="112"/>
                    </a:cxn>
                    <a:cxn ang="0">
                      <a:pos x="896" y="170"/>
                    </a:cxn>
                    <a:cxn ang="0">
                      <a:pos x="938" y="244"/>
                    </a:cxn>
                    <a:cxn ang="0">
                      <a:pos x="982" y="300"/>
                    </a:cxn>
                    <a:cxn ang="0">
                      <a:pos x="932" y="308"/>
                    </a:cxn>
                    <a:cxn ang="0">
                      <a:pos x="874" y="326"/>
                    </a:cxn>
                    <a:cxn ang="0">
                      <a:pos x="904" y="354"/>
                    </a:cxn>
                    <a:cxn ang="0">
                      <a:pos x="920" y="388"/>
                    </a:cxn>
                    <a:cxn ang="0">
                      <a:pos x="880" y="432"/>
                    </a:cxn>
                    <a:cxn ang="0">
                      <a:pos x="878" y="474"/>
                    </a:cxn>
                    <a:cxn ang="0">
                      <a:pos x="918" y="498"/>
                    </a:cxn>
                    <a:cxn ang="0">
                      <a:pos x="984" y="446"/>
                    </a:cxn>
                  </a:cxnLst>
                  <a:rect l="0" t="0" r="r" b="b"/>
                  <a:pathLst>
                    <a:path w="992" h="826">
                      <a:moveTo>
                        <a:pt x="984" y="446"/>
                      </a:moveTo>
                      <a:lnTo>
                        <a:pt x="984" y="446"/>
                      </a:lnTo>
                      <a:lnTo>
                        <a:pt x="972" y="460"/>
                      </a:lnTo>
                      <a:lnTo>
                        <a:pt x="954" y="486"/>
                      </a:lnTo>
                      <a:lnTo>
                        <a:pt x="954" y="486"/>
                      </a:lnTo>
                      <a:lnTo>
                        <a:pt x="950" y="492"/>
                      </a:lnTo>
                      <a:lnTo>
                        <a:pt x="950" y="496"/>
                      </a:lnTo>
                      <a:lnTo>
                        <a:pt x="950" y="502"/>
                      </a:lnTo>
                      <a:lnTo>
                        <a:pt x="954" y="506"/>
                      </a:lnTo>
                      <a:lnTo>
                        <a:pt x="956" y="508"/>
                      </a:lnTo>
                      <a:lnTo>
                        <a:pt x="980" y="512"/>
                      </a:lnTo>
                      <a:lnTo>
                        <a:pt x="980" y="512"/>
                      </a:lnTo>
                      <a:lnTo>
                        <a:pt x="986" y="516"/>
                      </a:lnTo>
                      <a:lnTo>
                        <a:pt x="990" y="520"/>
                      </a:lnTo>
                      <a:lnTo>
                        <a:pt x="992" y="528"/>
                      </a:lnTo>
                      <a:lnTo>
                        <a:pt x="992" y="528"/>
                      </a:lnTo>
                      <a:lnTo>
                        <a:pt x="988" y="542"/>
                      </a:lnTo>
                      <a:lnTo>
                        <a:pt x="980" y="562"/>
                      </a:lnTo>
                      <a:lnTo>
                        <a:pt x="972" y="580"/>
                      </a:lnTo>
                      <a:lnTo>
                        <a:pt x="968" y="586"/>
                      </a:lnTo>
                      <a:lnTo>
                        <a:pt x="964" y="588"/>
                      </a:lnTo>
                      <a:lnTo>
                        <a:pt x="964" y="588"/>
                      </a:lnTo>
                      <a:lnTo>
                        <a:pt x="958" y="588"/>
                      </a:lnTo>
                      <a:lnTo>
                        <a:pt x="950" y="586"/>
                      </a:lnTo>
                      <a:lnTo>
                        <a:pt x="942" y="582"/>
                      </a:lnTo>
                      <a:lnTo>
                        <a:pt x="938" y="578"/>
                      </a:lnTo>
                      <a:lnTo>
                        <a:pt x="936" y="576"/>
                      </a:lnTo>
                      <a:lnTo>
                        <a:pt x="936" y="576"/>
                      </a:lnTo>
                      <a:lnTo>
                        <a:pt x="934" y="570"/>
                      </a:lnTo>
                      <a:lnTo>
                        <a:pt x="930" y="568"/>
                      </a:lnTo>
                      <a:lnTo>
                        <a:pt x="928" y="570"/>
                      </a:lnTo>
                      <a:lnTo>
                        <a:pt x="926" y="572"/>
                      </a:lnTo>
                      <a:lnTo>
                        <a:pt x="924" y="584"/>
                      </a:lnTo>
                      <a:lnTo>
                        <a:pt x="924" y="584"/>
                      </a:lnTo>
                      <a:lnTo>
                        <a:pt x="924" y="608"/>
                      </a:lnTo>
                      <a:lnTo>
                        <a:pt x="924" y="646"/>
                      </a:lnTo>
                      <a:lnTo>
                        <a:pt x="924" y="700"/>
                      </a:lnTo>
                      <a:lnTo>
                        <a:pt x="924" y="700"/>
                      </a:lnTo>
                      <a:lnTo>
                        <a:pt x="924" y="712"/>
                      </a:lnTo>
                      <a:lnTo>
                        <a:pt x="926" y="724"/>
                      </a:lnTo>
                      <a:lnTo>
                        <a:pt x="928" y="742"/>
                      </a:lnTo>
                      <a:lnTo>
                        <a:pt x="928" y="742"/>
                      </a:lnTo>
                      <a:lnTo>
                        <a:pt x="876" y="730"/>
                      </a:lnTo>
                      <a:lnTo>
                        <a:pt x="876" y="730"/>
                      </a:lnTo>
                      <a:lnTo>
                        <a:pt x="796" y="710"/>
                      </a:lnTo>
                      <a:lnTo>
                        <a:pt x="796" y="710"/>
                      </a:lnTo>
                      <a:lnTo>
                        <a:pt x="786" y="710"/>
                      </a:lnTo>
                      <a:lnTo>
                        <a:pt x="772" y="714"/>
                      </a:lnTo>
                      <a:lnTo>
                        <a:pt x="736" y="722"/>
                      </a:lnTo>
                      <a:lnTo>
                        <a:pt x="736" y="722"/>
                      </a:lnTo>
                      <a:lnTo>
                        <a:pt x="718" y="730"/>
                      </a:lnTo>
                      <a:lnTo>
                        <a:pt x="698" y="738"/>
                      </a:lnTo>
                      <a:lnTo>
                        <a:pt x="680" y="752"/>
                      </a:lnTo>
                      <a:lnTo>
                        <a:pt x="672" y="758"/>
                      </a:lnTo>
                      <a:lnTo>
                        <a:pt x="666" y="764"/>
                      </a:lnTo>
                      <a:lnTo>
                        <a:pt x="666" y="764"/>
                      </a:lnTo>
                      <a:lnTo>
                        <a:pt x="650" y="790"/>
                      </a:lnTo>
                      <a:lnTo>
                        <a:pt x="642" y="798"/>
                      </a:lnTo>
                      <a:lnTo>
                        <a:pt x="636" y="802"/>
                      </a:lnTo>
                      <a:lnTo>
                        <a:pt x="632" y="804"/>
                      </a:lnTo>
                      <a:lnTo>
                        <a:pt x="632" y="804"/>
                      </a:lnTo>
                      <a:lnTo>
                        <a:pt x="610" y="808"/>
                      </a:lnTo>
                      <a:lnTo>
                        <a:pt x="584" y="810"/>
                      </a:lnTo>
                      <a:lnTo>
                        <a:pt x="584" y="810"/>
                      </a:lnTo>
                      <a:lnTo>
                        <a:pt x="570" y="808"/>
                      </a:lnTo>
                      <a:lnTo>
                        <a:pt x="552" y="804"/>
                      </a:lnTo>
                      <a:lnTo>
                        <a:pt x="534" y="800"/>
                      </a:lnTo>
                      <a:lnTo>
                        <a:pt x="526" y="802"/>
                      </a:lnTo>
                      <a:lnTo>
                        <a:pt x="520" y="804"/>
                      </a:lnTo>
                      <a:lnTo>
                        <a:pt x="520" y="804"/>
                      </a:lnTo>
                      <a:lnTo>
                        <a:pt x="510" y="812"/>
                      </a:lnTo>
                      <a:lnTo>
                        <a:pt x="504" y="818"/>
                      </a:lnTo>
                      <a:lnTo>
                        <a:pt x="498" y="822"/>
                      </a:lnTo>
                      <a:lnTo>
                        <a:pt x="486" y="822"/>
                      </a:lnTo>
                      <a:lnTo>
                        <a:pt x="486" y="822"/>
                      </a:lnTo>
                      <a:lnTo>
                        <a:pt x="474" y="824"/>
                      </a:lnTo>
                      <a:lnTo>
                        <a:pt x="470" y="826"/>
                      </a:lnTo>
                      <a:lnTo>
                        <a:pt x="466" y="826"/>
                      </a:lnTo>
                      <a:lnTo>
                        <a:pt x="454" y="822"/>
                      </a:lnTo>
                      <a:lnTo>
                        <a:pt x="454" y="822"/>
                      </a:lnTo>
                      <a:lnTo>
                        <a:pt x="438" y="814"/>
                      </a:lnTo>
                      <a:lnTo>
                        <a:pt x="426" y="806"/>
                      </a:lnTo>
                      <a:lnTo>
                        <a:pt x="414" y="798"/>
                      </a:lnTo>
                      <a:lnTo>
                        <a:pt x="410" y="796"/>
                      </a:lnTo>
                      <a:lnTo>
                        <a:pt x="404" y="796"/>
                      </a:lnTo>
                      <a:lnTo>
                        <a:pt x="404" y="796"/>
                      </a:lnTo>
                      <a:lnTo>
                        <a:pt x="396" y="802"/>
                      </a:lnTo>
                      <a:lnTo>
                        <a:pt x="386" y="810"/>
                      </a:lnTo>
                      <a:lnTo>
                        <a:pt x="372" y="820"/>
                      </a:lnTo>
                      <a:lnTo>
                        <a:pt x="372" y="820"/>
                      </a:lnTo>
                      <a:lnTo>
                        <a:pt x="368" y="824"/>
                      </a:lnTo>
                      <a:lnTo>
                        <a:pt x="364" y="826"/>
                      </a:lnTo>
                      <a:lnTo>
                        <a:pt x="362" y="826"/>
                      </a:lnTo>
                      <a:lnTo>
                        <a:pt x="360" y="824"/>
                      </a:lnTo>
                      <a:lnTo>
                        <a:pt x="356" y="820"/>
                      </a:lnTo>
                      <a:lnTo>
                        <a:pt x="354" y="816"/>
                      </a:lnTo>
                      <a:lnTo>
                        <a:pt x="354" y="816"/>
                      </a:lnTo>
                      <a:lnTo>
                        <a:pt x="348" y="804"/>
                      </a:lnTo>
                      <a:lnTo>
                        <a:pt x="342" y="796"/>
                      </a:lnTo>
                      <a:lnTo>
                        <a:pt x="334" y="786"/>
                      </a:lnTo>
                      <a:lnTo>
                        <a:pt x="328" y="772"/>
                      </a:lnTo>
                      <a:lnTo>
                        <a:pt x="328" y="772"/>
                      </a:lnTo>
                      <a:lnTo>
                        <a:pt x="322" y="762"/>
                      </a:lnTo>
                      <a:lnTo>
                        <a:pt x="314" y="754"/>
                      </a:lnTo>
                      <a:lnTo>
                        <a:pt x="306" y="748"/>
                      </a:lnTo>
                      <a:lnTo>
                        <a:pt x="300" y="744"/>
                      </a:lnTo>
                      <a:lnTo>
                        <a:pt x="300" y="744"/>
                      </a:lnTo>
                      <a:lnTo>
                        <a:pt x="298" y="742"/>
                      </a:lnTo>
                      <a:lnTo>
                        <a:pt x="296" y="738"/>
                      </a:lnTo>
                      <a:lnTo>
                        <a:pt x="292" y="724"/>
                      </a:lnTo>
                      <a:lnTo>
                        <a:pt x="288" y="710"/>
                      </a:lnTo>
                      <a:lnTo>
                        <a:pt x="290" y="702"/>
                      </a:lnTo>
                      <a:lnTo>
                        <a:pt x="290" y="702"/>
                      </a:lnTo>
                      <a:lnTo>
                        <a:pt x="292" y="698"/>
                      </a:lnTo>
                      <a:lnTo>
                        <a:pt x="296" y="694"/>
                      </a:lnTo>
                      <a:lnTo>
                        <a:pt x="306" y="688"/>
                      </a:lnTo>
                      <a:lnTo>
                        <a:pt x="306" y="688"/>
                      </a:lnTo>
                      <a:lnTo>
                        <a:pt x="308" y="684"/>
                      </a:lnTo>
                      <a:lnTo>
                        <a:pt x="306" y="680"/>
                      </a:lnTo>
                      <a:lnTo>
                        <a:pt x="302" y="674"/>
                      </a:lnTo>
                      <a:lnTo>
                        <a:pt x="296" y="668"/>
                      </a:lnTo>
                      <a:lnTo>
                        <a:pt x="282" y="658"/>
                      </a:lnTo>
                      <a:lnTo>
                        <a:pt x="276" y="656"/>
                      </a:lnTo>
                      <a:lnTo>
                        <a:pt x="274" y="658"/>
                      </a:lnTo>
                      <a:lnTo>
                        <a:pt x="274" y="658"/>
                      </a:lnTo>
                      <a:lnTo>
                        <a:pt x="268" y="662"/>
                      </a:lnTo>
                      <a:lnTo>
                        <a:pt x="262" y="670"/>
                      </a:lnTo>
                      <a:lnTo>
                        <a:pt x="256" y="674"/>
                      </a:lnTo>
                      <a:lnTo>
                        <a:pt x="250" y="678"/>
                      </a:lnTo>
                      <a:lnTo>
                        <a:pt x="242" y="680"/>
                      </a:lnTo>
                      <a:lnTo>
                        <a:pt x="232" y="680"/>
                      </a:lnTo>
                      <a:lnTo>
                        <a:pt x="232" y="680"/>
                      </a:lnTo>
                      <a:lnTo>
                        <a:pt x="216" y="680"/>
                      </a:lnTo>
                      <a:lnTo>
                        <a:pt x="204" y="680"/>
                      </a:lnTo>
                      <a:lnTo>
                        <a:pt x="196" y="680"/>
                      </a:lnTo>
                      <a:lnTo>
                        <a:pt x="190" y="674"/>
                      </a:lnTo>
                      <a:lnTo>
                        <a:pt x="190" y="674"/>
                      </a:lnTo>
                      <a:lnTo>
                        <a:pt x="174" y="656"/>
                      </a:lnTo>
                      <a:lnTo>
                        <a:pt x="168" y="646"/>
                      </a:lnTo>
                      <a:lnTo>
                        <a:pt x="166" y="638"/>
                      </a:lnTo>
                      <a:lnTo>
                        <a:pt x="166" y="632"/>
                      </a:lnTo>
                      <a:lnTo>
                        <a:pt x="166" y="632"/>
                      </a:lnTo>
                      <a:lnTo>
                        <a:pt x="168" y="620"/>
                      </a:lnTo>
                      <a:lnTo>
                        <a:pt x="170" y="610"/>
                      </a:lnTo>
                      <a:lnTo>
                        <a:pt x="170" y="606"/>
                      </a:lnTo>
                      <a:lnTo>
                        <a:pt x="170" y="604"/>
                      </a:lnTo>
                      <a:lnTo>
                        <a:pt x="168" y="600"/>
                      </a:lnTo>
                      <a:lnTo>
                        <a:pt x="164" y="598"/>
                      </a:lnTo>
                      <a:lnTo>
                        <a:pt x="164" y="598"/>
                      </a:lnTo>
                      <a:lnTo>
                        <a:pt x="136" y="592"/>
                      </a:lnTo>
                      <a:lnTo>
                        <a:pt x="124" y="588"/>
                      </a:lnTo>
                      <a:lnTo>
                        <a:pt x="116" y="586"/>
                      </a:lnTo>
                      <a:lnTo>
                        <a:pt x="116" y="586"/>
                      </a:lnTo>
                      <a:lnTo>
                        <a:pt x="100" y="572"/>
                      </a:lnTo>
                      <a:lnTo>
                        <a:pt x="90" y="562"/>
                      </a:lnTo>
                      <a:lnTo>
                        <a:pt x="86" y="556"/>
                      </a:lnTo>
                      <a:lnTo>
                        <a:pt x="86" y="556"/>
                      </a:lnTo>
                      <a:lnTo>
                        <a:pt x="84" y="530"/>
                      </a:lnTo>
                      <a:lnTo>
                        <a:pt x="84" y="530"/>
                      </a:lnTo>
                      <a:lnTo>
                        <a:pt x="76" y="520"/>
                      </a:lnTo>
                      <a:lnTo>
                        <a:pt x="68" y="510"/>
                      </a:lnTo>
                      <a:lnTo>
                        <a:pt x="60" y="504"/>
                      </a:lnTo>
                      <a:lnTo>
                        <a:pt x="60" y="504"/>
                      </a:lnTo>
                      <a:lnTo>
                        <a:pt x="24" y="482"/>
                      </a:lnTo>
                      <a:lnTo>
                        <a:pt x="6" y="468"/>
                      </a:lnTo>
                      <a:lnTo>
                        <a:pt x="0" y="462"/>
                      </a:lnTo>
                      <a:lnTo>
                        <a:pt x="0" y="460"/>
                      </a:lnTo>
                      <a:lnTo>
                        <a:pt x="0" y="460"/>
                      </a:lnTo>
                      <a:lnTo>
                        <a:pt x="30" y="452"/>
                      </a:lnTo>
                      <a:lnTo>
                        <a:pt x="64" y="444"/>
                      </a:lnTo>
                      <a:lnTo>
                        <a:pt x="64" y="444"/>
                      </a:lnTo>
                      <a:lnTo>
                        <a:pt x="72" y="442"/>
                      </a:lnTo>
                      <a:lnTo>
                        <a:pt x="84" y="440"/>
                      </a:lnTo>
                      <a:lnTo>
                        <a:pt x="94" y="438"/>
                      </a:lnTo>
                      <a:lnTo>
                        <a:pt x="98" y="434"/>
                      </a:lnTo>
                      <a:lnTo>
                        <a:pt x="100" y="432"/>
                      </a:lnTo>
                      <a:lnTo>
                        <a:pt x="100" y="432"/>
                      </a:lnTo>
                      <a:lnTo>
                        <a:pt x="100" y="428"/>
                      </a:lnTo>
                      <a:lnTo>
                        <a:pt x="100" y="424"/>
                      </a:lnTo>
                      <a:lnTo>
                        <a:pt x="96" y="418"/>
                      </a:lnTo>
                      <a:lnTo>
                        <a:pt x="96" y="414"/>
                      </a:lnTo>
                      <a:lnTo>
                        <a:pt x="96" y="410"/>
                      </a:lnTo>
                      <a:lnTo>
                        <a:pt x="98" y="406"/>
                      </a:lnTo>
                      <a:lnTo>
                        <a:pt x="98" y="406"/>
                      </a:lnTo>
                      <a:lnTo>
                        <a:pt x="110" y="390"/>
                      </a:lnTo>
                      <a:lnTo>
                        <a:pt x="124" y="362"/>
                      </a:lnTo>
                      <a:lnTo>
                        <a:pt x="124" y="362"/>
                      </a:lnTo>
                      <a:lnTo>
                        <a:pt x="132" y="342"/>
                      </a:lnTo>
                      <a:lnTo>
                        <a:pt x="140" y="318"/>
                      </a:lnTo>
                      <a:lnTo>
                        <a:pt x="148" y="282"/>
                      </a:lnTo>
                      <a:lnTo>
                        <a:pt x="148" y="282"/>
                      </a:lnTo>
                      <a:lnTo>
                        <a:pt x="152" y="258"/>
                      </a:lnTo>
                      <a:lnTo>
                        <a:pt x="156" y="244"/>
                      </a:lnTo>
                      <a:lnTo>
                        <a:pt x="160" y="236"/>
                      </a:lnTo>
                      <a:lnTo>
                        <a:pt x="164" y="228"/>
                      </a:lnTo>
                      <a:lnTo>
                        <a:pt x="164" y="228"/>
                      </a:lnTo>
                      <a:lnTo>
                        <a:pt x="178" y="216"/>
                      </a:lnTo>
                      <a:lnTo>
                        <a:pt x="194" y="204"/>
                      </a:lnTo>
                      <a:lnTo>
                        <a:pt x="208" y="194"/>
                      </a:lnTo>
                      <a:lnTo>
                        <a:pt x="212" y="188"/>
                      </a:lnTo>
                      <a:lnTo>
                        <a:pt x="214" y="184"/>
                      </a:lnTo>
                      <a:lnTo>
                        <a:pt x="204" y="156"/>
                      </a:lnTo>
                      <a:lnTo>
                        <a:pt x="204" y="156"/>
                      </a:lnTo>
                      <a:lnTo>
                        <a:pt x="278" y="150"/>
                      </a:lnTo>
                      <a:lnTo>
                        <a:pt x="278" y="150"/>
                      </a:lnTo>
                      <a:lnTo>
                        <a:pt x="314" y="148"/>
                      </a:lnTo>
                      <a:lnTo>
                        <a:pt x="348" y="144"/>
                      </a:lnTo>
                      <a:lnTo>
                        <a:pt x="348" y="144"/>
                      </a:lnTo>
                      <a:lnTo>
                        <a:pt x="356" y="144"/>
                      </a:lnTo>
                      <a:lnTo>
                        <a:pt x="364" y="144"/>
                      </a:lnTo>
                      <a:lnTo>
                        <a:pt x="382" y="150"/>
                      </a:lnTo>
                      <a:lnTo>
                        <a:pt x="400" y="158"/>
                      </a:lnTo>
                      <a:lnTo>
                        <a:pt x="412" y="164"/>
                      </a:lnTo>
                      <a:lnTo>
                        <a:pt x="412" y="164"/>
                      </a:lnTo>
                      <a:lnTo>
                        <a:pt x="422" y="172"/>
                      </a:lnTo>
                      <a:lnTo>
                        <a:pt x="434" y="182"/>
                      </a:lnTo>
                      <a:lnTo>
                        <a:pt x="440" y="186"/>
                      </a:lnTo>
                      <a:lnTo>
                        <a:pt x="446" y="188"/>
                      </a:lnTo>
                      <a:lnTo>
                        <a:pt x="450" y="188"/>
                      </a:lnTo>
                      <a:lnTo>
                        <a:pt x="454" y="184"/>
                      </a:lnTo>
                      <a:lnTo>
                        <a:pt x="454" y="184"/>
                      </a:lnTo>
                      <a:lnTo>
                        <a:pt x="458" y="176"/>
                      </a:lnTo>
                      <a:lnTo>
                        <a:pt x="460" y="172"/>
                      </a:lnTo>
                      <a:lnTo>
                        <a:pt x="464" y="166"/>
                      </a:lnTo>
                      <a:lnTo>
                        <a:pt x="474" y="156"/>
                      </a:lnTo>
                      <a:lnTo>
                        <a:pt x="474" y="156"/>
                      </a:lnTo>
                      <a:lnTo>
                        <a:pt x="488" y="142"/>
                      </a:lnTo>
                      <a:lnTo>
                        <a:pt x="502" y="130"/>
                      </a:lnTo>
                      <a:lnTo>
                        <a:pt x="516" y="122"/>
                      </a:lnTo>
                      <a:lnTo>
                        <a:pt x="530" y="116"/>
                      </a:lnTo>
                      <a:lnTo>
                        <a:pt x="530" y="116"/>
                      </a:lnTo>
                      <a:lnTo>
                        <a:pt x="550" y="110"/>
                      </a:lnTo>
                      <a:lnTo>
                        <a:pt x="568" y="102"/>
                      </a:lnTo>
                      <a:lnTo>
                        <a:pt x="568" y="102"/>
                      </a:lnTo>
                      <a:lnTo>
                        <a:pt x="590" y="88"/>
                      </a:lnTo>
                      <a:lnTo>
                        <a:pt x="604" y="76"/>
                      </a:lnTo>
                      <a:lnTo>
                        <a:pt x="604" y="76"/>
                      </a:lnTo>
                      <a:lnTo>
                        <a:pt x="620" y="64"/>
                      </a:lnTo>
                      <a:lnTo>
                        <a:pt x="632" y="52"/>
                      </a:lnTo>
                      <a:lnTo>
                        <a:pt x="644" y="40"/>
                      </a:lnTo>
                      <a:lnTo>
                        <a:pt x="644" y="40"/>
                      </a:lnTo>
                      <a:lnTo>
                        <a:pt x="658" y="24"/>
                      </a:lnTo>
                      <a:lnTo>
                        <a:pt x="676" y="10"/>
                      </a:lnTo>
                      <a:lnTo>
                        <a:pt x="686" y="4"/>
                      </a:lnTo>
                      <a:lnTo>
                        <a:pt x="694" y="2"/>
                      </a:lnTo>
                      <a:lnTo>
                        <a:pt x="700" y="0"/>
                      </a:lnTo>
                      <a:lnTo>
                        <a:pt x="706" y="4"/>
                      </a:lnTo>
                      <a:lnTo>
                        <a:pt x="706" y="4"/>
                      </a:lnTo>
                      <a:lnTo>
                        <a:pt x="720" y="24"/>
                      </a:lnTo>
                      <a:lnTo>
                        <a:pt x="728" y="34"/>
                      </a:lnTo>
                      <a:lnTo>
                        <a:pt x="736" y="42"/>
                      </a:lnTo>
                      <a:lnTo>
                        <a:pt x="736" y="42"/>
                      </a:lnTo>
                      <a:lnTo>
                        <a:pt x="772" y="68"/>
                      </a:lnTo>
                      <a:lnTo>
                        <a:pt x="798" y="82"/>
                      </a:lnTo>
                      <a:lnTo>
                        <a:pt x="814" y="92"/>
                      </a:lnTo>
                      <a:lnTo>
                        <a:pt x="814" y="92"/>
                      </a:lnTo>
                      <a:lnTo>
                        <a:pt x="830" y="100"/>
                      </a:lnTo>
                      <a:lnTo>
                        <a:pt x="850" y="112"/>
                      </a:lnTo>
                      <a:lnTo>
                        <a:pt x="868" y="124"/>
                      </a:lnTo>
                      <a:lnTo>
                        <a:pt x="880" y="134"/>
                      </a:lnTo>
                      <a:lnTo>
                        <a:pt x="880" y="134"/>
                      </a:lnTo>
                      <a:lnTo>
                        <a:pt x="886" y="146"/>
                      </a:lnTo>
                      <a:lnTo>
                        <a:pt x="892" y="158"/>
                      </a:lnTo>
                      <a:lnTo>
                        <a:pt x="896" y="170"/>
                      </a:lnTo>
                      <a:lnTo>
                        <a:pt x="902" y="180"/>
                      </a:lnTo>
                      <a:lnTo>
                        <a:pt x="902" y="180"/>
                      </a:lnTo>
                      <a:lnTo>
                        <a:pt x="910" y="192"/>
                      </a:lnTo>
                      <a:lnTo>
                        <a:pt x="918" y="208"/>
                      </a:lnTo>
                      <a:lnTo>
                        <a:pt x="928" y="226"/>
                      </a:lnTo>
                      <a:lnTo>
                        <a:pt x="938" y="244"/>
                      </a:lnTo>
                      <a:lnTo>
                        <a:pt x="938" y="244"/>
                      </a:lnTo>
                      <a:lnTo>
                        <a:pt x="954" y="262"/>
                      </a:lnTo>
                      <a:lnTo>
                        <a:pt x="970" y="278"/>
                      </a:lnTo>
                      <a:lnTo>
                        <a:pt x="980" y="292"/>
                      </a:lnTo>
                      <a:lnTo>
                        <a:pt x="982" y="296"/>
                      </a:lnTo>
                      <a:lnTo>
                        <a:pt x="982" y="300"/>
                      </a:lnTo>
                      <a:lnTo>
                        <a:pt x="982" y="300"/>
                      </a:lnTo>
                      <a:lnTo>
                        <a:pt x="978" y="302"/>
                      </a:lnTo>
                      <a:lnTo>
                        <a:pt x="974" y="304"/>
                      </a:lnTo>
                      <a:lnTo>
                        <a:pt x="962" y="306"/>
                      </a:lnTo>
                      <a:lnTo>
                        <a:pt x="932" y="308"/>
                      </a:lnTo>
                      <a:lnTo>
                        <a:pt x="932" y="308"/>
                      </a:lnTo>
                      <a:lnTo>
                        <a:pt x="902" y="312"/>
                      </a:lnTo>
                      <a:lnTo>
                        <a:pt x="890" y="314"/>
                      </a:lnTo>
                      <a:lnTo>
                        <a:pt x="880" y="320"/>
                      </a:lnTo>
                      <a:lnTo>
                        <a:pt x="880" y="320"/>
                      </a:lnTo>
                      <a:lnTo>
                        <a:pt x="876" y="322"/>
                      </a:lnTo>
                      <a:lnTo>
                        <a:pt x="874" y="326"/>
                      </a:lnTo>
                      <a:lnTo>
                        <a:pt x="874" y="328"/>
                      </a:lnTo>
                      <a:lnTo>
                        <a:pt x="876" y="332"/>
                      </a:lnTo>
                      <a:lnTo>
                        <a:pt x="882" y="340"/>
                      </a:lnTo>
                      <a:lnTo>
                        <a:pt x="892" y="346"/>
                      </a:lnTo>
                      <a:lnTo>
                        <a:pt x="892" y="346"/>
                      </a:lnTo>
                      <a:lnTo>
                        <a:pt x="904" y="354"/>
                      </a:lnTo>
                      <a:lnTo>
                        <a:pt x="914" y="364"/>
                      </a:lnTo>
                      <a:lnTo>
                        <a:pt x="918" y="370"/>
                      </a:lnTo>
                      <a:lnTo>
                        <a:pt x="922" y="376"/>
                      </a:lnTo>
                      <a:lnTo>
                        <a:pt x="922" y="382"/>
                      </a:lnTo>
                      <a:lnTo>
                        <a:pt x="920" y="388"/>
                      </a:lnTo>
                      <a:lnTo>
                        <a:pt x="920" y="388"/>
                      </a:lnTo>
                      <a:lnTo>
                        <a:pt x="914" y="398"/>
                      </a:lnTo>
                      <a:lnTo>
                        <a:pt x="904" y="406"/>
                      </a:lnTo>
                      <a:lnTo>
                        <a:pt x="896" y="412"/>
                      </a:lnTo>
                      <a:lnTo>
                        <a:pt x="888" y="422"/>
                      </a:lnTo>
                      <a:lnTo>
                        <a:pt x="888" y="422"/>
                      </a:lnTo>
                      <a:lnTo>
                        <a:pt x="880" y="432"/>
                      </a:lnTo>
                      <a:lnTo>
                        <a:pt x="874" y="444"/>
                      </a:lnTo>
                      <a:lnTo>
                        <a:pt x="870" y="456"/>
                      </a:lnTo>
                      <a:lnTo>
                        <a:pt x="870" y="460"/>
                      </a:lnTo>
                      <a:lnTo>
                        <a:pt x="870" y="464"/>
                      </a:lnTo>
                      <a:lnTo>
                        <a:pt x="870" y="464"/>
                      </a:lnTo>
                      <a:lnTo>
                        <a:pt x="878" y="474"/>
                      </a:lnTo>
                      <a:lnTo>
                        <a:pt x="890" y="488"/>
                      </a:lnTo>
                      <a:lnTo>
                        <a:pt x="898" y="494"/>
                      </a:lnTo>
                      <a:lnTo>
                        <a:pt x="904" y="498"/>
                      </a:lnTo>
                      <a:lnTo>
                        <a:pt x="912" y="500"/>
                      </a:lnTo>
                      <a:lnTo>
                        <a:pt x="918" y="498"/>
                      </a:lnTo>
                      <a:lnTo>
                        <a:pt x="918" y="498"/>
                      </a:lnTo>
                      <a:lnTo>
                        <a:pt x="932" y="486"/>
                      </a:lnTo>
                      <a:lnTo>
                        <a:pt x="954" y="468"/>
                      </a:lnTo>
                      <a:lnTo>
                        <a:pt x="974" y="452"/>
                      </a:lnTo>
                      <a:lnTo>
                        <a:pt x="980" y="446"/>
                      </a:lnTo>
                      <a:lnTo>
                        <a:pt x="984" y="446"/>
                      </a:lnTo>
                      <a:lnTo>
                        <a:pt x="984" y="44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5" name="Freeform 89">
                  <a:extLst>
                    <a:ext uri="{FF2B5EF4-FFF2-40B4-BE49-F238E27FC236}">
                      <a16:creationId xmlns:a16="http://schemas.microsoft.com/office/drawing/2014/main" id="{90CEAC3D-8058-4B1E-BA51-E715BD6DFE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2552" y="6213953"/>
                  <a:ext cx="48776" cy="48776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0"/>
                    </a:cxn>
                    <a:cxn ang="0">
                      <a:pos x="0" y="18"/>
                    </a:cxn>
                    <a:cxn ang="0">
                      <a:pos x="2" y="28"/>
                    </a:cxn>
                    <a:cxn ang="0">
                      <a:pos x="6" y="36"/>
                    </a:cxn>
                    <a:cxn ang="0">
                      <a:pos x="12" y="42"/>
                    </a:cxn>
                    <a:cxn ang="0">
                      <a:pos x="26" y="54"/>
                    </a:cxn>
                    <a:cxn ang="0">
                      <a:pos x="38" y="60"/>
                    </a:cxn>
                    <a:cxn ang="0">
                      <a:pos x="38" y="60"/>
                    </a:cxn>
                    <a:cxn ang="0">
                      <a:pos x="48" y="62"/>
                    </a:cxn>
                    <a:cxn ang="0">
                      <a:pos x="56" y="64"/>
                    </a:cxn>
                    <a:cxn ang="0">
                      <a:pos x="60" y="64"/>
                    </a:cxn>
                    <a:cxn ang="0">
                      <a:pos x="62" y="62"/>
                    </a:cxn>
                    <a:cxn ang="0">
                      <a:pos x="64" y="60"/>
                    </a:cxn>
                    <a:cxn ang="0">
                      <a:pos x="64" y="56"/>
                    </a:cxn>
                    <a:cxn ang="0">
                      <a:pos x="64" y="56"/>
                    </a:cxn>
                    <a:cxn ang="0">
                      <a:pos x="64" y="44"/>
                    </a:cxn>
                    <a:cxn ang="0">
                      <a:pos x="62" y="38"/>
                    </a:cxn>
                    <a:cxn ang="0">
                      <a:pos x="54" y="26"/>
                    </a:cxn>
                    <a:cxn ang="0">
                      <a:pos x="54" y="26"/>
                    </a:cxn>
                    <a:cxn ang="0">
                      <a:pos x="48" y="18"/>
                    </a:cxn>
                    <a:cxn ang="0">
                      <a:pos x="40" y="12"/>
                    </a:cxn>
                    <a:cxn ang="0">
                      <a:pos x="32" y="6"/>
                    </a:cxn>
                    <a:cxn ang="0">
                      <a:pos x="24" y="2"/>
                    </a:cxn>
                    <a:cxn ang="0">
                      <a:pos x="16" y="0"/>
                    </a:cxn>
                    <a:cxn ang="0">
                      <a:pos x="8" y="0"/>
                    </a:cxn>
                    <a:cxn ang="0">
                      <a:pos x="4" y="4"/>
                    </a:cxn>
                    <a:cxn ang="0">
                      <a:pos x="0" y="10"/>
                    </a:cxn>
                    <a:cxn ang="0">
                      <a:pos x="0" y="10"/>
                    </a:cxn>
                  </a:cxnLst>
                  <a:rect l="0" t="0" r="r" b="b"/>
                  <a:pathLst>
                    <a:path w="64" h="64">
                      <a:moveTo>
                        <a:pt x="0" y="10"/>
                      </a:moveTo>
                      <a:lnTo>
                        <a:pt x="0" y="10"/>
                      </a:lnTo>
                      <a:lnTo>
                        <a:pt x="0" y="18"/>
                      </a:lnTo>
                      <a:lnTo>
                        <a:pt x="2" y="28"/>
                      </a:lnTo>
                      <a:lnTo>
                        <a:pt x="6" y="36"/>
                      </a:lnTo>
                      <a:lnTo>
                        <a:pt x="12" y="42"/>
                      </a:lnTo>
                      <a:lnTo>
                        <a:pt x="26" y="54"/>
                      </a:lnTo>
                      <a:lnTo>
                        <a:pt x="38" y="60"/>
                      </a:lnTo>
                      <a:lnTo>
                        <a:pt x="38" y="60"/>
                      </a:lnTo>
                      <a:lnTo>
                        <a:pt x="48" y="62"/>
                      </a:lnTo>
                      <a:lnTo>
                        <a:pt x="56" y="64"/>
                      </a:lnTo>
                      <a:lnTo>
                        <a:pt x="60" y="64"/>
                      </a:lnTo>
                      <a:lnTo>
                        <a:pt x="62" y="62"/>
                      </a:lnTo>
                      <a:lnTo>
                        <a:pt x="64" y="60"/>
                      </a:lnTo>
                      <a:lnTo>
                        <a:pt x="64" y="56"/>
                      </a:lnTo>
                      <a:lnTo>
                        <a:pt x="64" y="56"/>
                      </a:lnTo>
                      <a:lnTo>
                        <a:pt x="64" y="44"/>
                      </a:lnTo>
                      <a:lnTo>
                        <a:pt x="62" y="38"/>
                      </a:lnTo>
                      <a:lnTo>
                        <a:pt x="54" y="26"/>
                      </a:lnTo>
                      <a:lnTo>
                        <a:pt x="54" y="26"/>
                      </a:lnTo>
                      <a:lnTo>
                        <a:pt x="48" y="18"/>
                      </a:lnTo>
                      <a:lnTo>
                        <a:pt x="40" y="12"/>
                      </a:lnTo>
                      <a:lnTo>
                        <a:pt x="32" y="6"/>
                      </a:lnTo>
                      <a:lnTo>
                        <a:pt x="24" y="2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4" y="4"/>
                      </a:lnTo>
                      <a:lnTo>
                        <a:pt x="0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6" name="Freeform 96">
                  <a:extLst>
                    <a:ext uri="{FF2B5EF4-FFF2-40B4-BE49-F238E27FC236}">
                      <a16:creationId xmlns:a16="http://schemas.microsoft.com/office/drawing/2014/main" id="{C90EF63A-F111-490B-BBB5-B529A03B9A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5293" y="4384839"/>
                  <a:ext cx="50301" cy="76213"/>
                </a:xfrm>
                <a:custGeom>
                  <a:avLst/>
                  <a:gdLst/>
                  <a:ahLst/>
                  <a:cxnLst>
                    <a:cxn ang="0">
                      <a:pos x="60" y="0"/>
                    </a:cxn>
                    <a:cxn ang="0">
                      <a:pos x="60" y="0"/>
                    </a:cxn>
                    <a:cxn ang="0">
                      <a:pos x="58" y="20"/>
                    </a:cxn>
                    <a:cxn ang="0">
                      <a:pos x="58" y="20"/>
                    </a:cxn>
                    <a:cxn ang="0">
                      <a:pos x="58" y="28"/>
                    </a:cxn>
                    <a:cxn ang="0">
                      <a:pos x="62" y="38"/>
                    </a:cxn>
                    <a:cxn ang="0">
                      <a:pos x="64" y="46"/>
                    </a:cxn>
                    <a:cxn ang="0">
                      <a:pos x="66" y="54"/>
                    </a:cxn>
                    <a:cxn ang="0">
                      <a:pos x="66" y="54"/>
                    </a:cxn>
                    <a:cxn ang="0">
                      <a:pos x="64" y="66"/>
                    </a:cxn>
                    <a:cxn ang="0">
                      <a:pos x="58" y="80"/>
                    </a:cxn>
                    <a:cxn ang="0">
                      <a:pos x="48" y="92"/>
                    </a:cxn>
                    <a:cxn ang="0">
                      <a:pos x="44" y="98"/>
                    </a:cxn>
                    <a:cxn ang="0">
                      <a:pos x="40" y="100"/>
                    </a:cxn>
                    <a:cxn ang="0">
                      <a:pos x="40" y="100"/>
                    </a:cxn>
                    <a:cxn ang="0">
                      <a:pos x="30" y="90"/>
                    </a:cxn>
                    <a:cxn ang="0">
                      <a:pos x="22" y="82"/>
                    </a:cxn>
                    <a:cxn ang="0">
                      <a:pos x="16" y="78"/>
                    </a:cxn>
                    <a:cxn ang="0">
                      <a:pos x="2" y="46"/>
                    </a:cxn>
                    <a:cxn ang="0">
                      <a:pos x="2" y="46"/>
                    </a:cxn>
                    <a:cxn ang="0">
                      <a:pos x="0" y="42"/>
                    </a:cxn>
                    <a:cxn ang="0">
                      <a:pos x="2" y="34"/>
                    </a:cxn>
                    <a:cxn ang="0">
                      <a:pos x="4" y="30"/>
                    </a:cxn>
                    <a:cxn ang="0">
                      <a:pos x="6" y="26"/>
                    </a:cxn>
                    <a:cxn ang="0">
                      <a:pos x="12" y="22"/>
                    </a:cxn>
                    <a:cxn ang="0">
                      <a:pos x="18" y="18"/>
                    </a:cxn>
                    <a:cxn ang="0">
                      <a:pos x="18" y="18"/>
                    </a:cxn>
                    <a:cxn ang="0">
                      <a:pos x="60" y="0"/>
                    </a:cxn>
                    <a:cxn ang="0">
                      <a:pos x="60" y="0"/>
                    </a:cxn>
                  </a:cxnLst>
                  <a:rect l="0" t="0" r="r" b="b"/>
                  <a:pathLst>
                    <a:path w="66" h="100">
                      <a:moveTo>
                        <a:pt x="60" y="0"/>
                      </a:moveTo>
                      <a:lnTo>
                        <a:pt x="60" y="0"/>
                      </a:lnTo>
                      <a:lnTo>
                        <a:pt x="58" y="20"/>
                      </a:lnTo>
                      <a:lnTo>
                        <a:pt x="58" y="20"/>
                      </a:lnTo>
                      <a:lnTo>
                        <a:pt x="58" y="28"/>
                      </a:lnTo>
                      <a:lnTo>
                        <a:pt x="62" y="38"/>
                      </a:lnTo>
                      <a:lnTo>
                        <a:pt x="64" y="46"/>
                      </a:lnTo>
                      <a:lnTo>
                        <a:pt x="66" y="54"/>
                      </a:lnTo>
                      <a:lnTo>
                        <a:pt x="66" y="54"/>
                      </a:lnTo>
                      <a:lnTo>
                        <a:pt x="64" y="66"/>
                      </a:lnTo>
                      <a:lnTo>
                        <a:pt x="58" y="80"/>
                      </a:lnTo>
                      <a:lnTo>
                        <a:pt x="48" y="92"/>
                      </a:lnTo>
                      <a:lnTo>
                        <a:pt x="44" y="98"/>
                      </a:lnTo>
                      <a:lnTo>
                        <a:pt x="40" y="100"/>
                      </a:lnTo>
                      <a:lnTo>
                        <a:pt x="40" y="100"/>
                      </a:lnTo>
                      <a:lnTo>
                        <a:pt x="30" y="90"/>
                      </a:lnTo>
                      <a:lnTo>
                        <a:pt x="22" y="82"/>
                      </a:lnTo>
                      <a:lnTo>
                        <a:pt x="16" y="78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0" y="42"/>
                      </a:lnTo>
                      <a:lnTo>
                        <a:pt x="2" y="34"/>
                      </a:lnTo>
                      <a:lnTo>
                        <a:pt x="4" y="30"/>
                      </a:lnTo>
                      <a:lnTo>
                        <a:pt x="6" y="26"/>
                      </a:lnTo>
                      <a:lnTo>
                        <a:pt x="12" y="22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60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7" name="Freeform 97">
                  <a:extLst>
                    <a:ext uri="{FF2B5EF4-FFF2-40B4-BE49-F238E27FC236}">
                      <a16:creationId xmlns:a16="http://schemas.microsoft.com/office/drawing/2014/main" id="{07E249D8-A467-49D4-B2D1-37ED05BCDD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7825" y="2022230"/>
                  <a:ext cx="498434" cy="448133"/>
                </a:xfrm>
                <a:custGeom>
                  <a:avLst/>
                  <a:gdLst/>
                  <a:ahLst/>
                  <a:cxnLst>
                    <a:cxn ang="0">
                      <a:pos x="122" y="264"/>
                    </a:cxn>
                    <a:cxn ang="0">
                      <a:pos x="138" y="250"/>
                    </a:cxn>
                    <a:cxn ang="0">
                      <a:pos x="28" y="160"/>
                    </a:cxn>
                    <a:cxn ang="0">
                      <a:pos x="42" y="152"/>
                    </a:cxn>
                    <a:cxn ang="0">
                      <a:pos x="122" y="186"/>
                    </a:cxn>
                    <a:cxn ang="0">
                      <a:pos x="202" y="168"/>
                    </a:cxn>
                    <a:cxn ang="0">
                      <a:pos x="194" y="118"/>
                    </a:cxn>
                    <a:cxn ang="0">
                      <a:pos x="94" y="84"/>
                    </a:cxn>
                    <a:cxn ang="0">
                      <a:pos x="146" y="62"/>
                    </a:cxn>
                    <a:cxn ang="0">
                      <a:pos x="154" y="28"/>
                    </a:cxn>
                    <a:cxn ang="0">
                      <a:pos x="176" y="54"/>
                    </a:cxn>
                    <a:cxn ang="0">
                      <a:pos x="202" y="8"/>
                    </a:cxn>
                    <a:cxn ang="0">
                      <a:pos x="218" y="42"/>
                    </a:cxn>
                    <a:cxn ang="0">
                      <a:pos x="246" y="36"/>
                    </a:cxn>
                    <a:cxn ang="0">
                      <a:pos x="270" y="0"/>
                    </a:cxn>
                    <a:cxn ang="0">
                      <a:pos x="280" y="58"/>
                    </a:cxn>
                    <a:cxn ang="0">
                      <a:pos x="272" y="138"/>
                    </a:cxn>
                    <a:cxn ang="0">
                      <a:pos x="262" y="204"/>
                    </a:cxn>
                    <a:cxn ang="0">
                      <a:pos x="334" y="144"/>
                    </a:cxn>
                    <a:cxn ang="0">
                      <a:pos x="358" y="136"/>
                    </a:cxn>
                    <a:cxn ang="0">
                      <a:pos x="356" y="200"/>
                    </a:cxn>
                    <a:cxn ang="0">
                      <a:pos x="372" y="200"/>
                    </a:cxn>
                    <a:cxn ang="0">
                      <a:pos x="422" y="190"/>
                    </a:cxn>
                    <a:cxn ang="0">
                      <a:pos x="442" y="244"/>
                    </a:cxn>
                    <a:cxn ang="0">
                      <a:pos x="460" y="198"/>
                    </a:cxn>
                    <a:cxn ang="0">
                      <a:pos x="478" y="194"/>
                    </a:cxn>
                    <a:cxn ang="0">
                      <a:pos x="506" y="236"/>
                    </a:cxn>
                    <a:cxn ang="0">
                      <a:pos x="546" y="228"/>
                    </a:cxn>
                    <a:cxn ang="0">
                      <a:pos x="544" y="266"/>
                    </a:cxn>
                    <a:cxn ang="0">
                      <a:pos x="576" y="230"/>
                    </a:cxn>
                    <a:cxn ang="0">
                      <a:pos x="602" y="228"/>
                    </a:cxn>
                    <a:cxn ang="0">
                      <a:pos x="622" y="276"/>
                    </a:cxn>
                    <a:cxn ang="0">
                      <a:pos x="650" y="296"/>
                    </a:cxn>
                    <a:cxn ang="0">
                      <a:pos x="630" y="312"/>
                    </a:cxn>
                    <a:cxn ang="0">
                      <a:pos x="650" y="352"/>
                    </a:cxn>
                    <a:cxn ang="0">
                      <a:pos x="610" y="364"/>
                    </a:cxn>
                    <a:cxn ang="0">
                      <a:pos x="586" y="392"/>
                    </a:cxn>
                    <a:cxn ang="0">
                      <a:pos x="624" y="390"/>
                    </a:cxn>
                    <a:cxn ang="0">
                      <a:pos x="626" y="446"/>
                    </a:cxn>
                    <a:cxn ang="0">
                      <a:pos x="602" y="476"/>
                    </a:cxn>
                    <a:cxn ang="0">
                      <a:pos x="610" y="516"/>
                    </a:cxn>
                    <a:cxn ang="0">
                      <a:pos x="588" y="530"/>
                    </a:cxn>
                    <a:cxn ang="0">
                      <a:pos x="550" y="536"/>
                    </a:cxn>
                    <a:cxn ang="0">
                      <a:pos x="476" y="540"/>
                    </a:cxn>
                    <a:cxn ang="0">
                      <a:pos x="408" y="552"/>
                    </a:cxn>
                    <a:cxn ang="0">
                      <a:pos x="390" y="588"/>
                    </a:cxn>
                    <a:cxn ang="0">
                      <a:pos x="354" y="564"/>
                    </a:cxn>
                    <a:cxn ang="0">
                      <a:pos x="268" y="556"/>
                    </a:cxn>
                    <a:cxn ang="0">
                      <a:pos x="248" y="566"/>
                    </a:cxn>
                    <a:cxn ang="0">
                      <a:pos x="162" y="492"/>
                    </a:cxn>
                    <a:cxn ang="0">
                      <a:pos x="132" y="446"/>
                    </a:cxn>
                    <a:cxn ang="0">
                      <a:pos x="90" y="384"/>
                    </a:cxn>
                    <a:cxn ang="0">
                      <a:pos x="50" y="362"/>
                    </a:cxn>
                    <a:cxn ang="0">
                      <a:pos x="0" y="318"/>
                    </a:cxn>
                    <a:cxn ang="0">
                      <a:pos x="66" y="328"/>
                    </a:cxn>
                    <a:cxn ang="0">
                      <a:pos x="110" y="308"/>
                    </a:cxn>
                    <a:cxn ang="0">
                      <a:pos x="144" y="300"/>
                    </a:cxn>
                  </a:cxnLst>
                  <a:rect l="0" t="0" r="r" b="b"/>
                  <a:pathLst>
                    <a:path w="654" h="588">
                      <a:moveTo>
                        <a:pt x="158" y="284"/>
                      </a:moveTo>
                      <a:lnTo>
                        <a:pt x="158" y="284"/>
                      </a:lnTo>
                      <a:lnTo>
                        <a:pt x="144" y="278"/>
                      </a:lnTo>
                      <a:lnTo>
                        <a:pt x="132" y="272"/>
                      </a:lnTo>
                      <a:lnTo>
                        <a:pt x="122" y="264"/>
                      </a:lnTo>
                      <a:lnTo>
                        <a:pt x="122" y="264"/>
                      </a:lnTo>
                      <a:lnTo>
                        <a:pt x="120" y="260"/>
                      </a:lnTo>
                      <a:lnTo>
                        <a:pt x="122" y="260"/>
                      </a:lnTo>
                      <a:lnTo>
                        <a:pt x="134" y="260"/>
                      </a:lnTo>
                      <a:lnTo>
                        <a:pt x="138" y="258"/>
                      </a:lnTo>
                      <a:lnTo>
                        <a:pt x="140" y="256"/>
                      </a:lnTo>
                      <a:lnTo>
                        <a:pt x="138" y="250"/>
                      </a:lnTo>
                      <a:lnTo>
                        <a:pt x="130" y="240"/>
                      </a:lnTo>
                      <a:lnTo>
                        <a:pt x="130" y="240"/>
                      </a:lnTo>
                      <a:lnTo>
                        <a:pt x="66" y="176"/>
                      </a:lnTo>
                      <a:lnTo>
                        <a:pt x="66" y="176"/>
                      </a:lnTo>
                      <a:lnTo>
                        <a:pt x="52" y="170"/>
                      </a:lnTo>
                      <a:lnTo>
                        <a:pt x="28" y="160"/>
                      </a:lnTo>
                      <a:lnTo>
                        <a:pt x="18" y="154"/>
                      </a:lnTo>
                      <a:lnTo>
                        <a:pt x="16" y="152"/>
                      </a:lnTo>
                      <a:lnTo>
                        <a:pt x="16" y="150"/>
                      </a:lnTo>
                      <a:lnTo>
                        <a:pt x="18" y="150"/>
                      </a:lnTo>
                      <a:lnTo>
                        <a:pt x="22" y="150"/>
                      </a:lnTo>
                      <a:lnTo>
                        <a:pt x="42" y="152"/>
                      </a:lnTo>
                      <a:lnTo>
                        <a:pt x="42" y="152"/>
                      </a:lnTo>
                      <a:lnTo>
                        <a:pt x="66" y="158"/>
                      </a:lnTo>
                      <a:lnTo>
                        <a:pt x="86" y="164"/>
                      </a:lnTo>
                      <a:lnTo>
                        <a:pt x="102" y="172"/>
                      </a:lnTo>
                      <a:lnTo>
                        <a:pt x="114" y="178"/>
                      </a:lnTo>
                      <a:lnTo>
                        <a:pt x="122" y="186"/>
                      </a:lnTo>
                      <a:lnTo>
                        <a:pt x="126" y="190"/>
                      </a:lnTo>
                      <a:lnTo>
                        <a:pt x="130" y="196"/>
                      </a:lnTo>
                      <a:lnTo>
                        <a:pt x="178" y="208"/>
                      </a:lnTo>
                      <a:lnTo>
                        <a:pt x="162" y="176"/>
                      </a:lnTo>
                      <a:lnTo>
                        <a:pt x="202" y="168"/>
                      </a:lnTo>
                      <a:lnTo>
                        <a:pt x="202" y="168"/>
                      </a:lnTo>
                      <a:lnTo>
                        <a:pt x="202" y="158"/>
                      </a:lnTo>
                      <a:lnTo>
                        <a:pt x="202" y="148"/>
                      </a:lnTo>
                      <a:lnTo>
                        <a:pt x="204" y="132"/>
                      </a:lnTo>
                      <a:lnTo>
                        <a:pt x="202" y="126"/>
                      </a:lnTo>
                      <a:lnTo>
                        <a:pt x="200" y="120"/>
                      </a:lnTo>
                      <a:lnTo>
                        <a:pt x="194" y="118"/>
                      </a:lnTo>
                      <a:lnTo>
                        <a:pt x="186" y="116"/>
                      </a:lnTo>
                      <a:lnTo>
                        <a:pt x="186" y="116"/>
                      </a:lnTo>
                      <a:lnTo>
                        <a:pt x="174" y="114"/>
                      </a:lnTo>
                      <a:lnTo>
                        <a:pt x="160" y="110"/>
                      </a:lnTo>
                      <a:lnTo>
                        <a:pt x="130" y="100"/>
                      </a:lnTo>
                      <a:lnTo>
                        <a:pt x="94" y="84"/>
                      </a:lnTo>
                      <a:lnTo>
                        <a:pt x="106" y="44"/>
                      </a:lnTo>
                      <a:lnTo>
                        <a:pt x="122" y="36"/>
                      </a:lnTo>
                      <a:lnTo>
                        <a:pt x="122" y="36"/>
                      </a:lnTo>
                      <a:lnTo>
                        <a:pt x="132" y="50"/>
                      </a:lnTo>
                      <a:lnTo>
                        <a:pt x="140" y="60"/>
                      </a:lnTo>
                      <a:lnTo>
                        <a:pt x="146" y="62"/>
                      </a:lnTo>
                      <a:lnTo>
                        <a:pt x="150" y="64"/>
                      </a:lnTo>
                      <a:lnTo>
                        <a:pt x="150" y="64"/>
                      </a:lnTo>
                      <a:lnTo>
                        <a:pt x="154" y="62"/>
                      </a:lnTo>
                      <a:lnTo>
                        <a:pt x="156" y="58"/>
                      </a:lnTo>
                      <a:lnTo>
                        <a:pt x="156" y="46"/>
                      </a:lnTo>
                      <a:lnTo>
                        <a:pt x="154" y="28"/>
                      </a:lnTo>
                      <a:lnTo>
                        <a:pt x="154" y="28"/>
                      </a:lnTo>
                      <a:lnTo>
                        <a:pt x="156" y="34"/>
                      </a:lnTo>
                      <a:lnTo>
                        <a:pt x="160" y="44"/>
                      </a:lnTo>
                      <a:lnTo>
                        <a:pt x="164" y="50"/>
                      </a:lnTo>
                      <a:lnTo>
                        <a:pt x="170" y="54"/>
                      </a:lnTo>
                      <a:lnTo>
                        <a:pt x="176" y="54"/>
                      </a:lnTo>
                      <a:lnTo>
                        <a:pt x="182" y="52"/>
                      </a:lnTo>
                      <a:lnTo>
                        <a:pt x="182" y="52"/>
                      </a:lnTo>
                      <a:lnTo>
                        <a:pt x="188" y="46"/>
                      </a:lnTo>
                      <a:lnTo>
                        <a:pt x="194" y="36"/>
                      </a:lnTo>
                      <a:lnTo>
                        <a:pt x="200" y="16"/>
                      </a:lnTo>
                      <a:lnTo>
                        <a:pt x="202" y="8"/>
                      </a:lnTo>
                      <a:lnTo>
                        <a:pt x="206" y="4"/>
                      </a:lnTo>
                      <a:lnTo>
                        <a:pt x="206" y="4"/>
                      </a:lnTo>
                      <a:lnTo>
                        <a:pt x="208" y="6"/>
                      </a:lnTo>
                      <a:lnTo>
                        <a:pt x="210" y="16"/>
                      </a:lnTo>
                      <a:lnTo>
                        <a:pt x="210" y="16"/>
                      </a:lnTo>
                      <a:lnTo>
                        <a:pt x="218" y="42"/>
                      </a:lnTo>
                      <a:lnTo>
                        <a:pt x="228" y="62"/>
                      </a:lnTo>
                      <a:lnTo>
                        <a:pt x="238" y="80"/>
                      </a:lnTo>
                      <a:lnTo>
                        <a:pt x="238" y="80"/>
                      </a:lnTo>
                      <a:lnTo>
                        <a:pt x="240" y="68"/>
                      </a:lnTo>
                      <a:lnTo>
                        <a:pt x="242" y="54"/>
                      </a:lnTo>
                      <a:lnTo>
                        <a:pt x="246" y="36"/>
                      </a:lnTo>
                      <a:lnTo>
                        <a:pt x="246" y="36"/>
                      </a:lnTo>
                      <a:lnTo>
                        <a:pt x="250" y="26"/>
                      </a:lnTo>
                      <a:lnTo>
                        <a:pt x="254" y="16"/>
                      </a:lnTo>
                      <a:lnTo>
                        <a:pt x="260" y="8"/>
                      </a:lnTo>
                      <a:lnTo>
                        <a:pt x="266" y="2"/>
                      </a:lnTo>
                      <a:lnTo>
                        <a:pt x="270" y="0"/>
                      </a:lnTo>
                      <a:lnTo>
                        <a:pt x="274" y="2"/>
                      </a:lnTo>
                      <a:lnTo>
                        <a:pt x="276" y="8"/>
                      </a:lnTo>
                      <a:lnTo>
                        <a:pt x="278" y="20"/>
                      </a:lnTo>
                      <a:lnTo>
                        <a:pt x="278" y="20"/>
                      </a:lnTo>
                      <a:lnTo>
                        <a:pt x="278" y="44"/>
                      </a:lnTo>
                      <a:lnTo>
                        <a:pt x="280" y="58"/>
                      </a:lnTo>
                      <a:lnTo>
                        <a:pt x="282" y="72"/>
                      </a:lnTo>
                      <a:lnTo>
                        <a:pt x="282" y="88"/>
                      </a:lnTo>
                      <a:lnTo>
                        <a:pt x="282" y="88"/>
                      </a:lnTo>
                      <a:lnTo>
                        <a:pt x="282" y="100"/>
                      </a:lnTo>
                      <a:lnTo>
                        <a:pt x="278" y="112"/>
                      </a:lnTo>
                      <a:lnTo>
                        <a:pt x="272" y="138"/>
                      </a:lnTo>
                      <a:lnTo>
                        <a:pt x="262" y="168"/>
                      </a:lnTo>
                      <a:lnTo>
                        <a:pt x="246" y="176"/>
                      </a:lnTo>
                      <a:lnTo>
                        <a:pt x="246" y="176"/>
                      </a:lnTo>
                      <a:lnTo>
                        <a:pt x="254" y="196"/>
                      </a:lnTo>
                      <a:lnTo>
                        <a:pt x="260" y="204"/>
                      </a:lnTo>
                      <a:lnTo>
                        <a:pt x="262" y="204"/>
                      </a:lnTo>
                      <a:lnTo>
                        <a:pt x="262" y="200"/>
                      </a:lnTo>
                      <a:lnTo>
                        <a:pt x="310" y="196"/>
                      </a:lnTo>
                      <a:lnTo>
                        <a:pt x="310" y="196"/>
                      </a:lnTo>
                      <a:lnTo>
                        <a:pt x="314" y="184"/>
                      </a:lnTo>
                      <a:lnTo>
                        <a:pt x="326" y="156"/>
                      </a:lnTo>
                      <a:lnTo>
                        <a:pt x="334" y="144"/>
                      </a:lnTo>
                      <a:lnTo>
                        <a:pt x="342" y="136"/>
                      </a:lnTo>
                      <a:lnTo>
                        <a:pt x="346" y="132"/>
                      </a:lnTo>
                      <a:lnTo>
                        <a:pt x="350" y="132"/>
                      </a:lnTo>
                      <a:lnTo>
                        <a:pt x="354" y="132"/>
                      </a:lnTo>
                      <a:lnTo>
                        <a:pt x="358" y="136"/>
                      </a:lnTo>
                      <a:lnTo>
                        <a:pt x="358" y="136"/>
                      </a:lnTo>
                      <a:lnTo>
                        <a:pt x="364" y="146"/>
                      </a:lnTo>
                      <a:lnTo>
                        <a:pt x="364" y="156"/>
                      </a:lnTo>
                      <a:lnTo>
                        <a:pt x="364" y="168"/>
                      </a:lnTo>
                      <a:lnTo>
                        <a:pt x="362" y="178"/>
                      </a:lnTo>
                      <a:lnTo>
                        <a:pt x="356" y="196"/>
                      </a:lnTo>
                      <a:lnTo>
                        <a:pt x="356" y="200"/>
                      </a:lnTo>
                      <a:lnTo>
                        <a:pt x="356" y="202"/>
                      </a:lnTo>
                      <a:lnTo>
                        <a:pt x="358" y="204"/>
                      </a:lnTo>
                      <a:lnTo>
                        <a:pt x="358" y="204"/>
                      </a:lnTo>
                      <a:lnTo>
                        <a:pt x="362" y="204"/>
                      </a:lnTo>
                      <a:lnTo>
                        <a:pt x="366" y="204"/>
                      </a:lnTo>
                      <a:lnTo>
                        <a:pt x="372" y="200"/>
                      </a:lnTo>
                      <a:lnTo>
                        <a:pt x="380" y="194"/>
                      </a:lnTo>
                      <a:lnTo>
                        <a:pt x="390" y="188"/>
                      </a:lnTo>
                      <a:lnTo>
                        <a:pt x="390" y="188"/>
                      </a:lnTo>
                      <a:lnTo>
                        <a:pt x="396" y="186"/>
                      </a:lnTo>
                      <a:lnTo>
                        <a:pt x="404" y="186"/>
                      </a:lnTo>
                      <a:lnTo>
                        <a:pt x="422" y="190"/>
                      </a:lnTo>
                      <a:lnTo>
                        <a:pt x="436" y="196"/>
                      </a:lnTo>
                      <a:lnTo>
                        <a:pt x="442" y="200"/>
                      </a:lnTo>
                      <a:lnTo>
                        <a:pt x="442" y="200"/>
                      </a:lnTo>
                      <a:lnTo>
                        <a:pt x="440" y="216"/>
                      </a:lnTo>
                      <a:lnTo>
                        <a:pt x="440" y="230"/>
                      </a:lnTo>
                      <a:lnTo>
                        <a:pt x="442" y="244"/>
                      </a:lnTo>
                      <a:lnTo>
                        <a:pt x="442" y="244"/>
                      </a:lnTo>
                      <a:lnTo>
                        <a:pt x="442" y="246"/>
                      </a:lnTo>
                      <a:lnTo>
                        <a:pt x="444" y="246"/>
                      </a:lnTo>
                      <a:lnTo>
                        <a:pt x="446" y="242"/>
                      </a:lnTo>
                      <a:lnTo>
                        <a:pt x="452" y="222"/>
                      </a:lnTo>
                      <a:lnTo>
                        <a:pt x="460" y="198"/>
                      </a:lnTo>
                      <a:lnTo>
                        <a:pt x="464" y="192"/>
                      </a:lnTo>
                      <a:lnTo>
                        <a:pt x="468" y="188"/>
                      </a:lnTo>
                      <a:lnTo>
                        <a:pt x="470" y="188"/>
                      </a:lnTo>
                      <a:lnTo>
                        <a:pt x="470" y="188"/>
                      </a:lnTo>
                      <a:lnTo>
                        <a:pt x="474" y="190"/>
                      </a:lnTo>
                      <a:lnTo>
                        <a:pt x="478" y="194"/>
                      </a:lnTo>
                      <a:lnTo>
                        <a:pt x="484" y="206"/>
                      </a:lnTo>
                      <a:lnTo>
                        <a:pt x="486" y="214"/>
                      </a:lnTo>
                      <a:lnTo>
                        <a:pt x="490" y="222"/>
                      </a:lnTo>
                      <a:lnTo>
                        <a:pt x="498" y="230"/>
                      </a:lnTo>
                      <a:lnTo>
                        <a:pt x="506" y="236"/>
                      </a:lnTo>
                      <a:lnTo>
                        <a:pt x="506" y="236"/>
                      </a:lnTo>
                      <a:lnTo>
                        <a:pt x="516" y="240"/>
                      </a:lnTo>
                      <a:lnTo>
                        <a:pt x="524" y="242"/>
                      </a:lnTo>
                      <a:lnTo>
                        <a:pt x="530" y="240"/>
                      </a:lnTo>
                      <a:lnTo>
                        <a:pt x="536" y="238"/>
                      </a:lnTo>
                      <a:lnTo>
                        <a:pt x="544" y="232"/>
                      </a:lnTo>
                      <a:lnTo>
                        <a:pt x="546" y="228"/>
                      </a:lnTo>
                      <a:lnTo>
                        <a:pt x="546" y="228"/>
                      </a:lnTo>
                      <a:lnTo>
                        <a:pt x="544" y="238"/>
                      </a:lnTo>
                      <a:lnTo>
                        <a:pt x="542" y="254"/>
                      </a:lnTo>
                      <a:lnTo>
                        <a:pt x="542" y="262"/>
                      </a:lnTo>
                      <a:lnTo>
                        <a:pt x="542" y="264"/>
                      </a:lnTo>
                      <a:lnTo>
                        <a:pt x="544" y="266"/>
                      </a:lnTo>
                      <a:lnTo>
                        <a:pt x="546" y="264"/>
                      </a:lnTo>
                      <a:lnTo>
                        <a:pt x="550" y="262"/>
                      </a:lnTo>
                      <a:lnTo>
                        <a:pt x="558" y="252"/>
                      </a:lnTo>
                      <a:lnTo>
                        <a:pt x="558" y="252"/>
                      </a:lnTo>
                      <a:lnTo>
                        <a:pt x="568" y="238"/>
                      </a:lnTo>
                      <a:lnTo>
                        <a:pt x="576" y="230"/>
                      </a:lnTo>
                      <a:lnTo>
                        <a:pt x="584" y="224"/>
                      </a:lnTo>
                      <a:lnTo>
                        <a:pt x="590" y="220"/>
                      </a:lnTo>
                      <a:lnTo>
                        <a:pt x="594" y="220"/>
                      </a:lnTo>
                      <a:lnTo>
                        <a:pt x="598" y="222"/>
                      </a:lnTo>
                      <a:lnTo>
                        <a:pt x="600" y="224"/>
                      </a:lnTo>
                      <a:lnTo>
                        <a:pt x="602" y="228"/>
                      </a:lnTo>
                      <a:lnTo>
                        <a:pt x="602" y="228"/>
                      </a:lnTo>
                      <a:lnTo>
                        <a:pt x="610" y="256"/>
                      </a:lnTo>
                      <a:lnTo>
                        <a:pt x="614" y="270"/>
                      </a:lnTo>
                      <a:lnTo>
                        <a:pt x="618" y="274"/>
                      </a:lnTo>
                      <a:lnTo>
                        <a:pt x="622" y="276"/>
                      </a:lnTo>
                      <a:lnTo>
                        <a:pt x="622" y="276"/>
                      </a:lnTo>
                      <a:lnTo>
                        <a:pt x="626" y="276"/>
                      </a:lnTo>
                      <a:lnTo>
                        <a:pt x="632" y="280"/>
                      </a:lnTo>
                      <a:lnTo>
                        <a:pt x="642" y="286"/>
                      </a:lnTo>
                      <a:lnTo>
                        <a:pt x="654" y="296"/>
                      </a:lnTo>
                      <a:lnTo>
                        <a:pt x="654" y="296"/>
                      </a:lnTo>
                      <a:lnTo>
                        <a:pt x="650" y="296"/>
                      </a:lnTo>
                      <a:lnTo>
                        <a:pt x="642" y="298"/>
                      </a:lnTo>
                      <a:lnTo>
                        <a:pt x="638" y="300"/>
                      </a:lnTo>
                      <a:lnTo>
                        <a:pt x="634" y="302"/>
                      </a:lnTo>
                      <a:lnTo>
                        <a:pt x="632" y="306"/>
                      </a:lnTo>
                      <a:lnTo>
                        <a:pt x="630" y="312"/>
                      </a:lnTo>
                      <a:lnTo>
                        <a:pt x="630" y="312"/>
                      </a:lnTo>
                      <a:lnTo>
                        <a:pt x="632" y="318"/>
                      </a:lnTo>
                      <a:lnTo>
                        <a:pt x="634" y="324"/>
                      </a:lnTo>
                      <a:lnTo>
                        <a:pt x="644" y="336"/>
                      </a:lnTo>
                      <a:lnTo>
                        <a:pt x="648" y="342"/>
                      </a:lnTo>
                      <a:lnTo>
                        <a:pt x="650" y="348"/>
                      </a:lnTo>
                      <a:lnTo>
                        <a:pt x="650" y="352"/>
                      </a:lnTo>
                      <a:lnTo>
                        <a:pt x="646" y="356"/>
                      </a:lnTo>
                      <a:lnTo>
                        <a:pt x="646" y="356"/>
                      </a:lnTo>
                      <a:lnTo>
                        <a:pt x="638" y="358"/>
                      </a:lnTo>
                      <a:lnTo>
                        <a:pt x="632" y="358"/>
                      </a:lnTo>
                      <a:lnTo>
                        <a:pt x="624" y="358"/>
                      </a:lnTo>
                      <a:lnTo>
                        <a:pt x="610" y="364"/>
                      </a:lnTo>
                      <a:lnTo>
                        <a:pt x="610" y="364"/>
                      </a:lnTo>
                      <a:lnTo>
                        <a:pt x="602" y="368"/>
                      </a:lnTo>
                      <a:lnTo>
                        <a:pt x="596" y="374"/>
                      </a:lnTo>
                      <a:lnTo>
                        <a:pt x="590" y="382"/>
                      </a:lnTo>
                      <a:lnTo>
                        <a:pt x="586" y="390"/>
                      </a:lnTo>
                      <a:lnTo>
                        <a:pt x="586" y="392"/>
                      </a:lnTo>
                      <a:lnTo>
                        <a:pt x="586" y="392"/>
                      </a:lnTo>
                      <a:lnTo>
                        <a:pt x="592" y="388"/>
                      </a:lnTo>
                      <a:lnTo>
                        <a:pt x="600" y="386"/>
                      </a:lnTo>
                      <a:lnTo>
                        <a:pt x="608" y="384"/>
                      </a:lnTo>
                      <a:lnTo>
                        <a:pt x="616" y="386"/>
                      </a:lnTo>
                      <a:lnTo>
                        <a:pt x="624" y="390"/>
                      </a:lnTo>
                      <a:lnTo>
                        <a:pt x="626" y="394"/>
                      </a:lnTo>
                      <a:lnTo>
                        <a:pt x="628" y="400"/>
                      </a:lnTo>
                      <a:lnTo>
                        <a:pt x="630" y="416"/>
                      </a:lnTo>
                      <a:lnTo>
                        <a:pt x="630" y="416"/>
                      </a:lnTo>
                      <a:lnTo>
                        <a:pt x="630" y="434"/>
                      </a:lnTo>
                      <a:lnTo>
                        <a:pt x="626" y="446"/>
                      </a:lnTo>
                      <a:lnTo>
                        <a:pt x="624" y="454"/>
                      </a:lnTo>
                      <a:lnTo>
                        <a:pt x="620" y="460"/>
                      </a:lnTo>
                      <a:lnTo>
                        <a:pt x="610" y="468"/>
                      </a:lnTo>
                      <a:lnTo>
                        <a:pt x="606" y="472"/>
                      </a:lnTo>
                      <a:lnTo>
                        <a:pt x="602" y="476"/>
                      </a:lnTo>
                      <a:lnTo>
                        <a:pt x="602" y="476"/>
                      </a:lnTo>
                      <a:lnTo>
                        <a:pt x="600" y="480"/>
                      </a:lnTo>
                      <a:lnTo>
                        <a:pt x="602" y="486"/>
                      </a:lnTo>
                      <a:lnTo>
                        <a:pt x="610" y="498"/>
                      </a:lnTo>
                      <a:lnTo>
                        <a:pt x="612" y="504"/>
                      </a:lnTo>
                      <a:lnTo>
                        <a:pt x="612" y="510"/>
                      </a:lnTo>
                      <a:lnTo>
                        <a:pt x="610" y="516"/>
                      </a:lnTo>
                      <a:lnTo>
                        <a:pt x="602" y="520"/>
                      </a:lnTo>
                      <a:lnTo>
                        <a:pt x="602" y="520"/>
                      </a:lnTo>
                      <a:lnTo>
                        <a:pt x="594" y="524"/>
                      </a:lnTo>
                      <a:lnTo>
                        <a:pt x="590" y="526"/>
                      </a:lnTo>
                      <a:lnTo>
                        <a:pt x="588" y="530"/>
                      </a:lnTo>
                      <a:lnTo>
                        <a:pt x="588" y="530"/>
                      </a:lnTo>
                      <a:lnTo>
                        <a:pt x="588" y="532"/>
                      </a:lnTo>
                      <a:lnTo>
                        <a:pt x="586" y="532"/>
                      </a:lnTo>
                      <a:lnTo>
                        <a:pt x="574" y="532"/>
                      </a:lnTo>
                      <a:lnTo>
                        <a:pt x="574" y="532"/>
                      </a:lnTo>
                      <a:lnTo>
                        <a:pt x="562" y="534"/>
                      </a:lnTo>
                      <a:lnTo>
                        <a:pt x="550" y="536"/>
                      </a:lnTo>
                      <a:lnTo>
                        <a:pt x="528" y="544"/>
                      </a:lnTo>
                      <a:lnTo>
                        <a:pt x="502" y="556"/>
                      </a:lnTo>
                      <a:lnTo>
                        <a:pt x="502" y="556"/>
                      </a:lnTo>
                      <a:lnTo>
                        <a:pt x="492" y="548"/>
                      </a:lnTo>
                      <a:lnTo>
                        <a:pt x="482" y="542"/>
                      </a:lnTo>
                      <a:lnTo>
                        <a:pt x="476" y="540"/>
                      </a:lnTo>
                      <a:lnTo>
                        <a:pt x="470" y="540"/>
                      </a:lnTo>
                      <a:lnTo>
                        <a:pt x="470" y="540"/>
                      </a:lnTo>
                      <a:lnTo>
                        <a:pt x="452" y="540"/>
                      </a:lnTo>
                      <a:lnTo>
                        <a:pt x="430" y="544"/>
                      </a:lnTo>
                      <a:lnTo>
                        <a:pt x="418" y="548"/>
                      </a:lnTo>
                      <a:lnTo>
                        <a:pt x="408" y="552"/>
                      </a:lnTo>
                      <a:lnTo>
                        <a:pt x="402" y="558"/>
                      </a:lnTo>
                      <a:lnTo>
                        <a:pt x="398" y="564"/>
                      </a:lnTo>
                      <a:lnTo>
                        <a:pt x="398" y="564"/>
                      </a:lnTo>
                      <a:lnTo>
                        <a:pt x="396" y="578"/>
                      </a:lnTo>
                      <a:lnTo>
                        <a:pt x="392" y="586"/>
                      </a:lnTo>
                      <a:lnTo>
                        <a:pt x="390" y="588"/>
                      </a:lnTo>
                      <a:lnTo>
                        <a:pt x="386" y="588"/>
                      </a:lnTo>
                      <a:lnTo>
                        <a:pt x="380" y="584"/>
                      </a:lnTo>
                      <a:lnTo>
                        <a:pt x="374" y="580"/>
                      </a:lnTo>
                      <a:lnTo>
                        <a:pt x="374" y="580"/>
                      </a:lnTo>
                      <a:lnTo>
                        <a:pt x="354" y="564"/>
                      </a:lnTo>
                      <a:lnTo>
                        <a:pt x="354" y="564"/>
                      </a:lnTo>
                      <a:lnTo>
                        <a:pt x="326" y="562"/>
                      </a:lnTo>
                      <a:lnTo>
                        <a:pt x="306" y="558"/>
                      </a:lnTo>
                      <a:lnTo>
                        <a:pt x="290" y="556"/>
                      </a:lnTo>
                      <a:lnTo>
                        <a:pt x="290" y="556"/>
                      </a:lnTo>
                      <a:lnTo>
                        <a:pt x="280" y="554"/>
                      </a:lnTo>
                      <a:lnTo>
                        <a:pt x="268" y="556"/>
                      </a:lnTo>
                      <a:lnTo>
                        <a:pt x="254" y="560"/>
                      </a:lnTo>
                      <a:lnTo>
                        <a:pt x="254" y="560"/>
                      </a:lnTo>
                      <a:lnTo>
                        <a:pt x="254" y="562"/>
                      </a:lnTo>
                      <a:lnTo>
                        <a:pt x="254" y="564"/>
                      </a:lnTo>
                      <a:lnTo>
                        <a:pt x="250" y="566"/>
                      </a:lnTo>
                      <a:lnTo>
                        <a:pt x="248" y="566"/>
                      </a:lnTo>
                      <a:lnTo>
                        <a:pt x="234" y="560"/>
                      </a:lnTo>
                      <a:lnTo>
                        <a:pt x="234" y="560"/>
                      </a:lnTo>
                      <a:lnTo>
                        <a:pt x="224" y="554"/>
                      </a:lnTo>
                      <a:lnTo>
                        <a:pt x="214" y="546"/>
                      </a:lnTo>
                      <a:lnTo>
                        <a:pt x="196" y="528"/>
                      </a:lnTo>
                      <a:lnTo>
                        <a:pt x="162" y="492"/>
                      </a:lnTo>
                      <a:lnTo>
                        <a:pt x="162" y="492"/>
                      </a:lnTo>
                      <a:lnTo>
                        <a:pt x="142" y="470"/>
                      </a:lnTo>
                      <a:lnTo>
                        <a:pt x="136" y="462"/>
                      </a:lnTo>
                      <a:lnTo>
                        <a:pt x="134" y="452"/>
                      </a:lnTo>
                      <a:lnTo>
                        <a:pt x="134" y="452"/>
                      </a:lnTo>
                      <a:lnTo>
                        <a:pt x="132" y="446"/>
                      </a:lnTo>
                      <a:lnTo>
                        <a:pt x="128" y="438"/>
                      </a:lnTo>
                      <a:lnTo>
                        <a:pt x="114" y="420"/>
                      </a:lnTo>
                      <a:lnTo>
                        <a:pt x="94" y="396"/>
                      </a:lnTo>
                      <a:lnTo>
                        <a:pt x="94" y="396"/>
                      </a:lnTo>
                      <a:lnTo>
                        <a:pt x="94" y="392"/>
                      </a:lnTo>
                      <a:lnTo>
                        <a:pt x="90" y="384"/>
                      </a:lnTo>
                      <a:lnTo>
                        <a:pt x="84" y="376"/>
                      </a:lnTo>
                      <a:lnTo>
                        <a:pt x="80" y="374"/>
                      </a:lnTo>
                      <a:lnTo>
                        <a:pt x="74" y="372"/>
                      </a:lnTo>
                      <a:lnTo>
                        <a:pt x="74" y="372"/>
                      </a:lnTo>
                      <a:lnTo>
                        <a:pt x="64" y="370"/>
                      </a:lnTo>
                      <a:lnTo>
                        <a:pt x="50" y="362"/>
                      </a:lnTo>
                      <a:lnTo>
                        <a:pt x="32" y="352"/>
                      </a:lnTo>
                      <a:lnTo>
                        <a:pt x="16" y="340"/>
                      </a:lnTo>
                      <a:lnTo>
                        <a:pt x="4" y="330"/>
                      </a:lnTo>
                      <a:lnTo>
                        <a:pt x="0" y="324"/>
                      </a:lnTo>
                      <a:lnTo>
                        <a:pt x="0" y="322"/>
                      </a:lnTo>
                      <a:lnTo>
                        <a:pt x="0" y="318"/>
                      </a:lnTo>
                      <a:lnTo>
                        <a:pt x="4" y="318"/>
                      </a:lnTo>
                      <a:lnTo>
                        <a:pt x="12" y="318"/>
                      </a:lnTo>
                      <a:lnTo>
                        <a:pt x="22" y="320"/>
                      </a:lnTo>
                      <a:lnTo>
                        <a:pt x="22" y="320"/>
                      </a:lnTo>
                      <a:lnTo>
                        <a:pt x="46" y="324"/>
                      </a:lnTo>
                      <a:lnTo>
                        <a:pt x="66" y="328"/>
                      </a:lnTo>
                      <a:lnTo>
                        <a:pt x="80" y="328"/>
                      </a:lnTo>
                      <a:lnTo>
                        <a:pt x="94" y="326"/>
                      </a:lnTo>
                      <a:lnTo>
                        <a:pt x="102" y="324"/>
                      </a:lnTo>
                      <a:lnTo>
                        <a:pt x="108" y="318"/>
                      </a:lnTo>
                      <a:lnTo>
                        <a:pt x="110" y="314"/>
                      </a:lnTo>
                      <a:lnTo>
                        <a:pt x="110" y="308"/>
                      </a:lnTo>
                      <a:lnTo>
                        <a:pt x="110" y="308"/>
                      </a:lnTo>
                      <a:lnTo>
                        <a:pt x="110" y="304"/>
                      </a:lnTo>
                      <a:lnTo>
                        <a:pt x="114" y="302"/>
                      </a:lnTo>
                      <a:lnTo>
                        <a:pt x="128" y="304"/>
                      </a:lnTo>
                      <a:lnTo>
                        <a:pt x="136" y="304"/>
                      </a:lnTo>
                      <a:lnTo>
                        <a:pt x="144" y="300"/>
                      </a:lnTo>
                      <a:lnTo>
                        <a:pt x="152" y="294"/>
                      </a:lnTo>
                      <a:lnTo>
                        <a:pt x="158" y="284"/>
                      </a:lnTo>
                      <a:lnTo>
                        <a:pt x="158" y="28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8" name="Freeform 98">
                  <a:extLst>
                    <a:ext uri="{FF2B5EF4-FFF2-40B4-BE49-F238E27FC236}">
                      <a16:creationId xmlns:a16="http://schemas.microsoft.com/office/drawing/2014/main" id="{F9778C16-E56D-4A5E-9F63-3FA4F8A1E0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8518" y="4618050"/>
                  <a:ext cx="288086" cy="376493"/>
                </a:xfrm>
                <a:custGeom>
                  <a:avLst/>
                  <a:gdLst/>
                  <a:ahLst/>
                  <a:cxnLst>
                    <a:cxn ang="0">
                      <a:pos x="0" y="76"/>
                    </a:cxn>
                    <a:cxn ang="0">
                      <a:pos x="14" y="86"/>
                    </a:cxn>
                    <a:cxn ang="0">
                      <a:pos x="32" y="108"/>
                    </a:cxn>
                    <a:cxn ang="0">
                      <a:pos x="36" y="118"/>
                    </a:cxn>
                    <a:cxn ang="0">
                      <a:pos x="48" y="152"/>
                    </a:cxn>
                    <a:cxn ang="0">
                      <a:pos x="58" y="168"/>
                    </a:cxn>
                    <a:cxn ang="0">
                      <a:pos x="78" y="184"/>
                    </a:cxn>
                    <a:cxn ang="0">
                      <a:pos x="102" y="200"/>
                    </a:cxn>
                    <a:cxn ang="0">
                      <a:pos x="128" y="220"/>
                    </a:cxn>
                    <a:cxn ang="0">
                      <a:pos x="144" y="236"/>
                    </a:cxn>
                    <a:cxn ang="0">
                      <a:pos x="150" y="248"/>
                    </a:cxn>
                    <a:cxn ang="0">
                      <a:pos x="176" y="292"/>
                    </a:cxn>
                    <a:cxn ang="0">
                      <a:pos x="182" y="304"/>
                    </a:cxn>
                    <a:cxn ang="0">
                      <a:pos x="184" y="320"/>
                    </a:cxn>
                    <a:cxn ang="0">
                      <a:pos x="182" y="366"/>
                    </a:cxn>
                    <a:cxn ang="0">
                      <a:pos x="184" y="392"/>
                    </a:cxn>
                    <a:cxn ang="0">
                      <a:pos x="192" y="418"/>
                    </a:cxn>
                    <a:cxn ang="0">
                      <a:pos x="212" y="458"/>
                    </a:cxn>
                    <a:cxn ang="0">
                      <a:pos x="220" y="466"/>
                    </a:cxn>
                    <a:cxn ang="0">
                      <a:pos x="232" y="486"/>
                    </a:cxn>
                    <a:cxn ang="0">
                      <a:pos x="236" y="494"/>
                    </a:cxn>
                    <a:cxn ang="0">
                      <a:pos x="242" y="488"/>
                    </a:cxn>
                    <a:cxn ang="0">
                      <a:pos x="248" y="474"/>
                    </a:cxn>
                    <a:cxn ang="0">
                      <a:pos x="264" y="452"/>
                    </a:cxn>
                    <a:cxn ang="0">
                      <a:pos x="268" y="446"/>
                    </a:cxn>
                    <a:cxn ang="0">
                      <a:pos x="284" y="422"/>
                    </a:cxn>
                    <a:cxn ang="0">
                      <a:pos x="310" y="396"/>
                    </a:cxn>
                    <a:cxn ang="0">
                      <a:pos x="314" y="390"/>
                    </a:cxn>
                    <a:cxn ang="0">
                      <a:pos x="318" y="378"/>
                    </a:cxn>
                    <a:cxn ang="0">
                      <a:pos x="316" y="370"/>
                    </a:cxn>
                    <a:cxn ang="0">
                      <a:pos x="306" y="362"/>
                    </a:cxn>
                    <a:cxn ang="0">
                      <a:pos x="288" y="346"/>
                    </a:cxn>
                    <a:cxn ang="0">
                      <a:pos x="270" y="328"/>
                    </a:cxn>
                    <a:cxn ang="0">
                      <a:pos x="272" y="322"/>
                    </a:cxn>
                    <a:cxn ang="0">
                      <a:pos x="282" y="314"/>
                    </a:cxn>
                    <a:cxn ang="0">
                      <a:pos x="304" y="312"/>
                    </a:cxn>
                    <a:cxn ang="0">
                      <a:pos x="340" y="308"/>
                    </a:cxn>
                    <a:cxn ang="0">
                      <a:pos x="372" y="306"/>
                    </a:cxn>
                    <a:cxn ang="0">
                      <a:pos x="378" y="300"/>
                    </a:cxn>
                    <a:cxn ang="0">
                      <a:pos x="378" y="300"/>
                    </a:cxn>
                    <a:cxn ang="0">
                      <a:pos x="374" y="290"/>
                    </a:cxn>
                    <a:cxn ang="0">
                      <a:pos x="366" y="280"/>
                    </a:cxn>
                    <a:cxn ang="0">
                      <a:pos x="338" y="248"/>
                    </a:cxn>
                    <a:cxn ang="0">
                      <a:pos x="290" y="160"/>
                    </a:cxn>
                    <a:cxn ang="0">
                      <a:pos x="288" y="156"/>
                    </a:cxn>
                    <a:cxn ang="0">
                      <a:pos x="272" y="132"/>
                    </a:cxn>
                    <a:cxn ang="0">
                      <a:pos x="258" y="120"/>
                    </a:cxn>
                    <a:cxn ang="0">
                      <a:pos x="192" y="80"/>
                    </a:cxn>
                    <a:cxn ang="0">
                      <a:pos x="132" y="42"/>
                    </a:cxn>
                    <a:cxn ang="0">
                      <a:pos x="102" y="4"/>
                    </a:cxn>
                    <a:cxn ang="0">
                      <a:pos x="100" y="2"/>
                    </a:cxn>
                    <a:cxn ang="0">
                      <a:pos x="90" y="0"/>
                    </a:cxn>
                    <a:cxn ang="0">
                      <a:pos x="80" y="4"/>
                    </a:cxn>
                    <a:cxn ang="0">
                      <a:pos x="58" y="20"/>
                    </a:cxn>
                    <a:cxn ang="0">
                      <a:pos x="46" y="30"/>
                    </a:cxn>
                    <a:cxn ang="0">
                      <a:pos x="16" y="62"/>
                    </a:cxn>
                    <a:cxn ang="0">
                      <a:pos x="0" y="76"/>
                    </a:cxn>
                  </a:cxnLst>
                  <a:rect l="0" t="0" r="r" b="b"/>
                  <a:pathLst>
                    <a:path w="378" h="494">
                      <a:moveTo>
                        <a:pt x="0" y="76"/>
                      </a:moveTo>
                      <a:lnTo>
                        <a:pt x="0" y="76"/>
                      </a:lnTo>
                      <a:lnTo>
                        <a:pt x="6" y="78"/>
                      </a:lnTo>
                      <a:lnTo>
                        <a:pt x="14" y="86"/>
                      </a:lnTo>
                      <a:lnTo>
                        <a:pt x="26" y="100"/>
                      </a:lnTo>
                      <a:lnTo>
                        <a:pt x="32" y="108"/>
                      </a:lnTo>
                      <a:lnTo>
                        <a:pt x="36" y="118"/>
                      </a:lnTo>
                      <a:lnTo>
                        <a:pt x="36" y="118"/>
                      </a:lnTo>
                      <a:lnTo>
                        <a:pt x="42" y="136"/>
                      </a:lnTo>
                      <a:lnTo>
                        <a:pt x="48" y="152"/>
                      </a:lnTo>
                      <a:lnTo>
                        <a:pt x="52" y="160"/>
                      </a:lnTo>
                      <a:lnTo>
                        <a:pt x="58" y="168"/>
                      </a:lnTo>
                      <a:lnTo>
                        <a:pt x="66" y="176"/>
                      </a:lnTo>
                      <a:lnTo>
                        <a:pt x="78" y="184"/>
                      </a:lnTo>
                      <a:lnTo>
                        <a:pt x="78" y="184"/>
                      </a:lnTo>
                      <a:lnTo>
                        <a:pt x="102" y="200"/>
                      </a:lnTo>
                      <a:lnTo>
                        <a:pt x="120" y="212"/>
                      </a:lnTo>
                      <a:lnTo>
                        <a:pt x="128" y="220"/>
                      </a:lnTo>
                      <a:lnTo>
                        <a:pt x="136" y="228"/>
                      </a:lnTo>
                      <a:lnTo>
                        <a:pt x="144" y="236"/>
                      </a:lnTo>
                      <a:lnTo>
                        <a:pt x="150" y="248"/>
                      </a:lnTo>
                      <a:lnTo>
                        <a:pt x="150" y="248"/>
                      </a:lnTo>
                      <a:lnTo>
                        <a:pt x="170" y="282"/>
                      </a:lnTo>
                      <a:lnTo>
                        <a:pt x="176" y="292"/>
                      </a:lnTo>
                      <a:lnTo>
                        <a:pt x="182" y="304"/>
                      </a:lnTo>
                      <a:lnTo>
                        <a:pt x="182" y="304"/>
                      </a:lnTo>
                      <a:lnTo>
                        <a:pt x="184" y="312"/>
                      </a:lnTo>
                      <a:lnTo>
                        <a:pt x="184" y="320"/>
                      </a:lnTo>
                      <a:lnTo>
                        <a:pt x="184" y="342"/>
                      </a:lnTo>
                      <a:lnTo>
                        <a:pt x="182" y="366"/>
                      </a:lnTo>
                      <a:lnTo>
                        <a:pt x="182" y="378"/>
                      </a:lnTo>
                      <a:lnTo>
                        <a:pt x="184" y="392"/>
                      </a:lnTo>
                      <a:lnTo>
                        <a:pt x="184" y="392"/>
                      </a:lnTo>
                      <a:lnTo>
                        <a:pt x="192" y="418"/>
                      </a:lnTo>
                      <a:lnTo>
                        <a:pt x="202" y="440"/>
                      </a:lnTo>
                      <a:lnTo>
                        <a:pt x="212" y="458"/>
                      </a:lnTo>
                      <a:lnTo>
                        <a:pt x="220" y="466"/>
                      </a:lnTo>
                      <a:lnTo>
                        <a:pt x="220" y="466"/>
                      </a:lnTo>
                      <a:lnTo>
                        <a:pt x="226" y="474"/>
                      </a:lnTo>
                      <a:lnTo>
                        <a:pt x="232" y="486"/>
                      </a:lnTo>
                      <a:lnTo>
                        <a:pt x="234" y="492"/>
                      </a:lnTo>
                      <a:lnTo>
                        <a:pt x="236" y="494"/>
                      </a:lnTo>
                      <a:lnTo>
                        <a:pt x="240" y="494"/>
                      </a:lnTo>
                      <a:lnTo>
                        <a:pt x="242" y="488"/>
                      </a:lnTo>
                      <a:lnTo>
                        <a:pt x="242" y="488"/>
                      </a:lnTo>
                      <a:lnTo>
                        <a:pt x="248" y="474"/>
                      </a:lnTo>
                      <a:lnTo>
                        <a:pt x="256" y="462"/>
                      </a:lnTo>
                      <a:lnTo>
                        <a:pt x="264" y="452"/>
                      </a:lnTo>
                      <a:lnTo>
                        <a:pt x="268" y="446"/>
                      </a:lnTo>
                      <a:lnTo>
                        <a:pt x="268" y="446"/>
                      </a:lnTo>
                      <a:lnTo>
                        <a:pt x="278" y="430"/>
                      </a:lnTo>
                      <a:lnTo>
                        <a:pt x="284" y="422"/>
                      </a:lnTo>
                      <a:lnTo>
                        <a:pt x="284" y="422"/>
                      </a:lnTo>
                      <a:lnTo>
                        <a:pt x="310" y="396"/>
                      </a:lnTo>
                      <a:lnTo>
                        <a:pt x="310" y="396"/>
                      </a:lnTo>
                      <a:lnTo>
                        <a:pt x="314" y="390"/>
                      </a:lnTo>
                      <a:lnTo>
                        <a:pt x="316" y="384"/>
                      </a:lnTo>
                      <a:lnTo>
                        <a:pt x="318" y="378"/>
                      </a:lnTo>
                      <a:lnTo>
                        <a:pt x="316" y="370"/>
                      </a:lnTo>
                      <a:lnTo>
                        <a:pt x="316" y="370"/>
                      </a:lnTo>
                      <a:lnTo>
                        <a:pt x="312" y="366"/>
                      </a:lnTo>
                      <a:lnTo>
                        <a:pt x="306" y="362"/>
                      </a:lnTo>
                      <a:lnTo>
                        <a:pt x="288" y="346"/>
                      </a:lnTo>
                      <a:lnTo>
                        <a:pt x="288" y="346"/>
                      </a:lnTo>
                      <a:lnTo>
                        <a:pt x="278" y="336"/>
                      </a:lnTo>
                      <a:lnTo>
                        <a:pt x="270" y="328"/>
                      </a:lnTo>
                      <a:lnTo>
                        <a:pt x="270" y="324"/>
                      </a:lnTo>
                      <a:lnTo>
                        <a:pt x="272" y="322"/>
                      </a:lnTo>
                      <a:lnTo>
                        <a:pt x="276" y="318"/>
                      </a:lnTo>
                      <a:lnTo>
                        <a:pt x="282" y="314"/>
                      </a:lnTo>
                      <a:lnTo>
                        <a:pt x="282" y="314"/>
                      </a:lnTo>
                      <a:lnTo>
                        <a:pt x="304" y="312"/>
                      </a:lnTo>
                      <a:lnTo>
                        <a:pt x="340" y="308"/>
                      </a:lnTo>
                      <a:lnTo>
                        <a:pt x="340" y="308"/>
                      </a:lnTo>
                      <a:lnTo>
                        <a:pt x="364" y="308"/>
                      </a:lnTo>
                      <a:lnTo>
                        <a:pt x="372" y="306"/>
                      </a:lnTo>
                      <a:lnTo>
                        <a:pt x="376" y="304"/>
                      </a:lnTo>
                      <a:lnTo>
                        <a:pt x="378" y="300"/>
                      </a:lnTo>
                      <a:lnTo>
                        <a:pt x="378" y="300"/>
                      </a:lnTo>
                      <a:lnTo>
                        <a:pt x="378" y="300"/>
                      </a:lnTo>
                      <a:lnTo>
                        <a:pt x="378" y="296"/>
                      </a:lnTo>
                      <a:lnTo>
                        <a:pt x="374" y="290"/>
                      </a:lnTo>
                      <a:lnTo>
                        <a:pt x="366" y="280"/>
                      </a:lnTo>
                      <a:lnTo>
                        <a:pt x="366" y="280"/>
                      </a:lnTo>
                      <a:lnTo>
                        <a:pt x="352" y="266"/>
                      </a:lnTo>
                      <a:lnTo>
                        <a:pt x="338" y="248"/>
                      </a:lnTo>
                      <a:lnTo>
                        <a:pt x="322" y="228"/>
                      </a:lnTo>
                      <a:lnTo>
                        <a:pt x="290" y="160"/>
                      </a:lnTo>
                      <a:lnTo>
                        <a:pt x="290" y="160"/>
                      </a:lnTo>
                      <a:lnTo>
                        <a:pt x="288" y="156"/>
                      </a:lnTo>
                      <a:lnTo>
                        <a:pt x="282" y="146"/>
                      </a:lnTo>
                      <a:lnTo>
                        <a:pt x="272" y="132"/>
                      </a:lnTo>
                      <a:lnTo>
                        <a:pt x="266" y="126"/>
                      </a:lnTo>
                      <a:lnTo>
                        <a:pt x="258" y="120"/>
                      </a:lnTo>
                      <a:lnTo>
                        <a:pt x="258" y="120"/>
                      </a:lnTo>
                      <a:lnTo>
                        <a:pt x="192" y="80"/>
                      </a:lnTo>
                      <a:lnTo>
                        <a:pt x="132" y="42"/>
                      </a:lnTo>
                      <a:lnTo>
                        <a:pt x="132" y="42"/>
                      </a:lnTo>
                      <a:lnTo>
                        <a:pt x="118" y="26"/>
                      </a:lnTo>
                      <a:lnTo>
                        <a:pt x="102" y="4"/>
                      </a:lnTo>
                      <a:lnTo>
                        <a:pt x="102" y="4"/>
                      </a:lnTo>
                      <a:lnTo>
                        <a:pt x="100" y="2"/>
                      </a:lnTo>
                      <a:lnTo>
                        <a:pt x="96" y="0"/>
                      </a:lnTo>
                      <a:lnTo>
                        <a:pt x="90" y="0"/>
                      </a:lnTo>
                      <a:lnTo>
                        <a:pt x="80" y="4"/>
                      </a:lnTo>
                      <a:lnTo>
                        <a:pt x="80" y="4"/>
                      </a:lnTo>
                      <a:lnTo>
                        <a:pt x="68" y="12"/>
                      </a:lnTo>
                      <a:lnTo>
                        <a:pt x="58" y="20"/>
                      </a:lnTo>
                      <a:lnTo>
                        <a:pt x="46" y="30"/>
                      </a:lnTo>
                      <a:lnTo>
                        <a:pt x="46" y="30"/>
                      </a:lnTo>
                      <a:lnTo>
                        <a:pt x="30" y="48"/>
                      </a:lnTo>
                      <a:lnTo>
                        <a:pt x="16" y="62"/>
                      </a:lnTo>
                      <a:lnTo>
                        <a:pt x="0" y="76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79" name="Freeform 11">
                  <a:extLst>
                    <a:ext uri="{FF2B5EF4-FFF2-40B4-BE49-F238E27FC236}">
                      <a16:creationId xmlns:a16="http://schemas.microsoft.com/office/drawing/2014/main" id="{606771CA-B6CD-4B10-9A13-7B2DDC8092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00536" y="3695870"/>
                  <a:ext cx="486240" cy="678297"/>
                </a:xfrm>
                <a:custGeom>
                  <a:avLst/>
                  <a:gdLst/>
                  <a:ahLst/>
                  <a:cxnLst>
                    <a:cxn ang="0">
                      <a:pos x="622" y="2"/>
                    </a:cxn>
                    <a:cxn ang="0">
                      <a:pos x="564" y="2"/>
                    </a:cxn>
                    <a:cxn ang="0">
                      <a:pos x="556" y="12"/>
                    </a:cxn>
                    <a:cxn ang="0">
                      <a:pos x="564" y="34"/>
                    </a:cxn>
                    <a:cxn ang="0">
                      <a:pos x="562" y="44"/>
                    </a:cxn>
                    <a:cxn ang="0">
                      <a:pos x="534" y="30"/>
                    </a:cxn>
                    <a:cxn ang="0">
                      <a:pos x="476" y="6"/>
                    </a:cxn>
                    <a:cxn ang="0">
                      <a:pos x="420" y="4"/>
                    </a:cxn>
                    <a:cxn ang="0">
                      <a:pos x="390" y="4"/>
                    </a:cxn>
                    <a:cxn ang="0">
                      <a:pos x="362" y="22"/>
                    </a:cxn>
                    <a:cxn ang="0">
                      <a:pos x="306" y="14"/>
                    </a:cxn>
                    <a:cxn ang="0">
                      <a:pos x="300" y="20"/>
                    </a:cxn>
                    <a:cxn ang="0">
                      <a:pos x="296" y="48"/>
                    </a:cxn>
                    <a:cxn ang="0">
                      <a:pos x="288" y="60"/>
                    </a:cxn>
                    <a:cxn ang="0">
                      <a:pos x="250" y="80"/>
                    </a:cxn>
                    <a:cxn ang="0">
                      <a:pos x="224" y="74"/>
                    </a:cxn>
                    <a:cxn ang="0">
                      <a:pos x="200" y="78"/>
                    </a:cxn>
                    <a:cxn ang="0">
                      <a:pos x="196" y="86"/>
                    </a:cxn>
                    <a:cxn ang="0">
                      <a:pos x="192" y="128"/>
                    </a:cxn>
                    <a:cxn ang="0">
                      <a:pos x="132" y="232"/>
                    </a:cxn>
                    <a:cxn ang="0">
                      <a:pos x="150" y="412"/>
                    </a:cxn>
                    <a:cxn ang="0">
                      <a:pos x="128" y="434"/>
                    </a:cxn>
                    <a:cxn ang="0">
                      <a:pos x="120" y="430"/>
                    </a:cxn>
                    <a:cxn ang="0">
                      <a:pos x="90" y="406"/>
                    </a:cxn>
                    <a:cxn ang="0">
                      <a:pos x="72" y="388"/>
                    </a:cxn>
                    <a:cxn ang="0">
                      <a:pos x="50" y="374"/>
                    </a:cxn>
                    <a:cxn ang="0">
                      <a:pos x="34" y="380"/>
                    </a:cxn>
                    <a:cxn ang="0">
                      <a:pos x="20" y="396"/>
                    </a:cxn>
                    <a:cxn ang="0">
                      <a:pos x="18" y="416"/>
                    </a:cxn>
                    <a:cxn ang="0">
                      <a:pos x="18" y="472"/>
                    </a:cxn>
                    <a:cxn ang="0">
                      <a:pos x="0" y="514"/>
                    </a:cxn>
                    <a:cxn ang="0">
                      <a:pos x="6" y="544"/>
                    </a:cxn>
                    <a:cxn ang="0">
                      <a:pos x="30" y="582"/>
                    </a:cxn>
                    <a:cxn ang="0">
                      <a:pos x="34" y="604"/>
                    </a:cxn>
                    <a:cxn ang="0">
                      <a:pos x="36" y="662"/>
                    </a:cxn>
                    <a:cxn ang="0">
                      <a:pos x="56" y="672"/>
                    </a:cxn>
                    <a:cxn ang="0">
                      <a:pos x="100" y="688"/>
                    </a:cxn>
                    <a:cxn ang="0">
                      <a:pos x="126" y="706"/>
                    </a:cxn>
                    <a:cxn ang="0">
                      <a:pos x="138" y="722"/>
                    </a:cxn>
                    <a:cxn ang="0">
                      <a:pos x="164" y="742"/>
                    </a:cxn>
                    <a:cxn ang="0">
                      <a:pos x="198" y="744"/>
                    </a:cxn>
                    <a:cxn ang="0">
                      <a:pos x="226" y="734"/>
                    </a:cxn>
                    <a:cxn ang="0">
                      <a:pos x="242" y="724"/>
                    </a:cxn>
                    <a:cxn ang="0">
                      <a:pos x="276" y="736"/>
                    </a:cxn>
                    <a:cxn ang="0">
                      <a:pos x="362" y="796"/>
                    </a:cxn>
                    <a:cxn ang="0">
                      <a:pos x="432" y="890"/>
                    </a:cxn>
                    <a:cxn ang="0">
                      <a:pos x="432" y="862"/>
                    </a:cxn>
                    <a:cxn ang="0">
                      <a:pos x="446" y="824"/>
                    </a:cxn>
                    <a:cxn ang="0">
                      <a:pos x="472" y="800"/>
                    </a:cxn>
                    <a:cxn ang="0">
                      <a:pos x="536" y="710"/>
                    </a:cxn>
                    <a:cxn ang="0">
                      <a:pos x="562" y="666"/>
                    </a:cxn>
                    <a:cxn ang="0">
                      <a:pos x="584" y="654"/>
                    </a:cxn>
                    <a:cxn ang="0">
                      <a:pos x="616" y="656"/>
                    </a:cxn>
                    <a:cxn ang="0">
                      <a:pos x="638" y="4"/>
                    </a:cxn>
                  </a:cxnLst>
                  <a:rect l="0" t="0" r="r" b="b"/>
                  <a:pathLst>
                    <a:path w="638" h="890">
                      <a:moveTo>
                        <a:pt x="638" y="4"/>
                      </a:moveTo>
                      <a:lnTo>
                        <a:pt x="638" y="4"/>
                      </a:lnTo>
                      <a:lnTo>
                        <a:pt x="622" y="2"/>
                      </a:lnTo>
                      <a:lnTo>
                        <a:pt x="592" y="0"/>
                      </a:lnTo>
                      <a:lnTo>
                        <a:pt x="576" y="0"/>
                      </a:lnTo>
                      <a:lnTo>
                        <a:pt x="564" y="2"/>
                      </a:lnTo>
                      <a:lnTo>
                        <a:pt x="560" y="4"/>
                      </a:lnTo>
                      <a:lnTo>
                        <a:pt x="556" y="8"/>
                      </a:lnTo>
                      <a:lnTo>
                        <a:pt x="556" y="12"/>
                      </a:lnTo>
                      <a:lnTo>
                        <a:pt x="556" y="16"/>
                      </a:lnTo>
                      <a:lnTo>
                        <a:pt x="556" y="16"/>
                      </a:lnTo>
                      <a:lnTo>
                        <a:pt x="564" y="34"/>
                      </a:lnTo>
                      <a:lnTo>
                        <a:pt x="566" y="40"/>
                      </a:lnTo>
                      <a:lnTo>
                        <a:pt x="566" y="42"/>
                      </a:lnTo>
                      <a:lnTo>
                        <a:pt x="562" y="44"/>
                      </a:lnTo>
                      <a:lnTo>
                        <a:pt x="556" y="42"/>
                      </a:lnTo>
                      <a:lnTo>
                        <a:pt x="534" y="30"/>
                      </a:lnTo>
                      <a:lnTo>
                        <a:pt x="534" y="30"/>
                      </a:lnTo>
                      <a:lnTo>
                        <a:pt x="508" y="18"/>
                      </a:lnTo>
                      <a:lnTo>
                        <a:pt x="490" y="10"/>
                      </a:lnTo>
                      <a:lnTo>
                        <a:pt x="476" y="6"/>
                      </a:lnTo>
                      <a:lnTo>
                        <a:pt x="462" y="4"/>
                      </a:lnTo>
                      <a:lnTo>
                        <a:pt x="462" y="4"/>
                      </a:lnTo>
                      <a:lnTo>
                        <a:pt x="420" y="4"/>
                      </a:lnTo>
                      <a:lnTo>
                        <a:pt x="402" y="2"/>
                      </a:lnTo>
                      <a:lnTo>
                        <a:pt x="394" y="4"/>
                      </a:lnTo>
                      <a:lnTo>
                        <a:pt x="390" y="4"/>
                      </a:lnTo>
                      <a:lnTo>
                        <a:pt x="390" y="4"/>
                      </a:lnTo>
                      <a:lnTo>
                        <a:pt x="362" y="22"/>
                      </a:lnTo>
                      <a:lnTo>
                        <a:pt x="362" y="22"/>
                      </a:lnTo>
                      <a:lnTo>
                        <a:pt x="334" y="16"/>
                      </a:lnTo>
                      <a:lnTo>
                        <a:pt x="314" y="14"/>
                      </a:lnTo>
                      <a:lnTo>
                        <a:pt x="306" y="14"/>
                      </a:lnTo>
                      <a:lnTo>
                        <a:pt x="302" y="16"/>
                      </a:lnTo>
                      <a:lnTo>
                        <a:pt x="302" y="16"/>
                      </a:lnTo>
                      <a:lnTo>
                        <a:pt x="300" y="20"/>
                      </a:lnTo>
                      <a:lnTo>
                        <a:pt x="300" y="26"/>
                      </a:lnTo>
                      <a:lnTo>
                        <a:pt x="298" y="36"/>
                      </a:lnTo>
                      <a:lnTo>
                        <a:pt x="296" y="48"/>
                      </a:lnTo>
                      <a:lnTo>
                        <a:pt x="292" y="54"/>
                      </a:lnTo>
                      <a:lnTo>
                        <a:pt x="288" y="60"/>
                      </a:lnTo>
                      <a:lnTo>
                        <a:pt x="288" y="60"/>
                      </a:lnTo>
                      <a:lnTo>
                        <a:pt x="276" y="68"/>
                      </a:lnTo>
                      <a:lnTo>
                        <a:pt x="264" y="76"/>
                      </a:lnTo>
                      <a:lnTo>
                        <a:pt x="250" y="80"/>
                      </a:lnTo>
                      <a:lnTo>
                        <a:pt x="250" y="80"/>
                      </a:lnTo>
                      <a:lnTo>
                        <a:pt x="242" y="78"/>
                      </a:lnTo>
                      <a:lnTo>
                        <a:pt x="224" y="74"/>
                      </a:lnTo>
                      <a:lnTo>
                        <a:pt x="214" y="74"/>
                      </a:lnTo>
                      <a:lnTo>
                        <a:pt x="206" y="76"/>
                      </a:lnTo>
                      <a:lnTo>
                        <a:pt x="200" y="78"/>
                      </a:lnTo>
                      <a:lnTo>
                        <a:pt x="196" y="82"/>
                      </a:lnTo>
                      <a:lnTo>
                        <a:pt x="196" y="86"/>
                      </a:lnTo>
                      <a:lnTo>
                        <a:pt x="196" y="86"/>
                      </a:lnTo>
                      <a:lnTo>
                        <a:pt x="194" y="102"/>
                      </a:lnTo>
                      <a:lnTo>
                        <a:pt x="192" y="116"/>
                      </a:lnTo>
                      <a:lnTo>
                        <a:pt x="192" y="128"/>
                      </a:lnTo>
                      <a:lnTo>
                        <a:pt x="188" y="136"/>
                      </a:lnTo>
                      <a:lnTo>
                        <a:pt x="188" y="136"/>
                      </a:lnTo>
                      <a:lnTo>
                        <a:pt x="132" y="232"/>
                      </a:lnTo>
                      <a:lnTo>
                        <a:pt x="118" y="316"/>
                      </a:lnTo>
                      <a:lnTo>
                        <a:pt x="150" y="412"/>
                      </a:lnTo>
                      <a:lnTo>
                        <a:pt x="150" y="412"/>
                      </a:lnTo>
                      <a:lnTo>
                        <a:pt x="142" y="422"/>
                      </a:lnTo>
                      <a:lnTo>
                        <a:pt x="134" y="430"/>
                      </a:lnTo>
                      <a:lnTo>
                        <a:pt x="128" y="434"/>
                      </a:lnTo>
                      <a:lnTo>
                        <a:pt x="128" y="434"/>
                      </a:lnTo>
                      <a:lnTo>
                        <a:pt x="124" y="434"/>
                      </a:lnTo>
                      <a:lnTo>
                        <a:pt x="120" y="430"/>
                      </a:lnTo>
                      <a:lnTo>
                        <a:pt x="110" y="424"/>
                      </a:lnTo>
                      <a:lnTo>
                        <a:pt x="100" y="414"/>
                      </a:lnTo>
                      <a:lnTo>
                        <a:pt x="90" y="406"/>
                      </a:lnTo>
                      <a:lnTo>
                        <a:pt x="90" y="406"/>
                      </a:lnTo>
                      <a:lnTo>
                        <a:pt x="82" y="398"/>
                      </a:lnTo>
                      <a:lnTo>
                        <a:pt x="72" y="388"/>
                      </a:lnTo>
                      <a:lnTo>
                        <a:pt x="60" y="378"/>
                      </a:lnTo>
                      <a:lnTo>
                        <a:pt x="56" y="376"/>
                      </a:lnTo>
                      <a:lnTo>
                        <a:pt x="50" y="374"/>
                      </a:lnTo>
                      <a:lnTo>
                        <a:pt x="50" y="374"/>
                      </a:lnTo>
                      <a:lnTo>
                        <a:pt x="38" y="376"/>
                      </a:lnTo>
                      <a:lnTo>
                        <a:pt x="34" y="380"/>
                      </a:lnTo>
                      <a:lnTo>
                        <a:pt x="28" y="384"/>
                      </a:lnTo>
                      <a:lnTo>
                        <a:pt x="22" y="388"/>
                      </a:lnTo>
                      <a:lnTo>
                        <a:pt x="20" y="396"/>
                      </a:lnTo>
                      <a:lnTo>
                        <a:pt x="18" y="406"/>
                      </a:lnTo>
                      <a:lnTo>
                        <a:pt x="18" y="416"/>
                      </a:lnTo>
                      <a:lnTo>
                        <a:pt x="18" y="416"/>
                      </a:lnTo>
                      <a:lnTo>
                        <a:pt x="20" y="440"/>
                      </a:lnTo>
                      <a:lnTo>
                        <a:pt x="20" y="460"/>
                      </a:lnTo>
                      <a:lnTo>
                        <a:pt x="18" y="472"/>
                      </a:lnTo>
                      <a:lnTo>
                        <a:pt x="14" y="484"/>
                      </a:lnTo>
                      <a:lnTo>
                        <a:pt x="8" y="498"/>
                      </a:lnTo>
                      <a:lnTo>
                        <a:pt x="0" y="514"/>
                      </a:lnTo>
                      <a:lnTo>
                        <a:pt x="0" y="514"/>
                      </a:lnTo>
                      <a:lnTo>
                        <a:pt x="2" y="530"/>
                      </a:lnTo>
                      <a:lnTo>
                        <a:pt x="6" y="544"/>
                      </a:lnTo>
                      <a:lnTo>
                        <a:pt x="14" y="558"/>
                      </a:lnTo>
                      <a:lnTo>
                        <a:pt x="14" y="558"/>
                      </a:lnTo>
                      <a:lnTo>
                        <a:pt x="30" y="582"/>
                      </a:lnTo>
                      <a:lnTo>
                        <a:pt x="34" y="594"/>
                      </a:lnTo>
                      <a:lnTo>
                        <a:pt x="34" y="604"/>
                      </a:lnTo>
                      <a:lnTo>
                        <a:pt x="34" y="604"/>
                      </a:lnTo>
                      <a:lnTo>
                        <a:pt x="32" y="636"/>
                      </a:lnTo>
                      <a:lnTo>
                        <a:pt x="34" y="652"/>
                      </a:lnTo>
                      <a:lnTo>
                        <a:pt x="36" y="662"/>
                      </a:lnTo>
                      <a:lnTo>
                        <a:pt x="36" y="662"/>
                      </a:lnTo>
                      <a:lnTo>
                        <a:pt x="42" y="666"/>
                      </a:lnTo>
                      <a:lnTo>
                        <a:pt x="56" y="672"/>
                      </a:lnTo>
                      <a:lnTo>
                        <a:pt x="96" y="688"/>
                      </a:lnTo>
                      <a:lnTo>
                        <a:pt x="96" y="688"/>
                      </a:lnTo>
                      <a:lnTo>
                        <a:pt x="100" y="688"/>
                      </a:lnTo>
                      <a:lnTo>
                        <a:pt x="112" y="694"/>
                      </a:lnTo>
                      <a:lnTo>
                        <a:pt x="120" y="700"/>
                      </a:lnTo>
                      <a:lnTo>
                        <a:pt x="126" y="706"/>
                      </a:lnTo>
                      <a:lnTo>
                        <a:pt x="132" y="712"/>
                      </a:lnTo>
                      <a:lnTo>
                        <a:pt x="138" y="722"/>
                      </a:lnTo>
                      <a:lnTo>
                        <a:pt x="138" y="722"/>
                      </a:lnTo>
                      <a:lnTo>
                        <a:pt x="144" y="730"/>
                      </a:lnTo>
                      <a:lnTo>
                        <a:pt x="154" y="738"/>
                      </a:lnTo>
                      <a:lnTo>
                        <a:pt x="164" y="742"/>
                      </a:lnTo>
                      <a:lnTo>
                        <a:pt x="174" y="744"/>
                      </a:lnTo>
                      <a:lnTo>
                        <a:pt x="186" y="744"/>
                      </a:lnTo>
                      <a:lnTo>
                        <a:pt x="198" y="744"/>
                      </a:lnTo>
                      <a:lnTo>
                        <a:pt x="218" y="738"/>
                      </a:lnTo>
                      <a:lnTo>
                        <a:pt x="218" y="738"/>
                      </a:lnTo>
                      <a:lnTo>
                        <a:pt x="226" y="734"/>
                      </a:lnTo>
                      <a:lnTo>
                        <a:pt x="232" y="730"/>
                      </a:lnTo>
                      <a:lnTo>
                        <a:pt x="236" y="726"/>
                      </a:lnTo>
                      <a:lnTo>
                        <a:pt x="242" y="724"/>
                      </a:lnTo>
                      <a:lnTo>
                        <a:pt x="250" y="724"/>
                      </a:lnTo>
                      <a:lnTo>
                        <a:pt x="262" y="728"/>
                      </a:lnTo>
                      <a:lnTo>
                        <a:pt x="276" y="736"/>
                      </a:lnTo>
                      <a:lnTo>
                        <a:pt x="298" y="750"/>
                      </a:lnTo>
                      <a:lnTo>
                        <a:pt x="298" y="750"/>
                      </a:lnTo>
                      <a:lnTo>
                        <a:pt x="362" y="796"/>
                      </a:lnTo>
                      <a:lnTo>
                        <a:pt x="376" y="808"/>
                      </a:lnTo>
                      <a:lnTo>
                        <a:pt x="432" y="890"/>
                      </a:lnTo>
                      <a:lnTo>
                        <a:pt x="432" y="890"/>
                      </a:lnTo>
                      <a:lnTo>
                        <a:pt x="432" y="882"/>
                      </a:lnTo>
                      <a:lnTo>
                        <a:pt x="432" y="874"/>
                      </a:lnTo>
                      <a:lnTo>
                        <a:pt x="432" y="862"/>
                      </a:lnTo>
                      <a:lnTo>
                        <a:pt x="434" y="850"/>
                      </a:lnTo>
                      <a:lnTo>
                        <a:pt x="438" y="838"/>
                      </a:lnTo>
                      <a:lnTo>
                        <a:pt x="446" y="824"/>
                      </a:lnTo>
                      <a:lnTo>
                        <a:pt x="458" y="812"/>
                      </a:lnTo>
                      <a:lnTo>
                        <a:pt x="458" y="812"/>
                      </a:lnTo>
                      <a:lnTo>
                        <a:pt x="472" y="800"/>
                      </a:lnTo>
                      <a:lnTo>
                        <a:pt x="486" y="784"/>
                      </a:lnTo>
                      <a:lnTo>
                        <a:pt x="512" y="748"/>
                      </a:lnTo>
                      <a:lnTo>
                        <a:pt x="536" y="710"/>
                      </a:lnTo>
                      <a:lnTo>
                        <a:pt x="554" y="678"/>
                      </a:lnTo>
                      <a:lnTo>
                        <a:pt x="554" y="678"/>
                      </a:lnTo>
                      <a:lnTo>
                        <a:pt x="562" y="666"/>
                      </a:lnTo>
                      <a:lnTo>
                        <a:pt x="570" y="660"/>
                      </a:lnTo>
                      <a:lnTo>
                        <a:pt x="576" y="656"/>
                      </a:lnTo>
                      <a:lnTo>
                        <a:pt x="584" y="654"/>
                      </a:lnTo>
                      <a:lnTo>
                        <a:pt x="590" y="654"/>
                      </a:lnTo>
                      <a:lnTo>
                        <a:pt x="598" y="654"/>
                      </a:lnTo>
                      <a:lnTo>
                        <a:pt x="616" y="656"/>
                      </a:lnTo>
                      <a:lnTo>
                        <a:pt x="616" y="656"/>
                      </a:lnTo>
                      <a:lnTo>
                        <a:pt x="632" y="656"/>
                      </a:lnTo>
                      <a:lnTo>
                        <a:pt x="638" y="4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80" name="Freeform 91">
                  <a:extLst>
                    <a:ext uri="{FF2B5EF4-FFF2-40B4-BE49-F238E27FC236}">
                      <a16:creationId xmlns:a16="http://schemas.microsoft.com/office/drawing/2014/main" id="{FFD717F3-DC21-421D-AE42-569E528E16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2029" y="4174090"/>
                  <a:ext cx="234747" cy="659066"/>
                </a:xfrm>
                <a:custGeom>
                  <a:avLst/>
                  <a:gdLst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1944 w 10000"/>
                    <a:gd name="connsiteY224" fmla="*/ 9558 h 10000"/>
                    <a:gd name="connsiteX225" fmla="*/ 2944 w 10000"/>
                    <a:gd name="connsiteY225" fmla="*/ 9573 h 10000"/>
                    <a:gd name="connsiteX226" fmla="*/ 2944 w 10000"/>
                    <a:gd name="connsiteY226" fmla="*/ 9573 h 10000"/>
                    <a:gd name="connsiteX227" fmla="*/ 4167 w 10000"/>
                    <a:gd name="connsiteY227" fmla="*/ 9602 h 10000"/>
                    <a:gd name="connsiteX228" fmla="*/ 4889 w 10000"/>
                    <a:gd name="connsiteY228" fmla="*/ 9647 h 10000"/>
                    <a:gd name="connsiteX229" fmla="*/ 5278 w 10000"/>
                    <a:gd name="connsiteY229" fmla="*/ 9691 h 10000"/>
                    <a:gd name="connsiteX230" fmla="*/ 5444 w 10000"/>
                    <a:gd name="connsiteY230" fmla="*/ 9705 h 10000"/>
                    <a:gd name="connsiteX231" fmla="*/ 5444 w 10000"/>
                    <a:gd name="connsiteY231" fmla="*/ 9705 h 10000"/>
                    <a:gd name="connsiteX232" fmla="*/ 5722 w 10000"/>
                    <a:gd name="connsiteY232" fmla="*/ 9735 h 10000"/>
                    <a:gd name="connsiteX233" fmla="*/ 5833 w 10000"/>
                    <a:gd name="connsiteY233" fmla="*/ 9750 h 10000"/>
                    <a:gd name="connsiteX234" fmla="*/ 5833 w 10000"/>
                    <a:gd name="connsiteY234" fmla="*/ 9750 h 10000"/>
                    <a:gd name="connsiteX235" fmla="*/ 5833 w 10000"/>
                    <a:gd name="connsiteY235" fmla="*/ 9735 h 10000"/>
                    <a:gd name="connsiteX236" fmla="*/ 5889 w 10000"/>
                    <a:gd name="connsiteY236" fmla="*/ 9720 h 10000"/>
                    <a:gd name="connsiteX237" fmla="*/ 6000 w 10000"/>
                    <a:gd name="connsiteY237" fmla="*/ 9705 h 10000"/>
                    <a:gd name="connsiteX238" fmla="*/ 6167 w 10000"/>
                    <a:gd name="connsiteY238" fmla="*/ 9691 h 10000"/>
                    <a:gd name="connsiteX239" fmla="*/ 6444 w 10000"/>
                    <a:gd name="connsiteY239" fmla="*/ 9691 h 10000"/>
                    <a:gd name="connsiteX240" fmla="*/ 6833 w 10000"/>
                    <a:gd name="connsiteY240" fmla="*/ 9705 h 10000"/>
                    <a:gd name="connsiteX241" fmla="*/ 7278 w 10000"/>
                    <a:gd name="connsiteY241" fmla="*/ 9750 h 10000"/>
                    <a:gd name="connsiteX242" fmla="*/ 7278 w 10000"/>
                    <a:gd name="connsiteY242" fmla="*/ 9750 h 10000"/>
                    <a:gd name="connsiteX243" fmla="*/ 8722 w 10000"/>
                    <a:gd name="connsiteY243" fmla="*/ 9882 h 10000"/>
                    <a:gd name="connsiteX244" fmla="*/ 10000 w 10000"/>
                    <a:gd name="connsiteY244" fmla="*/ 10000 h 10000"/>
                    <a:gd name="connsiteX245" fmla="*/ 10000 w 10000"/>
                    <a:gd name="connsiteY245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2944 w 10000"/>
                    <a:gd name="connsiteY224" fmla="*/ 9573 h 10000"/>
                    <a:gd name="connsiteX225" fmla="*/ 2944 w 10000"/>
                    <a:gd name="connsiteY225" fmla="*/ 9573 h 10000"/>
                    <a:gd name="connsiteX226" fmla="*/ 4167 w 10000"/>
                    <a:gd name="connsiteY226" fmla="*/ 9602 h 10000"/>
                    <a:gd name="connsiteX227" fmla="*/ 4889 w 10000"/>
                    <a:gd name="connsiteY227" fmla="*/ 9647 h 10000"/>
                    <a:gd name="connsiteX228" fmla="*/ 5278 w 10000"/>
                    <a:gd name="connsiteY228" fmla="*/ 9691 h 10000"/>
                    <a:gd name="connsiteX229" fmla="*/ 5444 w 10000"/>
                    <a:gd name="connsiteY229" fmla="*/ 9705 h 10000"/>
                    <a:gd name="connsiteX230" fmla="*/ 5444 w 10000"/>
                    <a:gd name="connsiteY230" fmla="*/ 9705 h 10000"/>
                    <a:gd name="connsiteX231" fmla="*/ 5722 w 10000"/>
                    <a:gd name="connsiteY231" fmla="*/ 9735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50 h 10000"/>
                    <a:gd name="connsiteX234" fmla="*/ 5833 w 10000"/>
                    <a:gd name="connsiteY234" fmla="*/ 9735 h 10000"/>
                    <a:gd name="connsiteX235" fmla="*/ 5889 w 10000"/>
                    <a:gd name="connsiteY235" fmla="*/ 9720 h 10000"/>
                    <a:gd name="connsiteX236" fmla="*/ 6000 w 10000"/>
                    <a:gd name="connsiteY236" fmla="*/ 9705 h 10000"/>
                    <a:gd name="connsiteX237" fmla="*/ 6167 w 10000"/>
                    <a:gd name="connsiteY237" fmla="*/ 9691 h 10000"/>
                    <a:gd name="connsiteX238" fmla="*/ 6444 w 10000"/>
                    <a:gd name="connsiteY238" fmla="*/ 9691 h 10000"/>
                    <a:gd name="connsiteX239" fmla="*/ 6833 w 10000"/>
                    <a:gd name="connsiteY239" fmla="*/ 9705 h 10000"/>
                    <a:gd name="connsiteX240" fmla="*/ 7278 w 10000"/>
                    <a:gd name="connsiteY240" fmla="*/ 9750 h 10000"/>
                    <a:gd name="connsiteX241" fmla="*/ 7278 w 10000"/>
                    <a:gd name="connsiteY241" fmla="*/ 9750 h 10000"/>
                    <a:gd name="connsiteX242" fmla="*/ 8722 w 10000"/>
                    <a:gd name="connsiteY242" fmla="*/ 9882 h 10000"/>
                    <a:gd name="connsiteX243" fmla="*/ 10000 w 10000"/>
                    <a:gd name="connsiteY243" fmla="*/ 10000 h 10000"/>
                    <a:gd name="connsiteX244" fmla="*/ 10000 w 10000"/>
                    <a:gd name="connsiteY244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2944 w 10000"/>
                    <a:gd name="connsiteY224" fmla="*/ 9573 h 10000"/>
                    <a:gd name="connsiteX225" fmla="*/ 4167 w 10000"/>
                    <a:gd name="connsiteY225" fmla="*/ 9602 h 10000"/>
                    <a:gd name="connsiteX226" fmla="*/ 4889 w 10000"/>
                    <a:gd name="connsiteY226" fmla="*/ 9647 h 10000"/>
                    <a:gd name="connsiteX227" fmla="*/ 5278 w 10000"/>
                    <a:gd name="connsiteY227" fmla="*/ 9691 h 10000"/>
                    <a:gd name="connsiteX228" fmla="*/ 5444 w 10000"/>
                    <a:gd name="connsiteY228" fmla="*/ 9705 h 10000"/>
                    <a:gd name="connsiteX229" fmla="*/ 5444 w 10000"/>
                    <a:gd name="connsiteY229" fmla="*/ 9705 h 10000"/>
                    <a:gd name="connsiteX230" fmla="*/ 5722 w 10000"/>
                    <a:gd name="connsiteY230" fmla="*/ 9735 h 10000"/>
                    <a:gd name="connsiteX231" fmla="*/ 5833 w 10000"/>
                    <a:gd name="connsiteY231" fmla="*/ 9750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35 h 10000"/>
                    <a:gd name="connsiteX234" fmla="*/ 5889 w 10000"/>
                    <a:gd name="connsiteY234" fmla="*/ 9720 h 10000"/>
                    <a:gd name="connsiteX235" fmla="*/ 6000 w 10000"/>
                    <a:gd name="connsiteY235" fmla="*/ 9705 h 10000"/>
                    <a:gd name="connsiteX236" fmla="*/ 6167 w 10000"/>
                    <a:gd name="connsiteY236" fmla="*/ 9691 h 10000"/>
                    <a:gd name="connsiteX237" fmla="*/ 6444 w 10000"/>
                    <a:gd name="connsiteY237" fmla="*/ 9691 h 10000"/>
                    <a:gd name="connsiteX238" fmla="*/ 6833 w 10000"/>
                    <a:gd name="connsiteY238" fmla="*/ 9705 h 10000"/>
                    <a:gd name="connsiteX239" fmla="*/ 7278 w 10000"/>
                    <a:gd name="connsiteY239" fmla="*/ 9750 h 10000"/>
                    <a:gd name="connsiteX240" fmla="*/ 7278 w 10000"/>
                    <a:gd name="connsiteY240" fmla="*/ 9750 h 10000"/>
                    <a:gd name="connsiteX241" fmla="*/ 8722 w 10000"/>
                    <a:gd name="connsiteY241" fmla="*/ 9882 h 10000"/>
                    <a:gd name="connsiteX242" fmla="*/ 10000 w 10000"/>
                    <a:gd name="connsiteY242" fmla="*/ 10000 h 10000"/>
                    <a:gd name="connsiteX243" fmla="*/ 10000 w 10000"/>
                    <a:gd name="connsiteY243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4167 w 10000"/>
                    <a:gd name="connsiteY224" fmla="*/ 9602 h 10000"/>
                    <a:gd name="connsiteX225" fmla="*/ 4889 w 10000"/>
                    <a:gd name="connsiteY225" fmla="*/ 9647 h 10000"/>
                    <a:gd name="connsiteX226" fmla="*/ 5278 w 10000"/>
                    <a:gd name="connsiteY226" fmla="*/ 9691 h 10000"/>
                    <a:gd name="connsiteX227" fmla="*/ 5444 w 10000"/>
                    <a:gd name="connsiteY227" fmla="*/ 9705 h 10000"/>
                    <a:gd name="connsiteX228" fmla="*/ 5444 w 10000"/>
                    <a:gd name="connsiteY228" fmla="*/ 9705 h 10000"/>
                    <a:gd name="connsiteX229" fmla="*/ 5722 w 10000"/>
                    <a:gd name="connsiteY229" fmla="*/ 9735 h 10000"/>
                    <a:gd name="connsiteX230" fmla="*/ 5833 w 10000"/>
                    <a:gd name="connsiteY230" fmla="*/ 9750 h 10000"/>
                    <a:gd name="connsiteX231" fmla="*/ 5833 w 10000"/>
                    <a:gd name="connsiteY231" fmla="*/ 9750 h 10000"/>
                    <a:gd name="connsiteX232" fmla="*/ 5833 w 10000"/>
                    <a:gd name="connsiteY232" fmla="*/ 9735 h 10000"/>
                    <a:gd name="connsiteX233" fmla="*/ 5889 w 10000"/>
                    <a:gd name="connsiteY233" fmla="*/ 9720 h 10000"/>
                    <a:gd name="connsiteX234" fmla="*/ 6000 w 10000"/>
                    <a:gd name="connsiteY234" fmla="*/ 9705 h 10000"/>
                    <a:gd name="connsiteX235" fmla="*/ 6167 w 10000"/>
                    <a:gd name="connsiteY235" fmla="*/ 9691 h 10000"/>
                    <a:gd name="connsiteX236" fmla="*/ 6444 w 10000"/>
                    <a:gd name="connsiteY236" fmla="*/ 9691 h 10000"/>
                    <a:gd name="connsiteX237" fmla="*/ 6833 w 10000"/>
                    <a:gd name="connsiteY237" fmla="*/ 9705 h 10000"/>
                    <a:gd name="connsiteX238" fmla="*/ 7278 w 10000"/>
                    <a:gd name="connsiteY238" fmla="*/ 9750 h 10000"/>
                    <a:gd name="connsiteX239" fmla="*/ 7278 w 10000"/>
                    <a:gd name="connsiteY239" fmla="*/ 9750 h 10000"/>
                    <a:gd name="connsiteX240" fmla="*/ 8722 w 10000"/>
                    <a:gd name="connsiteY240" fmla="*/ 9882 h 10000"/>
                    <a:gd name="connsiteX241" fmla="*/ 10000 w 10000"/>
                    <a:gd name="connsiteY241" fmla="*/ 10000 h 10000"/>
                    <a:gd name="connsiteX242" fmla="*/ 10000 w 10000"/>
                    <a:gd name="connsiteY242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4889 w 10000"/>
                    <a:gd name="connsiteY224" fmla="*/ 9647 h 10000"/>
                    <a:gd name="connsiteX225" fmla="*/ 5278 w 10000"/>
                    <a:gd name="connsiteY225" fmla="*/ 9691 h 10000"/>
                    <a:gd name="connsiteX226" fmla="*/ 5444 w 10000"/>
                    <a:gd name="connsiteY226" fmla="*/ 9705 h 10000"/>
                    <a:gd name="connsiteX227" fmla="*/ 5444 w 10000"/>
                    <a:gd name="connsiteY227" fmla="*/ 9705 h 10000"/>
                    <a:gd name="connsiteX228" fmla="*/ 5722 w 10000"/>
                    <a:gd name="connsiteY228" fmla="*/ 9735 h 10000"/>
                    <a:gd name="connsiteX229" fmla="*/ 5833 w 10000"/>
                    <a:gd name="connsiteY229" fmla="*/ 9750 h 10000"/>
                    <a:gd name="connsiteX230" fmla="*/ 5833 w 10000"/>
                    <a:gd name="connsiteY230" fmla="*/ 9750 h 10000"/>
                    <a:gd name="connsiteX231" fmla="*/ 5833 w 10000"/>
                    <a:gd name="connsiteY231" fmla="*/ 9735 h 10000"/>
                    <a:gd name="connsiteX232" fmla="*/ 5889 w 10000"/>
                    <a:gd name="connsiteY232" fmla="*/ 9720 h 10000"/>
                    <a:gd name="connsiteX233" fmla="*/ 6000 w 10000"/>
                    <a:gd name="connsiteY233" fmla="*/ 9705 h 10000"/>
                    <a:gd name="connsiteX234" fmla="*/ 6167 w 10000"/>
                    <a:gd name="connsiteY234" fmla="*/ 9691 h 10000"/>
                    <a:gd name="connsiteX235" fmla="*/ 6444 w 10000"/>
                    <a:gd name="connsiteY235" fmla="*/ 9691 h 10000"/>
                    <a:gd name="connsiteX236" fmla="*/ 6833 w 10000"/>
                    <a:gd name="connsiteY236" fmla="*/ 9705 h 10000"/>
                    <a:gd name="connsiteX237" fmla="*/ 7278 w 10000"/>
                    <a:gd name="connsiteY237" fmla="*/ 9750 h 10000"/>
                    <a:gd name="connsiteX238" fmla="*/ 7278 w 10000"/>
                    <a:gd name="connsiteY238" fmla="*/ 9750 h 10000"/>
                    <a:gd name="connsiteX239" fmla="*/ 8722 w 10000"/>
                    <a:gd name="connsiteY239" fmla="*/ 9882 h 10000"/>
                    <a:gd name="connsiteX240" fmla="*/ 10000 w 10000"/>
                    <a:gd name="connsiteY240" fmla="*/ 10000 h 10000"/>
                    <a:gd name="connsiteX241" fmla="*/ 10000 w 10000"/>
                    <a:gd name="connsiteY241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5278 w 10000"/>
                    <a:gd name="connsiteY224" fmla="*/ 9691 h 10000"/>
                    <a:gd name="connsiteX225" fmla="*/ 5444 w 10000"/>
                    <a:gd name="connsiteY225" fmla="*/ 9705 h 10000"/>
                    <a:gd name="connsiteX226" fmla="*/ 5444 w 10000"/>
                    <a:gd name="connsiteY226" fmla="*/ 9705 h 10000"/>
                    <a:gd name="connsiteX227" fmla="*/ 5722 w 10000"/>
                    <a:gd name="connsiteY227" fmla="*/ 9735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50 h 10000"/>
                    <a:gd name="connsiteX230" fmla="*/ 5833 w 10000"/>
                    <a:gd name="connsiteY230" fmla="*/ 9735 h 10000"/>
                    <a:gd name="connsiteX231" fmla="*/ 5889 w 10000"/>
                    <a:gd name="connsiteY231" fmla="*/ 9720 h 10000"/>
                    <a:gd name="connsiteX232" fmla="*/ 6000 w 10000"/>
                    <a:gd name="connsiteY232" fmla="*/ 9705 h 10000"/>
                    <a:gd name="connsiteX233" fmla="*/ 6167 w 10000"/>
                    <a:gd name="connsiteY233" fmla="*/ 9691 h 10000"/>
                    <a:gd name="connsiteX234" fmla="*/ 6444 w 10000"/>
                    <a:gd name="connsiteY234" fmla="*/ 9691 h 10000"/>
                    <a:gd name="connsiteX235" fmla="*/ 6833 w 10000"/>
                    <a:gd name="connsiteY235" fmla="*/ 9705 h 10000"/>
                    <a:gd name="connsiteX236" fmla="*/ 7278 w 10000"/>
                    <a:gd name="connsiteY236" fmla="*/ 9750 h 10000"/>
                    <a:gd name="connsiteX237" fmla="*/ 7278 w 10000"/>
                    <a:gd name="connsiteY237" fmla="*/ 9750 h 10000"/>
                    <a:gd name="connsiteX238" fmla="*/ 8722 w 10000"/>
                    <a:gd name="connsiteY238" fmla="*/ 9882 h 10000"/>
                    <a:gd name="connsiteX239" fmla="*/ 10000 w 10000"/>
                    <a:gd name="connsiteY239" fmla="*/ 10000 h 10000"/>
                    <a:gd name="connsiteX240" fmla="*/ 10000 w 10000"/>
                    <a:gd name="connsiteY240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5278 w 10000"/>
                    <a:gd name="connsiteY224" fmla="*/ 9691 h 10000"/>
                    <a:gd name="connsiteX225" fmla="*/ 5444 w 10000"/>
                    <a:gd name="connsiteY225" fmla="*/ 9705 h 10000"/>
                    <a:gd name="connsiteX226" fmla="*/ 5444 w 10000"/>
                    <a:gd name="connsiteY226" fmla="*/ 9705 h 10000"/>
                    <a:gd name="connsiteX227" fmla="*/ 5722 w 10000"/>
                    <a:gd name="connsiteY227" fmla="*/ 9735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50 h 10000"/>
                    <a:gd name="connsiteX230" fmla="*/ 5889 w 10000"/>
                    <a:gd name="connsiteY230" fmla="*/ 9720 h 10000"/>
                    <a:gd name="connsiteX231" fmla="*/ 6000 w 10000"/>
                    <a:gd name="connsiteY231" fmla="*/ 9705 h 10000"/>
                    <a:gd name="connsiteX232" fmla="*/ 6167 w 10000"/>
                    <a:gd name="connsiteY232" fmla="*/ 9691 h 10000"/>
                    <a:gd name="connsiteX233" fmla="*/ 6444 w 10000"/>
                    <a:gd name="connsiteY233" fmla="*/ 9691 h 10000"/>
                    <a:gd name="connsiteX234" fmla="*/ 6833 w 10000"/>
                    <a:gd name="connsiteY234" fmla="*/ 9705 h 10000"/>
                    <a:gd name="connsiteX235" fmla="*/ 7278 w 10000"/>
                    <a:gd name="connsiteY235" fmla="*/ 9750 h 10000"/>
                    <a:gd name="connsiteX236" fmla="*/ 7278 w 10000"/>
                    <a:gd name="connsiteY236" fmla="*/ 9750 h 10000"/>
                    <a:gd name="connsiteX237" fmla="*/ 8722 w 10000"/>
                    <a:gd name="connsiteY237" fmla="*/ 9882 h 10000"/>
                    <a:gd name="connsiteX238" fmla="*/ 10000 w 10000"/>
                    <a:gd name="connsiteY238" fmla="*/ 10000 h 10000"/>
                    <a:gd name="connsiteX239" fmla="*/ 10000 w 10000"/>
                    <a:gd name="connsiteY239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5278 w 10000"/>
                    <a:gd name="connsiteY224" fmla="*/ 9691 h 10000"/>
                    <a:gd name="connsiteX225" fmla="*/ 5444 w 10000"/>
                    <a:gd name="connsiteY225" fmla="*/ 9705 h 10000"/>
                    <a:gd name="connsiteX226" fmla="*/ 5444 w 10000"/>
                    <a:gd name="connsiteY226" fmla="*/ 9705 h 10000"/>
                    <a:gd name="connsiteX227" fmla="*/ 5722 w 10000"/>
                    <a:gd name="connsiteY227" fmla="*/ 9735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50 h 10000"/>
                    <a:gd name="connsiteX230" fmla="*/ 5889 w 10000"/>
                    <a:gd name="connsiteY230" fmla="*/ 9720 h 10000"/>
                    <a:gd name="connsiteX231" fmla="*/ 6000 w 10000"/>
                    <a:gd name="connsiteY231" fmla="*/ 9705 h 10000"/>
                    <a:gd name="connsiteX232" fmla="*/ 6167 w 10000"/>
                    <a:gd name="connsiteY232" fmla="*/ 9691 h 10000"/>
                    <a:gd name="connsiteX233" fmla="*/ 6444 w 10000"/>
                    <a:gd name="connsiteY233" fmla="*/ 9691 h 10000"/>
                    <a:gd name="connsiteX234" fmla="*/ 7278 w 10000"/>
                    <a:gd name="connsiteY234" fmla="*/ 9750 h 10000"/>
                    <a:gd name="connsiteX235" fmla="*/ 7278 w 10000"/>
                    <a:gd name="connsiteY235" fmla="*/ 9750 h 10000"/>
                    <a:gd name="connsiteX236" fmla="*/ 8722 w 10000"/>
                    <a:gd name="connsiteY236" fmla="*/ 9882 h 10000"/>
                    <a:gd name="connsiteX237" fmla="*/ 10000 w 10000"/>
                    <a:gd name="connsiteY237" fmla="*/ 10000 h 10000"/>
                    <a:gd name="connsiteX238" fmla="*/ 10000 w 10000"/>
                    <a:gd name="connsiteY238" fmla="*/ 8999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013 h 10000"/>
                    <a:gd name="connsiteX144" fmla="*/ 10000 w 10000"/>
                    <a:gd name="connsiteY144" fmla="*/ 9013 h 10000"/>
                    <a:gd name="connsiteX145" fmla="*/ 9722 w 10000"/>
                    <a:gd name="connsiteY145" fmla="*/ 8999 h 10000"/>
                    <a:gd name="connsiteX146" fmla="*/ 9389 w 10000"/>
                    <a:gd name="connsiteY146" fmla="*/ 9013 h 10000"/>
                    <a:gd name="connsiteX147" fmla="*/ 9389 w 10000"/>
                    <a:gd name="connsiteY147" fmla="*/ 9013 h 10000"/>
                    <a:gd name="connsiteX148" fmla="*/ 9278 w 10000"/>
                    <a:gd name="connsiteY148" fmla="*/ 9028 h 10000"/>
                    <a:gd name="connsiteX149" fmla="*/ 9056 w 10000"/>
                    <a:gd name="connsiteY149" fmla="*/ 9013 h 10000"/>
                    <a:gd name="connsiteX150" fmla="*/ 8889 w 10000"/>
                    <a:gd name="connsiteY150" fmla="*/ 8999 h 10000"/>
                    <a:gd name="connsiteX151" fmla="*/ 8722 w 10000"/>
                    <a:gd name="connsiteY151" fmla="*/ 8969 h 10000"/>
                    <a:gd name="connsiteX152" fmla="*/ 8611 w 10000"/>
                    <a:gd name="connsiteY152" fmla="*/ 8925 h 10000"/>
                    <a:gd name="connsiteX153" fmla="*/ 8444 w 10000"/>
                    <a:gd name="connsiteY153" fmla="*/ 8851 h 10000"/>
                    <a:gd name="connsiteX154" fmla="*/ 8444 w 10000"/>
                    <a:gd name="connsiteY154" fmla="*/ 8851 h 10000"/>
                    <a:gd name="connsiteX155" fmla="*/ 8222 w 10000"/>
                    <a:gd name="connsiteY155" fmla="*/ 8719 h 10000"/>
                    <a:gd name="connsiteX156" fmla="*/ 8111 w 10000"/>
                    <a:gd name="connsiteY156" fmla="*/ 8660 h 10000"/>
                    <a:gd name="connsiteX157" fmla="*/ 7944 w 10000"/>
                    <a:gd name="connsiteY157" fmla="*/ 8616 h 10000"/>
                    <a:gd name="connsiteX158" fmla="*/ 7778 w 10000"/>
                    <a:gd name="connsiteY158" fmla="*/ 8586 h 10000"/>
                    <a:gd name="connsiteX159" fmla="*/ 7556 w 10000"/>
                    <a:gd name="connsiteY159" fmla="*/ 8571 h 10000"/>
                    <a:gd name="connsiteX160" fmla="*/ 7333 w 10000"/>
                    <a:gd name="connsiteY160" fmla="*/ 8557 h 10000"/>
                    <a:gd name="connsiteX161" fmla="*/ 7000 w 10000"/>
                    <a:gd name="connsiteY161" fmla="*/ 8542 h 10000"/>
                    <a:gd name="connsiteX162" fmla="*/ 7000 w 10000"/>
                    <a:gd name="connsiteY162" fmla="*/ 8542 h 10000"/>
                    <a:gd name="connsiteX163" fmla="*/ 6556 w 10000"/>
                    <a:gd name="connsiteY163" fmla="*/ 8557 h 10000"/>
                    <a:gd name="connsiteX164" fmla="*/ 6222 w 10000"/>
                    <a:gd name="connsiteY164" fmla="*/ 8557 h 10000"/>
                    <a:gd name="connsiteX165" fmla="*/ 6111 w 10000"/>
                    <a:gd name="connsiteY165" fmla="*/ 8542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527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62 h 10000"/>
                    <a:gd name="connsiteX170" fmla="*/ 6056 w 10000"/>
                    <a:gd name="connsiteY170" fmla="*/ 8203 h 10000"/>
                    <a:gd name="connsiteX171" fmla="*/ 5944 w 10000"/>
                    <a:gd name="connsiteY171" fmla="*/ 8130 h 10000"/>
                    <a:gd name="connsiteX172" fmla="*/ 5889 w 10000"/>
                    <a:gd name="connsiteY172" fmla="*/ 8115 h 10000"/>
                    <a:gd name="connsiteX173" fmla="*/ 5778 w 10000"/>
                    <a:gd name="connsiteY173" fmla="*/ 8100 h 10000"/>
                    <a:gd name="connsiteX174" fmla="*/ 5667 w 10000"/>
                    <a:gd name="connsiteY174" fmla="*/ 8100 h 10000"/>
                    <a:gd name="connsiteX175" fmla="*/ 5500 w 10000"/>
                    <a:gd name="connsiteY175" fmla="*/ 8115 h 10000"/>
                    <a:gd name="connsiteX176" fmla="*/ 5500 w 10000"/>
                    <a:gd name="connsiteY176" fmla="*/ 8115 h 10000"/>
                    <a:gd name="connsiteX177" fmla="*/ 4889 w 10000"/>
                    <a:gd name="connsiteY177" fmla="*/ 8218 h 10000"/>
                    <a:gd name="connsiteX178" fmla="*/ 4611 w 10000"/>
                    <a:gd name="connsiteY178" fmla="*/ 8247 h 10000"/>
                    <a:gd name="connsiteX179" fmla="*/ 4556 w 10000"/>
                    <a:gd name="connsiteY179" fmla="*/ 8262 h 10000"/>
                    <a:gd name="connsiteX180" fmla="*/ 4500 w 10000"/>
                    <a:gd name="connsiteY180" fmla="*/ 8247 h 10000"/>
                    <a:gd name="connsiteX181" fmla="*/ 4500 w 10000"/>
                    <a:gd name="connsiteY181" fmla="*/ 8247 h 10000"/>
                    <a:gd name="connsiteX182" fmla="*/ 4222 w 10000"/>
                    <a:gd name="connsiteY182" fmla="*/ 8100 h 10000"/>
                    <a:gd name="connsiteX183" fmla="*/ 4222 w 10000"/>
                    <a:gd name="connsiteY183" fmla="*/ 8100 h 10000"/>
                    <a:gd name="connsiteX184" fmla="*/ 4111 w 10000"/>
                    <a:gd name="connsiteY184" fmla="*/ 8027 h 10000"/>
                    <a:gd name="connsiteX185" fmla="*/ 4111 w 10000"/>
                    <a:gd name="connsiteY185" fmla="*/ 7982 h 10000"/>
                    <a:gd name="connsiteX186" fmla="*/ 4111 w 10000"/>
                    <a:gd name="connsiteY186" fmla="*/ 7938 h 10000"/>
                    <a:gd name="connsiteX187" fmla="*/ 4111 w 10000"/>
                    <a:gd name="connsiteY187" fmla="*/ 7938 h 10000"/>
                    <a:gd name="connsiteX188" fmla="*/ 4278 w 10000"/>
                    <a:gd name="connsiteY188" fmla="*/ 7894 h 10000"/>
                    <a:gd name="connsiteX189" fmla="*/ 4389 w 10000"/>
                    <a:gd name="connsiteY189" fmla="*/ 7879 h 10000"/>
                    <a:gd name="connsiteX190" fmla="*/ 4389 w 10000"/>
                    <a:gd name="connsiteY190" fmla="*/ 7879 h 10000"/>
                    <a:gd name="connsiteX191" fmla="*/ 4000 w 10000"/>
                    <a:gd name="connsiteY191" fmla="*/ 7879 h 10000"/>
                    <a:gd name="connsiteX192" fmla="*/ 3722 w 10000"/>
                    <a:gd name="connsiteY192" fmla="*/ 7894 h 10000"/>
                    <a:gd name="connsiteX193" fmla="*/ 3611 w 10000"/>
                    <a:gd name="connsiteY193" fmla="*/ 7909 h 10000"/>
                    <a:gd name="connsiteX194" fmla="*/ 3556 w 10000"/>
                    <a:gd name="connsiteY194" fmla="*/ 7923 h 10000"/>
                    <a:gd name="connsiteX195" fmla="*/ 3556 w 10000"/>
                    <a:gd name="connsiteY195" fmla="*/ 7923 h 10000"/>
                    <a:gd name="connsiteX196" fmla="*/ 3444 w 10000"/>
                    <a:gd name="connsiteY196" fmla="*/ 7982 h 10000"/>
                    <a:gd name="connsiteX197" fmla="*/ 3278 w 10000"/>
                    <a:gd name="connsiteY197" fmla="*/ 8071 h 10000"/>
                    <a:gd name="connsiteX198" fmla="*/ 3000 w 10000"/>
                    <a:gd name="connsiteY198" fmla="*/ 8174 h 10000"/>
                    <a:gd name="connsiteX199" fmla="*/ 2667 w 10000"/>
                    <a:gd name="connsiteY199" fmla="*/ 8247 h 10000"/>
                    <a:gd name="connsiteX200" fmla="*/ 2667 w 10000"/>
                    <a:gd name="connsiteY200" fmla="*/ 8247 h 10000"/>
                    <a:gd name="connsiteX201" fmla="*/ 2333 w 10000"/>
                    <a:gd name="connsiteY201" fmla="*/ 8306 h 10000"/>
                    <a:gd name="connsiteX202" fmla="*/ 1833 w 10000"/>
                    <a:gd name="connsiteY202" fmla="*/ 8365 h 10000"/>
                    <a:gd name="connsiteX203" fmla="*/ 1389 w 10000"/>
                    <a:gd name="connsiteY203" fmla="*/ 8395 h 10000"/>
                    <a:gd name="connsiteX204" fmla="*/ 889 w 10000"/>
                    <a:gd name="connsiteY204" fmla="*/ 8409 h 10000"/>
                    <a:gd name="connsiteX205" fmla="*/ 889 w 10000"/>
                    <a:gd name="connsiteY205" fmla="*/ 8409 h 10000"/>
                    <a:gd name="connsiteX206" fmla="*/ 500 w 10000"/>
                    <a:gd name="connsiteY206" fmla="*/ 8424 h 10000"/>
                    <a:gd name="connsiteX207" fmla="*/ 222 w 10000"/>
                    <a:gd name="connsiteY207" fmla="*/ 8439 h 10000"/>
                    <a:gd name="connsiteX208" fmla="*/ 0 w 10000"/>
                    <a:gd name="connsiteY208" fmla="*/ 8454 h 10000"/>
                    <a:gd name="connsiteX209" fmla="*/ 0 w 10000"/>
                    <a:gd name="connsiteY209" fmla="*/ 8454 h 10000"/>
                    <a:gd name="connsiteX210" fmla="*/ 278 w 10000"/>
                    <a:gd name="connsiteY210" fmla="*/ 8689 h 10000"/>
                    <a:gd name="connsiteX211" fmla="*/ 500 w 10000"/>
                    <a:gd name="connsiteY211" fmla="*/ 8866 h 10000"/>
                    <a:gd name="connsiteX212" fmla="*/ 722 w 10000"/>
                    <a:gd name="connsiteY212" fmla="*/ 9013 h 10000"/>
                    <a:gd name="connsiteX213" fmla="*/ 722 w 10000"/>
                    <a:gd name="connsiteY213" fmla="*/ 9013 h 10000"/>
                    <a:gd name="connsiteX214" fmla="*/ 889 w 10000"/>
                    <a:gd name="connsiteY214" fmla="*/ 9102 h 10000"/>
                    <a:gd name="connsiteX215" fmla="*/ 944 w 10000"/>
                    <a:gd name="connsiteY215" fmla="*/ 9175 h 10000"/>
                    <a:gd name="connsiteX216" fmla="*/ 1111 w 10000"/>
                    <a:gd name="connsiteY216" fmla="*/ 9249 h 10000"/>
                    <a:gd name="connsiteX217" fmla="*/ 1333 w 10000"/>
                    <a:gd name="connsiteY217" fmla="*/ 9367 h 10000"/>
                    <a:gd name="connsiteX218" fmla="*/ 1333 w 10000"/>
                    <a:gd name="connsiteY218" fmla="*/ 9367 h 10000"/>
                    <a:gd name="connsiteX219" fmla="*/ 1444 w 10000"/>
                    <a:gd name="connsiteY219" fmla="*/ 9426 h 10000"/>
                    <a:gd name="connsiteX220" fmla="*/ 1500 w 10000"/>
                    <a:gd name="connsiteY220" fmla="*/ 9470 h 10000"/>
                    <a:gd name="connsiteX221" fmla="*/ 1500 w 10000"/>
                    <a:gd name="connsiteY221" fmla="*/ 9514 h 10000"/>
                    <a:gd name="connsiteX222" fmla="*/ 1556 w 10000"/>
                    <a:gd name="connsiteY222" fmla="*/ 9529 h 10000"/>
                    <a:gd name="connsiteX223" fmla="*/ 1722 w 10000"/>
                    <a:gd name="connsiteY223" fmla="*/ 9543 h 10000"/>
                    <a:gd name="connsiteX224" fmla="*/ 5278 w 10000"/>
                    <a:gd name="connsiteY224" fmla="*/ 9691 h 10000"/>
                    <a:gd name="connsiteX225" fmla="*/ 5444 w 10000"/>
                    <a:gd name="connsiteY225" fmla="*/ 9705 h 10000"/>
                    <a:gd name="connsiteX226" fmla="*/ 5444 w 10000"/>
                    <a:gd name="connsiteY226" fmla="*/ 9705 h 10000"/>
                    <a:gd name="connsiteX227" fmla="*/ 5722 w 10000"/>
                    <a:gd name="connsiteY227" fmla="*/ 9735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50 h 10000"/>
                    <a:gd name="connsiteX230" fmla="*/ 5889 w 10000"/>
                    <a:gd name="connsiteY230" fmla="*/ 9720 h 10000"/>
                    <a:gd name="connsiteX231" fmla="*/ 6000 w 10000"/>
                    <a:gd name="connsiteY231" fmla="*/ 9705 h 10000"/>
                    <a:gd name="connsiteX232" fmla="*/ 6167 w 10000"/>
                    <a:gd name="connsiteY232" fmla="*/ 9691 h 10000"/>
                    <a:gd name="connsiteX233" fmla="*/ 6444 w 10000"/>
                    <a:gd name="connsiteY233" fmla="*/ 9691 h 10000"/>
                    <a:gd name="connsiteX234" fmla="*/ 7278 w 10000"/>
                    <a:gd name="connsiteY234" fmla="*/ 9750 h 10000"/>
                    <a:gd name="connsiteX235" fmla="*/ 8722 w 10000"/>
                    <a:gd name="connsiteY235" fmla="*/ 9882 h 10000"/>
                    <a:gd name="connsiteX236" fmla="*/ 10000 w 10000"/>
                    <a:gd name="connsiteY236" fmla="*/ 10000 h 10000"/>
                    <a:gd name="connsiteX237" fmla="*/ 10000 w 10000"/>
                    <a:gd name="connsiteY237" fmla="*/ 8999 h 10000"/>
                    <a:gd name="connsiteX0" fmla="*/ 10000 w 10000"/>
                    <a:gd name="connsiteY0" fmla="*/ 8999 h 9882"/>
                    <a:gd name="connsiteX1" fmla="*/ 10000 w 10000"/>
                    <a:gd name="connsiteY1" fmla="*/ 8999 h 9882"/>
                    <a:gd name="connsiteX2" fmla="*/ 9222 w 10000"/>
                    <a:gd name="connsiteY2" fmla="*/ 9013 h 9882"/>
                    <a:gd name="connsiteX3" fmla="*/ 8944 w 10000"/>
                    <a:gd name="connsiteY3" fmla="*/ 9013 h 9882"/>
                    <a:gd name="connsiteX4" fmla="*/ 8833 w 10000"/>
                    <a:gd name="connsiteY4" fmla="*/ 8999 h 9882"/>
                    <a:gd name="connsiteX5" fmla="*/ 8778 w 10000"/>
                    <a:gd name="connsiteY5" fmla="*/ 8984 h 9882"/>
                    <a:gd name="connsiteX6" fmla="*/ 8778 w 10000"/>
                    <a:gd name="connsiteY6" fmla="*/ 8984 h 9882"/>
                    <a:gd name="connsiteX7" fmla="*/ 8444 w 10000"/>
                    <a:gd name="connsiteY7" fmla="*/ 8807 h 9882"/>
                    <a:gd name="connsiteX8" fmla="*/ 8167 w 10000"/>
                    <a:gd name="connsiteY8" fmla="*/ 8645 h 9882"/>
                    <a:gd name="connsiteX9" fmla="*/ 8167 w 10000"/>
                    <a:gd name="connsiteY9" fmla="*/ 8645 h 9882"/>
                    <a:gd name="connsiteX10" fmla="*/ 8056 w 10000"/>
                    <a:gd name="connsiteY10" fmla="*/ 8616 h 9882"/>
                    <a:gd name="connsiteX11" fmla="*/ 7889 w 10000"/>
                    <a:gd name="connsiteY11" fmla="*/ 8586 h 9882"/>
                    <a:gd name="connsiteX12" fmla="*/ 7444 w 10000"/>
                    <a:gd name="connsiteY12" fmla="*/ 8571 h 9882"/>
                    <a:gd name="connsiteX13" fmla="*/ 6889 w 10000"/>
                    <a:gd name="connsiteY13" fmla="*/ 8557 h 9882"/>
                    <a:gd name="connsiteX14" fmla="*/ 6389 w 10000"/>
                    <a:gd name="connsiteY14" fmla="*/ 8557 h 9882"/>
                    <a:gd name="connsiteX15" fmla="*/ 6389 w 10000"/>
                    <a:gd name="connsiteY15" fmla="*/ 8557 h 9882"/>
                    <a:gd name="connsiteX16" fmla="*/ 6167 w 10000"/>
                    <a:gd name="connsiteY16" fmla="*/ 8542 h 9882"/>
                    <a:gd name="connsiteX17" fmla="*/ 6056 w 10000"/>
                    <a:gd name="connsiteY17" fmla="*/ 8513 h 9882"/>
                    <a:gd name="connsiteX18" fmla="*/ 6000 w 10000"/>
                    <a:gd name="connsiteY18" fmla="*/ 8483 h 9882"/>
                    <a:gd name="connsiteX19" fmla="*/ 6000 w 10000"/>
                    <a:gd name="connsiteY19" fmla="*/ 8424 h 9882"/>
                    <a:gd name="connsiteX20" fmla="*/ 6056 w 10000"/>
                    <a:gd name="connsiteY20" fmla="*/ 8306 h 9882"/>
                    <a:gd name="connsiteX21" fmla="*/ 6111 w 10000"/>
                    <a:gd name="connsiteY21" fmla="*/ 8247 h 9882"/>
                    <a:gd name="connsiteX22" fmla="*/ 6056 w 10000"/>
                    <a:gd name="connsiteY22" fmla="*/ 8174 h 9882"/>
                    <a:gd name="connsiteX23" fmla="*/ 6056 w 10000"/>
                    <a:gd name="connsiteY23" fmla="*/ 8174 h 9882"/>
                    <a:gd name="connsiteX24" fmla="*/ 6000 w 10000"/>
                    <a:gd name="connsiteY24" fmla="*/ 8130 h 9882"/>
                    <a:gd name="connsiteX25" fmla="*/ 5944 w 10000"/>
                    <a:gd name="connsiteY25" fmla="*/ 8100 h 9882"/>
                    <a:gd name="connsiteX26" fmla="*/ 5833 w 10000"/>
                    <a:gd name="connsiteY26" fmla="*/ 8100 h 9882"/>
                    <a:gd name="connsiteX27" fmla="*/ 5667 w 10000"/>
                    <a:gd name="connsiteY27" fmla="*/ 8115 h 9882"/>
                    <a:gd name="connsiteX28" fmla="*/ 5333 w 10000"/>
                    <a:gd name="connsiteY28" fmla="*/ 8159 h 9882"/>
                    <a:gd name="connsiteX29" fmla="*/ 4889 w 10000"/>
                    <a:gd name="connsiteY29" fmla="*/ 8233 h 9882"/>
                    <a:gd name="connsiteX30" fmla="*/ 4889 w 10000"/>
                    <a:gd name="connsiteY30" fmla="*/ 8233 h 9882"/>
                    <a:gd name="connsiteX31" fmla="*/ 4611 w 10000"/>
                    <a:gd name="connsiteY31" fmla="*/ 8247 h 9882"/>
                    <a:gd name="connsiteX32" fmla="*/ 4500 w 10000"/>
                    <a:gd name="connsiteY32" fmla="*/ 8247 h 9882"/>
                    <a:gd name="connsiteX33" fmla="*/ 4444 w 10000"/>
                    <a:gd name="connsiteY33" fmla="*/ 8233 h 9882"/>
                    <a:gd name="connsiteX34" fmla="*/ 4389 w 10000"/>
                    <a:gd name="connsiteY34" fmla="*/ 8174 h 9882"/>
                    <a:gd name="connsiteX35" fmla="*/ 4222 w 10000"/>
                    <a:gd name="connsiteY35" fmla="*/ 8100 h 9882"/>
                    <a:gd name="connsiteX36" fmla="*/ 4222 w 10000"/>
                    <a:gd name="connsiteY36" fmla="*/ 8100 h 9882"/>
                    <a:gd name="connsiteX37" fmla="*/ 4111 w 10000"/>
                    <a:gd name="connsiteY37" fmla="*/ 8056 h 9882"/>
                    <a:gd name="connsiteX38" fmla="*/ 4111 w 10000"/>
                    <a:gd name="connsiteY38" fmla="*/ 8012 h 9882"/>
                    <a:gd name="connsiteX39" fmla="*/ 4111 w 10000"/>
                    <a:gd name="connsiteY39" fmla="*/ 7982 h 9882"/>
                    <a:gd name="connsiteX40" fmla="*/ 4167 w 10000"/>
                    <a:gd name="connsiteY40" fmla="*/ 7953 h 9882"/>
                    <a:gd name="connsiteX41" fmla="*/ 4278 w 10000"/>
                    <a:gd name="connsiteY41" fmla="*/ 7894 h 9882"/>
                    <a:gd name="connsiteX42" fmla="*/ 4389 w 10000"/>
                    <a:gd name="connsiteY42" fmla="*/ 7879 h 9882"/>
                    <a:gd name="connsiteX43" fmla="*/ 4389 w 10000"/>
                    <a:gd name="connsiteY43" fmla="*/ 7879 h 9882"/>
                    <a:gd name="connsiteX44" fmla="*/ 4389 w 10000"/>
                    <a:gd name="connsiteY44" fmla="*/ 7865 h 9882"/>
                    <a:gd name="connsiteX45" fmla="*/ 4444 w 10000"/>
                    <a:gd name="connsiteY45" fmla="*/ 7850 h 9882"/>
                    <a:gd name="connsiteX46" fmla="*/ 4667 w 10000"/>
                    <a:gd name="connsiteY46" fmla="*/ 7835 h 9882"/>
                    <a:gd name="connsiteX47" fmla="*/ 5333 w 10000"/>
                    <a:gd name="connsiteY47" fmla="*/ 7806 h 9882"/>
                    <a:gd name="connsiteX48" fmla="*/ 6500 w 10000"/>
                    <a:gd name="connsiteY48" fmla="*/ 7761 h 9882"/>
                    <a:gd name="connsiteX49" fmla="*/ 6500 w 10000"/>
                    <a:gd name="connsiteY49" fmla="*/ 7761 h 9882"/>
                    <a:gd name="connsiteX50" fmla="*/ 7167 w 10000"/>
                    <a:gd name="connsiteY50" fmla="*/ 7717 h 9882"/>
                    <a:gd name="connsiteX51" fmla="*/ 8389 w 10000"/>
                    <a:gd name="connsiteY51" fmla="*/ 7629 h 9882"/>
                    <a:gd name="connsiteX52" fmla="*/ 8389 w 10000"/>
                    <a:gd name="connsiteY52" fmla="*/ 7629 h 9882"/>
                    <a:gd name="connsiteX53" fmla="*/ 8667 w 10000"/>
                    <a:gd name="connsiteY53" fmla="*/ 7599 h 9882"/>
                    <a:gd name="connsiteX54" fmla="*/ 8778 w 10000"/>
                    <a:gd name="connsiteY54" fmla="*/ 7555 h 9882"/>
                    <a:gd name="connsiteX55" fmla="*/ 8889 w 10000"/>
                    <a:gd name="connsiteY55" fmla="*/ 7526 h 9882"/>
                    <a:gd name="connsiteX56" fmla="*/ 8833 w 10000"/>
                    <a:gd name="connsiteY56" fmla="*/ 7496 h 9882"/>
                    <a:gd name="connsiteX57" fmla="*/ 8833 w 10000"/>
                    <a:gd name="connsiteY57" fmla="*/ 7467 h 9882"/>
                    <a:gd name="connsiteX58" fmla="*/ 8722 w 10000"/>
                    <a:gd name="connsiteY58" fmla="*/ 7437 h 9882"/>
                    <a:gd name="connsiteX59" fmla="*/ 8556 w 10000"/>
                    <a:gd name="connsiteY59" fmla="*/ 7393 h 9882"/>
                    <a:gd name="connsiteX60" fmla="*/ 8556 w 10000"/>
                    <a:gd name="connsiteY60" fmla="*/ 7393 h 9882"/>
                    <a:gd name="connsiteX61" fmla="*/ 6556 w 10000"/>
                    <a:gd name="connsiteY61" fmla="*/ 7128 h 9882"/>
                    <a:gd name="connsiteX62" fmla="*/ 6556 w 10000"/>
                    <a:gd name="connsiteY62" fmla="*/ 7128 h 9882"/>
                    <a:gd name="connsiteX63" fmla="*/ 6333 w 10000"/>
                    <a:gd name="connsiteY63" fmla="*/ 7084 h 9882"/>
                    <a:gd name="connsiteX64" fmla="*/ 6167 w 10000"/>
                    <a:gd name="connsiteY64" fmla="*/ 7040 h 9882"/>
                    <a:gd name="connsiteX65" fmla="*/ 6056 w 10000"/>
                    <a:gd name="connsiteY65" fmla="*/ 6996 h 9882"/>
                    <a:gd name="connsiteX66" fmla="*/ 6056 w 10000"/>
                    <a:gd name="connsiteY66" fmla="*/ 6996 h 9882"/>
                    <a:gd name="connsiteX67" fmla="*/ 8056 w 10000"/>
                    <a:gd name="connsiteY67" fmla="*/ 6981 h 9882"/>
                    <a:gd name="connsiteX68" fmla="*/ 10000 w 10000"/>
                    <a:gd name="connsiteY68" fmla="*/ 7128 h 9882"/>
                    <a:gd name="connsiteX69" fmla="*/ 10000 w 10000"/>
                    <a:gd name="connsiteY69" fmla="*/ 5788 h 9882"/>
                    <a:gd name="connsiteX70" fmla="*/ 10000 w 10000"/>
                    <a:gd name="connsiteY70" fmla="*/ 5788 h 9882"/>
                    <a:gd name="connsiteX71" fmla="*/ 7778 w 10000"/>
                    <a:gd name="connsiteY71" fmla="*/ 5479 h 9882"/>
                    <a:gd name="connsiteX72" fmla="*/ 6556 w 10000"/>
                    <a:gd name="connsiteY72" fmla="*/ 5302 h 9882"/>
                    <a:gd name="connsiteX73" fmla="*/ 6556 w 10000"/>
                    <a:gd name="connsiteY73" fmla="*/ 5302 h 9882"/>
                    <a:gd name="connsiteX74" fmla="*/ 6556 w 10000"/>
                    <a:gd name="connsiteY74" fmla="*/ 5287 h 9882"/>
                    <a:gd name="connsiteX75" fmla="*/ 6556 w 10000"/>
                    <a:gd name="connsiteY75" fmla="*/ 5199 h 9882"/>
                    <a:gd name="connsiteX76" fmla="*/ 6556 w 10000"/>
                    <a:gd name="connsiteY76" fmla="*/ 5199 h 9882"/>
                    <a:gd name="connsiteX77" fmla="*/ 6389 w 10000"/>
                    <a:gd name="connsiteY77" fmla="*/ 5096 h 9882"/>
                    <a:gd name="connsiteX78" fmla="*/ 6056 w 10000"/>
                    <a:gd name="connsiteY78" fmla="*/ 4934 h 9882"/>
                    <a:gd name="connsiteX79" fmla="*/ 5333 w 10000"/>
                    <a:gd name="connsiteY79" fmla="*/ 4624 h 9882"/>
                    <a:gd name="connsiteX80" fmla="*/ 5333 w 10000"/>
                    <a:gd name="connsiteY80" fmla="*/ 4624 h 9882"/>
                    <a:gd name="connsiteX81" fmla="*/ 5167 w 10000"/>
                    <a:gd name="connsiteY81" fmla="*/ 4580 h 9882"/>
                    <a:gd name="connsiteX82" fmla="*/ 4889 w 10000"/>
                    <a:gd name="connsiteY82" fmla="*/ 4521 h 9882"/>
                    <a:gd name="connsiteX83" fmla="*/ 4056 w 10000"/>
                    <a:gd name="connsiteY83" fmla="*/ 4389 h 9882"/>
                    <a:gd name="connsiteX84" fmla="*/ 2889 w 10000"/>
                    <a:gd name="connsiteY84" fmla="*/ 4227 h 9882"/>
                    <a:gd name="connsiteX85" fmla="*/ 2889 w 10000"/>
                    <a:gd name="connsiteY85" fmla="*/ 4227 h 9882"/>
                    <a:gd name="connsiteX86" fmla="*/ 2389 w 10000"/>
                    <a:gd name="connsiteY86" fmla="*/ 4212 h 9882"/>
                    <a:gd name="connsiteX87" fmla="*/ 2000 w 10000"/>
                    <a:gd name="connsiteY87" fmla="*/ 4197 h 9882"/>
                    <a:gd name="connsiteX88" fmla="*/ 1889 w 10000"/>
                    <a:gd name="connsiteY88" fmla="*/ 4183 h 9882"/>
                    <a:gd name="connsiteX89" fmla="*/ 1778 w 10000"/>
                    <a:gd name="connsiteY89" fmla="*/ 4168 h 9882"/>
                    <a:gd name="connsiteX90" fmla="*/ 1778 w 10000"/>
                    <a:gd name="connsiteY90" fmla="*/ 4168 h 9882"/>
                    <a:gd name="connsiteX91" fmla="*/ 1667 w 10000"/>
                    <a:gd name="connsiteY91" fmla="*/ 4109 h 9882"/>
                    <a:gd name="connsiteX92" fmla="*/ 1500 w 10000"/>
                    <a:gd name="connsiteY92" fmla="*/ 4006 h 9882"/>
                    <a:gd name="connsiteX93" fmla="*/ 1444 w 10000"/>
                    <a:gd name="connsiteY93" fmla="*/ 3947 h 9882"/>
                    <a:gd name="connsiteX94" fmla="*/ 1444 w 10000"/>
                    <a:gd name="connsiteY94" fmla="*/ 3888 h 9882"/>
                    <a:gd name="connsiteX95" fmla="*/ 1444 w 10000"/>
                    <a:gd name="connsiteY95" fmla="*/ 3844 h 9882"/>
                    <a:gd name="connsiteX96" fmla="*/ 1556 w 10000"/>
                    <a:gd name="connsiteY96" fmla="*/ 3800 h 9882"/>
                    <a:gd name="connsiteX97" fmla="*/ 1556 w 10000"/>
                    <a:gd name="connsiteY97" fmla="*/ 3800 h 9882"/>
                    <a:gd name="connsiteX98" fmla="*/ 1833 w 10000"/>
                    <a:gd name="connsiteY98" fmla="*/ 3726 h 9882"/>
                    <a:gd name="connsiteX99" fmla="*/ 2111 w 10000"/>
                    <a:gd name="connsiteY99" fmla="*/ 3652 h 9882"/>
                    <a:gd name="connsiteX100" fmla="*/ 2278 w 10000"/>
                    <a:gd name="connsiteY100" fmla="*/ 3608 h 9882"/>
                    <a:gd name="connsiteX101" fmla="*/ 2389 w 10000"/>
                    <a:gd name="connsiteY101" fmla="*/ 3564 h 9882"/>
                    <a:gd name="connsiteX102" fmla="*/ 2389 w 10000"/>
                    <a:gd name="connsiteY102" fmla="*/ 3505 h 9882"/>
                    <a:gd name="connsiteX103" fmla="*/ 2389 w 10000"/>
                    <a:gd name="connsiteY103" fmla="*/ 3432 h 9882"/>
                    <a:gd name="connsiteX104" fmla="*/ 2389 w 10000"/>
                    <a:gd name="connsiteY104" fmla="*/ 3432 h 9882"/>
                    <a:gd name="connsiteX105" fmla="*/ 2167 w 10000"/>
                    <a:gd name="connsiteY105" fmla="*/ 3225 h 9882"/>
                    <a:gd name="connsiteX106" fmla="*/ 1889 w 10000"/>
                    <a:gd name="connsiteY106" fmla="*/ 2946 h 9882"/>
                    <a:gd name="connsiteX107" fmla="*/ 1667 w 10000"/>
                    <a:gd name="connsiteY107" fmla="*/ 2695 h 9882"/>
                    <a:gd name="connsiteX108" fmla="*/ 1611 w 10000"/>
                    <a:gd name="connsiteY108" fmla="*/ 2622 h 9882"/>
                    <a:gd name="connsiteX109" fmla="*/ 1611 w 10000"/>
                    <a:gd name="connsiteY109" fmla="*/ 2592 h 9882"/>
                    <a:gd name="connsiteX110" fmla="*/ 1667 w 10000"/>
                    <a:gd name="connsiteY110" fmla="*/ 2577 h 9882"/>
                    <a:gd name="connsiteX111" fmla="*/ 1667 w 10000"/>
                    <a:gd name="connsiteY111" fmla="*/ 2577 h 9882"/>
                    <a:gd name="connsiteX112" fmla="*/ 2000 w 10000"/>
                    <a:gd name="connsiteY112" fmla="*/ 2563 h 9882"/>
                    <a:gd name="connsiteX113" fmla="*/ 2222 w 10000"/>
                    <a:gd name="connsiteY113" fmla="*/ 2563 h 9882"/>
                    <a:gd name="connsiteX114" fmla="*/ 2389 w 10000"/>
                    <a:gd name="connsiteY114" fmla="*/ 2577 h 9882"/>
                    <a:gd name="connsiteX115" fmla="*/ 2389 w 10000"/>
                    <a:gd name="connsiteY115" fmla="*/ 2577 h 9882"/>
                    <a:gd name="connsiteX116" fmla="*/ 2444 w 10000"/>
                    <a:gd name="connsiteY116" fmla="*/ 2577 h 9882"/>
                    <a:gd name="connsiteX117" fmla="*/ 2500 w 10000"/>
                    <a:gd name="connsiteY117" fmla="*/ 2548 h 9882"/>
                    <a:gd name="connsiteX118" fmla="*/ 2778 w 10000"/>
                    <a:gd name="connsiteY118" fmla="*/ 2459 h 9882"/>
                    <a:gd name="connsiteX119" fmla="*/ 3500 w 10000"/>
                    <a:gd name="connsiteY119" fmla="*/ 2165 h 9882"/>
                    <a:gd name="connsiteX120" fmla="*/ 4444 w 10000"/>
                    <a:gd name="connsiteY120" fmla="*/ 1738 h 9882"/>
                    <a:gd name="connsiteX121" fmla="*/ 4444 w 10000"/>
                    <a:gd name="connsiteY121" fmla="*/ 1738 h 9882"/>
                    <a:gd name="connsiteX122" fmla="*/ 4444 w 10000"/>
                    <a:gd name="connsiteY122" fmla="*/ 1679 h 9882"/>
                    <a:gd name="connsiteX123" fmla="*/ 4444 w 10000"/>
                    <a:gd name="connsiteY123" fmla="*/ 1546 h 9882"/>
                    <a:gd name="connsiteX124" fmla="*/ 4500 w 10000"/>
                    <a:gd name="connsiteY124" fmla="*/ 1458 h 9882"/>
                    <a:gd name="connsiteX125" fmla="*/ 4611 w 10000"/>
                    <a:gd name="connsiteY125" fmla="*/ 1384 h 9882"/>
                    <a:gd name="connsiteX126" fmla="*/ 4778 w 10000"/>
                    <a:gd name="connsiteY126" fmla="*/ 1296 h 9882"/>
                    <a:gd name="connsiteX127" fmla="*/ 5000 w 10000"/>
                    <a:gd name="connsiteY127" fmla="*/ 1222 h 9882"/>
                    <a:gd name="connsiteX128" fmla="*/ 5000 w 10000"/>
                    <a:gd name="connsiteY128" fmla="*/ 1222 h 9882"/>
                    <a:gd name="connsiteX129" fmla="*/ 5556 w 10000"/>
                    <a:gd name="connsiteY129" fmla="*/ 1075 h 9882"/>
                    <a:gd name="connsiteX130" fmla="*/ 6111 w 10000"/>
                    <a:gd name="connsiteY130" fmla="*/ 884 h 9882"/>
                    <a:gd name="connsiteX131" fmla="*/ 6667 w 10000"/>
                    <a:gd name="connsiteY131" fmla="*/ 707 h 9882"/>
                    <a:gd name="connsiteX132" fmla="*/ 7056 w 10000"/>
                    <a:gd name="connsiteY132" fmla="*/ 545 h 9882"/>
                    <a:gd name="connsiteX133" fmla="*/ 7056 w 10000"/>
                    <a:gd name="connsiteY133" fmla="*/ 545 h 9882"/>
                    <a:gd name="connsiteX134" fmla="*/ 7333 w 10000"/>
                    <a:gd name="connsiteY134" fmla="*/ 398 h 9882"/>
                    <a:gd name="connsiteX135" fmla="*/ 7667 w 10000"/>
                    <a:gd name="connsiteY135" fmla="*/ 221 h 9882"/>
                    <a:gd name="connsiteX136" fmla="*/ 8000 w 10000"/>
                    <a:gd name="connsiteY136" fmla="*/ 88 h 9882"/>
                    <a:gd name="connsiteX137" fmla="*/ 8167 w 10000"/>
                    <a:gd name="connsiteY137" fmla="*/ 29 h 9882"/>
                    <a:gd name="connsiteX138" fmla="*/ 8333 w 10000"/>
                    <a:gd name="connsiteY138" fmla="*/ 15 h 9882"/>
                    <a:gd name="connsiteX139" fmla="*/ 8333 w 10000"/>
                    <a:gd name="connsiteY139" fmla="*/ 15 h 9882"/>
                    <a:gd name="connsiteX140" fmla="*/ 8667 w 10000"/>
                    <a:gd name="connsiteY140" fmla="*/ 0 h 9882"/>
                    <a:gd name="connsiteX141" fmla="*/ 9111 w 10000"/>
                    <a:gd name="connsiteY141" fmla="*/ 0 h 9882"/>
                    <a:gd name="connsiteX142" fmla="*/ 10000 w 10000"/>
                    <a:gd name="connsiteY142" fmla="*/ 15 h 9882"/>
                    <a:gd name="connsiteX143" fmla="*/ 10000 w 10000"/>
                    <a:gd name="connsiteY143" fmla="*/ 9013 h 9882"/>
                    <a:gd name="connsiteX144" fmla="*/ 10000 w 10000"/>
                    <a:gd name="connsiteY144" fmla="*/ 9013 h 9882"/>
                    <a:gd name="connsiteX145" fmla="*/ 9722 w 10000"/>
                    <a:gd name="connsiteY145" fmla="*/ 8999 h 9882"/>
                    <a:gd name="connsiteX146" fmla="*/ 9389 w 10000"/>
                    <a:gd name="connsiteY146" fmla="*/ 9013 h 9882"/>
                    <a:gd name="connsiteX147" fmla="*/ 9389 w 10000"/>
                    <a:gd name="connsiteY147" fmla="*/ 9013 h 9882"/>
                    <a:gd name="connsiteX148" fmla="*/ 9278 w 10000"/>
                    <a:gd name="connsiteY148" fmla="*/ 9028 h 9882"/>
                    <a:gd name="connsiteX149" fmla="*/ 9056 w 10000"/>
                    <a:gd name="connsiteY149" fmla="*/ 9013 h 9882"/>
                    <a:gd name="connsiteX150" fmla="*/ 8889 w 10000"/>
                    <a:gd name="connsiteY150" fmla="*/ 8999 h 9882"/>
                    <a:gd name="connsiteX151" fmla="*/ 8722 w 10000"/>
                    <a:gd name="connsiteY151" fmla="*/ 8969 h 9882"/>
                    <a:gd name="connsiteX152" fmla="*/ 8611 w 10000"/>
                    <a:gd name="connsiteY152" fmla="*/ 8925 h 9882"/>
                    <a:gd name="connsiteX153" fmla="*/ 8444 w 10000"/>
                    <a:gd name="connsiteY153" fmla="*/ 8851 h 9882"/>
                    <a:gd name="connsiteX154" fmla="*/ 8444 w 10000"/>
                    <a:gd name="connsiteY154" fmla="*/ 8851 h 9882"/>
                    <a:gd name="connsiteX155" fmla="*/ 8222 w 10000"/>
                    <a:gd name="connsiteY155" fmla="*/ 8719 h 9882"/>
                    <a:gd name="connsiteX156" fmla="*/ 8111 w 10000"/>
                    <a:gd name="connsiteY156" fmla="*/ 8660 h 9882"/>
                    <a:gd name="connsiteX157" fmla="*/ 7944 w 10000"/>
                    <a:gd name="connsiteY157" fmla="*/ 8616 h 9882"/>
                    <a:gd name="connsiteX158" fmla="*/ 7778 w 10000"/>
                    <a:gd name="connsiteY158" fmla="*/ 8586 h 9882"/>
                    <a:gd name="connsiteX159" fmla="*/ 7556 w 10000"/>
                    <a:gd name="connsiteY159" fmla="*/ 8571 h 9882"/>
                    <a:gd name="connsiteX160" fmla="*/ 7333 w 10000"/>
                    <a:gd name="connsiteY160" fmla="*/ 8557 h 9882"/>
                    <a:gd name="connsiteX161" fmla="*/ 7000 w 10000"/>
                    <a:gd name="connsiteY161" fmla="*/ 8542 h 9882"/>
                    <a:gd name="connsiteX162" fmla="*/ 7000 w 10000"/>
                    <a:gd name="connsiteY162" fmla="*/ 8542 h 9882"/>
                    <a:gd name="connsiteX163" fmla="*/ 6556 w 10000"/>
                    <a:gd name="connsiteY163" fmla="*/ 8557 h 9882"/>
                    <a:gd name="connsiteX164" fmla="*/ 6222 w 10000"/>
                    <a:gd name="connsiteY164" fmla="*/ 8557 h 9882"/>
                    <a:gd name="connsiteX165" fmla="*/ 6111 w 10000"/>
                    <a:gd name="connsiteY165" fmla="*/ 8542 h 9882"/>
                    <a:gd name="connsiteX166" fmla="*/ 6056 w 10000"/>
                    <a:gd name="connsiteY166" fmla="*/ 8527 h 9882"/>
                    <a:gd name="connsiteX167" fmla="*/ 6056 w 10000"/>
                    <a:gd name="connsiteY167" fmla="*/ 8527 h 9882"/>
                    <a:gd name="connsiteX168" fmla="*/ 6056 w 10000"/>
                    <a:gd name="connsiteY168" fmla="*/ 8262 h 9882"/>
                    <a:gd name="connsiteX169" fmla="*/ 6056 w 10000"/>
                    <a:gd name="connsiteY169" fmla="*/ 8262 h 9882"/>
                    <a:gd name="connsiteX170" fmla="*/ 6056 w 10000"/>
                    <a:gd name="connsiteY170" fmla="*/ 8203 h 9882"/>
                    <a:gd name="connsiteX171" fmla="*/ 5944 w 10000"/>
                    <a:gd name="connsiteY171" fmla="*/ 8130 h 9882"/>
                    <a:gd name="connsiteX172" fmla="*/ 5889 w 10000"/>
                    <a:gd name="connsiteY172" fmla="*/ 8115 h 9882"/>
                    <a:gd name="connsiteX173" fmla="*/ 5778 w 10000"/>
                    <a:gd name="connsiteY173" fmla="*/ 8100 h 9882"/>
                    <a:gd name="connsiteX174" fmla="*/ 5667 w 10000"/>
                    <a:gd name="connsiteY174" fmla="*/ 8100 h 9882"/>
                    <a:gd name="connsiteX175" fmla="*/ 5500 w 10000"/>
                    <a:gd name="connsiteY175" fmla="*/ 8115 h 9882"/>
                    <a:gd name="connsiteX176" fmla="*/ 5500 w 10000"/>
                    <a:gd name="connsiteY176" fmla="*/ 8115 h 9882"/>
                    <a:gd name="connsiteX177" fmla="*/ 4889 w 10000"/>
                    <a:gd name="connsiteY177" fmla="*/ 8218 h 9882"/>
                    <a:gd name="connsiteX178" fmla="*/ 4611 w 10000"/>
                    <a:gd name="connsiteY178" fmla="*/ 8247 h 9882"/>
                    <a:gd name="connsiteX179" fmla="*/ 4556 w 10000"/>
                    <a:gd name="connsiteY179" fmla="*/ 8262 h 9882"/>
                    <a:gd name="connsiteX180" fmla="*/ 4500 w 10000"/>
                    <a:gd name="connsiteY180" fmla="*/ 8247 h 9882"/>
                    <a:gd name="connsiteX181" fmla="*/ 4500 w 10000"/>
                    <a:gd name="connsiteY181" fmla="*/ 8247 h 9882"/>
                    <a:gd name="connsiteX182" fmla="*/ 4222 w 10000"/>
                    <a:gd name="connsiteY182" fmla="*/ 8100 h 9882"/>
                    <a:gd name="connsiteX183" fmla="*/ 4222 w 10000"/>
                    <a:gd name="connsiteY183" fmla="*/ 8100 h 9882"/>
                    <a:gd name="connsiteX184" fmla="*/ 4111 w 10000"/>
                    <a:gd name="connsiteY184" fmla="*/ 8027 h 9882"/>
                    <a:gd name="connsiteX185" fmla="*/ 4111 w 10000"/>
                    <a:gd name="connsiteY185" fmla="*/ 7982 h 9882"/>
                    <a:gd name="connsiteX186" fmla="*/ 4111 w 10000"/>
                    <a:gd name="connsiteY186" fmla="*/ 7938 h 9882"/>
                    <a:gd name="connsiteX187" fmla="*/ 4111 w 10000"/>
                    <a:gd name="connsiteY187" fmla="*/ 7938 h 9882"/>
                    <a:gd name="connsiteX188" fmla="*/ 4278 w 10000"/>
                    <a:gd name="connsiteY188" fmla="*/ 7894 h 9882"/>
                    <a:gd name="connsiteX189" fmla="*/ 4389 w 10000"/>
                    <a:gd name="connsiteY189" fmla="*/ 7879 h 9882"/>
                    <a:gd name="connsiteX190" fmla="*/ 4389 w 10000"/>
                    <a:gd name="connsiteY190" fmla="*/ 7879 h 9882"/>
                    <a:gd name="connsiteX191" fmla="*/ 4000 w 10000"/>
                    <a:gd name="connsiteY191" fmla="*/ 7879 h 9882"/>
                    <a:gd name="connsiteX192" fmla="*/ 3722 w 10000"/>
                    <a:gd name="connsiteY192" fmla="*/ 7894 h 9882"/>
                    <a:gd name="connsiteX193" fmla="*/ 3611 w 10000"/>
                    <a:gd name="connsiteY193" fmla="*/ 7909 h 9882"/>
                    <a:gd name="connsiteX194" fmla="*/ 3556 w 10000"/>
                    <a:gd name="connsiteY194" fmla="*/ 7923 h 9882"/>
                    <a:gd name="connsiteX195" fmla="*/ 3556 w 10000"/>
                    <a:gd name="connsiteY195" fmla="*/ 7923 h 9882"/>
                    <a:gd name="connsiteX196" fmla="*/ 3444 w 10000"/>
                    <a:gd name="connsiteY196" fmla="*/ 7982 h 9882"/>
                    <a:gd name="connsiteX197" fmla="*/ 3278 w 10000"/>
                    <a:gd name="connsiteY197" fmla="*/ 8071 h 9882"/>
                    <a:gd name="connsiteX198" fmla="*/ 3000 w 10000"/>
                    <a:gd name="connsiteY198" fmla="*/ 8174 h 9882"/>
                    <a:gd name="connsiteX199" fmla="*/ 2667 w 10000"/>
                    <a:gd name="connsiteY199" fmla="*/ 8247 h 9882"/>
                    <a:gd name="connsiteX200" fmla="*/ 2667 w 10000"/>
                    <a:gd name="connsiteY200" fmla="*/ 8247 h 9882"/>
                    <a:gd name="connsiteX201" fmla="*/ 2333 w 10000"/>
                    <a:gd name="connsiteY201" fmla="*/ 8306 h 9882"/>
                    <a:gd name="connsiteX202" fmla="*/ 1833 w 10000"/>
                    <a:gd name="connsiteY202" fmla="*/ 8365 h 9882"/>
                    <a:gd name="connsiteX203" fmla="*/ 1389 w 10000"/>
                    <a:gd name="connsiteY203" fmla="*/ 8395 h 9882"/>
                    <a:gd name="connsiteX204" fmla="*/ 889 w 10000"/>
                    <a:gd name="connsiteY204" fmla="*/ 8409 h 9882"/>
                    <a:gd name="connsiteX205" fmla="*/ 889 w 10000"/>
                    <a:gd name="connsiteY205" fmla="*/ 8409 h 9882"/>
                    <a:gd name="connsiteX206" fmla="*/ 500 w 10000"/>
                    <a:gd name="connsiteY206" fmla="*/ 8424 h 9882"/>
                    <a:gd name="connsiteX207" fmla="*/ 222 w 10000"/>
                    <a:gd name="connsiteY207" fmla="*/ 8439 h 9882"/>
                    <a:gd name="connsiteX208" fmla="*/ 0 w 10000"/>
                    <a:gd name="connsiteY208" fmla="*/ 8454 h 9882"/>
                    <a:gd name="connsiteX209" fmla="*/ 0 w 10000"/>
                    <a:gd name="connsiteY209" fmla="*/ 8454 h 9882"/>
                    <a:gd name="connsiteX210" fmla="*/ 278 w 10000"/>
                    <a:gd name="connsiteY210" fmla="*/ 8689 h 9882"/>
                    <a:gd name="connsiteX211" fmla="*/ 500 w 10000"/>
                    <a:gd name="connsiteY211" fmla="*/ 8866 h 9882"/>
                    <a:gd name="connsiteX212" fmla="*/ 722 w 10000"/>
                    <a:gd name="connsiteY212" fmla="*/ 9013 h 9882"/>
                    <a:gd name="connsiteX213" fmla="*/ 722 w 10000"/>
                    <a:gd name="connsiteY213" fmla="*/ 9013 h 9882"/>
                    <a:gd name="connsiteX214" fmla="*/ 889 w 10000"/>
                    <a:gd name="connsiteY214" fmla="*/ 9102 h 9882"/>
                    <a:gd name="connsiteX215" fmla="*/ 944 w 10000"/>
                    <a:gd name="connsiteY215" fmla="*/ 9175 h 9882"/>
                    <a:gd name="connsiteX216" fmla="*/ 1111 w 10000"/>
                    <a:gd name="connsiteY216" fmla="*/ 9249 h 9882"/>
                    <a:gd name="connsiteX217" fmla="*/ 1333 w 10000"/>
                    <a:gd name="connsiteY217" fmla="*/ 9367 h 9882"/>
                    <a:gd name="connsiteX218" fmla="*/ 1333 w 10000"/>
                    <a:gd name="connsiteY218" fmla="*/ 9367 h 9882"/>
                    <a:gd name="connsiteX219" fmla="*/ 1444 w 10000"/>
                    <a:gd name="connsiteY219" fmla="*/ 9426 h 9882"/>
                    <a:gd name="connsiteX220" fmla="*/ 1500 w 10000"/>
                    <a:gd name="connsiteY220" fmla="*/ 9470 h 9882"/>
                    <a:gd name="connsiteX221" fmla="*/ 1500 w 10000"/>
                    <a:gd name="connsiteY221" fmla="*/ 9514 h 9882"/>
                    <a:gd name="connsiteX222" fmla="*/ 1556 w 10000"/>
                    <a:gd name="connsiteY222" fmla="*/ 9529 h 9882"/>
                    <a:gd name="connsiteX223" fmla="*/ 1722 w 10000"/>
                    <a:gd name="connsiteY223" fmla="*/ 9543 h 9882"/>
                    <a:gd name="connsiteX224" fmla="*/ 5278 w 10000"/>
                    <a:gd name="connsiteY224" fmla="*/ 9691 h 9882"/>
                    <a:gd name="connsiteX225" fmla="*/ 5444 w 10000"/>
                    <a:gd name="connsiteY225" fmla="*/ 9705 h 9882"/>
                    <a:gd name="connsiteX226" fmla="*/ 5444 w 10000"/>
                    <a:gd name="connsiteY226" fmla="*/ 9705 h 9882"/>
                    <a:gd name="connsiteX227" fmla="*/ 5722 w 10000"/>
                    <a:gd name="connsiteY227" fmla="*/ 9735 h 9882"/>
                    <a:gd name="connsiteX228" fmla="*/ 5833 w 10000"/>
                    <a:gd name="connsiteY228" fmla="*/ 9750 h 9882"/>
                    <a:gd name="connsiteX229" fmla="*/ 5833 w 10000"/>
                    <a:gd name="connsiteY229" fmla="*/ 9750 h 9882"/>
                    <a:gd name="connsiteX230" fmla="*/ 5889 w 10000"/>
                    <a:gd name="connsiteY230" fmla="*/ 9720 h 9882"/>
                    <a:gd name="connsiteX231" fmla="*/ 6000 w 10000"/>
                    <a:gd name="connsiteY231" fmla="*/ 9705 h 9882"/>
                    <a:gd name="connsiteX232" fmla="*/ 6167 w 10000"/>
                    <a:gd name="connsiteY232" fmla="*/ 9691 h 9882"/>
                    <a:gd name="connsiteX233" fmla="*/ 6444 w 10000"/>
                    <a:gd name="connsiteY233" fmla="*/ 9691 h 9882"/>
                    <a:gd name="connsiteX234" fmla="*/ 7278 w 10000"/>
                    <a:gd name="connsiteY234" fmla="*/ 9750 h 9882"/>
                    <a:gd name="connsiteX235" fmla="*/ 8722 w 10000"/>
                    <a:gd name="connsiteY235" fmla="*/ 9882 h 9882"/>
                    <a:gd name="connsiteX236" fmla="*/ 10000 w 10000"/>
                    <a:gd name="connsiteY236" fmla="*/ 8999 h 9882"/>
                    <a:gd name="connsiteX0" fmla="*/ 10000 w 10000"/>
                    <a:gd name="connsiteY0" fmla="*/ 9106 h 9866"/>
                    <a:gd name="connsiteX1" fmla="*/ 10000 w 10000"/>
                    <a:gd name="connsiteY1" fmla="*/ 9106 h 9866"/>
                    <a:gd name="connsiteX2" fmla="*/ 9222 w 10000"/>
                    <a:gd name="connsiteY2" fmla="*/ 9121 h 9866"/>
                    <a:gd name="connsiteX3" fmla="*/ 8944 w 10000"/>
                    <a:gd name="connsiteY3" fmla="*/ 9121 h 9866"/>
                    <a:gd name="connsiteX4" fmla="*/ 8833 w 10000"/>
                    <a:gd name="connsiteY4" fmla="*/ 9106 h 9866"/>
                    <a:gd name="connsiteX5" fmla="*/ 8778 w 10000"/>
                    <a:gd name="connsiteY5" fmla="*/ 9091 h 9866"/>
                    <a:gd name="connsiteX6" fmla="*/ 8778 w 10000"/>
                    <a:gd name="connsiteY6" fmla="*/ 9091 h 9866"/>
                    <a:gd name="connsiteX7" fmla="*/ 8444 w 10000"/>
                    <a:gd name="connsiteY7" fmla="*/ 8912 h 9866"/>
                    <a:gd name="connsiteX8" fmla="*/ 8167 w 10000"/>
                    <a:gd name="connsiteY8" fmla="*/ 8748 h 9866"/>
                    <a:gd name="connsiteX9" fmla="*/ 8167 w 10000"/>
                    <a:gd name="connsiteY9" fmla="*/ 8748 h 9866"/>
                    <a:gd name="connsiteX10" fmla="*/ 8056 w 10000"/>
                    <a:gd name="connsiteY10" fmla="*/ 8719 h 9866"/>
                    <a:gd name="connsiteX11" fmla="*/ 7889 w 10000"/>
                    <a:gd name="connsiteY11" fmla="*/ 8689 h 9866"/>
                    <a:gd name="connsiteX12" fmla="*/ 7444 w 10000"/>
                    <a:gd name="connsiteY12" fmla="*/ 8673 h 9866"/>
                    <a:gd name="connsiteX13" fmla="*/ 6889 w 10000"/>
                    <a:gd name="connsiteY13" fmla="*/ 8659 h 9866"/>
                    <a:gd name="connsiteX14" fmla="*/ 6389 w 10000"/>
                    <a:gd name="connsiteY14" fmla="*/ 8659 h 9866"/>
                    <a:gd name="connsiteX15" fmla="*/ 6389 w 10000"/>
                    <a:gd name="connsiteY15" fmla="*/ 8659 h 9866"/>
                    <a:gd name="connsiteX16" fmla="*/ 6167 w 10000"/>
                    <a:gd name="connsiteY16" fmla="*/ 8644 h 9866"/>
                    <a:gd name="connsiteX17" fmla="*/ 6056 w 10000"/>
                    <a:gd name="connsiteY17" fmla="*/ 8615 h 9866"/>
                    <a:gd name="connsiteX18" fmla="*/ 6000 w 10000"/>
                    <a:gd name="connsiteY18" fmla="*/ 8584 h 9866"/>
                    <a:gd name="connsiteX19" fmla="*/ 6000 w 10000"/>
                    <a:gd name="connsiteY19" fmla="*/ 8525 h 9866"/>
                    <a:gd name="connsiteX20" fmla="*/ 6056 w 10000"/>
                    <a:gd name="connsiteY20" fmla="*/ 8405 h 9866"/>
                    <a:gd name="connsiteX21" fmla="*/ 6111 w 10000"/>
                    <a:gd name="connsiteY21" fmla="*/ 8345 h 9866"/>
                    <a:gd name="connsiteX22" fmla="*/ 6056 w 10000"/>
                    <a:gd name="connsiteY22" fmla="*/ 8272 h 9866"/>
                    <a:gd name="connsiteX23" fmla="*/ 6056 w 10000"/>
                    <a:gd name="connsiteY23" fmla="*/ 8272 h 9866"/>
                    <a:gd name="connsiteX24" fmla="*/ 6000 w 10000"/>
                    <a:gd name="connsiteY24" fmla="*/ 8227 h 9866"/>
                    <a:gd name="connsiteX25" fmla="*/ 5944 w 10000"/>
                    <a:gd name="connsiteY25" fmla="*/ 8197 h 9866"/>
                    <a:gd name="connsiteX26" fmla="*/ 5833 w 10000"/>
                    <a:gd name="connsiteY26" fmla="*/ 8197 h 9866"/>
                    <a:gd name="connsiteX27" fmla="*/ 5667 w 10000"/>
                    <a:gd name="connsiteY27" fmla="*/ 8212 h 9866"/>
                    <a:gd name="connsiteX28" fmla="*/ 5333 w 10000"/>
                    <a:gd name="connsiteY28" fmla="*/ 8256 h 9866"/>
                    <a:gd name="connsiteX29" fmla="*/ 4889 w 10000"/>
                    <a:gd name="connsiteY29" fmla="*/ 8331 h 9866"/>
                    <a:gd name="connsiteX30" fmla="*/ 4889 w 10000"/>
                    <a:gd name="connsiteY30" fmla="*/ 8331 h 9866"/>
                    <a:gd name="connsiteX31" fmla="*/ 4611 w 10000"/>
                    <a:gd name="connsiteY31" fmla="*/ 8345 h 9866"/>
                    <a:gd name="connsiteX32" fmla="*/ 4500 w 10000"/>
                    <a:gd name="connsiteY32" fmla="*/ 8345 h 9866"/>
                    <a:gd name="connsiteX33" fmla="*/ 4444 w 10000"/>
                    <a:gd name="connsiteY33" fmla="*/ 8331 h 9866"/>
                    <a:gd name="connsiteX34" fmla="*/ 4389 w 10000"/>
                    <a:gd name="connsiteY34" fmla="*/ 8272 h 9866"/>
                    <a:gd name="connsiteX35" fmla="*/ 4222 w 10000"/>
                    <a:gd name="connsiteY35" fmla="*/ 8197 h 9866"/>
                    <a:gd name="connsiteX36" fmla="*/ 4222 w 10000"/>
                    <a:gd name="connsiteY36" fmla="*/ 8197 h 9866"/>
                    <a:gd name="connsiteX37" fmla="*/ 4111 w 10000"/>
                    <a:gd name="connsiteY37" fmla="*/ 8152 h 9866"/>
                    <a:gd name="connsiteX38" fmla="*/ 4111 w 10000"/>
                    <a:gd name="connsiteY38" fmla="*/ 8108 h 9866"/>
                    <a:gd name="connsiteX39" fmla="*/ 4111 w 10000"/>
                    <a:gd name="connsiteY39" fmla="*/ 8077 h 9866"/>
                    <a:gd name="connsiteX40" fmla="*/ 4167 w 10000"/>
                    <a:gd name="connsiteY40" fmla="*/ 8048 h 9866"/>
                    <a:gd name="connsiteX41" fmla="*/ 4278 w 10000"/>
                    <a:gd name="connsiteY41" fmla="*/ 7988 h 9866"/>
                    <a:gd name="connsiteX42" fmla="*/ 4389 w 10000"/>
                    <a:gd name="connsiteY42" fmla="*/ 7973 h 9866"/>
                    <a:gd name="connsiteX43" fmla="*/ 4389 w 10000"/>
                    <a:gd name="connsiteY43" fmla="*/ 7973 h 9866"/>
                    <a:gd name="connsiteX44" fmla="*/ 4389 w 10000"/>
                    <a:gd name="connsiteY44" fmla="*/ 7959 h 9866"/>
                    <a:gd name="connsiteX45" fmla="*/ 4444 w 10000"/>
                    <a:gd name="connsiteY45" fmla="*/ 7944 h 9866"/>
                    <a:gd name="connsiteX46" fmla="*/ 4667 w 10000"/>
                    <a:gd name="connsiteY46" fmla="*/ 7929 h 9866"/>
                    <a:gd name="connsiteX47" fmla="*/ 5333 w 10000"/>
                    <a:gd name="connsiteY47" fmla="*/ 7899 h 9866"/>
                    <a:gd name="connsiteX48" fmla="*/ 6500 w 10000"/>
                    <a:gd name="connsiteY48" fmla="*/ 7854 h 9866"/>
                    <a:gd name="connsiteX49" fmla="*/ 6500 w 10000"/>
                    <a:gd name="connsiteY49" fmla="*/ 7854 h 9866"/>
                    <a:gd name="connsiteX50" fmla="*/ 7167 w 10000"/>
                    <a:gd name="connsiteY50" fmla="*/ 7809 h 9866"/>
                    <a:gd name="connsiteX51" fmla="*/ 8389 w 10000"/>
                    <a:gd name="connsiteY51" fmla="*/ 7720 h 9866"/>
                    <a:gd name="connsiteX52" fmla="*/ 8389 w 10000"/>
                    <a:gd name="connsiteY52" fmla="*/ 7720 h 9866"/>
                    <a:gd name="connsiteX53" fmla="*/ 8667 w 10000"/>
                    <a:gd name="connsiteY53" fmla="*/ 7690 h 9866"/>
                    <a:gd name="connsiteX54" fmla="*/ 8778 w 10000"/>
                    <a:gd name="connsiteY54" fmla="*/ 7645 h 9866"/>
                    <a:gd name="connsiteX55" fmla="*/ 8889 w 10000"/>
                    <a:gd name="connsiteY55" fmla="*/ 7616 h 9866"/>
                    <a:gd name="connsiteX56" fmla="*/ 8833 w 10000"/>
                    <a:gd name="connsiteY56" fmla="*/ 7586 h 9866"/>
                    <a:gd name="connsiteX57" fmla="*/ 8833 w 10000"/>
                    <a:gd name="connsiteY57" fmla="*/ 7556 h 9866"/>
                    <a:gd name="connsiteX58" fmla="*/ 8722 w 10000"/>
                    <a:gd name="connsiteY58" fmla="*/ 7526 h 9866"/>
                    <a:gd name="connsiteX59" fmla="*/ 8556 w 10000"/>
                    <a:gd name="connsiteY59" fmla="*/ 7481 h 9866"/>
                    <a:gd name="connsiteX60" fmla="*/ 8556 w 10000"/>
                    <a:gd name="connsiteY60" fmla="*/ 7481 h 9866"/>
                    <a:gd name="connsiteX61" fmla="*/ 6556 w 10000"/>
                    <a:gd name="connsiteY61" fmla="*/ 7213 h 9866"/>
                    <a:gd name="connsiteX62" fmla="*/ 6556 w 10000"/>
                    <a:gd name="connsiteY62" fmla="*/ 7213 h 9866"/>
                    <a:gd name="connsiteX63" fmla="*/ 6333 w 10000"/>
                    <a:gd name="connsiteY63" fmla="*/ 7169 h 9866"/>
                    <a:gd name="connsiteX64" fmla="*/ 6167 w 10000"/>
                    <a:gd name="connsiteY64" fmla="*/ 7124 h 9866"/>
                    <a:gd name="connsiteX65" fmla="*/ 6056 w 10000"/>
                    <a:gd name="connsiteY65" fmla="*/ 7080 h 9866"/>
                    <a:gd name="connsiteX66" fmla="*/ 6056 w 10000"/>
                    <a:gd name="connsiteY66" fmla="*/ 7080 h 9866"/>
                    <a:gd name="connsiteX67" fmla="*/ 8056 w 10000"/>
                    <a:gd name="connsiteY67" fmla="*/ 7064 h 9866"/>
                    <a:gd name="connsiteX68" fmla="*/ 10000 w 10000"/>
                    <a:gd name="connsiteY68" fmla="*/ 7213 h 9866"/>
                    <a:gd name="connsiteX69" fmla="*/ 10000 w 10000"/>
                    <a:gd name="connsiteY69" fmla="*/ 5857 h 9866"/>
                    <a:gd name="connsiteX70" fmla="*/ 10000 w 10000"/>
                    <a:gd name="connsiteY70" fmla="*/ 5857 h 9866"/>
                    <a:gd name="connsiteX71" fmla="*/ 7778 w 10000"/>
                    <a:gd name="connsiteY71" fmla="*/ 5544 h 9866"/>
                    <a:gd name="connsiteX72" fmla="*/ 6556 w 10000"/>
                    <a:gd name="connsiteY72" fmla="*/ 5365 h 9866"/>
                    <a:gd name="connsiteX73" fmla="*/ 6556 w 10000"/>
                    <a:gd name="connsiteY73" fmla="*/ 5365 h 9866"/>
                    <a:gd name="connsiteX74" fmla="*/ 6556 w 10000"/>
                    <a:gd name="connsiteY74" fmla="*/ 5350 h 9866"/>
                    <a:gd name="connsiteX75" fmla="*/ 6556 w 10000"/>
                    <a:gd name="connsiteY75" fmla="*/ 5261 h 9866"/>
                    <a:gd name="connsiteX76" fmla="*/ 6556 w 10000"/>
                    <a:gd name="connsiteY76" fmla="*/ 5261 h 9866"/>
                    <a:gd name="connsiteX77" fmla="*/ 6389 w 10000"/>
                    <a:gd name="connsiteY77" fmla="*/ 5157 h 9866"/>
                    <a:gd name="connsiteX78" fmla="*/ 6056 w 10000"/>
                    <a:gd name="connsiteY78" fmla="*/ 4993 h 9866"/>
                    <a:gd name="connsiteX79" fmla="*/ 5333 w 10000"/>
                    <a:gd name="connsiteY79" fmla="*/ 4679 h 9866"/>
                    <a:gd name="connsiteX80" fmla="*/ 5333 w 10000"/>
                    <a:gd name="connsiteY80" fmla="*/ 4679 h 9866"/>
                    <a:gd name="connsiteX81" fmla="*/ 5167 w 10000"/>
                    <a:gd name="connsiteY81" fmla="*/ 4635 h 9866"/>
                    <a:gd name="connsiteX82" fmla="*/ 4889 w 10000"/>
                    <a:gd name="connsiteY82" fmla="*/ 4575 h 9866"/>
                    <a:gd name="connsiteX83" fmla="*/ 4056 w 10000"/>
                    <a:gd name="connsiteY83" fmla="*/ 4441 h 9866"/>
                    <a:gd name="connsiteX84" fmla="*/ 2889 w 10000"/>
                    <a:gd name="connsiteY84" fmla="*/ 4277 h 9866"/>
                    <a:gd name="connsiteX85" fmla="*/ 2889 w 10000"/>
                    <a:gd name="connsiteY85" fmla="*/ 4277 h 9866"/>
                    <a:gd name="connsiteX86" fmla="*/ 2389 w 10000"/>
                    <a:gd name="connsiteY86" fmla="*/ 4262 h 9866"/>
                    <a:gd name="connsiteX87" fmla="*/ 2000 w 10000"/>
                    <a:gd name="connsiteY87" fmla="*/ 4247 h 9866"/>
                    <a:gd name="connsiteX88" fmla="*/ 1889 w 10000"/>
                    <a:gd name="connsiteY88" fmla="*/ 4233 h 9866"/>
                    <a:gd name="connsiteX89" fmla="*/ 1778 w 10000"/>
                    <a:gd name="connsiteY89" fmla="*/ 4218 h 9866"/>
                    <a:gd name="connsiteX90" fmla="*/ 1778 w 10000"/>
                    <a:gd name="connsiteY90" fmla="*/ 4218 h 9866"/>
                    <a:gd name="connsiteX91" fmla="*/ 1667 w 10000"/>
                    <a:gd name="connsiteY91" fmla="*/ 4158 h 9866"/>
                    <a:gd name="connsiteX92" fmla="*/ 1500 w 10000"/>
                    <a:gd name="connsiteY92" fmla="*/ 4054 h 9866"/>
                    <a:gd name="connsiteX93" fmla="*/ 1444 w 10000"/>
                    <a:gd name="connsiteY93" fmla="*/ 3994 h 9866"/>
                    <a:gd name="connsiteX94" fmla="*/ 1444 w 10000"/>
                    <a:gd name="connsiteY94" fmla="*/ 3934 h 9866"/>
                    <a:gd name="connsiteX95" fmla="*/ 1444 w 10000"/>
                    <a:gd name="connsiteY95" fmla="*/ 3890 h 9866"/>
                    <a:gd name="connsiteX96" fmla="*/ 1556 w 10000"/>
                    <a:gd name="connsiteY96" fmla="*/ 3845 h 9866"/>
                    <a:gd name="connsiteX97" fmla="*/ 1556 w 10000"/>
                    <a:gd name="connsiteY97" fmla="*/ 3845 h 9866"/>
                    <a:gd name="connsiteX98" fmla="*/ 1833 w 10000"/>
                    <a:gd name="connsiteY98" fmla="*/ 3770 h 9866"/>
                    <a:gd name="connsiteX99" fmla="*/ 2111 w 10000"/>
                    <a:gd name="connsiteY99" fmla="*/ 3696 h 9866"/>
                    <a:gd name="connsiteX100" fmla="*/ 2278 w 10000"/>
                    <a:gd name="connsiteY100" fmla="*/ 3651 h 9866"/>
                    <a:gd name="connsiteX101" fmla="*/ 2389 w 10000"/>
                    <a:gd name="connsiteY101" fmla="*/ 3607 h 9866"/>
                    <a:gd name="connsiteX102" fmla="*/ 2389 w 10000"/>
                    <a:gd name="connsiteY102" fmla="*/ 3547 h 9866"/>
                    <a:gd name="connsiteX103" fmla="*/ 2389 w 10000"/>
                    <a:gd name="connsiteY103" fmla="*/ 3473 h 9866"/>
                    <a:gd name="connsiteX104" fmla="*/ 2389 w 10000"/>
                    <a:gd name="connsiteY104" fmla="*/ 3473 h 9866"/>
                    <a:gd name="connsiteX105" fmla="*/ 2167 w 10000"/>
                    <a:gd name="connsiteY105" fmla="*/ 3264 h 9866"/>
                    <a:gd name="connsiteX106" fmla="*/ 1889 w 10000"/>
                    <a:gd name="connsiteY106" fmla="*/ 2981 h 9866"/>
                    <a:gd name="connsiteX107" fmla="*/ 1667 w 10000"/>
                    <a:gd name="connsiteY107" fmla="*/ 2727 h 9866"/>
                    <a:gd name="connsiteX108" fmla="*/ 1611 w 10000"/>
                    <a:gd name="connsiteY108" fmla="*/ 2653 h 9866"/>
                    <a:gd name="connsiteX109" fmla="*/ 1611 w 10000"/>
                    <a:gd name="connsiteY109" fmla="*/ 2623 h 9866"/>
                    <a:gd name="connsiteX110" fmla="*/ 1667 w 10000"/>
                    <a:gd name="connsiteY110" fmla="*/ 2608 h 9866"/>
                    <a:gd name="connsiteX111" fmla="*/ 1667 w 10000"/>
                    <a:gd name="connsiteY111" fmla="*/ 2608 h 9866"/>
                    <a:gd name="connsiteX112" fmla="*/ 2000 w 10000"/>
                    <a:gd name="connsiteY112" fmla="*/ 2594 h 9866"/>
                    <a:gd name="connsiteX113" fmla="*/ 2222 w 10000"/>
                    <a:gd name="connsiteY113" fmla="*/ 2594 h 9866"/>
                    <a:gd name="connsiteX114" fmla="*/ 2389 w 10000"/>
                    <a:gd name="connsiteY114" fmla="*/ 2608 h 9866"/>
                    <a:gd name="connsiteX115" fmla="*/ 2389 w 10000"/>
                    <a:gd name="connsiteY115" fmla="*/ 2608 h 9866"/>
                    <a:gd name="connsiteX116" fmla="*/ 2444 w 10000"/>
                    <a:gd name="connsiteY116" fmla="*/ 2608 h 9866"/>
                    <a:gd name="connsiteX117" fmla="*/ 2500 w 10000"/>
                    <a:gd name="connsiteY117" fmla="*/ 2578 h 9866"/>
                    <a:gd name="connsiteX118" fmla="*/ 2778 w 10000"/>
                    <a:gd name="connsiteY118" fmla="*/ 2488 h 9866"/>
                    <a:gd name="connsiteX119" fmla="*/ 3500 w 10000"/>
                    <a:gd name="connsiteY119" fmla="*/ 2191 h 9866"/>
                    <a:gd name="connsiteX120" fmla="*/ 4444 w 10000"/>
                    <a:gd name="connsiteY120" fmla="*/ 1759 h 9866"/>
                    <a:gd name="connsiteX121" fmla="*/ 4444 w 10000"/>
                    <a:gd name="connsiteY121" fmla="*/ 1759 h 9866"/>
                    <a:gd name="connsiteX122" fmla="*/ 4444 w 10000"/>
                    <a:gd name="connsiteY122" fmla="*/ 1699 h 9866"/>
                    <a:gd name="connsiteX123" fmla="*/ 4444 w 10000"/>
                    <a:gd name="connsiteY123" fmla="*/ 1564 h 9866"/>
                    <a:gd name="connsiteX124" fmla="*/ 4500 w 10000"/>
                    <a:gd name="connsiteY124" fmla="*/ 1475 h 9866"/>
                    <a:gd name="connsiteX125" fmla="*/ 4611 w 10000"/>
                    <a:gd name="connsiteY125" fmla="*/ 1401 h 9866"/>
                    <a:gd name="connsiteX126" fmla="*/ 4778 w 10000"/>
                    <a:gd name="connsiteY126" fmla="*/ 1311 h 9866"/>
                    <a:gd name="connsiteX127" fmla="*/ 5000 w 10000"/>
                    <a:gd name="connsiteY127" fmla="*/ 1237 h 9866"/>
                    <a:gd name="connsiteX128" fmla="*/ 5000 w 10000"/>
                    <a:gd name="connsiteY128" fmla="*/ 1237 h 9866"/>
                    <a:gd name="connsiteX129" fmla="*/ 5556 w 10000"/>
                    <a:gd name="connsiteY129" fmla="*/ 1088 h 9866"/>
                    <a:gd name="connsiteX130" fmla="*/ 6111 w 10000"/>
                    <a:gd name="connsiteY130" fmla="*/ 895 h 9866"/>
                    <a:gd name="connsiteX131" fmla="*/ 6667 w 10000"/>
                    <a:gd name="connsiteY131" fmla="*/ 715 h 9866"/>
                    <a:gd name="connsiteX132" fmla="*/ 7056 w 10000"/>
                    <a:gd name="connsiteY132" fmla="*/ 552 h 9866"/>
                    <a:gd name="connsiteX133" fmla="*/ 7056 w 10000"/>
                    <a:gd name="connsiteY133" fmla="*/ 552 h 9866"/>
                    <a:gd name="connsiteX134" fmla="*/ 7333 w 10000"/>
                    <a:gd name="connsiteY134" fmla="*/ 403 h 9866"/>
                    <a:gd name="connsiteX135" fmla="*/ 7667 w 10000"/>
                    <a:gd name="connsiteY135" fmla="*/ 224 h 9866"/>
                    <a:gd name="connsiteX136" fmla="*/ 8000 w 10000"/>
                    <a:gd name="connsiteY136" fmla="*/ 89 h 9866"/>
                    <a:gd name="connsiteX137" fmla="*/ 8167 w 10000"/>
                    <a:gd name="connsiteY137" fmla="*/ 29 h 9866"/>
                    <a:gd name="connsiteX138" fmla="*/ 8333 w 10000"/>
                    <a:gd name="connsiteY138" fmla="*/ 15 h 9866"/>
                    <a:gd name="connsiteX139" fmla="*/ 8333 w 10000"/>
                    <a:gd name="connsiteY139" fmla="*/ 15 h 9866"/>
                    <a:gd name="connsiteX140" fmla="*/ 8667 w 10000"/>
                    <a:gd name="connsiteY140" fmla="*/ 0 h 9866"/>
                    <a:gd name="connsiteX141" fmla="*/ 9111 w 10000"/>
                    <a:gd name="connsiteY141" fmla="*/ 0 h 9866"/>
                    <a:gd name="connsiteX142" fmla="*/ 10000 w 10000"/>
                    <a:gd name="connsiteY142" fmla="*/ 15 h 9866"/>
                    <a:gd name="connsiteX143" fmla="*/ 10000 w 10000"/>
                    <a:gd name="connsiteY143" fmla="*/ 9121 h 9866"/>
                    <a:gd name="connsiteX144" fmla="*/ 10000 w 10000"/>
                    <a:gd name="connsiteY144" fmla="*/ 9121 h 9866"/>
                    <a:gd name="connsiteX145" fmla="*/ 9722 w 10000"/>
                    <a:gd name="connsiteY145" fmla="*/ 9106 h 9866"/>
                    <a:gd name="connsiteX146" fmla="*/ 9389 w 10000"/>
                    <a:gd name="connsiteY146" fmla="*/ 9121 h 9866"/>
                    <a:gd name="connsiteX147" fmla="*/ 9389 w 10000"/>
                    <a:gd name="connsiteY147" fmla="*/ 9121 h 9866"/>
                    <a:gd name="connsiteX148" fmla="*/ 9278 w 10000"/>
                    <a:gd name="connsiteY148" fmla="*/ 9136 h 9866"/>
                    <a:gd name="connsiteX149" fmla="*/ 9056 w 10000"/>
                    <a:gd name="connsiteY149" fmla="*/ 9121 h 9866"/>
                    <a:gd name="connsiteX150" fmla="*/ 8889 w 10000"/>
                    <a:gd name="connsiteY150" fmla="*/ 9106 h 9866"/>
                    <a:gd name="connsiteX151" fmla="*/ 8722 w 10000"/>
                    <a:gd name="connsiteY151" fmla="*/ 9076 h 9866"/>
                    <a:gd name="connsiteX152" fmla="*/ 8611 w 10000"/>
                    <a:gd name="connsiteY152" fmla="*/ 9032 h 9866"/>
                    <a:gd name="connsiteX153" fmla="*/ 8444 w 10000"/>
                    <a:gd name="connsiteY153" fmla="*/ 8957 h 9866"/>
                    <a:gd name="connsiteX154" fmla="*/ 8444 w 10000"/>
                    <a:gd name="connsiteY154" fmla="*/ 8957 h 9866"/>
                    <a:gd name="connsiteX155" fmla="*/ 8222 w 10000"/>
                    <a:gd name="connsiteY155" fmla="*/ 8823 h 9866"/>
                    <a:gd name="connsiteX156" fmla="*/ 8111 w 10000"/>
                    <a:gd name="connsiteY156" fmla="*/ 8763 h 9866"/>
                    <a:gd name="connsiteX157" fmla="*/ 7944 w 10000"/>
                    <a:gd name="connsiteY157" fmla="*/ 8719 h 9866"/>
                    <a:gd name="connsiteX158" fmla="*/ 7778 w 10000"/>
                    <a:gd name="connsiteY158" fmla="*/ 8689 h 9866"/>
                    <a:gd name="connsiteX159" fmla="*/ 7556 w 10000"/>
                    <a:gd name="connsiteY159" fmla="*/ 8673 h 9866"/>
                    <a:gd name="connsiteX160" fmla="*/ 7333 w 10000"/>
                    <a:gd name="connsiteY160" fmla="*/ 8659 h 9866"/>
                    <a:gd name="connsiteX161" fmla="*/ 7000 w 10000"/>
                    <a:gd name="connsiteY161" fmla="*/ 8644 h 9866"/>
                    <a:gd name="connsiteX162" fmla="*/ 7000 w 10000"/>
                    <a:gd name="connsiteY162" fmla="*/ 8644 h 9866"/>
                    <a:gd name="connsiteX163" fmla="*/ 6556 w 10000"/>
                    <a:gd name="connsiteY163" fmla="*/ 8659 h 9866"/>
                    <a:gd name="connsiteX164" fmla="*/ 6222 w 10000"/>
                    <a:gd name="connsiteY164" fmla="*/ 8659 h 9866"/>
                    <a:gd name="connsiteX165" fmla="*/ 6111 w 10000"/>
                    <a:gd name="connsiteY165" fmla="*/ 8644 h 9866"/>
                    <a:gd name="connsiteX166" fmla="*/ 6056 w 10000"/>
                    <a:gd name="connsiteY166" fmla="*/ 8629 h 9866"/>
                    <a:gd name="connsiteX167" fmla="*/ 6056 w 10000"/>
                    <a:gd name="connsiteY167" fmla="*/ 8629 h 9866"/>
                    <a:gd name="connsiteX168" fmla="*/ 6056 w 10000"/>
                    <a:gd name="connsiteY168" fmla="*/ 8361 h 9866"/>
                    <a:gd name="connsiteX169" fmla="*/ 6056 w 10000"/>
                    <a:gd name="connsiteY169" fmla="*/ 8361 h 9866"/>
                    <a:gd name="connsiteX170" fmla="*/ 6056 w 10000"/>
                    <a:gd name="connsiteY170" fmla="*/ 8301 h 9866"/>
                    <a:gd name="connsiteX171" fmla="*/ 5944 w 10000"/>
                    <a:gd name="connsiteY171" fmla="*/ 8227 h 9866"/>
                    <a:gd name="connsiteX172" fmla="*/ 5889 w 10000"/>
                    <a:gd name="connsiteY172" fmla="*/ 8212 h 9866"/>
                    <a:gd name="connsiteX173" fmla="*/ 5778 w 10000"/>
                    <a:gd name="connsiteY173" fmla="*/ 8197 h 9866"/>
                    <a:gd name="connsiteX174" fmla="*/ 5667 w 10000"/>
                    <a:gd name="connsiteY174" fmla="*/ 8197 h 9866"/>
                    <a:gd name="connsiteX175" fmla="*/ 5500 w 10000"/>
                    <a:gd name="connsiteY175" fmla="*/ 8212 h 9866"/>
                    <a:gd name="connsiteX176" fmla="*/ 5500 w 10000"/>
                    <a:gd name="connsiteY176" fmla="*/ 8212 h 9866"/>
                    <a:gd name="connsiteX177" fmla="*/ 4889 w 10000"/>
                    <a:gd name="connsiteY177" fmla="*/ 8316 h 9866"/>
                    <a:gd name="connsiteX178" fmla="*/ 4611 w 10000"/>
                    <a:gd name="connsiteY178" fmla="*/ 8345 h 9866"/>
                    <a:gd name="connsiteX179" fmla="*/ 4556 w 10000"/>
                    <a:gd name="connsiteY179" fmla="*/ 8361 h 9866"/>
                    <a:gd name="connsiteX180" fmla="*/ 4500 w 10000"/>
                    <a:gd name="connsiteY180" fmla="*/ 8345 h 9866"/>
                    <a:gd name="connsiteX181" fmla="*/ 4500 w 10000"/>
                    <a:gd name="connsiteY181" fmla="*/ 8345 h 9866"/>
                    <a:gd name="connsiteX182" fmla="*/ 4222 w 10000"/>
                    <a:gd name="connsiteY182" fmla="*/ 8197 h 9866"/>
                    <a:gd name="connsiteX183" fmla="*/ 4222 w 10000"/>
                    <a:gd name="connsiteY183" fmla="*/ 8197 h 9866"/>
                    <a:gd name="connsiteX184" fmla="*/ 4111 w 10000"/>
                    <a:gd name="connsiteY184" fmla="*/ 8123 h 9866"/>
                    <a:gd name="connsiteX185" fmla="*/ 4111 w 10000"/>
                    <a:gd name="connsiteY185" fmla="*/ 8077 h 9866"/>
                    <a:gd name="connsiteX186" fmla="*/ 4111 w 10000"/>
                    <a:gd name="connsiteY186" fmla="*/ 8033 h 9866"/>
                    <a:gd name="connsiteX187" fmla="*/ 4111 w 10000"/>
                    <a:gd name="connsiteY187" fmla="*/ 8033 h 9866"/>
                    <a:gd name="connsiteX188" fmla="*/ 4278 w 10000"/>
                    <a:gd name="connsiteY188" fmla="*/ 7988 h 9866"/>
                    <a:gd name="connsiteX189" fmla="*/ 4389 w 10000"/>
                    <a:gd name="connsiteY189" fmla="*/ 7973 h 9866"/>
                    <a:gd name="connsiteX190" fmla="*/ 4389 w 10000"/>
                    <a:gd name="connsiteY190" fmla="*/ 7973 h 9866"/>
                    <a:gd name="connsiteX191" fmla="*/ 4000 w 10000"/>
                    <a:gd name="connsiteY191" fmla="*/ 7973 h 9866"/>
                    <a:gd name="connsiteX192" fmla="*/ 3722 w 10000"/>
                    <a:gd name="connsiteY192" fmla="*/ 7988 h 9866"/>
                    <a:gd name="connsiteX193" fmla="*/ 3611 w 10000"/>
                    <a:gd name="connsiteY193" fmla="*/ 8003 h 9866"/>
                    <a:gd name="connsiteX194" fmla="*/ 3556 w 10000"/>
                    <a:gd name="connsiteY194" fmla="*/ 8018 h 9866"/>
                    <a:gd name="connsiteX195" fmla="*/ 3556 w 10000"/>
                    <a:gd name="connsiteY195" fmla="*/ 8018 h 9866"/>
                    <a:gd name="connsiteX196" fmla="*/ 3444 w 10000"/>
                    <a:gd name="connsiteY196" fmla="*/ 8077 h 9866"/>
                    <a:gd name="connsiteX197" fmla="*/ 3278 w 10000"/>
                    <a:gd name="connsiteY197" fmla="*/ 8167 h 9866"/>
                    <a:gd name="connsiteX198" fmla="*/ 3000 w 10000"/>
                    <a:gd name="connsiteY198" fmla="*/ 8272 h 9866"/>
                    <a:gd name="connsiteX199" fmla="*/ 2667 w 10000"/>
                    <a:gd name="connsiteY199" fmla="*/ 8345 h 9866"/>
                    <a:gd name="connsiteX200" fmla="*/ 2667 w 10000"/>
                    <a:gd name="connsiteY200" fmla="*/ 8345 h 9866"/>
                    <a:gd name="connsiteX201" fmla="*/ 2333 w 10000"/>
                    <a:gd name="connsiteY201" fmla="*/ 8405 h 9866"/>
                    <a:gd name="connsiteX202" fmla="*/ 1833 w 10000"/>
                    <a:gd name="connsiteY202" fmla="*/ 8465 h 9866"/>
                    <a:gd name="connsiteX203" fmla="*/ 1389 w 10000"/>
                    <a:gd name="connsiteY203" fmla="*/ 8495 h 9866"/>
                    <a:gd name="connsiteX204" fmla="*/ 889 w 10000"/>
                    <a:gd name="connsiteY204" fmla="*/ 8509 h 9866"/>
                    <a:gd name="connsiteX205" fmla="*/ 889 w 10000"/>
                    <a:gd name="connsiteY205" fmla="*/ 8509 h 9866"/>
                    <a:gd name="connsiteX206" fmla="*/ 500 w 10000"/>
                    <a:gd name="connsiteY206" fmla="*/ 8525 h 9866"/>
                    <a:gd name="connsiteX207" fmla="*/ 222 w 10000"/>
                    <a:gd name="connsiteY207" fmla="*/ 8540 h 9866"/>
                    <a:gd name="connsiteX208" fmla="*/ 0 w 10000"/>
                    <a:gd name="connsiteY208" fmla="*/ 8555 h 9866"/>
                    <a:gd name="connsiteX209" fmla="*/ 0 w 10000"/>
                    <a:gd name="connsiteY209" fmla="*/ 8555 h 9866"/>
                    <a:gd name="connsiteX210" fmla="*/ 278 w 10000"/>
                    <a:gd name="connsiteY210" fmla="*/ 8793 h 9866"/>
                    <a:gd name="connsiteX211" fmla="*/ 500 w 10000"/>
                    <a:gd name="connsiteY211" fmla="*/ 8972 h 9866"/>
                    <a:gd name="connsiteX212" fmla="*/ 722 w 10000"/>
                    <a:gd name="connsiteY212" fmla="*/ 9121 h 9866"/>
                    <a:gd name="connsiteX213" fmla="*/ 722 w 10000"/>
                    <a:gd name="connsiteY213" fmla="*/ 9121 h 9866"/>
                    <a:gd name="connsiteX214" fmla="*/ 889 w 10000"/>
                    <a:gd name="connsiteY214" fmla="*/ 9211 h 9866"/>
                    <a:gd name="connsiteX215" fmla="*/ 944 w 10000"/>
                    <a:gd name="connsiteY215" fmla="*/ 9285 h 9866"/>
                    <a:gd name="connsiteX216" fmla="*/ 1111 w 10000"/>
                    <a:gd name="connsiteY216" fmla="*/ 9359 h 9866"/>
                    <a:gd name="connsiteX217" fmla="*/ 1333 w 10000"/>
                    <a:gd name="connsiteY217" fmla="*/ 9479 h 9866"/>
                    <a:gd name="connsiteX218" fmla="*/ 1333 w 10000"/>
                    <a:gd name="connsiteY218" fmla="*/ 9479 h 9866"/>
                    <a:gd name="connsiteX219" fmla="*/ 1444 w 10000"/>
                    <a:gd name="connsiteY219" fmla="*/ 9539 h 9866"/>
                    <a:gd name="connsiteX220" fmla="*/ 1500 w 10000"/>
                    <a:gd name="connsiteY220" fmla="*/ 9583 h 9866"/>
                    <a:gd name="connsiteX221" fmla="*/ 1500 w 10000"/>
                    <a:gd name="connsiteY221" fmla="*/ 9628 h 9866"/>
                    <a:gd name="connsiteX222" fmla="*/ 1556 w 10000"/>
                    <a:gd name="connsiteY222" fmla="*/ 9643 h 9866"/>
                    <a:gd name="connsiteX223" fmla="*/ 1722 w 10000"/>
                    <a:gd name="connsiteY223" fmla="*/ 9657 h 9866"/>
                    <a:gd name="connsiteX224" fmla="*/ 5278 w 10000"/>
                    <a:gd name="connsiteY224" fmla="*/ 9807 h 9866"/>
                    <a:gd name="connsiteX225" fmla="*/ 5444 w 10000"/>
                    <a:gd name="connsiteY225" fmla="*/ 9821 h 9866"/>
                    <a:gd name="connsiteX226" fmla="*/ 5444 w 10000"/>
                    <a:gd name="connsiteY226" fmla="*/ 9821 h 9866"/>
                    <a:gd name="connsiteX227" fmla="*/ 5722 w 10000"/>
                    <a:gd name="connsiteY227" fmla="*/ 9851 h 9866"/>
                    <a:gd name="connsiteX228" fmla="*/ 5833 w 10000"/>
                    <a:gd name="connsiteY228" fmla="*/ 9866 h 9866"/>
                    <a:gd name="connsiteX229" fmla="*/ 5833 w 10000"/>
                    <a:gd name="connsiteY229" fmla="*/ 9866 h 9866"/>
                    <a:gd name="connsiteX230" fmla="*/ 5889 w 10000"/>
                    <a:gd name="connsiteY230" fmla="*/ 9836 h 9866"/>
                    <a:gd name="connsiteX231" fmla="*/ 6000 w 10000"/>
                    <a:gd name="connsiteY231" fmla="*/ 9821 h 9866"/>
                    <a:gd name="connsiteX232" fmla="*/ 6167 w 10000"/>
                    <a:gd name="connsiteY232" fmla="*/ 9807 h 9866"/>
                    <a:gd name="connsiteX233" fmla="*/ 6444 w 10000"/>
                    <a:gd name="connsiteY233" fmla="*/ 9807 h 9866"/>
                    <a:gd name="connsiteX234" fmla="*/ 7278 w 10000"/>
                    <a:gd name="connsiteY234" fmla="*/ 9866 h 9866"/>
                    <a:gd name="connsiteX235" fmla="*/ 10000 w 10000"/>
                    <a:gd name="connsiteY235" fmla="*/ 9106 h 9866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278 w 10000"/>
                    <a:gd name="connsiteY224" fmla="*/ 9940 h 10000"/>
                    <a:gd name="connsiteX225" fmla="*/ 5444 w 10000"/>
                    <a:gd name="connsiteY225" fmla="*/ 9954 h 10000"/>
                    <a:gd name="connsiteX226" fmla="*/ 5444 w 10000"/>
                    <a:gd name="connsiteY226" fmla="*/ 9954 h 10000"/>
                    <a:gd name="connsiteX227" fmla="*/ 5722 w 10000"/>
                    <a:gd name="connsiteY227" fmla="*/ 9985 h 10000"/>
                    <a:gd name="connsiteX228" fmla="*/ 5833 w 10000"/>
                    <a:gd name="connsiteY228" fmla="*/ 10000 h 10000"/>
                    <a:gd name="connsiteX229" fmla="*/ 5833 w 10000"/>
                    <a:gd name="connsiteY229" fmla="*/ 10000 h 10000"/>
                    <a:gd name="connsiteX230" fmla="*/ 5889 w 10000"/>
                    <a:gd name="connsiteY230" fmla="*/ 9970 h 10000"/>
                    <a:gd name="connsiteX231" fmla="*/ 6000 w 10000"/>
                    <a:gd name="connsiteY231" fmla="*/ 9954 h 10000"/>
                    <a:gd name="connsiteX232" fmla="*/ 6167 w 10000"/>
                    <a:gd name="connsiteY232" fmla="*/ 9940 h 10000"/>
                    <a:gd name="connsiteX233" fmla="*/ 6444 w 10000"/>
                    <a:gd name="connsiteY233" fmla="*/ 9940 h 10000"/>
                    <a:gd name="connsiteX234" fmla="*/ 10000 w 10000"/>
                    <a:gd name="connsiteY234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278 w 10000"/>
                    <a:gd name="connsiteY224" fmla="*/ 9940 h 10000"/>
                    <a:gd name="connsiteX225" fmla="*/ 5444 w 10000"/>
                    <a:gd name="connsiteY225" fmla="*/ 9954 h 10000"/>
                    <a:gd name="connsiteX226" fmla="*/ 5444 w 10000"/>
                    <a:gd name="connsiteY226" fmla="*/ 9954 h 10000"/>
                    <a:gd name="connsiteX227" fmla="*/ 5722 w 10000"/>
                    <a:gd name="connsiteY227" fmla="*/ 9985 h 10000"/>
                    <a:gd name="connsiteX228" fmla="*/ 5833 w 10000"/>
                    <a:gd name="connsiteY228" fmla="*/ 10000 h 10000"/>
                    <a:gd name="connsiteX229" fmla="*/ 5833 w 10000"/>
                    <a:gd name="connsiteY229" fmla="*/ 10000 h 10000"/>
                    <a:gd name="connsiteX230" fmla="*/ 5889 w 10000"/>
                    <a:gd name="connsiteY230" fmla="*/ 9970 h 10000"/>
                    <a:gd name="connsiteX231" fmla="*/ 6000 w 10000"/>
                    <a:gd name="connsiteY231" fmla="*/ 9954 h 10000"/>
                    <a:gd name="connsiteX232" fmla="*/ 6167 w 10000"/>
                    <a:gd name="connsiteY232" fmla="*/ 9940 h 10000"/>
                    <a:gd name="connsiteX233" fmla="*/ 10000 w 10000"/>
                    <a:gd name="connsiteY233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278 w 10000"/>
                    <a:gd name="connsiteY224" fmla="*/ 9940 h 10000"/>
                    <a:gd name="connsiteX225" fmla="*/ 5444 w 10000"/>
                    <a:gd name="connsiteY225" fmla="*/ 9954 h 10000"/>
                    <a:gd name="connsiteX226" fmla="*/ 5444 w 10000"/>
                    <a:gd name="connsiteY226" fmla="*/ 9954 h 10000"/>
                    <a:gd name="connsiteX227" fmla="*/ 5722 w 10000"/>
                    <a:gd name="connsiteY227" fmla="*/ 9985 h 10000"/>
                    <a:gd name="connsiteX228" fmla="*/ 5833 w 10000"/>
                    <a:gd name="connsiteY228" fmla="*/ 10000 h 10000"/>
                    <a:gd name="connsiteX229" fmla="*/ 5833 w 10000"/>
                    <a:gd name="connsiteY229" fmla="*/ 10000 h 10000"/>
                    <a:gd name="connsiteX230" fmla="*/ 5889 w 10000"/>
                    <a:gd name="connsiteY230" fmla="*/ 9970 h 10000"/>
                    <a:gd name="connsiteX231" fmla="*/ 6000 w 10000"/>
                    <a:gd name="connsiteY231" fmla="*/ 9954 h 10000"/>
                    <a:gd name="connsiteX232" fmla="*/ 10000 w 10000"/>
                    <a:gd name="connsiteY232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444 w 10000"/>
                    <a:gd name="connsiteY224" fmla="*/ 9954 h 10000"/>
                    <a:gd name="connsiteX225" fmla="*/ 5444 w 10000"/>
                    <a:gd name="connsiteY225" fmla="*/ 9954 h 10000"/>
                    <a:gd name="connsiteX226" fmla="*/ 5722 w 10000"/>
                    <a:gd name="connsiteY226" fmla="*/ 9985 h 10000"/>
                    <a:gd name="connsiteX227" fmla="*/ 5833 w 10000"/>
                    <a:gd name="connsiteY227" fmla="*/ 10000 h 10000"/>
                    <a:gd name="connsiteX228" fmla="*/ 5833 w 10000"/>
                    <a:gd name="connsiteY228" fmla="*/ 10000 h 10000"/>
                    <a:gd name="connsiteX229" fmla="*/ 5889 w 10000"/>
                    <a:gd name="connsiteY229" fmla="*/ 9970 h 10000"/>
                    <a:gd name="connsiteX230" fmla="*/ 6000 w 10000"/>
                    <a:gd name="connsiteY230" fmla="*/ 9954 h 10000"/>
                    <a:gd name="connsiteX231" fmla="*/ 10000 w 10000"/>
                    <a:gd name="connsiteY231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444 w 10000"/>
                    <a:gd name="connsiteY224" fmla="*/ 9954 h 10000"/>
                    <a:gd name="connsiteX225" fmla="*/ 5444 w 10000"/>
                    <a:gd name="connsiteY225" fmla="*/ 9954 h 10000"/>
                    <a:gd name="connsiteX226" fmla="*/ 5722 w 10000"/>
                    <a:gd name="connsiteY226" fmla="*/ 9985 h 10000"/>
                    <a:gd name="connsiteX227" fmla="*/ 5833 w 10000"/>
                    <a:gd name="connsiteY227" fmla="*/ 10000 h 10000"/>
                    <a:gd name="connsiteX228" fmla="*/ 5833 w 10000"/>
                    <a:gd name="connsiteY228" fmla="*/ 10000 h 10000"/>
                    <a:gd name="connsiteX229" fmla="*/ 5889 w 10000"/>
                    <a:gd name="connsiteY229" fmla="*/ 9970 h 10000"/>
                    <a:gd name="connsiteX230" fmla="*/ 10000 w 10000"/>
                    <a:gd name="connsiteY230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444 w 10000"/>
                    <a:gd name="connsiteY224" fmla="*/ 9954 h 10000"/>
                    <a:gd name="connsiteX225" fmla="*/ 5444 w 10000"/>
                    <a:gd name="connsiteY225" fmla="*/ 9954 h 10000"/>
                    <a:gd name="connsiteX226" fmla="*/ 5722 w 10000"/>
                    <a:gd name="connsiteY226" fmla="*/ 9985 h 10000"/>
                    <a:gd name="connsiteX227" fmla="*/ 5833 w 10000"/>
                    <a:gd name="connsiteY227" fmla="*/ 10000 h 10000"/>
                    <a:gd name="connsiteX228" fmla="*/ 5833 w 10000"/>
                    <a:gd name="connsiteY228" fmla="*/ 10000 h 10000"/>
                    <a:gd name="connsiteX229" fmla="*/ 10000 w 10000"/>
                    <a:gd name="connsiteY229" fmla="*/ 9230 h 10000"/>
                    <a:gd name="connsiteX0" fmla="*/ 10000 w 10000"/>
                    <a:gd name="connsiteY0" fmla="*/ 9230 h 10000"/>
                    <a:gd name="connsiteX1" fmla="*/ 10000 w 10000"/>
                    <a:gd name="connsiteY1" fmla="*/ 9230 h 10000"/>
                    <a:gd name="connsiteX2" fmla="*/ 9222 w 10000"/>
                    <a:gd name="connsiteY2" fmla="*/ 9245 h 10000"/>
                    <a:gd name="connsiteX3" fmla="*/ 8944 w 10000"/>
                    <a:gd name="connsiteY3" fmla="*/ 9245 h 10000"/>
                    <a:gd name="connsiteX4" fmla="*/ 8833 w 10000"/>
                    <a:gd name="connsiteY4" fmla="*/ 9230 h 10000"/>
                    <a:gd name="connsiteX5" fmla="*/ 8778 w 10000"/>
                    <a:gd name="connsiteY5" fmla="*/ 9214 h 10000"/>
                    <a:gd name="connsiteX6" fmla="*/ 8778 w 10000"/>
                    <a:gd name="connsiteY6" fmla="*/ 9214 h 10000"/>
                    <a:gd name="connsiteX7" fmla="*/ 8444 w 10000"/>
                    <a:gd name="connsiteY7" fmla="*/ 9033 h 10000"/>
                    <a:gd name="connsiteX8" fmla="*/ 8167 w 10000"/>
                    <a:gd name="connsiteY8" fmla="*/ 8867 h 10000"/>
                    <a:gd name="connsiteX9" fmla="*/ 8167 w 10000"/>
                    <a:gd name="connsiteY9" fmla="*/ 8867 h 10000"/>
                    <a:gd name="connsiteX10" fmla="*/ 8056 w 10000"/>
                    <a:gd name="connsiteY10" fmla="*/ 8837 h 10000"/>
                    <a:gd name="connsiteX11" fmla="*/ 7889 w 10000"/>
                    <a:gd name="connsiteY11" fmla="*/ 8807 h 10000"/>
                    <a:gd name="connsiteX12" fmla="*/ 7444 w 10000"/>
                    <a:gd name="connsiteY12" fmla="*/ 8791 h 10000"/>
                    <a:gd name="connsiteX13" fmla="*/ 6889 w 10000"/>
                    <a:gd name="connsiteY13" fmla="*/ 8777 h 10000"/>
                    <a:gd name="connsiteX14" fmla="*/ 6389 w 10000"/>
                    <a:gd name="connsiteY14" fmla="*/ 8777 h 10000"/>
                    <a:gd name="connsiteX15" fmla="*/ 6389 w 10000"/>
                    <a:gd name="connsiteY15" fmla="*/ 8777 h 10000"/>
                    <a:gd name="connsiteX16" fmla="*/ 6167 w 10000"/>
                    <a:gd name="connsiteY16" fmla="*/ 8761 h 10000"/>
                    <a:gd name="connsiteX17" fmla="*/ 6056 w 10000"/>
                    <a:gd name="connsiteY17" fmla="*/ 8732 h 10000"/>
                    <a:gd name="connsiteX18" fmla="*/ 6000 w 10000"/>
                    <a:gd name="connsiteY18" fmla="*/ 8701 h 10000"/>
                    <a:gd name="connsiteX19" fmla="*/ 6000 w 10000"/>
                    <a:gd name="connsiteY19" fmla="*/ 8641 h 10000"/>
                    <a:gd name="connsiteX20" fmla="*/ 6056 w 10000"/>
                    <a:gd name="connsiteY20" fmla="*/ 8519 h 10000"/>
                    <a:gd name="connsiteX21" fmla="*/ 6111 w 10000"/>
                    <a:gd name="connsiteY21" fmla="*/ 8458 h 10000"/>
                    <a:gd name="connsiteX22" fmla="*/ 6056 w 10000"/>
                    <a:gd name="connsiteY22" fmla="*/ 8384 h 10000"/>
                    <a:gd name="connsiteX23" fmla="*/ 6056 w 10000"/>
                    <a:gd name="connsiteY23" fmla="*/ 8384 h 10000"/>
                    <a:gd name="connsiteX24" fmla="*/ 6000 w 10000"/>
                    <a:gd name="connsiteY24" fmla="*/ 8339 h 10000"/>
                    <a:gd name="connsiteX25" fmla="*/ 5944 w 10000"/>
                    <a:gd name="connsiteY25" fmla="*/ 8308 h 10000"/>
                    <a:gd name="connsiteX26" fmla="*/ 5833 w 10000"/>
                    <a:gd name="connsiteY26" fmla="*/ 8308 h 10000"/>
                    <a:gd name="connsiteX27" fmla="*/ 5667 w 10000"/>
                    <a:gd name="connsiteY27" fmla="*/ 8324 h 10000"/>
                    <a:gd name="connsiteX28" fmla="*/ 5333 w 10000"/>
                    <a:gd name="connsiteY28" fmla="*/ 8368 h 10000"/>
                    <a:gd name="connsiteX29" fmla="*/ 4889 w 10000"/>
                    <a:gd name="connsiteY29" fmla="*/ 8444 h 10000"/>
                    <a:gd name="connsiteX30" fmla="*/ 4889 w 10000"/>
                    <a:gd name="connsiteY30" fmla="*/ 8444 h 10000"/>
                    <a:gd name="connsiteX31" fmla="*/ 4611 w 10000"/>
                    <a:gd name="connsiteY31" fmla="*/ 8458 h 10000"/>
                    <a:gd name="connsiteX32" fmla="*/ 4500 w 10000"/>
                    <a:gd name="connsiteY32" fmla="*/ 8458 h 10000"/>
                    <a:gd name="connsiteX33" fmla="*/ 4444 w 10000"/>
                    <a:gd name="connsiteY33" fmla="*/ 8444 h 10000"/>
                    <a:gd name="connsiteX34" fmla="*/ 4389 w 10000"/>
                    <a:gd name="connsiteY34" fmla="*/ 8384 h 10000"/>
                    <a:gd name="connsiteX35" fmla="*/ 4222 w 10000"/>
                    <a:gd name="connsiteY35" fmla="*/ 8308 h 10000"/>
                    <a:gd name="connsiteX36" fmla="*/ 4222 w 10000"/>
                    <a:gd name="connsiteY36" fmla="*/ 8308 h 10000"/>
                    <a:gd name="connsiteX37" fmla="*/ 4111 w 10000"/>
                    <a:gd name="connsiteY37" fmla="*/ 8263 h 10000"/>
                    <a:gd name="connsiteX38" fmla="*/ 4111 w 10000"/>
                    <a:gd name="connsiteY38" fmla="*/ 8218 h 10000"/>
                    <a:gd name="connsiteX39" fmla="*/ 4111 w 10000"/>
                    <a:gd name="connsiteY39" fmla="*/ 8187 h 10000"/>
                    <a:gd name="connsiteX40" fmla="*/ 4167 w 10000"/>
                    <a:gd name="connsiteY40" fmla="*/ 8157 h 10000"/>
                    <a:gd name="connsiteX41" fmla="*/ 4278 w 10000"/>
                    <a:gd name="connsiteY41" fmla="*/ 8096 h 10000"/>
                    <a:gd name="connsiteX42" fmla="*/ 4389 w 10000"/>
                    <a:gd name="connsiteY42" fmla="*/ 8081 h 10000"/>
                    <a:gd name="connsiteX43" fmla="*/ 4389 w 10000"/>
                    <a:gd name="connsiteY43" fmla="*/ 8081 h 10000"/>
                    <a:gd name="connsiteX44" fmla="*/ 4389 w 10000"/>
                    <a:gd name="connsiteY44" fmla="*/ 8067 h 10000"/>
                    <a:gd name="connsiteX45" fmla="*/ 4444 w 10000"/>
                    <a:gd name="connsiteY45" fmla="*/ 8052 h 10000"/>
                    <a:gd name="connsiteX46" fmla="*/ 4667 w 10000"/>
                    <a:gd name="connsiteY46" fmla="*/ 8037 h 10000"/>
                    <a:gd name="connsiteX47" fmla="*/ 5333 w 10000"/>
                    <a:gd name="connsiteY47" fmla="*/ 8006 h 10000"/>
                    <a:gd name="connsiteX48" fmla="*/ 6500 w 10000"/>
                    <a:gd name="connsiteY48" fmla="*/ 7961 h 10000"/>
                    <a:gd name="connsiteX49" fmla="*/ 6500 w 10000"/>
                    <a:gd name="connsiteY49" fmla="*/ 7961 h 10000"/>
                    <a:gd name="connsiteX50" fmla="*/ 7167 w 10000"/>
                    <a:gd name="connsiteY50" fmla="*/ 7915 h 10000"/>
                    <a:gd name="connsiteX51" fmla="*/ 8389 w 10000"/>
                    <a:gd name="connsiteY51" fmla="*/ 7825 h 10000"/>
                    <a:gd name="connsiteX52" fmla="*/ 8389 w 10000"/>
                    <a:gd name="connsiteY52" fmla="*/ 7825 h 10000"/>
                    <a:gd name="connsiteX53" fmla="*/ 8667 w 10000"/>
                    <a:gd name="connsiteY53" fmla="*/ 7794 h 10000"/>
                    <a:gd name="connsiteX54" fmla="*/ 8778 w 10000"/>
                    <a:gd name="connsiteY54" fmla="*/ 7749 h 10000"/>
                    <a:gd name="connsiteX55" fmla="*/ 8889 w 10000"/>
                    <a:gd name="connsiteY55" fmla="*/ 7719 h 10000"/>
                    <a:gd name="connsiteX56" fmla="*/ 8833 w 10000"/>
                    <a:gd name="connsiteY56" fmla="*/ 7689 h 10000"/>
                    <a:gd name="connsiteX57" fmla="*/ 8833 w 10000"/>
                    <a:gd name="connsiteY57" fmla="*/ 7659 h 10000"/>
                    <a:gd name="connsiteX58" fmla="*/ 8722 w 10000"/>
                    <a:gd name="connsiteY58" fmla="*/ 7628 h 10000"/>
                    <a:gd name="connsiteX59" fmla="*/ 8556 w 10000"/>
                    <a:gd name="connsiteY59" fmla="*/ 7583 h 10000"/>
                    <a:gd name="connsiteX60" fmla="*/ 8556 w 10000"/>
                    <a:gd name="connsiteY60" fmla="*/ 7583 h 10000"/>
                    <a:gd name="connsiteX61" fmla="*/ 6556 w 10000"/>
                    <a:gd name="connsiteY61" fmla="*/ 7311 h 10000"/>
                    <a:gd name="connsiteX62" fmla="*/ 6556 w 10000"/>
                    <a:gd name="connsiteY62" fmla="*/ 7311 h 10000"/>
                    <a:gd name="connsiteX63" fmla="*/ 6333 w 10000"/>
                    <a:gd name="connsiteY63" fmla="*/ 7266 h 10000"/>
                    <a:gd name="connsiteX64" fmla="*/ 6167 w 10000"/>
                    <a:gd name="connsiteY64" fmla="*/ 7221 h 10000"/>
                    <a:gd name="connsiteX65" fmla="*/ 6056 w 10000"/>
                    <a:gd name="connsiteY65" fmla="*/ 7176 h 10000"/>
                    <a:gd name="connsiteX66" fmla="*/ 6056 w 10000"/>
                    <a:gd name="connsiteY66" fmla="*/ 7176 h 10000"/>
                    <a:gd name="connsiteX67" fmla="*/ 8056 w 10000"/>
                    <a:gd name="connsiteY67" fmla="*/ 7160 h 10000"/>
                    <a:gd name="connsiteX68" fmla="*/ 10000 w 10000"/>
                    <a:gd name="connsiteY68" fmla="*/ 7311 h 10000"/>
                    <a:gd name="connsiteX69" fmla="*/ 10000 w 10000"/>
                    <a:gd name="connsiteY69" fmla="*/ 5937 h 10000"/>
                    <a:gd name="connsiteX70" fmla="*/ 10000 w 10000"/>
                    <a:gd name="connsiteY70" fmla="*/ 5937 h 10000"/>
                    <a:gd name="connsiteX71" fmla="*/ 7778 w 10000"/>
                    <a:gd name="connsiteY71" fmla="*/ 5619 h 10000"/>
                    <a:gd name="connsiteX72" fmla="*/ 6556 w 10000"/>
                    <a:gd name="connsiteY72" fmla="*/ 5438 h 10000"/>
                    <a:gd name="connsiteX73" fmla="*/ 6556 w 10000"/>
                    <a:gd name="connsiteY73" fmla="*/ 5438 h 10000"/>
                    <a:gd name="connsiteX74" fmla="*/ 6556 w 10000"/>
                    <a:gd name="connsiteY74" fmla="*/ 5423 h 10000"/>
                    <a:gd name="connsiteX75" fmla="*/ 6556 w 10000"/>
                    <a:gd name="connsiteY75" fmla="*/ 5332 h 10000"/>
                    <a:gd name="connsiteX76" fmla="*/ 6556 w 10000"/>
                    <a:gd name="connsiteY76" fmla="*/ 5332 h 10000"/>
                    <a:gd name="connsiteX77" fmla="*/ 6389 w 10000"/>
                    <a:gd name="connsiteY77" fmla="*/ 5227 h 10000"/>
                    <a:gd name="connsiteX78" fmla="*/ 6056 w 10000"/>
                    <a:gd name="connsiteY78" fmla="*/ 5061 h 10000"/>
                    <a:gd name="connsiteX79" fmla="*/ 5333 w 10000"/>
                    <a:gd name="connsiteY79" fmla="*/ 4743 h 10000"/>
                    <a:gd name="connsiteX80" fmla="*/ 5333 w 10000"/>
                    <a:gd name="connsiteY80" fmla="*/ 4743 h 10000"/>
                    <a:gd name="connsiteX81" fmla="*/ 5167 w 10000"/>
                    <a:gd name="connsiteY81" fmla="*/ 4698 h 10000"/>
                    <a:gd name="connsiteX82" fmla="*/ 4889 w 10000"/>
                    <a:gd name="connsiteY82" fmla="*/ 4637 h 10000"/>
                    <a:gd name="connsiteX83" fmla="*/ 4056 w 10000"/>
                    <a:gd name="connsiteY83" fmla="*/ 4501 h 10000"/>
                    <a:gd name="connsiteX84" fmla="*/ 2889 w 10000"/>
                    <a:gd name="connsiteY84" fmla="*/ 4335 h 10000"/>
                    <a:gd name="connsiteX85" fmla="*/ 2889 w 10000"/>
                    <a:gd name="connsiteY85" fmla="*/ 4335 h 10000"/>
                    <a:gd name="connsiteX86" fmla="*/ 2389 w 10000"/>
                    <a:gd name="connsiteY86" fmla="*/ 4320 h 10000"/>
                    <a:gd name="connsiteX87" fmla="*/ 2000 w 10000"/>
                    <a:gd name="connsiteY87" fmla="*/ 4305 h 10000"/>
                    <a:gd name="connsiteX88" fmla="*/ 1889 w 10000"/>
                    <a:gd name="connsiteY88" fmla="*/ 4290 h 10000"/>
                    <a:gd name="connsiteX89" fmla="*/ 1778 w 10000"/>
                    <a:gd name="connsiteY89" fmla="*/ 4275 h 10000"/>
                    <a:gd name="connsiteX90" fmla="*/ 1778 w 10000"/>
                    <a:gd name="connsiteY90" fmla="*/ 4275 h 10000"/>
                    <a:gd name="connsiteX91" fmla="*/ 1667 w 10000"/>
                    <a:gd name="connsiteY91" fmla="*/ 4214 h 10000"/>
                    <a:gd name="connsiteX92" fmla="*/ 1500 w 10000"/>
                    <a:gd name="connsiteY92" fmla="*/ 4109 h 10000"/>
                    <a:gd name="connsiteX93" fmla="*/ 1444 w 10000"/>
                    <a:gd name="connsiteY93" fmla="*/ 4048 h 10000"/>
                    <a:gd name="connsiteX94" fmla="*/ 1444 w 10000"/>
                    <a:gd name="connsiteY94" fmla="*/ 3987 h 10000"/>
                    <a:gd name="connsiteX95" fmla="*/ 1444 w 10000"/>
                    <a:gd name="connsiteY95" fmla="*/ 3943 h 10000"/>
                    <a:gd name="connsiteX96" fmla="*/ 1556 w 10000"/>
                    <a:gd name="connsiteY96" fmla="*/ 3897 h 10000"/>
                    <a:gd name="connsiteX97" fmla="*/ 1556 w 10000"/>
                    <a:gd name="connsiteY97" fmla="*/ 3897 h 10000"/>
                    <a:gd name="connsiteX98" fmla="*/ 1833 w 10000"/>
                    <a:gd name="connsiteY98" fmla="*/ 3821 h 10000"/>
                    <a:gd name="connsiteX99" fmla="*/ 2111 w 10000"/>
                    <a:gd name="connsiteY99" fmla="*/ 3746 h 10000"/>
                    <a:gd name="connsiteX100" fmla="*/ 2278 w 10000"/>
                    <a:gd name="connsiteY100" fmla="*/ 3701 h 10000"/>
                    <a:gd name="connsiteX101" fmla="*/ 2389 w 10000"/>
                    <a:gd name="connsiteY101" fmla="*/ 3656 h 10000"/>
                    <a:gd name="connsiteX102" fmla="*/ 2389 w 10000"/>
                    <a:gd name="connsiteY102" fmla="*/ 3595 h 10000"/>
                    <a:gd name="connsiteX103" fmla="*/ 2389 w 10000"/>
                    <a:gd name="connsiteY103" fmla="*/ 3520 h 10000"/>
                    <a:gd name="connsiteX104" fmla="*/ 2389 w 10000"/>
                    <a:gd name="connsiteY104" fmla="*/ 3520 h 10000"/>
                    <a:gd name="connsiteX105" fmla="*/ 2167 w 10000"/>
                    <a:gd name="connsiteY105" fmla="*/ 3308 h 10000"/>
                    <a:gd name="connsiteX106" fmla="*/ 1889 w 10000"/>
                    <a:gd name="connsiteY106" fmla="*/ 3021 h 10000"/>
                    <a:gd name="connsiteX107" fmla="*/ 1667 w 10000"/>
                    <a:gd name="connsiteY107" fmla="*/ 2764 h 10000"/>
                    <a:gd name="connsiteX108" fmla="*/ 1611 w 10000"/>
                    <a:gd name="connsiteY108" fmla="*/ 2689 h 10000"/>
                    <a:gd name="connsiteX109" fmla="*/ 1611 w 10000"/>
                    <a:gd name="connsiteY109" fmla="*/ 2659 h 10000"/>
                    <a:gd name="connsiteX110" fmla="*/ 1667 w 10000"/>
                    <a:gd name="connsiteY110" fmla="*/ 2643 h 10000"/>
                    <a:gd name="connsiteX111" fmla="*/ 1667 w 10000"/>
                    <a:gd name="connsiteY111" fmla="*/ 2643 h 10000"/>
                    <a:gd name="connsiteX112" fmla="*/ 2000 w 10000"/>
                    <a:gd name="connsiteY112" fmla="*/ 2629 h 10000"/>
                    <a:gd name="connsiteX113" fmla="*/ 2222 w 10000"/>
                    <a:gd name="connsiteY113" fmla="*/ 2629 h 10000"/>
                    <a:gd name="connsiteX114" fmla="*/ 2389 w 10000"/>
                    <a:gd name="connsiteY114" fmla="*/ 2643 h 10000"/>
                    <a:gd name="connsiteX115" fmla="*/ 2389 w 10000"/>
                    <a:gd name="connsiteY115" fmla="*/ 2643 h 10000"/>
                    <a:gd name="connsiteX116" fmla="*/ 2444 w 10000"/>
                    <a:gd name="connsiteY116" fmla="*/ 2643 h 10000"/>
                    <a:gd name="connsiteX117" fmla="*/ 2500 w 10000"/>
                    <a:gd name="connsiteY117" fmla="*/ 2613 h 10000"/>
                    <a:gd name="connsiteX118" fmla="*/ 2778 w 10000"/>
                    <a:gd name="connsiteY118" fmla="*/ 2522 h 10000"/>
                    <a:gd name="connsiteX119" fmla="*/ 3500 w 10000"/>
                    <a:gd name="connsiteY119" fmla="*/ 2221 h 10000"/>
                    <a:gd name="connsiteX120" fmla="*/ 4444 w 10000"/>
                    <a:gd name="connsiteY120" fmla="*/ 1783 h 10000"/>
                    <a:gd name="connsiteX121" fmla="*/ 4444 w 10000"/>
                    <a:gd name="connsiteY121" fmla="*/ 1783 h 10000"/>
                    <a:gd name="connsiteX122" fmla="*/ 4444 w 10000"/>
                    <a:gd name="connsiteY122" fmla="*/ 1722 h 10000"/>
                    <a:gd name="connsiteX123" fmla="*/ 4444 w 10000"/>
                    <a:gd name="connsiteY123" fmla="*/ 1585 h 10000"/>
                    <a:gd name="connsiteX124" fmla="*/ 4500 w 10000"/>
                    <a:gd name="connsiteY124" fmla="*/ 1495 h 10000"/>
                    <a:gd name="connsiteX125" fmla="*/ 4611 w 10000"/>
                    <a:gd name="connsiteY125" fmla="*/ 1420 h 10000"/>
                    <a:gd name="connsiteX126" fmla="*/ 4778 w 10000"/>
                    <a:gd name="connsiteY126" fmla="*/ 1329 h 10000"/>
                    <a:gd name="connsiteX127" fmla="*/ 5000 w 10000"/>
                    <a:gd name="connsiteY127" fmla="*/ 1254 h 10000"/>
                    <a:gd name="connsiteX128" fmla="*/ 5000 w 10000"/>
                    <a:gd name="connsiteY128" fmla="*/ 1254 h 10000"/>
                    <a:gd name="connsiteX129" fmla="*/ 5556 w 10000"/>
                    <a:gd name="connsiteY129" fmla="*/ 1103 h 10000"/>
                    <a:gd name="connsiteX130" fmla="*/ 6111 w 10000"/>
                    <a:gd name="connsiteY130" fmla="*/ 907 h 10000"/>
                    <a:gd name="connsiteX131" fmla="*/ 6667 w 10000"/>
                    <a:gd name="connsiteY131" fmla="*/ 725 h 10000"/>
                    <a:gd name="connsiteX132" fmla="*/ 7056 w 10000"/>
                    <a:gd name="connsiteY132" fmla="*/ 559 h 10000"/>
                    <a:gd name="connsiteX133" fmla="*/ 7056 w 10000"/>
                    <a:gd name="connsiteY133" fmla="*/ 559 h 10000"/>
                    <a:gd name="connsiteX134" fmla="*/ 7333 w 10000"/>
                    <a:gd name="connsiteY134" fmla="*/ 408 h 10000"/>
                    <a:gd name="connsiteX135" fmla="*/ 7667 w 10000"/>
                    <a:gd name="connsiteY135" fmla="*/ 227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45 h 10000"/>
                    <a:gd name="connsiteX144" fmla="*/ 10000 w 10000"/>
                    <a:gd name="connsiteY144" fmla="*/ 9245 h 10000"/>
                    <a:gd name="connsiteX145" fmla="*/ 9722 w 10000"/>
                    <a:gd name="connsiteY145" fmla="*/ 9230 h 10000"/>
                    <a:gd name="connsiteX146" fmla="*/ 9389 w 10000"/>
                    <a:gd name="connsiteY146" fmla="*/ 9245 h 10000"/>
                    <a:gd name="connsiteX147" fmla="*/ 9389 w 10000"/>
                    <a:gd name="connsiteY147" fmla="*/ 9245 h 10000"/>
                    <a:gd name="connsiteX148" fmla="*/ 9278 w 10000"/>
                    <a:gd name="connsiteY148" fmla="*/ 9260 h 10000"/>
                    <a:gd name="connsiteX149" fmla="*/ 9056 w 10000"/>
                    <a:gd name="connsiteY149" fmla="*/ 9245 h 10000"/>
                    <a:gd name="connsiteX150" fmla="*/ 8889 w 10000"/>
                    <a:gd name="connsiteY150" fmla="*/ 9230 h 10000"/>
                    <a:gd name="connsiteX151" fmla="*/ 8722 w 10000"/>
                    <a:gd name="connsiteY151" fmla="*/ 9199 h 10000"/>
                    <a:gd name="connsiteX152" fmla="*/ 8611 w 10000"/>
                    <a:gd name="connsiteY152" fmla="*/ 9155 h 10000"/>
                    <a:gd name="connsiteX153" fmla="*/ 8444 w 10000"/>
                    <a:gd name="connsiteY153" fmla="*/ 9079 h 10000"/>
                    <a:gd name="connsiteX154" fmla="*/ 8444 w 10000"/>
                    <a:gd name="connsiteY154" fmla="*/ 9079 h 10000"/>
                    <a:gd name="connsiteX155" fmla="*/ 8222 w 10000"/>
                    <a:gd name="connsiteY155" fmla="*/ 8943 h 10000"/>
                    <a:gd name="connsiteX156" fmla="*/ 8111 w 10000"/>
                    <a:gd name="connsiteY156" fmla="*/ 8882 h 10000"/>
                    <a:gd name="connsiteX157" fmla="*/ 7944 w 10000"/>
                    <a:gd name="connsiteY157" fmla="*/ 8837 h 10000"/>
                    <a:gd name="connsiteX158" fmla="*/ 7778 w 10000"/>
                    <a:gd name="connsiteY158" fmla="*/ 8807 h 10000"/>
                    <a:gd name="connsiteX159" fmla="*/ 7556 w 10000"/>
                    <a:gd name="connsiteY159" fmla="*/ 8791 h 10000"/>
                    <a:gd name="connsiteX160" fmla="*/ 7333 w 10000"/>
                    <a:gd name="connsiteY160" fmla="*/ 8777 h 10000"/>
                    <a:gd name="connsiteX161" fmla="*/ 7000 w 10000"/>
                    <a:gd name="connsiteY161" fmla="*/ 8761 h 10000"/>
                    <a:gd name="connsiteX162" fmla="*/ 7000 w 10000"/>
                    <a:gd name="connsiteY162" fmla="*/ 8761 h 10000"/>
                    <a:gd name="connsiteX163" fmla="*/ 6556 w 10000"/>
                    <a:gd name="connsiteY163" fmla="*/ 8777 h 10000"/>
                    <a:gd name="connsiteX164" fmla="*/ 6222 w 10000"/>
                    <a:gd name="connsiteY164" fmla="*/ 8777 h 10000"/>
                    <a:gd name="connsiteX165" fmla="*/ 6111 w 10000"/>
                    <a:gd name="connsiteY165" fmla="*/ 8761 h 10000"/>
                    <a:gd name="connsiteX166" fmla="*/ 6056 w 10000"/>
                    <a:gd name="connsiteY166" fmla="*/ 8746 h 10000"/>
                    <a:gd name="connsiteX167" fmla="*/ 6056 w 10000"/>
                    <a:gd name="connsiteY167" fmla="*/ 8746 h 10000"/>
                    <a:gd name="connsiteX168" fmla="*/ 6056 w 10000"/>
                    <a:gd name="connsiteY168" fmla="*/ 8475 h 10000"/>
                    <a:gd name="connsiteX169" fmla="*/ 6056 w 10000"/>
                    <a:gd name="connsiteY169" fmla="*/ 8475 h 10000"/>
                    <a:gd name="connsiteX170" fmla="*/ 6056 w 10000"/>
                    <a:gd name="connsiteY170" fmla="*/ 8414 h 10000"/>
                    <a:gd name="connsiteX171" fmla="*/ 5944 w 10000"/>
                    <a:gd name="connsiteY171" fmla="*/ 8339 h 10000"/>
                    <a:gd name="connsiteX172" fmla="*/ 5889 w 10000"/>
                    <a:gd name="connsiteY172" fmla="*/ 8324 h 10000"/>
                    <a:gd name="connsiteX173" fmla="*/ 5778 w 10000"/>
                    <a:gd name="connsiteY173" fmla="*/ 8308 h 10000"/>
                    <a:gd name="connsiteX174" fmla="*/ 5667 w 10000"/>
                    <a:gd name="connsiteY174" fmla="*/ 8308 h 10000"/>
                    <a:gd name="connsiteX175" fmla="*/ 5500 w 10000"/>
                    <a:gd name="connsiteY175" fmla="*/ 8324 h 10000"/>
                    <a:gd name="connsiteX176" fmla="*/ 5500 w 10000"/>
                    <a:gd name="connsiteY176" fmla="*/ 8324 h 10000"/>
                    <a:gd name="connsiteX177" fmla="*/ 4889 w 10000"/>
                    <a:gd name="connsiteY177" fmla="*/ 8429 h 10000"/>
                    <a:gd name="connsiteX178" fmla="*/ 4611 w 10000"/>
                    <a:gd name="connsiteY178" fmla="*/ 8458 h 10000"/>
                    <a:gd name="connsiteX179" fmla="*/ 4556 w 10000"/>
                    <a:gd name="connsiteY179" fmla="*/ 8475 h 10000"/>
                    <a:gd name="connsiteX180" fmla="*/ 4500 w 10000"/>
                    <a:gd name="connsiteY180" fmla="*/ 8458 h 10000"/>
                    <a:gd name="connsiteX181" fmla="*/ 4500 w 10000"/>
                    <a:gd name="connsiteY181" fmla="*/ 8458 h 10000"/>
                    <a:gd name="connsiteX182" fmla="*/ 4222 w 10000"/>
                    <a:gd name="connsiteY182" fmla="*/ 8308 h 10000"/>
                    <a:gd name="connsiteX183" fmla="*/ 4222 w 10000"/>
                    <a:gd name="connsiteY183" fmla="*/ 8308 h 10000"/>
                    <a:gd name="connsiteX184" fmla="*/ 4111 w 10000"/>
                    <a:gd name="connsiteY184" fmla="*/ 8233 h 10000"/>
                    <a:gd name="connsiteX185" fmla="*/ 4111 w 10000"/>
                    <a:gd name="connsiteY185" fmla="*/ 8187 h 10000"/>
                    <a:gd name="connsiteX186" fmla="*/ 4111 w 10000"/>
                    <a:gd name="connsiteY186" fmla="*/ 8142 h 10000"/>
                    <a:gd name="connsiteX187" fmla="*/ 4111 w 10000"/>
                    <a:gd name="connsiteY187" fmla="*/ 8142 h 10000"/>
                    <a:gd name="connsiteX188" fmla="*/ 4278 w 10000"/>
                    <a:gd name="connsiteY188" fmla="*/ 8096 h 10000"/>
                    <a:gd name="connsiteX189" fmla="*/ 4389 w 10000"/>
                    <a:gd name="connsiteY189" fmla="*/ 8081 h 10000"/>
                    <a:gd name="connsiteX190" fmla="*/ 4389 w 10000"/>
                    <a:gd name="connsiteY190" fmla="*/ 8081 h 10000"/>
                    <a:gd name="connsiteX191" fmla="*/ 4000 w 10000"/>
                    <a:gd name="connsiteY191" fmla="*/ 8081 h 10000"/>
                    <a:gd name="connsiteX192" fmla="*/ 3722 w 10000"/>
                    <a:gd name="connsiteY192" fmla="*/ 8096 h 10000"/>
                    <a:gd name="connsiteX193" fmla="*/ 3611 w 10000"/>
                    <a:gd name="connsiteY193" fmla="*/ 8112 h 10000"/>
                    <a:gd name="connsiteX194" fmla="*/ 3556 w 10000"/>
                    <a:gd name="connsiteY194" fmla="*/ 8127 h 10000"/>
                    <a:gd name="connsiteX195" fmla="*/ 3556 w 10000"/>
                    <a:gd name="connsiteY195" fmla="*/ 8127 h 10000"/>
                    <a:gd name="connsiteX196" fmla="*/ 3444 w 10000"/>
                    <a:gd name="connsiteY196" fmla="*/ 8187 h 10000"/>
                    <a:gd name="connsiteX197" fmla="*/ 3278 w 10000"/>
                    <a:gd name="connsiteY197" fmla="*/ 8278 h 10000"/>
                    <a:gd name="connsiteX198" fmla="*/ 3000 w 10000"/>
                    <a:gd name="connsiteY198" fmla="*/ 8384 h 10000"/>
                    <a:gd name="connsiteX199" fmla="*/ 2667 w 10000"/>
                    <a:gd name="connsiteY199" fmla="*/ 8458 h 10000"/>
                    <a:gd name="connsiteX200" fmla="*/ 2667 w 10000"/>
                    <a:gd name="connsiteY200" fmla="*/ 8458 h 10000"/>
                    <a:gd name="connsiteX201" fmla="*/ 2333 w 10000"/>
                    <a:gd name="connsiteY201" fmla="*/ 8519 h 10000"/>
                    <a:gd name="connsiteX202" fmla="*/ 1833 w 10000"/>
                    <a:gd name="connsiteY202" fmla="*/ 8580 h 10000"/>
                    <a:gd name="connsiteX203" fmla="*/ 1389 w 10000"/>
                    <a:gd name="connsiteY203" fmla="*/ 8610 h 10000"/>
                    <a:gd name="connsiteX204" fmla="*/ 889 w 10000"/>
                    <a:gd name="connsiteY204" fmla="*/ 8625 h 10000"/>
                    <a:gd name="connsiteX205" fmla="*/ 889 w 10000"/>
                    <a:gd name="connsiteY205" fmla="*/ 8625 h 10000"/>
                    <a:gd name="connsiteX206" fmla="*/ 500 w 10000"/>
                    <a:gd name="connsiteY206" fmla="*/ 8641 h 10000"/>
                    <a:gd name="connsiteX207" fmla="*/ 222 w 10000"/>
                    <a:gd name="connsiteY207" fmla="*/ 8656 h 10000"/>
                    <a:gd name="connsiteX208" fmla="*/ 0 w 10000"/>
                    <a:gd name="connsiteY208" fmla="*/ 8671 h 10000"/>
                    <a:gd name="connsiteX209" fmla="*/ 0 w 10000"/>
                    <a:gd name="connsiteY209" fmla="*/ 8671 h 10000"/>
                    <a:gd name="connsiteX210" fmla="*/ 278 w 10000"/>
                    <a:gd name="connsiteY210" fmla="*/ 8912 h 10000"/>
                    <a:gd name="connsiteX211" fmla="*/ 500 w 10000"/>
                    <a:gd name="connsiteY211" fmla="*/ 9094 h 10000"/>
                    <a:gd name="connsiteX212" fmla="*/ 722 w 10000"/>
                    <a:gd name="connsiteY212" fmla="*/ 9245 h 10000"/>
                    <a:gd name="connsiteX213" fmla="*/ 722 w 10000"/>
                    <a:gd name="connsiteY213" fmla="*/ 9245 h 10000"/>
                    <a:gd name="connsiteX214" fmla="*/ 889 w 10000"/>
                    <a:gd name="connsiteY214" fmla="*/ 9336 h 10000"/>
                    <a:gd name="connsiteX215" fmla="*/ 944 w 10000"/>
                    <a:gd name="connsiteY215" fmla="*/ 9411 h 10000"/>
                    <a:gd name="connsiteX216" fmla="*/ 1111 w 10000"/>
                    <a:gd name="connsiteY216" fmla="*/ 9486 h 10000"/>
                    <a:gd name="connsiteX217" fmla="*/ 1333 w 10000"/>
                    <a:gd name="connsiteY217" fmla="*/ 9608 h 10000"/>
                    <a:gd name="connsiteX218" fmla="*/ 1333 w 10000"/>
                    <a:gd name="connsiteY218" fmla="*/ 9608 h 10000"/>
                    <a:gd name="connsiteX219" fmla="*/ 1444 w 10000"/>
                    <a:gd name="connsiteY219" fmla="*/ 9669 h 10000"/>
                    <a:gd name="connsiteX220" fmla="*/ 1500 w 10000"/>
                    <a:gd name="connsiteY220" fmla="*/ 9713 h 10000"/>
                    <a:gd name="connsiteX221" fmla="*/ 1500 w 10000"/>
                    <a:gd name="connsiteY221" fmla="*/ 9759 h 10000"/>
                    <a:gd name="connsiteX222" fmla="*/ 1556 w 10000"/>
                    <a:gd name="connsiteY222" fmla="*/ 9774 h 10000"/>
                    <a:gd name="connsiteX223" fmla="*/ 1722 w 10000"/>
                    <a:gd name="connsiteY223" fmla="*/ 9788 h 10000"/>
                    <a:gd name="connsiteX224" fmla="*/ 5444 w 10000"/>
                    <a:gd name="connsiteY224" fmla="*/ 9954 h 10000"/>
                    <a:gd name="connsiteX225" fmla="*/ 5444 w 10000"/>
                    <a:gd name="connsiteY225" fmla="*/ 9954 h 10000"/>
                    <a:gd name="connsiteX226" fmla="*/ 5722 w 10000"/>
                    <a:gd name="connsiteY226" fmla="*/ 9985 h 10000"/>
                    <a:gd name="connsiteX227" fmla="*/ 5833 w 10000"/>
                    <a:gd name="connsiteY227" fmla="*/ 10000 h 10000"/>
                    <a:gd name="connsiteX228" fmla="*/ 10000 w 10000"/>
                    <a:gd name="connsiteY228" fmla="*/ 9230 h 10000"/>
                    <a:gd name="connsiteX0" fmla="*/ 10000 w 10000"/>
                    <a:gd name="connsiteY0" fmla="*/ 9230 h 9985"/>
                    <a:gd name="connsiteX1" fmla="*/ 10000 w 10000"/>
                    <a:gd name="connsiteY1" fmla="*/ 9230 h 9985"/>
                    <a:gd name="connsiteX2" fmla="*/ 9222 w 10000"/>
                    <a:gd name="connsiteY2" fmla="*/ 9245 h 9985"/>
                    <a:gd name="connsiteX3" fmla="*/ 8944 w 10000"/>
                    <a:gd name="connsiteY3" fmla="*/ 9245 h 9985"/>
                    <a:gd name="connsiteX4" fmla="*/ 8833 w 10000"/>
                    <a:gd name="connsiteY4" fmla="*/ 9230 h 9985"/>
                    <a:gd name="connsiteX5" fmla="*/ 8778 w 10000"/>
                    <a:gd name="connsiteY5" fmla="*/ 9214 h 9985"/>
                    <a:gd name="connsiteX6" fmla="*/ 8778 w 10000"/>
                    <a:gd name="connsiteY6" fmla="*/ 9214 h 9985"/>
                    <a:gd name="connsiteX7" fmla="*/ 8444 w 10000"/>
                    <a:gd name="connsiteY7" fmla="*/ 9033 h 9985"/>
                    <a:gd name="connsiteX8" fmla="*/ 8167 w 10000"/>
                    <a:gd name="connsiteY8" fmla="*/ 8867 h 9985"/>
                    <a:gd name="connsiteX9" fmla="*/ 8167 w 10000"/>
                    <a:gd name="connsiteY9" fmla="*/ 8867 h 9985"/>
                    <a:gd name="connsiteX10" fmla="*/ 8056 w 10000"/>
                    <a:gd name="connsiteY10" fmla="*/ 8837 h 9985"/>
                    <a:gd name="connsiteX11" fmla="*/ 7889 w 10000"/>
                    <a:gd name="connsiteY11" fmla="*/ 8807 h 9985"/>
                    <a:gd name="connsiteX12" fmla="*/ 7444 w 10000"/>
                    <a:gd name="connsiteY12" fmla="*/ 8791 h 9985"/>
                    <a:gd name="connsiteX13" fmla="*/ 6889 w 10000"/>
                    <a:gd name="connsiteY13" fmla="*/ 8777 h 9985"/>
                    <a:gd name="connsiteX14" fmla="*/ 6389 w 10000"/>
                    <a:gd name="connsiteY14" fmla="*/ 8777 h 9985"/>
                    <a:gd name="connsiteX15" fmla="*/ 6389 w 10000"/>
                    <a:gd name="connsiteY15" fmla="*/ 8777 h 9985"/>
                    <a:gd name="connsiteX16" fmla="*/ 6167 w 10000"/>
                    <a:gd name="connsiteY16" fmla="*/ 8761 h 9985"/>
                    <a:gd name="connsiteX17" fmla="*/ 6056 w 10000"/>
                    <a:gd name="connsiteY17" fmla="*/ 8732 h 9985"/>
                    <a:gd name="connsiteX18" fmla="*/ 6000 w 10000"/>
                    <a:gd name="connsiteY18" fmla="*/ 8701 h 9985"/>
                    <a:gd name="connsiteX19" fmla="*/ 6000 w 10000"/>
                    <a:gd name="connsiteY19" fmla="*/ 8641 h 9985"/>
                    <a:gd name="connsiteX20" fmla="*/ 6056 w 10000"/>
                    <a:gd name="connsiteY20" fmla="*/ 8519 h 9985"/>
                    <a:gd name="connsiteX21" fmla="*/ 6111 w 10000"/>
                    <a:gd name="connsiteY21" fmla="*/ 8458 h 9985"/>
                    <a:gd name="connsiteX22" fmla="*/ 6056 w 10000"/>
                    <a:gd name="connsiteY22" fmla="*/ 8384 h 9985"/>
                    <a:gd name="connsiteX23" fmla="*/ 6056 w 10000"/>
                    <a:gd name="connsiteY23" fmla="*/ 8384 h 9985"/>
                    <a:gd name="connsiteX24" fmla="*/ 6000 w 10000"/>
                    <a:gd name="connsiteY24" fmla="*/ 8339 h 9985"/>
                    <a:gd name="connsiteX25" fmla="*/ 5944 w 10000"/>
                    <a:gd name="connsiteY25" fmla="*/ 8308 h 9985"/>
                    <a:gd name="connsiteX26" fmla="*/ 5833 w 10000"/>
                    <a:gd name="connsiteY26" fmla="*/ 8308 h 9985"/>
                    <a:gd name="connsiteX27" fmla="*/ 5667 w 10000"/>
                    <a:gd name="connsiteY27" fmla="*/ 8324 h 9985"/>
                    <a:gd name="connsiteX28" fmla="*/ 5333 w 10000"/>
                    <a:gd name="connsiteY28" fmla="*/ 8368 h 9985"/>
                    <a:gd name="connsiteX29" fmla="*/ 4889 w 10000"/>
                    <a:gd name="connsiteY29" fmla="*/ 8444 h 9985"/>
                    <a:gd name="connsiteX30" fmla="*/ 4889 w 10000"/>
                    <a:gd name="connsiteY30" fmla="*/ 8444 h 9985"/>
                    <a:gd name="connsiteX31" fmla="*/ 4611 w 10000"/>
                    <a:gd name="connsiteY31" fmla="*/ 8458 h 9985"/>
                    <a:gd name="connsiteX32" fmla="*/ 4500 w 10000"/>
                    <a:gd name="connsiteY32" fmla="*/ 8458 h 9985"/>
                    <a:gd name="connsiteX33" fmla="*/ 4444 w 10000"/>
                    <a:gd name="connsiteY33" fmla="*/ 8444 h 9985"/>
                    <a:gd name="connsiteX34" fmla="*/ 4389 w 10000"/>
                    <a:gd name="connsiteY34" fmla="*/ 8384 h 9985"/>
                    <a:gd name="connsiteX35" fmla="*/ 4222 w 10000"/>
                    <a:gd name="connsiteY35" fmla="*/ 8308 h 9985"/>
                    <a:gd name="connsiteX36" fmla="*/ 4222 w 10000"/>
                    <a:gd name="connsiteY36" fmla="*/ 8308 h 9985"/>
                    <a:gd name="connsiteX37" fmla="*/ 4111 w 10000"/>
                    <a:gd name="connsiteY37" fmla="*/ 8263 h 9985"/>
                    <a:gd name="connsiteX38" fmla="*/ 4111 w 10000"/>
                    <a:gd name="connsiteY38" fmla="*/ 8218 h 9985"/>
                    <a:gd name="connsiteX39" fmla="*/ 4111 w 10000"/>
                    <a:gd name="connsiteY39" fmla="*/ 8187 h 9985"/>
                    <a:gd name="connsiteX40" fmla="*/ 4167 w 10000"/>
                    <a:gd name="connsiteY40" fmla="*/ 8157 h 9985"/>
                    <a:gd name="connsiteX41" fmla="*/ 4278 w 10000"/>
                    <a:gd name="connsiteY41" fmla="*/ 8096 h 9985"/>
                    <a:gd name="connsiteX42" fmla="*/ 4389 w 10000"/>
                    <a:gd name="connsiteY42" fmla="*/ 8081 h 9985"/>
                    <a:gd name="connsiteX43" fmla="*/ 4389 w 10000"/>
                    <a:gd name="connsiteY43" fmla="*/ 8081 h 9985"/>
                    <a:gd name="connsiteX44" fmla="*/ 4389 w 10000"/>
                    <a:gd name="connsiteY44" fmla="*/ 8067 h 9985"/>
                    <a:gd name="connsiteX45" fmla="*/ 4444 w 10000"/>
                    <a:gd name="connsiteY45" fmla="*/ 8052 h 9985"/>
                    <a:gd name="connsiteX46" fmla="*/ 4667 w 10000"/>
                    <a:gd name="connsiteY46" fmla="*/ 8037 h 9985"/>
                    <a:gd name="connsiteX47" fmla="*/ 5333 w 10000"/>
                    <a:gd name="connsiteY47" fmla="*/ 8006 h 9985"/>
                    <a:gd name="connsiteX48" fmla="*/ 6500 w 10000"/>
                    <a:gd name="connsiteY48" fmla="*/ 7961 h 9985"/>
                    <a:gd name="connsiteX49" fmla="*/ 6500 w 10000"/>
                    <a:gd name="connsiteY49" fmla="*/ 7961 h 9985"/>
                    <a:gd name="connsiteX50" fmla="*/ 7167 w 10000"/>
                    <a:gd name="connsiteY50" fmla="*/ 7915 h 9985"/>
                    <a:gd name="connsiteX51" fmla="*/ 8389 w 10000"/>
                    <a:gd name="connsiteY51" fmla="*/ 7825 h 9985"/>
                    <a:gd name="connsiteX52" fmla="*/ 8389 w 10000"/>
                    <a:gd name="connsiteY52" fmla="*/ 7825 h 9985"/>
                    <a:gd name="connsiteX53" fmla="*/ 8667 w 10000"/>
                    <a:gd name="connsiteY53" fmla="*/ 7794 h 9985"/>
                    <a:gd name="connsiteX54" fmla="*/ 8778 w 10000"/>
                    <a:gd name="connsiteY54" fmla="*/ 7749 h 9985"/>
                    <a:gd name="connsiteX55" fmla="*/ 8889 w 10000"/>
                    <a:gd name="connsiteY55" fmla="*/ 7719 h 9985"/>
                    <a:gd name="connsiteX56" fmla="*/ 8833 w 10000"/>
                    <a:gd name="connsiteY56" fmla="*/ 7689 h 9985"/>
                    <a:gd name="connsiteX57" fmla="*/ 8833 w 10000"/>
                    <a:gd name="connsiteY57" fmla="*/ 7659 h 9985"/>
                    <a:gd name="connsiteX58" fmla="*/ 8722 w 10000"/>
                    <a:gd name="connsiteY58" fmla="*/ 7628 h 9985"/>
                    <a:gd name="connsiteX59" fmla="*/ 8556 w 10000"/>
                    <a:gd name="connsiteY59" fmla="*/ 7583 h 9985"/>
                    <a:gd name="connsiteX60" fmla="*/ 8556 w 10000"/>
                    <a:gd name="connsiteY60" fmla="*/ 7583 h 9985"/>
                    <a:gd name="connsiteX61" fmla="*/ 6556 w 10000"/>
                    <a:gd name="connsiteY61" fmla="*/ 7311 h 9985"/>
                    <a:gd name="connsiteX62" fmla="*/ 6556 w 10000"/>
                    <a:gd name="connsiteY62" fmla="*/ 7311 h 9985"/>
                    <a:gd name="connsiteX63" fmla="*/ 6333 w 10000"/>
                    <a:gd name="connsiteY63" fmla="*/ 7266 h 9985"/>
                    <a:gd name="connsiteX64" fmla="*/ 6167 w 10000"/>
                    <a:gd name="connsiteY64" fmla="*/ 7221 h 9985"/>
                    <a:gd name="connsiteX65" fmla="*/ 6056 w 10000"/>
                    <a:gd name="connsiteY65" fmla="*/ 7176 h 9985"/>
                    <a:gd name="connsiteX66" fmla="*/ 6056 w 10000"/>
                    <a:gd name="connsiteY66" fmla="*/ 7176 h 9985"/>
                    <a:gd name="connsiteX67" fmla="*/ 8056 w 10000"/>
                    <a:gd name="connsiteY67" fmla="*/ 7160 h 9985"/>
                    <a:gd name="connsiteX68" fmla="*/ 10000 w 10000"/>
                    <a:gd name="connsiteY68" fmla="*/ 7311 h 9985"/>
                    <a:gd name="connsiteX69" fmla="*/ 10000 w 10000"/>
                    <a:gd name="connsiteY69" fmla="*/ 5937 h 9985"/>
                    <a:gd name="connsiteX70" fmla="*/ 10000 w 10000"/>
                    <a:gd name="connsiteY70" fmla="*/ 5937 h 9985"/>
                    <a:gd name="connsiteX71" fmla="*/ 7778 w 10000"/>
                    <a:gd name="connsiteY71" fmla="*/ 5619 h 9985"/>
                    <a:gd name="connsiteX72" fmla="*/ 6556 w 10000"/>
                    <a:gd name="connsiteY72" fmla="*/ 5438 h 9985"/>
                    <a:gd name="connsiteX73" fmla="*/ 6556 w 10000"/>
                    <a:gd name="connsiteY73" fmla="*/ 5438 h 9985"/>
                    <a:gd name="connsiteX74" fmla="*/ 6556 w 10000"/>
                    <a:gd name="connsiteY74" fmla="*/ 5423 h 9985"/>
                    <a:gd name="connsiteX75" fmla="*/ 6556 w 10000"/>
                    <a:gd name="connsiteY75" fmla="*/ 5332 h 9985"/>
                    <a:gd name="connsiteX76" fmla="*/ 6556 w 10000"/>
                    <a:gd name="connsiteY76" fmla="*/ 5332 h 9985"/>
                    <a:gd name="connsiteX77" fmla="*/ 6389 w 10000"/>
                    <a:gd name="connsiteY77" fmla="*/ 5227 h 9985"/>
                    <a:gd name="connsiteX78" fmla="*/ 6056 w 10000"/>
                    <a:gd name="connsiteY78" fmla="*/ 5061 h 9985"/>
                    <a:gd name="connsiteX79" fmla="*/ 5333 w 10000"/>
                    <a:gd name="connsiteY79" fmla="*/ 4743 h 9985"/>
                    <a:gd name="connsiteX80" fmla="*/ 5333 w 10000"/>
                    <a:gd name="connsiteY80" fmla="*/ 4743 h 9985"/>
                    <a:gd name="connsiteX81" fmla="*/ 5167 w 10000"/>
                    <a:gd name="connsiteY81" fmla="*/ 4698 h 9985"/>
                    <a:gd name="connsiteX82" fmla="*/ 4889 w 10000"/>
                    <a:gd name="connsiteY82" fmla="*/ 4637 h 9985"/>
                    <a:gd name="connsiteX83" fmla="*/ 4056 w 10000"/>
                    <a:gd name="connsiteY83" fmla="*/ 4501 h 9985"/>
                    <a:gd name="connsiteX84" fmla="*/ 2889 w 10000"/>
                    <a:gd name="connsiteY84" fmla="*/ 4335 h 9985"/>
                    <a:gd name="connsiteX85" fmla="*/ 2889 w 10000"/>
                    <a:gd name="connsiteY85" fmla="*/ 4335 h 9985"/>
                    <a:gd name="connsiteX86" fmla="*/ 2389 w 10000"/>
                    <a:gd name="connsiteY86" fmla="*/ 4320 h 9985"/>
                    <a:gd name="connsiteX87" fmla="*/ 2000 w 10000"/>
                    <a:gd name="connsiteY87" fmla="*/ 4305 h 9985"/>
                    <a:gd name="connsiteX88" fmla="*/ 1889 w 10000"/>
                    <a:gd name="connsiteY88" fmla="*/ 4290 h 9985"/>
                    <a:gd name="connsiteX89" fmla="*/ 1778 w 10000"/>
                    <a:gd name="connsiteY89" fmla="*/ 4275 h 9985"/>
                    <a:gd name="connsiteX90" fmla="*/ 1778 w 10000"/>
                    <a:gd name="connsiteY90" fmla="*/ 4275 h 9985"/>
                    <a:gd name="connsiteX91" fmla="*/ 1667 w 10000"/>
                    <a:gd name="connsiteY91" fmla="*/ 4214 h 9985"/>
                    <a:gd name="connsiteX92" fmla="*/ 1500 w 10000"/>
                    <a:gd name="connsiteY92" fmla="*/ 4109 h 9985"/>
                    <a:gd name="connsiteX93" fmla="*/ 1444 w 10000"/>
                    <a:gd name="connsiteY93" fmla="*/ 4048 h 9985"/>
                    <a:gd name="connsiteX94" fmla="*/ 1444 w 10000"/>
                    <a:gd name="connsiteY94" fmla="*/ 3987 h 9985"/>
                    <a:gd name="connsiteX95" fmla="*/ 1444 w 10000"/>
                    <a:gd name="connsiteY95" fmla="*/ 3943 h 9985"/>
                    <a:gd name="connsiteX96" fmla="*/ 1556 w 10000"/>
                    <a:gd name="connsiteY96" fmla="*/ 3897 h 9985"/>
                    <a:gd name="connsiteX97" fmla="*/ 1556 w 10000"/>
                    <a:gd name="connsiteY97" fmla="*/ 3897 h 9985"/>
                    <a:gd name="connsiteX98" fmla="*/ 1833 w 10000"/>
                    <a:gd name="connsiteY98" fmla="*/ 3821 h 9985"/>
                    <a:gd name="connsiteX99" fmla="*/ 2111 w 10000"/>
                    <a:gd name="connsiteY99" fmla="*/ 3746 h 9985"/>
                    <a:gd name="connsiteX100" fmla="*/ 2278 w 10000"/>
                    <a:gd name="connsiteY100" fmla="*/ 3701 h 9985"/>
                    <a:gd name="connsiteX101" fmla="*/ 2389 w 10000"/>
                    <a:gd name="connsiteY101" fmla="*/ 3656 h 9985"/>
                    <a:gd name="connsiteX102" fmla="*/ 2389 w 10000"/>
                    <a:gd name="connsiteY102" fmla="*/ 3595 h 9985"/>
                    <a:gd name="connsiteX103" fmla="*/ 2389 w 10000"/>
                    <a:gd name="connsiteY103" fmla="*/ 3520 h 9985"/>
                    <a:gd name="connsiteX104" fmla="*/ 2389 w 10000"/>
                    <a:gd name="connsiteY104" fmla="*/ 3520 h 9985"/>
                    <a:gd name="connsiteX105" fmla="*/ 2167 w 10000"/>
                    <a:gd name="connsiteY105" fmla="*/ 3308 h 9985"/>
                    <a:gd name="connsiteX106" fmla="*/ 1889 w 10000"/>
                    <a:gd name="connsiteY106" fmla="*/ 3021 h 9985"/>
                    <a:gd name="connsiteX107" fmla="*/ 1667 w 10000"/>
                    <a:gd name="connsiteY107" fmla="*/ 2764 h 9985"/>
                    <a:gd name="connsiteX108" fmla="*/ 1611 w 10000"/>
                    <a:gd name="connsiteY108" fmla="*/ 2689 h 9985"/>
                    <a:gd name="connsiteX109" fmla="*/ 1611 w 10000"/>
                    <a:gd name="connsiteY109" fmla="*/ 2659 h 9985"/>
                    <a:gd name="connsiteX110" fmla="*/ 1667 w 10000"/>
                    <a:gd name="connsiteY110" fmla="*/ 2643 h 9985"/>
                    <a:gd name="connsiteX111" fmla="*/ 1667 w 10000"/>
                    <a:gd name="connsiteY111" fmla="*/ 2643 h 9985"/>
                    <a:gd name="connsiteX112" fmla="*/ 2000 w 10000"/>
                    <a:gd name="connsiteY112" fmla="*/ 2629 h 9985"/>
                    <a:gd name="connsiteX113" fmla="*/ 2222 w 10000"/>
                    <a:gd name="connsiteY113" fmla="*/ 2629 h 9985"/>
                    <a:gd name="connsiteX114" fmla="*/ 2389 w 10000"/>
                    <a:gd name="connsiteY114" fmla="*/ 2643 h 9985"/>
                    <a:gd name="connsiteX115" fmla="*/ 2389 w 10000"/>
                    <a:gd name="connsiteY115" fmla="*/ 2643 h 9985"/>
                    <a:gd name="connsiteX116" fmla="*/ 2444 w 10000"/>
                    <a:gd name="connsiteY116" fmla="*/ 2643 h 9985"/>
                    <a:gd name="connsiteX117" fmla="*/ 2500 w 10000"/>
                    <a:gd name="connsiteY117" fmla="*/ 2613 h 9985"/>
                    <a:gd name="connsiteX118" fmla="*/ 2778 w 10000"/>
                    <a:gd name="connsiteY118" fmla="*/ 2522 h 9985"/>
                    <a:gd name="connsiteX119" fmla="*/ 3500 w 10000"/>
                    <a:gd name="connsiteY119" fmla="*/ 2221 h 9985"/>
                    <a:gd name="connsiteX120" fmla="*/ 4444 w 10000"/>
                    <a:gd name="connsiteY120" fmla="*/ 1783 h 9985"/>
                    <a:gd name="connsiteX121" fmla="*/ 4444 w 10000"/>
                    <a:gd name="connsiteY121" fmla="*/ 1783 h 9985"/>
                    <a:gd name="connsiteX122" fmla="*/ 4444 w 10000"/>
                    <a:gd name="connsiteY122" fmla="*/ 1722 h 9985"/>
                    <a:gd name="connsiteX123" fmla="*/ 4444 w 10000"/>
                    <a:gd name="connsiteY123" fmla="*/ 1585 h 9985"/>
                    <a:gd name="connsiteX124" fmla="*/ 4500 w 10000"/>
                    <a:gd name="connsiteY124" fmla="*/ 1495 h 9985"/>
                    <a:gd name="connsiteX125" fmla="*/ 4611 w 10000"/>
                    <a:gd name="connsiteY125" fmla="*/ 1420 h 9985"/>
                    <a:gd name="connsiteX126" fmla="*/ 4778 w 10000"/>
                    <a:gd name="connsiteY126" fmla="*/ 1329 h 9985"/>
                    <a:gd name="connsiteX127" fmla="*/ 5000 w 10000"/>
                    <a:gd name="connsiteY127" fmla="*/ 1254 h 9985"/>
                    <a:gd name="connsiteX128" fmla="*/ 5000 w 10000"/>
                    <a:gd name="connsiteY128" fmla="*/ 1254 h 9985"/>
                    <a:gd name="connsiteX129" fmla="*/ 5556 w 10000"/>
                    <a:gd name="connsiteY129" fmla="*/ 1103 h 9985"/>
                    <a:gd name="connsiteX130" fmla="*/ 6111 w 10000"/>
                    <a:gd name="connsiteY130" fmla="*/ 907 h 9985"/>
                    <a:gd name="connsiteX131" fmla="*/ 6667 w 10000"/>
                    <a:gd name="connsiteY131" fmla="*/ 725 h 9985"/>
                    <a:gd name="connsiteX132" fmla="*/ 7056 w 10000"/>
                    <a:gd name="connsiteY132" fmla="*/ 559 h 9985"/>
                    <a:gd name="connsiteX133" fmla="*/ 7056 w 10000"/>
                    <a:gd name="connsiteY133" fmla="*/ 559 h 9985"/>
                    <a:gd name="connsiteX134" fmla="*/ 7333 w 10000"/>
                    <a:gd name="connsiteY134" fmla="*/ 408 h 9985"/>
                    <a:gd name="connsiteX135" fmla="*/ 7667 w 10000"/>
                    <a:gd name="connsiteY135" fmla="*/ 227 h 9985"/>
                    <a:gd name="connsiteX136" fmla="*/ 8000 w 10000"/>
                    <a:gd name="connsiteY136" fmla="*/ 90 h 9985"/>
                    <a:gd name="connsiteX137" fmla="*/ 8167 w 10000"/>
                    <a:gd name="connsiteY137" fmla="*/ 29 h 9985"/>
                    <a:gd name="connsiteX138" fmla="*/ 8333 w 10000"/>
                    <a:gd name="connsiteY138" fmla="*/ 15 h 9985"/>
                    <a:gd name="connsiteX139" fmla="*/ 8333 w 10000"/>
                    <a:gd name="connsiteY139" fmla="*/ 15 h 9985"/>
                    <a:gd name="connsiteX140" fmla="*/ 8667 w 10000"/>
                    <a:gd name="connsiteY140" fmla="*/ 0 h 9985"/>
                    <a:gd name="connsiteX141" fmla="*/ 9111 w 10000"/>
                    <a:gd name="connsiteY141" fmla="*/ 0 h 9985"/>
                    <a:gd name="connsiteX142" fmla="*/ 10000 w 10000"/>
                    <a:gd name="connsiteY142" fmla="*/ 15 h 9985"/>
                    <a:gd name="connsiteX143" fmla="*/ 10000 w 10000"/>
                    <a:gd name="connsiteY143" fmla="*/ 9245 h 9985"/>
                    <a:gd name="connsiteX144" fmla="*/ 10000 w 10000"/>
                    <a:gd name="connsiteY144" fmla="*/ 9245 h 9985"/>
                    <a:gd name="connsiteX145" fmla="*/ 9722 w 10000"/>
                    <a:gd name="connsiteY145" fmla="*/ 9230 h 9985"/>
                    <a:gd name="connsiteX146" fmla="*/ 9389 w 10000"/>
                    <a:gd name="connsiteY146" fmla="*/ 9245 h 9985"/>
                    <a:gd name="connsiteX147" fmla="*/ 9389 w 10000"/>
                    <a:gd name="connsiteY147" fmla="*/ 9245 h 9985"/>
                    <a:gd name="connsiteX148" fmla="*/ 9278 w 10000"/>
                    <a:gd name="connsiteY148" fmla="*/ 9260 h 9985"/>
                    <a:gd name="connsiteX149" fmla="*/ 9056 w 10000"/>
                    <a:gd name="connsiteY149" fmla="*/ 9245 h 9985"/>
                    <a:gd name="connsiteX150" fmla="*/ 8889 w 10000"/>
                    <a:gd name="connsiteY150" fmla="*/ 9230 h 9985"/>
                    <a:gd name="connsiteX151" fmla="*/ 8722 w 10000"/>
                    <a:gd name="connsiteY151" fmla="*/ 9199 h 9985"/>
                    <a:gd name="connsiteX152" fmla="*/ 8611 w 10000"/>
                    <a:gd name="connsiteY152" fmla="*/ 9155 h 9985"/>
                    <a:gd name="connsiteX153" fmla="*/ 8444 w 10000"/>
                    <a:gd name="connsiteY153" fmla="*/ 9079 h 9985"/>
                    <a:gd name="connsiteX154" fmla="*/ 8444 w 10000"/>
                    <a:gd name="connsiteY154" fmla="*/ 9079 h 9985"/>
                    <a:gd name="connsiteX155" fmla="*/ 8222 w 10000"/>
                    <a:gd name="connsiteY155" fmla="*/ 8943 h 9985"/>
                    <a:gd name="connsiteX156" fmla="*/ 8111 w 10000"/>
                    <a:gd name="connsiteY156" fmla="*/ 8882 h 9985"/>
                    <a:gd name="connsiteX157" fmla="*/ 7944 w 10000"/>
                    <a:gd name="connsiteY157" fmla="*/ 8837 h 9985"/>
                    <a:gd name="connsiteX158" fmla="*/ 7778 w 10000"/>
                    <a:gd name="connsiteY158" fmla="*/ 8807 h 9985"/>
                    <a:gd name="connsiteX159" fmla="*/ 7556 w 10000"/>
                    <a:gd name="connsiteY159" fmla="*/ 8791 h 9985"/>
                    <a:gd name="connsiteX160" fmla="*/ 7333 w 10000"/>
                    <a:gd name="connsiteY160" fmla="*/ 8777 h 9985"/>
                    <a:gd name="connsiteX161" fmla="*/ 7000 w 10000"/>
                    <a:gd name="connsiteY161" fmla="*/ 8761 h 9985"/>
                    <a:gd name="connsiteX162" fmla="*/ 7000 w 10000"/>
                    <a:gd name="connsiteY162" fmla="*/ 8761 h 9985"/>
                    <a:gd name="connsiteX163" fmla="*/ 6556 w 10000"/>
                    <a:gd name="connsiteY163" fmla="*/ 8777 h 9985"/>
                    <a:gd name="connsiteX164" fmla="*/ 6222 w 10000"/>
                    <a:gd name="connsiteY164" fmla="*/ 8777 h 9985"/>
                    <a:gd name="connsiteX165" fmla="*/ 6111 w 10000"/>
                    <a:gd name="connsiteY165" fmla="*/ 8761 h 9985"/>
                    <a:gd name="connsiteX166" fmla="*/ 6056 w 10000"/>
                    <a:gd name="connsiteY166" fmla="*/ 8746 h 9985"/>
                    <a:gd name="connsiteX167" fmla="*/ 6056 w 10000"/>
                    <a:gd name="connsiteY167" fmla="*/ 8746 h 9985"/>
                    <a:gd name="connsiteX168" fmla="*/ 6056 w 10000"/>
                    <a:gd name="connsiteY168" fmla="*/ 8475 h 9985"/>
                    <a:gd name="connsiteX169" fmla="*/ 6056 w 10000"/>
                    <a:gd name="connsiteY169" fmla="*/ 8475 h 9985"/>
                    <a:gd name="connsiteX170" fmla="*/ 6056 w 10000"/>
                    <a:gd name="connsiteY170" fmla="*/ 8414 h 9985"/>
                    <a:gd name="connsiteX171" fmla="*/ 5944 w 10000"/>
                    <a:gd name="connsiteY171" fmla="*/ 8339 h 9985"/>
                    <a:gd name="connsiteX172" fmla="*/ 5889 w 10000"/>
                    <a:gd name="connsiteY172" fmla="*/ 8324 h 9985"/>
                    <a:gd name="connsiteX173" fmla="*/ 5778 w 10000"/>
                    <a:gd name="connsiteY173" fmla="*/ 8308 h 9985"/>
                    <a:gd name="connsiteX174" fmla="*/ 5667 w 10000"/>
                    <a:gd name="connsiteY174" fmla="*/ 8308 h 9985"/>
                    <a:gd name="connsiteX175" fmla="*/ 5500 w 10000"/>
                    <a:gd name="connsiteY175" fmla="*/ 8324 h 9985"/>
                    <a:gd name="connsiteX176" fmla="*/ 5500 w 10000"/>
                    <a:gd name="connsiteY176" fmla="*/ 8324 h 9985"/>
                    <a:gd name="connsiteX177" fmla="*/ 4889 w 10000"/>
                    <a:gd name="connsiteY177" fmla="*/ 8429 h 9985"/>
                    <a:gd name="connsiteX178" fmla="*/ 4611 w 10000"/>
                    <a:gd name="connsiteY178" fmla="*/ 8458 h 9985"/>
                    <a:gd name="connsiteX179" fmla="*/ 4556 w 10000"/>
                    <a:gd name="connsiteY179" fmla="*/ 8475 h 9985"/>
                    <a:gd name="connsiteX180" fmla="*/ 4500 w 10000"/>
                    <a:gd name="connsiteY180" fmla="*/ 8458 h 9985"/>
                    <a:gd name="connsiteX181" fmla="*/ 4500 w 10000"/>
                    <a:gd name="connsiteY181" fmla="*/ 8458 h 9985"/>
                    <a:gd name="connsiteX182" fmla="*/ 4222 w 10000"/>
                    <a:gd name="connsiteY182" fmla="*/ 8308 h 9985"/>
                    <a:gd name="connsiteX183" fmla="*/ 4222 w 10000"/>
                    <a:gd name="connsiteY183" fmla="*/ 8308 h 9985"/>
                    <a:gd name="connsiteX184" fmla="*/ 4111 w 10000"/>
                    <a:gd name="connsiteY184" fmla="*/ 8233 h 9985"/>
                    <a:gd name="connsiteX185" fmla="*/ 4111 w 10000"/>
                    <a:gd name="connsiteY185" fmla="*/ 8187 h 9985"/>
                    <a:gd name="connsiteX186" fmla="*/ 4111 w 10000"/>
                    <a:gd name="connsiteY186" fmla="*/ 8142 h 9985"/>
                    <a:gd name="connsiteX187" fmla="*/ 4111 w 10000"/>
                    <a:gd name="connsiteY187" fmla="*/ 8142 h 9985"/>
                    <a:gd name="connsiteX188" fmla="*/ 4278 w 10000"/>
                    <a:gd name="connsiteY188" fmla="*/ 8096 h 9985"/>
                    <a:gd name="connsiteX189" fmla="*/ 4389 w 10000"/>
                    <a:gd name="connsiteY189" fmla="*/ 8081 h 9985"/>
                    <a:gd name="connsiteX190" fmla="*/ 4389 w 10000"/>
                    <a:gd name="connsiteY190" fmla="*/ 8081 h 9985"/>
                    <a:gd name="connsiteX191" fmla="*/ 4000 w 10000"/>
                    <a:gd name="connsiteY191" fmla="*/ 8081 h 9985"/>
                    <a:gd name="connsiteX192" fmla="*/ 3722 w 10000"/>
                    <a:gd name="connsiteY192" fmla="*/ 8096 h 9985"/>
                    <a:gd name="connsiteX193" fmla="*/ 3611 w 10000"/>
                    <a:gd name="connsiteY193" fmla="*/ 8112 h 9985"/>
                    <a:gd name="connsiteX194" fmla="*/ 3556 w 10000"/>
                    <a:gd name="connsiteY194" fmla="*/ 8127 h 9985"/>
                    <a:gd name="connsiteX195" fmla="*/ 3556 w 10000"/>
                    <a:gd name="connsiteY195" fmla="*/ 8127 h 9985"/>
                    <a:gd name="connsiteX196" fmla="*/ 3444 w 10000"/>
                    <a:gd name="connsiteY196" fmla="*/ 8187 h 9985"/>
                    <a:gd name="connsiteX197" fmla="*/ 3278 w 10000"/>
                    <a:gd name="connsiteY197" fmla="*/ 8278 h 9985"/>
                    <a:gd name="connsiteX198" fmla="*/ 3000 w 10000"/>
                    <a:gd name="connsiteY198" fmla="*/ 8384 h 9985"/>
                    <a:gd name="connsiteX199" fmla="*/ 2667 w 10000"/>
                    <a:gd name="connsiteY199" fmla="*/ 8458 h 9985"/>
                    <a:gd name="connsiteX200" fmla="*/ 2667 w 10000"/>
                    <a:gd name="connsiteY200" fmla="*/ 8458 h 9985"/>
                    <a:gd name="connsiteX201" fmla="*/ 2333 w 10000"/>
                    <a:gd name="connsiteY201" fmla="*/ 8519 h 9985"/>
                    <a:gd name="connsiteX202" fmla="*/ 1833 w 10000"/>
                    <a:gd name="connsiteY202" fmla="*/ 8580 h 9985"/>
                    <a:gd name="connsiteX203" fmla="*/ 1389 w 10000"/>
                    <a:gd name="connsiteY203" fmla="*/ 8610 h 9985"/>
                    <a:gd name="connsiteX204" fmla="*/ 889 w 10000"/>
                    <a:gd name="connsiteY204" fmla="*/ 8625 h 9985"/>
                    <a:gd name="connsiteX205" fmla="*/ 889 w 10000"/>
                    <a:gd name="connsiteY205" fmla="*/ 8625 h 9985"/>
                    <a:gd name="connsiteX206" fmla="*/ 500 w 10000"/>
                    <a:gd name="connsiteY206" fmla="*/ 8641 h 9985"/>
                    <a:gd name="connsiteX207" fmla="*/ 222 w 10000"/>
                    <a:gd name="connsiteY207" fmla="*/ 8656 h 9985"/>
                    <a:gd name="connsiteX208" fmla="*/ 0 w 10000"/>
                    <a:gd name="connsiteY208" fmla="*/ 8671 h 9985"/>
                    <a:gd name="connsiteX209" fmla="*/ 0 w 10000"/>
                    <a:gd name="connsiteY209" fmla="*/ 8671 h 9985"/>
                    <a:gd name="connsiteX210" fmla="*/ 278 w 10000"/>
                    <a:gd name="connsiteY210" fmla="*/ 8912 h 9985"/>
                    <a:gd name="connsiteX211" fmla="*/ 500 w 10000"/>
                    <a:gd name="connsiteY211" fmla="*/ 9094 h 9985"/>
                    <a:gd name="connsiteX212" fmla="*/ 722 w 10000"/>
                    <a:gd name="connsiteY212" fmla="*/ 9245 h 9985"/>
                    <a:gd name="connsiteX213" fmla="*/ 722 w 10000"/>
                    <a:gd name="connsiteY213" fmla="*/ 9245 h 9985"/>
                    <a:gd name="connsiteX214" fmla="*/ 889 w 10000"/>
                    <a:gd name="connsiteY214" fmla="*/ 9336 h 9985"/>
                    <a:gd name="connsiteX215" fmla="*/ 944 w 10000"/>
                    <a:gd name="connsiteY215" fmla="*/ 9411 h 9985"/>
                    <a:gd name="connsiteX216" fmla="*/ 1111 w 10000"/>
                    <a:gd name="connsiteY216" fmla="*/ 9486 h 9985"/>
                    <a:gd name="connsiteX217" fmla="*/ 1333 w 10000"/>
                    <a:gd name="connsiteY217" fmla="*/ 9608 h 9985"/>
                    <a:gd name="connsiteX218" fmla="*/ 1333 w 10000"/>
                    <a:gd name="connsiteY218" fmla="*/ 9608 h 9985"/>
                    <a:gd name="connsiteX219" fmla="*/ 1444 w 10000"/>
                    <a:gd name="connsiteY219" fmla="*/ 9669 h 9985"/>
                    <a:gd name="connsiteX220" fmla="*/ 1500 w 10000"/>
                    <a:gd name="connsiteY220" fmla="*/ 9713 h 9985"/>
                    <a:gd name="connsiteX221" fmla="*/ 1500 w 10000"/>
                    <a:gd name="connsiteY221" fmla="*/ 9759 h 9985"/>
                    <a:gd name="connsiteX222" fmla="*/ 1556 w 10000"/>
                    <a:gd name="connsiteY222" fmla="*/ 9774 h 9985"/>
                    <a:gd name="connsiteX223" fmla="*/ 1722 w 10000"/>
                    <a:gd name="connsiteY223" fmla="*/ 9788 h 9985"/>
                    <a:gd name="connsiteX224" fmla="*/ 5444 w 10000"/>
                    <a:gd name="connsiteY224" fmla="*/ 9954 h 9985"/>
                    <a:gd name="connsiteX225" fmla="*/ 5444 w 10000"/>
                    <a:gd name="connsiteY225" fmla="*/ 9954 h 9985"/>
                    <a:gd name="connsiteX226" fmla="*/ 5722 w 10000"/>
                    <a:gd name="connsiteY226" fmla="*/ 9985 h 9985"/>
                    <a:gd name="connsiteX227" fmla="*/ 10000 w 10000"/>
                    <a:gd name="connsiteY227" fmla="*/ 9230 h 9985"/>
                    <a:gd name="connsiteX0" fmla="*/ 10000 w 10000"/>
                    <a:gd name="connsiteY0" fmla="*/ 9244 h 9969"/>
                    <a:gd name="connsiteX1" fmla="*/ 10000 w 10000"/>
                    <a:gd name="connsiteY1" fmla="*/ 9244 h 9969"/>
                    <a:gd name="connsiteX2" fmla="*/ 9222 w 10000"/>
                    <a:gd name="connsiteY2" fmla="*/ 9259 h 9969"/>
                    <a:gd name="connsiteX3" fmla="*/ 8944 w 10000"/>
                    <a:gd name="connsiteY3" fmla="*/ 9259 h 9969"/>
                    <a:gd name="connsiteX4" fmla="*/ 8833 w 10000"/>
                    <a:gd name="connsiteY4" fmla="*/ 9244 h 9969"/>
                    <a:gd name="connsiteX5" fmla="*/ 8778 w 10000"/>
                    <a:gd name="connsiteY5" fmla="*/ 9228 h 9969"/>
                    <a:gd name="connsiteX6" fmla="*/ 8778 w 10000"/>
                    <a:gd name="connsiteY6" fmla="*/ 9228 h 9969"/>
                    <a:gd name="connsiteX7" fmla="*/ 8444 w 10000"/>
                    <a:gd name="connsiteY7" fmla="*/ 9047 h 9969"/>
                    <a:gd name="connsiteX8" fmla="*/ 8167 w 10000"/>
                    <a:gd name="connsiteY8" fmla="*/ 8880 h 9969"/>
                    <a:gd name="connsiteX9" fmla="*/ 8167 w 10000"/>
                    <a:gd name="connsiteY9" fmla="*/ 8880 h 9969"/>
                    <a:gd name="connsiteX10" fmla="*/ 8056 w 10000"/>
                    <a:gd name="connsiteY10" fmla="*/ 8850 h 9969"/>
                    <a:gd name="connsiteX11" fmla="*/ 7889 w 10000"/>
                    <a:gd name="connsiteY11" fmla="*/ 8820 h 9969"/>
                    <a:gd name="connsiteX12" fmla="*/ 7444 w 10000"/>
                    <a:gd name="connsiteY12" fmla="*/ 8804 h 9969"/>
                    <a:gd name="connsiteX13" fmla="*/ 6889 w 10000"/>
                    <a:gd name="connsiteY13" fmla="*/ 8790 h 9969"/>
                    <a:gd name="connsiteX14" fmla="*/ 6389 w 10000"/>
                    <a:gd name="connsiteY14" fmla="*/ 8790 h 9969"/>
                    <a:gd name="connsiteX15" fmla="*/ 6389 w 10000"/>
                    <a:gd name="connsiteY15" fmla="*/ 8790 h 9969"/>
                    <a:gd name="connsiteX16" fmla="*/ 6167 w 10000"/>
                    <a:gd name="connsiteY16" fmla="*/ 8774 h 9969"/>
                    <a:gd name="connsiteX17" fmla="*/ 6056 w 10000"/>
                    <a:gd name="connsiteY17" fmla="*/ 8745 h 9969"/>
                    <a:gd name="connsiteX18" fmla="*/ 6000 w 10000"/>
                    <a:gd name="connsiteY18" fmla="*/ 8714 h 9969"/>
                    <a:gd name="connsiteX19" fmla="*/ 6000 w 10000"/>
                    <a:gd name="connsiteY19" fmla="*/ 8654 h 9969"/>
                    <a:gd name="connsiteX20" fmla="*/ 6056 w 10000"/>
                    <a:gd name="connsiteY20" fmla="*/ 8532 h 9969"/>
                    <a:gd name="connsiteX21" fmla="*/ 6111 w 10000"/>
                    <a:gd name="connsiteY21" fmla="*/ 8471 h 9969"/>
                    <a:gd name="connsiteX22" fmla="*/ 6056 w 10000"/>
                    <a:gd name="connsiteY22" fmla="*/ 8397 h 9969"/>
                    <a:gd name="connsiteX23" fmla="*/ 6056 w 10000"/>
                    <a:gd name="connsiteY23" fmla="*/ 8397 h 9969"/>
                    <a:gd name="connsiteX24" fmla="*/ 6000 w 10000"/>
                    <a:gd name="connsiteY24" fmla="*/ 8352 h 9969"/>
                    <a:gd name="connsiteX25" fmla="*/ 5944 w 10000"/>
                    <a:gd name="connsiteY25" fmla="*/ 8320 h 9969"/>
                    <a:gd name="connsiteX26" fmla="*/ 5833 w 10000"/>
                    <a:gd name="connsiteY26" fmla="*/ 8320 h 9969"/>
                    <a:gd name="connsiteX27" fmla="*/ 5667 w 10000"/>
                    <a:gd name="connsiteY27" fmla="*/ 8337 h 9969"/>
                    <a:gd name="connsiteX28" fmla="*/ 5333 w 10000"/>
                    <a:gd name="connsiteY28" fmla="*/ 8381 h 9969"/>
                    <a:gd name="connsiteX29" fmla="*/ 4889 w 10000"/>
                    <a:gd name="connsiteY29" fmla="*/ 8457 h 9969"/>
                    <a:gd name="connsiteX30" fmla="*/ 4889 w 10000"/>
                    <a:gd name="connsiteY30" fmla="*/ 8457 h 9969"/>
                    <a:gd name="connsiteX31" fmla="*/ 4611 w 10000"/>
                    <a:gd name="connsiteY31" fmla="*/ 8471 h 9969"/>
                    <a:gd name="connsiteX32" fmla="*/ 4500 w 10000"/>
                    <a:gd name="connsiteY32" fmla="*/ 8471 h 9969"/>
                    <a:gd name="connsiteX33" fmla="*/ 4444 w 10000"/>
                    <a:gd name="connsiteY33" fmla="*/ 8457 h 9969"/>
                    <a:gd name="connsiteX34" fmla="*/ 4389 w 10000"/>
                    <a:gd name="connsiteY34" fmla="*/ 8397 h 9969"/>
                    <a:gd name="connsiteX35" fmla="*/ 4222 w 10000"/>
                    <a:gd name="connsiteY35" fmla="*/ 8320 h 9969"/>
                    <a:gd name="connsiteX36" fmla="*/ 4222 w 10000"/>
                    <a:gd name="connsiteY36" fmla="*/ 8320 h 9969"/>
                    <a:gd name="connsiteX37" fmla="*/ 4111 w 10000"/>
                    <a:gd name="connsiteY37" fmla="*/ 8275 h 9969"/>
                    <a:gd name="connsiteX38" fmla="*/ 4111 w 10000"/>
                    <a:gd name="connsiteY38" fmla="*/ 8230 h 9969"/>
                    <a:gd name="connsiteX39" fmla="*/ 4111 w 10000"/>
                    <a:gd name="connsiteY39" fmla="*/ 8199 h 9969"/>
                    <a:gd name="connsiteX40" fmla="*/ 4167 w 10000"/>
                    <a:gd name="connsiteY40" fmla="*/ 8169 h 9969"/>
                    <a:gd name="connsiteX41" fmla="*/ 4278 w 10000"/>
                    <a:gd name="connsiteY41" fmla="*/ 8108 h 9969"/>
                    <a:gd name="connsiteX42" fmla="*/ 4389 w 10000"/>
                    <a:gd name="connsiteY42" fmla="*/ 8093 h 9969"/>
                    <a:gd name="connsiteX43" fmla="*/ 4389 w 10000"/>
                    <a:gd name="connsiteY43" fmla="*/ 8093 h 9969"/>
                    <a:gd name="connsiteX44" fmla="*/ 4389 w 10000"/>
                    <a:gd name="connsiteY44" fmla="*/ 8079 h 9969"/>
                    <a:gd name="connsiteX45" fmla="*/ 4444 w 10000"/>
                    <a:gd name="connsiteY45" fmla="*/ 8064 h 9969"/>
                    <a:gd name="connsiteX46" fmla="*/ 4667 w 10000"/>
                    <a:gd name="connsiteY46" fmla="*/ 8049 h 9969"/>
                    <a:gd name="connsiteX47" fmla="*/ 5333 w 10000"/>
                    <a:gd name="connsiteY47" fmla="*/ 8018 h 9969"/>
                    <a:gd name="connsiteX48" fmla="*/ 6500 w 10000"/>
                    <a:gd name="connsiteY48" fmla="*/ 7973 h 9969"/>
                    <a:gd name="connsiteX49" fmla="*/ 6500 w 10000"/>
                    <a:gd name="connsiteY49" fmla="*/ 7973 h 9969"/>
                    <a:gd name="connsiteX50" fmla="*/ 7167 w 10000"/>
                    <a:gd name="connsiteY50" fmla="*/ 7927 h 9969"/>
                    <a:gd name="connsiteX51" fmla="*/ 8389 w 10000"/>
                    <a:gd name="connsiteY51" fmla="*/ 7837 h 9969"/>
                    <a:gd name="connsiteX52" fmla="*/ 8389 w 10000"/>
                    <a:gd name="connsiteY52" fmla="*/ 7837 h 9969"/>
                    <a:gd name="connsiteX53" fmla="*/ 8667 w 10000"/>
                    <a:gd name="connsiteY53" fmla="*/ 7806 h 9969"/>
                    <a:gd name="connsiteX54" fmla="*/ 8778 w 10000"/>
                    <a:gd name="connsiteY54" fmla="*/ 7761 h 9969"/>
                    <a:gd name="connsiteX55" fmla="*/ 8889 w 10000"/>
                    <a:gd name="connsiteY55" fmla="*/ 7731 h 9969"/>
                    <a:gd name="connsiteX56" fmla="*/ 8833 w 10000"/>
                    <a:gd name="connsiteY56" fmla="*/ 7701 h 9969"/>
                    <a:gd name="connsiteX57" fmla="*/ 8833 w 10000"/>
                    <a:gd name="connsiteY57" fmla="*/ 7671 h 9969"/>
                    <a:gd name="connsiteX58" fmla="*/ 8722 w 10000"/>
                    <a:gd name="connsiteY58" fmla="*/ 7639 h 9969"/>
                    <a:gd name="connsiteX59" fmla="*/ 8556 w 10000"/>
                    <a:gd name="connsiteY59" fmla="*/ 7594 h 9969"/>
                    <a:gd name="connsiteX60" fmla="*/ 8556 w 10000"/>
                    <a:gd name="connsiteY60" fmla="*/ 7594 h 9969"/>
                    <a:gd name="connsiteX61" fmla="*/ 6556 w 10000"/>
                    <a:gd name="connsiteY61" fmla="*/ 7322 h 9969"/>
                    <a:gd name="connsiteX62" fmla="*/ 6556 w 10000"/>
                    <a:gd name="connsiteY62" fmla="*/ 7322 h 9969"/>
                    <a:gd name="connsiteX63" fmla="*/ 6333 w 10000"/>
                    <a:gd name="connsiteY63" fmla="*/ 7277 h 9969"/>
                    <a:gd name="connsiteX64" fmla="*/ 6167 w 10000"/>
                    <a:gd name="connsiteY64" fmla="*/ 7232 h 9969"/>
                    <a:gd name="connsiteX65" fmla="*/ 6056 w 10000"/>
                    <a:gd name="connsiteY65" fmla="*/ 7187 h 9969"/>
                    <a:gd name="connsiteX66" fmla="*/ 6056 w 10000"/>
                    <a:gd name="connsiteY66" fmla="*/ 7187 h 9969"/>
                    <a:gd name="connsiteX67" fmla="*/ 8056 w 10000"/>
                    <a:gd name="connsiteY67" fmla="*/ 7171 h 9969"/>
                    <a:gd name="connsiteX68" fmla="*/ 10000 w 10000"/>
                    <a:gd name="connsiteY68" fmla="*/ 7322 h 9969"/>
                    <a:gd name="connsiteX69" fmla="*/ 10000 w 10000"/>
                    <a:gd name="connsiteY69" fmla="*/ 5946 h 9969"/>
                    <a:gd name="connsiteX70" fmla="*/ 10000 w 10000"/>
                    <a:gd name="connsiteY70" fmla="*/ 5946 h 9969"/>
                    <a:gd name="connsiteX71" fmla="*/ 7778 w 10000"/>
                    <a:gd name="connsiteY71" fmla="*/ 5627 h 9969"/>
                    <a:gd name="connsiteX72" fmla="*/ 6556 w 10000"/>
                    <a:gd name="connsiteY72" fmla="*/ 5446 h 9969"/>
                    <a:gd name="connsiteX73" fmla="*/ 6556 w 10000"/>
                    <a:gd name="connsiteY73" fmla="*/ 5446 h 9969"/>
                    <a:gd name="connsiteX74" fmla="*/ 6556 w 10000"/>
                    <a:gd name="connsiteY74" fmla="*/ 5431 h 9969"/>
                    <a:gd name="connsiteX75" fmla="*/ 6556 w 10000"/>
                    <a:gd name="connsiteY75" fmla="*/ 5340 h 9969"/>
                    <a:gd name="connsiteX76" fmla="*/ 6556 w 10000"/>
                    <a:gd name="connsiteY76" fmla="*/ 5340 h 9969"/>
                    <a:gd name="connsiteX77" fmla="*/ 6389 w 10000"/>
                    <a:gd name="connsiteY77" fmla="*/ 5235 h 9969"/>
                    <a:gd name="connsiteX78" fmla="*/ 6056 w 10000"/>
                    <a:gd name="connsiteY78" fmla="*/ 5069 h 9969"/>
                    <a:gd name="connsiteX79" fmla="*/ 5333 w 10000"/>
                    <a:gd name="connsiteY79" fmla="*/ 4750 h 9969"/>
                    <a:gd name="connsiteX80" fmla="*/ 5333 w 10000"/>
                    <a:gd name="connsiteY80" fmla="*/ 4750 h 9969"/>
                    <a:gd name="connsiteX81" fmla="*/ 5167 w 10000"/>
                    <a:gd name="connsiteY81" fmla="*/ 4705 h 9969"/>
                    <a:gd name="connsiteX82" fmla="*/ 4889 w 10000"/>
                    <a:gd name="connsiteY82" fmla="*/ 4644 h 9969"/>
                    <a:gd name="connsiteX83" fmla="*/ 4056 w 10000"/>
                    <a:gd name="connsiteY83" fmla="*/ 4508 h 9969"/>
                    <a:gd name="connsiteX84" fmla="*/ 2889 w 10000"/>
                    <a:gd name="connsiteY84" fmla="*/ 4342 h 9969"/>
                    <a:gd name="connsiteX85" fmla="*/ 2889 w 10000"/>
                    <a:gd name="connsiteY85" fmla="*/ 4342 h 9969"/>
                    <a:gd name="connsiteX86" fmla="*/ 2389 w 10000"/>
                    <a:gd name="connsiteY86" fmla="*/ 4326 h 9969"/>
                    <a:gd name="connsiteX87" fmla="*/ 2000 w 10000"/>
                    <a:gd name="connsiteY87" fmla="*/ 4311 h 9969"/>
                    <a:gd name="connsiteX88" fmla="*/ 1889 w 10000"/>
                    <a:gd name="connsiteY88" fmla="*/ 4296 h 9969"/>
                    <a:gd name="connsiteX89" fmla="*/ 1778 w 10000"/>
                    <a:gd name="connsiteY89" fmla="*/ 4281 h 9969"/>
                    <a:gd name="connsiteX90" fmla="*/ 1778 w 10000"/>
                    <a:gd name="connsiteY90" fmla="*/ 4281 h 9969"/>
                    <a:gd name="connsiteX91" fmla="*/ 1667 w 10000"/>
                    <a:gd name="connsiteY91" fmla="*/ 4220 h 9969"/>
                    <a:gd name="connsiteX92" fmla="*/ 1500 w 10000"/>
                    <a:gd name="connsiteY92" fmla="*/ 4115 h 9969"/>
                    <a:gd name="connsiteX93" fmla="*/ 1444 w 10000"/>
                    <a:gd name="connsiteY93" fmla="*/ 4054 h 9969"/>
                    <a:gd name="connsiteX94" fmla="*/ 1444 w 10000"/>
                    <a:gd name="connsiteY94" fmla="*/ 3993 h 9969"/>
                    <a:gd name="connsiteX95" fmla="*/ 1444 w 10000"/>
                    <a:gd name="connsiteY95" fmla="*/ 3949 h 9969"/>
                    <a:gd name="connsiteX96" fmla="*/ 1556 w 10000"/>
                    <a:gd name="connsiteY96" fmla="*/ 3903 h 9969"/>
                    <a:gd name="connsiteX97" fmla="*/ 1556 w 10000"/>
                    <a:gd name="connsiteY97" fmla="*/ 3903 h 9969"/>
                    <a:gd name="connsiteX98" fmla="*/ 1833 w 10000"/>
                    <a:gd name="connsiteY98" fmla="*/ 3827 h 9969"/>
                    <a:gd name="connsiteX99" fmla="*/ 2111 w 10000"/>
                    <a:gd name="connsiteY99" fmla="*/ 3752 h 9969"/>
                    <a:gd name="connsiteX100" fmla="*/ 2278 w 10000"/>
                    <a:gd name="connsiteY100" fmla="*/ 3707 h 9969"/>
                    <a:gd name="connsiteX101" fmla="*/ 2389 w 10000"/>
                    <a:gd name="connsiteY101" fmla="*/ 3661 h 9969"/>
                    <a:gd name="connsiteX102" fmla="*/ 2389 w 10000"/>
                    <a:gd name="connsiteY102" fmla="*/ 3600 h 9969"/>
                    <a:gd name="connsiteX103" fmla="*/ 2389 w 10000"/>
                    <a:gd name="connsiteY103" fmla="*/ 3525 h 9969"/>
                    <a:gd name="connsiteX104" fmla="*/ 2389 w 10000"/>
                    <a:gd name="connsiteY104" fmla="*/ 3525 h 9969"/>
                    <a:gd name="connsiteX105" fmla="*/ 2167 w 10000"/>
                    <a:gd name="connsiteY105" fmla="*/ 3313 h 9969"/>
                    <a:gd name="connsiteX106" fmla="*/ 1889 w 10000"/>
                    <a:gd name="connsiteY106" fmla="*/ 3026 h 9969"/>
                    <a:gd name="connsiteX107" fmla="*/ 1667 w 10000"/>
                    <a:gd name="connsiteY107" fmla="*/ 2768 h 9969"/>
                    <a:gd name="connsiteX108" fmla="*/ 1611 w 10000"/>
                    <a:gd name="connsiteY108" fmla="*/ 2693 h 9969"/>
                    <a:gd name="connsiteX109" fmla="*/ 1611 w 10000"/>
                    <a:gd name="connsiteY109" fmla="*/ 2663 h 9969"/>
                    <a:gd name="connsiteX110" fmla="*/ 1667 w 10000"/>
                    <a:gd name="connsiteY110" fmla="*/ 2647 h 9969"/>
                    <a:gd name="connsiteX111" fmla="*/ 1667 w 10000"/>
                    <a:gd name="connsiteY111" fmla="*/ 2647 h 9969"/>
                    <a:gd name="connsiteX112" fmla="*/ 2000 w 10000"/>
                    <a:gd name="connsiteY112" fmla="*/ 2633 h 9969"/>
                    <a:gd name="connsiteX113" fmla="*/ 2222 w 10000"/>
                    <a:gd name="connsiteY113" fmla="*/ 2633 h 9969"/>
                    <a:gd name="connsiteX114" fmla="*/ 2389 w 10000"/>
                    <a:gd name="connsiteY114" fmla="*/ 2647 h 9969"/>
                    <a:gd name="connsiteX115" fmla="*/ 2389 w 10000"/>
                    <a:gd name="connsiteY115" fmla="*/ 2647 h 9969"/>
                    <a:gd name="connsiteX116" fmla="*/ 2444 w 10000"/>
                    <a:gd name="connsiteY116" fmla="*/ 2647 h 9969"/>
                    <a:gd name="connsiteX117" fmla="*/ 2500 w 10000"/>
                    <a:gd name="connsiteY117" fmla="*/ 2617 h 9969"/>
                    <a:gd name="connsiteX118" fmla="*/ 2778 w 10000"/>
                    <a:gd name="connsiteY118" fmla="*/ 2526 h 9969"/>
                    <a:gd name="connsiteX119" fmla="*/ 3500 w 10000"/>
                    <a:gd name="connsiteY119" fmla="*/ 2224 h 9969"/>
                    <a:gd name="connsiteX120" fmla="*/ 4444 w 10000"/>
                    <a:gd name="connsiteY120" fmla="*/ 1786 h 9969"/>
                    <a:gd name="connsiteX121" fmla="*/ 4444 w 10000"/>
                    <a:gd name="connsiteY121" fmla="*/ 1786 h 9969"/>
                    <a:gd name="connsiteX122" fmla="*/ 4444 w 10000"/>
                    <a:gd name="connsiteY122" fmla="*/ 1725 h 9969"/>
                    <a:gd name="connsiteX123" fmla="*/ 4444 w 10000"/>
                    <a:gd name="connsiteY123" fmla="*/ 1587 h 9969"/>
                    <a:gd name="connsiteX124" fmla="*/ 4500 w 10000"/>
                    <a:gd name="connsiteY124" fmla="*/ 1497 h 9969"/>
                    <a:gd name="connsiteX125" fmla="*/ 4611 w 10000"/>
                    <a:gd name="connsiteY125" fmla="*/ 1422 h 9969"/>
                    <a:gd name="connsiteX126" fmla="*/ 4778 w 10000"/>
                    <a:gd name="connsiteY126" fmla="*/ 1331 h 9969"/>
                    <a:gd name="connsiteX127" fmla="*/ 5000 w 10000"/>
                    <a:gd name="connsiteY127" fmla="*/ 1256 h 9969"/>
                    <a:gd name="connsiteX128" fmla="*/ 5000 w 10000"/>
                    <a:gd name="connsiteY128" fmla="*/ 1256 h 9969"/>
                    <a:gd name="connsiteX129" fmla="*/ 5556 w 10000"/>
                    <a:gd name="connsiteY129" fmla="*/ 1105 h 9969"/>
                    <a:gd name="connsiteX130" fmla="*/ 6111 w 10000"/>
                    <a:gd name="connsiteY130" fmla="*/ 908 h 9969"/>
                    <a:gd name="connsiteX131" fmla="*/ 6667 w 10000"/>
                    <a:gd name="connsiteY131" fmla="*/ 726 h 9969"/>
                    <a:gd name="connsiteX132" fmla="*/ 7056 w 10000"/>
                    <a:gd name="connsiteY132" fmla="*/ 560 h 9969"/>
                    <a:gd name="connsiteX133" fmla="*/ 7056 w 10000"/>
                    <a:gd name="connsiteY133" fmla="*/ 560 h 9969"/>
                    <a:gd name="connsiteX134" fmla="*/ 7333 w 10000"/>
                    <a:gd name="connsiteY134" fmla="*/ 409 h 9969"/>
                    <a:gd name="connsiteX135" fmla="*/ 7667 w 10000"/>
                    <a:gd name="connsiteY135" fmla="*/ 227 h 9969"/>
                    <a:gd name="connsiteX136" fmla="*/ 8000 w 10000"/>
                    <a:gd name="connsiteY136" fmla="*/ 90 h 9969"/>
                    <a:gd name="connsiteX137" fmla="*/ 8167 w 10000"/>
                    <a:gd name="connsiteY137" fmla="*/ 29 h 9969"/>
                    <a:gd name="connsiteX138" fmla="*/ 8333 w 10000"/>
                    <a:gd name="connsiteY138" fmla="*/ 15 h 9969"/>
                    <a:gd name="connsiteX139" fmla="*/ 8333 w 10000"/>
                    <a:gd name="connsiteY139" fmla="*/ 15 h 9969"/>
                    <a:gd name="connsiteX140" fmla="*/ 8667 w 10000"/>
                    <a:gd name="connsiteY140" fmla="*/ 0 h 9969"/>
                    <a:gd name="connsiteX141" fmla="*/ 9111 w 10000"/>
                    <a:gd name="connsiteY141" fmla="*/ 0 h 9969"/>
                    <a:gd name="connsiteX142" fmla="*/ 10000 w 10000"/>
                    <a:gd name="connsiteY142" fmla="*/ 15 h 9969"/>
                    <a:gd name="connsiteX143" fmla="*/ 10000 w 10000"/>
                    <a:gd name="connsiteY143" fmla="*/ 9259 h 9969"/>
                    <a:gd name="connsiteX144" fmla="*/ 10000 w 10000"/>
                    <a:gd name="connsiteY144" fmla="*/ 9259 h 9969"/>
                    <a:gd name="connsiteX145" fmla="*/ 9722 w 10000"/>
                    <a:gd name="connsiteY145" fmla="*/ 9244 h 9969"/>
                    <a:gd name="connsiteX146" fmla="*/ 9389 w 10000"/>
                    <a:gd name="connsiteY146" fmla="*/ 9259 h 9969"/>
                    <a:gd name="connsiteX147" fmla="*/ 9389 w 10000"/>
                    <a:gd name="connsiteY147" fmla="*/ 9259 h 9969"/>
                    <a:gd name="connsiteX148" fmla="*/ 9278 w 10000"/>
                    <a:gd name="connsiteY148" fmla="*/ 9274 h 9969"/>
                    <a:gd name="connsiteX149" fmla="*/ 9056 w 10000"/>
                    <a:gd name="connsiteY149" fmla="*/ 9259 h 9969"/>
                    <a:gd name="connsiteX150" fmla="*/ 8889 w 10000"/>
                    <a:gd name="connsiteY150" fmla="*/ 9244 h 9969"/>
                    <a:gd name="connsiteX151" fmla="*/ 8722 w 10000"/>
                    <a:gd name="connsiteY151" fmla="*/ 9213 h 9969"/>
                    <a:gd name="connsiteX152" fmla="*/ 8611 w 10000"/>
                    <a:gd name="connsiteY152" fmla="*/ 9169 h 9969"/>
                    <a:gd name="connsiteX153" fmla="*/ 8444 w 10000"/>
                    <a:gd name="connsiteY153" fmla="*/ 9093 h 9969"/>
                    <a:gd name="connsiteX154" fmla="*/ 8444 w 10000"/>
                    <a:gd name="connsiteY154" fmla="*/ 9093 h 9969"/>
                    <a:gd name="connsiteX155" fmla="*/ 8222 w 10000"/>
                    <a:gd name="connsiteY155" fmla="*/ 8956 h 9969"/>
                    <a:gd name="connsiteX156" fmla="*/ 8111 w 10000"/>
                    <a:gd name="connsiteY156" fmla="*/ 8895 h 9969"/>
                    <a:gd name="connsiteX157" fmla="*/ 7944 w 10000"/>
                    <a:gd name="connsiteY157" fmla="*/ 8850 h 9969"/>
                    <a:gd name="connsiteX158" fmla="*/ 7778 w 10000"/>
                    <a:gd name="connsiteY158" fmla="*/ 8820 h 9969"/>
                    <a:gd name="connsiteX159" fmla="*/ 7556 w 10000"/>
                    <a:gd name="connsiteY159" fmla="*/ 8804 h 9969"/>
                    <a:gd name="connsiteX160" fmla="*/ 7333 w 10000"/>
                    <a:gd name="connsiteY160" fmla="*/ 8790 h 9969"/>
                    <a:gd name="connsiteX161" fmla="*/ 7000 w 10000"/>
                    <a:gd name="connsiteY161" fmla="*/ 8774 h 9969"/>
                    <a:gd name="connsiteX162" fmla="*/ 7000 w 10000"/>
                    <a:gd name="connsiteY162" fmla="*/ 8774 h 9969"/>
                    <a:gd name="connsiteX163" fmla="*/ 6556 w 10000"/>
                    <a:gd name="connsiteY163" fmla="*/ 8790 h 9969"/>
                    <a:gd name="connsiteX164" fmla="*/ 6222 w 10000"/>
                    <a:gd name="connsiteY164" fmla="*/ 8790 h 9969"/>
                    <a:gd name="connsiteX165" fmla="*/ 6111 w 10000"/>
                    <a:gd name="connsiteY165" fmla="*/ 8774 h 9969"/>
                    <a:gd name="connsiteX166" fmla="*/ 6056 w 10000"/>
                    <a:gd name="connsiteY166" fmla="*/ 8759 h 9969"/>
                    <a:gd name="connsiteX167" fmla="*/ 6056 w 10000"/>
                    <a:gd name="connsiteY167" fmla="*/ 8759 h 9969"/>
                    <a:gd name="connsiteX168" fmla="*/ 6056 w 10000"/>
                    <a:gd name="connsiteY168" fmla="*/ 8488 h 9969"/>
                    <a:gd name="connsiteX169" fmla="*/ 6056 w 10000"/>
                    <a:gd name="connsiteY169" fmla="*/ 8488 h 9969"/>
                    <a:gd name="connsiteX170" fmla="*/ 6056 w 10000"/>
                    <a:gd name="connsiteY170" fmla="*/ 8427 h 9969"/>
                    <a:gd name="connsiteX171" fmla="*/ 5944 w 10000"/>
                    <a:gd name="connsiteY171" fmla="*/ 8352 h 9969"/>
                    <a:gd name="connsiteX172" fmla="*/ 5889 w 10000"/>
                    <a:gd name="connsiteY172" fmla="*/ 8337 h 9969"/>
                    <a:gd name="connsiteX173" fmla="*/ 5778 w 10000"/>
                    <a:gd name="connsiteY173" fmla="*/ 8320 h 9969"/>
                    <a:gd name="connsiteX174" fmla="*/ 5667 w 10000"/>
                    <a:gd name="connsiteY174" fmla="*/ 8320 h 9969"/>
                    <a:gd name="connsiteX175" fmla="*/ 5500 w 10000"/>
                    <a:gd name="connsiteY175" fmla="*/ 8337 h 9969"/>
                    <a:gd name="connsiteX176" fmla="*/ 5500 w 10000"/>
                    <a:gd name="connsiteY176" fmla="*/ 8337 h 9969"/>
                    <a:gd name="connsiteX177" fmla="*/ 4889 w 10000"/>
                    <a:gd name="connsiteY177" fmla="*/ 8442 h 9969"/>
                    <a:gd name="connsiteX178" fmla="*/ 4611 w 10000"/>
                    <a:gd name="connsiteY178" fmla="*/ 8471 h 9969"/>
                    <a:gd name="connsiteX179" fmla="*/ 4556 w 10000"/>
                    <a:gd name="connsiteY179" fmla="*/ 8488 h 9969"/>
                    <a:gd name="connsiteX180" fmla="*/ 4500 w 10000"/>
                    <a:gd name="connsiteY180" fmla="*/ 8471 h 9969"/>
                    <a:gd name="connsiteX181" fmla="*/ 4500 w 10000"/>
                    <a:gd name="connsiteY181" fmla="*/ 8471 h 9969"/>
                    <a:gd name="connsiteX182" fmla="*/ 4222 w 10000"/>
                    <a:gd name="connsiteY182" fmla="*/ 8320 h 9969"/>
                    <a:gd name="connsiteX183" fmla="*/ 4222 w 10000"/>
                    <a:gd name="connsiteY183" fmla="*/ 8320 h 9969"/>
                    <a:gd name="connsiteX184" fmla="*/ 4111 w 10000"/>
                    <a:gd name="connsiteY184" fmla="*/ 8245 h 9969"/>
                    <a:gd name="connsiteX185" fmla="*/ 4111 w 10000"/>
                    <a:gd name="connsiteY185" fmla="*/ 8199 h 9969"/>
                    <a:gd name="connsiteX186" fmla="*/ 4111 w 10000"/>
                    <a:gd name="connsiteY186" fmla="*/ 8154 h 9969"/>
                    <a:gd name="connsiteX187" fmla="*/ 4111 w 10000"/>
                    <a:gd name="connsiteY187" fmla="*/ 8154 h 9969"/>
                    <a:gd name="connsiteX188" fmla="*/ 4278 w 10000"/>
                    <a:gd name="connsiteY188" fmla="*/ 8108 h 9969"/>
                    <a:gd name="connsiteX189" fmla="*/ 4389 w 10000"/>
                    <a:gd name="connsiteY189" fmla="*/ 8093 h 9969"/>
                    <a:gd name="connsiteX190" fmla="*/ 4389 w 10000"/>
                    <a:gd name="connsiteY190" fmla="*/ 8093 h 9969"/>
                    <a:gd name="connsiteX191" fmla="*/ 4000 w 10000"/>
                    <a:gd name="connsiteY191" fmla="*/ 8093 h 9969"/>
                    <a:gd name="connsiteX192" fmla="*/ 3722 w 10000"/>
                    <a:gd name="connsiteY192" fmla="*/ 8108 h 9969"/>
                    <a:gd name="connsiteX193" fmla="*/ 3611 w 10000"/>
                    <a:gd name="connsiteY193" fmla="*/ 8124 h 9969"/>
                    <a:gd name="connsiteX194" fmla="*/ 3556 w 10000"/>
                    <a:gd name="connsiteY194" fmla="*/ 8139 h 9969"/>
                    <a:gd name="connsiteX195" fmla="*/ 3556 w 10000"/>
                    <a:gd name="connsiteY195" fmla="*/ 8139 h 9969"/>
                    <a:gd name="connsiteX196" fmla="*/ 3444 w 10000"/>
                    <a:gd name="connsiteY196" fmla="*/ 8199 h 9969"/>
                    <a:gd name="connsiteX197" fmla="*/ 3278 w 10000"/>
                    <a:gd name="connsiteY197" fmla="*/ 8290 h 9969"/>
                    <a:gd name="connsiteX198" fmla="*/ 3000 w 10000"/>
                    <a:gd name="connsiteY198" fmla="*/ 8397 h 9969"/>
                    <a:gd name="connsiteX199" fmla="*/ 2667 w 10000"/>
                    <a:gd name="connsiteY199" fmla="*/ 8471 h 9969"/>
                    <a:gd name="connsiteX200" fmla="*/ 2667 w 10000"/>
                    <a:gd name="connsiteY200" fmla="*/ 8471 h 9969"/>
                    <a:gd name="connsiteX201" fmla="*/ 2333 w 10000"/>
                    <a:gd name="connsiteY201" fmla="*/ 8532 h 9969"/>
                    <a:gd name="connsiteX202" fmla="*/ 1833 w 10000"/>
                    <a:gd name="connsiteY202" fmla="*/ 8593 h 9969"/>
                    <a:gd name="connsiteX203" fmla="*/ 1389 w 10000"/>
                    <a:gd name="connsiteY203" fmla="*/ 8623 h 9969"/>
                    <a:gd name="connsiteX204" fmla="*/ 889 w 10000"/>
                    <a:gd name="connsiteY204" fmla="*/ 8638 h 9969"/>
                    <a:gd name="connsiteX205" fmla="*/ 889 w 10000"/>
                    <a:gd name="connsiteY205" fmla="*/ 8638 h 9969"/>
                    <a:gd name="connsiteX206" fmla="*/ 500 w 10000"/>
                    <a:gd name="connsiteY206" fmla="*/ 8654 h 9969"/>
                    <a:gd name="connsiteX207" fmla="*/ 222 w 10000"/>
                    <a:gd name="connsiteY207" fmla="*/ 8669 h 9969"/>
                    <a:gd name="connsiteX208" fmla="*/ 0 w 10000"/>
                    <a:gd name="connsiteY208" fmla="*/ 8684 h 9969"/>
                    <a:gd name="connsiteX209" fmla="*/ 0 w 10000"/>
                    <a:gd name="connsiteY209" fmla="*/ 8684 h 9969"/>
                    <a:gd name="connsiteX210" fmla="*/ 278 w 10000"/>
                    <a:gd name="connsiteY210" fmla="*/ 8925 h 9969"/>
                    <a:gd name="connsiteX211" fmla="*/ 500 w 10000"/>
                    <a:gd name="connsiteY211" fmla="*/ 9108 h 9969"/>
                    <a:gd name="connsiteX212" fmla="*/ 722 w 10000"/>
                    <a:gd name="connsiteY212" fmla="*/ 9259 h 9969"/>
                    <a:gd name="connsiteX213" fmla="*/ 722 w 10000"/>
                    <a:gd name="connsiteY213" fmla="*/ 9259 h 9969"/>
                    <a:gd name="connsiteX214" fmla="*/ 889 w 10000"/>
                    <a:gd name="connsiteY214" fmla="*/ 9350 h 9969"/>
                    <a:gd name="connsiteX215" fmla="*/ 944 w 10000"/>
                    <a:gd name="connsiteY215" fmla="*/ 9425 h 9969"/>
                    <a:gd name="connsiteX216" fmla="*/ 1111 w 10000"/>
                    <a:gd name="connsiteY216" fmla="*/ 9500 h 9969"/>
                    <a:gd name="connsiteX217" fmla="*/ 1333 w 10000"/>
                    <a:gd name="connsiteY217" fmla="*/ 9622 h 9969"/>
                    <a:gd name="connsiteX218" fmla="*/ 1333 w 10000"/>
                    <a:gd name="connsiteY218" fmla="*/ 9622 h 9969"/>
                    <a:gd name="connsiteX219" fmla="*/ 1444 w 10000"/>
                    <a:gd name="connsiteY219" fmla="*/ 9684 h 9969"/>
                    <a:gd name="connsiteX220" fmla="*/ 1500 w 10000"/>
                    <a:gd name="connsiteY220" fmla="*/ 9728 h 9969"/>
                    <a:gd name="connsiteX221" fmla="*/ 1500 w 10000"/>
                    <a:gd name="connsiteY221" fmla="*/ 9774 h 9969"/>
                    <a:gd name="connsiteX222" fmla="*/ 1556 w 10000"/>
                    <a:gd name="connsiteY222" fmla="*/ 9789 h 9969"/>
                    <a:gd name="connsiteX223" fmla="*/ 1722 w 10000"/>
                    <a:gd name="connsiteY223" fmla="*/ 9803 h 9969"/>
                    <a:gd name="connsiteX224" fmla="*/ 5444 w 10000"/>
                    <a:gd name="connsiteY224" fmla="*/ 9969 h 9969"/>
                    <a:gd name="connsiteX225" fmla="*/ 5444 w 10000"/>
                    <a:gd name="connsiteY225" fmla="*/ 9969 h 9969"/>
                    <a:gd name="connsiteX226" fmla="*/ 10000 w 10000"/>
                    <a:gd name="connsiteY226" fmla="*/ 9244 h 9969"/>
                    <a:gd name="connsiteX0" fmla="*/ 10000 w 10000"/>
                    <a:gd name="connsiteY0" fmla="*/ 9273 h 10000"/>
                    <a:gd name="connsiteX1" fmla="*/ 10000 w 10000"/>
                    <a:gd name="connsiteY1" fmla="*/ 9273 h 10000"/>
                    <a:gd name="connsiteX2" fmla="*/ 9222 w 10000"/>
                    <a:gd name="connsiteY2" fmla="*/ 9288 h 10000"/>
                    <a:gd name="connsiteX3" fmla="*/ 8944 w 10000"/>
                    <a:gd name="connsiteY3" fmla="*/ 9288 h 10000"/>
                    <a:gd name="connsiteX4" fmla="*/ 8833 w 10000"/>
                    <a:gd name="connsiteY4" fmla="*/ 9273 h 10000"/>
                    <a:gd name="connsiteX5" fmla="*/ 8778 w 10000"/>
                    <a:gd name="connsiteY5" fmla="*/ 9257 h 10000"/>
                    <a:gd name="connsiteX6" fmla="*/ 8778 w 10000"/>
                    <a:gd name="connsiteY6" fmla="*/ 9257 h 10000"/>
                    <a:gd name="connsiteX7" fmla="*/ 8444 w 10000"/>
                    <a:gd name="connsiteY7" fmla="*/ 9075 h 10000"/>
                    <a:gd name="connsiteX8" fmla="*/ 8167 w 10000"/>
                    <a:gd name="connsiteY8" fmla="*/ 8908 h 10000"/>
                    <a:gd name="connsiteX9" fmla="*/ 8167 w 10000"/>
                    <a:gd name="connsiteY9" fmla="*/ 8908 h 10000"/>
                    <a:gd name="connsiteX10" fmla="*/ 8056 w 10000"/>
                    <a:gd name="connsiteY10" fmla="*/ 8878 h 10000"/>
                    <a:gd name="connsiteX11" fmla="*/ 7889 w 10000"/>
                    <a:gd name="connsiteY11" fmla="*/ 8847 h 10000"/>
                    <a:gd name="connsiteX12" fmla="*/ 7444 w 10000"/>
                    <a:gd name="connsiteY12" fmla="*/ 8831 h 10000"/>
                    <a:gd name="connsiteX13" fmla="*/ 6889 w 10000"/>
                    <a:gd name="connsiteY13" fmla="*/ 8817 h 10000"/>
                    <a:gd name="connsiteX14" fmla="*/ 6389 w 10000"/>
                    <a:gd name="connsiteY14" fmla="*/ 8817 h 10000"/>
                    <a:gd name="connsiteX15" fmla="*/ 6389 w 10000"/>
                    <a:gd name="connsiteY15" fmla="*/ 8817 h 10000"/>
                    <a:gd name="connsiteX16" fmla="*/ 6167 w 10000"/>
                    <a:gd name="connsiteY16" fmla="*/ 8801 h 10000"/>
                    <a:gd name="connsiteX17" fmla="*/ 6056 w 10000"/>
                    <a:gd name="connsiteY17" fmla="*/ 8772 h 10000"/>
                    <a:gd name="connsiteX18" fmla="*/ 6000 w 10000"/>
                    <a:gd name="connsiteY18" fmla="*/ 8741 h 10000"/>
                    <a:gd name="connsiteX19" fmla="*/ 6000 w 10000"/>
                    <a:gd name="connsiteY19" fmla="*/ 8681 h 10000"/>
                    <a:gd name="connsiteX20" fmla="*/ 6056 w 10000"/>
                    <a:gd name="connsiteY20" fmla="*/ 8559 h 10000"/>
                    <a:gd name="connsiteX21" fmla="*/ 6111 w 10000"/>
                    <a:gd name="connsiteY21" fmla="*/ 8497 h 10000"/>
                    <a:gd name="connsiteX22" fmla="*/ 6056 w 10000"/>
                    <a:gd name="connsiteY22" fmla="*/ 8423 h 10000"/>
                    <a:gd name="connsiteX23" fmla="*/ 6056 w 10000"/>
                    <a:gd name="connsiteY23" fmla="*/ 8423 h 10000"/>
                    <a:gd name="connsiteX24" fmla="*/ 6000 w 10000"/>
                    <a:gd name="connsiteY24" fmla="*/ 8378 h 10000"/>
                    <a:gd name="connsiteX25" fmla="*/ 5944 w 10000"/>
                    <a:gd name="connsiteY25" fmla="*/ 8346 h 10000"/>
                    <a:gd name="connsiteX26" fmla="*/ 5833 w 10000"/>
                    <a:gd name="connsiteY26" fmla="*/ 8346 h 10000"/>
                    <a:gd name="connsiteX27" fmla="*/ 5667 w 10000"/>
                    <a:gd name="connsiteY27" fmla="*/ 8363 h 10000"/>
                    <a:gd name="connsiteX28" fmla="*/ 5333 w 10000"/>
                    <a:gd name="connsiteY28" fmla="*/ 8407 h 10000"/>
                    <a:gd name="connsiteX29" fmla="*/ 4889 w 10000"/>
                    <a:gd name="connsiteY29" fmla="*/ 8483 h 10000"/>
                    <a:gd name="connsiteX30" fmla="*/ 4889 w 10000"/>
                    <a:gd name="connsiteY30" fmla="*/ 8483 h 10000"/>
                    <a:gd name="connsiteX31" fmla="*/ 4611 w 10000"/>
                    <a:gd name="connsiteY31" fmla="*/ 8497 h 10000"/>
                    <a:gd name="connsiteX32" fmla="*/ 4500 w 10000"/>
                    <a:gd name="connsiteY32" fmla="*/ 8497 h 10000"/>
                    <a:gd name="connsiteX33" fmla="*/ 4444 w 10000"/>
                    <a:gd name="connsiteY33" fmla="*/ 8483 h 10000"/>
                    <a:gd name="connsiteX34" fmla="*/ 4389 w 10000"/>
                    <a:gd name="connsiteY34" fmla="*/ 8423 h 10000"/>
                    <a:gd name="connsiteX35" fmla="*/ 4222 w 10000"/>
                    <a:gd name="connsiteY35" fmla="*/ 8346 h 10000"/>
                    <a:gd name="connsiteX36" fmla="*/ 4222 w 10000"/>
                    <a:gd name="connsiteY36" fmla="*/ 8346 h 10000"/>
                    <a:gd name="connsiteX37" fmla="*/ 4111 w 10000"/>
                    <a:gd name="connsiteY37" fmla="*/ 8301 h 10000"/>
                    <a:gd name="connsiteX38" fmla="*/ 4111 w 10000"/>
                    <a:gd name="connsiteY38" fmla="*/ 8256 h 10000"/>
                    <a:gd name="connsiteX39" fmla="*/ 4111 w 10000"/>
                    <a:gd name="connsiteY39" fmla="*/ 8224 h 10000"/>
                    <a:gd name="connsiteX40" fmla="*/ 4167 w 10000"/>
                    <a:gd name="connsiteY40" fmla="*/ 8194 h 10000"/>
                    <a:gd name="connsiteX41" fmla="*/ 4278 w 10000"/>
                    <a:gd name="connsiteY41" fmla="*/ 8133 h 10000"/>
                    <a:gd name="connsiteX42" fmla="*/ 4389 w 10000"/>
                    <a:gd name="connsiteY42" fmla="*/ 8118 h 10000"/>
                    <a:gd name="connsiteX43" fmla="*/ 4389 w 10000"/>
                    <a:gd name="connsiteY43" fmla="*/ 8118 h 10000"/>
                    <a:gd name="connsiteX44" fmla="*/ 4389 w 10000"/>
                    <a:gd name="connsiteY44" fmla="*/ 8104 h 10000"/>
                    <a:gd name="connsiteX45" fmla="*/ 4444 w 10000"/>
                    <a:gd name="connsiteY45" fmla="*/ 8089 h 10000"/>
                    <a:gd name="connsiteX46" fmla="*/ 4667 w 10000"/>
                    <a:gd name="connsiteY46" fmla="*/ 8074 h 10000"/>
                    <a:gd name="connsiteX47" fmla="*/ 5333 w 10000"/>
                    <a:gd name="connsiteY47" fmla="*/ 8043 h 10000"/>
                    <a:gd name="connsiteX48" fmla="*/ 6500 w 10000"/>
                    <a:gd name="connsiteY48" fmla="*/ 7998 h 10000"/>
                    <a:gd name="connsiteX49" fmla="*/ 6500 w 10000"/>
                    <a:gd name="connsiteY49" fmla="*/ 7998 h 10000"/>
                    <a:gd name="connsiteX50" fmla="*/ 7167 w 10000"/>
                    <a:gd name="connsiteY50" fmla="*/ 7952 h 10000"/>
                    <a:gd name="connsiteX51" fmla="*/ 8389 w 10000"/>
                    <a:gd name="connsiteY51" fmla="*/ 7861 h 10000"/>
                    <a:gd name="connsiteX52" fmla="*/ 8389 w 10000"/>
                    <a:gd name="connsiteY52" fmla="*/ 7861 h 10000"/>
                    <a:gd name="connsiteX53" fmla="*/ 8667 w 10000"/>
                    <a:gd name="connsiteY53" fmla="*/ 7830 h 10000"/>
                    <a:gd name="connsiteX54" fmla="*/ 8778 w 10000"/>
                    <a:gd name="connsiteY54" fmla="*/ 7785 h 10000"/>
                    <a:gd name="connsiteX55" fmla="*/ 8889 w 10000"/>
                    <a:gd name="connsiteY55" fmla="*/ 7755 h 10000"/>
                    <a:gd name="connsiteX56" fmla="*/ 8833 w 10000"/>
                    <a:gd name="connsiteY56" fmla="*/ 7725 h 10000"/>
                    <a:gd name="connsiteX57" fmla="*/ 8833 w 10000"/>
                    <a:gd name="connsiteY57" fmla="*/ 7695 h 10000"/>
                    <a:gd name="connsiteX58" fmla="*/ 8722 w 10000"/>
                    <a:gd name="connsiteY58" fmla="*/ 7663 h 10000"/>
                    <a:gd name="connsiteX59" fmla="*/ 8556 w 10000"/>
                    <a:gd name="connsiteY59" fmla="*/ 7618 h 10000"/>
                    <a:gd name="connsiteX60" fmla="*/ 8556 w 10000"/>
                    <a:gd name="connsiteY60" fmla="*/ 7618 h 10000"/>
                    <a:gd name="connsiteX61" fmla="*/ 6556 w 10000"/>
                    <a:gd name="connsiteY61" fmla="*/ 7345 h 10000"/>
                    <a:gd name="connsiteX62" fmla="*/ 6556 w 10000"/>
                    <a:gd name="connsiteY62" fmla="*/ 7345 h 10000"/>
                    <a:gd name="connsiteX63" fmla="*/ 6333 w 10000"/>
                    <a:gd name="connsiteY63" fmla="*/ 7300 h 10000"/>
                    <a:gd name="connsiteX64" fmla="*/ 6167 w 10000"/>
                    <a:gd name="connsiteY64" fmla="*/ 7254 h 10000"/>
                    <a:gd name="connsiteX65" fmla="*/ 6056 w 10000"/>
                    <a:gd name="connsiteY65" fmla="*/ 7209 h 10000"/>
                    <a:gd name="connsiteX66" fmla="*/ 6056 w 10000"/>
                    <a:gd name="connsiteY66" fmla="*/ 7209 h 10000"/>
                    <a:gd name="connsiteX67" fmla="*/ 8056 w 10000"/>
                    <a:gd name="connsiteY67" fmla="*/ 7193 h 10000"/>
                    <a:gd name="connsiteX68" fmla="*/ 10000 w 10000"/>
                    <a:gd name="connsiteY68" fmla="*/ 7345 h 10000"/>
                    <a:gd name="connsiteX69" fmla="*/ 10000 w 10000"/>
                    <a:gd name="connsiteY69" fmla="*/ 5964 h 10000"/>
                    <a:gd name="connsiteX70" fmla="*/ 10000 w 10000"/>
                    <a:gd name="connsiteY70" fmla="*/ 5964 h 10000"/>
                    <a:gd name="connsiteX71" fmla="*/ 7778 w 10000"/>
                    <a:gd name="connsiteY71" fmla="*/ 5644 h 10000"/>
                    <a:gd name="connsiteX72" fmla="*/ 6556 w 10000"/>
                    <a:gd name="connsiteY72" fmla="*/ 5463 h 10000"/>
                    <a:gd name="connsiteX73" fmla="*/ 6556 w 10000"/>
                    <a:gd name="connsiteY73" fmla="*/ 5463 h 10000"/>
                    <a:gd name="connsiteX74" fmla="*/ 6556 w 10000"/>
                    <a:gd name="connsiteY74" fmla="*/ 5448 h 10000"/>
                    <a:gd name="connsiteX75" fmla="*/ 6556 w 10000"/>
                    <a:gd name="connsiteY75" fmla="*/ 5357 h 10000"/>
                    <a:gd name="connsiteX76" fmla="*/ 6556 w 10000"/>
                    <a:gd name="connsiteY76" fmla="*/ 5357 h 10000"/>
                    <a:gd name="connsiteX77" fmla="*/ 6389 w 10000"/>
                    <a:gd name="connsiteY77" fmla="*/ 5251 h 10000"/>
                    <a:gd name="connsiteX78" fmla="*/ 6056 w 10000"/>
                    <a:gd name="connsiteY78" fmla="*/ 5085 h 10000"/>
                    <a:gd name="connsiteX79" fmla="*/ 5333 w 10000"/>
                    <a:gd name="connsiteY79" fmla="*/ 4765 h 10000"/>
                    <a:gd name="connsiteX80" fmla="*/ 5333 w 10000"/>
                    <a:gd name="connsiteY80" fmla="*/ 4765 h 10000"/>
                    <a:gd name="connsiteX81" fmla="*/ 5167 w 10000"/>
                    <a:gd name="connsiteY81" fmla="*/ 4720 h 10000"/>
                    <a:gd name="connsiteX82" fmla="*/ 4889 w 10000"/>
                    <a:gd name="connsiteY82" fmla="*/ 4658 h 10000"/>
                    <a:gd name="connsiteX83" fmla="*/ 4056 w 10000"/>
                    <a:gd name="connsiteY83" fmla="*/ 4522 h 10000"/>
                    <a:gd name="connsiteX84" fmla="*/ 2889 w 10000"/>
                    <a:gd name="connsiteY84" fmla="*/ 4356 h 10000"/>
                    <a:gd name="connsiteX85" fmla="*/ 2889 w 10000"/>
                    <a:gd name="connsiteY85" fmla="*/ 4356 h 10000"/>
                    <a:gd name="connsiteX86" fmla="*/ 2389 w 10000"/>
                    <a:gd name="connsiteY86" fmla="*/ 4339 h 10000"/>
                    <a:gd name="connsiteX87" fmla="*/ 2000 w 10000"/>
                    <a:gd name="connsiteY87" fmla="*/ 4324 h 10000"/>
                    <a:gd name="connsiteX88" fmla="*/ 1889 w 10000"/>
                    <a:gd name="connsiteY88" fmla="*/ 4309 h 10000"/>
                    <a:gd name="connsiteX89" fmla="*/ 1778 w 10000"/>
                    <a:gd name="connsiteY89" fmla="*/ 4294 h 10000"/>
                    <a:gd name="connsiteX90" fmla="*/ 1778 w 10000"/>
                    <a:gd name="connsiteY90" fmla="*/ 4294 h 10000"/>
                    <a:gd name="connsiteX91" fmla="*/ 1667 w 10000"/>
                    <a:gd name="connsiteY91" fmla="*/ 4233 h 10000"/>
                    <a:gd name="connsiteX92" fmla="*/ 1500 w 10000"/>
                    <a:gd name="connsiteY92" fmla="*/ 4128 h 10000"/>
                    <a:gd name="connsiteX93" fmla="*/ 1444 w 10000"/>
                    <a:gd name="connsiteY93" fmla="*/ 4067 h 10000"/>
                    <a:gd name="connsiteX94" fmla="*/ 1444 w 10000"/>
                    <a:gd name="connsiteY94" fmla="*/ 4005 h 10000"/>
                    <a:gd name="connsiteX95" fmla="*/ 1444 w 10000"/>
                    <a:gd name="connsiteY95" fmla="*/ 3961 h 10000"/>
                    <a:gd name="connsiteX96" fmla="*/ 1556 w 10000"/>
                    <a:gd name="connsiteY96" fmla="*/ 3915 h 10000"/>
                    <a:gd name="connsiteX97" fmla="*/ 1556 w 10000"/>
                    <a:gd name="connsiteY97" fmla="*/ 3915 h 10000"/>
                    <a:gd name="connsiteX98" fmla="*/ 1833 w 10000"/>
                    <a:gd name="connsiteY98" fmla="*/ 3839 h 10000"/>
                    <a:gd name="connsiteX99" fmla="*/ 2111 w 10000"/>
                    <a:gd name="connsiteY99" fmla="*/ 3764 h 10000"/>
                    <a:gd name="connsiteX100" fmla="*/ 2278 w 10000"/>
                    <a:gd name="connsiteY100" fmla="*/ 3719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611 h 10000"/>
                    <a:gd name="connsiteX103" fmla="*/ 2389 w 10000"/>
                    <a:gd name="connsiteY103" fmla="*/ 3536 h 10000"/>
                    <a:gd name="connsiteX104" fmla="*/ 2389 w 10000"/>
                    <a:gd name="connsiteY104" fmla="*/ 3536 h 10000"/>
                    <a:gd name="connsiteX105" fmla="*/ 2167 w 10000"/>
                    <a:gd name="connsiteY105" fmla="*/ 3323 h 10000"/>
                    <a:gd name="connsiteX106" fmla="*/ 1889 w 10000"/>
                    <a:gd name="connsiteY106" fmla="*/ 3035 h 10000"/>
                    <a:gd name="connsiteX107" fmla="*/ 1667 w 10000"/>
                    <a:gd name="connsiteY107" fmla="*/ 2777 h 10000"/>
                    <a:gd name="connsiteX108" fmla="*/ 1611 w 10000"/>
                    <a:gd name="connsiteY108" fmla="*/ 2701 h 10000"/>
                    <a:gd name="connsiteX109" fmla="*/ 1611 w 10000"/>
                    <a:gd name="connsiteY109" fmla="*/ 2671 h 10000"/>
                    <a:gd name="connsiteX110" fmla="*/ 1667 w 10000"/>
                    <a:gd name="connsiteY110" fmla="*/ 2655 h 10000"/>
                    <a:gd name="connsiteX111" fmla="*/ 1667 w 10000"/>
                    <a:gd name="connsiteY111" fmla="*/ 2655 h 10000"/>
                    <a:gd name="connsiteX112" fmla="*/ 2000 w 10000"/>
                    <a:gd name="connsiteY112" fmla="*/ 2641 h 10000"/>
                    <a:gd name="connsiteX113" fmla="*/ 2222 w 10000"/>
                    <a:gd name="connsiteY113" fmla="*/ 2641 h 10000"/>
                    <a:gd name="connsiteX114" fmla="*/ 2389 w 10000"/>
                    <a:gd name="connsiteY114" fmla="*/ 2655 h 10000"/>
                    <a:gd name="connsiteX115" fmla="*/ 2389 w 10000"/>
                    <a:gd name="connsiteY115" fmla="*/ 2655 h 10000"/>
                    <a:gd name="connsiteX116" fmla="*/ 2444 w 10000"/>
                    <a:gd name="connsiteY116" fmla="*/ 2655 h 10000"/>
                    <a:gd name="connsiteX117" fmla="*/ 2500 w 10000"/>
                    <a:gd name="connsiteY117" fmla="*/ 2625 h 10000"/>
                    <a:gd name="connsiteX118" fmla="*/ 2778 w 10000"/>
                    <a:gd name="connsiteY118" fmla="*/ 2534 h 10000"/>
                    <a:gd name="connsiteX119" fmla="*/ 3500 w 10000"/>
                    <a:gd name="connsiteY119" fmla="*/ 2231 h 10000"/>
                    <a:gd name="connsiteX120" fmla="*/ 4444 w 10000"/>
                    <a:gd name="connsiteY120" fmla="*/ 1792 h 10000"/>
                    <a:gd name="connsiteX121" fmla="*/ 4444 w 10000"/>
                    <a:gd name="connsiteY121" fmla="*/ 1792 h 10000"/>
                    <a:gd name="connsiteX122" fmla="*/ 4444 w 10000"/>
                    <a:gd name="connsiteY122" fmla="*/ 1730 h 10000"/>
                    <a:gd name="connsiteX123" fmla="*/ 4444 w 10000"/>
                    <a:gd name="connsiteY123" fmla="*/ 1592 h 10000"/>
                    <a:gd name="connsiteX124" fmla="*/ 4500 w 10000"/>
                    <a:gd name="connsiteY124" fmla="*/ 1502 h 10000"/>
                    <a:gd name="connsiteX125" fmla="*/ 4611 w 10000"/>
                    <a:gd name="connsiteY125" fmla="*/ 1426 h 10000"/>
                    <a:gd name="connsiteX126" fmla="*/ 4778 w 10000"/>
                    <a:gd name="connsiteY126" fmla="*/ 1335 h 10000"/>
                    <a:gd name="connsiteX127" fmla="*/ 5000 w 10000"/>
                    <a:gd name="connsiteY127" fmla="*/ 1260 h 10000"/>
                    <a:gd name="connsiteX128" fmla="*/ 5000 w 10000"/>
                    <a:gd name="connsiteY128" fmla="*/ 1260 h 10000"/>
                    <a:gd name="connsiteX129" fmla="*/ 5556 w 10000"/>
                    <a:gd name="connsiteY129" fmla="*/ 1108 h 10000"/>
                    <a:gd name="connsiteX130" fmla="*/ 6111 w 10000"/>
                    <a:gd name="connsiteY130" fmla="*/ 911 h 10000"/>
                    <a:gd name="connsiteX131" fmla="*/ 6667 w 10000"/>
                    <a:gd name="connsiteY131" fmla="*/ 728 h 10000"/>
                    <a:gd name="connsiteX132" fmla="*/ 7056 w 10000"/>
                    <a:gd name="connsiteY132" fmla="*/ 562 h 10000"/>
                    <a:gd name="connsiteX133" fmla="*/ 7056 w 10000"/>
                    <a:gd name="connsiteY133" fmla="*/ 562 h 10000"/>
                    <a:gd name="connsiteX134" fmla="*/ 7333 w 10000"/>
                    <a:gd name="connsiteY134" fmla="*/ 410 h 10000"/>
                    <a:gd name="connsiteX135" fmla="*/ 7667 w 10000"/>
                    <a:gd name="connsiteY135" fmla="*/ 228 h 10000"/>
                    <a:gd name="connsiteX136" fmla="*/ 8000 w 10000"/>
                    <a:gd name="connsiteY136" fmla="*/ 90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288 h 10000"/>
                    <a:gd name="connsiteX144" fmla="*/ 10000 w 10000"/>
                    <a:gd name="connsiteY144" fmla="*/ 9288 h 10000"/>
                    <a:gd name="connsiteX145" fmla="*/ 9722 w 10000"/>
                    <a:gd name="connsiteY145" fmla="*/ 9273 h 10000"/>
                    <a:gd name="connsiteX146" fmla="*/ 9389 w 10000"/>
                    <a:gd name="connsiteY146" fmla="*/ 9288 h 10000"/>
                    <a:gd name="connsiteX147" fmla="*/ 9389 w 10000"/>
                    <a:gd name="connsiteY147" fmla="*/ 9288 h 10000"/>
                    <a:gd name="connsiteX148" fmla="*/ 9278 w 10000"/>
                    <a:gd name="connsiteY148" fmla="*/ 9303 h 10000"/>
                    <a:gd name="connsiteX149" fmla="*/ 9056 w 10000"/>
                    <a:gd name="connsiteY149" fmla="*/ 9288 h 10000"/>
                    <a:gd name="connsiteX150" fmla="*/ 8889 w 10000"/>
                    <a:gd name="connsiteY150" fmla="*/ 9273 h 10000"/>
                    <a:gd name="connsiteX151" fmla="*/ 8722 w 10000"/>
                    <a:gd name="connsiteY151" fmla="*/ 9242 h 10000"/>
                    <a:gd name="connsiteX152" fmla="*/ 8611 w 10000"/>
                    <a:gd name="connsiteY152" fmla="*/ 9198 h 10000"/>
                    <a:gd name="connsiteX153" fmla="*/ 8444 w 10000"/>
                    <a:gd name="connsiteY153" fmla="*/ 9121 h 10000"/>
                    <a:gd name="connsiteX154" fmla="*/ 8444 w 10000"/>
                    <a:gd name="connsiteY154" fmla="*/ 9121 h 10000"/>
                    <a:gd name="connsiteX155" fmla="*/ 8222 w 10000"/>
                    <a:gd name="connsiteY155" fmla="*/ 8984 h 10000"/>
                    <a:gd name="connsiteX156" fmla="*/ 8111 w 10000"/>
                    <a:gd name="connsiteY156" fmla="*/ 8923 h 10000"/>
                    <a:gd name="connsiteX157" fmla="*/ 7944 w 10000"/>
                    <a:gd name="connsiteY157" fmla="*/ 8878 h 10000"/>
                    <a:gd name="connsiteX158" fmla="*/ 7778 w 10000"/>
                    <a:gd name="connsiteY158" fmla="*/ 8847 h 10000"/>
                    <a:gd name="connsiteX159" fmla="*/ 7556 w 10000"/>
                    <a:gd name="connsiteY159" fmla="*/ 8831 h 10000"/>
                    <a:gd name="connsiteX160" fmla="*/ 7333 w 10000"/>
                    <a:gd name="connsiteY160" fmla="*/ 8817 h 10000"/>
                    <a:gd name="connsiteX161" fmla="*/ 7000 w 10000"/>
                    <a:gd name="connsiteY161" fmla="*/ 8801 h 10000"/>
                    <a:gd name="connsiteX162" fmla="*/ 7000 w 10000"/>
                    <a:gd name="connsiteY162" fmla="*/ 8801 h 10000"/>
                    <a:gd name="connsiteX163" fmla="*/ 6556 w 10000"/>
                    <a:gd name="connsiteY163" fmla="*/ 8817 h 10000"/>
                    <a:gd name="connsiteX164" fmla="*/ 6222 w 10000"/>
                    <a:gd name="connsiteY164" fmla="*/ 8817 h 10000"/>
                    <a:gd name="connsiteX165" fmla="*/ 6111 w 10000"/>
                    <a:gd name="connsiteY165" fmla="*/ 8801 h 10000"/>
                    <a:gd name="connsiteX166" fmla="*/ 6056 w 10000"/>
                    <a:gd name="connsiteY166" fmla="*/ 8786 h 10000"/>
                    <a:gd name="connsiteX167" fmla="*/ 6056 w 10000"/>
                    <a:gd name="connsiteY167" fmla="*/ 8786 h 10000"/>
                    <a:gd name="connsiteX168" fmla="*/ 6056 w 10000"/>
                    <a:gd name="connsiteY168" fmla="*/ 8514 h 10000"/>
                    <a:gd name="connsiteX169" fmla="*/ 6056 w 10000"/>
                    <a:gd name="connsiteY169" fmla="*/ 8514 h 10000"/>
                    <a:gd name="connsiteX170" fmla="*/ 6056 w 10000"/>
                    <a:gd name="connsiteY170" fmla="*/ 8453 h 10000"/>
                    <a:gd name="connsiteX171" fmla="*/ 5944 w 10000"/>
                    <a:gd name="connsiteY171" fmla="*/ 8378 h 10000"/>
                    <a:gd name="connsiteX172" fmla="*/ 5889 w 10000"/>
                    <a:gd name="connsiteY172" fmla="*/ 8363 h 10000"/>
                    <a:gd name="connsiteX173" fmla="*/ 5778 w 10000"/>
                    <a:gd name="connsiteY173" fmla="*/ 8346 h 10000"/>
                    <a:gd name="connsiteX174" fmla="*/ 5667 w 10000"/>
                    <a:gd name="connsiteY174" fmla="*/ 8346 h 10000"/>
                    <a:gd name="connsiteX175" fmla="*/ 5500 w 10000"/>
                    <a:gd name="connsiteY175" fmla="*/ 8363 h 10000"/>
                    <a:gd name="connsiteX176" fmla="*/ 5500 w 10000"/>
                    <a:gd name="connsiteY176" fmla="*/ 8363 h 10000"/>
                    <a:gd name="connsiteX177" fmla="*/ 4889 w 10000"/>
                    <a:gd name="connsiteY177" fmla="*/ 8468 h 10000"/>
                    <a:gd name="connsiteX178" fmla="*/ 4611 w 10000"/>
                    <a:gd name="connsiteY178" fmla="*/ 8497 h 10000"/>
                    <a:gd name="connsiteX179" fmla="*/ 4556 w 10000"/>
                    <a:gd name="connsiteY179" fmla="*/ 8514 h 10000"/>
                    <a:gd name="connsiteX180" fmla="*/ 4500 w 10000"/>
                    <a:gd name="connsiteY180" fmla="*/ 8497 h 10000"/>
                    <a:gd name="connsiteX181" fmla="*/ 4500 w 10000"/>
                    <a:gd name="connsiteY181" fmla="*/ 8497 h 10000"/>
                    <a:gd name="connsiteX182" fmla="*/ 4222 w 10000"/>
                    <a:gd name="connsiteY182" fmla="*/ 8346 h 10000"/>
                    <a:gd name="connsiteX183" fmla="*/ 4222 w 10000"/>
                    <a:gd name="connsiteY183" fmla="*/ 8346 h 10000"/>
                    <a:gd name="connsiteX184" fmla="*/ 4111 w 10000"/>
                    <a:gd name="connsiteY184" fmla="*/ 8271 h 10000"/>
                    <a:gd name="connsiteX185" fmla="*/ 4111 w 10000"/>
                    <a:gd name="connsiteY185" fmla="*/ 8224 h 10000"/>
                    <a:gd name="connsiteX186" fmla="*/ 4111 w 10000"/>
                    <a:gd name="connsiteY186" fmla="*/ 8179 h 10000"/>
                    <a:gd name="connsiteX187" fmla="*/ 4111 w 10000"/>
                    <a:gd name="connsiteY187" fmla="*/ 8179 h 10000"/>
                    <a:gd name="connsiteX188" fmla="*/ 4278 w 10000"/>
                    <a:gd name="connsiteY188" fmla="*/ 8133 h 10000"/>
                    <a:gd name="connsiteX189" fmla="*/ 4389 w 10000"/>
                    <a:gd name="connsiteY189" fmla="*/ 8118 h 10000"/>
                    <a:gd name="connsiteX190" fmla="*/ 4389 w 10000"/>
                    <a:gd name="connsiteY190" fmla="*/ 8118 h 10000"/>
                    <a:gd name="connsiteX191" fmla="*/ 4000 w 10000"/>
                    <a:gd name="connsiteY191" fmla="*/ 8118 h 10000"/>
                    <a:gd name="connsiteX192" fmla="*/ 3722 w 10000"/>
                    <a:gd name="connsiteY192" fmla="*/ 8133 h 10000"/>
                    <a:gd name="connsiteX193" fmla="*/ 3611 w 10000"/>
                    <a:gd name="connsiteY193" fmla="*/ 8149 h 10000"/>
                    <a:gd name="connsiteX194" fmla="*/ 3556 w 10000"/>
                    <a:gd name="connsiteY194" fmla="*/ 8164 h 10000"/>
                    <a:gd name="connsiteX195" fmla="*/ 3556 w 10000"/>
                    <a:gd name="connsiteY195" fmla="*/ 8164 h 10000"/>
                    <a:gd name="connsiteX196" fmla="*/ 3444 w 10000"/>
                    <a:gd name="connsiteY196" fmla="*/ 8224 h 10000"/>
                    <a:gd name="connsiteX197" fmla="*/ 3278 w 10000"/>
                    <a:gd name="connsiteY197" fmla="*/ 8316 h 10000"/>
                    <a:gd name="connsiteX198" fmla="*/ 3000 w 10000"/>
                    <a:gd name="connsiteY198" fmla="*/ 8423 h 10000"/>
                    <a:gd name="connsiteX199" fmla="*/ 2667 w 10000"/>
                    <a:gd name="connsiteY199" fmla="*/ 8497 h 10000"/>
                    <a:gd name="connsiteX200" fmla="*/ 2667 w 10000"/>
                    <a:gd name="connsiteY200" fmla="*/ 8497 h 10000"/>
                    <a:gd name="connsiteX201" fmla="*/ 2333 w 10000"/>
                    <a:gd name="connsiteY201" fmla="*/ 8559 h 10000"/>
                    <a:gd name="connsiteX202" fmla="*/ 1833 w 10000"/>
                    <a:gd name="connsiteY202" fmla="*/ 8620 h 10000"/>
                    <a:gd name="connsiteX203" fmla="*/ 1389 w 10000"/>
                    <a:gd name="connsiteY203" fmla="*/ 8650 h 10000"/>
                    <a:gd name="connsiteX204" fmla="*/ 889 w 10000"/>
                    <a:gd name="connsiteY204" fmla="*/ 8665 h 10000"/>
                    <a:gd name="connsiteX205" fmla="*/ 889 w 10000"/>
                    <a:gd name="connsiteY205" fmla="*/ 8665 h 10000"/>
                    <a:gd name="connsiteX206" fmla="*/ 500 w 10000"/>
                    <a:gd name="connsiteY206" fmla="*/ 8681 h 10000"/>
                    <a:gd name="connsiteX207" fmla="*/ 222 w 10000"/>
                    <a:gd name="connsiteY207" fmla="*/ 8696 h 10000"/>
                    <a:gd name="connsiteX208" fmla="*/ 0 w 10000"/>
                    <a:gd name="connsiteY208" fmla="*/ 8711 h 10000"/>
                    <a:gd name="connsiteX209" fmla="*/ 0 w 10000"/>
                    <a:gd name="connsiteY209" fmla="*/ 8711 h 10000"/>
                    <a:gd name="connsiteX210" fmla="*/ 278 w 10000"/>
                    <a:gd name="connsiteY210" fmla="*/ 8953 h 10000"/>
                    <a:gd name="connsiteX211" fmla="*/ 500 w 10000"/>
                    <a:gd name="connsiteY211" fmla="*/ 9136 h 10000"/>
                    <a:gd name="connsiteX212" fmla="*/ 722 w 10000"/>
                    <a:gd name="connsiteY212" fmla="*/ 9288 h 10000"/>
                    <a:gd name="connsiteX213" fmla="*/ 722 w 10000"/>
                    <a:gd name="connsiteY213" fmla="*/ 9288 h 10000"/>
                    <a:gd name="connsiteX214" fmla="*/ 889 w 10000"/>
                    <a:gd name="connsiteY214" fmla="*/ 9379 h 10000"/>
                    <a:gd name="connsiteX215" fmla="*/ 944 w 10000"/>
                    <a:gd name="connsiteY215" fmla="*/ 9454 h 10000"/>
                    <a:gd name="connsiteX216" fmla="*/ 1111 w 10000"/>
                    <a:gd name="connsiteY216" fmla="*/ 9530 h 10000"/>
                    <a:gd name="connsiteX217" fmla="*/ 1333 w 10000"/>
                    <a:gd name="connsiteY217" fmla="*/ 9652 h 10000"/>
                    <a:gd name="connsiteX218" fmla="*/ 1333 w 10000"/>
                    <a:gd name="connsiteY218" fmla="*/ 9652 h 10000"/>
                    <a:gd name="connsiteX219" fmla="*/ 1444 w 10000"/>
                    <a:gd name="connsiteY219" fmla="*/ 9714 h 10000"/>
                    <a:gd name="connsiteX220" fmla="*/ 1500 w 10000"/>
                    <a:gd name="connsiteY220" fmla="*/ 9758 h 10000"/>
                    <a:gd name="connsiteX221" fmla="*/ 1500 w 10000"/>
                    <a:gd name="connsiteY221" fmla="*/ 9804 h 10000"/>
                    <a:gd name="connsiteX222" fmla="*/ 1556 w 10000"/>
                    <a:gd name="connsiteY222" fmla="*/ 9819 h 10000"/>
                    <a:gd name="connsiteX223" fmla="*/ 1722 w 10000"/>
                    <a:gd name="connsiteY223" fmla="*/ 9833 h 10000"/>
                    <a:gd name="connsiteX224" fmla="*/ 5444 w 10000"/>
                    <a:gd name="connsiteY224" fmla="*/ 10000 h 10000"/>
                    <a:gd name="connsiteX225" fmla="*/ 10000 w 10000"/>
                    <a:gd name="connsiteY225" fmla="*/ 9273 h 10000"/>
                    <a:gd name="connsiteX0" fmla="*/ 10000 w 10000"/>
                    <a:gd name="connsiteY0" fmla="*/ 9273 h 9833"/>
                    <a:gd name="connsiteX1" fmla="*/ 10000 w 10000"/>
                    <a:gd name="connsiteY1" fmla="*/ 9273 h 9833"/>
                    <a:gd name="connsiteX2" fmla="*/ 9222 w 10000"/>
                    <a:gd name="connsiteY2" fmla="*/ 9288 h 9833"/>
                    <a:gd name="connsiteX3" fmla="*/ 8944 w 10000"/>
                    <a:gd name="connsiteY3" fmla="*/ 9288 h 9833"/>
                    <a:gd name="connsiteX4" fmla="*/ 8833 w 10000"/>
                    <a:gd name="connsiteY4" fmla="*/ 9273 h 9833"/>
                    <a:gd name="connsiteX5" fmla="*/ 8778 w 10000"/>
                    <a:gd name="connsiteY5" fmla="*/ 9257 h 9833"/>
                    <a:gd name="connsiteX6" fmla="*/ 8778 w 10000"/>
                    <a:gd name="connsiteY6" fmla="*/ 9257 h 9833"/>
                    <a:gd name="connsiteX7" fmla="*/ 8444 w 10000"/>
                    <a:gd name="connsiteY7" fmla="*/ 9075 h 9833"/>
                    <a:gd name="connsiteX8" fmla="*/ 8167 w 10000"/>
                    <a:gd name="connsiteY8" fmla="*/ 8908 h 9833"/>
                    <a:gd name="connsiteX9" fmla="*/ 8167 w 10000"/>
                    <a:gd name="connsiteY9" fmla="*/ 8908 h 9833"/>
                    <a:gd name="connsiteX10" fmla="*/ 8056 w 10000"/>
                    <a:gd name="connsiteY10" fmla="*/ 8878 h 9833"/>
                    <a:gd name="connsiteX11" fmla="*/ 7889 w 10000"/>
                    <a:gd name="connsiteY11" fmla="*/ 8847 h 9833"/>
                    <a:gd name="connsiteX12" fmla="*/ 7444 w 10000"/>
                    <a:gd name="connsiteY12" fmla="*/ 8831 h 9833"/>
                    <a:gd name="connsiteX13" fmla="*/ 6889 w 10000"/>
                    <a:gd name="connsiteY13" fmla="*/ 8817 h 9833"/>
                    <a:gd name="connsiteX14" fmla="*/ 6389 w 10000"/>
                    <a:gd name="connsiteY14" fmla="*/ 8817 h 9833"/>
                    <a:gd name="connsiteX15" fmla="*/ 6389 w 10000"/>
                    <a:gd name="connsiteY15" fmla="*/ 8817 h 9833"/>
                    <a:gd name="connsiteX16" fmla="*/ 6167 w 10000"/>
                    <a:gd name="connsiteY16" fmla="*/ 8801 h 9833"/>
                    <a:gd name="connsiteX17" fmla="*/ 6056 w 10000"/>
                    <a:gd name="connsiteY17" fmla="*/ 8772 h 9833"/>
                    <a:gd name="connsiteX18" fmla="*/ 6000 w 10000"/>
                    <a:gd name="connsiteY18" fmla="*/ 8741 h 9833"/>
                    <a:gd name="connsiteX19" fmla="*/ 6000 w 10000"/>
                    <a:gd name="connsiteY19" fmla="*/ 8681 h 9833"/>
                    <a:gd name="connsiteX20" fmla="*/ 6056 w 10000"/>
                    <a:gd name="connsiteY20" fmla="*/ 8559 h 9833"/>
                    <a:gd name="connsiteX21" fmla="*/ 6111 w 10000"/>
                    <a:gd name="connsiteY21" fmla="*/ 8497 h 9833"/>
                    <a:gd name="connsiteX22" fmla="*/ 6056 w 10000"/>
                    <a:gd name="connsiteY22" fmla="*/ 8423 h 9833"/>
                    <a:gd name="connsiteX23" fmla="*/ 6056 w 10000"/>
                    <a:gd name="connsiteY23" fmla="*/ 8423 h 9833"/>
                    <a:gd name="connsiteX24" fmla="*/ 6000 w 10000"/>
                    <a:gd name="connsiteY24" fmla="*/ 8378 h 9833"/>
                    <a:gd name="connsiteX25" fmla="*/ 5944 w 10000"/>
                    <a:gd name="connsiteY25" fmla="*/ 8346 h 9833"/>
                    <a:gd name="connsiteX26" fmla="*/ 5833 w 10000"/>
                    <a:gd name="connsiteY26" fmla="*/ 8346 h 9833"/>
                    <a:gd name="connsiteX27" fmla="*/ 5667 w 10000"/>
                    <a:gd name="connsiteY27" fmla="*/ 8363 h 9833"/>
                    <a:gd name="connsiteX28" fmla="*/ 5333 w 10000"/>
                    <a:gd name="connsiteY28" fmla="*/ 8407 h 9833"/>
                    <a:gd name="connsiteX29" fmla="*/ 4889 w 10000"/>
                    <a:gd name="connsiteY29" fmla="*/ 8483 h 9833"/>
                    <a:gd name="connsiteX30" fmla="*/ 4889 w 10000"/>
                    <a:gd name="connsiteY30" fmla="*/ 8483 h 9833"/>
                    <a:gd name="connsiteX31" fmla="*/ 4611 w 10000"/>
                    <a:gd name="connsiteY31" fmla="*/ 8497 h 9833"/>
                    <a:gd name="connsiteX32" fmla="*/ 4500 w 10000"/>
                    <a:gd name="connsiteY32" fmla="*/ 8497 h 9833"/>
                    <a:gd name="connsiteX33" fmla="*/ 4444 w 10000"/>
                    <a:gd name="connsiteY33" fmla="*/ 8483 h 9833"/>
                    <a:gd name="connsiteX34" fmla="*/ 4389 w 10000"/>
                    <a:gd name="connsiteY34" fmla="*/ 8423 h 9833"/>
                    <a:gd name="connsiteX35" fmla="*/ 4222 w 10000"/>
                    <a:gd name="connsiteY35" fmla="*/ 8346 h 9833"/>
                    <a:gd name="connsiteX36" fmla="*/ 4222 w 10000"/>
                    <a:gd name="connsiteY36" fmla="*/ 8346 h 9833"/>
                    <a:gd name="connsiteX37" fmla="*/ 4111 w 10000"/>
                    <a:gd name="connsiteY37" fmla="*/ 8301 h 9833"/>
                    <a:gd name="connsiteX38" fmla="*/ 4111 w 10000"/>
                    <a:gd name="connsiteY38" fmla="*/ 8256 h 9833"/>
                    <a:gd name="connsiteX39" fmla="*/ 4111 w 10000"/>
                    <a:gd name="connsiteY39" fmla="*/ 8224 h 9833"/>
                    <a:gd name="connsiteX40" fmla="*/ 4167 w 10000"/>
                    <a:gd name="connsiteY40" fmla="*/ 8194 h 9833"/>
                    <a:gd name="connsiteX41" fmla="*/ 4278 w 10000"/>
                    <a:gd name="connsiteY41" fmla="*/ 8133 h 9833"/>
                    <a:gd name="connsiteX42" fmla="*/ 4389 w 10000"/>
                    <a:gd name="connsiteY42" fmla="*/ 8118 h 9833"/>
                    <a:gd name="connsiteX43" fmla="*/ 4389 w 10000"/>
                    <a:gd name="connsiteY43" fmla="*/ 8118 h 9833"/>
                    <a:gd name="connsiteX44" fmla="*/ 4389 w 10000"/>
                    <a:gd name="connsiteY44" fmla="*/ 8104 h 9833"/>
                    <a:gd name="connsiteX45" fmla="*/ 4444 w 10000"/>
                    <a:gd name="connsiteY45" fmla="*/ 8089 h 9833"/>
                    <a:gd name="connsiteX46" fmla="*/ 4667 w 10000"/>
                    <a:gd name="connsiteY46" fmla="*/ 8074 h 9833"/>
                    <a:gd name="connsiteX47" fmla="*/ 5333 w 10000"/>
                    <a:gd name="connsiteY47" fmla="*/ 8043 h 9833"/>
                    <a:gd name="connsiteX48" fmla="*/ 6500 w 10000"/>
                    <a:gd name="connsiteY48" fmla="*/ 7998 h 9833"/>
                    <a:gd name="connsiteX49" fmla="*/ 6500 w 10000"/>
                    <a:gd name="connsiteY49" fmla="*/ 7998 h 9833"/>
                    <a:gd name="connsiteX50" fmla="*/ 7167 w 10000"/>
                    <a:gd name="connsiteY50" fmla="*/ 7952 h 9833"/>
                    <a:gd name="connsiteX51" fmla="*/ 8389 w 10000"/>
                    <a:gd name="connsiteY51" fmla="*/ 7861 h 9833"/>
                    <a:gd name="connsiteX52" fmla="*/ 8389 w 10000"/>
                    <a:gd name="connsiteY52" fmla="*/ 7861 h 9833"/>
                    <a:gd name="connsiteX53" fmla="*/ 8667 w 10000"/>
                    <a:gd name="connsiteY53" fmla="*/ 7830 h 9833"/>
                    <a:gd name="connsiteX54" fmla="*/ 8778 w 10000"/>
                    <a:gd name="connsiteY54" fmla="*/ 7785 h 9833"/>
                    <a:gd name="connsiteX55" fmla="*/ 8889 w 10000"/>
                    <a:gd name="connsiteY55" fmla="*/ 7755 h 9833"/>
                    <a:gd name="connsiteX56" fmla="*/ 8833 w 10000"/>
                    <a:gd name="connsiteY56" fmla="*/ 7725 h 9833"/>
                    <a:gd name="connsiteX57" fmla="*/ 8833 w 10000"/>
                    <a:gd name="connsiteY57" fmla="*/ 7695 h 9833"/>
                    <a:gd name="connsiteX58" fmla="*/ 8722 w 10000"/>
                    <a:gd name="connsiteY58" fmla="*/ 7663 h 9833"/>
                    <a:gd name="connsiteX59" fmla="*/ 8556 w 10000"/>
                    <a:gd name="connsiteY59" fmla="*/ 7618 h 9833"/>
                    <a:gd name="connsiteX60" fmla="*/ 8556 w 10000"/>
                    <a:gd name="connsiteY60" fmla="*/ 7618 h 9833"/>
                    <a:gd name="connsiteX61" fmla="*/ 6556 w 10000"/>
                    <a:gd name="connsiteY61" fmla="*/ 7345 h 9833"/>
                    <a:gd name="connsiteX62" fmla="*/ 6556 w 10000"/>
                    <a:gd name="connsiteY62" fmla="*/ 7345 h 9833"/>
                    <a:gd name="connsiteX63" fmla="*/ 6333 w 10000"/>
                    <a:gd name="connsiteY63" fmla="*/ 7300 h 9833"/>
                    <a:gd name="connsiteX64" fmla="*/ 6167 w 10000"/>
                    <a:gd name="connsiteY64" fmla="*/ 7254 h 9833"/>
                    <a:gd name="connsiteX65" fmla="*/ 6056 w 10000"/>
                    <a:gd name="connsiteY65" fmla="*/ 7209 h 9833"/>
                    <a:gd name="connsiteX66" fmla="*/ 6056 w 10000"/>
                    <a:gd name="connsiteY66" fmla="*/ 7209 h 9833"/>
                    <a:gd name="connsiteX67" fmla="*/ 8056 w 10000"/>
                    <a:gd name="connsiteY67" fmla="*/ 7193 h 9833"/>
                    <a:gd name="connsiteX68" fmla="*/ 10000 w 10000"/>
                    <a:gd name="connsiteY68" fmla="*/ 7345 h 9833"/>
                    <a:gd name="connsiteX69" fmla="*/ 10000 w 10000"/>
                    <a:gd name="connsiteY69" fmla="*/ 5964 h 9833"/>
                    <a:gd name="connsiteX70" fmla="*/ 10000 w 10000"/>
                    <a:gd name="connsiteY70" fmla="*/ 5964 h 9833"/>
                    <a:gd name="connsiteX71" fmla="*/ 7778 w 10000"/>
                    <a:gd name="connsiteY71" fmla="*/ 5644 h 9833"/>
                    <a:gd name="connsiteX72" fmla="*/ 6556 w 10000"/>
                    <a:gd name="connsiteY72" fmla="*/ 5463 h 9833"/>
                    <a:gd name="connsiteX73" fmla="*/ 6556 w 10000"/>
                    <a:gd name="connsiteY73" fmla="*/ 5463 h 9833"/>
                    <a:gd name="connsiteX74" fmla="*/ 6556 w 10000"/>
                    <a:gd name="connsiteY74" fmla="*/ 5448 h 9833"/>
                    <a:gd name="connsiteX75" fmla="*/ 6556 w 10000"/>
                    <a:gd name="connsiteY75" fmla="*/ 5357 h 9833"/>
                    <a:gd name="connsiteX76" fmla="*/ 6556 w 10000"/>
                    <a:gd name="connsiteY76" fmla="*/ 5357 h 9833"/>
                    <a:gd name="connsiteX77" fmla="*/ 6389 w 10000"/>
                    <a:gd name="connsiteY77" fmla="*/ 5251 h 9833"/>
                    <a:gd name="connsiteX78" fmla="*/ 6056 w 10000"/>
                    <a:gd name="connsiteY78" fmla="*/ 5085 h 9833"/>
                    <a:gd name="connsiteX79" fmla="*/ 5333 w 10000"/>
                    <a:gd name="connsiteY79" fmla="*/ 4765 h 9833"/>
                    <a:gd name="connsiteX80" fmla="*/ 5333 w 10000"/>
                    <a:gd name="connsiteY80" fmla="*/ 4765 h 9833"/>
                    <a:gd name="connsiteX81" fmla="*/ 5167 w 10000"/>
                    <a:gd name="connsiteY81" fmla="*/ 4720 h 9833"/>
                    <a:gd name="connsiteX82" fmla="*/ 4889 w 10000"/>
                    <a:gd name="connsiteY82" fmla="*/ 4658 h 9833"/>
                    <a:gd name="connsiteX83" fmla="*/ 4056 w 10000"/>
                    <a:gd name="connsiteY83" fmla="*/ 4522 h 9833"/>
                    <a:gd name="connsiteX84" fmla="*/ 2889 w 10000"/>
                    <a:gd name="connsiteY84" fmla="*/ 4356 h 9833"/>
                    <a:gd name="connsiteX85" fmla="*/ 2889 w 10000"/>
                    <a:gd name="connsiteY85" fmla="*/ 4356 h 9833"/>
                    <a:gd name="connsiteX86" fmla="*/ 2389 w 10000"/>
                    <a:gd name="connsiteY86" fmla="*/ 4339 h 9833"/>
                    <a:gd name="connsiteX87" fmla="*/ 2000 w 10000"/>
                    <a:gd name="connsiteY87" fmla="*/ 4324 h 9833"/>
                    <a:gd name="connsiteX88" fmla="*/ 1889 w 10000"/>
                    <a:gd name="connsiteY88" fmla="*/ 4309 h 9833"/>
                    <a:gd name="connsiteX89" fmla="*/ 1778 w 10000"/>
                    <a:gd name="connsiteY89" fmla="*/ 4294 h 9833"/>
                    <a:gd name="connsiteX90" fmla="*/ 1778 w 10000"/>
                    <a:gd name="connsiteY90" fmla="*/ 4294 h 9833"/>
                    <a:gd name="connsiteX91" fmla="*/ 1667 w 10000"/>
                    <a:gd name="connsiteY91" fmla="*/ 4233 h 9833"/>
                    <a:gd name="connsiteX92" fmla="*/ 1500 w 10000"/>
                    <a:gd name="connsiteY92" fmla="*/ 4128 h 9833"/>
                    <a:gd name="connsiteX93" fmla="*/ 1444 w 10000"/>
                    <a:gd name="connsiteY93" fmla="*/ 4067 h 9833"/>
                    <a:gd name="connsiteX94" fmla="*/ 1444 w 10000"/>
                    <a:gd name="connsiteY94" fmla="*/ 4005 h 9833"/>
                    <a:gd name="connsiteX95" fmla="*/ 1444 w 10000"/>
                    <a:gd name="connsiteY95" fmla="*/ 3961 h 9833"/>
                    <a:gd name="connsiteX96" fmla="*/ 1556 w 10000"/>
                    <a:gd name="connsiteY96" fmla="*/ 3915 h 9833"/>
                    <a:gd name="connsiteX97" fmla="*/ 1556 w 10000"/>
                    <a:gd name="connsiteY97" fmla="*/ 3915 h 9833"/>
                    <a:gd name="connsiteX98" fmla="*/ 1833 w 10000"/>
                    <a:gd name="connsiteY98" fmla="*/ 3839 h 9833"/>
                    <a:gd name="connsiteX99" fmla="*/ 2111 w 10000"/>
                    <a:gd name="connsiteY99" fmla="*/ 3764 h 9833"/>
                    <a:gd name="connsiteX100" fmla="*/ 2278 w 10000"/>
                    <a:gd name="connsiteY100" fmla="*/ 3719 h 9833"/>
                    <a:gd name="connsiteX101" fmla="*/ 2389 w 10000"/>
                    <a:gd name="connsiteY101" fmla="*/ 3672 h 9833"/>
                    <a:gd name="connsiteX102" fmla="*/ 2389 w 10000"/>
                    <a:gd name="connsiteY102" fmla="*/ 3611 h 9833"/>
                    <a:gd name="connsiteX103" fmla="*/ 2389 w 10000"/>
                    <a:gd name="connsiteY103" fmla="*/ 3536 h 9833"/>
                    <a:gd name="connsiteX104" fmla="*/ 2389 w 10000"/>
                    <a:gd name="connsiteY104" fmla="*/ 3536 h 9833"/>
                    <a:gd name="connsiteX105" fmla="*/ 2167 w 10000"/>
                    <a:gd name="connsiteY105" fmla="*/ 3323 h 9833"/>
                    <a:gd name="connsiteX106" fmla="*/ 1889 w 10000"/>
                    <a:gd name="connsiteY106" fmla="*/ 3035 h 9833"/>
                    <a:gd name="connsiteX107" fmla="*/ 1667 w 10000"/>
                    <a:gd name="connsiteY107" fmla="*/ 2777 h 9833"/>
                    <a:gd name="connsiteX108" fmla="*/ 1611 w 10000"/>
                    <a:gd name="connsiteY108" fmla="*/ 2701 h 9833"/>
                    <a:gd name="connsiteX109" fmla="*/ 1611 w 10000"/>
                    <a:gd name="connsiteY109" fmla="*/ 2671 h 9833"/>
                    <a:gd name="connsiteX110" fmla="*/ 1667 w 10000"/>
                    <a:gd name="connsiteY110" fmla="*/ 2655 h 9833"/>
                    <a:gd name="connsiteX111" fmla="*/ 1667 w 10000"/>
                    <a:gd name="connsiteY111" fmla="*/ 2655 h 9833"/>
                    <a:gd name="connsiteX112" fmla="*/ 2000 w 10000"/>
                    <a:gd name="connsiteY112" fmla="*/ 2641 h 9833"/>
                    <a:gd name="connsiteX113" fmla="*/ 2222 w 10000"/>
                    <a:gd name="connsiteY113" fmla="*/ 2641 h 9833"/>
                    <a:gd name="connsiteX114" fmla="*/ 2389 w 10000"/>
                    <a:gd name="connsiteY114" fmla="*/ 2655 h 9833"/>
                    <a:gd name="connsiteX115" fmla="*/ 2389 w 10000"/>
                    <a:gd name="connsiteY115" fmla="*/ 2655 h 9833"/>
                    <a:gd name="connsiteX116" fmla="*/ 2444 w 10000"/>
                    <a:gd name="connsiteY116" fmla="*/ 2655 h 9833"/>
                    <a:gd name="connsiteX117" fmla="*/ 2500 w 10000"/>
                    <a:gd name="connsiteY117" fmla="*/ 2625 h 9833"/>
                    <a:gd name="connsiteX118" fmla="*/ 2778 w 10000"/>
                    <a:gd name="connsiteY118" fmla="*/ 2534 h 9833"/>
                    <a:gd name="connsiteX119" fmla="*/ 3500 w 10000"/>
                    <a:gd name="connsiteY119" fmla="*/ 2231 h 9833"/>
                    <a:gd name="connsiteX120" fmla="*/ 4444 w 10000"/>
                    <a:gd name="connsiteY120" fmla="*/ 1792 h 9833"/>
                    <a:gd name="connsiteX121" fmla="*/ 4444 w 10000"/>
                    <a:gd name="connsiteY121" fmla="*/ 1792 h 9833"/>
                    <a:gd name="connsiteX122" fmla="*/ 4444 w 10000"/>
                    <a:gd name="connsiteY122" fmla="*/ 1730 h 9833"/>
                    <a:gd name="connsiteX123" fmla="*/ 4444 w 10000"/>
                    <a:gd name="connsiteY123" fmla="*/ 1592 h 9833"/>
                    <a:gd name="connsiteX124" fmla="*/ 4500 w 10000"/>
                    <a:gd name="connsiteY124" fmla="*/ 1502 h 9833"/>
                    <a:gd name="connsiteX125" fmla="*/ 4611 w 10000"/>
                    <a:gd name="connsiteY125" fmla="*/ 1426 h 9833"/>
                    <a:gd name="connsiteX126" fmla="*/ 4778 w 10000"/>
                    <a:gd name="connsiteY126" fmla="*/ 1335 h 9833"/>
                    <a:gd name="connsiteX127" fmla="*/ 5000 w 10000"/>
                    <a:gd name="connsiteY127" fmla="*/ 1260 h 9833"/>
                    <a:gd name="connsiteX128" fmla="*/ 5000 w 10000"/>
                    <a:gd name="connsiteY128" fmla="*/ 1260 h 9833"/>
                    <a:gd name="connsiteX129" fmla="*/ 5556 w 10000"/>
                    <a:gd name="connsiteY129" fmla="*/ 1108 h 9833"/>
                    <a:gd name="connsiteX130" fmla="*/ 6111 w 10000"/>
                    <a:gd name="connsiteY130" fmla="*/ 911 h 9833"/>
                    <a:gd name="connsiteX131" fmla="*/ 6667 w 10000"/>
                    <a:gd name="connsiteY131" fmla="*/ 728 h 9833"/>
                    <a:gd name="connsiteX132" fmla="*/ 7056 w 10000"/>
                    <a:gd name="connsiteY132" fmla="*/ 562 h 9833"/>
                    <a:gd name="connsiteX133" fmla="*/ 7056 w 10000"/>
                    <a:gd name="connsiteY133" fmla="*/ 562 h 9833"/>
                    <a:gd name="connsiteX134" fmla="*/ 7333 w 10000"/>
                    <a:gd name="connsiteY134" fmla="*/ 410 h 9833"/>
                    <a:gd name="connsiteX135" fmla="*/ 7667 w 10000"/>
                    <a:gd name="connsiteY135" fmla="*/ 228 h 9833"/>
                    <a:gd name="connsiteX136" fmla="*/ 8000 w 10000"/>
                    <a:gd name="connsiteY136" fmla="*/ 90 h 9833"/>
                    <a:gd name="connsiteX137" fmla="*/ 8167 w 10000"/>
                    <a:gd name="connsiteY137" fmla="*/ 29 h 9833"/>
                    <a:gd name="connsiteX138" fmla="*/ 8333 w 10000"/>
                    <a:gd name="connsiteY138" fmla="*/ 15 h 9833"/>
                    <a:gd name="connsiteX139" fmla="*/ 8333 w 10000"/>
                    <a:gd name="connsiteY139" fmla="*/ 15 h 9833"/>
                    <a:gd name="connsiteX140" fmla="*/ 8667 w 10000"/>
                    <a:gd name="connsiteY140" fmla="*/ 0 h 9833"/>
                    <a:gd name="connsiteX141" fmla="*/ 9111 w 10000"/>
                    <a:gd name="connsiteY141" fmla="*/ 0 h 9833"/>
                    <a:gd name="connsiteX142" fmla="*/ 10000 w 10000"/>
                    <a:gd name="connsiteY142" fmla="*/ 15 h 9833"/>
                    <a:gd name="connsiteX143" fmla="*/ 10000 w 10000"/>
                    <a:gd name="connsiteY143" fmla="*/ 9288 h 9833"/>
                    <a:gd name="connsiteX144" fmla="*/ 10000 w 10000"/>
                    <a:gd name="connsiteY144" fmla="*/ 9288 h 9833"/>
                    <a:gd name="connsiteX145" fmla="*/ 9722 w 10000"/>
                    <a:gd name="connsiteY145" fmla="*/ 9273 h 9833"/>
                    <a:gd name="connsiteX146" fmla="*/ 9389 w 10000"/>
                    <a:gd name="connsiteY146" fmla="*/ 9288 h 9833"/>
                    <a:gd name="connsiteX147" fmla="*/ 9389 w 10000"/>
                    <a:gd name="connsiteY147" fmla="*/ 9288 h 9833"/>
                    <a:gd name="connsiteX148" fmla="*/ 9278 w 10000"/>
                    <a:gd name="connsiteY148" fmla="*/ 9303 h 9833"/>
                    <a:gd name="connsiteX149" fmla="*/ 9056 w 10000"/>
                    <a:gd name="connsiteY149" fmla="*/ 9288 h 9833"/>
                    <a:gd name="connsiteX150" fmla="*/ 8889 w 10000"/>
                    <a:gd name="connsiteY150" fmla="*/ 9273 h 9833"/>
                    <a:gd name="connsiteX151" fmla="*/ 8722 w 10000"/>
                    <a:gd name="connsiteY151" fmla="*/ 9242 h 9833"/>
                    <a:gd name="connsiteX152" fmla="*/ 8611 w 10000"/>
                    <a:gd name="connsiteY152" fmla="*/ 9198 h 9833"/>
                    <a:gd name="connsiteX153" fmla="*/ 8444 w 10000"/>
                    <a:gd name="connsiteY153" fmla="*/ 9121 h 9833"/>
                    <a:gd name="connsiteX154" fmla="*/ 8444 w 10000"/>
                    <a:gd name="connsiteY154" fmla="*/ 9121 h 9833"/>
                    <a:gd name="connsiteX155" fmla="*/ 8222 w 10000"/>
                    <a:gd name="connsiteY155" fmla="*/ 8984 h 9833"/>
                    <a:gd name="connsiteX156" fmla="*/ 8111 w 10000"/>
                    <a:gd name="connsiteY156" fmla="*/ 8923 h 9833"/>
                    <a:gd name="connsiteX157" fmla="*/ 7944 w 10000"/>
                    <a:gd name="connsiteY157" fmla="*/ 8878 h 9833"/>
                    <a:gd name="connsiteX158" fmla="*/ 7778 w 10000"/>
                    <a:gd name="connsiteY158" fmla="*/ 8847 h 9833"/>
                    <a:gd name="connsiteX159" fmla="*/ 7556 w 10000"/>
                    <a:gd name="connsiteY159" fmla="*/ 8831 h 9833"/>
                    <a:gd name="connsiteX160" fmla="*/ 7333 w 10000"/>
                    <a:gd name="connsiteY160" fmla="*/ 8817 h 9833"/>
                    <a:gd name="connsiteX161" fmla="*/ 7000 w 10000"/>
                    <a:gd name="connsiteY161" fmla="*/ 8801 h 9833"/>
                    <a:gd name="connsiteX162" fmla="*/ 7000 w 10000"/>
                    <a:gd name="connsiteY162" fmla="*/ 8801 h 9833"/>
                    <a:gd name="connsiteX163" fmla="*/ 6556 w 10000"/>
                    <a:gd name="connsiteY163" fmla="*/ 8817 h 9833"/>
                    <a:gd name="connsiteX164" fmla="*/ 6222 w 10000"/>
                    <a:gd name="connsiteY164" fmla="*/ 8817 h 9833"/>
                    <a:gd name="connsiteX165" fmla="*/ 6111 w 10000"/>
                    <a:gd name="connsiteY165" fmla="*/ 8801 h 9833"/>
                    <a:gd name="connsiteX166" fmla="*/ 6056 w 10000"/>
                    <a:gd name="connsiteY166" fmla="*/ 8786 h 9833"/>
                    <a:gd name="connsiteX167" fmla="*/ 6056 w 10000"/>
                    <a:gd name="connsiteY167" fmla="*/ 8786 h 9833"/>
                    <a:gd name="connsiteX168" fmla="*/ 6056 w 10000"/>
                    <a:gd name="connsiteY168" fmla="*/ 8514 h 9833"/>
                    <a:gd name="connsiteX169" fmla="*/ 6056 w 10000"/>
                    <a:gd name="connsiteY169" fmla="*/ 8514 h 9833"/>
                    <a:gd name="connsiteX170" fmla="*/ 6056 w 10000"/>
                    <a:gd name="connsiteY170" fmla="*/ 8453 h 9833"/>
                    <a:gd name="connsiteX171" fmla="*/ 5944 w 10000"/>
                    <a:gd name="connsiteY171" fmla="*/ 8378 h 9833"/>
                    <a:gd name="connsiteX172" fmla="*/ 5889 w 10000"/>
                    <a:gd name="connsiteY172" fmla="*/ 8363 h 9833"/>
                    <a:gd name="connsiteX173" fmla="*/ 5778 w 10000"/>
                    <a:gd name="connsiteY173" fmla="*/ 8346 h 9833"/>
                    <a:gd name="connsiteX174" fmla="*/ 5667 w 10000"/>
                    <a:gd name="connsiteY174" fmla="*/ 8346 h 9833"/>
                    <a:gd name="connsiteX175" fmla="*/ 5500 w 10000"/>
                    <a:gd name="connsiteY175" fmla="*/ 8363 h 9833"/>
                    <a:gd name="connsiteX176" fmla="*/ 5500 w 10000"/>
                    <a:gd name="connsiteY176" fmla="*/ 8363 h 9833"/>
                    <a:gd name="connsiteX177" fmla="*/ 4889 w 10000"/>
                    <a:gd name="connsiteY177" fmla="*/ 8468 h 9833"/>
                    <a:gd name="connsiteX178" fmla="*/ 4611 w 10000"/>
                    <a:gd name="connsiteY178" fmla="*/ 8497 h 9833"/>
                    <a:gd name="connsiteX179" fmla="*/ 4556 w 10000"/>
                    <a:gd name="connsiteY179" fmla="*/ 8514 h 9833"/>
                    <a:gd name="connsiteX180" fmla="*/ 4500 w 10000"/>
                    <a:gd name="connsiteY180" fmla="*/ 8497 h 9833"/>
                    <a:gd name="connsiteX181" fmla="*/ 4500 w 10000"/>
                    <a:gd name="connsiteY181" fmla="*/ 8497 h 9833"/>
                    <a:gd name="connsiteX182" fmla="*/ 4222 w 10000"/>
                    <a:gd name="connsiteY182" fmla="*/ 8346 h 9833"/>
                    <a:gd name="connsiteX183" fmla="*/ 4222 w 10000"/>
                    <a:gd name="connsiteY183" fmla="*/ 8346 h 9833"/>
                    <a:gd name="connsiteX184" fmla="*/ 4111 w 10000"/>
                    <a:gd name="connsiteY184" fmla="*/ 8271 h 9833"/>
                    <a:gd name="connsiteX185" fmla="*/ 4111 w 10000"/>
                    <a:gd name="connsiteY185" fmla="*/ 8224 h 9833"/>
                    <a:gd name="connsiteX186" fmla="*/ 4111 w 10000"/>
                    <a:gd name="connsiteY186" fmla="*/ 8179 h 9833"/>
                    <a:gd name="connsiteX187" fmla="*/ 4111 w 10000"/>
                    <a:gd name="connsiteY187" fmla="*/ 8179 h 9833"/>
                    <a:gd name="connsiteX188" fmla="*/ 4278 w 10000"/>
                    <a:gd name="connsiteY188" fmla="*/ 8133 h 9833"/>
                    <a:gd name="connsiteX189" fmla="*/ 4389 w 10000"/>
                    <a:gd name="connsiteY189" fmla="*/ 8118 h 9833"/>
                    <a:gd name="connsiteX190" fmla="*/ 4389 w 10000"/>
                    <a:gd name="connsiteY190" fmla="*/ 8118 h 9833"/>
                    <a:gd name="connsiteX191" fmla="*/ 4000 w 10000"/>
                    <a:gd name="connsiteY191" fmla="*/ 8118 h 9833"/>
                    <a:gd name="connsiteX192" fmla="*/ 3722 w 10000"/>
                    <a:gd name="connsiteY192" fmla="*/ 8133 h 9833"/>
                    <a:gd name="connsiteX193" fmla="*/ 3611 w 10000"/>
                    <a:gd name="connsiteY193" fmla="*/ 8149 h 9833"/>
                    <a:gd name="connsiteX194" fmla="*/ 3556 w 10000"/>
                    <a:gd name="connsiteY194" fmla="*/ 8164 h 9833"/>
                    <a:gd name="connsiteX195" fmla="*/ 3556 w 10000"/>
                    <a:gd name="connsiteY195" fmla="*/ 8164 h 9833"/>
                    <a:gd name="connsiteX196" fmla="*/ 3444 w 10000"/>
                    <a:gd name="connsiteY196" fmla="*/ 8224 h 9833"/>
                    <a:gd name="connsiteX197" fmla="*/ 3278 w 10000"/>
                    <a:gd name="connsiteY197" fmla="*/ 8316 h 9833"/>
                    <a:gd name="connsiteX198" fmla="*/ 3000 w 10000"/>
                    <a:gd name="connsiteY198" fmla="*/ 8423 h 9833"/>
                    <a:gd name="connsiteX199" fmla="*/ 2667 w 10000"/>
                    <a:gd name="connsiteY199" fmla="*/ 8497 h 9833"/>
                    <a:gd name="connsiteX200" fmla="*/ 2667 w 10000"/>
                    <a:gd name="connsiteY200" fmla="*/ 8497 h 9833"/>
                    <a:gd name="connsiteX201" fmla="*/ 2333 w 10000"/>
                    <a:gd name="connsiteY201" fmla="*/ 8559 h 9833"/>
                    <a:gd name="connsiteX202" fmla="*/ 1833 w 10000"/>
                    <a:gd name="connsiteY202" fmla="*/ 8620 h 9833"/>
                    <a:gd name="connsiteX203" fmla="*/ 1389 w 10000"/>
                    <a:gd name="connsiteY203" fmla="*/ 8650 h 9833"/>
                    <a:gd name="connsiteX204" fmla="*/ 889 w 10000"/>
                    <a:gd name="connsiteY204" fmla="*/ 8665 h 9833"/>
                    <a:gd name="connsiteX205" fmla="*/ 889 w 10000"/>
                    <a:gd name="connsiteY205" fmla="*/ 8665 h 9833"/>
                    <a:gd name="connsiteX206" fmla="*/ 500 w 10000"/>
                    <a:gd name="connsiteY206" fmla="*/ 8681 h 9833"/>
                    <a:gd name="connsiteX207" fmla="*/ 222 w 10000"/>
                    <a:gd name="connsiteY207" fmla="*/ 8696 h 9833"/>
                    <a:gd name="connsiteX208" fmla="*/ 0 w 10000"/>
                    <a:gd name="connsiteY208" fmla="*/ 8711 h 9833"/>
                    <a:gd name="connsiteX209" fmla="*/ 0 w 10000"/>
                    <a:gd name="connsiteY209" fmla="*/ 8711 h 9833"/>
                    <a:gd name="connsiteX210" fmla="*/ 278 w 10000"/>
                    <a:gd name="connsiteY210" fmla="*/ 8953 h 9833"/>
                    <a:gd name="connsiteX211" fmla="*/ 500 w 10000"/>
                    <a:gd name="connsiteY211" fmla="*/ 9136 h 9833"/>
                    <a:gd name="connsiteX212" fmla="*/ 722 w 10000"/>
                    <a:gd name="connsiteY212" fmla="*/ 9288 h 9833"/>
                    <a:gd name="connsiteX213" fmla="*/ 722 w 10000"/>
                    <a:gd name="connsiteY213" fmla="*/ 9288 h 9833"/>
                    <a:gd name="connsiteX214" fmla="*/ 889 w 10000"/>
                    <a:gd name="connsiteY214" fmla="*/ 9379 h 9833"/>
                    <a:gd name="connsiteX215" fmla="*/ 944 w 10000"/>
                    <a:gd name="connsiteY215" fmla="*/ 9454 h 9833"/>
                    <a:gd name="connsiteX216" fmla="*/ 1111 w 10000"/>
                    <a:gd name="connsiteY216" fmla="*/ 9530 h 9833"/>
                    <a:gd name="connsiteX217" fmla="*/ 1333 w 10000"/>
                    <a:gd name="connsiteY217" fmla="*/ 9652 h 9833"/>
                    <a:gd name="connsiteX218" fmla="*/ 1333 w 10000"/>
                    <a:gd name="connsiteY218" fmla="*/ 9652 h 9833"/>
                    <a:gd name="connsiteX219" fmla="*/ 1444 w 10000"/>
                    <a:gd name="connsiteY219" fmla="*/ 9714 h 9833"/>
                    <a:gd name="connsiteX220" fmla="*/ 1500 w 10000"/>
                    <a:gd name="connsiteY220" fmla="*/ 9758 h 9833"/>
                    <a:gd name="connsiteX221" fmla="*/ 1500 w 10000"/>
                    <a:gd name="connsiteY221" fmla="*/ 9804 h 9833"/>
                    <a:gd name="connsiteX222" fmla="*/ 1556 w 10000"/>
                    <a:gd name="connsiteY222" fmla="*/ 9819 h 9833"/>
                    <a:gd name="connsiteX223" fmla="*/ 1722 w 10000"/>
                    <a:gd name="connsiteY223" fmla="*/ 9833 h 9833"/>
                    <a:gd name="connsiteX224" fmla="*/ 10000 w 10000"/>
                    <a:gd name="connsiteY224" fmla="*/ 9273 h 9833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611 w 10000"/>
                    <a:gd name="connsiteY151" fmla="*/ 9354 h 10000"/>
                    <a:gd name="connsiteX152" fmla="*/ 8444 w 10000"/>
                    <a:gd name="connsiteY152" fmla="*/ 9276 h 10000"/>
                    <a:gd name="connsiteX153" fmla="*/ 8444 w 10000"/>
                    <a:gd name="connsiteY153" fmla="*/ 9276 h 10000"/>
                    <a:gd name="connsiteX154" fmla="*/ 8222 w 10000"/>
                    <a:gd name="connsiteY154" fmla="*/ 9137 h 10000"/>
                    <a:gd name="connsiteX155" fmla="*/ 8111 w 10000"/>
                    <a:gd name="connsiteY155" fmla="*/ 9075 h 10000"/>
                    <a:gd name="connsiteX156" fmla="*/ 7944 w 10000"/>
                    <a:gd name="connsiteY156" fmla="*/ 9029 h 10000"/>
                    <a:gd name="connsiteX157" fmla="*/ 7778 w 10000"/>
                    <a:gd name="connsiteY157" fmla="*/ 8997 h 10000"/>
                    <a:gd name="connsiteX158" fmla="*/ 7556 w 10000"/>
                    <a:gd name="connsiteY158" fmla="*/ 8981 h 10000"/>
                    <a:gd name="connsiteX159" fmla="*/ 7333 w 10000"/>
                    <a:gd name="connsiteY159" fmla="*/ 8967 h 10000"/>
                    <a:gd name="connsiteX160" fmla="*/ 7000 w 10000"/>
                    <a:gd name="connsiteY160" fmla="*/ 8950 h 10000"/>
                    <a:gd name="connsiteX161" fmla="*/ 7000 w 10000"/>
                    <a:gd name="connsiteY161" fmla="*/ 8950 h 10000"/>
                    <a:gd name="connsiteX162" fmla="*/ 6556 w 10000"/>
                    <a:gd name="connsiteY162" fmla="*/ 8967 h 10000"/>
                    <a:gd name="connsiteX163" fmla="*/ 6222 w 10000"/>
                    <a:gd name="connsiteY163" fmla="*/ 8967 h 10000"/>
                    <a:gd name="connsiteX164" fmla="*/ 6111 w 10000"/>
                    <a:gd name="connsiteY164" fmla="*/ 8950 h 10000"/>
                    <a:gd name="connsiteX165" fmla="*/ 6056 w 10000"/>
                    <a:gd name="connsiteY165" fmla="*/ 8935 h 10000"/>
                    <a:gd name="connsiteX166" fmla="*/ 6056 w 10000"/>
                    <a:gd name="connsiteY166" fmla="*/ 8935 h 10000"/>
                    <a:gd name="connsiteX167" fmla="*/ 6056 w 10000"/>
                    <a:gd name="connsiteY167" fmla="*/ 8659 h 10000"/>
                    <a:gd name="connsiteX168" fmla="*/ 6056 w 10000"/>
                    <a:gd name="connsiteY168" fmla="*/ 8659 h 10000"/>
                    <a:gd name="connsiteX169" fmla="*/ 6056 w 10000"/>
                    <a:gd name="connsiteY169" fmla="*/ 8597 h 10000"/>
                    <a:gd name="connsiteX170" fmla="*/ 5944 w 10000"/>
                    <a:gd name="connsiteY170" fmla="*/ 8520 h 10000"/>
                    <a:gd name="connsiteX171" fmla="*/ 5889 w 10000"/>
                    <a:gd name="connsiteY171" fmla="*/ 8505 h 10000"/>
                    <a:gd name="connsiteX172" fmla="*/ 5778 w 10000"/>
                    <a:gd name="connsiteY172" fmla="*/ 8488 h 10000"/>
                    <a:gd name="connsiteX173" fmla="*/ 5667 w 10000"/>
                    <a:gd name="connsiteY173" fmla="*/ 8488 h 10000"/>
                    <a:gd name="connsiteX174" fmla="*/ 5500 w 10000"/>
                    <a:gd name="connsiteY174" fmla="*/ 8505 h 10000"/>
                    <a:gd name="connsiteX175" fmla="*/ 5500 w 10000"/>
                    <a:gd name="connsiteY175" fmla="*/ 8505 h 10000"/>
                    <a:gd name="connsiteX176" fmla="*/ 4889 w 10000"/>
                    <a:gd name="connsiteY176" fmla="*/ 8612 h 10000"/>
                    <a:gd name="connsiteX177" fmla="*/ 4611 w 10000"/>
                    <a:gd name="connsiteY177" fmla="*/ 8641 h 10000"/>
                    <a:gd name="connsiteX178" fmla="*/ 4556 w 10000"/>
                    <a:gd name="connsiteY178" fmla="*/ 8659 h 10000"/>
                    <a:gd name="connsiteX179" fmla="*/ 4500 w 10000"/>
                    <a:gd name="connsiteY179" fmla="*/ 8641 h 10000"/>
                    <a:gd name="connsiteX180" fmla="*/ 4500 w 10000"/>
                    <a:gd name="connsiteY180" fmla="*/ 8641 h 10000"/>
                    <a:gd name="connsiteX181" fmla="*/ 4222 w 10000"/>
                    <a:gd name="connsiteY181" fmla="*/ 8488 h 10000"/>
                    <a:gd name="connsiteX182" fmla="*/ 4222 w 10000"/>
                    <a:gd name="connsiteY182" fmla="*/ 8488 h 10000"/>
                    <a:gd name="connsiteX183" fmla="*/ 4111 w 10000"/>
                    <a:gd name="connsiteY183" fmla="*/ 8411 h 10000"/>
                    <a:gd name="connsiteX184" fmla="*/ 4111 w 10000"/>
                    <a:gd name="connsiteY184" fmla="*/ 8364 h 10000"/>
                    <a:gd name="connsiteX185" fmla="*/ 4111 w 10000"/>
                    <a:gd name="connsiteY185" fmla="*/ 8318 h 10000"/>
                    <a:gd name="connsiteX186" fmla="*/ 4111 w 10000"/>
                    <a:gd name="connsiteY186" fmla="*/ 8318 h 10000"/>
                    <a:gd name="connsiteX187" fmla="*/ 4278 w 10000"/>
                    <a:gd name="connsiteY187" fmla="*/ 8271 h 10000"/>
                    <a:gd name="connsiteX188" fmla="*/ 4389 w 10000"/>
                    <a:gd name="connsiteY188" fmla="*/ 8256 h 10000"/>
                    <a:gd name="connsiteX189" fmla="*/ 4389 w 10000"/>
                    <a:gd name="connsiteY189" fmla="*/ 8256 h 10000"/>
                    <a:gd name="connsiteX190" fmla="*/ 4000 w 10000"/>
                    <a:gd name="connsiteY190" fmla="*/ 8256 h 10000"/>
                    <a:gd name="connsiteX191" fmla="*/ 3722 w 10000"/>
                    <a:gd name="connsiteY191" fmla="*/ 8271 h 10000"/>
                    <a:gd name="connsiteX192" fmla="*/ 3611 w 10000"/>
                    <a:gd name="connsiteY192" fmla="*/ 8287 h 10000"/>
                    <a:gd name="connsiteX193" fmla="*/ 3556 w 10000"/>
                    <a:gd name="connsiteY193" fmla="*/ 8303 h 10000"/>
                    <a:gd name="connsiteX194" fmla="*/ 3556 w 10000"/>
                    <a:gd name="connsiteY194" fmla="*/ 8303 h 10000"/>
                    <a:gd name="connsiteX195" fmla="*/ 3444 w 10000"/>
                    <a:gd name="connsiteY195" fmla="*/ 8364 h 10000"/>
                    <a:gd name="connsiteX196" fmla="*/ 3278 w 10000"/>
                    <a:gd name="connsiteY196" fmla="*/ 8457 h 10000"/>
                    <a:gd name="connsiteX197" fmla="*/ 3000 w 10000"/>
                    <a:gd name="connsiteY197" fmla="*/ 8566 h 10000"/>
                    <a:gd name="connsiteX198" fmla="*/ 2667 w 10000"/>
                    <a:gd name="connsiteY198" fmla="*/ 8641 h 10000"/>
                    <a:gd name="connsiteX199" fmla="*/ 2667 w 10000"/>
                    <a:gd name="connsiteY199" fmla="*/ 8641 h 10000"/>
                    <a:gd name="connsiteX200" fmla="*/ 2333 w 10000"/>
                    <a:gd name="connsiteY200" fmla="*/ 8704 h 10000"/>
                    <a:gd name="connsiteX201" fmla="*/ 1833 w 10000"/>
                    <a:gd name="connsiteY201" fmla="*/ 8766 h 10000"/>
                    <a:gd name="connsiteX202" fmla="*/ 1389 w 10000"/>
                    <a:gd name="connsiteY202" fmla="*/ 8797 h 10000"/>
                    <a:gd name="connsiteX203" fmla="*/ 889 w 10000"/>
                    <a:gd name="connsiteY203" fmla="*/ 8812 h 10000"/>
                    <a:gd name="connsiteX204" fmla="*/ 889 w 10000"/>
                    <a:gd name="connsiteY204" fmla="*/ 8812 h 10000"/>
                    <a:gd name="connsiteX205" fmla="*/ 500 w 10000"/>
                    <a:gd name="connsiteY205" fmla="*/ 8828 h 10000"/>
                    <a:gd name="connsiteX206" fmla="*/ 222 w 10000"/>
                    <a:gd name="connsiteY206" fmla="*/ 8844 h 10000"/>
                    <a:gd name="connsiteX207" fmla="*/ 0 w 10000"/>
                    <a:gd name="connsiteY207" fmla="*/ 8859 h 10000"/>
                    <a:gd name="connsiteX208" fmla="*/ 0 w 10000"/>
                    <a:gd name="connsiteY208" fmla="*/ 8859 h 10000"/>
                    <a:gd name="connsiteX209" fmla="*/ 278 w 10000"/>
                    <a:gd name="connsiteY209" fmla="*/ 9105 h 10000"/>
                    <a:gd name="connsiteX210" fmla="*/ 500 w 10000"/>
                    <a:gd name="connsiteY210" fmla="*/ 9291 h 10000"/>
                    <a:gd name="connsiteX211" fmla="*/ 722 w 10000"/>
                    <a:gd name="connsiteY211" fmla="*/ 9446 h 10000"/>
                    <a:gd name="connsiteX212" fmla="*/ 722 w 10000"/>
                    <a:gd name="connsiteY212" fmla="*/ 9446 h 10000"/>
                    <a:gd name="connsiteX213" fmla="*/ 889 w 10000"/>
                    <a:gd name="connsiteY213" fmla="*/ 9538 h 10000"/>
                    <a:gd name="connsiteX214" fmla="*/ 944 w 10000"/>
                    <a:gd name="connsiteY214" fmla="*/ 9615 h 10000"/>
                    <a:gd name="connsiteX215" fmla="*/ 1111 w 10000"/>
                    <a:gd name="connsiteY215" fmla="*/ 9692 h 10000"/>
                    <a:gd name="connsiteX216" fmla="*/ 1333 w 10000"/>
                    <a:gd name="connsiteY216" fmla="*/ 9816 h 10000"/>
                    <a:gd name="connsiteX217" fmla="*/ 1333 w 10000"/>
                    <a:gd name="connsiteY217" fmla="*/ 9816 h 10000"/>
                    <a:gd name="connsiteX218" fmla="*/ 1444 w 10000"/>
                    <a:gd name="connsiteY218" fmla="*/ 9879 h 10000"/>
                    <a:gd name="connsiteX219" fmla="*/ 1500 w 10000"/>
                    <a:gd name="connsiteY219" fmla="*/ 9924 h 10000"/>
                    <a:gd name="connsiteX220" fmla="*/ 1500 w 10000"/>
                    <a:gd name="connsiteY220" fmla="*/ 9971 h 10000"/>
                    <a:gd name="connsiteX221" fmla="*/ 1556 w 10000"/>
                    <a:gd name="connsiteY221" fmla="*/ 9986 h 10000"/>
                    <a:gd name="connsiteX222" fmla="*/ 1722 w 10000"/>
                    <a:gd name="connsiteY222" fmla="*/ 10000 h 10000"/>
                    <a:gd name="connsiteX223" fmla="*/ 10000 w 10000"/>
                    <a:gd name="connsiteY223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222 w 10000"/>
                    <a:gd name="connsiteY153" fmla="*/ 9137 h 10000"/>
                    <a:gd name="connsiteX154" fmla="*/ 8111 w 10000"/>
                    <a:gd name="connsiteY154" fmla="*/ 9075 h 10000"/>
                    <a:gd name="connsiteX155" fmla="*/ 7944 w 10000"/>
                    <a:gd name="connsiteY155" fmla="*/ 9029 h 10000"/>
                    <a:gd name="connsiteX156" fmla="*/ 7778 w 10000"/>
                    <a:gd name="connsiteY156" fmla="*/ 8997 h 10000"/>
                    <a:gd name="connsiteX157" fmla="*/ 7556 w 10000"/>
                    <a:gd name="connsiteY157" fmla="*/ 8981 h 10000"/>
                    <a:gd name="connsiteX158" fmla="*/ 7333 w 10000"/>
                    <a:gd name="connsiteY158" fmla="*/ 8967 h 10000"/>
                    <a:gd name="connsiteX159" fmla="*/ 7000 w 10000"/>
                    <a:gd name="connsiteY159" fmla="*/ 8950 h 10000"/>
                    <a:gd name="connsiteX160" fmla="*/ 7000 w 10000"/>
                    <a:gd name="connsiteY160" fmla="*/ 8950 h 10000"/>
                    <a:gd name="connsiteX161" fmla="*/ 6556 w 10000"/>
                    <a:gd name="connsiteY161" fmla="*/ 8967 h 10000"/>
                    <a:gd name="connsiteX162" fmla="*/ 6222 w 10000"/>
                    <a:gd name="connsiteY162" fmla="*/ 8967 h 10000"/>
                    <a:gd name="connsiteX163" fmla="*/ 6111 w 10000"/>
                    <a:gd name="connsiteY163" fmla="*/ 8950 h 10000"/>
                    <a:gd name="connsiteX164" fmla="*/ 6056 w 10000"/>
                    <a:gd name="connsiteY164" fmla="*/ 8935 h 10000"/>
                    <a:gd name="connsiteX165" fmla="*/ 6056 w 10000"/>
                    <a:gd name="connsiteY165" fmla="*/ 8935 h 10000"/>
                    <a:gd name="connsiteX166" fmla="*/ 6056 w 10000"/>
                    <a:gd name="connsiteY166" fmla="*/ 8659 h 10000"/>
                    <a:gd name="connsiteX167" fmla="*/ 6056 w 10000"/>
                    <a:gd name="connsiteY167" fmla="*/ 8659 h 10000"/>
                    <a:gd name="connsiteX168" fmla="*/ 6056 w 10000"/>
                    <a:gd name="connsiteY168" fmla="*/ 8597 h 10000"/>
                    <a:gd name="connsiteX169" fmla="*/ 5944 w 10000"/>
                    <a:gd name="connsiteY169" fmla="*/ 8520 h 10000"/>
                    <a:gd name="connsiteX170" fmla="*/ 5889 w 10000"/>
                    <a:gd name="connsiteY170" fmla="*/ 8505 h 10000"/>
                    <a:gd name="connsiteX171" fmla="*/ 5778 w 10000"/>
                    <a:gd name="connsiteY171" fmla="*/ 8488 h 10000"/>
                    <a:gd name="connsiteX172" fmla="*/ 5667 w 10000"/>
                    <a:gd name="connsiteY172" fmla="*/ 8488 h 10000"/>
                    <a:gd name="connsiteX173" fmla="*/ 5500 w 10000"/>
                    <a:gd name="connsiteY173" fmla="*/ 8505 h 10000"/>
                    <a:gd name="connsiteX174" fmla="*/ 5500 w 10000"/>
                    <a:gd name="connsiteY174" fmla="*/ 8505 h 10000"/>
                    <a:gd name="connsiteX175" fmla="*/ 4889 w 10000"/>
                    <a:gd name="connsiteY175" fmla="*/ 8612 h 10000"/>
                    <a:gd name="connsiteX176" fmla="*/ 4611 w 10000"/>
                    <a:gd name="connsiteY176" fmla="*/ 8641 h 10000"/>
                    <a:gd name="connsiteX177" fmla="*/ 4556 w 10000"/>
                    <a:gd name="connsiteY177" fmla="*/ 8659 h 10000"/>
                    <a:gd name="connsiteX178" fmla="*/ 4500 w 10000"/>
                    <a:gd name="connsiteY178" fmla="*/ 8641 h 10000"/>
                    <a:gd name="connsiteX179" fmla="*/ 4500 w 10000"/>
                    <a:gd name="connsiteY179" fmla="*/ 8641 h 10000"/>
                    <a:gd name="connsiteX180" fmla="*/ 4222 w 10000"/>
                    <a:gd name="connsiteY180" fmla="*/ 8488 h 10000"/>
                    <a:gd name="connsiteX181" fmla="*/ 4222 w 10000"/>
                    <a:gd name="connsiteY181" fmla="*/ 8488 h 10000"/>
                    <a:gd name="connsiteX182" fmla="*/ 4111 w 10000"/>
                    <a:gd name="connsiteY182" fmla="*/ 8411 h 10000"/>
                    <a:gd name="connsiteX183" fmla="*/ 4111 w 10000"/>
                    <a:gd name="connsiteY183" fmla="*/ 8364 h 10000"/>
                    <a:gd name="connsiteX184" fmla="*/ 4111 w 10000"/>
                    <a:gd name="connsiteY184" fmla="*/ 8318 h 10000"/>
                    <a:gd name="connsiteX185" fmla="*/ 4111 w 10000"/>
                    <a:gd name="connsiteY185" fmla="*/ 8318 h 10000"/>
                    <a:gd name="connsiteX186" fmla="*/ 4278 w 10000"/>
                    <a:gd name="connsiteY186" fmla="*/ 8271 h 10000"/>
                    <a:gd name="connsiteX187" fmla="*/ 4389 w 10000"/>
                    <a:gd name="connsiteY187" fmla="*/ 8256 h 10000"/>
                    <a:gd name="connsiteX188" fmla="*/ 4389 w 10000"/>
                    <a:gd name="connsiteY188" fmla="*/ 8256 h 10000"/>
                    <a:gd name="connsiteX189" fmla="*/ 4000 w 10000"/>
                    <a:gd name="connsiteY189" fmla="*/ 8256 h 10000"/>
                    <a:gd name="connsiteX190" fmla="*/ 3722 w 10000"/>
                    <a:gd name="connsiteY190" fmla="*/ 8271 h 10000"/>
                    <a:gd name="connsiteX191" fmla="*/ 3611 w 10000"/>
                    <a:gd name="connsiteY191" fmla="*/ 8287 h 10000"/>
                    <a:gd name="connsiteX192" fmla="*/ 3556 w 10000"/>
                    <a:gd name="connsiteY192" fmla="*/ 8303 h 10000"/>
                    <a:gd name="connsiteX193" fmla="*/ 3556 w 10000"/>
                    <a:gd name="connsiteY193" fmla="*/ 8303 h 10000"/>
                    <a:gd name="connsiteX194" fmla="*/ 3444 w 10000"/>
                    <a:gd name="connsiteY194" fmla="*/ 8364 h 10000"/>
                    <a:gd name="connsiteX195" fmla="*/ 3278 w 10000"/>
                    <a:gd name="connsiteY195" fmla="*/ 8457 h 10000"/>
                    <a:gd name="connsiteX196" fmla="*/ 3000 w 10000"/>
                    <a:gd name="connsiteY196" fmla="*/ 8566 h 10000"/>
                    <a:gd name="connsiteX197" fmla="*/ 2667 w 10000"/>
                    <a:gd name="connsiteY197" fmla="*/ 8641 h 10000"/>
                    <a:gd name="connsiteX198" fmla="*/ 2667 w 10000"/>
                    <a:gd name="connsiteY198" fmla="*/ 8641 h 10000"/>
                    <a:gd name="connsiteX199" fmla="*/ 2333 w 10000"/>
                    <a:gd name="connsiteY199" fmla="*/ 8704 h 10000"/>
                    <a:gd name="connsiteX200" fmla="*/ 1833 w 10000"/>
                    <a:gd name="connsiteY200" fmla="*/ 8766 h 10000"/>
                    <a:gd name="connsiteX201" fmla="*/ 1389 w 10000"/>
                    <a:gd name="connsiteY201" fmla="*/ 8797 h 10000"/>
                    <a:gd name="connsiteX202" fmla="*/ 889 w 10000"/>
                    <a:gd name="connsiteY202" fmla="*/ 8812 h 10000"/>
                    <a:gd name="connsiteX203" fmla="*/ 889 w 10000"/>
                    <a:gd name="connsiteY203" fmla="*/ 8812 h 10000"/>
                    <a:gd name="connsiteX204" fmla="*/ 500 w 10000"/>
                    <a:gd name="connsiteY204" fmla="*/ 8828 h 10000"/>
                    <a:gd name="connsiteX205" fmla="*/ 222 w 10000"/>
                    <a:gd name="connsiteY205" fmla="*/ 8844 h 10000"/>
                    <a:gd name="connsiteX206" fmla="*/ 0 w 10000"/>
                    <a:gd name="connsiteY206" fmla="*/ 8859 h 10000"/>
                    <a:gd name="connsiteX207" fmla="*/ 0 w 10000"/>
                    <a:gd name="connsiteY207" fmla="*/ 8859 h 10000"/>
                    <a:gd name="connsiteX208" fmla="*/ 278 w 10000"/>
                    <a:gd name="connsiteY208" fmla="*/ 9105 h 10000"/>
                    <a:gd name="connsiteX209" fmla="*/ 500 w 10000"/>
                    <a:gd name="connsiteY209" fmla="*/ 9291 h 10000"/>
                    <a:gd name="connsiteX210" fmla="*/ 722 w 10000"/>
                    <a:gd name="connsiteY210" fmla="*/ 9446 h 10000"/>
                    <a:gd name="connsiteX211" fmla="*/ 722 w 10000"/>
                    <a:gd name="connsiteY211" fmla="*/ 9446 h 10000"/>
                    <a:gd name="connsiteX212" fmla="*/ 889 w 10000"/>
                    <a:gd name="connsiteY212" fmla="*/ 9538 h 10000"/>
                    <a:gd name="connsiteX213" fmla="*/ 944 w 10000"/>
                    <a:gd name="connsiteY213" fmla="*/ 9615 h 10000"/>
                    <a:gd name="connsiteX214" fmla="*/ 1111 w 10000"/>
                    <a:gd name="connsiteY214" fmla="*/ 9692 h 10000"/>
                    <a:gd name="connsiteX215" fmla="*/ 1333 w 10000"/>
                    <a:gd name="connsiteY215" fmla="*/ 9816 h 10000"/>
                    <a:gd name="connsiteX216" fmla="*/ 1333 w 10000"/>
                    <a:gd name="connsiteY216" fmla="*/ 9816 h 10000"/>
                    <a:gd name="connsiteX217" fmla="*/ 1444 w 10000"/>
                    <a:gd name="connsiteY217" fmla="*/ 9879 h 10000"/>
                    <a:gd name="connsiteX218" fmla="*/ 1500 w 10000"/>
                    <a:gd name="connsiteY218" fmla="*/ 9924 h 10000"/>
                    <a:gd name="connsiteX219" fmla="*/ 1500 w 10000"/>
                    <a:gd name="connsiteY219" fmla="*/ 9971 h 10000"/>
                    <a:gd name="connsiteX220" fmla="*/ 1556 w 10000"/>
                    <a:gd name="connsiteY220" fmla="*/ 9986 h 10000"/>
                    <a:gd name="connsiteX221" fmla="*/ 1722 w 10000"/>
                    <a:gd name="connsiteY221" fmla="*/ 10000 h 10000"/>
                    <a:gd name="connsiteX222" fmla="*/ 10000 w 10000"/>
                    <a:gd name="connsiteY222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944 w 10000"/>
                    <a:gd name="connsiteY154" fmla="*/ 9029 h 10000"/>
                    <a:gd name="connsiteX155" fmla="*/ 7778 w 10000"/>
                    <a:gd name="connsiteY155" fmla="*/ 8997 h 10000"/>
                    <a:gd name="connsiteX156" fmla="*/ 7556 w 10000"/>
                    <a:gd name="connsiteY156" fmla="*/ 8981 h 10000"/>
                    <a:gd name="connsiteX157" fmla="*/ 7333 w 10000"/>
                    <a:gd name="connsiteY157" fmla="*/ 8967 h 10000"/>
                    <a:gd name="connsiteX158" fmla="*/ 7000 w 10000"/>
                    <a:gd name="connsiteY158" fmla="*/ 8950 h 10000"/>
                    <a:gd name="connsiteX159" fmla="*/ 7000 w 10000"/>
                    <a:gd name="connsiteY159" fmla="*/ 8950 h 10000"/>
                    <a:gd name="connsiteX160" fmla="*/ 6556 w 10000"/>
                    <a:gd name="connsiteY160" fmla="*/ 8967 h 10000"/>
                    <a:gd name="connsiteX161" fmla="*/ 6222 w 10000"/>
                    <a:gd name="connsiteY161" fmla="*/ 8967 h 10000"/>
                    <a:gd name="connsiteX162" fmla="*/ 6111 w 10000"/>
                    <a:gd name="connsiteY162" fmla="*/ 8950 h 10000"/>
                    <a:gd name="connsiteX163" fmla="*/ 6056 w 10000"/>
                    <a:gd name="connsiteY163" fmla="*/ 8935 h 10000"/>
                    <a:gd name="connsiteX164" fmla="*/ 6056 w 10000"/>
                    <a:gd name="connsiteY164" fmla="*/ 8935 h 10000"/>
                    <a:gd name="connsiteX165" fmla="*/ 6056 w 10000"/>
                    <a:gd name="connsiteY165" fmla="*/ 8659 h 10000"/>
                    <a:gd name="connsiteX166" fmla="*/ 6056 w 10000"/>
                    <a:gd name="connsiteY166" fmla="*/ 8659 h 10000"/>
                    <a:gd name="connsiteX167" fmla="*/ 6056 w 10000"/>
                    <a:gd name="connsiteY167" fmla="*/ 8597 h 10000"/>
                    <a:gd name="connsiteX168" fmla="*/ 5944 w 10000"/>
                    <a:gd name="connsiteY168" fmla="*/ 8520 h 10000"/>
                    <a:gd name="connsiteX169" fmla="*/ 5889 w 10000"/>
                    <a:gd name="connsiteY169" fmla="*/ 8505 h 10000"/>
                    <a:gd name="connsiteX170" fmla="*/ 5778 w 10000"/>
                    <a:gd name="connsiteY170" fmla="*/ 8488 h 10000"/>
                    <a:gd name="connsiteX171" fmla="*/ 5667 w 10000"/>
                    <a:gd name="connsiteY171" fmla="*/ 8488 h 10000"/>
                    <a:gd name="connsiteX172" fmla="*/ 5500 w 10000"/>
                    <a:gd name="connsiteY172" fmla="*/ 8505 h 10000"/>
                    <a:gd name="connsiteX173" fmla="*/ 5500 w 10000"/>
                    <a:gd name="connsiteY173" fmla="*/ 8505 h 10000"/>
                    <a:gd name="connsiteX174" fmla="*/ 4889 w 10000"/>
                    <a:gd name="connsiteY174" fmla="*/ 8612 h 10000"/>
                    <a:gd name="connsiteX175" fmla="*/ 4611 w 10000"/>
                    <a:gd name="connsiteY175" fmla="*/ 8641 h 10000"/>
                    <a:gd name="connsiteX176" fmla="*/ 4556 w 10000"/>
                    <a:gd name="connsiteY176" fmla="*/ 8659 h 10000"/>
                    <a:gd name="connsiteX177" fmla="*/ 4500 w 10000"/>
                    <a:gd name="connsiteY177" fmla="*/ 8641 h 10000"/>
                    <a:gd name="connsiteX178" fmla="*/ 4500 w 10000"/>
                    <a:gd name="connsiteY178" fmla="*/ 8641 h 10000"/>
                    <a:gd name="connsiteX179" fmla="*/ 4222 w 10000"/>
                    <a:gd name="connsiteY179" fmla="*/ 8488 h 10000"/>
                    <a:gd name="connsiteX180" fmla="*/ 4222 w 10000"/>
                    <a:gd name="connsiteY180" fmla="*/ 8488 h 10000"/>
                    <a:gd name="connsiteX181" fmla="*/ 4111 w 10000"/>
                    <a:gd name="connsiteY181" fmla="*/ 8411 h 10000"/>
                    <a:gd name="connsiteX182" fmla="*/ 4111 w 10000"/>
                    <a:gd name="connsiteY182" fmla="*/ 8364 h 10000"/>
                    <a:gd name="connsiteX183" fmla="*/ 4111 w 10000"/>
                    <a:gd name="connsiteY183" fmla="*/ 8318 h 10000"/>
                    <a:gd name="connsiteX184" fmla="*/ 4111 w 10000"/>
                    <a:gd name="connsiteY184" fmla="*/ 8318 h 10000"/>
                    <a:gd name="connsiteX185" fmla="*/ 4278 w 10000"/>
                    <a:gd name="connsiteY185" fmla="*/ 8271 h 10000"/>
                    <a:gd name="connsiteX186" fmla="*/ 4389 w 10000"/>
                    <a:gd name="connsiteY186" fmla="*/ 8256 h 10000"/>
                    <a:gd name="connsiteX187" fmla="*/ 4389 w 10000"/>
                    <a:gd name="connsiteY187" fmla="*/ 8256 h 10000"/>
                    <a:gd name="connsiteX188" fmla="*/ 4000 w 10000"/>
                    <a:gd name="connsiteY188" fmla="*/ 8256 h 10000"/>
                    <a:gd name="connsiteX189" fmla="*/ 3722 w 10000"/>
                    <a:gd name="connsiteY189" fmla="*/ 8271 h 10000"/>
                    <a:gd name="connsiteX190" fmla="*/ 3611 w 10000"/>
                    <a:gd name="connsiteY190" fmla="*/ 8287 h 10000"/>
                    <a:gd name="connsiteX191" fmla="*/ 3556 w 10000"/>
                    <a:gd name="connsiteY191" fmla="*/ 8303 h 10000"/>
                    <a:gd name="connsiteX192" fmla="*/ 3556 w 10000"/>
                    <a:gd name="connsiteY192" fmla="*/ 8303 h 10000"/>
                    <a:gd name="connsiteX193" fmla="*/ 3444 w 10000"/>
                    <a:gd name="connsiteY193" fmla="*/ 8364 h 10000"/>
                    <a:gd name="connsiteX194" fmla="*/ 3278 w 10000"/>
                    <a:gd name="connsiteY194" fmla="*/ 8457 h 10000"/>
                    <a:gd name="connsiteX195" fmla="*/ 3000 w 10000"/>
                    <a:gd name="connsiteY195" fmla="*/ 8566 h 10000"/>
                    <a:gd name="connsiteX196" fmla="*/ 2667 w 10000"/>
                    <a:gd name="connsiteY196" fmla="*/ 8641 h 10000"/>
                    <a:gd name="connsiteX197" fmla="*/ 2667 w 10000"/>
                    <a:gd name="connsiteY197" fmla="*/ 8641 h 10000"/>
                    <a:gd name="connsiteX198" fmla="*/ 2333 w 10000"/>
                    <a:gd name="connsiteY198" fmla="*/ 8704 h 10000"/>
                    <a:gd name="connsiteX199" fmla="*/ 1833 w 10000"/>
                    <a:gd name="connsiteY199" fmla="*/ 8766 h 10000"/>
                    <a:gd name="connsiteX200" fmla="*/ 1389 w 10000"/>
                    <a:gd name="connsiteY200" fmla="*/ 8797 h 10000"/>
                    <a:gd name="connsiteX201" fmla="*/ 889 w 10000"/>
                    <a:gd name="connsiteY201" fmla="*/ 8812 h 10000"/>
                    <a:gd name="connsiteX202" fmla="*/ 889 w 10000"/>
                    <a:gd name="connsiteY202" fmla="*/ 8812 h 10000"/>
                    <a:gd name="connsiteX203" fmla="*/ 500 w 10000"/>
                    <a:gd name="connsiteY203" fmla="*/ 8828 h 10000"/>
                    <a:gd name="connsiteX204" fmla="*/ 222 w 10000"/>
                    <a:gd name="connsiteY204" fmla="*/ 8844 h 10000"/>
                    <a:gd name="connsiteX205" fmla="*/ 0 w 10000"/>
                    <a:gd name="connsiteY205" fmla="*/ 8859 h 10000"/>
                    <a:gd name="connsiteX206" fmla="*/ 0 w 10000"/>
                    <a:gd name="connsiteY206" fmla="*/ 8859 h 10000"/>
                    <a:gd name="connsiteX207" fmla="*/ 278 w 10000"/>
                    <a:gd name="connsiteY207" fmla="*/ 9105 h 10000"/>
                    <a:gd name="connsiteX208" fmla="*/ 500 w 10000"/>
                    <a:gd name="connsiteY208" fmla="*/ 9291 h 10000"/>
                    <a:gd name="connsiteX209" fmla="*/ 722 w 10000"/>
                    <a:gd name="connsiteY209" fmla="*/ 9446 h 10000"/>
                    <a:gd name="connsiteX210" fmla="*/ 722 w 10000"/>
                    <a:gd name="connsiteY210" fmla="*/ 9446 h 10000"/>
                    <a:gd name="connsiteX211" fmla="*/ 889 w 10000"/>
                    <a:gd name="connsiteY211" fmla="*/ 9538 h 10000"/>
                    <a:gd name="connsiteX212" fmla="*/ 944 w 10000"/>
                    <a:gd name="connsiteY212" fmla="*/ 9615 h 10000"/>
                    <a:gd name="connsiteX213" fmla="*/ 1111 w 10000"/>
                    <a:gd name="connsiteY213" fmla="*/ 9692 h 10000"/>
                    <a:gd name="connsiteX214" fmla="*/ 1333 w 10000"/>
                    <a:gd name="connsiteY214" fmla="*/ 9816 h 10000"/>
                    <a:gd name="connsiteX215" fmla="*/ 1333 w 10000"/>
                    <a:gd name="connsiteY215" fmla="*/ 9816 h 10000"/>
                    <a:gd name="connsiteX216" fmla="*/ 1444 w 10000"/>
                    <a:gd name="connsiteY216" fmla="*/ 9879 h 10000"/>
                    <a:gd name="connsiteX217" fmla="*/ 1500 w 10000"/>
                    <a:gd name="connsiteY217" fmla="*/ 9924 h 10000"/>
                    <a:gd name="connsiteX218" fmla="*/ 1500 w 10000"/>
                    <a:gd name="connsiteY218" fmla="*/ 9971 h 10000"/>
                    <a:gd name="connsiteX219" fmla="*/ 1556 w 10000"/>
                    <a:gd name="connsiteY219" fmla="*/ 9986 h 10000"/>
                    <a:gd name="connsiteX220" fmla="*/ 1722 w 10000"/>
                    <a:gd name="connsiteY220" fmla="*/ 10000 h 10000"/>
                    <a:gd name="connsiteX221" fmla="*/ 10000 w 10000"/>
                    <a:gd name="connsiteY221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778 w 10000"/>
                    <a:gd name="connsiteY154" fmla="*/ 8997 h 10000"/>
                    <a:gd name="connsiteX155" fmla="*/ 7556 w 10000"/>
                    <a:gd name="connsiteY155" fmla="*/ 8981 h 10000"/>
                    <a:gd name="connsiteX156" fmla="*/ 7333 w 10000"/>
                    <a:gd name="connsiteY156" fmla="*/ 8967 h 10000"/>
                    <a:gd name="connsiteX157" fmla="*/ 7000 w 10000"/>
                    <a:gd name="connsiteY157" fmla="*/ 8950 h 10000"/>
                    <a:gd name="connsiteX158" fmla="*/ 7000 w 10000"/>
                    <a:gd name="connsiteY158" fmla="*/ 8950 h 10000"/>
                    <a:gd name="connsiteX159" fmla="*/ 6556 w 10000"/>
                    <a:gd name="connsiteY159" fmla="*/ 8967 h 10000"/>
                    <a:gd name="connsiteX160" fmla="*/ 6222 w 10000"/>
                    <a:gd name="connsiteY160" fmla="*/ 8967 h 10000"/>
                    <a:gd name="connsiteX161" fmla="*/ 6111 w 10000"/>
                    <a:gd name="connsiteY161" fmla="*/ 8950 h 10000"/>
                    <a:gd name="connsiteX162" fmla="*/ 6056 w 10000"/>
                    <a:gd name="connsiteY162" fmla="*/ 8935 h 10000"/>
                    <a:gd name="connsiteX163" fmla="*/ 6056 w 10000"/>
                    <a:gd name="connsiteY163" fmla="*/ 8935 h 10000"/>
                    <a:gd name="connsiteX164" fmla="*/ 6056 w 10000"/>
                    <a:gd name="connsiteY164" fmla="*/ 8659 h 10000"/>
                    <a:gd name="connsiteX165" fmla="*/ 6056 w 10000"/>
                    <a:gd name="connsiteY165" fmla="*/ 8659 h 10000"/>
                    <a:gd name="connsiteX166" fmla="*/ 6056 w 10000"/>
                    <a:gd name="connsiteY166" fmla="*/ 8597 h 10000"/>
                    <a:gd name="connsiteX167" fmla="*/ 5944 w 10000"/>
                    <a:gd name="connsiteY167" fmla="*/ 8520 h 10000"/>
                    <a:gd name="connsiteX168" fmla="*/ 5889 w 10000"/>
                    <a:gd name="connsiteY168" fmla="*/ 8505 h 10000"/>
                    <a:gd name="connsiteX169" fmla="*/ 5778 w 10000"/>
                    <a:gd name="connsiteY169" fmla="*/ 8488 h 10000"/>
                    <a:gd name="connsiteX170" fmla="*/ 5667 w 10000"/>
                    <a:gd name="connsiteY170" fmla="*/ 8488 h 10000"/>
                    <a:gd name="connsiteX171" fmla="*/ 5500 w 10000"/>
                    <a:gd name="connsiteY171" fmla="*/ 8505 h 10000"/>
                    <a:gd name="connsiteX172" fmla="*/ 5500 w 10000"/>
                    <a:gd name="connsiteY172" fmla="*/ 8505 h 10000"/>
                    <a:gd name="connsiteX173" fmla="*/ 4889 w 10000"/>
                    <a:gd name="connsiteY173" fmla="*/ 8612 h 10000"/>
                    <a:gd name="connsiteX174" fmla="*/ 4611 w 10000"/>
                    <a:gd name="connsiteY174" fmla="*/ 8641 h 10000"/>
                    <a:gd name="connsiteX175" fmla="*/ 4556 w 10000"/>
                    <a:gd name="connsiteY175" fmla="*/ 8659 h 10000"/>
                    <a:gd name="connsiteX176" fmla="*/ 4500 w 10000"/>
                    <a:gd name="connsiteY176" fmla="*/ 8641 h 10000"/>
                    <a:gd name="connsiteX177" fmla="*/ 4500 w 10000"/>
                    <a:gd name="connsiteY177" fmla="*/ 8641 h 10000"/>
                    <a:gd name="connsiteX178" fmla="*/ 4222 w 10000"/>
                    <a:gd name="connsiteY178" fmla="*/ 8488 h 10000"/>
                    <a:gd name="connsiteX179" fmla="*/ 4222 w 10000"/>
                    <a:gd name="connsiteY179" fmla="*/ 8488 h 10000"/>
                    <a:gd name="connsiteX180" fmla="*/ 4111 w 10000"/>
                    <a:gd name="connsiteY180" fmla="*/ 8411 h 10000"/>
                    <a:gd name="connsiteX181" fmla="*/ 4111 w 10000"/>
                    <a:gd name="connsiteY181" fmla="*/ 8364 h 10000"/>
                    <a:gd name="connsiteX182" fmla="*/ 4111 w 10000"/>
                    <a:gd name="connsiteY182" fmla="*/ 8318 h 10000"/>
                    <a:gd name="connsiteX183" fmla="*/ 4111 w 10000"/>
                    <a:gd name="connsiteY183" fmla="*/ 8318 h 10000"/>
                    <a:gd name="connsiteX184" fmla="*/ 4278 w 10000"/>
                    <a:gd name="connsiteY184" fmla="*/ 8271 h 10000"/>
                    <a:gd name="connsiteX185" fmla="*/ 4389 w 10000"/>
                    <a:gd name="connsiteY185" fmla="*/ 8256 h 10000"/>
                    <a:gd name="connsiteX186" fmla="*/ 4389 w 10000"/>
                    <a:gd name="connsiteY186" fmla="*/ 8256 h 10000"/>
                    <a:gd name="connsiteX187" fmla="*/ 4000 w 10000"/>
                    <a:gd name="connsiteY187" fmla="*/ 8256 h 10000"/>
                    <a:gd name="connsiteX188" fmla="*/ 3722 w 10000"/>
                    <a:gd name="connsiteY188" fmla="*/ 8271 h 10000"/>
                    <a:gd name="connsiteX189" fmla="*/ 3611 w 10000"/>
                    <a:gd name="connsiteY189" fmla="*/ 8287 h 10000"/>
                    <a:gd name="connsiteX190" fmla="*/ 3556 w 10000"/>
                    <a:gd name="connsiteY190" fmla="*/ 8303 h 10000"/>
                    <a:gd name="connsiteX191" fmla="*/ 3556 w 10000"/>
                    <a:gd name="connsiteY191" fmla="*/ 8303 h 10000"/>
                    <a:gd name="connsiteX192" fmla="*/ 3444 w 10000"/>
                    <a:gd name="connsiteY192" fmla="*/ 8364 h 10000"/>
                    <a:gd name="connsiteX193" fmla="*/ 3278 w 10000"/>
                    <a:gd name="connsiteY193" fmla="*/ 8457 h 10000"/>
                    <a:gd name="connsiteX194" fmla="*/ 3000 w 10000"/>
                    <a:gd name="connsiteY194" fmla="*/ 8566 h 10000"/>
                    <a:gd name="connsiteX195" fmla="*/ 2667 w 10000"/>
                    <a:gd name="connsiteY195" fmla="*/ 8641 h 10000"/>
                    <a:gd name="connsiteX196" fmla="*/ 2667 w 10000"/>
                    <a:gd name="connsiteY196" fmla="*/ 8641 h 10000"/>
                    <a:gd name="connsiteX197" fmla="*/ 2333 w 10000"/>
                    <a:gd name="connsiteY197" fmla="*/ 8704 h 10000"/>
                    <a:gd name="connsiteX198" fmla="*/ 1833 w 10000"/>
                    <a:gd name="connsiteY198" fmla="*/ 8766 h 10000"/>
                    <a:gd name="connsiteX199" fmla="*/ 1389 w 10000"/>
                    <a:gd name="connsiteY199" fmla="*/ 8797 h 10000"/>
                    <a:gd name="connsiteX200" fmla="*/ 889 w 10000"/>
                    <a:gd name="connsiteY200" fmla="*/ 8812 h 10000"/>
                    <a:gd name="connsiteX201" fmla="*/ 889 w 10000"/>
                    <a:gd name="connsiteY201" fmla="*/ 8812 h 10000"/>
                    <a:gd name="connsiteX202" fmla="*/ 500 w 10000"/>
                    <a:gd name="connsiteY202" fmla="*/ 8828 h 10000"/>
                    <a:gd name="connsiteX203" fmla="*/ 222 w 10000"/>
                    <a:gd name="connsiteY203" fmla="*/ 8844 h 10000"/>
                    <a:gd name="connsiteX204" fmla="*/ 0 w 10000"/>
                    <a:gd name="connsiteY204" fmla="*/ 8859 h 10000"/>
                    <a:gd name="connsiteX205" fmla="*/ 0 w 10000"/>
                    <a:gd name="connsiteY205" fmla="*/ 8859 h 10000"/>
                    <a:gd name="connsiteX206" fmla="*/ 278 w 10000"/>
                    <a:gd name="connsiteY206" fmla="*/ 9105 h 10000"/>
                    <a:gd name="connsiteX207" fmla="*/ 500 w 10000"/>
                    <a:gd name="connsiteY207" fmla="*/ 9291 h 10000"/>
                    <a:gd name="connsiteX208" fmla="*/ 722 w 10000"/>
                    <a:gd name="connsiteY208" fmla="*/ 9446 h 10000"/>
                    <a:gd name="connsiteX209" fmla="*/ 722 w 10000"/>
                    <a:gd name="connsiteY209" fmla="*/ 9446 h 10000"/>
                    <a:gd name="connsiteX210" fmla="*/ 889 w 10000"/>
                    <a:gd name="connsiteY210" fmla="*/ 9538 h 10000"/>
                    <a:gd name="connsiteX211" fmla="*/ 944 w 10000"/>
                    <a:gd name="connsiteY211" fmla="*/ 9615 h 10000"/>
                    <a:gd name="connsiteX212" fmla="*/ 1111 w 10000"/>
                    <a:gd name="connsiteY212" fmla="*/ 9692 h 10000"/>
                    <a:gd name="connsiteX213" fmla="*/ 1333 w 10000"/>
                    <a:gd name="connsiteY213" fmla="*/ 9816 h 10000"/>
                    <a:gd name="connsiteX214" fmla="*/ 1333 w 10000"/>
                    <a:gd name="connsiteY214" fmla="*/ 9816 h 10000"/>
                    <a:gd name="connsiteX215" fmla="*/ 1444 w 10000"/>
                    <a:gd name="connsiteY215" fmla="*/ 9879 h 10000"/>
                    <a:gd name="connsiteX216" fmla="*/ 1500 w 10000"/>
                    <a:gd name="connsiteY216" fmla="*/ 9924 h 10000"/>
                    <a:gd name="connsiteX217" fmla="*/ 1500 w 10000"/>
                    <a:gd name="connsiteY217" fmla="*/ 9971 h 10000"/>
                    <a:gd name="connsiteX218" fmla="*/ 1556 w 10000"/>
                    <a:gd name="connsiteY218" fmla="*/ 9986 h 10000"/>
                    <a:gd name="connsiteX219" fmla="*/ 1722 w 10000"/>
                    <a:gd name="connsiteY219" fmla="*/ 10000 h 10000"/>
                    <a:gd name="connsiteX220" fmla="*/ 10000 w 10000"/>
                    <a:gd name="connsiteY220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778 w 10000"/>
                    <a:gd name="connsiteY154" fmla="*/ 8997 h 10000"/>
                    <a:gd name="connsiteX155" fmla="*/ 7556 w 10000"/>
                    <a:gd name="connsiteY155" fmla="*/ 8981 h 10000"/>
                    <a:gd name="connsiteX156" fmla="*/ 7000 w 10000"/>
                    <a:gd name="connsiteY156" fmla="*/ 8950 h 10000"/>
                    <a:gd name="connsiteX157" fmla="*/ 7000 w 10000"/>
                    <a:gd name="connsiteY157" fmla="*/ 8950 h 10000"/>
                    <a:gd name="connsiteX158" fmla="*/ 6556 w 10000"/>
                    <a:gd name="connsiteY158" fmla="*/ 8967 h 10000"/>
                    <a:gd name="connsiteX159" fmla="*/ 6222 w 10000"/>
                    <a:gd name="connsiteY159" fmla="*/ 8967 h 10000"/>
                    <a:gd name="connsiteX160" fmla="*/ 6111 w 10000"/>
                    <a:gd name="connsiteY160" fmla="*/ 8950 h 10000"/>
                    <a:gd name="connsiteX161" fmla="*/ 6056 w 10000"/>
                    <a:gd name="connsiteY161" fmla="*/ 8935 h 10000"/>
                    <a:gd name="connsiteX162" fmla="*/ 6056 w 10000"/>
                    <a:gd name="connsiteY162" fmla="*/ 8935 h 10000"/>
                    <a:gd name="connsiteX163" fmla="*/ 6056 w 10000"/>
                    <a:gd name="connsiteY163" fmla="*/ 8659 h 10000"/>
                    <a:gd name="connsiteX164" fmla="*/ 6056 w 10000"/>
                    <a:gd name="connsiteY164" fmla="*/ 8659 h 10000"/>
                    <a:gd name="connsiteX165" fmla="*/ 6056 w 10000"/>
                    <a:gd name="connsiteY165" fmla="*/ 8597 h 10000"/>
                    <a:gd name="connsiteX166" fmla="*/ 5944 w 10000"/>
                    <a:gd name="connsiteY166" fmla="*/ 8520 h 10000"/>
                    <a:gd name="connsiteX167" fmla="*/ 5889 w 10000"/>
                    <a:gd name="connsiteY167" fmla="*/ 8505 h 10000"/>
                    <a:gd name="connsiteX168" fmla="*/ 5778 w 10000"/>
                    <a:gd name="connsiteY168" fmla="*/ 8488 h 10000"/>
                    <a:gd name="connsiteX169" fmla="*/ 5667 w 10000"/>
                    <a:gd name="connsiteY169" fmla="*/ 8488 h 10000"/>
                    <a:gd name="connsiteX170" fmla="*/ 5500 w 10000"/>
                    <a:gd name="connsiteY170" fmla="*/ 8505 h 10000"/>
                    <a:gd name="connsiteX171" fmla="*/ 5500 w 10000"/>
                    <a:gd name="connsiteY171" fmla="*/ 8505 h 10000"/>
                    <a:gd name="connsiteX172" fmla="*/ 4889 w 10000"/>
                    <a:gd name="connsiteY172" fmla="*/ 8612 h 10000"/>
                    <a:gd name="connsiteX173" fmla="*/ 4611 w 10000"/>
                    <a:gd name="connsiteY173" fmla="*/ 8641 h 10000"/>
                    <a:gd name="connsiteX174" fmla="*/ 4556 w 10000"/>
                    <a:gd name="connsiteY174" fmla="*/ 8659 h 10000"/>
                    <a:gd name="connsiteX175" fmla="*/ 4500 w 10000"/>
                    <a:gd name="connsiteY175" fmla="*/ 8641 h 10000"/>
                    <a:gd name="connsiteX176" fmla="*/ 4500 w 10000"/>
                    <a:gd name="connsiteY176" fmla="*/ 8641 h 10000"/>
                    <a:gd name="connsiteX177" fmla="*/ 4222 w 10000"/>
                    <a:gd name="connsiteY177" fmla="*/ 8488 h 10000"/>
                    <a:gd name="connsiteX178" fmla="*/ 4222 w 10000"/>
                    <a:gd name="connsiteY178" fmla="*/ 8488 h 10000"/>
                    <a:gd name="connsiteX179" fmla="*/ 4111 w 10000"/>
                    <a:gd name="connsiteY179" fmla="*/ 8411 h 10000"/>
                    <a:gd name="connsiteX180" fmla="*/ 4111 w 10000"/>
                    <a:gd name="connsiteY180" fmla="*/ 8364 h 10000"/>
                    <a:gd name="connsiteX181" fmla="*/ 4111 w 10000"/>
                    <a:gd name="connsiteY181" fmla="*/ 8318 h 10000"/>
                    <a:gd name="connsiteX182" fmla="*/ 4111 w 10000"/>
                    <a:gd name="connsiteY182" fmla="*/ 8318 h 10000"/>
                    <a:gd name="connsiteX183" fmla="*/ 4278 w 10000"/>
                    <a:gd name="connsiteY183" fmla="*/ 8271 h 10000"/>
                    <a:gd name="connsiteX184" fmla="*/ 4389 w 10000"/>
                    <a:gd name="connsiteY184" fmla="*/ 8256 h 10000"/>
                    <a:gd name="connsiteX185" fmla="*/ 4389 w 10000"/>
                    <a:gd name="connsiteY185" fmla="*/ 8256 h 10000"/>
                    <a:gd name="connsiteX186" fmla="*/ 4000 w 10000"/>
                    <a:gd name="connsiteY186" fmla="*/ 8256 h 10000"/>
                    <a:gd name="connsiteX187" fmla="*/ 3722 w 10000"/>
                    <a:gd name="connsiteY187" fmla="*/ 8271 h 10000"/>
                    <a:gd name="connsiteX188" fmla="*/ 3611 w 10000"/>
                    <a:gd name="connsiteY188" fmla="*/ 8287 h 10000"/>
                    <a:gd name="connsiteX189" fmla="*/ 3556 w 10000"/>
                    <a:gd name="connsiteY189" fmla="*/ 8303 h 10000"/>
                    <a:gd name="connsiteX190" fmla="*/ 3556 w 10000"/>
                    <a:gd name="connsiteY190" fmla="*/ 8303 h 10000"/>
                    <a:gd name="connsiteX191" fmla="*/ 3444 w 10000"/>
                    <a:gd name="connsiteY191" fmla="*/ 8364 h 10000"/>
                    <a:gd name="connsiteX192" fmla="*/ 3278 w 10000"/>
                    <a:gd name="connsiteY192" fmla="*/ 8457 h 10000"/>
                    <a:gd name="connsiteX193" fmla="*/ 3000 w 10000"/>
                    <a:gd name="connsiteY193" fmla="*/ 8566 h 10000"/>
                    <a:gd name="connsiteX194" fmla="*/ 2667 w 10000"/>
                    <a:gd name="connsiteY194" fmla="*/ 8641 h 10000"/>
                    <a:gd name="connsiteX195" fmla="*/ 2667 w 10000"/>
                    <a:gd name="connsiteY195" fmla="*/ 8641 h 10000"/>
                    <a:gd name="connsiteX196" fmla="*/ 2333 w 10000"/>
                    <a:gd name="connsiteY196" fmla="*/ 8704 h 10000"/>
                    <a:gd name="connsiteX197" fmla="*/ 1833 w 10000"/>
                    <a:gd name="connsiteY197" fmla="*/ 8766 h 10000"/>
                    <a:gd name="connsiteX198" fmla="*/ 1389 w 10000"/>
                    <a:gd name="connsiteY198" fmla="*/ 8797 h 10000"/>
                    <a:gd name="connsiteX199" fmla="*/ 889 w 10000"/>
                    <a:gd name="connsiteY199" fmla="*/ 8812 h 10000"/>
                    <a:gd name="connsiteX200" fmla="*/ 889 w 10000"/>
                    <a:gd name="connsiteY200" fmla="*/ 8812 h 10000"/>
                    <a:gd name="connsiteX201" fmla="*/ 500 w 10000"/>
                    <a:gd name="connsiteY201" fmla="*/ 8828 h 10000"/>
                    <a:gd name="connsiteX202" fmla="*/ 222 w 10000"/>
                    <a:gd name="connsiteY202" fmla="*/ 8844 h 10000"/>
                    <a:gd name="connsiteX203" fmla="*/ 0 w 10000"/>
                    <a:gd name="connsiteY203" fmla="*/ 8859 h 10000"/>
                    <a:gd name="connsiteX204" fmla="*/ 0 w 10000"/>
                    <a:gd name="connsiteY204" fmla="*/ 8859 h 10000"/>
                    <a:gd name="connsiteX205" fmla="*/ 278 w 10000"/>
                    <a:gd name="connsiteY205" fmla="*/ 9105 h 10000"/>
                    <a:gd name="connsiteX206" fmla="*/ 500 w 10000"/>
                    <a:gd name="connsiteY206" fmla="*/ 9291 h 10000"/>
                    <a:gd name="connsiteX207" fmla="*/ 722 w 10000"/>
                    <a:gd name="connsiteY207" fmla="*/ 9446 h 10000"/>
                    <a:gd name="connsiteX208" fmla="*/ 722 w 10000"/>
                    <a:gd name="connsiteY208" fmla="*/ 9446 h 10000"/>
                    <a:gd name="connsiteX209" fmla="*/ 889 w 10000"/>
                    <a:gd name="connsiteY209" fmla="*/ 9538 h 10000"/>
                    <a:gd name="connsiteX210" fmla="*/ 944 w 10000"/>
                    <a:gd name="connsiteY210" fmla="*/ 9615 h 10000"/>
                    <a:gd name="connsiteX211" fmla="*/ 1111 w 10000"/>
                    <a:gd name="connsiteY211" fmla="*/ 9692 h 10000"/>
                    <a:gd name="connsiteX212" fmla="*/ 1333 w 10000"/>
                    <a:gd name="connsiteY212" fmla="*/ 9816 h 10000"/>
                    <a:gd name="connsiteX213" fmla="*/ 1333 w 10000"/>
                    <a:gd name="connsiteY213" fmla="*/ 9816 h 10000"/>
                    <a:gd name="connsiteX214" fmla="*/ 1444 w 10000"/>
                    <a:gd name="connsiteY214" fmla="*/ 9879 h 10000"/>
                    <a:gd name="connsiteX215" fmla="*/ 1500 w 10000"/>
                    <a:gd name="connsiteY215" fmla="*/ 9924 h 10000"/>
                    <a:gd name="connsiteX216" fmla="*/ 1500 w 10000"/>
                    <a:gd name="connsiteY216" fmla="*/ 9971 h 10000"/>
                    <a:gd name="connsiteX217" fmla="*/ 1556 w 10000"/>
                    <a:gd name="connsiteY217" fmla="*/ 9986 h 10000"/>
                    <a:gd name="connsiteX218" fmla="*/ 1722 w 10000"/>
                    <a:gd name="connsiteY218" fmla="*/ 10000 h 10000"/>
                    <a:gd name="connsiteX219" fmla="*/ 10000 w 10000"/>
                    <a:gd name="connsiteY219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778 w 10000"/>
                    <a:gd name="connsiteY154" fmla="*/ 8997 h 10000"/>
                    <a:gd name="connsiteX155" fmla="*/ 7556 w 10000"/>
                    <a:gd name="connsiteY155" fmla="*/ 8981 h 10000"/>
                    <a:gd name="connsiteX156" fmla="*/ 7000 w 10000"/>
                    <a:gd name="connsiteY156" fmla="*/ 8950 h 10000"/>
                    <a:gd name="connsiteX157" fmla="*/ 6556 w 10000"/>
                    <a:gd name="connsiteY157" fmla="*/ 8967 h 10000"/>
                    <a:gd name="connsiteX158" fmla="*/ 6222 w 10000"/>
                    <a:gd name="connsiteY158" fmla="*/ 8967 h 10000"/>
                    <a:gd name="connsiteX159" fmla="*/ 6111 w 10000"/>
                    <a:gd name="connsiteY159" fmla="*/ 8950 h 10000"/>
                    <a:gd name="connsiteX160" fmla="*/ 6056 w 10000"/>
                    <a:gd name="connsiteY160" fmla="*/ 8935 h 10000"/>
                    <a:gd name="connsiteX161" fmla="*/ 6056 w 10000"/>
                    <a:gd name="connsiteY161" fmla="*/ 8935 h 10000"/>
                    <a:gd name="connsiteX162" fmla="*/ 6056 w 10000"/>
                    <a:gd name="connsiteY162" fmla="*/ 8659 h 10000"/>
                    <a:gd name="connsiteX163" fmla="*/ 6056 w 10000"/>
                    <a:gd name="connsiteY163" fmla="*/ 8659 h 10000"/>
                    <a:gd name="connsiteX164" fmla="*/ 6056 w 10000"/>
                    <a:gd name="connsiteY164" fmla="*/ 8597 h 10000"/>
                    <a:gd name="connsiteX165" fmla="*/ 5944 w 10000"/>
                    <a:gd name="connsiteY165" fmla="*/ 8520 h 10000"/>
                    <a:gd name="connsiteX166" fmla="*/ 5889 w 10000"/>
                    <a:gd name="connsiteY166" fmla="*/ 8505 h 10000"/>
                    <a:gd name="connsiteX167" fmla="*/ 5778 w 10000"/>
                    <a:gd name="connsiteY167" fmla="*/ 8488 h 10000"/>
                    <a:gd name="connsiteX168" fmla="*/ 5667 w 10000"/>
                    <a:gd name="connsiteY168" fmla="*/ 8488 h 10000"/>
                    <a:gd name="connsiteX169" fmla="*/ 5500 w 10000"/>
                    <a:gd name="connsiteY169" fmla="*/ 8505 h 10000"/>
                    <a:gd name="connsiteX170" fmla="*/ 5500 w 10000"/>
                    <a:gd name="connsiteY170" fmla="*/ 8505 h 10000"/>
                    <a:gd name="connsiteX171" fmla="*/ 4889 w 10000"/>
                    <a:gd name="connsiteY171" fmla="*/ 8612 h 10000"/>
                    <a:gd name="connsiteX172" fmla="*/ 4611 w 10000"/>
                    <a:gd name="connsiteY172" fmla="*/ 8641 h 10000"/>
                    <a:gd name="connsiteX173" fmla="*/ 4556 w 10000"/>
                    <a:gd name="connsiteY173" fmla="*/ 8659 h 10000"/>
                    <a:gd name="connsiteX174" fmla="*/ 4500 w 10000"/>
                    <a:gd name="connsiteY174" fmla="*/ 8641 h 10000"/>
                    <a:gd name="connsiteX175" fmla="*/ 4500 w 10000"/>
                    <a:gd name="connsiteY175" fmla="*/ 8641 h 10000"/>
                    <a:gd name="connsiteX176" fmla="*/ 4222 w 10000"/>
                    <a:gd name="connsiteY176" fmla="*/ 8488 h 10000"/>
                    <a:gd name="connsiteX177" fmla="*/ 4222 w 10000"/>
                    <a:gd name="connsiteY177" fmla="*/ 8488 h 10000"/>
                    <a:gd name="connsiteX178" fmla="*/ 4111 w 10000"/>
                    <a:gd name="connsiteY178" fmla="*/ 8411 h 10000"/>
                    <a:gd name="connsiteX179" fmla="*/ 4111 w 10000"/>
                    <a:gd name="connsiteY179" fmla="*/ 8364 h 10000"/>
                    <a:gd name="connsiteX180" fmla="*/ 4111 w 10000"/>
                    <a:gd name="connsiteY180" fmla="*/ 8318 h 10000"/>
                    <a:gd name="connsiteX181" fmla="*/ 4111 w 10000"/>
                    <a:gd name="connsiteY181" fmla="*/ 8318 h 10000"/>
                    <a:gd name="connsiteX182" fmla="*/ 4278 w 10000"/>
                    <a:gd name="connsiteY182" fmla="*/ 8271 h 10000"/>
                    <a:gd name="connsiteX183" fmla="*/ 4389 w 10000"/>
                    <a:gd name="connsiteY183" fmla="*/ 8256 h 10000"/>
                    <a:gd name="connsiteX184" fmla="*/ 4389 w 10000"/>
                    <a:gd name="connsiteY184" fmla="*/ 8256 h 10000"/>
                    <a:gd name="connsiteX185" fmla="*/ 4000 w 10000"/>
                    <a:gd name="connsiteY185" fmla="*/ 8256 h 10000"/>
                    <a:gd name="connsiteX186" fmla="*/ 3722 w 10000"/>
                    <a:gd name="connsiteY186" fmla="*/ 8271 h 10000"/>
                    <a:gd name="connsiteX187" fmla="*/ 3611 w 10000"/>
                    <a:gd name="connsiteY187" fmla="*/ 8287 h 10000"/>
                    <a:gd name="connsiteX188" fmla="*/ 3556 w 10000"/>
                    <a:gd name="connsiteY188" fmla="*/ 8303 h 10000"/>
                    <a:gd name="connsiteX189" fmla="*/ 3556 w 10000"/>
                    <a:gd name="connsiteY189" fmla="*/ 8303 h 10000"/>
                    <a:gd name="connsiteX190" fmla="*/ 3444 w 10000"/>
                    <a:gd name="connsiteY190" fmla="*/ 8364 h 10000"/>
                    <a:gd name="connsiteX191" fmla="*/ 3278 w 10000"/>
                    <a:gd name="connsiteY191" fmla="*/ 8457 h 10000"/>
                    <a:gd name="connsiteX192" fmla="*/ 3000 w 10000"/>
                    <a:gd name="connsiteY192" fmla="*/ 8566 h 10000"/>
                    <a:gd name="connsiteX193" fmla="*/ 2667 w 10000"/>
                    <a:gd name="connsiteY193" fmla="*/ 8641 h 10000"/>
                    <a:gd name="connsiteX194" fmla="*/ 2667 w 10000"/>
                    <a:gd name="connsiteY194" fmla="*/ 8641 h 10000"/>
                    <a:gd name="connsiteX195" fmla="*/ 2333 w 10000"/>
                    <a:gd name="connsiteY195" fmla="*/ 8704 h 10000"/>
                    <a:gd name="connsiteX196" fmla="*/ 1833 w 10000"/>
                    <a:gd name="connsiteY196" fmla="*/ 8766 h 10000"/>
                    <a:gd name="connsiteX197" fmla="*/ 1389 w 10000"/>
                    <a:gd name="connsiteY197" fmla="*/ 8797 h 10000"/>
                    <a:gd name="connsiteX198" fmla="*/ 889 w 10000"/>
                    <a:gd name="connsiteY198" fmla="*/ 8812 h 10000"/>
                    <a:gd name="connsiteX199" fmla="*/ 889 w 10000"/>
                    <a:gd name="connsiteY199" fmla="*/ 8812 h 10000"/>
                    <a:gd name="connsiteX200" fmla="*/ 500 w 10000"/>
                    <a:gd name="connsiteY200" fmla="*/ 8828 h 10000"/>
                    <a:gd name="connsiteX201" fmla="*/ 222 w 10000"/>
                    <a:gd name="connsiteY201" fmla="*/ 8844 h 10000"/>
                    <a:gd name="connsiteX202" fmla="*/ 0 w 10000"/>
                    <a:gd name="connsiteY202" fmla="*/ 8859 h 10000"/>
                    <a:gd name="connsiteX203" fmla="*/ 0 w 10000"/>
                    <a:gd name="connsiteY203" fmla="*/ 8859 h 10000"/>
                    <a:gd name="connsiteX204" fmla="*/ 278 w 10000"/>
                    <a:gd name="connsiteY204" fmla="*/ 9105 h 10000"/>
                    <a:gd name="connsiteX205" fmla="*/ 500 w 10000"/>
                    <a:gd name="connsiteY205" fmla="*/ 9291 h 10000"/>
                    <a:gd name="connsiteX206" fmla="*/ 722 w 10000"/>
                    <a:gd name="connsiteY206" fmla="*/ 9446 h 10000"/>
                    <a:gd name="connsiteX207" fmla="*/ 722 w 10000"/>
                    <a:gd name="connsiteY207" fmla="*/ 9446 h 10000"/>
                    <a:gd name="connsiteX208" fmla="*/ 889 w 10000"/>
                    <a:gd name="connsiteY208" fmla="*/ 9538 h 10000"/>
                    <a:gd name="connsiteX209" fmla="*/ 944 w 10000"/>
                    <a:gd name="connsiteY209" fmla="*/ 9615 h 10000"/>
                    <a:gd name="connsiteX210" fmla="*/ 1111 w 10000"/>
                    <a:gd name="connsiteY210" fmla="*/ 9692 h 10000"/>
                    <a:gd name="connsiteX211" fmla="*/ 1333 w 10000"/>
                    <a:gd name="connsiteY211" fmla="*/ 9816 h 10000"/>
                    <a:gd name="connsiteX212" fmla="*/ 1333 w 10000"/>
                    <a:gd name="connsiteY212" fmla="*/ 9816 h 10000"/>
                    <a:gd name="connsiteX213" fmla="*/ 1444 w 10000"/>
                    <a:gd name="connsiteY213" fmla="*/ 9879 h 10000"/>
                    <a:gd name="connsiteX214" fmla="*/ 1500 w 10000"/>
                    <a:gd name="connsiteY214" fmla="*/ 9924 h 10000"/>
                    <a:gd name="connsiteX215" fmla="*/ 1500 w 10000"/>
                    <a:gd name="connsiteY215" fmla="*/ 9971 h 10000"/>
                    <a:gd name="connsiteX216" fmla="*/ 1556 w 10000"/>
                    <a:gd name="connsiteY216" fmla="*/ 9986 h 10000"/>
                    <a:gd name="connsiteX217" fmla="*/ 1722 w 10000"/>
                    <a:gd name="connsiteY217" fmla="*/ 10000 h 10000"/>
                    <a:gd name="connsiteX218" fmla="*/ 10000 w 10000"/>
                    <a:gd name="connsiteY218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778 w 10000"/>
                    <a:gd name="connsiteY154" fmla="*/ 8997 h 10000"/>
                    <a:gd name="connsiteX155" fmla="*/ 7556 w 10000"/>
                    <a:gd name="connsiteY155" fmla="*/ 8981 h 10000"/>
                    <a:gd name="connsiteX156" fmla="*/ 7000 w 10000"/>
                    <a:gd name="connsiteY156" fmla="*/ 8950 h 10000"/>
                    <a:gd name="connsiteX157" fmla="*/ 6556 w 10000"/>
                    <a:gd name="connsiteY157" fmla="*/ 8967 h 10000"/>
                    <a:gd name="connsiteX158" fmla="*/ 6222 w 10000"/>
                    <a:gd name="connsiteY158" fmla="*/ 8967 h 10000"/>
                    <a:gd name="connsiteX159" fmla="*/ 6111 w 10000"/>
                    <a:gd name="connsiteY159" fmla="*/ 8950 h 10000"/>
                    <a:gd name="connsiteX160" fmla="*/ 6056 w 10000"/>
                    <a:gd name="connsiteY160" fmla="*/ 8935 h 10000"/>
                    <a:gd name="connsiteX161" fmla="*/ 6056 w 10000"/>
                    <a:gd name="connsiteY161" fmla="*/ 8659 h 10000"/>
                    <a:gd name="connsiteX162" fmla="*/ 6056 w 10000"/>
                    <a:gd name="connsiteY162" fmla="*/ 8659 h 10000"/>
                    <a:gd name="connsiteX163" fmla="*/ 6056 w 10000"/>
                    <a:gd name="connsiteY163" fmla="*/ 8597 h 10000"/>
                    <a:gd name="connsiteX164" fmla="*/ 5944 w 10000"/>
                    <a:gd name="connsiteY164" fmla="*/ 8520 h 10000"/>
                    <a:gd name="connsiteX165" fmla="*/ 5889 w 10000"/>
                    <a:gd name="connsiteY165" fmla="*/ 8505 h 10000"/>
                    <a:gd name="connsiteX166" fmla="*/ 5778 w 10000"/>
                    <a:gd name="connsiteY166" fmla="*/ 8488 h 10000"/>
                    <a:gd name="connsiteX167" fmla="*/ 5667 w 10000"/>
                    <a:gd name="connsiteY167" fmla="*/ 8488 h 10000"/>
                    <a:gd name="connsiteX168" fmla="*/ 5500 w 10000"/>
                    <a:gd name="connsiteY168" fmla="*/ 8505 h 10000"/>
                    <a:gd name="connsiteX169" fmla="*/ 5500 w 10000"/>
                    <a:gd name="connsiteY169" fmla="*/ 8505 h 10000"/>
                    <a:gd name="connsiteX170" fmla="*/ 4889 w 10000"/>
                    <a:gd name="connsiteY170" fmla="*/ 8612 h 10000"/>
                    <a:gd name="connsiteX171" fmla="*/ 4611 w 10000"/>
                    <a:gd name="connsiteY171" fmla="*/ 8641 h 10000"/>
                    <a:gd name="connsiteX172" fmla="*/ 4556 w 10000"/>
                    <a:gd name="connsiteY172" fmla="*/ 8659 h 10000"/>
                    <a:gd name="connsiteX173" fmla="*/ 4500 w 10000"/>
                    <a:gd name="connsiteY173" fmla="*/ 8641 h 10000"/>
                    <a:gd name="connsiteX174" fmla="*/ 4500 w 10000"/>
                    <a:gd name="connsiteY174" fmla="*/ 8641 h 10000"/>
                    <a:gd name="connsiteX175" fmla="*/ 4222 w 10000"/>
                    <a:gd name="connsiteY175" fmla="*/ 8488 h 10000"/>
                    <a:gd name="connsiteX176" fmla="*/ 4222 w 10000"/>
                    <a:gd name="connsiteY176" fmla="*/ 8488 h 10000"/>
                    <a:gd name="connsiteX177" fmla="*/ 4111 w 10000"/>
                    <a:gd name="connsiteY177" fmla="*/ 8411 h 10000"/>
                    <a:gd name="connsiteX178" fmla="*/ 4111 w 10000"/>
                    <a:gd name="connsiteY178" fmla="*/ 8364 h 10000"/>
                    <a:gd name="connsiteX179" fmla="*/ 4111 w 10000"/>
                    <a:gd name="connsiteY179" fmla="*/ 8318 h 10000"/>
                    <a:gd name="connsiteX180" fmla="*/ 4111 w 10000"/>
                    <a:gd name="connsiteY180" fmla="*/ 8318 h 10000"/>
                    <a:gd name="connsiteX181" fmla="*/ 4278 w 10000"/>
                    <a:gd name="connsiteY181" fmla="*/ 8271 h 10000"/>
                    <a:gd name="connsiteX182" fmla="*/ 4389 w 10000"/>
                    <a:gd name="connsiteY182" fmla="*/ 8256 h 10000"/>
                    <a:gd name="connsiteX183" fmla="*/ 4389 w 10000"/>
                    <a:gd name="connsiteY183" fmla="*/ 8256 h 10000"/>
                    <a:gd name="connsiteX184" fmla="*/ 4000 w 10000"/>
                    <a:gd name="connsiteY184" fmla="*/ 8256 h 10000"/>
                    <a:gd name="connsiteX185" fmla="*/ 3722 w 10000"/>
                    <a:gd name="connsiteY185" fmla="*/ 8271 h 10000"/>
                    <a:gd name="connsiteX186" fmla="*/ 3611 w 10000"/>
                    <a:gd name="connsiteY186" fmla="*/ 8287 h 10000"/>
                    <a:gd name="connsiteX187" fmla="*/ 3556 w 10000"/>
                    <a:gd name="connsiteY187" fmla="*/ 8303 h 10000"/>
                    <a:gd name="connsiteX188" fmla="*/ 3556 w 10000"/>
                    <a:gd name="connsiteY188" fmla="*/ 8303 h 10000"/>
                    <a:gd name="connsiteX189" fmla="*/ 3444 w 10000"/>
                    <a:gd name="connsiteY189" fmla="*/ 8364 h 10000"/>
                    <a:gd name="connsiteX190" fmla="*/ 3278 w 10000"/>
                    <a:gd name="connsiteY190" fmla="*/ 8457 h 10000"/>
                    <a:gd name="connsiteX191" fmla="*/ 3000 w 10000"/>
                    <a:gd name="connsiteY191" fmla="*/ 8566 h 10000"/>
                    <a:gd name="connsiteX192" fmla="*/ 2667 w 10000"/>
                    <a:gd name="connsiteY192" fmla="*/ 8641 h 10000"/>
                    <a:gd name="connsiteX193" fmla="*/ 2667 w 10000"/>
                    <a:gd name="connsiteY193" fmla="*/ 8641 h 10000"/>
                    <a:gd name="connsiteX194" fmla="*/ 2333 w 10000"/>
                    <a:gd name="connsiteY194" fmla="*/ 8704 h 10000"/>
                    <a:gd name="connsiteX195" fmla="*/ 1833 w 10000"/>
                    <a:gd name="connsiteY195" fmla="*/ 8766 h 10000"/>
                    <a:gd name="connsiteX196" fmla="*/ 1389 w 10000"/>
                    <a:gd name="connsiteY196" fmla="*/ 8797 h 10000"/>
                    <a:gd name="connsiteX197" fmla="*/ 889 w 10000"/>
                    <a:gd name="connsiteY197" fmla="*/ 8812 h 10000"/>
                    <a:gd name="connsiteX198" fmla="*/ 889 w 10000"/>
                    <a:gd name="connsiteY198" fmla="*/ 8812 h 10000"/>
                    <a:gd name="connsiteX199" fmla="*/ 500 w 10000"/>
                    <a:gd name="connsiteY199" fmla="*/ 8828 h 10000"/>
                    <a:gd name="connsiteX200" fmla="*/ 222 w 10000"/>
                    <a:gd name="connsiteY200" fmla="*/ 8844 h 10000"/>
                    <a:gd name="connsiteX201" fmla="*/ 0 w 10000"/>
                    <a:gd name="connsiteY201" fmla="*/ 8859 h 10000"/>
                    <a:gd name="connsiteX202" fmla="*/ 0 w 10000"/>
                    <a:gd name="connsiteY202" fmla="*/ 8859 h 10000"/>
                    <a:gd name="connsiteX203" fmla="*/ 278 w 10000"/>
                    <a:gd name="connsiteY203" fmla="*/ 9105 h 10000"/>
                    <a:gd name="connsiteX204" fmla="*/ 500 w 10000"/>
                    <a:gd name="connsiteY204" fmla="*/ 9291 h 10000"/>
                    <a:gd name="connsiteX205" fmla="*/ 722 w 10000"/>
                    <a:gd name="connsiteY205" fmla="*/ 9446 h 10000"/>
                    <a:gd name="connsiteX206" fmla="*/ 722 w 10000"/>
                    <a:gd name="connsiteY206" fmla="*/ 9446 h 10000"/>
                    <a:gd name="connsiteX207" fmla="*/ 889 w 10000"/>
                    <a:gd name="connsiteY207" fmla="*/ 9538 h 10000"/>
                    <a:gd name="connsiteX208" fmla="*/ 944 w 10000"/>
                    <a:gd name="connsiteY208" fmla="*/ 9615 h 10000"/>
                    <a:gd name="connsiteX209" fmla="*/ 1111 w 10000"/>
                    <a:gd name="connsiteY209" fmla="*/ 9692 h 10000"/>
                    <a:gd name="connsiteX210" fmla="*/ 1333 w 10000"/>
                    <a:gd name="connsiteY210" fmla="*/ 9816 h 10000"/>
                    <a:gd name="connsiteX211" fmla="*/ 1333 w 10000"/>
                    <a:gd name="connsiteY211" fmla="*/ 9816 h 10000"/>
                    <a:gd name="connsiteX212" fmla="*/ 1444 w 10000"/>
                    <a:gd name="connsiteY212" fmla="*/ 9879 h 10000"/>
                    <a:gd name="connsiteX213" fmla="*/ 1500 w 10000"/>
                    <a:gd name="connsiteY213" fmla="*/ 9924 h 10000"/>
                    <a:gd name="connsiteX214" fmla="*/ 1500 w 10000"/>
                    <a:gd name="connsiteY214" fmla="*/ 9971 h 10000"/>
                    <a:gd name="connsiteX215" fmla="*/ 1556 w 10000"/>
                    <a:gd name="connsiteY215" fmla="*/ 9986 h 10000"/>
                    <a:gd name="connsiteX216" fmla="*/ 1722 w 10000"/>
                    <a:gd name="connsiteY216" fmla="*/ 10000 h 10000"/>
                    <a:gd name="connsiteX217" fmla="*/ 10000 w 10000"/>
                    <a:gd name="connsiteY217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00 w 10000"/>
                    <a:gd name="connsiteY19" fmla="*/ 8828 h 10000"/>
                    <a:gd name="connsiteX20" fmla="*/ 6056 w 10000"/>
                    <a:gd name="connsiteY20" fmla="*/ 8704 h 10000"/>
                    <a:gd name="connsiteX21" fmla="*/ 6111 w 10000"/>
                    <a:gd name="connsiteY21" fmla="*/ 8641 h 10000"/>
                    <a:gd name="connsiteX22" fmla="*/ 6056 w 10000"/>
                    <a:gd name="connsiteY22" fmla="*/ 8566 h 10000"/>
                    <a:gd name="connsiteX23" fmla="*/ 6056 w 10000"/>
                    <a:gd name="connsiteY23" fmla="*/ 8566 h 10000"/>
                    <a:gd name="connsiteX24" fmla="*/ 6000 w 10000"/>
                    <a:gd name="connsiteY24" fmla="*/ 8520 h 10000"/>
                    <a:gd name="connsiteX25" fmla="*/ 5944 w 10000"/>
                    <a:gd name="connsiteY25" fmla="*/ 8488 h 10000"/>
                    <a:gd name="connsiteX26" fmla="*/ 5833 w 10000"/>
                    <a:gd name="connsiteY26" fmla="*/ 8488 h 10000"/>
                    <a:gd name="connsiteX27" fmla="*/ 5667 w 10000"/>
                    <a:gd name="connsiteY27" fmla="*/ 8505 h 10000"/>
                    <a:gd name="connsiteX28" fmla="*/ 5333 w 10000"/>
                    <a:gd name="connsiteY28" fmla="*/ 8550 h 10000"/>
                    <a:gd name="connsiteX29" fmla="*/ 4889 w 10000"/>
                    <a:gd name="connsiteY29" fmla="*/ 8627 h 10000"/>
                    <a:gd name="connsiteX30" fmla="*/ 4889 w 10000"/>
                    <a:gd name="connsiteY30" fmla="*/ 8627 h 10000"/>
                    <a:gd name="connsiteX31" fmla="*/ 4611 w 10000"/>
                    <a:gd name="connsiteY31" fmla="*/ 8641 h 10000"/>
                    <a:gd name="connsiteX32" fmla="*/ 4500 w 10000"/>
                    <a:gd name="connsiteY32" fmla="*/ 8641 h 10000"/>
                    <a:gd name="connsiteX33" fmla="*/ 4444 w 10000"/>
                    <a:gd name="connsiteY33" fmla="*/ 8627 h 10000"/>
                    <a:gd name="connsiteX34" fmla="*/ 4389 w 10000"/>
                    <a:gd name="connsiteY34" fmla="*/ 8566 h 10000"/>
                    <a:gd name="connsiteX35" fmla="*/ 4222 w 10000"/>
                    <a:gd name="connsiteY35" fmla="*/ 8488 h 10000"/>
                    <a:gd name="connsiteX36" fmla="*/ 4222 w 10000"/>
                    <a:gd name="connsiteY36" fmla="*/ 8488 h 10000"/>
                    <a:gd name="connsiteX37" fmla="*/ 4111 w 10000"/>
                    <a:gd name="connsiteY37" fmla="*/ 8442 h 10000"/>
                    <a:gd name="connsiteX38" fmla="*/ 4111 w 10000"/>
                    <a:gd name="connsiteY38" fmla="*/ 8396 h 10000"/>
                    <a:gd name="connsiteX39" fmla="*/ 4111 w 10000"/>
                    <a:gd name="connsiteY39" fmla="*/ 8364 h 10000"/>
                    <a:gd name="connsiteX40" fmla="*/ 4167 w 10000"/>
                    <a:gd name="connsiteY40" fmla="*/ 8333 h 10000"/>
                    <a:gd name="connsiteX41" fmla="*/ 4278 w 10000"/>
                    <a:gd name="connsiteY41" fmla="*/ 8271 h 10000"/>
                    <a:gd name="connsiteX42" fmla="*/ 4389 w 10000"/>
                    <a:gd name="connsiteY42" fmla="*/ 8256 h 10000"/>
                    <a:gd name="connsiteX43" fmla="*/ 4389 w 10000"/>
                    <a:gd name="connsiteY43" fmla="*/ 8256 h 10000"/>
                    <a:gd name="connsiteX44" fmla="*/ 4389 w 10000"/>
                    <a:gd name="connsiteY44" fmla="*/ 8242 h 10000"/>
                    <a:gd name="connsiteX45" fmla="*/ 4444 w 10000"/>
                    <a:gd name="connsiteY45" fmla="*/ 8226 h 10000"/>
                    <a:gd name="connsiteX46" fmla="*/ 4667 w 10000"/>
                    <a:gd name="connsiteY46" fmla="*/ 8211 h 10000"/>
                    <a:gd name="connsiteX47" fmla="*/ 5333 w 10000"/>
                    <a:gd name="connsiteY47" fmla="*/ 8180 h 10000"/>
                    <a:gd name="connsiteX48" fmla="*/ 6500 w 10000"/>
                    <a:gd name="connsiteY48" fmla="*/ 8134 h 10000"/>
                    <a:gd name="connsiteX49" fmla="*/ 6500 w 10000"/>
                    <a:gd name="connsiteY49" fmla="*/ 8134 h 10000"/>
                    <a:gd name="connsiteX50" fmla="*/ 7167 w 10000"/>
                    <a:gd name="connsiteY50" fmla="*/ 8087 h 10000"/>
                    <a:gd name="connsiteX51" fmla="*/ 8389 w 10000"/>
                    <a:gd name="connsiteY51" fmla="*/ 7995 h 10000"/>
                    <a:gd name="connsiteX52" fmla="*/ 8389 w 10000"/>
                    <a:gd name="connsiteY52" fmla="*/ 7995 h 10000"/>
                    <a:gd name="connsiteX53" fmla="*/ 8667 w 10000"/>
                    <a:gd name="connsiteY53" fmla="*/ 7963 h 10000"/>
                    <a:gd name="connsiteX54" fmla="*/ 8778 w 10000"/>
                    <a:gd name="connsiteY54" fmla="*/ 7917 h 10000"/>
                    <a:gd name="connsiteX55" fmla="*/ 8889 w 10000"/>
                    <a:gd name="connsiteY55" fmla="*/ 7887 h 10000"/>
                    <a:gd name="connsiteX56" fmla="*/ 8833 w 10000"/>
                    <a:gd name="connsiteY56" fmla="*/ 7856 h 10000"/>
                    <a:gd name="connsiteX57" fmla="*/ 8833 w 10000"/>
                    <a:gd name="connsiteY57" fmla="*/ 7826 h 10000"/>
                    <a:gd name="connsiteX58" fmla="*/ 8722 w 10000"/>
                    <a:gd name="connsiteY58" fmla="*/ 7793 h 10000"/>
                    <a:gd name="connsiteX59" fmla="*/ 8556 w 10000"/>
                    <a:gd name="connsiteY59" fmla="*/ 7747 h 10000"/>
                    <a:gd name="connsiteX60" fmla="*/ 8556 w 10000"/>
                    <a:gd name="connsiteY60" fmla="*/ 7747 h 10000"/>
                    <a:gd name="connsiteX61" fmla="*/ 6556 w 10000"/>
                    <a:gd name="connsiteY61" fmla="*/ 7470 h 10000"/>
                    <a:gd name="connsiteX62" fmla="*/ 6556 w 10000"/>
                    <a:gd name="connsiteY62" fmla="*/ 7470 h 10000"/>
                    <a:gd name="connsiteX63" fmla="*/ 6333 w 10000"/>
                    <a:gd name="connsiteY63" fmla="*/ 7424 h 10000"/>
                    <a:gd name="connsiteX64" fmla="*/ 6167 w 10000"/>
                    <a:gd name="connsiteY64" fmla="*/ 7377 h 10000"/>
                    <a:gd name="connsiteX65" fmla="*/ 6056 w 10000"/>
                    <a:gd name="connsiteY65" fmla="*/ 7331 h 10000"/>
                    <a:gd name="connsiteX66" fmla="*/ 6056 w 10000"/>
                    <a:gd name="connsiteY66" fmla="*/ 7331 h 10000"/>
                    <a:gd name="connsiteX67" fmla="*/ 8056 w 10000"/>
                    <a:gd name="connsiteY67" fmla="*/ 7315 h 10000"/>
                    <a:gd name="connsiteX68" fmla="*/ 10000 w 10000"/>
                    <a:gd name="connsiteY68" fmla="*/ 7470 h 10000"/>
                    <a:gd name="connsiteX69" fmla="*/ 10000 w 10000"/>
                    <a:gd name="connsiteY69" fmla="*/ 6065 h 10000"/>
                    <a:gd name="connsiteX70" fmla="*/ 10000 w 10000"/>
                    <a:gd name="connsiteY70" fmla="*/ 6065 h 10000"/>
                    <a:gd name="connsiteX71" fmla="*/ 7778 w 10000"/>
                    <a:gd name="connsiteY71" fmla="*/ 5740 h 10000"/>
                    <a:gd name="connsiteX72" fmla="*/ 6556 w 10000"/>
                    <a:gd name="connsiteY72" fmla="*/ 5556 h 10000"/>
                    <a:gd name="connsiteX73" fmla="*/ 6556 w 10000"/>
                    <a:gd name="connsiteY73" fmla="*/ 5556 h 10000"/>
                    <a:gd name="connsiteX74" fmla="*/ 6556 w 10000"/>
                    <a:gd name="connsiteY74" fmla="*/ 5541 h 10000"/>
                    <a:gd name="connsiteX75" fmla="*/ 6556 w 10000"/>
                    <a:gd name="connsiteY75" fmla="*/ 5448 h 10000"/>
                    <a:gd name="connsiteX76" fmla="*/ 6556 w 10000"/>
                    <a:gd name="connsiteY76" fmla="*/ 5448 h 10000"/>
                    <a:gd name="connsiteX77" fmla="*/ 6389 w 10000"/>
                    <a:gd name="connsiteY77" fmla="*/ 5340 h 10000"/>
                    <a:gd name="connsiteX78" fmla="*/ 6056 w 10000"/>
                    <a:gd name="connsiteY78" fmla="*/ 5171 h 10000"/>
                    <a:gd name="connsiteX79" fmla="*/ 5333 w 10000"/>
                    <a:gd name="connsiteY79" fmla="*/ 4846 h 10000"/>
                    <a:gd name="connsiteX80" fmla="*/ 5333 w 10000"/>
                    <a:gd name="connsiteY80" fmla="*/ 4846 h 10000"/>
                    <a:gd name="connsiteX81" fmla="*/ 5167 w 10000"/>
                    <a:gd name="connsiteY81" fmla="*/ 4800 h 10000"/>
                    <a:gd name="connsiteX82" fmla="*/ 4889 w 10000"/>
                    <a:gd name="connsiteY82" fmla="*/ 4737 h 10000"/>
                    <a:gd name="connsiteX83" fmla="*/ 4056 w 10000"/>
                    <a:gd name="connsiteY83" fmla="*/ 4599 h 10000"/>
                    <a:gd name="connsiteX84" fmla="*/ 2889 w 10000"/>
                    <a:gd name="connsiteY84" fmla="*/ 4430 h 10000"/>
                    <a:gd name="connsiteX85" fmla="*/ 2889 w 10000"/>
                    <a:gd name="connsiteY85" fmla="*/ 4430 h 10000"/>
                    <a:gd name="connsiteX86" fmla="*/ 2389 w 10000"/>
                    <a:gd name="connsiteY86" fmla="*/ 4413 h 10000"/>
                    <a:gd name="connsiteX87" fmla="*/ 2000 w 10000"/>
                    <a:gd name="connsiteY87" fmla="*/ 4397 h 10000"/>
                    <a:gd name="connsiteX88" fmla="*/ 1889 w 10000"/>
                    <a:gd name="connsiteY88" fmla="*/ 4382 h 10000"/>
                    <a:gd name="connsiteX89" fmla="*/ 1778 w 10000"/>
                    <a:gd name="connsiteY89" fmla="*/ 4367 h 10000"/>
                    <a:gd name="connsiteX90" fmla="*/ 1778 w 10000"/>
                    <a:gd name="connsiteY90" fmla="*/ 4367 h 10000"/>
                    <a:gd name="connsiteX91" fmla="*/ 1667 w 10000"/>
                    <a:gd name="connsiteY91" fmla="*/ 4305 h 10000"/>
                    <a:gd name="connsiteX92" fmla="*/ 1500 w 10000"/>
                    <a:gd name="connsiteY92" fmla="*/ 4198 h 10000"/>
                    <a:gd name="connsiteX93" fmla="*/ 1444 w 10000"/>
                    <a:gd name="connsiteY93" fmla="*/ 4136 h 10000"/>
                    <a:gd name="connsiteX94" fmla="*/ 1444 w 10000"/>
                    <a:gd name="connsiteY94" fmla="*/ 4073 h 10000"/>
                    <a:gd name="connsiteX95" fmla="*/ 1444 w 10000"/>
                    <a:gd name="connsiteY95" fmla="*/ 4028 h 10000"/>
                    <a:gd name="connsiteX96" fmla="*/ 1556 w 10000"/>
                    <a:gd name="connsiteY96" fmla="*/ 3981 h 10000"/>
                    <a:gd name="connsiteX97" fmla="*/ 1556 w 10000"/>
                    <a:gd name="connsiteY97" fmla="*/ 3981 h 10000"/>
                    <a:gd name="connsiteX98" fmla="*/ 1833 w 10000"/>
                    <a:gd name="connsiteY98" fmla="*/ 3904 h 10000"/>
                    <a:gd name="connsiteX99" fmla="*/ 2111 w 10000"/>
                    <a:gd name="connsiteY99" fmla="*/ 3828 h 10000"/>
                    <a:gd name="connsiteX100" fmla="*/ 2278 w 10000"/>
                    <a:gd name="connsiteY100" fmla="*/ 3782 h 10000"/>
                    <a:gd name="connsiteX101" fmla="*/ 2389 w 10000"/>
                    <a:gd name="connsiteY101" fmla="*/ 3734 h 10000"/>
                    <a:gd name="connsiteX102" fmla="*/ 2389 w 10000"/>
                    <a:gd name="connsiteY102" fmla="*/ 3672 h 10000"/>
                    <a:gd name="connsiteX103" fmla="*/ 2389 w 10000"/>
                    <a:gd name="connsiteY103" fmla="*/ 3596 h 10000"/>
                    <a:gd name="connsiteX104" fmla="*/ 2389 w 10000"/>
                    <a:gd name="connsiteY104" fmla="*/ 3596 h 10000"/>
                    <a:gd name="connsiteX105" fmla="*/ 2167 w 10000"/>
                    <a:gd name="connsiteY105" fmla="*/ 3379 h 10000"/>
                    <a:gd name="connsiteX106" fmla="*/ 1889 w 10000"/>
                    <a:gd name="connsiteY106" fmla="*/ 3087 h 10000"/>
                    <a:gd name="connsiteX107" fmla="*/ 1667 w 10000"/>
                    <a:gd name="connsiteY107" fmla="*/ 2824 h 10000"/>
                    <a:gd name="connsiteX108" fmla="*/ 1611 w 10000"/>
                    <a:gd name="connsiteY108" fmla="*/ 2747 h 10000"/>
                    <a:gd name="connsiteX109" fmla="*/ 1611 w 10000"/>
                    <a:gd name="connsiteY109" fmla="*/ 2716 h 10000"/>
                    <a:gd name="connsiteX110" fmla="*/ 1667 w 10000"/>
                    <a:gd name="connsiteY110" fmla="*/ 2700 h 10000"/>
                    <a:gd name="connsiteX111" fmla="*/ 1667 w 10000"/>
                    <a:gd name="connsiteY111" fmla="*/ 2700 h 10000"/>
                    <a:gd name="connsiteX112" fmla="*/ 2000 w 10000"/>
                    <a:gd name="connsiteY112" fmla="*/ 2686 h 10000"/>
                    <a:gd name="connsiteX113" fmla="*/ 2222 w 10000"/>
                    <a:gd name="connsiteY113" fmla="*/ 2686 h 10000"/>
                    <a:gd name="connsiteX114" fmla="*/ 2389 w 10000"/>
                    <a:gd name="connsiteY114" fmla="*/ 2700 h 10000"/>
                    <a:gd name="connsiteX115" fmla="*/ 2389 w 10000"/>
                    <a:gd name="connsiteY115" fmla="*/ 2700 h 10000"/>
                    <a:gd name="connsiteX116" fmla="*/ 2444 w 10000"/>
                    <a:gd name="connsiteY116" fmla="*/ 2700 h 10000"/>
                    <a:gd name="connsiteX117" fmla="*/ 2500 w 10000"/>
                    <a:gd name="connsiteY117" fmla="*/ 2670 h 10000"/>
                    <a:gd name="connsiteX118" fmla="*/ 2778 w 10000"/>
                    <a:gd name="connsiteY118" fmla="*/ 2577 h 10000"/>
                    <a:gd name="connsiteX119" fmla="*/ 3500 w 10000"/>
                    <a:gd name="connsiteY119" fmla="*/ 2269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822 h 10000"/>
                    <a:gd name="connsiteX122" fmla="*/ 4444 w 10000"/>
                    <a:gd name="connsiteY122" fmla="*/ 1759 h 10000"/>
                    <a:gd name="connsiteX123" fmla="*/ 4444 w 10000"/>
                    <a:gd name="connsiteY123" fmla="*/ 1619 h 10000"/>
                    <a:gd name="connsiteX124" fmla="*/ 4500 w 10000"/>
                    <a:gd name="connsiteY124" fmla="*/ 1528 h 10000"/>
                    <a:gd name="connsiteX125" fmla="*/ 4611 w 10000"/>
                    <a:gd name="connsiteY125" fmla="*/ 1450 h 10000"/>
                    <a:gd name="connsiteX126" fmla="*/ 4778 w 10000"/>
                    <a:gd name="connsiteY126" fmla="*/ 1358 h 10000"/>
                    <a:gd name="connsiteX127" fmla="*/ 5000 w 10000"/>
                    <a:gd name="connsiteY127" fmla="*/ 1281 h 10000"/>
                    <a:gd name="connsiteX128" fmla="*/ 5000 w 10000"/>
                    <a:gd name="connsiteY128" fmla="*/ 1281 h 10000"/>
                    <a:gd name="connsiteX129" fmla="*/ 5556 w 10000"/>
                    <a:gd name="connsiteY129" fmla="*/ 1127 h 10000"/>
                    <a:gd name="connsiteX130" fmla="*/ 6111 w 10000"/>
                    <a:gd name="connsiteY130" fmla="*/ 926 h 10000"/>
                    <a:gd name="connsiteX131" fmla="*/ 6667 w 10000"/>
                    <a:gd name="connsiteY131" fmla="*/ 740 h 10000"/>
                    <a:gd name="connsiteX132" fmla="*/ 7056 w 10000"/>
                    <a:gd name="connsiteY132" fmla="*/ 572 h 10000"/>
                    <a:gd name="connsiteX133" fmla="*/ 7056 w 10000"/>
                    <a:gd name="connsiteY133" fmla="*/ 572 h 10000"/>
                    <a:gd name="connsiteX134" fmla="*/ 7333 w 10000"/>
                    <a:gd name="connsiteY134" fmla="*/ 417 h 10000"/>
                    <a:gd name="connsiteX135" fmla="*/ 7667 w 10000"/>
                    <a:gd name="connsiteY135" fmla="*/ 232 h 10000"/>
                    <a:gd name="connsiteX136" fmla="*/ 8000 w 10000"/>
                    <a:gd name="connsiteY136" fmla="*/ 92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15 h 10000"/>
                    <a:gd name="connsiteX143" fmla="*/ 10000 w 10000"/>
                    <a:gd name="connsiteY143" fmla="*/ 9446 h 10000"/>
                    <a:gd name="connsiteX144" fmla="*/ 10000 w 10000"/>
                    <a:gd name="connsiteY144" fmla="*/ 9446 h 10000"/>
                    <a:gd name="connsiteX145" fmla="*/ 9722 w 10000"/>
                    <a:gd name="connsiteY145" fmla="*/ 9430 h 10000"/>
                    <a:gd name="connsiteX146" fmla="*/ 9389 w 10000"/>
                    <a:gd name="connsiteY146" fmla="*/ 9446 h 10000"/>
                    <a:gd name="connsiteX147" fmla="*/ 9389 w 10000"/>
                    <a:gd name="connsiteY147" fmla="*/ 9446 h 10000"/>
                    <a:gd name="connsiteX148" fmla="*/ 9278 w 10000"/>
                    <a:gd name="connsiteY148" fmla="*/ 9461 h 10000"/>
                    <a:gd name="connsiteX149" fmla="*/ 9056 w 10000"/>
                    <a:gd name="connsiteY149" fmla="*/ 9446 h 10000"/>
                    <a:gd name="connsiteX150" fmla="*/ 8722 w 10000"/>
                    <a:gd name="connsiteY150" fmla="*/ 9399 h 10000"/>
                    <a:gd name="connsiteX151" fmla="*/ 8444 w 10000"/>
                    <a:gd name="connsiteY151" fmla="*/ 9276 h 10000"/>
                    <a:gd name="connsiteX152" fmla="*/ 8444 w 10000"/>
                    <a:gd name="connsiteY152" fmla="*/ 9276 h 10000"/>
                    <a:gd name="connsiteX153" fmla="*/ 8111 w 10000"/>
                    <a:gd name="connsiteY153" fmla="*/ 9075 h 10000"/>
                    <a:gd name="connsiteX154" fmla="*/ 7778 w 10000"/>
                    <a:gd name="connsiteY154" fmla="*/ 8997 h 10000"/>
                    <a:gd name="connsiteX155" fmla="*/ 7556 w 10000"/>
                    <a:gd name="connsiteY155" fmla="*/ 8981 h 10000"/>
                    <a:gd name="connsiteX156" fmla="*/ 7000 w 10000"/>
                    <a:gd name="connsiteY156" fmla="*/ 8950 h 10000"/>
                    <a:gd name="connsiteX157" fmla="*/ 6556 w 10000"/>
                    <a:gd name="connsiteY157" fmla="*/ 8967 h 10000"/>
                    <a:gd name="connsiteX158" fmla="*/ 6222 w 10000"/>
                    <a:gd name="connsiteY158" fmla="*/ 8967 h 10000"/>
                    <a:gd name="connsiteX159" fmla="*/ 6111 w 10000"/>
                    <a:gd name="connsiteY159" fmla="*/ 8950 h 10000"/>
                    <a:gd name="connsiteX160" fmla="*/ 6056 w 10000"/>
                    <a:gd name="connsiteY160" fmla="*/ 8659 h 10000"/>
                    <a:gd name="connsiteX161" fmla="*/ 6056 w 10000"/>
                    <a:gd name="connsiteY161" fmla="*/ 8659 h 10000"/>
                    <a:gd name="connsiteX162" fmla="*/ 6056 w 10000"/>
                    <a:gd name="connsiteY162" fmla="*/ 8597 h 10000"/>
                    <a:gd name="connsiteX163" fmla="*/ 5944 w 10000"/>
                    <a:gd name="connsiteY163" fmla="*/ 8520 h 10000"/>
                    <a:gd name="connsiteX164" fmla="*/ 5889 w 10000"/>
                    <a:gd name="connsiteY164" fmla="*/ 8505 h 10000"/>
                    <a:gd name="connsiteX165" fmla="*/ 5778 w 10000"/>
                    <a:gd name="connsiteY165" fmla="*/ 8488 h 10000"/>
                    <a:gd name="connsiteX166" fmla="*/ 5667 w 10000"/>
                    <a:gd name="connsiteY166" fmla="*/ 8488 h 10000"/>
                    <a:gd name="connsiteX167" fmla="*/ 5500 w 10000"/>
                    <a:gd name="connsiteY167" fmla="*/ 8505 h 10000"/>
                    <a:gd name="connsiteX168" fmla="*/ 5500 w 10000"/>
                    <a:gd name="connsiteY168" fmla="*/ 8505 h 10000"/>
                    <a:gd name="connsiteX169" fmla="*/ 4889 w 10000"/>
                    <a:gd name="connsiteY169" fmla="*/ 8612 h 10000"/>
                    <a:gd name="connsiteX170" fmla="*/ 4611 w 10000"/>
                    <a:gd name="connsiteY170" fmla="*/ 8641 h 10000"/>
                    <a:gd name="connsiteX171" fmla="*/ 4556 w 10000"/>
                    <a:gd name="connsiteY171" fmla="*/ 8659 h 10000"/>
                    <a:gd name="connsiteX172" fmla="*/ 4500 w 10000"/>
                    <a:gd name="connsiteY172" fmla="*/ 8641 h 10000"/>
                    <a:gd name="connsiteX173" fmla="*/ 4500 w 10000"/>
                    <a:gd name="connsiteY173" fmla="*/ 8641 h 10000"/>
                    <a:gd name="connsiteX174" fmla="*/ 4222 w 10000"/>
                    <a:gd name="connsiteY174" fmla="*/ 8488 h 10000"/>
                    <a:gd name="connsiteX175" fmla="*/ 4222 w 10000"/>
                    <a:gd name="connsiteY175" fmla="*/ 8488 h 10000"/>
                    <a:gd name="connsiteX176" fmla="*/ 4111 w 10000"/>
                    <a:gd name="connsiteY176" fmla="*/ 8411 h 10000"/>
                    <a:gd name="connsiteX177" fmla="*/ 4111 w 10000"/>
                    <a:gd name="connsiteY177" fmla="*/ 8364 h 10000"/>
                    <a:gd name="connsiteX178" fmla="*/ 4111 w 10000"/>
                    <a:gd name="connsiteY178" fmla="*/ 8318 h 10000"/>
                    <a:gd name="connsiteX179" fmla="*/ 4111 w 10000"/>
                    <a:gd name="connsiteY179" fmla="*/ 8318 h 10000"/>
                    <a:gd name="connsiteX180" fmla="*/ 4278 w 10000"/>
                    <a:gd name="connsiteY180" fmla="*/ 8271 h 10000"/>
                    <a:gd name="connsiteX181" fmla="*/ 4389 w 10000"/>
                    <a:gd name="connsiteY181" fmla="*/ 8256 h 10000"/>
                    <a:gd name="connsiteX182" fmla="*/ 4389 w 10000"/>
                    <a:gd name="connsiteY182" fmla="*/ 8256 h 10000"/>
                    <a:gd name="connsiteX183" fmla="*/ 4000 w 10000"/>
                    <a:gd name="connsiteY183" fmla="*/ 8256 h 10000"/>
                    <a:gd name="connsiteX184" fmla="*/ 3722 w 10000"/>
                    <a:gd name="connsiteY184" fmla="*/ 8271 h 10000"/>
                    <a:gd name="connsiteX185" fmla="*/ 3611 w 10000"/>
                    <a:gd name="connsiteY185" fmla="*/ 8287 h 10000"/>
                    <a:gd name="connsiteX186" fmla="*/ 3556 w 10000"/>
                    <a:gd name="connsiteY186" fmla="*/ 8303 h 10000"/>
                    <a:gd name="connsiteX187" fmla="*/ 3556 w 10000"/>
                    <a:gd name="connsiteY187" fmla="*/ 8303 h 10000"/>
                    <a:gd name="connsiteX188" fmla="*/ 3444 w 10000"/>
                    <a:gd name="connsiteY188" fmla="*/ 8364 h 10000"/>
                    <a:gd name="connsiteX189" fmla="*/ 3278 w 10000"/>
                    <a:gd name="connsiteY189" fmla="*/ 8457 h 10000"/>
                    <a:gd name="connsiteX190" fmla="*/ 3000 w 10000"/>
                    <a:gd name="connsiteY190" fmla="*/ 8566 h 10000"/>
                    <a:gd name="connsiteX191" fmla="*/ 2667 w 10000"/>
                    <a:gd name="connsiteY191" fmla="*/ 8641 h 10000"/>
                    <a:gd name="connsiteX192" fmla="*/ 2667 w 10000"/>
                    <a:gd name="connsiteY192" fmla="*/ 8641 h 10000"/>
                    <a:gd name="connsiteX193" fmla="*/ 2333 w 10000"/>
                    <a:gd name="connsiteY193" fmla="*/ 8704 h 10000"/>
                    <a:gd name="connsiteX194" fmla="*/ 1833 w 10000"/>
                    <a:gd name="connsiteY194" fmla="*/ 8766 h 10000"/>
                    <a:gd name="connsiteX195" fmla="*/ 1389 w 10000"/>
                    <a:gd name="connsiteY195" fmla="*/ 8797 h 10000"/>
                    <a:gd name="connsiteX196" fmla="*/ 889 w 10000"/>
                    <a:gd name="connsiteY196" fmla="*/ 8812 h 10000"/>
                    <a:gd name="connsiteX197" fmla="*/ 889 w 10000"/>
                    <a:gd name="connsiteY197" fmla="*/ 8812 h 10000"/>
                    <a:gd name="connsiteX198" fmla="*/ 500 w 10000"/>
                    <a:gd name="connsiteY198" fmla="*/ 8828 h 10000"/>
                    <a:gd name="connsiteX199" fmla="*/ 222 w 10000"/>
                    <a:gd name="connsiteY199" fmla="*/ 8844 h 10000"/>
                    <a:gd name="connsiteX200" fmla="*/ 0 w 10000"/>
                    <a:gd name="connsiteY200" fmla="*/ 8859 h 10000"/>
                    <a:gd name="connsiteX201" fmla="*/ 0 w 10000"/>
                    <a:gd name="connsiteY201" fmla="*/ 8859 h 10000"/>
                    <a:gd name="connsiteX202" fmla="*/ 278 w 10000"/>
                    <a:gd name="connsiteY202" fmla="*/ 9105 h 10000"/>
                    <a:gd name="connsiteX203" fmla="*/ 500 w 10000"/>
                    <a:gd name="connsiteY203" fmla="*/ 9291 h 10000"/>
                    <a:gd name="connsiteX204" fmla="*/ 722 w 10000"/>
                    <a:gd name="connsiteY204" fmla="*/ 9446 h 10000"/>
                    <a:gd name="connsiteX205" fmla="*/ 722 w 10000"/>
                    <a:gd name="connsiteY205" fmla="*/ 9446 h 10000"/>
                    <a:gd name="connsiteX206" fmla="*/ 889 w 10000"/>
                    <a:gd name="connsiteY206" fmla="*/ 9538 h 10000"/>
                    <a:gd name="connsiteX207" fmla="*/ 944 w 10000"/>
                    <a:gd name="connsiteY207" fmla="*/ 9615 h 10000"/>
                    <a:gd name="connsiteX208" fmla="*/ 1111 w 10000"/>
                    <a:gd name="connsiteY208" fmla="*/ 9692 h 10000"/>
                    <a:gd name="connsiteX209" fmla="*/ 1333 w 10000"/>
                    <a:gd name="connsiteY209" fmla="*/ 9816 h 10000"/>
                    <a:gd name="connsiteX210" fmla="*/ 1333 w 10000"/>
                    <a:gd name="connsiteY210" fmla="*/ 9816 h 10000"/>
                    <a:gd name="connsiteX211" fmla="*/ 1444 w 10000"/>
                    <a:gd name="connsiteY211" fmla="*/ 9879 h 10000"/>
                    <a:gd name="connsiteX212" fmla="*/ 1500 w 10000"/>
                    <a:gd name="connsiteY212" fmla="*/ 9924 h 10000"/>
                    <a:gd name="connsiteX213" fmla="*/ 1500 w 10000"/>
                    <a:gd name="connsiteY213" fmla="*/ 9971 h 10000"/>
                    <a:gd name="connsiteX214" fmla="*/ 1556 w 10000"/>
                    <a:gd name="connsiteY214" fmla="*/ 9986 h 10000"/>
                    <a:gd name="connsiteX215" fmla="*/ 1722 w 10000"/>
                    <a:gd name="connsiteY215" fmla="*/ 10000 h 10000"/>
                    <a:gd name="connsiteX216" fmla="*/ 10000 w 10000"/>
                    <a:gd name="connsiteY216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659 h 10000"/>
                    <a:gd name="connsiteX161" fmla="*/ 6056 w 10000"/>
                    <a:gd name="connsiteY161" fmla="*/ 8597 h 10000"/>
                    <a:gd name="connsiteX162" fmla="*/ 5944 w 10000"/>
                    <a:gd name="connsiteY162" fmla="*/ 8520 h 10000"/>
                    <a:gd name="connsiteX163" fmla="*/ 5889 w 10000"/>
                    <a:gd name="connsiteY163" fmla="*/ 8505 h 10000"/>
                    <a:gd name="connsiteX164" fmla="*/ 5778 w 10000"/>
                    <a:gd name="connsiteY164" fmla="*/ 8488 h 10000"/>
                    <a:gd name="connsiteX165" fmla="*/ 5667 w 10000"/>
                    <a:gd name="connsiteY165" fmla="*/ 8488 h 10000"/>
                    <a:gd name="connsiteX166" fmla="*/ 5500 w 10000"/>
                    <a:gd name="connsiteY166" fmla="*/ 8505 h 10000"/>
                    <a:gd name="connsiteX167" fmla="*/ 5500 w 10000"/>
                    <a:gd name="connsiteY167" fmla="*/ 8505 h 10000"/>
                    <a:gd name="connsiteX168" fmla="*/ 4889 w 10000"/>
                    <a:gd name="connsiteY168" fmla="*/ 8612 h 10000"/>
                    <a:gd name="connsiteX169" fmla="*/ 4611 w 10000"/>
                    <a:gd name="connsiteY169" fmla="*/ 8641 h 10000"/>
                    <a:gd name="connsiteX170" fmla="*/ 4556 w 10000"/>
                    <a:gd name="connsiteY170" fmla="*/ 8659 h 10000"/>
                    <a:gd name="connsiteX171" fmla="*/ 4500 w 10000"/>
                    <a:gd name="connsiteY171" fmla="*/ 8641 h 10000"/>
                    <a:gd name="connsiteX172" fmla="*/ 4500 w 10000"/>
                    <a:gd name="connsiteY172" fmla="*/ 8641 h 10000"/>
                    <a:gd name="connsiteX173" fmla="*/ 4222 w 10000"/>
                    <a:gd name="connsiteY173" fmla="*/ 8488 h 10000"/>
                    <a:gd name="connsiteX174" fmla="*/ 4222 w 10000"/>
                    <a:gd name="connsiteY174" fmla="*/ 8488 h 10000"/>
                    <a:gd name="connsiteX175" fmla="*/ 4111 w 10000"/>
                    <a:gd name="connsiteY175" fmla="*/ 8411 h 10000"/>
                    <a:gd name="connsiteX176" fmla="*/ 4111 w 10000"/>
                    <a:gd name="connsiteY176" fmla="*/ 8364 h 10000"/>
                    <a:gd name="connsiteX177" fmla="*/ 4111 w 10000"/>
                    <a:gd name="connsiteY177" fmla="*/ 8318 h 10000"/>
                    <a:gd name="connsiteX178" fmla="*/ 4111 w 10000"/>
                    <a:gd name="connsiteY178" fmla="*/ 8318 h 10000"/>
                    <a:gd name="connsiteX179" fmla="*/ 4278 w 10000"/>
                    <a:gd name="connsiteY179" fmla="*/ 8271 h 10000"/>
                    <a:gd name="connsiteX180" fmla="*/ 4389 w 10000"/>
                    <a:gd name="connsiteY180" fmla="*/ 8256 h 10000"/>
                    <a:gd name="connsiteX181" fmla="*/ 4389 w 10000"/>
                    <a:gd name="connsiteY181" fmla="*/ 8256 h 10000"/>
                    <a:gd name="connsiteX182" fmla="*/ 4000 w 10000"/>
                    <a:gd name="connsiteY182" fmla="*/ 8256 h 10000"/>
                    <a:gd name="connsiteX183" fmla="*/ 3722 w 10000"/>
                    <a:gd name="connsiteY183" fmla="*/ 8271 h 10000"/>
                    <a:gd name="connsiteX184" fmla="*/ 3611 w 10000"/>
                    <a:gd name="connsiteY184" fmla="*/ 8287 h 10000"/>
                    <a:gd name="connsiteX185" fmla="*/ 3556 w 10000"/>
                    <a:gd name="connsiteY185" fmla="*/ 8303 h 10000"/>
                    <a:gd name="connsiteX186" fmla="*/ 3556 w 10000"/>
                    <a:gd name="connsiteY186" fmla="*/ 8303 h 10000"/>
                    <a:gd name="connsiteX187" fmla="*/ 3444 w 10000"/>
                    <a:gd name="connsiteY187" fmla="*/ 8364 h 10000"/>
                    <a:gd name="connsiteX188" fmla="*/ 3278 w 10000"/>
                    <a:gd name="connsiteY188" fmla="*/ 8457 h 10000"/>
                    <a:gd name="connsiteX189" fmla="*/ 3000 w 10000"/>
                    <a:gd name="connsiteY189" fmla="*/ 8566 h 10000"/>
                    <a:gd name="connsiteX190" fmla="*/ 2667 w 10000"/>
                    <a:gd name="connsiteY190" fmla="*/ 8641 h 10000"/>
                    <a:gd name="connsiteX191" fmla="*/ 2667 w 10000"/>
                    <a:gd name="connsiteY191" fmla="*/ 8641 h 10000"/>
                    <a:gd name="connsiteX192" fmla="*/ 2333 w 10000"/>
                    <a:gd name="connsiteY192" fmla="*/ 8704 h 10000"/>
                    <a:gd name="connsiteX193" fmla="*/ 1833 w 10000"/>
                    <a:gd name="connsiteY193" fmla="*/ 8766 h 10000"/>
                    <a:gd name="connsiteX194" fmla="*/ 1389 w 10000"/>
                    <a:gd name="connsiteY194" fmla="*/ 8797 h 10000"/>
                    <a:gd name="connsiteX195" fmla="*/ 889 w 10000"/>
                    <a:gd name="connsiteY195" fmla="*/ 8812 h 10000"/>
                    <a:gd name="connsiteX196" fmla="*/ 889 w 10000"/>
                    <a:gd name="connsiteY196" fmla="*/ 8812 h 10000"/>
                    <a:gd name="connsiteX197" fmla="*/ 500 w 10000"/>
                    <a:gd name="connsiteY197" fmla="*/ 8828 h 10000"/>
                    <a:gd name="connsiteX198" fmla="*/ 222 w 10000"/>
                    <a:gd name="connsiteY198" fmla="*/ 8844 h 10000"/>
                    <a:gd name="connsiteX199" fmla="*/ 0 w 10000"/>
                    <a:gd name="connsiteY199" fmla="*/ 8859 h 10000"/>
                    <a:gd name="connsiteX200" fmla="*/ 0 w 10000"/>
                    <a:gd name="connsiteY200" fmla="*/ 8859 h 10000"/>
                    <a:gd name="connsiteX201" fmla="*/ 278 w 10000"/>
                    <a:gd name="connsiteY201" fmla="*/ 9105 h 10000"/>
                    <a:gd name="connsiteX202" fmla="*/ 500 w 10000"/>
                    <a:gd name="connsiteY202" fmla="*/ 9291 h 10000"/>
                    <a:gd name="connsiteX203" fmla="*/ 722 w 10000"/>
                    <a:gd name="connsiteY203" fmla="*/ 9446 h 10000"/>
                    <a:gd name="connsiteX204" fmla="*/ 722 w 10000"/>
                    <a:gd name="connsiteY204" fmla="*/ 9446 h 10000"/>
                    <a:gd name="connsiteX205" fmla="*/ 889 w 10000"/>
                    <a:gd name="connsiteY205" fmla="*/ 9538 h 10000"/>
                    <a:gd name="connsiteX206" fmla="*/ 944 w 10000"/>
                    <a:gd name="connsiteY206" fmla="*/ 9615 h 10000"/>
                    <a:gd name="connsiteX207" fmla="*/ 1111 w 10000"/>
                    <a:gd name="connsiteY207" fmla="*/ 9692 h 10000"/>
                    <a:gd name="connsiteX208" fmla="*/ 1333 w 10000"/>
                    <a:gd name="connsiteY208" fmla="*/ 9816 h 10000"/>
                    <a:gd name="connsiteX209" fmla="*/ 1333 w 10000"/>
                    <a:gd name="connsiteY209" fmla="*/ 9816 h 10000"/>
                    <a:gd name="connsiteX210" fmla="*/ 1444 w 10000"/>
                    <a:gd name="connsiteY210" fmla="*/ 9879 h 10000"/>
                    <a:gd name="connsiteX211" fmla="*/ 1500 w 10000"/>
                    <a:gd name="connsiteY211" fmla="*/ 9924 h 10000"/>
                    <a:gd name="connsiteX212" fmla="*/ 1500 w 10000"/>
                    <a:gd name="connsiteY212" fmla="*/ 9971 h 10000"/>
                    <a:gd name="connsiteX213" fmla="*/ 1556 w 10000"/>
                    <a:gd name="connsiteY213" fmla="*/ 9986 h 10000"/>
                    <a:gd name="connsiteX214" fmla="*/ 1722 w 10000"/>
                    <a:gd name="connsiteY214" fmla="*/ 10000 h 10000"/>
                    <a:gd name="connsiteX215" fmla="*/ 10000 w 10000"/>
                    <a:gd name="connsiteY215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778 w 10000"/>
                    <a:gd name="connsiteY163" fmla="*/ 8488 h 10000"/>
                    <a:gd name="connsiteX164" fmla="*/ 5667 w 10000"/>
                    <a:gd name="connsiteY164" fmla="*/ 8488 h 10000"/>
                    <a:gd name="connsiteX165" fmla="*/ 5500 w 10000"/>
                    <a:gd name="connsiteY165" fmla="*/ 8505 h 10000"/>
                    <a:gd name="connsiteX166" fmla="*/ 5500 w 10000"/>
                    <a:gd name="connsiteY166" fmla="*/ 8505 h 10000"/>
                    <a:gd name="connsiteX167" fmla="*/ 4889 w 10000"/>
                    <a:gd name="connsiteY167" fmla="*/ 8612 h 10000"/>
                    <a:gd name="connsiteX168" fmla="*/ 4611 w 10000"/>
                    <a:gd name="connsiteY168" fmla="*/ 8641 h 10000"/>
                    <a:gd name="connsiteX169" fmla="*/ 4556 w 10000"/>
                    <a:gd name="connsiteY169" fmla="*/ 8659 h 10000"/>
                    <a:gd name="connsiteX170" fmla="*/ 4500 w 10000"/>
                    <a:gd name="connsiteY170" fmla="*/ 8641 h 10000"/>
                    <a:gd name="connsiteX171" fmla="*/ 4500 w 10000"/>
                    <a:gd name="connsiteY171" fmla="*/ 8641 h 10000"/>
                    <a:gd name="connsiteX172" fmla="*/ 4222 w 10000"/>
                    <a:gd name="connsiteY172" fmla="*/ 8488 h 10000"/>
                    <a:gd name="connsiteX173" fmla="*/ 4222 w 10000"/>
                    <a:gd name="connsiteY173" fmla="*/ 8488 h 10000"/>
                    <a:gd name="connsiteX174" fmla="*/ 4111 w 10000"/>
                    <a:gd name="connsiteY174" fmla="*/ 8411 h 10000"/>
                    <a:gd name="connsiteX175" fmla="*/ 4111 w 10000"/>
                    <a:gd name="connsiteY175" fmla="*/ 8364 h 10000"/>
                    <a:gd name="connsiteX176" fmla="*/ 4111 w 10000"/>
                    <a:gd name="connsiteY176" fmla="*/ 8318 h 10000"/>
                    <a:gd name="connsiteX177" fmla="*/ 4111 w 10000"/>
                    <a:gd name="connsiteY177" fmla="*/ 8318 h 10000"/>
                    <a:gd name="connsiteX178" fmla="*/ 4278 w 10000"/>
                    <a:gd name="connsiteY178" fmla="*/ 8271 h 10000"/>
                    <a:gd name="connsiteX179" fmla="*/ 4389 w 10000"/>
                    <a:gd name="connsiteY179" fmla="*/ 8256 h 10000"/>
                    <a:gd name="connsiteX180" fmla="*/ 4389 w 10000"/>
                    <a:gd name="connsiteY180" fmla="*/ 8256 h 10000"/>
                    <a:gd name="connsiteX181" fmla="*/ 4000 w 10000"/>
                    <a:gd name="connsiteY181" fmla="*/ 8256 h 10000"/>
                    <a:gd name="connsiteX182" fmla="*/ 3722 w 10000"/>
                    <a:gd name="connsiteY182" fmla="*/ 8271 h 10000"/>
                    <a:gd name="connsiteX183" fmla="*/ 3611 w 10000"/>
                    <a:gd name="connsiteY183" fmla="*/ 8287 h 10000"/>
                    <a:gd name="connsiteX184" fmla="*/ 3556 w 10000"/>
                    <a:gd name="connsiteY184" fmla="*/ 8303 h 10000"/>
                    <a:gd name="connsiteX185" fmla="*/ 3556 w 10000"/>
                    <a:gd name="connsiteY185" fmla="*/ 8303 h 10000"/>
                    <a:gd name="connsiteX186" fmla="*/ 3444 w 10000"/>
                    <a:gd name="connsiteY186" fmla="*/ 8364 h 10000"/>
                    <a:gd name="connsiteX187" fmla="*/ 3278 w 10000"/>
                    <a:gd name="connsiteY187" fmla="*/ 8457 h 10000"/>
                    <a:gd name="connsiteX188" fmla="*/ 3000 w 10000"/>
                    <a:gd name="connsiteY188" fmla="*/ 8566 h 10000"/>
                    <a:gd name="connsiteX189" fmla="*/ 2667 w 10000"/>
                    <a:gd name="connsiteY189" fmla="*/ 8641 h 10000"/>
                    <a:gd name="connsiteX190" fmla="*/ 2667 w 10000"/>
                    <a:gd name="connsiteY190" fmla="*/ 8641 h 10000"/>
                    <a:gd name="connsiteX191" fmla="*/ 2333 w 10000"/>
                    <a:gd name="connsiteY191" fmla="*/ 8704 h 10000"/>
                    <a:gd name="connsiteX192" fmla="*/ 1833 w 10000"/>
                    <a:gd name="connsiteY192" fmla="*/ 8766 h 10000"/>
                    <a:gd name="connsiteX193" fmla="*/ 1389 w 10000"/>
                    <a:gd name="connsiteY193" fmla="*/ 8797 h 10000"/>
                    <a:gd name="connsiteX194" fmla="*/ 889 w 10000"/>
                    <a:gd name="connsiteY194" fmla="*/ 8812 h 10000"/>
                    <a:gd name="connsiteX195" fmla="*/ 889 w 10000"/>
                    <a:gd name="connsiteY195" fmla="*/ 8812 h 10000"/>
                    <a:gd name="connsiteX196" fmla="*/ 500 w 10000"/>
                    <a:gd name="connsiteY196" fmla="*/ 8828 h 10000"/>
                    <a:gd name="connsiteX197" fmla="*/ 222 w 10000"/>
                    <a:gd name="connsiteY197" fmla="*/ 8844 h 10000"/>
                    <a:gd name="connsiteX198" fmla="*/ 0 w 10000"/>
                    <a:gd name="connsiteY198" fmla="*/ 8859 h 10000"/>
                    <a:gd name="connsiteX199" fmla="*/ 0 w 10000"/>
                    <a:gd name="connsiteY199" fmla="*/ 8859 h 10000"/>
                    <a:gd name="connsiteX200" fmla="*/ 278 w 10000"/>
                    <a:gd name="connsiteY200" fmla="*/ 9105 h 10000"/>
                    <a:gd name="connsiteX201" fmla="*/ 500 w 10000"/>
                    <a:gd name="connsiteY201" fmla="*/ 9291 h 10000"/>
                    <a:gd name="connsiteX202" fmla="*/ 722 w 10000"/>
                    <a:gd name="connsiteY202" fmla="*/ 9446 h 10000"/>
                    <a:gd name="connsiteX203" fmla="*/ 722 w 10000"/>
                    <a:gd name="connsiteY203" fmla="*/ 9446 h 10000"/>
                    <a:gd name="connsiteX204" fmla="*/ 889 w 10000"/>
                    <a:gd name="connsiteY204" fmla="*/ 9538 h 10000"/>
                    <a:gd name="connsiteX205" fmla="*/ 944 w 10000"/>
                    <a:gd name="connsiteY205" fmla="*/ 9615 h 10000"/>
                    <a:gd name="connsiteX206" fmla="*/ 1111 w 10000"/>
                    <a:gd name="connsiteY206" fmla="*/ 9692 h 10000"/>
                    <a:gd name="connsiteX207" fmla="*/ 1333 w 10000"/>
                    <a:gd name="connsiteY207" fmla="*/ 9816 h 10000"/>
                    <a:gd name="connsiteX208" fmla="*/ 1333 w 10000"/>
                    <a:gd name="connsiteY208" fmla="*/ 9816 h 10000"/>
                    <a:gd name="connsiteX209" fmla="*/ 1444 w 10000"/>
                    <a:gd name="connsiteY209" fmla="*/ 9879 h 10000"/>
                    <a:gd name="connsiteX210" fmla="*/ 1500 w 10000"/>
                    <a:gd name="connsiteY210" fmla="*/ 9924 h 10000"/>
                    <a:gd name="connsiteX211" fmla="*/ 1500 w 10000"/>
                    <a:gd name="connsiteY211" fmla="*/ 9971 h 10000"/>
                    <a:gd name="connsiteX212" fmla="*/ 1556 w 10000"/>
                    <a:gd name="connsiteY212" fmla="*/ 9986 h 10000"/>
                    <a:gd name="connsiteX213" fmla="*/ 1722 w 10000"/>
                    <a:gd name="connsiteY213" fmla="*/ 10000 h 10000"/>
                    <a:gd name="connsiteX214" fmla="*/ 10000 w 10000"/>
                    <a:gd name="connsiteY214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667 w 10000"/>
                    <a:gd name="connsiteY163" fmla="*/ 8488 h 10000"/>
                    <a:gd name="connsiteX164" fmla="*/ 5500 w 10000"/>
                    <a:gd name="connsiteY164" fmla="*/ 8505 h 10000"/>
                    <a:gd name="connsiteX165" fmla="*/ 5500 w 10000"/>
                    <a:gd name="connsiteY165" fmla="*/ 8505 h 10000"/>
                    <a:gd name="connsiteX166" fmla="*/ 4889 w 10000"/>
                    <a:gd name="connsiteY166" fmla="*/ 8612 h 10000"/>
                    <a:gd name="connsiteX167" fmla="*/ 4611 w 10000"/>
                    <a:gd name="connsiteY167" fmla="*/ 8641 h 10000"/>
                    <a:gd name="connsiteX168" fmla="*/ 4556 w 10000"/>
                    <a:gd name="connsiteY168" fmla="*/ 8659 h 10000"/>
                    <a:gd name="connsiteX169" fmla="*/ 4500 w 10000"/>
                    <a:gd name="connsiteY169" fmla="*/ 8641 h 10000"/>
                    <a:gd name="connsiteX170" fmla="*/ 4500 w 10000"/>
                    <a:gd name="connsiteY170" fmla="*/ 8641 h 10000"/>
                    <a:gd name="connsiteX171" fmla="*/ 4222 w 10000"/>
                    <a:gd name="connsiteY171" fmla="*/ 8488 h 10000"/>
                    <a:gd name="connsiteX172" fmla="*/ 4222 w 10000"/>
                    <a:gd name="connsiteY172" fmla="*/ 8488 h 10000"/>
                    <a:gd name="connsiteX173" fmla="*/ 4111 w 10000"/>
                    <a:gd name="connsiteY173" fmla="*/ 8411 h 10000"/>
                    <a:gd name="connsiteX174" fmla="*/ 4111 w 10000"/>
                    <a:gd name="connsiteY174" fmla="*/ 8364 h 10000"/>
                    <a:gd name="connsiteX175" fmla="*/ 4111 w 10000"/>
                    <a:gd name="connsiteY175" fmla="*/ 8318 h 10000"/>
                    <a:gd name="connsiteX176" fmla="*/ 4111 w 10000"/>
                    <a:gd name="connsiteY176" fmla="*/ 8318 h 10000"/>
                    <a:gd name="connsiteX177" fmla="*/ 4278 w 10000"/>
                    <a:gd name="connsiteY177" fmla="*/ 8271 h 10000"/>
                    <a:gd name="connsiteX178" fmla="*/ 4389 w 10000"/>
                    <a:gd name="connsiteY178" fmla="*/ 8256 h 10000"/>
                    <a:gd name="connsiteX179" fmla="*/ 4389 w 10000"/>
                    <a:gd name="connsiteY179" fmla="*/ 8256 h 10000"/>
                    <a:gd name="connsiteX180" fmla="*/ 4000 w 10000"/>
                    <a:gd name="connsiteY180" fmla="*/ 8256 h 10000"/>
                    <a:gd name="connsiteX181" fmla="*/ 3722 w 10000"/>
                    <a:gd name="connsiteY181" fmla="*/ 8271 h 10000"/>
                    <a:gd name="connsiteX182" fmla="*/ 3611 w 10000"/>
                    <a:gd name="connsiteY182" fmla="*/ 8287 h 10000"/>
                    <a:gd name="connsiteX183" fmla="*/ 3556 w 10000"/>
                    <a:gd name="connsiteY183" fmla="*/ 8303 h 10000"/>
                    <a:gd name="connsiteX184" fmla="*/ 3556 w 10000"/>
                    <a:gd name="connsiteY184" fmla="*/ 8303 h 10000"/>
                    <a:gd name="connsiteX185" fmla="*/ 3444 w 10000"/>
                    <a:gd name="connsiteY185" fmla="*/ 8364 h 10000"/>
                    <a:gd name="connsiteX186" fmla="*/ 3278 w 10000"/>
                    <a:gd name="connsiteY186" fmla="*/ 8457 h 10000"/>
                    <a:gd name="connsiteX187" fmla="*/ 3000 w 10000"/>
                    <a:gd name="connsiteY187" fmla="*/ 8566 h 10000"/>
                    <a:gd name="connsiteX188" fmla="*/ 2667 w 10000"/>
                    <a:gd name="connsiteY188" fmla="*/ 8641 h 10000"/>
                    <a:gd name="connsiteX189" fmla="*/ 2667 w 10000"/>
                    <a:gd name="connsiteY189" fmla="*/ 8641 h 10000"/>
                    <a:gd name="connsiteX190" fmla="*/ 2333 w 10000"/>
                    <a:gd name="connsiteY190" fmla="*/ 8704 h 10000"/>
                    <a:gd name="connsiteX191" fmla="*/ 1833 w 10000"/>
                    <a:gd name="connsiteY191" fmla="*/ 8766 h 10000"/>
                    <a:gd name="connsiteX192" fmla="*/ 1389 w 10000"/>
                    <a:gd name="connsiteY192" fmla="*/ 8797 h 10000"/>
                    <a:gd name="connsiteX193" fmla="*/ 889 w 10000"/>
                    <a:gd name="connsiteY193" fmla="*/ 8812 h 10000"/>
                    <a:gd name="connsiteX194" fmla="*/ 889 w 10000"/>
                    <a:gd name="connsiteY194" fmla="*/ 8812 h 10000"/>
                    <a:gd name="connsiteX195" fmla="*/ 500 w 10000"/>
                    <a:gd name="connsiteY195" fmla="*/ 8828 h 10000"/>
                    <a:gd name="connsiteX196" fmla="*/ 222 w 10000"/>
                    <a:gd name="connsiteY196" fmla="*/ 8844 h 10000"/>
                    <a:gd name="connsiteX197" fmla="*/ 0 w 10000"/>
                    <a:gd name="connsiteY197" fmla="*/ 8859 h 10000"/>
                    <a:gd name="connsiteX198" fmla="*/ 0 w 10000"/>
                    <a:gd name="connsiteY198" fmla="*/ 8859 h 10000"/>
                    <a:gd name="connsiteX199" fmla="*/ 278 w 10000"/>
                    <a:gd name="connsiteY199" fmla="*/ 9105 h 10000"/>
                    <a:gd name="connsiteX200" fmla="*/ 500 w 10000"/>
                    <a:gd name="connsiteY200" fmla="*/ 9291 h 10000"/>
                    <a:gd name="connsiteX201" fmla="*/ 722 w 10000"/>
                    <a:gd name="connsiteY201" fmla="*/ 9446 h 10000"/>
                    <a:gd name="connsiteX202" fmla="*/ 722 w 10000"/>
                    <a:gd name="connsiteY202" fmla="*/ 9446 h 10000"/>
                    <a:gd name="connsiteX203" fmla="*/ 889 w 10000"/>
                    <a:gd name="connsiteY203" fmla="*/ 9538 h 10000"/>
                    <a:gd name="connsiteX204" fmla="*/ 944 w 10000"/>
                    <a:gd name="connsiteY204" fmla="*/ 9615 h 10000"/>
                    <a:gd name="connsiteX205" fmla="*/ 1111 w 10000"/>
                    <a:gd name="connsiteY205" fmla="*/ 9692 h 10000"/>
                    <a:gd name="connsiteX206" fmla="*/ 1333 w 10000"/>
                    <a:gd name="connsiteY206" fmla="*/ 9816 h 10000"/>
                    <a:gd name="connsiteX207" fmla="*/ 1333 w 10000"/>
                    <a:gd name="connsiteY207" fmla="*/ 9816 h 10000"/>
                    <a:gd name="connsiteX208" fmla="*/ 1444 w 10000"/>
                    <a:gd name="connsiteY208" fmla="*/ 9879 h 10000"/>
                    <a:gd name="connsiteX209" fmla="*/ 1500 w 10000"/>
                    <a:gd name="connsiteY209" fmla="*/ 9924 h 10000"/>
                    <a:gd name="connsiteX210" fmla="*/ 1500 w 10000"/>
                    <a:gd name="connsiteY210" fmla="*/ 9971 h 10000"/>
                    <a:gd name="connsiteX211" fmla="*/ 1556 w 10000"/>
                    <a:gd name="connsiteY211" fmla="*/ 9986 h 10000"/>
                    <a:gd name="connsiteX212" fmla="*/ 1722 w 10000"/>
                    <a:gd name="connsiteY212" fmla="*/ 10000 h 10000"/>
                    <a:gd name="connsiteX213" fmla="*/ 10000 w 10000"/>
                    <a:gd name="connsiteY213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667 w 10000"/>
                    <a:gd name="connsiteY163" fmla="*/ 8488 h 10000"/>
                    <a:gd name="connsiteX164" fmla="*/ 5500 w 10000"/>
                    <a:gd name="connsiteY164" fmla="*/ 8505 h 10000"/>
                    <a:gd name="connsiteX165" fmla="*/ 4889 w 10000"/>
                    <a:gd name="connsiteY165" fmla="*/ 8612 h 10000"/>
                    <a:gd name="connsiteX166" fmla="*/ 4611 w 10000"/>
                    <a:gd name="connsiteY166" fmla="*/ 8641 h 10000"/>
                    <a:gd name="connsiteX167" fmla="*/ 4556 w 10000"/>
                    <a:gd name="connsiteY167" fmla="*/ 8659 h 10000"/>
                    <a:gd name="connsiteX168" fmla="*/ 4500 w 10000"/>
                    <a:gd name="connsiteY168" fmla="*/ 8641 h 10000"/>
                    <a:gd name="connsiteX169" fmla="*/ 4500 w 10000"/>
                    <a:gd name="connsiteY169" fmla="*/ 8641 h 10000"/>
                    <a:gd name="connsiteX170" fmla="*/ 4222 w 10000"/>
                    <a:gd name="connsiteY170" fmla="*/ 8488 h 10000"/>
                    <a:gd name="connsiteX171" fmla="*/ 4222 w 10000"/>
                    <a:gd name="connsiteY171" fmla="*/ 8488 h 10000"/>
                    <a:gd name="connsiteX172" fmla="*/ 4111 w 10000"/>
                    <a:gd name="connsiteY172" fmla="*/ 8411 h 10000"/>
                    <a:gd name="connsiteX173" fmla="*/ 4111 w 10000"/>
                    <a:gd name="connsiteY173" fmla="*/ 8364 h 10000"/>
                    <a:gd name="connsiteX174" fmla="*/ 4111 w 10000"/>
                    <a:gd name="connsiteY174" fmla="*/ 8318 h 10000"/>
                    <a:gd name="connsiteX175" fmla="*/ 4111 w 10000"/>
                    <a:gd name="connsiteY175" fmla="*/ 8318 h 10000"/>
                    <a:gd name="connsiteX176" fmla="*/ 4278 w 10000"/>
                    <a:gd name="connsiteY176" fmla="*/ 8271 h 10000"/>
                    <a:gd name="connsiteX177" fmla="*/ 4389 w 10000"/>
                    <a:gd name="connsiteY177" fmla="*/ 8256 h 10000"/>
                    <a:gd name="connsiteX178" fmla="*/ 4389 w 10000"/>
                    <a:gd name="connsiteY178" fmla="*/ 8256 h 10000"/>
                    <a:gd name="connsiteX179" fmla="*/ 4000 w 10000"/>
                    <a:gd name="connsiteY179" fmla="*/ 8256 h 10000"/>
                    <a:gd name="connsiteX180" fmla="*/ 3722 w 10000"/>
                    <a:gd name="connsiteY180" fmla="*/ 8271 h 10000"/>
                    <a:gd name="connsiteX181" fmla="*/ 3611 w 10000"/>
                    <a:gd name="connsiteY181" fmla="*/ 8287 h 10000"/>
                    <a:gd name="connsiteX182" fmla="*/ 3556 w 10000"/>
                    <a:gd name="connsiteY182" fmla="*/ 8303 h 10000"/>
                    <a:gd name="connsiteX183" fmla="*/ 3556 w 10000"/>
                    <a:gd name="connsiteY183" fmla="*/ 8303 h 10000"/>
                    <a:gd name="connsiteX184" fmla="*/ 3444 w 10000"/>
                    <a:gd name="connsiteY184" fmla="*/ 8364 h 10000"/>
                    <a:gd name="connsiteX185" fmla="*/ 3278 w 10000"/>
                    <a:gd name="connsiteY185" fmla="*/ 8457 h 10000"/>
                    <a:gd name="connsiteX186" fmla="*/ 3000 w 10000"/>
                    <a:gd name="connsiteY186" fmla="*/ 8566 h 10000"/>
                    <a:gd name="connsiteX187" fmla="*/ 2667 w 10000"/>
                    <a:gd name="connsiteY187" fmla="*/ 8641 h 10000"/>
                    <a:gd name="connsiteX188" fmla="*/ 2667 w 10000"/>
                    <a:gd name="connsiteY188" fmla="*/ 8641 h 10000"/>
                    <a:gd name="connsiteX189" fmla="*/ 2333 w 10000"/>
                    <a:gd name="connsiteY189" fmla="*/ 8704 h 10000"/>
                    <a:gd name="connsiteX190" fmla="*/ 1833 w 10000"/>
                    <a:gd name="connsiteY190" fmla="*/ 8766 h 10000"/>
                    <a:gd name="connsiteX191" fmla="*/ 1389 w 10000"/>
                    <a:gd name="connsiteY191" fmla="*/ 8797 h 10000"/>
                    <a:gd name="connsiteX192" fmla="*/ 889 w 10000"/>
                    <a:gd name="connsiteY192" fmla="*/ 8812 h 10000"/>
                    <a:gd name="connsiteX193" fmla="*/ 889 w 10000"/>
                    <a:gd name="connsiteY193" fmla="*/ 8812 h 10000"/>
                    <a:gd name="connsiteX194" fmla="*/ 500 w 10000"/>
                    <a:gd name="connsiteY194" fmla="*/ 8828 h 10000"/>
                    <a:gd name="connsiteX195" fmla="*/ 222 w 10000"/>
                    <a:gd name="connsiteY195" fmla="*/ 8844 h 10000"/>
                    <a:gd name="connsiteX196" fmla="*/ 0 w 10000"/>
                    <a:gd name="connsiteY196" fmla="*/ 8859 h 10000"/>
                    <a:gd name="connsiteX197" fmla="*/ 0 w 10000"/>
                    <a:gd name="connsiteY197" fmla="*/ 8859 h 10000"/>
                    <a:gd name="connsiteX198" fmla="*/ 278 w 10000"/>
                    <a:gd name="connsiteY198" fmla="*/ 9105 h 10000"/>
                    <a:gd name="connsiteX199" fmla="*/ 500 w 10000"/>
                    <a:gd name="connsiteY199" fmla="*/ 9291 h 10000"/>
                    <a:gd name="connsiteX200" fmla="*/ 722 w 10000"/>
                    <a:gd name="connsiteY200" fmla="*/ 9446 h 10000"/>
                    <a:gd name="connsiteX201" fmla="*/ 722 w 10000"/>
                    <a:gd name="connsiteY201" fmla="*/ 9446 h 10000"/>
                    <a:gd name="connsiteX202" fmla="*/ 889 w 10000"/>
                    <a:gd name="connsiteY202" fmla="*/ 9538 h 10000"/>
                    <a:gd name="connsiteX203" fmla="*/ 944 w 10000"/>
                    <a:gd name="connsiteY203" fmla="*/ 9615 h 10000"/>
                    <a:gd name="connsiteX204" fmla="*/ 1111 w 10000"/>
                    <a:gd name="connsiteY204" fmla="*/ 9692 h 10000"/>
                    <a:gd name="connsiteX205" fmla="*/ 1333 w 10000"/>
                    <a:gd name="connsiteY205" fmla="*/ 9816 h 10000"/>
                    <a:gd name="connsiteX206" fmla="*/ 1333 w 10000"/>
                    <a:gd name="connsiteY206" fmla="*/ 9816 h 10000"/>
                    <a:gd name="connsiteX207" fmla="*/ 1444 w 10000"/>
                    <a:gd name="connsiteY207" fmla="*/ 9879 h 10000"/>
                    <a:gd name="connsiteX208" fmla="*/ 1500 w 10000"/>
                    <a:gd name="connsiteY208" fmla="*/ 9924 h 10000"/>
                    <a:gd name="connsiteX209" fmla="*/ 1500 w 10000"/>
                    <a:gd name="connsiteY209" fmla="*/ 9971 h 10000"/>
                    <a:gd name="connsiteX210" fmla="*/ 1556 w 10000"/>
                    <a:gd name="connsiteY210" fmla="*/ 9986 h 10000"/>
                    <a:gd name="connsiteX211" fmla="*/ 1722 w 10000"/>
                    <a:gd name="connsiteY211" fmla="*/ 10000 h 10000"/>
                    <a:gd name="connsiteX212" fmla="*/ 10000 w 10000"/>
                    <a:gd name="connsiteY212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667 w 10000"/>
                    <a:gd name="connsiteY163" fmla="*/ 8488 h 10000"/>
                    <a:gd name="connsiteX164" fmla="*/ 4889 w 10000"/>
                    <a:gd name="connsiteY164" fmla="*/ 8612 h 10000"/>
                    <a:gd name="connsiteX165" fmla="*/ 4611 w 10000"/>
                    <a:gd name="connsiteY165" fmla="*/ 8641 h 10000"/>
                    <a:gd name="connsiteX166" fmla="*/ 4556 w 10000"/>
                    <a:gd name="connsiteY166" fmla="*/ 8659 h 10000"/>
                    <a:gd name="connsiteX167" fmla="*/ 4500 w 10000"/>
                    <a:gd name="connsiteY167" fmla="*/ 8641 h 10000"/>
                    <a:gd name="connsiteX168" fmla="*/ 4500 w 10000"/>
                    <a:gd name="connsiteY168" fmla="*/ 8641 h 10000"/>
                    <a:gd name="connsiteX169" fmla="*/ 4222 w 10000"/>
                    <a:gd name="connsiteY169" fmla="*/ 8488 h 10000"/>
                    <a:gd name="connsiteX170" fmla="*/ 4222 w 10000"/>
                    <a:gd name="connsiteY170" fmla="*/ 8488 h 10000"/>
                    <a:gd name="connsiteX171" fmla="*/ 4111 w 10000"/>
                    <a:gd name="connsiteY171" fmla="*/ 8411 h 10000"/>
                    <a:gd name="connsiteX172" fmla="*/ 4111 w 10000"/>
                    <a:gd name="connsiteY172" fmla="*/ 8364 h 10000"/>
                    <a:gd name="connsiteX173" fmla="*/ 4111 w 10000"/>
                    <a:gd name="connsiteY173" fmla="*/ 8318 h 10000"/>
                    <a:gd name="connsiteX174" fmla="*/ 4111 w 10000"/>
                    <a:gd name="connsiteY174" fmla="*/ 8318 h 10000"/>
                    <a:gd name="connsiteX175" fmla="*/ 4278 w 10000"/>
                    <a:gd name="connsiteY175" fmla="*/ 8271 h 10000"/>
                    <a:gd name="connsiteX176" fmla="*/ 4389 w 10000"/>
                    <a:gd name="connsiteY176" fmla="*/ 8256 h 10000"/>
                    <a:gd name="connsiteX177" fmla="*/ 4389 w 10000"/>
                    <a:gd name="connsiteY177" fmla="*/ 8256 h 10000"/>
                    <a:gd name="connsiteX178" fmla="*/ 4000 w 10000"/>
                    <a:gd name="connsiteY178" fmla="*/ 8256 h 10000"/>
                    <a:gd name="connsiteX179" fmla="*/ 3722 w 10000"/>
                    <a:gd name="connsiteY179" fmla="*/ 8271 h 10000"/>
                    <a:gd name="connsiteX180" fmla="*/ 3611 w 10000"/>
                    <a:gd name="connsiteY180" fmla="*/ 8287 h 10000"/>
                    <a:gd name="connsiteX181" fmla="*/ 3556 w 10000"/>
                    <a:gd name="connsiteY181" fmla="*/ 8303 h 10000"/>
                    <a:gd name="connsiteX182" fmla="*/ 3556 w 10000"/>
                    <a:gd name="connsiteY182" fmla="*/ 8303 h 10000"/>
                    <a:gd name="connsiteX183" fmla="*/ 3444 w 10000"/>
                    <a:gd name="connsiteY183" fmla="*/ 8364 h 10000"/>
                    <a:gd name="connsiteX184" fmla="*/ 3278 w 10000"/>
                    <a:gd name="connsiteY184" fmla="*/ 8457 h 10000"/>
                    <a:gd name="connsiteX185" fmla="*/ 3000 w 10000"/>
                    <a:gd name="connsiteY185" fmla="*/ 8566 h 10000"/>
                    <a:gd name="connsiteX186" fmla="*/ 2667 w 10000"/>
                    <a:gd name="connsiteY186" fmla="*/ 8641 h 10000"/>
                    <a:gd name="connsiteX187" fmla="*/ 2667 w 10000"/>
                    <a:gd name="connsiteY187" fmla="*/ 8641 h 10000"/>
                    <a:gd name="connsiteX188" fmla="*/ 2333 w 10000"/>
                    <a:gd name="connsiteY188" fmla="*/ 8704 h 10000"/>
                    <a:gd name="connsiteX189" fmla="*/ 1833 w 10000"/>
                    <a:gd name="connsiteY189" fmla="*/ 8766 h 10000"/>
                    <a:gd name="connsiteX190" fmla="*/ 1389 w 10000"/>
                    <a:gd name="connsiteY190" fmla="*/ 8797 h 10000"/>
                    <a:gd name="connsiteX191" fmla="*/ 889 w 10000"/>
                    <a:gd name="connsiteY191" fmla="*/ 8812 h 10000"/>
                    <a:gd name="connsiteX192" fmla="*/ 889 w 10000"/>
                    <a:gd name="connsiteY192" fmla="*/ 8812 h 10000"/>
                    <a:gd name="connsiteX193" fmla="*/ 500 w 10000"/>
                    <a:gd name="connsiteY193" fmla="*/ 8828 h 10000"/>
                    <a:gd name="connsiteX194" fmla="*/ 222 w 10000"/>
                    <a:gd name="connsiteY194" fmla="*/ 8844 h 10000"/>
                    <a:gd name="connsiteX195" fmla="*/ 0 w 10000"/>
                    <a:gd name="connsiteY195" fmla="*/ 8859 h 10000"/>
                    <a:gd name="connsiteX196" fmla="*/ 0 w 10000"/>
                    <a:gd name="connsiteY196" fmla="*/ 8859 h 10000"/>
                    <a:gd name="connsiteX197" fmla="*/ 278 w 10000"/>
                    <a:gd name="connsiteY197" fmla="*/ 9105 h 10000"/>
                    <a:gd name="connsiteX198" fmla="*/ 500 w 10000"/>
                    <a:gd name="connsiteY198" fmla="*/ 9291 h 10000"/>
                    <a:gd name="connsiteX199" fmla="*/ 722 w 10000"/>
                    <a:gd name="connsiteY199" fmla="*/ 9446 h 10000"/>
                    <a:gd name="connsiteX200" fmla="*/ 722 w 10000"/>
                    <a:gd name="connsiteY200" fmla="*/ 9446 h 10000"/>
                    <a:gd name="connsiteX201" fmla="*/ 889 w 10000"/>
                    <a:gd name="connsiteY201" fmla="*/ 9538 h 10000"/>
                    <a:gd name="connsiteX202" fmla="*/ 944 w 10000"/>
                    <a:gd name="connsiteY202" fmla="*/ 9615 h 10000"/>
                    <a:gd name="connsiteX203" fmla="*/ 1111 w 10000"/>
                    <a:gd name="connsiteY203" fmla="*/ 9692 h 10000"/>
                    <a:gd name="connsiteX204" fmla="*/ 1333 w 10000"/>
                    <a:gd name="connsiteY204" fmla="*/ 9816 h 10000"/>
                    <a:gd name="connsiteX205" fmla="*/ 1333 w 10000"/>
                    <a:gd name="connsiteY205" fmla="*/ 9816 h 10000"/>
                    <a:gd name="connsiteX206" fmla="*/ 1444 w 10000"/>
                    <a:gd name="connsiteY206" fmla="*/ 9879 h 10000"/>
                    <a:gd name="connsiteX207" fmla="*/ 1500 w 10000"/>
                    <a:gd name="connsiteY207" fmla="*/ 9924 h 10000"/>
                    <a:gd name="connsiteX208" fmla="*/ 1500 w 10000"/>
                    <a:gd name="connsiteY208" fmla="*/ 9971 h 10000"/>
                    <a:gd name="connsiteX209" fmla="*/ 1556 w 10000"/>
                    <a:gd name="connsiteY209" fmla="*/ 9986 h 10000"/>
                    <a:gd name="connsiteX210" fmla="*/ 1722 w 10000"/>
                    <a:gd name="connsiteY210" fmla="*/ 10000 h 10000"/>
                    <a:gd name="connsiteX211" fmla="*/ 10000 w 10000"/>
                    <a:gd name="connsiteY211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667 w 10000"/>
                    <a:gd name="connsiteY163" fmla="*/ 8488 h 10000"/>
                    <a:gd name="connsiteX164" fmla="*/ 4889 w 10000"/>
                    <a:gd name="connsiteY164" fmla="*/ 8612 h 10000"/>
                    <a:gd name="connsiteX165" fmla="*/ 4611 w 10000"/>
                    <a:gd name="connsiteY165" fmla="*/ 8641 h 10000"/>
                    <a:gd name="connsiteX166" fmla="*/ 4500 w 10000"/>
                    <a:gd name="connsiteY166" fmla="*/ 8641 h 10000"/>
                    <a:gd name="connsiteX167" fmla="*/ 4500 w 10000"/>
                    <a:gd name="connsiteY167" fmla="*/ 8641 h 10000"/>
                    <a:gd name="connsiteX168" fmla="*/ 4222 w 10000"/>
                    <a:gd name="connsiteY168" fmla="*/ 8488 h 10000"/>
                    <a:gd name="connsiteX169" fmla="*/ 4222 w 10000"/>
                    <a:gd name="connsiteY169" fmla="*/ 8488 h 10000"/>
                    <a:gd name="connsiteX170" fmla="*/ 4111 w 10000"/>
                    <a:gd name="connsiteY170" fmla="*/ 8411 h 10000"/>
                    <a:gd name="connsiteX171" fmla="*/ 4111 w 10000"/>
                    <a:gd name="connsiteY171" fmla="*/ 8364 h 10000"/>
                    <a:gd name="connsiteX172" fmla="*/ 4111 w 10000"/>
                    <a:gd name="connsiteY172" fmla="*/ 8318 h 10000"/>
                    <a:gd name="connsiteX173" fmla="*/ 4111 w 10000"/>
                    <a:gd name="connsiteY173" fmla="*/ 8318 h 10000"/>
                    <a:gd name="connsiteX174" fmla="*/ 4278 w 10000"/>
                    <a:gd name="connsiteY174" fmla="*/ 8271 h 10000"/>
                    <a:gd name="connsiteX175" fmla="*/ 4389 w 10000"/>
                    <a:gd name="connsiteY175" fmla="*/ 8256 h 10000"/>
                    <a:gd name="connsiteX176" fmla="*/ 4389 w 10000"/>
                    <a:gd name="connsiteY176" fmla="*/ 8256 h 10000"/>
                    <a:gd name="connsiteX177" fmla="*/ 4000 w 10000"/>
                    <a:gd name="connsiteY177" fmla="*/ 8256 h 10000"/>
                    <a:gd name="connsiteX178" fmla="*/ 3722 w 10000"/>
                    <a:gd name="connsiteY178" fmla="*/ 8271 h 10000"/>
                    <a:gd name="connsiteX179" fmla="*/ 3611 w 10000"/>
                    <a:gd name="connsiteY179" fmla="*/ 8287 h 10000"/>
                    <a:gd name="connsiteX180" fmla="*/ 3556 w 10000"/>
                    <a:gd name="connsiteY180" fmla="*/ 8303 h 10000"/>
                    <a:gd name="connsiteX181" fmla="*/ 3556 w 10000"/>
                    <a:gd name="connsiteY181" fmla="*/ 8303 h 10000"/>
                    <a:gd name="connsiteX182" fmla="*/ 3444 w 10000"/>
                    <a:gd name="connsiteY182" fmla="*/ 8364 h 10000"/>
                    <a:gd name="connsiteX183" fmla="*/ 3278 w 10000"/>
                    <a:gd name="connsiteY183" fmla="*/ 8457 h 10000"/>
                    <a:gd name="connsiteX184" fmla="*/ 3000 w 10000"/>
                    <a:gd name="connsiteY184" fmla="*/ 8566 h 10000"/>
                    <a:gd name="connsiteX185" fmla="*/ 2667 w 10000"/>
                    <a:gd name="connsiteY185" fmla="*/ 8641 h 10000"/>
                    <a:gd name="connsiteX186" fmla="*/ 2667 w 10000"/>
                    <a:gd name="connsiteY186" fmla="*/ 8641 h 10000"/>
                    <a:gd name="connsiteX187" fmla="*/ 2333 w 10000"/>
                    <a:gd name="connsiteY187" fmla="*/ 8704 h 10000"/>
                    <a:gd name="connsiteX188" fmla="*/ 1833 w 10000"/>
                    <a:gd name="connsiteY188" fmla="*/ 8766 h 10000"/>
                    <a:gd name="connsiteX189" fmla="*/ 1389 w 10000"/>
                    <a:gd name="connsiteY189" fmla="*/ 8797 h 10000"/>
                    <a:gd name="connsiteX190" fmla="*/ 889 w 10000"/>
                    <a:gd name="connsiteY190" fmla="*/ 8812 h 10000"/>
                    <a:gd name="connsiteX191" fmla="*/ 889 w 10000"/>
                    <a:gd name="connsiteY191" fmla="*/ 8812 h 10000"/>
                    <a:gd name="connsiteX192" fmla="*/ 500 w 10000"/>
                    <a:gd name="connsiteY192" fmla="*/ 8828 h 10000"/>
                    <a:gd name="connsiteX193" fmla="*/ 222 w 10000"/>
                    <a:gd name="connsiteY193" fmla="*/ 8844 h 10000"/>
                    <a:gd name="connsiteX194" fmla="*/ 0 w 10000"/>
                    <a:gd name="connsiteY194" fmla="*/ 8859 h 10000"/>
                    <a:gd name="connsiteX195" fmla="*/ 0 w 10000"/>
                    <a:gd name="connsiteY195" fmla="*/ 8859 h 10000"/>
                    <a:gd name="connsiteX196" fmla="*/ 278 w 10000"/>
                    <a:gd name="connsiteY196" fmla="*/ 9105 h 10000"/>
                    <a:gd name="connsiteX197" fmla="*/ 500 w 10000"/>
                    <a:gd name="connsiteY197" fmla="*/ 9291 h 10000"/>
                    <a:gd name="connsiteX198" fmla="*/ 722 w 10000"/>
                    <a:gd name="connsiteY198" fmla="*/ 9446 h 10000"/>
                    <a:gd name="connsiteX199" fmla="*/ 722 w 10000"/>
                    <a:gd name="connsiteY199" fmla="*/ 9446 h 10000"/>
                    <a:gd name="connsiteX200" fmla="*/ 889 w 10000"/>
                    <a:gd name="connsiteY200" fmla="*/ 9538 h 10000"/>
                    <a:gd name="connsiteX201" fmla="*/ 944 w 10000"/>
                    <a:gd name="connsiteY201" fmla="*/ 9615 h 10000"/>
                    <a:gd name="connsiteX202" fmla="*/ 1111 w 10000"/>
                    <a:gd name="connsiteY202" fmla="*/ 9692 h 10000"/>
                    <a:gd name="connsiteX203" fmla="*/ 1333 w 10000"/>
                    <a:gd name="connsiteY203" fmla="*/ 9816 h 10000"/>
                    <a:gd name="connsiteX204" fmla="*/ 1333 w 10000"/>
                    <a:gd name="connsiteY204" fmla="*/ 9816 h 10000"/>
                    <a:gd name="connsiteX205" fmla="*/ 1444 w 10000"/>
                    <a:gd name="connsiteY205" fmla="*/ 9879 h 10000"/>
                    <a:gd name="connsiteX206" fmla="*/ 1500 w 10000"/>
                    <a:gd name="connsiteY206" fmla="*/ 9924 h 10000"/>
                    <a:gd name="connsiteX207" fmla="*/ 1500 w 10000"/>
                    <a:gd name="connsiteY207" fmla="*/ 9971 h 10000"/>
                    <a:gd name="connsiteX208" fmla="*/ 1556 w 10000"/>
                    <a:gd name="connsiteY208" fmla="*/ 9986 h 10000"/>
                    <a:gd name="connsiteX209" fmla="*/ 1722 w 10000"/>
                    <a:gd name="connsiteY209" fmla="*/ 10000 h 10000"/>
                    <a:gd name="connsiteX210" fmla="*/ 10000 w 10000"/>
                    <a:gd name="connsiteY210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389 w 10000"/>
                    <a:gd name="connsiteY33" fmla="*/ 8566 h 10000"/>
                    <a:gd name="connsiteX34" fmla="*/ 4222 w 10000"/>
                    <a:gd name="connsiteY34" fmla="*/ 8488 h 10000"/>
                    <a:gd name="connsiteX35" fmla="*/ 4222 w 10000"/>
                    <a:gd name="connsiteY35" fmla="*/ 8488 h 10000"/>
                    <a:gd name="connsiteX36" fmla="*/ 4111 w 10000"/>
                    <a:gd name="connsiteY36" fmla="*/ 8442 h 10000"/>
                    <a:gd name="connsiteX37" fmla="*/ 4111 w 10000"/>
                    <a:gd name="connsiteY37" fmla="*/ 8396 h 10000"/>
                    <a:gd name="connsiteX38" fmla="*/ 4111 w 10000"/>
                    <a:gd name="connsiteY38" fmla="*/ 8364 h 10000"/>
                    <a:gd name="connsiteX39" fmla="*/ 4167 w 10000"/>
                    <a:gd name="connsiteY39" fmla="*/ 8333 h 10000"/>
                    <a:gd name="connsiteX40" fmla="*/ 4278 w 10000"/>
                    <a:gd name="connsiteY40" fmla="*/ 8271 h 10000"/>
                    <a:gd name="connsiteX41" fmla="*/ 4389 w 10000"/>
                    <a:gd name="connsiteY41" fmla="*/ 8256 h 10000"/>
                    <a:gd name="connsiteX42" fmla="*/ 4389 w 10000"/>
                    <a:gd name="connsiteY42" fmla="*/ 8256 h 10000"/>
                    <a:gd name="connsiteX43" fmla="*/ 4389 w 10000"/>
                    <a:gd name="connsiteY43" fmla="*/ 8242 h 10000"/>
                    <a:gd name="connsiteX44" fmla="*/ 4444 w 10000"/>
                    <a:gd name="connsiteY44" fmla="*/ 8226 h 10000"/>
                    <a:gd name="connsiteX45" fmla="*/ 4667 w 10000"/>
                    <a:gd name="connsiteY45" fmla="*/ 8211 h 10000"/>
                    <a:gd name="connsiteX46" fmla="*/ 5333 w 10000"/>
                    <a:gd name="connsiteY46" fmla="*/ 8180 h 10000"/>
                    <a:gd name="connsiteX47" fmla="*/ 6500 w 10000"/>
                    <a:gd name="connsiteY47" fmla="*/ 8134 h 10000"/>
                    <a:gd name="connsiteX48" fmla="*/ 6500 w 10000"/>
                    <a:gd name="connsiteY48" fmla="*/ 8134 h 10000"/>
                    <a:gd name="connsiteX49" fmla="*/ 7167 w 10000"/>
                    <a:gd name="connsiteY49" fmla="*/ 8087 h 10000"/>
                    <a:gd name="connsiteX50" fmla="*/ 8389 w 10000"/>
                    <a:gd name="connsiteY50" fmla="*/ 7995 h 10000"/>
                    <a:gd name="connsiteX51" fmla="*/ 8389 w 10000"/>
                    <a:gd name="connsiteY51" fmla="*/ 7995 h 10000"/>
                    <a:gd name="connsiteX52" fmla="*/ 8667 w 10000"/>
                    <a:gd name="connsiteY52" fmla="*/ 7963 h 10000"/>
                    <a:gd name="connsiteX53" fmla="*/ 8778 w 10000"/>
                    <a:gd name="connsiteY53" fmla="*/ 7917 h 10000"/>
                    <a:gd name="connsiteX54" fmla="*/ 8889 w 10000"/>
                    <a:gd name="connsiteY54" fmla="*/ 7887 h 10000"/>
                    <a:gd name="connsiteX55" fmla="*/ 8833 w 10000"/>
                    <a:gd name="connsiteY55" fmla="*/ 7856 h 10000"/>
                    <a:gd name="connsiteX56" fmla="*/ 8833 w 10000"/>
                    <a:gd name="connsiteY56" fmla="*/ 7826 h 10000"/>
                    <a:gd name="connsiteX57" fmla="*/ 8722 w 10000"/>
                    <a:gd name="connsiteY57" fmla="*/ 7793 h 10000"/>
                    <a:gd name="connsiteX58" fmla="*/ 8556 w 10000"/>
                    <a:gd name="connsiteY58" fmla="*/ 7747 h 10000"/>
                    <a:gd name="connsiteX59" fmla="*/ 8556 w 10000"/>
                    <a:gd name="connsiteY59" fmla="*/ 7747 h 10000"/>
                    <a:gd name="connsiteX60" fmla="*/ 6556 w 10000"/>
                    <a:gd name="connsiteY60" fmla="*/ 7470 h 10000"/>
                    <a:gd name="connsiteX61" fmla="*/ 6556 w 10000"/>
                    <a:gd name="connsiteY61" fmla="*/ 7470 h 10000"/>
                    <a:gd name="connsiteX62" fmla="*/ 6333 w 10000"/>
                    <a:gd name="connsiteY62" fmla="*/ 7424 h 10000"/>
                    <a:gd name="connsiteX63" fmla="*/ 6167 w 10000"/>
                    <a:gd name="connsiteY63" fmla="*/ 7377 h 10000"/>
                    <a:gd name="connsiteX64" fmla="*/ 6056 w 10000"/>
                    <a:gd name="connsiteY64" fmla="*/ 7331 h 10000"/>
                    <a:gd name="connsiteX65" fmla="*/ 6056 w 10000"/>
                    <a:gd name="connsiteY65" fmla="*/ 7331 h 10000"/>
                    <a:gd name="connsiteX66" fmla="*/ 8056 w 10000"/>
                    <a:gd name="connsiteY66" fmla="*/ 7315 h 10000"/>
                    <a:gd name="connsiteX67" fmla="*/ 10000 w 10000"/>
                    <a:gd name="connsiteY67" fmla="*/ 7470 h 10000"/>
                    <a:gd name="connsiteX68" fmla="*/ 10000 w 10000"/>
                    <a:gd name="connsiteY68" fmla="*/ 6065 h 10000"/>
                    <a:gd name="connsiteX69" fmla="*/ 10000 w 10000"/>
                    <a:gd name="connsiteY69" fmla="*/ 6065 h 10000"/>
                    <a:gd name="connsiteX70" fmla="*/ 7778 w 10000"/>
                    <a:gd name="connsiteY70" fmla="*/ 5740 h 10000"/>
                    <a:gd name="connsiteX71" fmla="*/ 6556 w 10000"/>
                    <a:gd name="connsiteY71" fmla="*/ 5556 h 10000"/>
                    <a:gd name="connsiteX72" fmla="*/ 6556 w 10000"/>
                    <a:gd name="connsiteY72" fmla="*/ 5556 h 10000"/>
                    <a:gd name="connsiteX73" fmla="*/ 6556 w 10000"/>
                    <a:gd name="connsiteY73" fmla="*/ 5541 h 10000"/>
                    <a:gd name="connsiteX74" fmla="*/ 6556 w 10000"/>
                    <a:gd name="connsiteY74" fmla="*/ 5448 h 10000"/>
                    <a:gd name="connsiteX75" fmla="*/ 6556 w 10000"/>
                    <a:gd name="connsiteY75" fmla="*/ 5448 h 10000"/>
                    <a:gd name="connsiteX76" fmla="*/ 6389 w 10000"/>
                    <a:gd name="connsiteY76" fmla="*/ 5340 h 10000"/>
                    <a:gd name="connsiteX77" fmla="*/ 6056 w 10000"/>
                    <a:gd name="connsiteY77" fmla="*/ 5171 h 10000"/>
                    <a:gd name="connsiteX78" fmla="*/ 5333 w 10000"/>
                    <a:gd name="connsiteY78" fmla="*/ 4846 h 10000"/>
                    <a:gd name="connsiteX79" fmla="*/ 5333 w 10000"/>
                    <a:gd name="connsiteY79" fmla="*/ 4846 h 10000"/>
                    <a:gd name="connsiteX80" fmla="*/ 5167 w 10000"/>
                    <a:gd name="connsiteY80" fmla="*/ 4800 h 10000"/>
                    <a:gd name="connsiteX81" fmla="*/ 4889 w 10000"/>
                    <a:gd name="connsiteY81" fmla="*/ 4737 h 10000"/>
                    <a:gd name="connsiteX82" fmla="*/ 4056 w 10000"/>
                    <a:gd name="connsiteY82" fmla="*/ 4599 h 10000"/>
                    <a:gd name="connsiteX83" fmla="*/ 2889 w 10000"/>
                    <a:gd name="connsiteY83" fmla="*/ 4430 h 10000"/>
                    <a:gd name="connsiteX84" fmla="*/ 2889 w 10000"/>
                    <a:gd name="connsiteY84" fmla="*/ 4430 h 10000"/>
                    <a:gd name="connsiteX85" fmla="*/ 2389 w 10000"/>
                    <a:gd name="connsiteY85" fmla="*/ 4413 h 10000"/>
                    <a:gd name="connsiteX86" fmla="*/ 2000 w 10000"/>
                    <a:gd name="connsiteY86" fmla="*/ 4397 h 10000"/>
                    <a:gd name="connsiteX87" fmla="*/ 1889 w 10000"/>
                    <a:gd name="connsiteY87" fmla="*/ 4382 h 10000"/>
                    <a:gd name="connsiteX88" fmla="*/ 1778 w 10000"/>
                    <a:gd name="connsiteY88" fmla="*/ 4367 h 10000"/>
                    <a:gd name="connsiteX89" fmla="*/ 1778 w 10000"/>
                    <a:gd name="connsiteY89" fmla="*/ 4367 h 10000"/>
                    <a:gd name="connsiteX90" fmla="*/ 1667 w 10000"/>
                    <a:gd name="connsiteY90" fmla="*/ 4305 h 10000"/>
                    <a:gd name="connsiteX91" fmla="*/ 1500 w 10000"/>
                    <a:gd name="connsiteY91" fmla="*/ 4198 h 10000"/>
                    <a:gd name="connsiteX92" fmla="*/ 1444 w 10000"/>
                    <a:gd name="connsiteY92" fmla="*/ 4136 h 10000"/>
                    <a:gd name="connsiteX93" fmla="*/ 1444 w 10000"/>
                    <a:gd name="connsiteY93" fmla="*/ 4073 h 10000"/>
                    <a:gd name="connsiteX94" fmla="*/ 1444 w 10000"/>
                    <a:gd name="connsiteY94" fmla="*/ 4028 h 10000"/>
                    <a:gd name="connsiteX95" fmla="*/ 1556 w 10000"/>
                    <a:gd name="connsiteY95" fmla="*/ 3981 h 10000"/>
                    <a:gd name="connsiteX96" fmla="*/ 1556 w 10000"/>
                    <a:gd name="connsiteY96" fmla="*/ 3981 h 10000"/>
                    <a:gd name="connsiteX97" fmla="*/ 1833 w 10000"/>
                    <a:gd name="connsiteY97" fmla="*/ 3904 h 10000"/>
                    <a:gd name="connsiteX98" fmla="*/ 2111 w 10000"/>
                    <a:gd name="connsiteY98" fmla="*/ 3828 h 10000"/>
                    <a:gd name="connsiteX99" fmla="*/ 2278 w 10000"/>
                    <a:gd name="connsiteY99" fmla="*/ 3782 h 10000"/>
                    <a:gd name="connsiteX100" fmla="*/ 2389 w 10000"/>
                    <a:gd name="connsiteY100" fmla="*/ 3734 h 10000"/>
                    <a:gd name="connsiteX101" fmla="*/ 2389 w 10000"/>
                    <a:gd name="connsiteY101" fmla="*/ 3672 h 10000"/>
                    <a:gd name="connsiteX102" fmla="*/ 2389 w 10000"/>
                    <a:gd name="connsiteY102" fmla="*/ 3596 h 10000"/>
                    <a:gd name="connsiteX103" fmla="*/ 2389 w 10000"/>
                    <a:gd name="connsiteY103" fmla="*/ 3596 h 10000"/>
                    <a:gd name="connsiteX104" fmla="*/ 2167 w 10000"/>
                    <a:gd name="connsiteY104" fmla="*/ 3379 h 10000"/>
                    <a:gd name="connsiteX105" fmla="*/ 1889 w 10000"/>
                    <a:gd name="connsiteY105" fmla="*/ 3087 h 10000"/>
                    <a:gd name="connsiteX106" fmla="*/ 1667 w 10000"/>
                    <a:gd name="connsiteY106" fmla="*/ 2824 h 10000"/>
                    <a:gd name="connsiteX107" fmla="*/ 1611 w 10000"/>
                    <a:gd name="connsiteY107" fmla="*/ 2747 h 10000"/>
                    <a:gd name="connsiteX108" fmla="*/ 1611 w 10000"/>
                    <a:gd name="connsiteY108" fmla="*/ 2716 h 10000"/>
                    <a:gd name="connsiteX109" fmla="*/ 1667 w 10000"/>
                    <a:gd name="connsiteY109" fmla="*/ 2700 h 10000"/>
                    <a:gd name="connsiteX110" fmla="*/ 1667 w 10000"/>
                    <a:gd name="connsiteY110" fmla="*/ 2700 h 10000"/>
                    <a:gd name="connsiteX111" fmla="*/ 2000 w 10000"/>
                    <a:gd name="connsiteY111" fmla="*/ 2686 h 10000"/>
                    <a:gd name="connsiteX112" fmla="*/ 2222 w 10000"/>
                    <a:gd name="connsiteY112" fmla="*/ 2686 h 10000"/>
                    <a:gd name="connsiteX113" fmla="*/ 2389 w 10000"/>
                    <a:gd name="connsiteY113" fmla="*/ 2700 h 10000"/>
                    <a:gd name="connsiteX114" fmla="*/ 2389 w 10000"/>
                    <a:gd name="connsiteY114" fmla="*/ 2700 h 10000"/>
                    <a:gd name="connsiteX115" fmla="*/ 2444 w 10000"/>
                    <a:gd name="connsiteY115" fmla="*/ 2700 h 10000"/>
                    <a:gd name="connsiteX116" fmla="*/ 2500 w 10000"/>
                    <a:gd name="connsiteY116" fmla="*/ 2670 h 10000"/>
                    <a:gd name="connsiteX117" fmla="*/ 2778 w 10000"/>
                    <a:gd name="connsiteY117" fmla="*/ 2577 h 10000"/>
                    <a:gd name="connsiteX118" fmla="*/ 3500 w 10000"/>
                    <a:gd name="connsiteY118" fmla="*/ 2269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822 h 10000"/>
                    <a:gd name="connsiteX121" fmla="*/ 4444 w 10000"/>
                    <a:gd name="connsiteY121" fmla="*/ 1759 h 10000"/>
                    <a:gd name="connsiteX122" fmla="*/ 4444 w 10000"/>
                    <a:gd name="connsiteY122" fmla="*/ 1619 h 10000"/>
                    <a:gd name="connsiteX123" fmla="*/ 4500 w 10000"/>
                    <a:gd name="connsiteY123" fmla="*/ 1528 h 10000"/>
                    <a:gd name="connsiteX124" fmla="*/ 4611 w 10000"/>
                    <a:gd name="connsiteY124" fmla="*/ 1450 h 10000"/>
                    <a:gd name="connsiteX125" fmla="*/ 4778 w 10000"/>
                    <a:gd name="connsiteY125" fmla="*/ 1358 h 10000"/>
                    <a:gd name="connsiteX126" fmla="*/ 5000 w 10000"/>
                    <a:gd name="connsiteY126" fmla="*/ 1281 h 10000"/>
                    <a:gd name="connsiteX127" fmla="*/ 5000 w 10000"/>
                    <a:gd name="connsiteY127" fmla="*/ 1281 h 10000"/>
                    <a:gd name="connsiteX128" fmla="*/ 5556 w 10000"/>
                    <a:gd name="connsiteY128" fmla="*/ 1127 h 10000"/>
                    <a:gd name="connsiteX129" fmla="*/ 6111 w 10000"/>
                    <a:gd name="connsiteY129" fmla="*/ 926 h 10000"/>
                    <a:gd name="connsiteX130" fmla="*/ 6667 w 10000"/>
                    <a:gd name="connsiteY130" fmla="*/ 740 h 10000"/>
                    <a:gd name="connsiteX131" fmla="*/ 7056 w 10000"/>
                    <a:gd name="connsiteY131" fmla="*/ 572 h 10000"/>
                    <a:gd name="connsiteX132" fmla="*/ 7056 w 10000"/>
                    <a:gd name="connsiteY132" fmla="*/ 572 h 10000"/>
                    <a:gd name="connsiteX133" fmla="*/ 7333 w 10000"/>
                    <a:gd name="connsiteY133" fmla="*/ 417 h 10000"/>
                    <a:gd name="connsiteX134" fmla="*/ 7667 w 10000"/>
                    <a:gd name="connsiteY134" fmla="*/ 232 h 10000"/>
                    <a:gd name="connsiteX135" fmla="*/ 8000 w 10000"/>
                    <a:gd name="connsiteY135" fmla="*/ 92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446 h 10000"/>
                    <a:gd name="connsiteX143" fmla="*/ 10000 w 10000"/>
                    <a:gd name="connsiteY143" fmla="*/ 9446 h 10000"/>
                    <a:gd name="connsiteX144" fmla="*/ 9722 w 10000"/>
                    <a:gd name="connsiteY144" fmla="*/ 9430 h 10000"/>
                    <a:gd name="connsiteX145" fmla="*/ 9389 w 10000"/>
                    <a:gd name="connsiteY145" fmla="*/ 9446 h 10000"/>
                    <a:gd name="connsiteX146" fmla="*/ 9389 w 10000"/>
                    <a:gd name="connsiteY146" fmla="*/ 9446 h 10000"/>
                    <a:gd name="connsiteX147" fmla="*/ 9278 w 10000"/>
                    <a:gd name="connsiteY147" fmla="*/ 9461 h 10000"/>
                    <a:gd name="connsiteX148" fmla="*/ 9056 w 10000"/>
                    <a:gd name="connsiteY148" fmla="*/ 9446 h 10000"/>
                    <a:gd name="connsiteX149" fmla="*/ 8722 w 10000"/>
                    <a:gd name="connsiteY149" fmla="*/ 9399 h 10000"/>
                    <a:gd name="connsiteX150" fmla="*/ 8444 w 10000"/>
                    <a:gd name="connsiteY150" fmla="*/ 9276 h 10000"/>
                    <a:gd name="connsiteX151" fmla="*/ 8444 w 10000"/>
                    <a:gd name="connsiteY151" fmla="*/ 9276 h 10000"/>
                    <a:gd name="connsiteX152" fmla="*/ 8111 w 10000"/>
                    <a:gd name="connsiteY152" fmla="*/ 9075 h 10000"/>
                    <a:gd name="connsiteX153" fmla="*/ 7778 w 10000"/>
                    <a:gd name="connsiteY153" fmla="*/ 8997 h 10000"/>
                    <a:gd name="connsiteX154" fmla="*/ 7556 w 10000"/>
                    <a:gd name="connsiteY154" fmla="*/ 8981 h 10000"/>
                    <a:gd name="connsiteX155" fmla="*/ 7000 w 10000"/>
                    <a:gd name="connsiteY155" fmla="*/ 8950 h 10000"/>
                    <a:gd name="connsiteX156" fmla="*/ 6556 w 10000"/>
                    <a:gd name="connsiteY156" fmla="*/ 8967 h 10000"/>
                    <a:gd name="connsiteX157" fmla="*/ 6222 w 10000"/>
                    <a:gd name="connsiteY157" fmla="*/ 8967 h 10000"/>
                    <a:gd name="connsiteX158" fmla="*/ 6111 w 10000"/>
                    <a:gd name="connsiteY158" fmla="*/ 8950 h 10000"/>
                    <a:gd name="connsiteX159" fmla="*/ 6056 w 10000"/>
                    <a:gd name="connsiteY159" fmla="*/ 8659 h 10000"/>
                    <a:gd name="connsiteX160" fmla="*/ 6056 w 10000"/>
                    <a:gd name="connsiteY160" fmla="*/ 8597 h 10000"/>
                    <a:gd name="connsiteX161" fmla="*/ 5944 w 10000"/>
                    <a:gd name="connsiteY161" fmla="*/ 8520 h 10000"/>
                    <a:gd name="connsiteX162" fmla="*/ 5889 w 10000"/>
                    <a:gd name="connsiteY162" fmla="*/ 8505 h 10000"/>
                    <a:gd name="connsiteX163" fmla="*/ 5667 w 10000"/>
                    <a:gd name="connsiteY163" fmla="*/ 8488 h 10000"/>
                    <a:gd name="connsiteX164" fmla="*/ 4889 w 10000"/>
                    <a:gd name="connsiteY164" fmla="*/ 8612 h 10000"/>
                    <a:gd name="connsiteX165" fmla="*/ 4611 w 10000"/>
                    <a:gd name="connsiteY165" fmla="*/ 8641 h 10000"/>
                    <a:gd name="connsiteX166" fmla="*/ 4500 w 10000"/>
                    <a:gd name="connsiteY166" fmla="*/ 8641 h 10000"/>
                    <a:gd name="connsiteX167" fmla="*/ 4222 w 10000"/>
                    <a:gd name="connsiteY167" fmla="*/ 8488 h 10000"/>
                    <a:gd name="connsiteX168" fmla="*/ 4222 w 10000"/>
                    <a:gd name="connsiteY168" fmla="*/ 8488 h 10000"/>
                    <a:gd name="connsiteX169" fmla="*/ 4111 w 10000"/>
                    <a:gd name="connsiteY169" fmla="*/ 8411 h 10000"/>
                    <a:gd name="connsiteX170" fmla="*/ 4111 w 10000"/>
                    <a:gd name="connsiteY170" fmla="*/ 8364 h 10000"/>
                    <a:gd name="connsiteX171" fmla="*/ 4111 w 10000"/>
                    <a:gd name="connsiteY171" fmla="*/ 8318 h 10000"/>
                    <a:gd name="connsiteX172" fmla="*/ 4111 w 10000"/>
                    <a:gd name="connsiteY172" fmla="*/ 8318 h 10000"/>
                    <a:gd name="connsiteX173" fmla="*/ 4278 w 10000"/>
                    <a:gd name="connsiteY173" fmla="*/ 8271 h 10000"/>
                    <a:gd name="connsiteX174" fmla="*/ 4389 w 10000"/>
                    <a:gd name="connsiteY174" fmla="*/ 8256 h 10000"/>
                    <a:gd name="connsiteX175" fmla="*/ 4389 w 10000"/>
                    <a:gd name="connsiteY175" fmla="*/ 8256 h 10000"/>
                    <a:gd name="connsiteX176" fmla="*/ 4000 w 10000"/>
                    <a:gd name="connsiteY176" fmla="*/ 8256 h 10000"/>
                    <a:gd name="connsiteX177" fmla="*/ 3722 w 10000"/>
                    <a:gd name="connsiteY177" fmla="*/ 8271 h 10000"/>
                    <a:gd name="connsiteX178" fmla="*/ 3611 w 10000"/>
                    <a:gd name="connsiteY178" fmla="*/ 8287 h 10000"/>
                    <a:gd name="connsiteX179" fmla="*/ 3556 w 10000"/>
                    <a:gd name="connsiteY179" fmla="*/ 8303 h 10000"/>
                    <a:gd name="connsiteX180" fmla="*/ 3556 w 10000"/>
                    <a:gd name="connsiteY180" fmla="*/ 8303 h 10000"/>
                    <a:gd name="connsiteX181" fmla="*/ 3444 w 10000"/>
                    <a:gd name="connsiteY181" fmla="*/ 8364 h 10000"/>
                    <a:gd name="connsiteX182" fmla="*/ 3278 w 10000"/>
                    <a:gd name="connsiteY182" fmla="*/ 8457 h 10000"/>
                    <a:gd name="connsiteX183" fmla="*/ 3000 w 10000"/>
                    <a:gd name="connsiteY183" fmla="*/ 8566 h 10000"/>
                    <a:gd name="connsiteX184" fmla="*/ 2667 w 10000"/>
                    <a:gd name="connsiteY184" fmla="*/ 8641 h 10000"/>
                    <a:gd name="connsiteX185" fmla="*/ 2667 w 10000"/>
                    <a:gd name="connsiteY185" fmla="*/ 8641 h 10000"/>
                    <a:gd name="connsiteX186" fmla="*/ 2333 w 10000"/>
                    <a:gd name="connsiteY186" fmla="*/ 8704 h 10000"/>
                    <a:gd name="connsiteX187" fmla="*/ 1833 w 10000"/>
                    <a:gd name="connsiteY187" fmla="*/ 8766 h 10000"/>
                    <a:gd name="connsiteX188" fmla="*/ 1389 w 10000"/>
                    <a:gd name="connsiteY188" fmla="*/ 8797 h 10000"/>
                    <a:gd name="connsiteX189" fmla="*/ 889 w 10000"/>
                    <a:gd name="connsiteY189" fmla="*/ 8812 h 10000"/>
                    <a:gd name="connsiteX190" fmla="*/ 889 w 10000"/>
                    <a:gd name="connsiteY190" fmla="*/ 8812 h 10000"/>
                    <a:gd name="connsiteX191" fmla="*/ 500 w 10000"/>
                    <a:gd name="connsiteY191" fmla="*/ 8828 h 10000"/>
                    <a:gd name="connsiteX192" fmla="*/ 222 w 10000"/>
                    <a:gd name="connsiteY192" fmla="*/ 8844 h 10000"/>
                    <a:gd name="connsiteX193" fmla="*/ 0 w 10000"/>
                    <a:gd name="connsiteY193" fmla="*/ 8859 h 10000"/>
                    <a:gd name="connsiteX194" fmla="*/ 0 w 10000"/>
                    <a:gd name="connsiteY194" fmla="*/ 8859 h 10000"/>
                    <a:gd name="connsiteX195" fmla="*/ 278 w 10000"/>
                    <a:gd name="connsiteY195" fmla="*/ 9105 h 10000"/>
                    <a:gd name="connsiteX196" fmla="*/ 500 w 10000"/>
                    <a:gd name="connsiteY196" fmla="*/ 9291 h 10000"/>
                    <a:gd name="connsiteX197" fmla="*/ 722 w 10000"/>
                    <a:gd name="connsiteY197" fmla="*/ 9446 h 10000"/>
                    <a:gd name="connsiteX198" fmla="*/ 722 w 10000"/>
                    <a:gd name="connsiteY198" fmla="*/ 9446 h 10000"/>
                    <a:gd name="connsiteX199" fmla="*/ 889 w 10000"/>
                    <a:gd name="connsiteY199" fmla="*/ 9538 h 10000"/>
                    <a:gd name="connsiteX200" fmla="*/ 944 w 10000"/>
                    <a:gd name="connsiteY200" fmla="*/ 9615 h 10000"/>
                    <a:gd name="connsiteX201" fmla="*/ 1111 w 10000"/>
                    <a:gd name="connsiteY201" fmla="*/ 9692 h 10000"/>
                    <a:gd name="connsiteX202" fmla="*/ 1333 w 10000"/>
                    <a:gd name="connsiteY202" fmla="*/ 9816 h 10000"/>
                    <a:gd name="connsiteX203" fmla="*/ 1333 w 10000"/>
                    <a:gd name="connsiteY203" fmla="*/ 9816 h 10000"/>
                    <a:gd name="connsiteX204" fmla="*/ 1444 w 10000"/>
                    <a:gd name="connsiteY204" fmla="*/ 9879 h 10000"/>
                    <a:gd name="connsiteX205" fmla="*/ 1500 w 10000"/>
                    <a:gd name="connsiteY205" fmla="*/ 9924 h 10000"/>
                    <a:gd name="connsiteX206" fmla="*/ 1500 w 10000"/>
                    <a:gd name="connsiteY206" fmla="*/ 9971 h 10000"/>
                    <a:gd name="connsiteX207" fmla="*/ 1556 w 10000"/>
                    <a:gd name="connsiteY207" fmla="*/ 9986 h 10000"/>
                    <a:gd name="connsiteX208" fmla="*/ 1722 w 10000"/>
                    <a:gd name="connsiteY208" fmla="*/ 10000 h 10000"/>
                    <a:gd name="connsiteX209" fmla="*/ 10000 w 10000"/>
                    <a:gd name="connsiteY209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4667 w 10000"/>
                    <a:gd name="connsiteY44" fmla="*/ 8211 h 10000"/>
                    <a:gd name="connsiteX45" fmla="*/ 5333 w 10000"/>
                    <a:gd name="connsiteY45" fmla="*/ 8180 h 10000"/>
                    <a:gd name="connsiteX46" fmla="*/ 6500 w 10000"/>
                    <a:gd name="connsiteY46" fmla="*/ 8134 h 10000"/>
                    <a:gd name="connsiteX47" fmla="*/ 6500 w 10000"/>
                    <a:gd name="connsiteY47" fmla="*/ 8134 h 10000"/>
                    <a:gd name="connsiteX48" fmla="*/ 7167 w 10000"/>
                    <a:gd name="connsiteY48" fmla="*/ 8087 h 10000"/>
                    <a:gd name="connsiteX49" fmla="*/ 8389 w 10000"/>
                    <a:gd name="connsiteY49" fmla="*/ 7995 h 10000"/>
                    <a:gd name="connsiteX50" fmla="*/ 8389 w 10000"/>
                    <a:gd name="connsiteY50" fmla="*/ 7995 h 10000"/>
                    <a:gd name="connsiteX51" fmla="*/ 8667 w 10000"/>
                    <a:gd name="connsiteY51" fmla="*/ 7963 h 10000"/>
                    <a:gd name="connsiteX52" fmla="*/ 8778 w 10000"/>
                    <a:gd name="connsiteY52" fmla="*/ 7917 h 10000"/>
                    <a:gd name="connsiteX53" fmla="*/ 8889 w 10000"/>
                    <a:gd name="connsiteY53" fmla="*/ 7887 h 10000"/>
                    <a:gd name="connsiteX54" fmla="*/ 8833 w 10000"/>
                    <a:gd name="connsiteY54" fmla="*/ 7856 h 10000"/>
                    <a:gd name="connsiteX55" fmla="*/ 8833 w 10000"/>
                    <a:gd name="connsiteY55" fmla="*/ 7826 h 10000"/>
                    <a:gd name="connsiteX56" fmla="*/ 8722 w 10000"/>
                    <a:gd name="connsiteY56" fmla="*/ 7793 h 10000"/>
                    <a:gd name="connsiteX57" fmla="*/ 8556 w 10000"/>
                    <a:gd name="connsiteY57" fmla="*/ 7747 h 10000"/>
                    <a:gd name="connsiteX58" fmla="*/ 8556 w 10000"/>
                    <a:gd name="connsiteY58" fmla="*/ 7747 h 10000"/>
                    <a:gd name="connsiteX59" fmla="*/ 6556 w 10000"/>
                    <a:gd name="connsiteY59" fmla="*/ 7470 h 10000"/>
                    <a:gd name="connsiteX60" fmla="*/ 6556 w 10000"/>
                    <a:gd name="connsiteY60" fmla="*/ 7470 h 10000"/>
                    <a:gd name="connsiteX61" fmla="*/ 6333 w 10000"/>
                    <a:gd name="connsiteY61" fmla="*/ 7424 h 10000"/>
                    <a:gd name="connsiteX62" fmla="*/ 6167 w 10000"/>
                    <a:gd name="connsiteY62" fmla="*/ 7377 h 10000"/>
                    <a:gd name="connsiteX63" fmla="*/ 6056 w 10000"/>
                    <a:gd name="connsiteY63" fmla="*/ 7331 h 10000"/>
                    <a:gd name="connsiteX64" fmla="*/ 6056 w 10000"/>
                    <a:gd name="connsiteY64" fmla="*/ 7331 h 10000"/>
                    <a:gd name="connsiteX65" fmla="*/ 8056 w 10000"/>
                    <a:gd name="connsiteY65" fmla="*/ 7315 h 10000"/>
                    <a:gd name="connsiteX66" fmla="*/ 10000 w 10000"/>
                    <a:gd name="connsiteY66" fmla="*/ 7470 h 10000"/>
                    <a:gd name="connsiteX67" fmla="*/ 10000 w 10000"/>
                    <a:gd name="connsiteY67" fmla="*/ 6065 h 10000"/>
                    <a:gd name="connsiteX68" fmla="*/ 10000 w 10000"/>
                    <a:gd name="connsiteY68" fmla="*/ 6065 h 10000"/>
                    <a:gd name="connsiteX69" fmla="*/ 7778 w 10000"/>
                    <a:gd name="connsiteY69" fmla="*/ 5740 h 10000"/>
                    <a:gd name="connsiteX70" fmla="*/ 6556 w 10000"/>
                    <a:gd name="connsiteY70" fmla="*/ 5556 h 10000"/>
                    <a:gd name="connsiteX71" fmla="*/ 6556 w 10000"/>
                    <a:gd name="connsiteY71" fmla="*/ 5556 h 10000"/>
                    <a:gd name="connsiteX72" fmla="*/ 6556 w 10000"/>
                    <a:gd name="connsiteY72" fmla="*/ 5541 h 10000"/>
                    <a:gd name="connsiteX73" fmla="*/ 6556 w 10000"/>
                    <a:gd name="connsiteY73" fmla="*/ 5448 h 10000"/>
                    <a:gd name="connsiteX74" fmla="*/ 6556 w 10000"/>
                    <a:gd name="connsiteY74" fmla="*/ 5448 h 10000"/>
                    <a:gd name="connsiteX75" fmla="*/ 6389 w 10000"/>
                    <a:gd name="connsiteY75" fmla="*/ 5340 h 10000"/>
                    <a:gd name="connsiteX76" fmla="*/ 6056 w 10000"/>
                    <a:gd name="connsiteY76" fmla="*/ 5171 h 10000"/>
                    <a:gd name="connsiteX77" fmla="*/ 5333 w 10000"/>
                    <a:gd name="connsiteY77" fmla="*/ 4846 h 10000"/>
                    <a:gd name="connsiteX78" fmla="*/ 5333 w 10000"/>
                    <a:gd name="connsiteY78" fmla="*/ 4846 h 10000"/>
                    <a:gd name="connsiteX79" fmla="*/ 5167 w 10000"/>
                    <a:gd name="connsiteY79" fmla="*/ 4800 h 10000"/>
                    <a:gd name="connsiteX80" fmla="*/ 4889 w 10000"/>
                    <a:gd name="connsiteY80" fmla="*/ 4737 h 10000"/>
                    <a:gd name="connsiteX81" fmla="*/ 4056 w 10000"/>
                    <a:gd name="connsiteY81" fmla="*/ 4599 h 10000"/>
                    <a:gd name="connsiteX82" fmla="*/ 2889 w 10000"/>
                    <a:gd name="connsiteY82" fmla="*/ 4430 h 10000"/>
                    <a:gd name="connsiteX83" fmla="*/ 2889 w 10000"/>
                    <a:gd name="connsiteY83" fmla="*/ 4430 h 10000"/>
                    <a:gd name="connsiteX84" fmla="*/ 2389 w 10000"/>
                    <a:gd name="connsiteY84" fmla="*/ 4413 h 10000"/>
                    <a:gd name="connsiteX85" fmla="*/ 2000 w 10000"/>
                    <a:gd name="connsiteY85" fmla="*/ 4397 h 10000"/>
                    <a:gd name="connsiteX86" fmla="*/ 1889 w 10000"/>
                    <a:gd name="connsiteY86" fmla="*/ 4382 h 10000"/>
                    <a:gd name="connsiteX87" fmla="*/ 1778 w 10000"/>
                    <a:gd name="connsiteY87" fmla="*/ 4367 h 10000"/>
                    <a:gd name="connsiteX88" fmla="*/ 1778 w 10000"/>
                    <a:gd name="connsiteY88" fmla="*/ 4367 h 10000"/>
                    <a:gd name="connsiteX89" fmla="*/ 1667 w 10000"/>
                    <a:gd name="connsiteY89" fmla="*/ 4305 h 10000"/>
                    <a:gd name="connsiteX90" fmla="*/ 1500 w 10000"/>
                    <a:gd name="connsiteY90" fmla="*/ 4198 h 10000"/>
                    <a:gd name="connsiteX91" fmla="*/ 1444 w 10000"/>
                    <a:gd name="connsiteY91" fmla="*/ 4136 h 10000"/>
                    <a:gd name="connsiteX92" fmla="*/ 1444 w 10000"/>
                    <a:gd name="connsiteY92" fmla="*/ 4073 h 10000"/>
                    <a:gd name="connsiteX93" fmla="*/ 1444 w 10000"/>
                    <a:gd name="connsiteY93" fmla="*/ 4028 h 10000"/>
                    <a:gd name="connsiteX94" fmla="*/ 1556 w 10000"/>
                    <a:gd name="connsiteY94" fmla="*/ 3981 h 10000"/>
                    <a:gd name="connsiteX95" fmla="*/ 1556 w 10000"/>
                    <a:gd name="connsiteY95" fmla="*/ 3981 h 10000"/>
                    <a:gd name="connsiteX96" fmla="*/ 1833 w 10000"/>
                    <a:gd name="connsiteY96" fmla="*/ 3904 h 10000"/>
                    <a:gd name="connsiteX97" fmla="*/ 2111 w 10000"/>
                    <a:gd name="connsiteY97" fmla="*/ 3828 h 10000"/>
                    <a:gd name="connsiteX98" fmla="*/ 2278 w 10000"/>
                    <a:gd name="connsiteY98" fmla="*/ 3782 h 10000"/>
                    <a:gd name="connsiteX99" fmla="*/ 2389 w 10000"/>
                    <a:gd name="connsiteY99" fmla="*/ 3734 h 10000"/>
                    <a:gd name="connsiteX100" fmla="*/ 2389 w 10000"/>
                    <a:gd name="connsiteY100" fmla="*/ 3672 h 10000"/>
                    <a:gd name="connsiteX101" fmla="*/ 2389 w 10000"/>
                    <a:gd name="connsiteY101" fmla="*/ 3596 h 10000"/>
                    <a:gd name="connsiteX102" fmla="*/ 2389 w 10000"/>
                    <a:gd name="connsiteY102" fmla="*/ 3596 h 10000"/>
                    <a:gd name="connsiteX103" fmla="*/ 2167 w 10000"/>
                    <a:gd name="connsiteY103" fmla="*/ 3379 h 10000"/>
                    <a:gd name="connsiteX104" fmla="*/ 1889 w 10000"/>
                    <a:gd name="connsiteY104" fmla="*/ 3087 h 10000"/>
                    <a:gd name="connsiteX105" fmla="*/ 1667 w 10000"/>
                    <a:gd name="connsiteY105" fmla="*/ 2824 h 10000"/>
                    <a:gd name="connsiteX106" fmla="*/ 1611 w 10000"/>
                    <a:gd name="connsiteY106" fmla="*/ 2747 h 10000"/>
                    <a:gd name="connsiteX107" fmla="*/ 1611 w 10000"/>
                    <a:gd name="connsiteY107" fmla="*/ 2716 h 10000"/>
                    <a:gd name="connsiteX108" fmla="*/ 1667 w 10000"/>
                    <a:gd name="connsiteY108" fmla="*/ 2700 h 10000"/>
                    <a:gd name="connsiteX109" fmla="*/ 1667 w 10000"/>
                    <a:gd name="connsiteY109" fmla="*/ 2700 h 10000"/>
                    <a:gd name="connsiteX110" fmla="*/ 2000 w 10000"/>
                    <a:gd name="connsiteY110" fmla="*/ 2686 h 10000"/>
                    <a:gd name="connsiteX111" fmla="*/ 2222 w 10000"/>
                    <a:gd name="connsiteY111" fmla="*/ 2686 h 10000"/>
                    <a:gd name="connsiteX112" fmla="*/ 2389 w 10000"/>
                    <a:gd name="connsiteY112" fmla="*/ 2700 h 10000"/>
                    <a:gd name="connsiteX113" fmla="*/ 2389 w 10000"/>
                    <a:gd name="connsiteY113" fmla="*/ 2700 h 10000"/>
                    <a:gd name="connsiteX114" fmla="*/ 2444 w 10000"/>
                    <a:gd name="connsiteY114" fmla="*/ 2700 h 10000"/>
                    <a:gd name="connsiteX115" fmla="*/ 2500 w 10000"/>
                    <a:gd name="connsiteY115" fmla="*/ 2670 h 10000"/>
                    <a:gd name="connsiteX116" fmla="*/ 2778 w 10000"/>
                    <a:gd name="connsiteY116" fmla="*/ 2577 h 10000"/>
                    <a:gd name="connsiteX117" fmla="*/ 3500 w 10000"/>
                    <a:gd name="connsiteY117" fmla="*/ 2269 h 10000"/>
                    <a:gd name="connsiteX118" fmla="*/ 4444 w 10000"/>
                    <a:gd name="connsiteY118" fmla="*/ 1822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759 h 10000"/>
                    <a:gd name="connsiteX121" fmla="*/ 4444 w 10000"/>
                    <a:gd name="connsiteY121" fmla="*/ 1619 h 10000"/>
                    <a:gd name="connsiteX122" fmla="*/ 4500 w 10000"/>
                    <a:gd name="connsiteY122" fmla="*/ 1528 h 10000"/>
                    <a:gd name="connsiteX123" fmla="*/ 4611 w 10000"/>
                    <a:gd name="connsiteY123" fmla="*/ 1450 h 10000"/>
                    <a:gd name="connsiteX124" fmla="*/ 4778 w 10000"/>
                    <a:gd name="connsiteY124" fmla="*/ 1358 h 10000"/>
                    <a:gd name="connsiteX125" fmla="*/ 5000 w 10000"/>
                    <a:gd name="connsiteY125" fmla="*/ 1281 h 10000"/>
                    <a:gd name="connsiteX126" fmla="*/ 5000 w 10000"/>
                    <a:gd name="connsiteY126" fmla="*/ 1281 h 10000"/>
                    <a:gd name="connsiteX127" fmla="*/ 5556 w 10000"/>
                    <a:gd name="connsiteY127" fmla="*/ 1127 h 10000"/>
                    <a:gd name="connsiteX128" fmla="*/ 6111 w 10000"/>
                    <a:gd name="connsiteY128" fmla="*/ 926 h 10000"/>
                    <a:gd name="connsiteX129" fmla="*/ 6667 w 10000"/>
                    <a:gd name="connsiteY129" fmla="*/ 740 h 10000"/>
                    <a:gd name="connsiteX130" fmla="*/ 7056 w 10000"/>
                    <a:gd name="connsiteY130" fmla="*/ 572 h 10000"/>
                    <a:gd name="connsiteX131" fmla="*/ 7056 w 10000"/>
                    <a:gd name="connsiteY131" fmla="*/ 572 h 10000"/>
                    <a:gd name="connsiteX132" fmla="*/ 7333 w 10000"/>
                    <a:gd name="connsiteY132" fmla="*/ 417 h 10000"/>
                    <a:gd name="connsiteX133" fmla="*/ 7667 w 10000"/>
                    <a:gd name="connsiteY133" fmla="*/ 232 h 10000"/>
                    <a:gd name="connsiteX134" fmla="*/ 8000 w 10000"/>
                    <a:gd name="connsiteY134" fmla="*/ 92 h 10000"/>
                    <a:gd name="connsiteX135" fmla="*/ 8167 w 10000"/>
                    <a:gd name="connsiteY135" fmla="*/ 29 h 10000"/>
                    <a:gd name="connsiteX136" fmla="*/ 8333 w 10000"/>
                    <a:gd name="connsiteY136" fmla="*/ 15 h 10000"/>
                    <a:gd name="connsiteX137" fmla="*/ 8333 w 10000"/>
                    <a:gd name="connsiteY137" fmla="*/ 15 h 10000"/>
                    <a:gd name="connsiteX138" fmla="*/ 8667 w 10000"/>
                    <a:gd name="connsiteY138" fmla="*/ 0 h 10000"/>
                    <a:gd name="connsiteX139" fmla="*/ 9111 w 10000"/>
                    <a:gd name="connsiteY139" fmla="*/ 0 h 10000"/>
                    <a:gd name="connsiteX140" fmla="*/ 10000 w 10000"/>
                    <a:gd name="connsiteY140" fmla="*/ 15 h 10000"/>
                    <a:gd name="connsiteX141" fmla="*/ 10000 w 10000"/>
                    <a:gd name="connsiteY141" fmla="*/ 9446 h 10000"/>
                    <a:gd name="connsiteX142" fmla="*/ 10000 w 10000"/>
                    <a:gd name="connsiteY142" fmla="*/ 9446 h 10000"/>
                    <a:gd name="connsiteX143" fmla="*/ 9722 w 10000"/>
                    <a:gd name="connsiteY143" fmla="*/ 9430 h 10000"/>
                    <a:gd name="connsiteX144" fmla="*/ 9389 w 10000"/>
                    <a:gd name="connsiteY144" fmla="*/ 9446 h 10000"/>
                    <a:gd name="connsiteX145" fmla="*/ 9389 w 10000"/>
                    <a:gd name="connsiteY145" fmla="*/ 9446 h 10000"/>
                    <a:gd name="connsiteX146" fmla="*/ 9278 w 10000"/>
                    <a:gd name="connsiteY146" fmla="*/ 9461 h 10000"/>
                    <a:gd name="connsiteX147" fmla="*/ 9056 w 10000"/>
                    <a:gd name="connsiteY147" fmla="*/ 9446 h 10000"/>
                    <a:gd name="connsiteX148" fmla="*/ 8722 w 10000"/>
                    <a:gd name="connsiteY148" fmla="*/ 9399 h 10000"/>
                    <a:gd name="connsiteX149" fmla="*/ 8444 w 10000"/>
                    <a:gd name="connsiteY149" fmla="*/ 9276 h 10000"/>
                    <a:gd name="connsiteX150" fmla="*/ 8444 w 10000"/>
                    <a:gd name="connsiteY150" fmla="*/ 9276 h 10000"/>
                    <a:gd name="connsiteX151" fmla="*/ 8111 w 10000"/>
                    <a:gd name="connsiteY151" fmla="*/ 9075 h 10000"/>
                    <a:gd name="connsiteX152" fmla="*/ 7778 w 10000"/>
                    <a:gd name="connsiteY152" fmla="*/ 8997 h 10000"/>
                    <a:gd name="connsiteX153" fmla="*/ 7556 w 10000"/>
                    <a:gd name="connsiteY153" fmla="*/ 8981 h 10000"/>
                    <a:gd name="connsiteX154" fmla="*/ 7000 w 10000"/>
                    <a:gd name="connsiteY154" fmla="*/ 8950 h 10000"/>
                    <a:gd name="connsiteX155" fmla="*/ 6556 w 10000"/>
                    <a:gd name="connsiteY155" fmla="*/ 8967 h 10000"/>
                    <a:gd name="connsiteX156" fmla="*/ 6222 w 10000"/>
                    <a:gd name="connsiteY156" fmla="*/ 8967 h 10000"/>
                    <a:gd name="connsiteX157" fmla="*/ 6111 w 10000"/>
                    <a:gd name="connsiteY157" fmla="*/ 8950 h 10000"/>
                    <a:gd name="connsiteX158" fmla="*/ 6056 w 10000"/>
                    <a:gd name="connsiteY158" fmla="*/ 8659 h 10000"/>
                    <a:gd name="connsiteX159" fmla="*/ 6056 w 10000"/>
                    <a:gd name="connsiteY159" fmla="*/ 8597 h 10000"/>
                    <a:gd name="connsiteX160" fmla="*/ 5944 w 10000"/>
                    <a:gd name="connsiteY160" fmla="*/ 8520 h 10000"/>
                    <a:gd name="connsiteX161" fmla="*/ 5889 w 10000"/>
                    <a:gd name="connsiteY161" fmla="*/ 8505 h 10000"/>
                    <a:gd name="connsiteX162" fmla="*/ 5667 w 10000"/>
                    <a:gd name="connsiteY162" fmla="*/ 8488 h 10000"/>
                    <a:gd name="connsiteX163" fmla="*/ 4889 w 10000"/>
                    <a:gd name="connsiteY163" fmla="*/ 8612 h 10000"/>
                    <a:gd name="connsiteX164" fmla="*/ 4611 w 10000"/>
                    <a:gd name="connsiteY164" fmla="*/ 8641 h 10000"/>
                    <a:gd name="connsiteX165" fmla="*/ 4500 w 10000"/>
                    <a:gd name="connsiteY165" fmla="*/ 8641 h 10000"/>
                    <a:gd name="connsiteX166" fmla="*/ 4222 w 10000"/>
                    <a:gd name="connsiteY166" fmla="*/ 8488 h 10000"/>
                    <a:gd name="connsiteX167" fmla="*/ 4222 w 10000"/>
                    <a:gd name="connsiteY167" fmla="*/ 8488 h 10000"/>
                    <a:gd name="connsiteX168" fmla="*/ 4111 w 10000"/>
                    <a:gd name="connsiteY168" fmla="*/ 8411 h 10000"/>
                    <a:gd name="connsiteX169" fmla="*/ 4111 w 10000"/>
                    <a:gd name="connsiteY169" fmla="*/ 8364 h 10000"/>
                    <a:gd name="connsiteX170" fmla="*/ 4111 w 10000"/>
                    <a:gd name="connsiteY170" fmla="*/ 8318 h 10000"/>
                    <a:gd name="connsiteX171" fmla="*/ 4111 w 10000"/>
                    <a:gd name="connsiteY171" fmla="*/ 8318 h 10000"/>
                    <a:gd name="connsiteX172" fmla="*/ 4278 w 10000"/>
                    <a:gd name="connsiteY172" fmla="*/ 8271 h 10000"/>
                    <a:gd name="connsiteX173" fmla="*/ 4389 w 10000"/>
                    <a:gd name="connsiteY173" fmla="*/ 8256 h 10000"/>
                    <a:gd name="connsiteX174" fmla="*/ 4389 w 10000"/>
                    <a:gd name="connsiteY174" fmla="*/ 8256 h 10000"/>
                    <a:gd name="connsiteX175" fmla="*/ 4000 w 10000"/>
                    <a:gd name="connsiteY175" fmla="*/ 8256 h 10000"/>
                    <a:gd name="connsiteX176" fmla="*/ 3722 w 10000"/>
                    <a:gd name="connsiteY176" fmla="*/ 8271 h 10000"/>
                    <a:gd name="connsiteX177" fmla="*/ 3611 w 10000"/>
                    <a:gd name="connsiteY177" fmla="*/ 8287 h 10000"/>
                    <a:gd name="connsiteX178" fmla="*/ 3556 w 10000"/>
                    <a:gd name="connsiteY178" fmla="*/ 8303 h 10000"/>
                    <a:gd name="connsiteX179" fmla="*/ 3556 w 10000"/>
                    <a:gd name="connsiteY179" fmla="*/ 8303 h 10000"/>
                    <a:gd name="connsiteX180" fmla="*/ 3444 w 10000"/>
                    <a:gd name="connsiteY180" fmla="*/ 8364 h 10000"/>
                    <a:gd name="connsiteX181" fmla="*/ 3278 w 10000"/>
                    <a:gd name="connsiteY181" fmla="*/ 8457 h 10000"/>
                    <a:gd name="connsiteX182" fmla="*/ 3000 w 10000"/>
                    <a:gd name="connsiteY182" fmla="*/ 8566 h 10000"/>
                    <a:gd name="connsiteX183" fmla="*/ 2667 w 10000"/>
                    <a:gd name="connsiteY183" fmla="*/ 8641 h 10000"/>
                    <a:gd name="connsiteX184" fmla="*/ 2667 w 10000"/>
                    <a:gd name="connsiteY184" fmla="*/ 8641 h 10000"/>
                    <a:gd name="connsiteX185" fmla="*/ 2333 w 10000"/>
                    <a:gd name="connsiteY185" fmla="*/ 8704 h 10000"/>
                    <a:gd name="connsiteX186" fmla="*/ 1833 w 10000"/>
                    <a:gd name="connsiteY186" fmla="*/ 8766 h 10000"/>
                    <a:gd name="connsiteX187" fmla="*/ 1389 w 10000"/>
                    <a:gd name="connsiteY187" fmla="*/ 8797 h 10000"/>
                    <a:gd name="connsiteX188" fmla="*/ 889 w 10000"/>
                    <a:gd name="connsiteY188" fmla="*/ 8812 h 10000"/>
                    <a:gd name="connsiteX189" fmla="*/ 889 w 10000"/>
                    <a:gd name="connsiteY189" fmla="*/ 8812 h 10000"/>
                    <a:gd name="connsiteX190" fmla="*/ 500 w 10000"/>
                    <a:gd name="connsiteY190" fmla="*/ 8828 h 10000"/>
                    <a:gd name="connsiteX191" fmla="*/ 222 w 10000"/>
                    <a:gd name="connsiteY191" fmla="*/ 8844 h 10000"/>
                    <a:gd name="connsiteX192" fmla="*/ 0 w 10000"/>
                    <a:gd name="connsiteY192" fmla="*/ 8859 h 10000"/>
                    <a:gd name="connsiteX193" fmla="*/ 0 w 10000"/>
                    <a:gd name="connsiteY193" fmla="*/ 8859 h 10000"/>
                    <a:gd name="connsiteX194" fmla="*/ 278 w 10000"/>
                    <a:gd name="connsiteY194" fmla="*/ 9105 h 10000"/>
                    <a:gd name="connsiteX195" fmla="*/ 500 w 10000"/>
                    <a:gd name="connsiteY195" fmla="*/ 9291 h 10000"/>
                    <a:gd name="connsiteX196" fmla="*/ 722 w 10000"/>
                    <a:gd name="connsiteY196" fmla="*/ 9446 h 10000"/>
                    <a:gd name="connsiteX197" fmla="*/ 722 w 10000"/>
                    <a:gd name="connsiteY197" fmla="*/ 9446 h 10000"/>
                    <a:gd name="connsiteX198" fmla="*/ 889 w 10000"/>
                    <a:gd name="connsiteY198" fmla="*/ 9538 h 10000"/>
                    <a:gd name="connsiteX199" fmla="*/ 944 w 10000"/>
                    <a:gd name="connsiteY199" fmla="*/ 9615 h 10000"/>
                    <a:gd name="connsiteX200" fmla="*/ 1111 w 10000"/>
                    <a:gd name="connsiteY200" fmla="*/ 9692 h 10000"/>
                    <a:gd name="connsiteX201" fmla="*/ 1333 w 10000"/>
                    <a:gd name="connsiteY201" fmla="*/ 9816 h 10000"/>
                    <a:gd name="connsiteX202" fmla="*/ 1333 w 10000"/>
                    <a:gd name="connsiteY202" fmla="*/ 9816 h 10000"/>
                    <a:gd name="connsiteX203" fmla="*/ 1444 w 10000"/>
                    <a:gd name="connsiteY203" fmla="*/ 9879 h 10000"/>
                    <a:gd name="connsiteX204" fmla="*/ 1500 w 10000"/>
                    <a:gd name="connsiteY204" fmla="*/ 9924 h 10000"/>
                    <a:gd name="connsiteX205" fmla="*/ 1500 w 10000"/>
                    <a:gd name="connsiteY205" fmla="*/ 9971 h 10000"/>
                    <a:gd name="connsiteX206" fmla="*/ 1556 w 10000"/>
                    <a:gd name="connsiteY206" fmla="*/ 9986 h 10000"/>
                    <a:gd name="connsiteX207" fmla="*/ 1722 w 10000"/>
                    <a:gd name="connsiteY207" fmla="*/ 10000 h 10000"/>
                    <a:gd name="connsiteX208" fmla="*/ 10000 w 10000"/>
                    <a:gd name="connsiteY208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4667 w 10000"/>
                    <a:gd name="connsiteY44" fmla="*/ 8211 h 10000"/>
                    <a:gd name="connsiteX45" fmla="*/ 5333 w 10000"/>
                    <a:gd name="connsiteY45" fmla="*/ 8180 h 10000"/>
                    <a:gd name="connsiteX46" fmla="*/ 6500 w 10000"/>
                    <a:gd name="connsiteY46" fmla="*/ 8134 h 10000"/>
                    <a:gd name="connsiteX47" fmla="*/ 6500 w 10000"/>
                    <a:gd name="connsiteY47" fmla="*/ 8134 h 10000"/>
                    <a:gd name="connsiteX48" fmla="*/ 7167 w 10000"/>
                    <a:gd name="connsiteY48" fmla="*/ 8087 h 10000"/>
                    <a:gd name="connsiteX49" fmla="*/ 8389 w 10000"/>
                    <a:gd name="connsiteY49" fmla="*/ 7995 h 10000"/>
                    <a:gd name="connsiteX50" fmla="*/ 8389 w 10000"/>
                    <a:gd name="connsiteY50" fmla="*/ 7995 h 10000"/>
                    <a:gd name="connsiteX51" fmla="*/ 8667 w 10000"/>
                    <a:gd name="connsiteY51" fmla="*/ 7963 h 10000"/>
                    <a:gd name="connsiteX52" fmla="*/ 8778 w 10000"/>
                    <a:gd name="connsiteY52" fmla="*/ 7917 h 10000"/>
                    <a:gd name="connsiteX53" fmla="*/ 8889 w 10000"/>
                    <a:gd name="connsiteY53" fmla="*/ 7887 h 10000"/>
                    <a:gd name="connsiteX54" fmla="*/ 8833 w 10000"/>
                    <a:gd name="connsiteY54" fmla="*/ 7856 h 10000"/>
                    <a:gd name="connsiteX55" fmla="*/ 8833 w 10000"/>
                    <a:gd name="connsiteY55" fmla="*/ 7826 h 10000"/>
                    <a:gd name="connsiteX56" fmla="*/ 8722 w 10000"/>
                    <a:gd name="connsiteY56" fmla="*/ 7793 h 10000"/>
                    <a:gd name="connsiteX57" fmla="*/ 8556 w 10000"/>
                    <a:gd name="connsiteY57" fmla="*/ 7747 h 10000"/>
                    <a:gd name="connsiteX58" fmla="*/ 8556 w 10000"/>
                    <a:gd name="connsiteY58" fmla="*/ 7747 h 10000"/>
                    <a:gd name="connsiteX59" fmla="*/ 6556 w 10000"/>
                    <a:gd name="connsiteY59" fmla="*/ 7470 h 10000"/>
                    <a:gd name="connsiteX60" fmla="*/ 6556 w 10000"/>
                    <a:gd name="connsiteY60" fmla="*/ 7470 h 10000"/>
                    <a:gd name="connsiteX61" fmla="*/ 6333 w 10000"/>
                    <a:gd name="connsiteY61" fmla="*/ 7424 h 10000"/>
                    <a:gd name="connsiteX62" fmla="*/ 6167 w 10000"/>
                    <a:gd name="connsiteY62" fmla="*/ 7377 h 10000"/>
                    <a:gd name="connsiteX63" fmla="*/ 6056 w 10000"/>
                    <a:gd name="connsiteY63" fmla="*/ 7331 h 10000"/>
                    <a:gd name="connsiteX64" fmla="*/ 6056 w 10000"/>
                    <a:gd name="connsiteY64" fmla="*/ 7331 h 10000"/>
                    <a:gd name="connsiteX65" fmla="*/ 8056 w 10000"/>
                    <a:gd name="connsiteY65" fmla="*/ 7315 h 10000"/>
                    <a:gd name="connsiteX66" fmla="*/ 10000 w 10000"/>
                    <a:gd name="connsiteY66" fmla="*/ 7470 h 10000"/>
                    <a:gd name="connsiteX67" fmla="*/ 10000 w 10000"/>
                    <a:gd name="connsiteY67" fmla="*/ 6065 h 10000"/>
                    <a:gd name="connsiteX68" fmla="*/ 10000 w 10000"/>
                    <a:gd name="connsiteY68" fmla="*/ 6065 h 10000"/>
                    <a:gd name="connsiteX69" fmla="*/ 7778 w 10000"/>
                    <a:gd name="connsiteY69" fmla="*/ 5740 h 10000"/>
                    <a:gd name="connsiteX70" fmla="*/ 6556 w 10000"/>
                    <a:gd name="connsiteY70" fmla="*/ 5556 h 10000"/>
                    <a:gd name="connsiteX71" fmla="*/ 6556 w 10000"/>
                    <a:gd name="connsiteY71" fmla="*/ 5556 h 10000"/>
                    <a:gd name="connsiteX72" fmla="*/ 6556 w 10000"/>
                    <a:gd name="connsiteY72" fmla="*/ 5541 h 10000"/>
                    <a:gd name="connsiteX73" fmla="*/ 6556 w 10000"/>
                    <a:gd name="connsiteY73" fmla="*/ 5448 h 10000"/>
                    <a:gd name="connsiteX74" fmla="*/ 6556 w 10000"/>
                    <a:gd name="connsiteY74" fmla="*/ 5448 h 10000"/>
                    <a:gd name="connsiteX75" fmla="*/ 6389 w 10000"/>
                    <a:gd name="connsiteY75" fmla="*/ 5340 h 10000"/>
                    <a:gd name="connsiteX76" fmla="*/ 6056 w 10000"/>
                    <a:gd name="connsiteY76" fmla="*/ 5171 h 10000"/>
                    <a:gd name="connsiteX77" fmla="*/ 5333 w 10000"/>
                    <a:gd name="connsiteY77" fmla="*/ 4846 h 10000"/>
                    <a:gd name="connsiteX78" fmla="*/ 5333 w 10000"/>
                    <a:gd name="connsiteY78" fmla="*/ 4846 h 10000"/>
                    <a:gd name="connsiteX79" fmla="*/ 5167 w 10000"/>
                    <a:gd name="connsiteY79" fmla="*/ 4800 h 10000"/>
                    <a:gd name="connsiteX80" fmla="*/ 4889 w 10000"/>
                    <a:gd name="connsiteY80" fmla="*/ 4737 h 10000"/>
                    <a:gd name="connsiteX81" fmla="*/ 4056 w 10000"/>
                    <a:gd name="connsiteY81" fmla="*/ 4599 h 10000"/>
                    <a:gd name="connsiteX82" fmla="*/ 2889 w 10000"/>
                    <a:gd name="connsiteY82" fmla="*/ 4430 h 10000"/>
                    <a:gd name="connsiteX83" fmla="*/ 2889 w 10000"/>
                    <a:gd name="connsiteY83" fmla="*/ 4430 h 10000"/>
                    <a:gd name="connsiteX84" fmla="*/ 2389 w 10000"/>
                    <a:gd name="connsiteY84" fmla="*/ 4413 h 10000"/>
                    <a:gd name="connsiteX85" fmla="*/ 2000 w 10000"/>
                    <a:gd name="connsiteY85" fmla="*/ 4397 h 10000"/>
                    <a:gd name="connsiteX86" fmla="*/ 1889 w 10000"/>
                    <a:gd name="connsiteY86" fmla="*/ 4382 h 10000"/>
                    <a:gd name="connsiteX87" fmla="*/ 1778 w 10000"/>
                    <a:gd name="connsiteY87" fmla="*/ 4367 h 10000"/>
                    <a:gd name="connsiteX88" fmla="*/ 1778 w 10000"/>
                    <a:gd name="connsiteY88" fmla="*/ 4367 h 10000"/>
                    <a:gd name="connsiteX89" fmla="*/ 1667 w 10000"/>
                    <a:gd name="connsiteY89" fmla="*/ 4305 h 10000"/>
                    <a:gd name="connsiteX90" fmla="*/ 1500 w 10000"/>
                    <a:gd name="connsiteY90" fmla="*/ 4198 h 10000"/>
                    <a:gd name="connsiteX91" fmla="*/ 1444 w 10000"/>
                    <a:gd name="connsiteY91" fmla="*/ 4136 h 10000"/>
                    <a:gd name="connsiteX92" fmla="*/ 1444 w 10000"/>
                    <a:gd name="connsiteY92" fmla="*/ 4073 h 10000"/>
                    <a:gd name="connsiteX93" fmla="*/ 1444 w 10000"/>
                    <a:gd name="connsiteY93" fmla="*/ 4028 h 10000"/>
                    <a:gd name="connsiteX94" fmla="*/ 1556 w 10000"/>
                    <a:gd name="connsiteY94" fmla="*/ 3981 h 10000"/>
                    <a:gd name="connsiteX95" fmla="*/ 1556 w 10000"/>
                    <a:gd name="connsiteY95" fmla="*/ 3981 h 10000"/>
                    <a:gd name="connsiteX96" fmla="*/ 1833 w 10000"/>
                    <a:gd name="connsiteY96" fmla="*/ 3904 h 10000"/>
                    <a:gd name="connsiteX97" fmla="*/ 2111 w 10000"/>
                    <a:gd name="connsiteY97" fmla="*/ 3828 h 10000"/>
                    <a:gd name="connsiteX98" fmla="*/ 2278 w 10000"/>
                    <a:gd name="connsiteY98" fmla="*/ 3782 h 10000"/>
                    <a:gd name="connsiteX99" fmla="*/ 2389 w 10000"/>
                    <a:gd name="connsiteY99" fmla="*/ 3734 h 10000"/>
                    <a:gd name="connsiteX100" fmla="*/ 2389 w 10000"/>
                    <a:gd name="connsiteY100" fmla="*/ 3672 h 10000"/>
                    <a:gd name="connsiteX101" fmla="*/ 2389 w 10000"/>
                    <a:gd name="connsiteY101" fmla="*/ 3596 h 10000"/>
                    <a:gd name="connsiteX102" fmla="*/ 2389 w 10000"/>
                    <a:gd name="connsiteY102" fmla="*/ 3596 h 10000"/>
                    <a:gd name="connsiteX103" fmla="*/ 2167 w 10000"/>
                    <a:gd name="connsiteY103" fmla="*/ 3379 h 10000"/>
                    <a:gd name="connsiteX104" fmla="*/ 1889 w 10000"/>
                    <a:gd name="connsiteY104" fmla="*/ 3087 h 10000"/>
                    <a:gd name="connsiteX105" fmla="*/ 1667 w 10000"/>
                    <a:gd name="connsiteY105" fmla="*/ 2824 h 10000"/>
                    <a:gd name="connsiteX106" fmla="*/ 1611 w 10000"/>
                    <a:gd name="connsiteY106" fmla="*/ 2747 h 10000"/>
                    <a:gd name="connsiteX107" fmla="*/ 1611 w 10000"/>
                    <a:gd name="connsiteY107" fmla="*/ 2716 h 10000"/>
                    <a:gd name="connsiteX108" fmla="*/ 1667 w 10000"/>
                    <a:gd name="connsiteY108" fmla="*/ 2700 h 10000"/>
                    <a:gd name="connsiteX109" fmla="*/ 1667 w 10000"/>
                    <a:gd name="connsiteY109" fmla="*/ 2700 h 10000"/>
                    <a:gd name="connsiteX110" fmla="*/ 2000 w 10000"/>
                    <a:gd name="connsiteY110" fmla="*/ 2686 h 10000"/>
                    <a:gd name="connsiteX111" fmla="*/ 2222 w 10000"/>
                    <a:gd name="connsiteY111" fmla="*/ 2686 h 10000"/>
                    <a:gd name="connsiteX112" fmla="*/ 2389 w 10000"/>
                    <a:gd name="connsiteY112" fmla="*/ 2700 h 10000"/>
                    <a:gd name="connsiteX113" fmla="*/ 2389 w 10000"/>
                    <a:gd name="connsiteY113" fmla="*/ 2700 h 10000"/>
                    <a:gd name="connsiteX114" fmla="*/ 2444 w 10000"/>
                    <a:gd name="connsiteY114" fmla="*/ 2700 h 10000"/>
                    <a:gd name="connsiteX115" fmla="*/ 2500 w 10000"/>
                    <a:gd name="connsiteY115" fmla="*/ 2670 h 10000"/>
                    <a:gd name="connsiteX116" fmla="*/ 2778 w 10000"/>
                    <a:gd name="connsiteY116" fmla="*/ 2577 h 10000"/>
                    <a:gd name="connsiteX117" fmla="*/ 3500 w 10000"/>
                    <a:gd name="connsiteY117" fmla="*/ 2269 h 10000"/>
                    <a:gd name="connsiteX118" fmla="*/ 4444 w 10000"/>
                    <a:gd name="connsiteY118" fmla="*/ 1822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759 h 10000"/>
                    <a:gd name="connsiteX121" fmla="*/ 4444 w 10000"/>
                    <a:gd name="connsiteY121" fmla="*/ 1619 h 10000"/>
                    <a:gd name="connsiteX122" fmla="*/ 4500 w 10000"/>
                    <a:gd name="connsiteY122" fmla="*/ 1528 h 10000"/>
                    <a:gd name="connsiteX123" fmla="*/ 4611 w 10000"/>
                    <a:gd name="connsiteY123" fmla="*/ 1450 h 10000"/>
                    <a:gd name="connsiteX124" fmla="*/ 4778 w 10000"/>
                    <a:gd name="connsiteY124" fmla="*/ 1358 h 10000"/>
                    <a:gd name="connsiteX125" fmla="*/ 5000 w 10000"/>
                    <a:gd name="connsiteY125" fmla="*/ 1281 h 10000"/>
                    <a:gd name="connsiteX126" fmla="*/ 5000 w 10000"/>
                    <a:gd name="connsiteY126" fmla="*/ 1281 h 10000"/>
                    <a:gd name="connsiteX127" fmla="*/ 5556 w 10000"/>
                    <a:gd name="connsiteY127" fmla="*/ 1127 h 10000"/>
                    <a:gd name="connsiteX128" fmla="*/ 6111 w 10000"/>
                    <a:gd name="connsiteY128" fmla="*/ 926 h 10000"/>
                    <a:gd name="connsiteX129" fmla="*/ 6667 w 10000"/>
                    <a:gd name="connsiteY129" fmla="*/ 740 h 10000"/>
                    <a:gd name="connsiteX130" fmla="*/ 7056 w 10000"/>
                    <a:gd name="connsiteY130" fmla="*/ 572 h 10000"/>
                    <a:gd name="connsiteX131" fmla="*/ 7056 w 10000"/>
                    <a:gd name="connsiteY131" fmla="*/ 572 h 10000"/>
                    <a:gd name="connsiteX132" fmla="*/ 7333 w 10000"/>
                    <a:gd name="connsiteY132" fmla="*/ 417 h 10000"/>
                    <a:gd name="connsiteX133" fmla="*/ 7667 w 10000"/>
                    <a:gd name="connsiteY133" fmla="*/ 232 h 10000"/>
                    <a:gd name="connsiteX134" fmla="*/ 8000 w 10000"/>
                    <a:gd name="connsiteY134" fmla="*/ 92 h 10000"/>
                    <a:gd name="connsiteX135" fmla="*/ 8167 w 10000"/>
                    <a:gd name="connsiteY135" fmla="*/ 29 h 10000"/>
                    <a:gd name="connsiteX136" fmla="*/ 8333 w 10000"/>
                    <a:gd name="connsiteY136" fmla="*/ 15 h 10000"/>
                    <a:gd name="connsiteX137" fmla="*/ 8333 w 10000"/>
                    <a:gd name="connsiteY137" fmla="*/ 15 h 10000"/>
                    <a:gd name="connsiteX138" fmla="*/ 8667 w 10000"/>
                    <a:gd name="connsiteY138" fmla="*/ 0 h 10000"/>
                    <a:gd name="connsiteX139" fmla="*/ 9111 w 10000"/>
                    <a:gd name="connsiteY139" fmla="*/ 0 h 10000"/>
                    <a:gd name="connsiteX140" fmla="*/ 10000 w 10000"/>
                    <a:gd name="connsiteY140" fmla="*/ 15 h 10000"/>
                    <a:gd name="connsiteX141" fmla="*/ 10000 w 10000"/>
                    <a:gd name="connsiteY141" fmla="*/ 9446 h 10000"/>
                    <a:gd name="connsiteX142" fmla="*/ 10000 w 10000"/>
                    <a:gd name="connsiteY142" fmla="*/ 9446 h 10000"/>
                    <a:gd name="connsiteX143" fmla="*/ 9722 w 10000"/>
                    <a:gd name="connsiteY143" fmla="*/ 9430 h 10000"/>
                    <a:gd name="connsiteX144" fmla="*/ 9389 w 10000"/>
                    <a:gd name="connsiteY144" fmla="*/ 9446 h 10000"/>
                    <a:gd name="connsiteX145" fmla="*/ 9389 w 10000"/>
                    <a:gd name="connsiteY145" fmla="*/ 9446 h 10000"/>
                    <a:gd name="connsiteX146" fmla="*/ 9278 w 10000"/>
                    <a:gd name="connsiteY146" fmla="*/ 9461 h 10000"/>
                    <a:gd name="connsiteX147" fmla="*/ 9056 w 10000"/>
                    <a:gd name="connsiteY147" fmla="*/ 9446 h 10000"/>
                    <a:gd name="connsiteX148" fmla="*/ 8722 w 10000"/>
                    <a:gd name="connsiteY148" fmla="*/ 9399 h 10000"/>
                    <a:gd name="connsiteX149" fmla="*/ 8444 w 10000"/>
                    <a:gd name="connsiteY149" fmla="*/ 9276 h 10000"/>
                    <a:gd name="connsiteX150" fmla="*/ 8444 w 10000"/>
                    <a:gd name="connsiteY150" fmla="*/ 9276 h 10000"/>
                    <a:gd name="connsiteX151" fmla="*/ 8111 w 10000"/>
                    <a:gd name="connsiteY151" fmla="*/ 9075 h 10000"/>
                    <a:gd name="connsiteX152" fmla="*/ 7778 w 10000"/>
                    <a:gd name="connsiteY152" fmla="*/ 8997 h 10000"/>
                    <a:gd name="connsiteX153" fmla="*/ 7556 w 10000"/>
                    <a:gd name="connsiteY153" fmla="*/ 8981 h 10000"/>
                    <a:gd name="connsiteX154" fmla="*/ 7000 w 10000"/>
                    <a:gd name="connsiteY154" fmla="*/ 8950 h 10000"/>
                    <a:gd name="connsiteX155" fmla="*/ 6556 w 10000"/>
                    <a:gd name="connsiteY155" fmla="*/ 8967 h 10000"/>
                    <a:gd name="connsiteX156" fmla="*/ 6222 w 10000"/>
                    <a:gd name="connsiteY156" fmla="*/ 8967 h 10000"/>
                    <a:gd name="connsiteX157" fmla="*/ 6111 w 10000"/>
                    <a:gd name="connsiteY157" fmla="*/ 8950 h 10000"/>
                    <a:gd name="connsiteX158" fmla="*/ 6056 w 10000"/>
                    <a:gd name="connsiteY158" fmla="*/ 8659 h 10000"/>
                    <a:gd name="connsiteX159" fmla="*/ 6056 w 10000"/>
                    <a:gd name="connsiteY159" fmla="*/ 8597 h 10000"/>
                    <a:gd name="connsiteX160" fmla="*/ 5944 w 10000"/>
                    <a:gd name="connsiteY160" fmla="*/ 8520 h 10000"/>
                    <a:gd name="connsiteX161" fmla="*/ 5889 w 10000"/>
                    <a:gd name="connsiteY161" fmla="*/ 8505 h 10000"/>
                    <a:gd name="connsiteX162" fmla="*/ 5667 w 10000"/>
                    <a:gd name="connsiteY162" fmla="*/ 8488 h 10000"/>
                    <a:gd name="connsiteX163" fmla="*/ 4889 w 10000"/>
                    <a:gd name="connsiteY163" fmla="*/ 8612 h 10000"/>
                    <a:gd name="connsiteX164" fmla="*/ 4611 w 10000"/>
                    <a:gd name="connsiteY164" fmla="*/ 8641 h 10000"/>
                    <a:gd name="connsiteX165" fmla="*/ 4500 w 10000"/>
                    <a:gd name="connsiteY165" fmla="*/ 8641 h 10000"/>
                    <a:gd name="connsiteX166" fmla="*/ 4222 w 10000"/>
                    <a:gd name="connsiteY166" fmla="*/ 8488 h 10000"/>
                    <a:gd name="connsiteX167" fmla="*/ 4222 w 10000"/>
                    <a:gd name="connsiteY167" fmla="*/ 8488 h 10000"/>
                    <a:gd name="connsiteX168" fmla="*/ 4111 w 10000"/>
                    <a:gd name="connsiteY168" fmla="*/ 8411 h 10000"/>
                    <a:gd name="connsiteX169" fmla="*/ 4111 w 10000"/>
                    <a:gd name="connsiteY169" fmla="*/ 8318 h 10000"/>
                    <a:gd name="connsiteX170" fmla="*/ 4111 w 10000"/>
                    <a:gd name="connsiteY170" fmla="*/ 8318 h 10000"/>
                    <a:gd name="connsiteX171" fmla="*/ 4278 w 10000"/>
                    <a:gd name="connsiteY171" fmla="*/ 8271 h 10000"/>
                    <a:gd name="connsiteX172" fmla="*/ 4389 w 10000"/>
                    <a:gd name="connsiteY172" fmla="*/ 8256 h 10000"/>
                    <a:gd name="connsiteX173" fmla="*/ 4389 w 10000"/>
                    <a:gd name="connsiteY173" fmla="*/ 8256 h 10000"/>
                    <a:gd name="connsiteX174" fmla="*/ 4000 w 10000"/>
                    <a:gd name="connsiteY174" fmla="*/ 8256 h 10000"/>
                    <a:gd name="connsiteX175" fmla="*/ 3722 w 10000"/>
                    <a:gd name="connsiteY175" fmla="*/ 8271 h 10000"/>
                    <a:gd name="connsiteX176" fmla="*/ 3611 w 10000"/>
                    <a:gd name="connsiteY176" fmla="*/ 8287 h 10000"/>
                    <a:gd name="connsiteX177" fmla="*/ 3556 w 10000"/>
                    <a:gd name="connsiteY177" fmla="*/ 8303 h 10000"/>
                    <a:gd name="connsiteX178" fmla="*/ 3556 w 10000"/>
                    <a:gd name="connsiteY178" fmla="*/ 8303 h 10000"/>
                    <a:gd name="connsiteX179" fmla="*/ 3444 w 10000"/>
                    <a:gd name="connsiteY179" fmla="*/ 8364 h 10000"/>
                    <a:gd name="connsiteX180" fmla="*/ 3278 w 10000"/>
                    <a:gd name="connsiteY180" fmla="*/ 8457 h 10000"/>
                    <a:gd name="connsiteX181" fmla="*/ 3000 w 10000"/>
                    <a:gd name="connsiteY181" fmla="*/ 8566 h 10000"/>
                    <a:gd name="connsiteX182" fmla="*/ 2667 w 10000"/>
                    <a:gd name="connsiteY182" fmla="*/ 8641 h 10000"/>
                    <a:gd name="connsiteX183" fmla="*/ 2667 w 10000"/>
                    <a:gd name="connsiteY183" fmla="*/ 8641 h 10000"/>
                    <a:gd name="connsiteX184" fmla="*/ 2333 w 10000"/>
                    <a:gd name="connsiteY184" fmla="*/ 8704 h 10000"/>
                    <a:gd name="connsiteX185" fmla="*/ 1833 w 10000"/>
                    <a:gd name="connsiteY185" fmla="*/ 8766 h 10000"/>
                    <a:gd name="connsiteX186" fmla="*/ 1389 w 10000"/>
                    <a:gd name="connsiteY186" fmla="*/ 8797 h 10000"/>
                    <a:gd name="connsiteX187" fmla="*/ 889 w 10000"/>
                    <a:gd name="connsiteY187" fmla="*/ 8812 h 10000"/>
                    <a:gd name="connsiteX188" fmla="*/ 889 w 10000"/>
                    <a:gd name="connsiteY188" fmla="*/ 8812 h 10000"/>
                    <a:gd name="connsiteX189" fmla="*/ 500 w 10000"/>
                    <a:gd name="connsiteY189" fmla="*/ 8828 h 10000"/>
                    <a:gd name="connsiteX190" fmla="*/ 222 w 10000"/>
                    <a:gd name="connsiteY190" fmla="*/ 8844 h 10000"/>
                    <a:gd name="connsiteX191" fmla="*/ 0 w 10000"/>
                    <a:gd name="connsiteY191" fmla="*/ 8859 h 10000"/>
                    <a:gd name="connsiteX192" fmla="*/ 0 w 10000"/>
                    <a:gd name="connsiteY192" fmla="*/ 8859 h 10000"/>
                    <a:gd name="connsiteX193" fmla="*/ 278 w 10000"/>
                    <a:gd name="connsiteY193" fmla="*/ 9105 h 10000"/>
                    <a:gd name="connsiteX194" fmla="*/ 500 w 10000"/>
                    <a:gd name="connsiteY194" fmla="*/ 9291 h 10000"/>
                    <a:gd name="connsiteX195" fmla="*/ 722 w 10000"/>
                    <a:gd name="connsiteY195" fmla="*/ 9446 h 10000"/>
                    <a:gd name="connsiteX196" fmla="*/ 722 w 10000"/>
                    <a:gd name="connsiteY196" fmla="*/ 9446 h 10000"/>
                    <a:gd name="connsiteX197" fmla="*/ 889 w 10000"/>
                    <a:gd name="connsiteY197" fmla="*/ 9538 h 10000"/>
                    <a:gd name="connsiteX198" fmla="*/ 944 w 10000"/>
                    <a:gd name="connsiteY198" fmla="*/ 9615 h 10000"/>
                    <a:gd name="connsiteX199" fmla="*/ 1111 w 10000"/>
                    <a:gd name="connsiteY199" fmla="*/ 9692 h 10000"/>
                    <a:gd name="connsiteX200" fmla="*/ 1333 w 10000"/>
                    <a:gd name="connsiteY200" fmla="*/ 9816 h 10000"/>
                    <a:gd name="connsiteX201" fmla="*/ 1333 w 10000"/>
                    <a:gd name="connsiteY201" fmla="*/ 9816 h 10000"/>
                    <a:gd name="connsiteX202" fmla="*/ 1444 w 10000"/>
                    <a:gd name="connsiteY202" fmla="*/ 9879 h 10000"/>
                    <a:gd name="connsiteX203" fmla="*/ 1500 w 10000"/>
                    <a:gd name="connsiteY203" fmla="*/ 9924 h 10000"/>
                    <a:gd name="connsiteX204" fmla="*/ 1500 w 10000"/>
                    <a:gd name="connsiteY204" fmla="*/ 9971 h 10000"/>
                    <a:gd name="connsiteX205" fmla="*/ 1556 w 10000"/>
                    <a:gd name="connsiteY205" fmla="*/ 9986 h 10000"/>
                    <a:gd name="connsiteX206" fmla="*/ 1722 w 10000"/>
                    <a:gd name="connsiteY206" fmla="*/ 10000 h 10000"/>
                    <a:gd name="connsiteX207" fmla="*/ 10000 w 10000"/>
                    <a:gd name="connsiteY207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4667 w 10000"/>
                    <a:gd name="connsiteY44" fmla="*/ 8211 h 10000"/>
                    <a:gd name="connsiteX45" fmla="*/ 5333 w 10000"/>
                    <a:gd name="connsiteY45" fmla="*/ 8180 h 10000"/>
                    <a:gd name="connsiteX46" fmla="*/ 6500 w 10000"/>
                    <a:gd name="connsiteY46" fmla="*/ 8134 h 10000"/>
                    <a:gd name="connsiteX47" fmla="*/ 6500 w 10000"/>
                    <a:gd name="connsiteY47" fmla="*/ 8134 h 10000"/>
                    <a:gd name="connsiteX48" fmla="*/ 7167 w 10000"/>
                    <a:gd name="connsiteY48" fmla="*/ 8087 h 10000"/>
                    <a:gd name="connsiteX49" fmla="*/ 8389 w 10000"/>
                    <a:gd name="connsiteY49" fmla="*/ 7995 h 10000"/>
                    <a:gd name="connsiteX50" fmla="*/ 8389 w 10000"/>
                    <a:gd name="connsiteY50" fmla="*/ 7995 h 10000"/>
                    <a:gd name="connsiteX51" fmla="*/ 8667 w 10000"/>
                    <a:gd name="connsiteY51" fmla="*/ 7963 h 10000"/>
                    <a:gd name="connsiteX52" fmla="*/ 8778 w 10000"/>
                    <a:gd name="connsiteY52" fmla="*/ 7917 h 10000"/>
                    <a:gd name="connsiteX53" fmla="*/ 8889 w 10000"/>
                    <a:gd name="connsiteY53" fmla="*/ 7887 h 10000"/>
                    <a:gd name="connsiteX54" fmla="*/ 8833 w 10000"/>
                    <a:gd name="connsiteY54" fmla="*/ 7856 h 10000"/>
                    <a:gd name="connsiteX55" fmla="*/ 8833 w 10000"/>
                    <a:gd name="connsiteY55" fmla="*/ 7826 h 10000"/>
                    <a:gd name="connsiteX56" fmla="*/ 8722 w 10000"/>
                    <a:gd name="connsiteY56" fmla="*/ 7793 h 10000"/>
                    <a:gd name="connsiteX57" fmla="*/ 8556 w 10000"/>
                    <a:gd name="connsiteY57" fmla="*/ 7747 h 10000"/>
                    <a:gd name="connsiteX58" fmla="*/ 8556 w 10000"/>
                    <a:gd name="connsiteY58" fmla="*/ 7747 h 10000"/>
                    <a:gd name="connsiteX59" fmla="*/ 6556 w 10000"/>
                    <a:gd name="connsiteY59" fmla="*/ 7470 h 10000"/>
                    <a:gd name="connsiteX60" fmla="*/ 6556 w 10000"/>
                    <a:gd name="connsiteY60" fmla="*/ 7470 h 10000"/>
                    <a:gd name="connsiteX61" fmla="*/ 6333 w 10000"/>
                    <a:gd name="connsiteY61" fmla="*/ 7424 h 10000"/>
                    <a:gd name="connsiteX62" fmla="*/ 6167 w 10000"/>
                    <a:gd name="connsiteY62" fmla="*/ 7377 h 10000"/>
                    <a:gd name="connsiteX63" fmla="*/ 6056 w 10000"/>
                    <a:gd name="connsiteY63" fmla="*/ 7331 h 10000"/>
                    <a:gd name="connsiteX64" fmla="*/ 6056 w 10000"/>
                    <a:gd name="connsiteY64" fmla="*/ 7331 h 10000"/>
                    <a:gd name="connsiteX65" fmla="*/ 8056 w 10000"/>
                    <a:gd name="connsiteY65" fmla="*/ 7315 h 10000"/>
                    <a:gd name="connsiteX66" fmla="*/ 10000 w 10000"/>
                    <a:gd name="connsiteY66" fmla="*/ 7470 h 10000"/>
                    <a:gd name="connsiteX67" fmla="*/ 10000 w 10000"/>
                    <a:gd name="connsiteY67" fmla="*/ 6065 h 10000"/>
                    <a:gd name="connsiteX68" fmla="*/ 10000 w 10000"/>
                    <a:gd name="connsiteY68" fmla="*/ 6065 h 10000"/>
                    <a:gd name="connsiteX69" fmla="*/ 7778 w 10000"/>
                    <a:gd name="connsiteY69" fmla="*/ 5740 h 10000"/>
                    <a:gd name="connsiteX70" fmla="*/ 6556 w 10000"/>
                    <a:gd name="connsiteY70" fmla="*/ 5556 h 10000"/>
                    <a:gd name="connsiteX71" fmla="*/ 6556 w 10000"/>
                    <a:gd name="connsiteY71" fmla="*/ 5556 h 10000"/>
                    <a:gd name="connsiteX72" fmla="*/ 6556 w 10000"/>
                    <a:gd name="connsiteY72" fmla="*/ 5541 h 10000"/>
                    <a:gd name="connsiteX73" fmla="*/ 6556 w 10000"/>
                    <a:gd name="connsiteY73" fmla="*/ 5448 h 10000"/>
                    <a:gd name="connsiteX74" fmla="*/ 6556 w 10000"/>
                    <a:gd name="connsiteY74" fmla="*/ 5448 h 10000"/>
                    <a:gd name="connsiteX75" fmla="*/ 6389 w 10000"/>
                    <a:gd name="connsiteY75" fmla="*/ 5340 h 10000"/>
                    <a:gd name="connsiteX76" fmla="*/ 6056 w 10000"/>
                    <a:gd name="connsiteY76" fmla="*/ 5171 h 10000"/>
                    <a:gd name="connsiteX77" fmla="*/ 5333 w 10000"/>
                    <a:gd name="connsiteY77" fmla="*/ 4846 h 10000"/>
                    <a:gd name="connsiteX78" fmla="*/ 5333 w 10000"/>
                    <a:gd name="connsiteY78" fmla="*/ 4846 h 10000"/>
                    <a:gd name="connsiteX79" fmla="*/ 5167 w 10000"/>
                    <a:gd name="connsiteY79" fmla="*/ 4800 h 10000"/>
                    <a:gd name="connsiteX80" fmla="*/ 4889 w 10000"/>
                    <a:gd name="connsiteY80" fmla="*/ 4737 h 10000"/>
                    <a:gd name="connsiteX81" fmla="*/ 4056 w 10000"/>
                    <a:gd name="connsiteY81" fmla="*/ 4599 h 10000"/>
                    <a:gd name="connsiteX82" fmla="*/ 2889 w 10000"/>
                    <a:gd name="connsiteY82" fmla="*/ 4430 h 10000"/>
                    <a:gd name="connsiteX83" fmla="*/ 2889 w 10000"/>
                    <a:gd name="connsiteY83" fmla="*/ 4430 h 10000"/>
                    <a:gd name="connsiteX84" fmla="*/ 2389 w 10000"/>
                    <a:gd name="connsiteY84" fmla="*/ 4413 h 10000"/>
                    <a:gd name="connsiteX85" fmla="*/ 2000 w 10000"/>
                    <a:gd name="connsiteY85" fmla="*/ 4397 h 10000"/>
                    <a:gd name="connsiteX86" fmla="*/ 1889 w 10000"/>
                    <a:gd name="connsiteY86" fmla="*/ 4382 h 10000"/>
                    <a:gd name="connsiteX87" fmla="*/ 1778 w 10000"/>
                    <a:gd name="connsiteY87" fmla="*/ 4367 h 10000"/>
                    <a:gd name="connsiteX88" fmla="*/ 1778 w 10000"/>
                    <a:gd name="connsiteY88" fmla="*/ 4367 h 10000"/>
                    <a:gd name="connsiteX89" fmla="*/ 1667 w 10000"/>
                    <a:gd name="connsiteY89" fmla="*/ 4305 h 10000"/>
                    <a:gd name="connsiteX90" fmla="*/ 1500 w 10000"/>
                    <a:gd name="connsiteY90" fmla="*/ 4198 h 10000"/>
                    <a:gd name="connsiteX91" fmla="*/ 1444 w 10000"/>
                    <a:gd name="connsiteY91" fmla="*/ 4136 h 10000"/>
                    <a:gd name="connsiteX92" fmla="*/ 1444 w 10000"/>
                    <a:gd name="connsiteY92" fmla="*/ 4073 h 10000"/>
                    <a:gd name="connsiteX93" fmla="*/ 1444 w 10000"/>
                    <a:gd name="connsiteY93" fmla="*/ 4028 h 10000"/>
                    <a:gd name="connsiteX94" fmla="*/ 1556 w 10000"/>
                    <a:gd name="connsiteY94" fmla="*/ 3981 h 10000"/>
                    <a:gd name="connsiteX95" fmla="*/ 1556 w 10000"/>
                    <a:gd name="connsiteY95" fmla="*/ 3981 h 10000"/>
                    <a:gd name="connsiteX96" fmla="*/ 1833 w 10000"/>
                    <a:gd name="connsiteY96" fmla="*/ 3904 h 10000"/>
                    <a:gd name="connsiteX97" fmla="*/ 2111 w 10000"/>
                    <a:gd name="connsiteY97" fmla="*/ 3828 h 10000"/>
                    <a:gd name="connsiteX98" fmla="*/ 2278 w 10000"/>
                    <a:gd name="connsiteY98" fmla="*/ 3782 h 10000"/>
                    <a:gd name="connsiteX99" fmla="*/ 2389 w 10000"/>
                    <a:gd name="connsiteY99" fmla="*/ 3734 h 10000"/>
                    <a:gd name="connsiteX100" fmla="*/ 2389 w 10000"/>
                    <a:gd name="connsiteY100" fmla="*/ 3672 h 10000"/>
                    <a:gd name="connsiteX101" fmla="*/ 2389 w 10000"/>
                    <a:gd name="connsiteY101" fmla="*/ 3596 h 10000"/>
                    <a:gd name="connsiteX102" fmla="*/ 2389 w 10000"/>
                    <a:gd name="connsiteY102" fmla="*/ 3596 h 10000"/>
                    <a:gd name="connsiteX103" fmla="*/ 2167 w 10000"/>
                    <a:gd name="connsiteY103" fmla="*/ 3379 h 10000"/>
                    <a:gd name="connsiteX104" fmla="*/ 1889 w 10000"/>
                    <a:gd name="connsiteY104" fmla="*/ 3087 h 10000"/>
                    <a:gd name="connsiteX105" fmla="*/ 1667 w 10000"/>
                    <a:gd name="connsiteY105" fmla="*/ 2824 h 10000"/>
                    <a:gd name="connsiteX106" fmla="*/ 1611 w 10000"/>
                    <a:gd name="connsiteY106" fmla="*/ 2747 h 10000"/>
                    <a:gd name="connsiteX107" fmla="*/ 1611 w 10000"/>
                    <a:gd name="connsiteY107" fmla="*/ 2716 h 10000"/>
                    <a:gd name="connsiteX108" fmla="*/ 1667 w 10000"/>
                    <a:gd name="connsiteY108" fmla="*/ 2700 h 10000"/>
                    <a:gd name="connsiteX109" fmla="*/ 1667 w 10000"/>
                    <a:gd name="connsiteY109" fmla="*/ 2700 h 10000"/>
                    <a:gd name="connsiteX110" fmla="*/ 2000 w 10000"/>
                    <a:gd name="connsiteY110" fmla="*/ 2686 h 10000"/>
                    <a:gd name="connsiteX111" fmla="*/ 2222 w 10000"/>
                    <a:gd name="connsiteY111" fmla="*/ 2686 h 10000"/>
                    <a:gd name="connsiteX112" fmla="*/ 2389 w 10000"/>
                    <a:gd name="connsiteY112" fmla="*/ 2700 h 10000"/>
                    <a:gd name="connsiteX113" fmla="*/ 2389 w 10000"/>
                    <a:gd name="connsiteY113" fmla="*/ 2700 h 10000"/>
                    <a:gd name="connsiteX114" fmla="*/ 2444 w 10000"/>
                    <a:gd name="connsiteY114" fmla="*/ 2700 h 10000"/>
                    <a:gd name="connsiteX115" fmla="*/ 2500 w 10000"/>
                    <a:gd name="connsiteY115" fmla="*/ 2670 h 10000"/>
                    <a:gd name="connsiteX116" fmla="*/ 2778 w 10000"/>
                    <a:gd name="connsiteY116" fmla="*/ 2577 h 10000"/>
                    <a:gd name="connsiteX117" fmla="*/ 3500 w 10000"/>
                    <a:gd name="connsiteY117" fmla="*/ 2269 h 10000"/>
                    <a:gd name="connsiteX118" fmla="*/ 4444 w 10000"/>
                    <a:gd name="connsiteY118" fmla="*/ 1822 h 10000"/>
                    <a:gd name="connsiteX119" fmla="*/ 4444 w 10000"/>
                    <a:gd name="connsiteY119" fmla="*/ 1822 h 10000"/>
                    <a:gd name="connsiteX120" fmla="*/ 4444 w 10000"/>
                    <a:gd name="connsiteY120" fmla="*/ 1759 h 10000"/>
                    <a:gd name="connsiteX121" fmla="*/ 4444 w 10000"/>
                    <a:gd name="connsiteY121" fmla="*/ 1619 h 10000"/>
                    <a:gd name="connsiteX122" fmla="*/ 4500 w 10000"/>
                    <a:gd name="connsiteY122" fmla="*/ 1528 h 10000"/>
                    <a:gd name="connsiteX123" fmla="*/ 4611 w 10000"/>
                    <a:gd name="connsiteY123" fmla="*/ 1450 h 10000"/>
                    <a:gd name="connsiteX124" fmla="*/ 4778 w 10000"/>
                    <a:gd name="connsiteY124" fmla="*/ 1358 h 10000"/>
                    <a:gd name="connsiteX125" fmla="*/ 5000 w 10000"/>
                    <a:gd name="connsiteY125" fmla="*/ 1281 h 10000"/>
                    <a:gd name="connsiteX126" fmla="*/ 5000 w 10000"/>
                    <a:gd name="connsiteY126" fmla="*/ 1281 h 10000"/>
                    <a:gd name="connsiteX127" fmla="*/ 5556 w 10000"/>
                    <a:gd name="connsiteY127" fmla="*/ 1127 h 10000"/>
                    <a:gd name="connsiteX128" fmla="*/ 6111 w 10000"/>
                    <a:gd name="connsiteY128" fmla="*/ 926 h 10000"/>
                    <a:gd name="connsiteX129" fmla="*/ 6667 w 10000"/>
                    <a:gd name="connsiteY129" fmla="*/ 740 h 10000"/>
                    <a:gd name="connsiteX130" fmla="*/ 7056 w 10000"/>
                    <a:gd name="connsiteY130" fmla="*/ 572 h 10000"/>
                    <a:gd name="connsiteX131" fmla="*/ 7056 w 10000"/>
                    <a:gd name="connsiteY131" fmla="*/ 572 h 10000"/>
                    <a:gd name="connsiteX132" fmla="*/ 7333 w 10000"/>
                    <a:gd name="connsiteY132" fmla="*/ 417 h 10000"/>
                    <a:gd name="connsiteX133" fmla="*/ 7667 w 10000"/>
                    <a:gd name="connsiteY133" fmla="*/ 232 h 10000"/>
                    <a:gd name="connsiteX134" fmla="*/ 8000 w 10000"/>
                    <a:gd name="connsiteY134" fmla="*/ 92 h 10000"/>
                    <a:gd name="connsiteX135" fmla="*/ 8167 w 10000"/>
                    <a:gd name="connsiteY135" fmla="*/ 29 h 10000"/>
                    <a:gd name="connsiteX136" fmla="*/ 8333 w 10000"/>
                    <a:gd name="connsiteY136" fmla="*/ 15 h 10000"/>
                    <a:gd name="connsiteX137" fmla="*/ 8333 w 10000"/>
                    <a:gd name="connsiteY137" fmla="*/ 15 h 10000"/>
                    <a:gd name="connsiteX138" fmla="*/ 8667 w 10000"/>
                    <a:gd name="connsiteY138" fmla="*/ 0 h 10000"/>
                    <a:gd name="connsiteX139" fmla="*/ 9111 w 10000"/>
                    <a:gd name="connsiteY139" fmla="*/ 0 h 10000"/>
                    <a:gd name="connsiteX140" fmla="*/ 10000 w 10000"/>
                    <a:gd name="connsiteY140" fmla="*/ 15 h 10000"/>
                    <a:gd name="connsiteX141" fmla="*/ 10000 w 10000"/>
                    <a:gd name="connsiteY141" fmla="*/ 9446 h 10000"/>
                    <a:gd name="connsiteX142" fmla="*/ 10000 w 10000"/>
                    <a:gd name="connsiteY142" fmla="*/ 9446 h 10000"/>
                    <a:gd name="connsiteX143" fmla="*/ 9722 w 10000"/>
                    <a:gd name="connsiteY143" fmla="*/ 9430 h 10000"/>
                    <a:gd name="connsiteX144" fmla="*/ 9389 w 10000"/>
                    <a:gd name="connsiteY144" fmla="*/ 9446 h 10000"/>
                    <a:gd name="connsiteX145" fmla="*/ 9389 w 10000"/>
                    <a:gd name="connsiteY145" fmla="*/ 9446 h 10000"/>
                    <a:gd name="connsiteX146" fmla="*/ 9278 w 10000"/>
                    <a:gd name="connsiteY146" fmla="*/ 9461 h 10000"/>
                    <a:gd name="connsiteX147" fmla="*/ 9056 w 10000"/>
                    <a:gd name="connsiteY147" fmla="*/ 9446 h 10000"/>
                    <a:gd name="connsiteX148" fmla="*/ 8722 w 10000"/>
                    <a:gd name="connsiteY148" fmla="*/ 9399 h 10000"/>
                    <a:gd name="connsiteX149" fmla="*/ 8444 w 10000"/>
                    <a:gd name="connsiteY149" fmla="*/ 9276 h 10000"/>
                    <a:gd name="connsiteX150" fmla="*/ 8444 w 10000"/>
                    <a:gd name="connsiteY150" fmla="*/ 9276 h 10000"/>
                    <a:gd name="connsiteX151" fmla="*/ 8111 w 10000"/>
                    <a:gd name="connsiteY151" fmla="*/ 9075 h 10000"/>
                    <a:gd name="connsiteX152" fmla="*/ 7778 w 10000"/>
                    <a:gd name="connsiteY152" fmla="*/ 8997 h 10000"/>
                    <a:gd name="connsiteX153" fmla="*/ 7556 w 10000"/>
                    <a:gd name="connsiteY153" fmla="*/ 8981 h 10000"/>
                    <a:gd name="connsiteX154" fmla="*/ 7000 w 10000"/>
                    <a:gd name="connsiteY154" fmla="*/ 8950 h 10000"/>
                    <a:gd name="connsiteX155" fmla="*/ 6556 w 10000"/>
                    <a:gd name="connsiteY155" fmla="*/ 8967 h 10000"/>
                    <a:gd name="connsiteX156" fmla="*/ 6222 w 10000"/>
                    <a:gd name="connsiteY156" fmla="*/ 8967 h 10000"/>
                    <a:gd name="connsiteX157" fmla="*/ 6111 w 10000"/>
                    <a:gd name="connsiteY157" fmla="*/ 8950 h 10000"/>
                    <a:gd name="connsiteX158" fmla="*/ 6056 w 10000"/>
                    <a:gd name="connsiteY158" fmla="*/ 8659 h 10000"/>
                    <a:gd name="connsiteX159" fmla="*/ 6056 w 10000"/>
                    <a:gd name="connsiteY159" fmla="*/ 8597 h 10000"/>
                    <a:gd name="connsiteX160" fmla="*/ 5944 w 10000"/>
                    <a:gd name="connsiteY160" fmla="*/ 8520 h 10000"/>
                    <a:gd name="connsiteX161" fmla="*/ 5889 w 10000"/>
                    <a:gd name="connsiteY161" fmla="*/ 8505 h 10000"/>
                    <a:gd name="connsiteX162" fmla="*/ 5667 w 10000"/>
                    <a:gd name="connsiteY162" fmla="*/ 8488 h 10000"/>
                    <a:gd name="connsiteX163" fmla="*/ 4889 w 10000"/>
                    <a:gd name="connsiteY163" fmla="*/ 8612 h 10000"/>
                    <a:gd name="connsiteX164" fmla="*/ 4611 w 10000"/>
                    <a:gd name="connsiteY164" fmla="*/ 8641 h 10000"/>
                    <a:gd name="connsiteX165" fmla="*/ 4500 w 10000"/>
                    <a:gd name="connsiteY165" fmla="*/ 8641 h 10000"/>
                    <a:gd name="connsiteX166" fmla="*/ 4222 w 10000"/>
                    <a:gd name="connsiteY166" fmla="*/ 8488 h 10000"/>
                    <a:gd name="connsiteX167" fmla="*/ 4222 w 10000"/>
                    <a:gd name="connsiteY167" fmla="*/ 8488 h 10000"/>
                    <a:gd name="connsiteX168" fmla="*/ 4111 w 10000"/>
                    <a:gd name="connsiteY168" fmla="*/ 8411 h 10000"/>
                    <a:gd name="connsiteX169" fmla="*/ 4111 w 10000"/>
                    <a:gd name="connsiteY169" fmla="*/ 8318 h 10000"/>
                    <a:gd name="connsiteX170" fmla="*/ 4111 w 10000"/>
                    <a:gd name="connsiteY170" fmla="*/ 8318 h 10000"/>
                    <a:gd name="connsiteX171" fmla="*/ 4278 w 10000"/>
                    <a:gd name="connsiteY171" fmla="*/ 8271 h 10000"/>
                    <a:gd name="connsiteX172" fmla="*/ 4389 w 10000"/>
                    <a:gd name="connsiteY172" fmla="*/ 8256 h 10000"/>
                    <a:gd name="connsiteX173" fmla="*/ 4389 w 10000"/>
                    <a:gd name="connsiteY173" fmla="*/ 8256 h 10000"/>
                    <a:gd name="connsiteX174" fmla="*/ 3722 w 10000"/>
                    <a:gd name="connsiteY174" fmla="*/ 8271 h 10000"/>
                    <a:gd name="connsiteX175" fmla="*/ 3611 w 10000"/>
                    <a:gd name="connsiteY175" fmla="*/ 8287 h 10000"/>
                    <a:gd name="connsiteX176" fmla="*/ 3556 w 10000"/>
                    <a:gd name="connsiteY176" fmla="*/ 8303 h 10000"/>
                    <a:gd name="connsiteX177" fmla="*/ 3556 w 10000"/>
                    <a:gd name="connsiteY177" fmla="*/ 8303 h 10000"/>
                    <a:gd name="connsiteX178" fmla="*/ 3444 w 10000"/>
                    <a:gd name="connsiteY178" fmla="*/ 8364 h 10000"/>
                    <a:gd name="connsiteX179" fmla="*/ 3278 w 10000"/>
                    <a:gd name="connsiteY179" fmla="*/ 8457 h 10000"/>
                    <a:gd name="connsiteX180" fmla="*/ 3000 w 10000"/>
                    <a:gd name="connsiteY180" fmla="*/ 8566 h 10000"/>
                    <a:gd name="connsiteX181" fmla="*/ 2667 w 10000"/>
                    <a:gd name="connsiteY181" fmla="*/ 8641 h 10000"/>
                    <a:gd name="connsiteX182" fmla="*/ 2667 w 10000"/>
                    <a:gd name="connsiteY182" fmla="*/ 8641 h 10000"/>
                    <a:gd name="connsiteX183" fmla="*/ 2333 w 10000"/>
                    <a:gd name="connsiteY183" fmla="*/ 8704 h 10000"/>
                    <a:gd name="connsiteX184" fmla="*/ 1833 w 10000"/>
                    <a:gd name="connsiteY184" fmla="*/ 8766 h 10000"/>
                    <a:gd name="connsiteX185" fmla="*/ 1389 w 10000"/>
                    <a:gd name="connsiteY185" fmla="*/ 8797 h 10000"/>
                    <a:gd name="connsiteX186" fmla="*/ 889 w 10000"/>
                    <a:gd name="connsiteY186" fmla="*/ 8812 h 10000"/>
                    <a:gd name="connsiteX187" fmla="*/ 889 w 10000"/>
                    <a:gd name="connsiteY187" fmla="*/ 8812 h 10000"/>
                    <a:gd name="connsiteX188" fmla="*/ 500 w 10000"/>
                    <a:gd name="connsiteY188" fmla="*/ 8828 h 10000"/>
                    <a:gd name="connsiteX189" fmla="*/ 222 w 10000"/>
                    <a:gd name="connsiteY189" fmla="*/ 8844 h 10000"/>
                    <a:gd name="connsiteX190" fmla="*/ 0 w 10000"/>
                    <a:gd name="connsiteY190" fmla="*/ 8859 h 10000"/>
                    <a:gd name="connsiteX191" fmla="*/ 0 w 10000"/>
                    <a:gd name="connsiteY191" fmla="*/ 8859 h 10000"/>
                    <a:gd name="connsiteX192" fmla="*/ 278 w 10000"/>
                    <a:gd name="connsiteY192" fmla="*/ 9105 h 10000"/>
                    <a:gd name="connsiteX193" fmla="*/ 500 w 10000"/>
                    <a:gd name="connsiteY193" fmla="*/ 9291 h 10000"/>
                    <a:gd name="connsiteX194" fmla="*/ 722 w 10000"/>
                    <a:gd name="connsiteY194" fmla="*/ 9446 h 10000"/>
                    <a:gd name="connsiteX195" fmla="*/ 722 w 10000"/>
                    <a:gd name="connsiteY195" fmla="*/ 9446 h 10000"/>
                    <a:gd name="connsiteX196" fmla="*/ 889 w 10000"/>
                    <a:gd name="connsiteY196" fmla="*/ 9538 h 10000"/>
                    <a:gd name="connsiteX197" fmla="*/ 944 w 10000"/>
                    <a:gd name="connsiteY197" fmla="*/ 9615 h 10000"/>
                    <a:gd name="connsiteX198" fmla="*/ 1111 w 10000"/>
                    <a:gd name="connsiteY198" fmla="*/ 9692 h 10000"/>
                    <a:gd name="connsiteX199" fmla="*/ 1333 w 10000"/>
                    <a:gd name="connsiteY199" fmla="*/ 9816 h 10000"/>
                    <a:gd name="connsiteX200" fmla="*/ 1333 w 10000"/>
                    <a:gd name="connsiteY200" fmla="*/ 9816 h 10000"/>
                    <a:gd name="connsiteX201" fmla="*/ 1444 w 10000"/>
                    <a:gd name="connsiteY201" fmla="*/ 9879 h 10000"/>
                    <a:gd name="connsiteX202" fmla="*/ 1500 w 10000"/>
                    <a:gd name="connsiteY202" fmla="*/ 9924 h 10000"/>
                    <a:gd name="connsiteX203" fmla="*/ 1500 w 10000"/>
                    <a:gd name="connsiteY203" fmla="*/ 9971 h 10000"/>
                    <a:gd name="connsiteX204" fmla="*/ 1556 w 10000"/>
                    <a:gd name="connsiteY204" fmla="*/ 9986 h 10000"/>
                    <a:gd name="connsiteX205" fmla="*/ 1722 w 10000"/>
                    <a:gd name="connsiteY205" fmla="*/ 10000 h 10000"/>
                    <a:gd name="connsiteX206" fmla="*/ 10000 w 10000"/>
                    <a:gd name="connsiteY206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5333 w 10000"/>
                    <a:gd name="connsiteY44" fmla="*/ 8180 h 10000"/>
                    <a:gd name="connsiteX45" fmla="*/ 6500 w 10000"/>
                    <a:gd name="connsiteY45" fmla="*/ 8134 h 10000"/>
                    <a:gd name="connsiteX46" fmla="*/ 6500 w 10000"/>
                    <a:gd name="connsiteY46" fmla="*/ 8134 h 10000"/>
                    <a:gd name="connsiteX47" fmla="*/ 7167 w 10000"/>
                    <a:gd name="connsiteY47" fmla="*/ 8087 h 10000"/>
                    <a:gd name="connsiteX48" fmla="*/ 8389 w 10000"/>
                    <a:gd name="connsiteY48" fmla="*/ 7995 h 10000"/>
                    <a:gd name="connsiteX49" fmla="*/ 8389 w 10000"/>
                    <a:gd name="connsiteY49" fmla="*/ 7995 h 10000"/>
                    <a:gd name="connsiteX50" fmla="*/ 8667 w 10000"/>
                    <a:gd name="connsiteY50" fmla="*/ 7963 h 10000"/>
                    <a:gd name="connsiteX51" fmla="*/ 8778 w 10000"/>
                    <a:gd name="connsiteY51" fmla="*/ 7917 h 10000"/>
                    <a:gd name="connsiteX52" fmla="*/ 8889 w 10000"/>
                    <a:gd name="connsiteY52" fmla="*/ 7887 h 10000"/>
                    <a:gd name="connsiteX53" fmla="*/ 8833 w 10000"/>
                    <a:gd name="connsiteY53" fmla="*/ 7856 h 10000"/>
                    <a:gd name="connsiteX54" fmla="*/ 8833 w 10000"/>
                    <a:gd name="connsiteY54" fmla="*/ 7826 h 10000"/>
                    <a:gd name="connsiteX55" fmla="*/ 8722 w 10000"/>
                    <a:gd name="connsiteY55" fmla="*/ 7793 h 10000"/>
                    <a:gd name="connsiteX56" fmla="*/ 8556 w 10000"/>
                    <a:gd name="connsiteY56" fmla="*/ 7747 h 10000"/>
                    <a:gd name="connsiteX57" fmla="*/ 8556 w 10000"/>
                    <a:gd name="connsiteY57" fmla="*/ 7747 h 10000"/>
                    <a:gd name="connsiteX58" fmla="*/ 6556 w 10000"/>
                    <a:gd name="connsiteY58" fmla="*/ 7470 h 10000"/>
                    <a:gd name="connsiteX59" fmla="*/ 6556 w 10000"/>
                    <a:gd name="connsiteY59" fmla="*/ 7470 h 10000"/>
                    <a:gd name="connsiteX60" fmla="*/ 6333 w 10000"/>
                    <a:gd name="connsiteY60" fmla="*/ 7424 h 10000"/>
                    <a:gd name="connsiteX61" fmla="*/ 6167 w 10000"/>
                    <a:gd name="connsiteY61" fmla="*/ 7377 h 10000"/>
                    <a:gd name="connsiteX62" fmla="*/ 6056 w 10000"/>
                    <a:gd name="connsiteY62" fmla="*/ 7331 h 10000"/>
                    <a:gd name="connsiteX63" fmla="*/ 6056 w 10000"/>
                    <a:gd name="connsiteY63" fmla="*/ 7331 h 10000"/>
                    <a:gd name="connsiteX64" fmla="*/ 8056 w 10000"/>
                    <a:gd name="connsiteY64" fmla="*/ 7315 h 10000"/>
                    <a:gd name="connsiteX65" fmla="*/ 10000 w 10000"/>
                    <a:gd name="connsiteY65" fmla="*/ 7470 h 10000"/>
                    <a:gd name="connsiteX66" fmla="*/ 10000 w 10000"/>
                    <a:gd name="connsiteY66" fmla="*/ 6065 h 10000"/>
                    <a:gd name="connsiteX67" fmla="*/ 10000 w 10000"/>
                    <a:gd name="connsiteY67" fmla="*/ 6065 h 10000"/>
                    <a:gd name="connsiteX68" fmla="*/ 7778 w 10000"/>
                    <a:gd name="connsiteY68" fmla="*/ 5740 h 10000"/>
                    <a:gd name="connsiteX69" fmla="*/ 6556 w 10000"/>
                    <a:gd name="connsiteY69" fmla="*/ 5556 h 10000"/>
                    <a:gd name="connsiteX70" fmla="*/ 6556 w 10000"/>
                    <a:gd name="connsiteY70" fmla="*/ 5556 h 10000"/>
                    <a:gd name="connsiteX71" fmla="*/ 6556 w 10000"/>
                    <a:gd name="connsiteY71" fmla="*/ 5541 h 10000"/>
                    <a:gd name="connsiteX72" fmla="*/ 6556 w 10000"/>
                    <a:gd name="connsiteY72" fmla="*/ 5448 h 10000"/>
                    <a:gd name="connsiteX73" fmla="*/ 6556 w 10000"/>
                    <a:gd name="connsiteY73" fmla="*/ 5448 h 10000"/>
                    <a:gd name="connsiteX74" fmla="*/ 6389 w 10000"/>
                    <a:gd name="connsiteY74" fmla="*/ 5340 h 10000"/>
                    <a:gd name="connsiteX75" fmla="*/ 6056 w 10000"/>
                    <a:gd name="connsiteY75" fmla="*/ 5171 h 10000"/>
                    <a:gd name="connsiteX76" fmla="*/ 5333 w 10000"/>
                    <a:gd name="connsiteY76" fmla="*/ 4846 h 10000"/>
                    <a:gd name="connsiteX77" fmla="*/ 5333 w 10000"/>
                    <a:gd name="connsiteY77" fmla="*/ 4846 h 10000"/>
                    <a:gd name="connsiteX78" fmla="*/ 5167 w 10000"/>
                    <a:gd name="connsiteY78" fmla="*/ 4800 h 10000"/>
                    <a:gd name="connsiteX79" fmla="*/ 4889 w 10000"/>
                    <a:gd name="connsiteY79" fmla="*/ 4737 h 10000"/>
                    <a:gd name="connsiteX80" fmla="*/ 4056 w 10000"/>
                    <a:gd name="connsiteY80" fmla="*/ 4599 h 10000"/>
                    <a:gd name="connsiteX81" fmla="*/ 2889 w 10000"/>
                    <a:gd name="connsiteY81" fmla="*/ 4430 h 10000"/>
                    <a:gd name="connsiteX82" fmla="*/ 2889 w 10000"/>
                    <a:gd name="connsiteY82" fmla="*/ 4430 h 10000"/>
                    <a:gd name="connsiteX83" fmla="*/ 2389 w 10000"/>
                    <a:gd name="connsiteY83" fmla="*/ 4413 h 10000"/>
                    <a:gd name="connsiteX84" fmla="*/ 2000 w 10000"/>
                    <a:gd name="connsiteY84" fmla="*/ 4397 h 10000"/>
                    <a:gd name="connsiteX85" fmla="*/ 1889 w 10000"/>
                    <a:gd name="connsiteY85" fmla="*/ 4382 h 10000"/>
                    <a:gd name="connsiteX86" fmla="*/ 1778 w 10000"/>
                    <a:gd name="connsiteY86" fmla="*/ 4367 h 10000"/>
                    <a:gd name="connsiteX87" fmla="*/ 1778 w 10000"/>
                    <a:gd name="connsiteY87" fmla="*/ 4367 h 10000"/>
                    <a:gd name="connsiteX88" fmla="*/ 1667 w 10000"/>
                    <a:gd name="connsiteY88" fmla="*/ 4305 h 10000"/>
                    <a:gd name="connsiteX89" fmla="*/ 1500 w 10000"/>
                    <a:gd name="connsiteY89" fmla="*/ 4198 h 10000"/>
                    <a:gd name="connsiteX90" fmla="*/ 1444 w 10000"/>
                    <a:gd name="connsiteY90" fmla="*/ 4136 h 10000"/>
                    <a:gd name="connsiteX91" fmla="*/ 1444 w 10000"/>
                    <a:gd name="connsiteY91" fmla="*/ 4073 h 10000"/>
                    <a:gd name="connsiteX92" fmla="*/ 1444 w 10000"/>
                    <a:gd name="connsiteY92" fmla="*/ 4028 h 10000"/>
                    <a:gd name="connsiteX93" fmla="*/ 1556 w 10000"/>
                    <a:gd name="connsiteY93" fmla="*/ 3981 h 10000"/>
                    <a:gd name="connsiteX94" fmla="*/ 1556 w 10000"/>
                    <a:gd name="connsiteY94" fmla="*/ 3981 h 10000"/>
                    <a:gd name="connsiteX95" fmla="*/ 1833 w 10000"/>
                    <a:gd name="connsiteY95" fmla="*/ 3904 h 10000"/>
                    <a:gd name="connsiteX96" fmla="*/ 2111 w 10000"/>
                    <a:gd name="connsiteY96" fmla="*/ 3828 h 10000"/>
                    <a:gd name="connsiteX97" fmla="*/ 2278 w 10000"/>
                    <a:gd name="connsiteY97" fmla="*/ 3782 h 10000"/>
                    <a:gd name="connsiteX98" fmla="*/ 2389 w 10000"/>
                    <a:gd name="connsiteY98" fmla="*/ 3734 h 10000"/>
                    <a:gd name="connsiteX99" fmla="*/ 2389 w 10000"/>
                    <a:gd name="connsiteY99" fmla="*/ 3672 h 10000"/>
                    <a:gd name="connsiteX100" fmla="*/ 2389 w 10000"/>
                    <a:gd name="connsiteY100" fmla="*/ 3596 h 10000"/>
                    <a:gd name="connsiteX101" fmla="*/ 2389 w 10000"/>
                    <a:gd name="connsiteY101" fmla="*/ 3596 h 10000"/>
                    <a:gd name="connsiteX102" fmla="*/ 2167 w 10000"/>
                    <a:gd name="connsiteY102" fmla="*/ 3379 h 10000"/>
                    <a:gd name="connsiteX103" fmla="*/ 1889 w 10000"/>
                    <a:gd name="connsiteY103" fmla="*/ 3087 h 10000"/>
                    <a:gd name="connsiteX104" fmla="*/ 1667 w 10000"/>
                    <a:gd name="connsiteY104" fmla="*/ 2824 h 10000"/>
                    <a:gd name="connsiteX105" fmla="*/ 1611 w 10000"/>
                    <a:gd name="connsiteY105" fmla="*/ 2747 h 10000"/>
                    <a:gd name="connsiteX106" fmla="*/ 1611 w 10000"/>
                    <a:gd name="connsiteY106" fmla="*/ 2716 h 10000"/>
                    <a:gd name="connsiteX107" fmla="*/ 1667 w 10000"/>
                    <a:gd name="connsiteY107" fmla="*/ 2700 h 10000"/>
                    <a:gd name="connsiteX108" fmla="*/ 1667 w 10000"/>
                    <a:gd name="connsiteY108" fmla="*/ 2700 h 10000"/>
                    <a:gd name="connsiteX109" fmla="*/ 2000 w 10000"/>
                    <a:gd name="connsiteY109" fmla="*/ 2686 h 10000"/>
                    <a:gd name="connsiteX110" fmla="*/ 2222 w 10000"/>
                    <a:gd name="connsiteY110" fmla="*/ 2686 h 10000"/>
                    <a:gd name="connsiteX111" fmla="*/ 2389 w 10000"/>
                    <a:gd name="connsiteY111" fmla="*/ 2700 h 10000"/>
                    <a:gd name="connsiteX112" fmla="*/ 2389 w 10000"/>
                    <a:gd name="connsiteY112" fmla="*/ 2700 h 10000"/>
                    <a:gd name="connsiteX113" fmla="*/ 2444 w 10000"/>
                    <a:gd name="connsiteY113" fmla="*/ 2700 h 10000"/>
                    <a:gd name="connsiteX114" fmla="*/ 2500 w 10000"/>
                    <a:gd name="connsiteY114" fmla="*/ 2670 h 10000"/>
                    <a:gd name="connsiteX115" fmla="*/ 2778 w 10000"/>
                    <a:gd name="connsiteY115" fmla="*/ 2577 h 10000"/>
                    <a:gd name="connsiteX116" fmla="*/ 3500 w 10000"/>
                    <a:gd name="connsiteY116" fmla="*/ 2269 h 10000"/>
                    <a:gd name="connsiteX117" fmla="*/ 4444 w 10000"/>
                    <a:gd name="connsiteY117" fmla="*/ 1822 h 10000"/>
                    <a:gd name="connsiteX118" fmla="*/ 4444 w 10000"/>
                    <a:gd name="connsiteY118" fmla="*/ 1822 h 10000"/>
                    <a:gd name="connsiteX119" fmla="*/ 4444 w 10000"/>
                    <a:gd name="connsiteY119" fmla="*/ 1759 h 10000"/>
                    <a:gd name="connsiteX120" fmla="*/ 4444 w 10000"/>
                    <a:gd name="connsiteY120" fmla="*/ 1619 h 10000"/>
                    <a:gd name="connsiteX121" fmla="*/ 4500 w 10000"/>
                    <a:gd name="connsiteY121" fmla="*/ 1528 h 10000"/>
                    <a:gd name="connsiteX122" fmla="*/ 4611 w 10000"/>
                    <a:gd name="connsiteY122" fmla="*/ 1450 h 10000"/>
                    <a:gd name="connsiteX123" fmla="*/ 4778 w 10000"/>
                    <a:gd name="connsiteY123" fmla="*/ 1358 h 10000"/>
                    <a:gd name="connsiteX124" fmla="*/ 5000 w 10000"/>
                    <a:gd name="connsiteY124" fmla="*/ 1281 h 10000"/>
                    <a:gd name="connsiteX125" fmla="*/ 5000 w 10000"/>
                    <a:gd name="connsiteY125" fmla="*/ 1281 h 10000"/>
                    <a:gd name="connsiteX126" fmla="*/ 5556 w 10000"/>
                    <a:gd name="connsiteY126" fmla="*/ 1127 h 10000"/>
                    <a:gd name="connsiteX127" fmla="*/ 6111 w 10000"/>
                    <a:gd name="connsiteY127" fmla="*/ 926 h 10000"/>
                    <a:gd name="connsiteX128" fmla="*/ 6667 w 10000"/>
                    <a:gd name="connsiteY128" fmla="*/ 740 h 10000"/>
                    <a:gd name="connsiteX129" fmla="*/ 7056 w 10000"/>
                    <a:gd name="connsiteY129" fmla="*/ 572 h 10000"/>
                    <a:gd name="connsiteX130" fmla="*/ 7056 w 10000"/>
                    <a:gd name="connsiteY130" fmla="*/ 572 h 10000"/>
                    <a:gd name="connsiteX131" fmla="*/ 7333 w 10000"/>
                    <a:gd name="connsiteY131" fmla="*/ 417 h 10000"/>
                    <a:gd name="connsiteX132" fmla="*/ 7667 w 10000"/>
                    <a:gd name="connsiteY132" fmla="*/ 232 h 10000"/>
                    <a:gd name="connsiteX133" fmla="*/ 8000 w 10000"/>
                    <a:gd name="connsiteY133" fmla="*/ 92 h 10000"/>
                    <a:gd name="connsiteX134" fmla="*/ 8167 w 10000"/>
                    <a:gd name="connsiteY134" fmla="*/ 29 h 10000"/>
                    <a:gd name="connsiteX135" fmla="*/ 8333 w 10000"/>
                    <a:gd name="connsiteY135" fmla="*/ 15 h 10000"/>
                    <a:gd name="connsiteX136" fmla="*/ 8333 w 10000"/>
                    <a:gd name="connsiteY136" fmla="*/ 15 h 10000"/>
                    <a:gd name="connsiteX137" fmla="*/ 8667 w 10000"/>
                    <a:gd name="connsiteY137" fmla="*/ 0 h 10000"/>
                    <a:gd name="connsiteX138" fmla="*/ 9111 w 10000"/>
                    <a:gd name="connsiteY138" fmla="*/ 0 h 10000"/>
                    <a:gd name="connsiteX139" fmla="*/ 10000 w 10000"/>
                    <a:gd name="connsiteY139" fmla="*/ 15 h 10000"/>
                    <a:gd name="connsiteX140" fmla="*/ 10000 w 10000"/>
                    <a:gd name="connsiteY140" fmla="*/ 9446 h 10000"/>
                    <a:gd name="connsiteX141" fmla="*/ 10000 w 10000"/>
                    <a:gd name="connsiteY141" fmla="*/ 9446 h 10000"/>
                    <a:gd name="connsiteX142" fmla="*/ 9722 w 10000"/>
                    <a:gd name="connsiteY142" fmla="*/ 9430 h 10000"/>
                    <a:gd name="connsiteX143" fmla="*/ 9389 w 10000"/>
                    <a:gd name="connsiteY143" fmla="*/ 9446 h 10000"/>
                    <a:gd name="connsiteX144" fmla="*/ 9389 w 10000"/>
                    <a:gd name="connsiteY144" fmla="*/ 9446 h 10000"/>
                    <a:gd name="connsiteX145" fmla="*/ 9278 w 10000"/>
                    <a:gd name="connsiteY145" fmla="*/ 9461 h 10000"/>
                    <a:gd name="connsiteX146" fmla="*/ 9056 w 10000"/>
                    <a:gd name="connsiteY146" fmla="*/ 9446 h 10000"/>
                    <a:gd name="connsiteX147" fmla="*/ 8722 w 10000"/>
                    <a:gd name="connsiteY147" fmla="*/ 9399 h 10000"/>
                    <a:gd name="connsiteX148" fmla="*/ 8444 w 10000"/>
                    <a:gd name="connsiteY148" fmla="*/ 9276 h 10000"/>
                    <a:gd name="connsiteX149" fmla="*/ 8444 w 10000"/>
                    <a:gd name="connsiteY149" fmla="*/ 9276 h 10000"/>
                    <a:gd name="connsiteX150" fmla="*/ 8111 w 10000"/>
                    <a:gd name="connsiteY150" fmla="*/ 9075 h 10000"/>
                    <a:gd name="connsiteX151" fmla="*/ 7778 w 10000"/>
                    <a:gd name="connsiteY151" fmla="*/ 8997 h 10000"/>
                    <a:gd name="connsiteX152" fmla="*/ 7556 w 10000"/>
                    <a:gd name="connsiteY152" fmla="*/ 8981 h 10000"/>
                    <a:gd name="connsiteX153" fmla="*/ 7000 w 10000"/>
                    <a:gd name="connsiteY153" fmla="*/ 8950 h 10000"/>
                    <a:gd name="connsiteX154" fmla="*/ 6556 w 10000"/>
                    <a:gd name="connsiteY154" fmla="*/ 8967 h 10000"/>
                    <a:gd name="connsiteX155" fmla="*/ 6222 w 10000"/>
                    <a:gd name="connsiteY155" fmla="*/ 8967 h 10000"/>
                    <a:gd name="connsiteX156" fmla="*/ 6111 w 10000"/>
                    <a:gd name="connsiteY156" fmla="*/ 8950 h 10000"/>
                    <a:gd name="connsiteX157" fmla="*/ 6056 w 10000"/>
                    <a:gd name="connsiteY157" fmla="*/ 8659 h 10000"/>
                    <a:gd name="connsiteX158" fmla="*/ 6056 w 10000"/>
                    <a:gd name="connsiteY158" fmla="*/ 8597 h 10000"/>
                    <a:gd name="connsiteX159" fmla="*/ 5944 w 10000"/>
                    <a:gd name="connsiteY159" fmla="*/ 8520 h 10000"/>
                    <a:gd name="connsiteX160" fmla="*/ 5889 w 10000"/>
                    <a:gd name="connsiteY160" fmla="*/ 8505 h 10000"/>
                    <a:gd name="connsiteX161" fmla="*/ 5667 w 10000"/>
                    <a:gd name="connsiteY161" fmla="*/ 8488 h 10000"/>
                    <a:gd name="connsiteX162" fmla="*/ 4889 w 10000"/>
                    <a:gd name="connsiteY162" fmla="*/ 8612 h 10000"/>
                    <a:gd name="connsiteX163" fmla="*/ 4611 w 10000"/>
                    <a:gd name="connsiteY163" fmla="*/ 8641 h 10000"/>
                    <a:gd name="connsiteX164" fmla="*/ 4500 w 10000"/>
                    <a:gd name="connsiteY164" fmla="*/ 8641 h 10000"/>
                    <a:gd name="connsiteX165" fmla="*/ 4222 w 10000"/>
                    <a:gd name="connsiteY165" fmla="*/ 8488 h 10000"/>
                    <a:gd name="connsiteX166" fmla="*/ 4222 w 10000"/>
                    <a:gd name="connsiteY166" fmla="*/ 8488 h 10000"/>
                    <a:gd name="connsiteX167" fmla="*/ 4111 w 10000"/>
                    <a:gd name="connsiteY167" fmla="*/ 8411 h 10000"/>
                    <a:gd name="connsiteX168" fmla="*/ 4111 w 10000"/>
                    <a:gd name="connsiteY168" fmla="*/ 8318 h 10000"/>
                    <a:gd name="connsiteX169" fmla="*/ 4111 w 10000"/>
                    <a:gd name="connsiteY169" fmla="*/ 8318 h 10000"/>
                    <a:gd name="connsiteX170" fmla="*/ 4278 w 10000"/>
                    <a:gd name="connsiteY170" fmla="*/ 8271 h 10000"/>
                    <a:gd name="connsiteX171" fmla="*/ 4389 w 10000"/>
                    <a:gd name="connsiteY171" fmla="*/ 8256 h 10000"/>
                    <a:gd name="connsiteX172" fmla="*/ 4389 w 10000"/>
                    <a:gd name="connsiteY172" fmla="*/ 8256 h 10000"/>
                    <a:gd name="connsiteX173" fmla="*/ 3722 w 10000"/>
                    <a:gd name="connsiteY173" fmla="*/ 8271 h 10000"/>
                    <a:gd name="connsiteX174" fmla="*/ 3611 w 10000"/>
                    <a:gd name="connsiteY174" fmla="*/ 8287 h 10000"/>
                    <a:gd name="connsiteX175" fmla="*/ 3556 w 10000"/>
                    <a:gd name="connsiteY175" fmla="*/ 8303 h 10000"/>
                    <a:gd name="connsiteX176" fmla="*/ 3556 w 10000"/>
                    <a:gd name="connsiteY176" fmla="*/ 8303 h 10000"/>
                    <a:gd name="connsiteX177" fmla="*/ 3444 w 10000"/>
                    <a:gd name="connsiteY177" fmla="*/ 8364 h 10000"/>
                    <a:gd name="connsiteX178" fmla="*/ 3278 w 10000"/>
                    <a:gd name="connsiteY178" fmla="*/ 8457 h 10000"/>
                    <a:gd name="connsiteX179" fmla="*/ 3000 w 10000"/>
                    <a:gd name="connsiteY179" fmla="*/ 8566 h 10000"/>
                    <a:gd name="connsiteX180" fmla="*/ 2667 w 10000"/>
                    <a:gd name="connsiteY180" fmla="*/ 8641 h 10000"/>
                    <a:gd name="connsiteX181" fmla="*/ 2667 w 10000"/>
                    <a:gd name="connsiteY181" fmla="*/ 8641 h 10000"/>
                    <a:gd name="connsiteX182" fmla="*/ 2333 w 10000"/>
                    <a:gd name="connsiteY182" fmla="*/ 8704 h 10000"/>
                    <a:gd name="connsiteX183" fmla="*/ 1833 w 10000"/>
                    <a:gd name="connsiteY183" fmla="*/ 8766 h 10000"/>
                    <a:gd name="connsiteX184" fmla="*/ 1389 w 10000"/>
                    <a:gd name="connsiteY184" fmla="*/ 8797 h 10000"/>
                    <a:gd name="connsiteX185" fmla="*/ 889 w 10000"/>
                    <a:gd name="connsiteY185" fmla="*/ 8812 h 10000"/>
                    <a:gd name="connsiteX186" fmla="*/ 889 w 10000"/>
                    <a:gd name="connsiteY186" fmla="*/ 8812 h 10000"/>
                    <a:gd name="connsiteX187" fmla="*/ 500 w 10000"/>
                    <a:gd name="connsiteY187" fmla="*/ 8828 h 10000"/>
                    <a:gd name="connsiteX188" fmla="*/ 222 w 10000"/>
                    <a:gd name="connsiteY188" fmla="*/ 8844 h 10000"/>
                    <a:gd name="connsiteX189" fmla="*/ 0 w 10000"/>
                    <a:gd name="connsiteY189" fmla="*/ 8859 h 10000"/>
                    <a:gd name="connsiteX190" fmla="*/ 0 w 10000"/>
                    <a:gd name="connsiteY190" fmla="*/ 8859 h 10000"/>
                    <a:gd name="connsiteX191" fmla="*/ 278 w 10000"/>
                    <a:gd name="connsiteY191" fmla="*/ 9105 h 10000"/>
                    <a:gd name="connsiteX192" fmla="*/ 500 w 10000"/>
                    <a:gd name="connsiteY192" fmla="*/ 9291 h 10000"/>
                    <a:gd name="connsiteX193" fmla="*/ 722 w 10000"/>
                    <a:gd name="connsiteY193" fmla="*/ 9446 h 10000"/>
                    <a:gd name="connsiteX194" fmla="*/ 722 w 10000"/>
                    <a:gd name="connsiteY194" fmla="*/ 9446 h 10000"/>
                    <a:gd name="connsiteX195" fmla="*/ 889 w 10000"/>
                    <a:gd name="connsiteY195" fmla="*/ 9538 h 10000"/>
                    <a:gd name="connsiteX196" fmla="*/ 944 w 10000"/>
                    <a:gd name="connsiteY196" fmla="*/ 9615 h 10000"/>
                    <a:gd name="connsiteX197" fmla="*/ 1111 w 10000"/>
                    <a:gd name="connsiteY197" fmla="*/ 9692 h 10000"/>
                    <a:gd name="connsiteX198" fmla="*/ 1333 w 10000"/>
                    <a:gd name="connsiteY198" fmla="*/ 9816 h 10000"/>
                    <a:gd name="connsiteX199" fmla="*/ 1333 w 10000"/>
                    <a:gd name="connsiteY199" fmla="*/ 9816 h 10000"/>
                    <a:gd name="connsiteX200" fmla="*/ 1444 w 10000"/>
                    <a:gd name="connsiteY200" fmla="*/ 9879 h 10000"/>
                    <a:gd name="connsiteX201" fmla="*/ 1500 w 10000"/>
                    <a:gd name="connsiteY201" fmla="*/ 9924 h 10000"/>
                    <a:gd name="connsiteX202" fmla="*/ 1500 w 10000"/>
                    <a:gd name="connsiteY202" fmla="*/ 9971 h 10000"/>
                    <a:gd name="connsiteX203" fmla="*/ 1556 w 10000"/>
                    <a:gd name="connsiteY203" fmla="*/ 9986 h 10000"/>
                    <a:gd name="connsiteX204" fmla="*/ 1722 w 10000"/>
                    <a:gd name="connsiteY204" fmla="*/ 10000 h 10000"/>
                    <a:gd name="connsiteX205" fmla="*/ 10000 w 10000"/>
                    <a:gd name="connsiteY205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6500 w 10000"/>
                    <a:gd name="connsiteY44" fmla="*/ 8134 h 10000"/>
                    <a:gd name="connsiteX45" fmla="*/ 6500 w 10000"/>
                    <a:gd name="connsiteY45" fmla="*/ 8134 h 10000"/>
                    <a:gd name="connsiteX46" fmla="*/ 7167 w 10000"/>
                    <a:gd name="connsiteY46" fmla="*/ 8087 h 10000"/>
                    <a:gd name="connsiteX47" fmla="*/ 8389 w 10000"/>
                    <a:gd name="connsiteY47" fmla="*/ 7995 h 10000"/>
                    <a:gd name="connsiteX48" fmla="*/ 8389 w 10000"/>
                    <a:gd name="connsiteY48" fmla="*/ 7995 h 10000"/>
                    <a:gd name="connsiteX49" fmla="*/ 8667 w 10000"/>
                    <a:gd name="connsiteY49" fmla="*/ 7963 h 10000"/>
                    <a:gd name="connsiteX50" fmla="*/ 8778 w 10000"/>
                    <a:gd name="connsiteY50" fmla="*/ 7917 h 10000"/>
                    <a:gd name="connsiteX51" fmla="*/ 8889 w 10000"/>
                    <a:gd name="connsiteY51" fmla="*/ 7887 h 10000"/>
                    <a:gd name="connsiteX52" fmla="*/ 8833 w 10000"/>
                    <a:gd name="connsiteY52" fmla="*/ 7856 h 10000"/>
                    <a:gd name="connsiteX53" fmla="*/ 8833 w 10000"/>
                    <a:gd name="connsiteY53" fmla="*/ 7826 h 10000"/>
                    <a:gd name="connsiteX54" fmla="*/ 8722 w 10000"/>
                    <a:gd name="connsiteY54" fmla="*/ 7793 h 10000"/>
                    <a:gd name="connsiteX55" fmla="*/ 8556 w 10000"/>
                    <a:gd name="connsiteY55" fmla="*/ 7747 h 10000"/>
                    <a:gd name="connsiteX56" fmla="*/ 8556 w 10000"/>
                    <a:gd name="connsiteY56" fmla="*/ 7747 h 10000"/>
                    <a:gd name="connsiteX57" fmla="*/ 6556 w 10000"/>
                    <a:gd name="connsiteY57" fmla="*/ 7470 h 10000"/>
                    <a:gd name="connsiteX58" fmla="*/ 6556 w 10000"/>
                    <a:gd name="connsiteY58" fmla="*/ 7470 h 10000"/>
                    <a:gd name="connsiteX59" fmla="*/ 6333 w 10000"/>
                    <a:gd name="connsiteY59" fmla="*/ 7424 h 10000"/>
                    <a:gd name="connsiteX60" fmla="*/ 6167 w 10000"/>
                    <a:gd name="connsiteY60" fmla="*/ 7377 h 10000"/>
                    <a:gd name="connsiteX61" fmla="*/ 6056 w 10000"/>
                    <a:gd name="connsiteY61" fmla="*/ 7331 h 10000"/>
                    <a:gd name="connsiteX62" fmla="*/ 6056 w 10000"/>
                    <a:gd name="connsiteY62" fmla="*/ 7331 h 10000"/>
                    <a:gd name="connsiteX63" fmla="*/ 8056 w 10000"/>
                    <a:gd name="connsiteY63" fmla="*/ 7315 h 10000"/>
                    <a:gd name="connsiteX64" fmla="*/ 10000 w 10000"/>
                    <a:gd name="connsiteY64" fmla="*/ 7470 h 10000"/>
                    <a:gd name="connsiteX65" fmla="*/ 10000 w 10000"/>
                    <a:gd name="connsiteY65" fmla="*/ 6065 h 10000"/>
                    <a:gd name="connsiteX66" fmla="*/ 10000 w 10000"/>
                    <a:gd name="connsiteY66" fmla="*/ 6065 h 10000"/>
                    <a:gd name="connsiteX67" fmla="*/ 7778 w 10000"/>
                    <a:gd name="connsiteY67" fmla="*/ 5740 h 10000"/>
                    <a:gd name="connsiteX68" fmla="*/ 6556 w 10000"/>
                    <a:gd name="connsiteY68" fmla="*/ 5556 h 10000"/>
                    <a:gd name="connsiteX69" fmla="*/ 6556 w 10000"/>
                    <a:gd name="connsiteY69" fmla="*/ 5556 h 10000"/>
                    <a:gd name="connsiteX70" fmla="*/ 6556 w 10000"/>
                    <a:gd name="connsiteY70" fmla="*/ 5541 h 10000"/>
                    <a:gd name="connsiteX71" fmla="*/ 6556 w 10000"/>
                    <a:gd name="connsiteY71" fmla="*/ 5448 h 10000"/>
                    <a:gd name="connsiteX72" fmla="*/ 6556 w 10000"/>
                    <a:gd name="connsiteY72" fmla="*/ 5448 h 10000"/>
                    <a:gd name="connsiteX73" fmla="*/ 6389 w 10000"/>
                    <a:gd name="connsiteY73" fmla="*/ 5340 h 10000"/>
                    <a:gd name="connsiteX74" fmla="*/ 6056 w 10000"/>
                    <a:gd name="connsiteY74" fmla="*/ 5171 h 10000"/>
                    <a:gd name="connsiteX75" fmla="*/ 5333 w 10000"/>
                    <a:gd name="connsiteY75" fmla="*/ 4846 h 10000"/>
                    <a:gd name="connsiteX76" fmla="*/ 5333 w 10000"/>
                    <a:gd name="connsiteY76" fmla="*/ 4846 h 10000"/>
                    <a:gd name="connsiteX77" fmla="*/ 5167 w 10000"/>
                    <a:gd name="connsiteY77" fmla="*/ 4800 h 10000"/>
                    <a:gd name="connsiteX78" fmla="*/ 4889 w 10000"/>
                    <a:gd name="connsiteY78" fmla="*/ 4737 h 10000"/>
                    <a:gd name="connsiteX79" fmla="*/ 4056 w 10000"/>
                    <a:gd name="connsiteY79" fmla="*/ 4599 h 10000"/>
                    <a:gd name="connsiteX80" fmla="*/ 2889 w 10000"/>
                    <a:gd name="connsiteY80" fmla="*/ 4430 h 10000"/>
                    <a:gd name="connsiteX81" fmla="*/ 2889 w 10000"/>
                    <a:gd name="connsiteY81" fmla="*/ 4430 h 10000"/>
                    <a:gd name="connsiteX82" fmla="*/ 2389 w 10000"/>
                    <a:gd name="connsiteY82" fmla="*/ 4413 h 10000"/>
                    <a:gd name="connsiteX83" fmla="*/ 2000 w 10000"/>
                    <a:gd name="connsiteY83" fmla="*/ 4397 h 10000"/>
                    <a:gd name="connsiteX84" fmla="*/ 1889 w 10000"/>
                    <a:gd name="connsiteY84" fmla="*/ 4382 h 10000"/>
                    <a:gd name="connsiteX85" fmla="*/ 1778 w 10000"/>
                    <a:gd name="connsiteY85" fmla="*/ 4367 h 10000"/>
                    <a:gd name="connsiteX86" fmla="*/ 1778 w 10000"/>
                    <a:gd name="connsiteY86" fmla="*/ 4367 h 10000"/>
                    <a:gd name="connsiteX87" fmla="*/ 1667 w 10000"/>
                    <a:gd name="connsiteY87" fmla="*/ 4305 h 10000"/>
                    <a:gd name="connsiteX88" fmla="*/ 1500 w 10000"/>
                    <a:gd name="connsiteY88" fmla="*/ 4198 h 10000"/>
                    <a:gd name="connsiteX89" fmla="*/ 1444 w 10000"/>
                    <a:gd name="connsiteY89" fmla="*/ 4136 h 10000"/>
                    <a:gd name="connsiteX90" fmla="*/ 1444 w 10000"/>
                    <a:gd name="connsiteY90" fmla="*/ 4073 h 10000"/>
                    <a:gd name="connsiteX91" fmla="*/ 1444 w 10000"/>
                    <a:gd name="connsiteY91" fmla="*/ 4028 h 10000"/>
                    <a:gd name="connsiteX92" fmla="*/ 1556 w 10000"/>
                    <a:gd name="connsiteY92" fmla="*/ 3981 h 10000"/>
                    <a:gd name="connsiteX93" fmla="*/ 1556 w 10000"/>
                    <a:gd name="connsiteY93" fmla="*/ 3981 h 10000"/>
                    <a:gd name="connsiteX94" fmla="*/ 1833 w 10000"/>
                    <a:gd name="connsiteY94" fmla="*/ 3904 h 10000"/>
                    <a:gd name="connsiteX95" fmla="*/ 2111 w 10000"/>
                    <a:gd name="connsiteY95" fmla="*/ 3828 h 10000"/>
                    <a:gd name="connsiteX96" fmla="*/ 2278 w 10000"/>
                    <a:gd name="connsiteY96" fmla="*/ 3782 h 10000"/>
                    <a:gd name="connsiteX97" fmla="*/ 2389 w 10000"/>
                    <a:gd name="connsiteY97" fmla="*/ 3734 h 10000"/>
                    <a:gd name="connsiteX98" fmla="*/ 2389 w 10000"/>
                    <a:gd name="connsiteY98" fmla="*/ 3672 h 10000"/>
                    <a:gd name="connsiteX99" fmla="*/ 2389 w 10000"/>
                    <a:gd name="connsiteY99" fmla="*/ 3596 h 10000"/>
                    <a:gd name="connsiteX100" fmla="*/ 2389 w 10000"/>
                    <a:gd name="connsiteY100" fmla="*/ 3596 h 10000"/>
                    <a:gd name="connsiteX101" fmla="*/ 2167 w 10000"/>
                    <a:gd name="connsiteY101" fmla="*/ 3379 h 10000"/>
                    <a:gd name="connsiteX102" fmla="*/ 1889 w 10000"/>
                    <a:gd name="connsiteY102" fmla="*/ 3087 h 10000"/>
                    <a:gd name="connsiteX103" fmla="*/ 1667 w 10000"/>
                    <a:gd name="connsiteY103" fmla="*/ 2824 h 10000"/>
                    <a:gd name="connsiteX104" fmla="*/ 1611 w 10000"/>
                    <a:gd name="connsiteY104" fmla="*/ 2747 h 10000"/>
                    <a:gd name="connsiteX105" fmla="*/ 1611 w 10000"/>
                    <a:gd name="connsiteY105" fmla="*/ 2716 h 10000"/>
                    <a:gd name="connsiteX106" fmla="*/ 1667 w 10000"/>
                    <a:gd name="connsiteY106" fmla="*/ 2700 h 10000"/>
                    <a:gd name="connsiteX107" fmla="*/ 1667 w 10000"/>
                    <a:gd name="connsiteY107" fmla="*/ 2700 h 10000"/>
                    <a:gd name="connsiteX108" fmla="*/ 2000 w 10000"/>
                    <a:gd name="connsiteY108" fmla="*/ 2686 h 10000"/>
                    <a:gd name="connsiteX109" fmla="*/ 2222 w 10000"/>
                    <a:gd name="connsiteY109" fmla="*/ 2686 h 10000"/>
                    <a:gd name="connsiteX110" fmla="*/ 2389 w 10000"/>
                    <a:gd name="connsiteY110" fmla="*/ 2700 h 10000"/>
                    <a:gd name="connsiteX111" fmla="*/ 2389 w 10000"/>
                    <a:gd name="connsiteY111" fmla="*/ 2700 h 10000"/>
                    <a:gd name="connsiteX112" fmla="*/ 2444 w 10000"/>
                    <a:gd name="connsiteY112" fmla="*/ 2700 h 10000"/>
                    <a:gd name="connsiteX113" fmla="*/ 2500 w 10000"/>
                    <a:gd name="connsiteY113" fmla="*/ 2670 h 10000"/>
                    <a:gd name="connsiteX114" fmla="*/ 2778 w 10000"/>
                    <a:gd name="connsiteY114" fmla="*/ 2577 h 10000"/>
                    <a:gd name="connsiteX115" fmla="*/ 3500 w 10000"/>
                    <a:gd name="connsiteY115" fmla="*/ 2269 h 10000"/>
                    <a:gd name="connsiteX116" fmla="*/ 4444 w 10000"/>
                    <a:gd name="connsiteY116" fmla="*/ 1822 h 10000"/>
                    <a:gd name="connsiteX117" fmla="*/ 4444 w 10000"/>
                    <a:gd name="connsiteY117" fmla="*/ 1822 h 10000"/>
                    <a:gd name="connsiteX118" fmla="*/ 4444 w 10000"/>
                    <a:gd name="connsiteY118" fmla="*/ 1759 h 10000"/>
                    <a:gd name="connsiteX119" fmla="*/ 4444 w 10000"/>
                    <a:gd name="connsiteY119" fmla="*/ 1619 h 10000"/>
                    <a:gd name="connsiteX120" fmla="*/ 4500 w 10000"/>
                    <a:gd name="connsiteY120" fmla="*/ 1528 h 10000"/>
                    <a:gd name="connsiteX121" fmla="*/ 4611 w 10000"/>
                    <a:gd name="connsiteY121" fmla="*/ 1450 h 10000"/>
                    <a:gd name="connsiteX122" fmla="*/ 4778 w 10000"/>
                    <a:gd name="connsiteY122" fmla="*/ 1358 h 10000"/>
                    <a:gd name="connsiteX123" fmla="*/ 5000 w 10000"/>
                    <a:gd name="connsiteY123" fmla="*/ 1281 h 10000"/>
                    <a:gd name="connsiteX124" fmla="*/ 5000 w 10000"/>
                    <a:gd name="connsiteY124" fmla="*/ 1281 h 10000"/>
                    <a:gd name="connsiteX125" fmla="*/ 5556 w 10000"/>
                    <a:gd name="connsiteY125" fmla="*/ 1127 h 10000"/>
                    <a:gd name="connsiteX126" fmla="*/ 6111 w 10000"/>
                    <a:gd name="connsiteY126" fmla="*/ 926 h 10000"/>
                    <a:gd name="connsiteX127" fmla="*/ 6667 w 10000"/>
                    <a:gd name="connsiteY127" fmla="*/ 740 h 10000"/>
                    <a:gd name="connsiteX128" fmla="*/ 7056 w 10000"/>
                    <a:gd name="connsiteY128" fmla="*/ 572 h 10000"/>
                    <a:gd name="connsiteX129" fmla="*/ 7056 w 10000"/>
                    <a:gd name="connsiteY129" fmla="*/ 572 h 10000"/>
                    <a:gd name="connsiteX130" fmla="*/ 7333 w 10000"/>
                    <a:gd name="connsiteY130" fmla="*/ 417 h 10000"/>
                    <a:gd name="connsiteX131" fmla="*/ 7667 w 10000"/>
                    <a:gd name="connsiteY131" fmla="*/ 232 h 10000"/>
                    <a:gd name="connsiteX132" fmla="*/ 8000 w 10000"/>
                    <a:gd name="connsiteY132" fmla="*/ 92 h 10000"/>
                    <a:gd name="connsiteX133" fmla="*/ 8167 w 10000"/>
                    <a:gd name="connsiteY133" fmla="*/ 29 h 10000"/>
                    <a:gd name="connsiteX134" fmla="*/ 8333 w 10000"/>
                    <a:gd name="connsiteY134" fmla="*/ 15 h 10000"/>
                    <a:gd name="connsiteX135" fmla="*/ 8333 w 10000"/>
                    <a:gd name="connsiteY135" fmla="*/ 15 h 10000"/>
                    <a:gd name="connsiteX136" fmla="*/ 8667 w 10000"/>
                    <a:gd name="connsiteY136" fmla="*/ 0 h 10000"/>
                    <a:gd name="connsiteX137" fmla="*/ 9111 w 10000"/>
                    <a:gd name="connsiteY137" fmla="*/ 0 h 10000"/>
                    <a:gd name="connsiteX138" fmla="*/ 10000 w 10000"/>
                    <a:gd name="connsiteY138" fmla="*/ 15 h 10000"/>
                    <a:gd name="connsiteX139" fmla="*/ 10000 w 10000"/>
                    <a:gd name="connsiteY139" fmla="*/ 9446 h 10000"/>
                    <a:gd name="connsiteX140" fmla="*/ 10000 w 10000"/>
                    <a:gd name="connsiteY140" fmla="*/ 9446 h 10000"/>
                    <a:gd name="connsiteX141" fmla="*/ 9722 w 10000"/>
                    <a:gd name="connsiteY141" fmla="*/ 9430 h 10000"/>
                    <a:gd name="connsiteX142" fmla="*/ 9389 w 10000"/>
                    <a:gd name="connsiteY142" fmla="*/ 9446 h 10000"/>
                    <a:gd name="connsiteX143" fmla="*/ 9389 w 10000"/>
                    <a:gd name="connsiteY143" fmla="*/ 9446 h 10000"/>
                    <a:gd name="connsiteX144" fmla="*/ 9278 w 10000"/>
                    <a:gd name="connsiteY144" fmla="*/ 9461 h 10000"/>
                    <a:gd name="connsiteX145" fmla="*/ 9056 w 10000"/>
                    <a:gd name="connsiteY145" fmla="*/ 9446 h 10000"/>
                    <a:gd name="connsiteX146" fmla="*/ 8722 w 10000"/>
                    <a:gd name="connsiteY146" fmla="*/ 9399 h 10000"/>
                    <a:gd name="connsiteX147" fmla="*/ 8444 w 10000"/>
                    <a:gd name="connsiteY147" fmla="*/ 9276 h 10000"/>
                    <a:gd name="connsiteX148" fmla="*/ 8444 w 10000"/>
                    <a:gd name="connsiteY148" fmla="*/ 9276 h 10000"/>
                    <a:gd name="connsiteX149" fmla="*/ 8111 w 10000"/>
                    <a:gd name="connsiteY149" fmla="*/ 9075 h 10000"/>
                    <a:gd name="connsiteX150" fmla="*/ 7778 w 10000"/>
                    <a:gd name="connsiteY150" fmla="*/ 8997 h 10000"/>
                    <a:gd name="connsiteX151" fmla="*/ 7556 w 10000"/>
                    <a:gd name="connsiteY151" fmla="*/ 8981 h 10000"/>
                    <a:gd name="connsiteX152" fmla="*/ 7000 w 10000"/>
                    <a:gd name="connsiteY152" fmla="*/ 8950 h 10000"/>
                    <a:gd name="connsiteX153" fmla="*/ 6556 w 10000"/>
                    <a:gd name="connsiteY153" fmla="*/ 8967 h 10000"/>
                    <a:gd name="connsiteX154" fmla="*/ 6222 w 10000"/>
                    <a:gd name="connsiteY154" fmla="*/ 8967 h 10000"/>
                    <a:gd name="connsiteX155" fmla="*/ 6111 w 10000"/>
                    <a:gd name="connsiteY155" fmla="*/ 8950 h 10000"/>
                    <a:gd name="connsiteX156" fmla="*/ 6056 w 10000"/>
                    <a:gd name="connsiteY156" fmla="*/ 8659 h 10000"/>
                    <a:gd name="connsiteX157" fmla="*/ 6056 w 10000"/>
                    <a:gd name="connsiteY157" fmla="*/ 8597 h 10000"/>
                    <a:gd name="connsiteX158" fmla="*/ 5944 w 10000"/>
                    <a:gd name="connsiteY158" fmla="*/ 8520 h 10000"/>
                    <a:gd name="connsiteX159" fmla="*/ 5889 w 10000"/>
                    <a:gd name="connsiteY159" fmla="*/ 8505 h 10000"/>
                    <a:gd name="connsiteX160" fmla="*/ 5667 w 10000"/>
                    <a:gd name="connsiteY160" fmla="*/ 8488 h 10000"/>
                    <a:gd name="connsiteX161" fmla="*/ 4889 w 10000"/>
                    <a:gd name="connsiteY161" fmla="*/ 8612 h 10000"/>
                    <a:gd name="connsiteX162" fmla="*/ 4611 w 10000"/>
                    <a:gd name="connsiteY162" fmla="*/ 8641 h 10000"/>
                    <a:gd name="connsiteX163" fmla="*/ 4500 w 10000"/>
                    <a:gd name="connsiteY163" fmla="*/ 8641 h 10000"/>
                    <a:gd name="connsiteX164" fmla="*/ 4222 w 10000"/>
                    <a:gd name="connsiteY164" fmla="*/ 8488 h 10000"/>
                    <a:gd name="connsiteX165" fmla="*/ 4222 w 10000"/>
                    <a:gd name="connsiteY165" fmla="*/ 8488 h 10000"/>
                    <a:gd name="connsiteX166" fmla="*/ 4111 w 10000"/>
                    <a:gd name="connsiteY166" fmla="*/ 8411 h 10000"/>
                    <a:gd name="connsiteX167" fmla="*/ 4111 w 10000"/>
                    <a:gd name="connsiteY167" fmla="*/ 8318 h 10000"/>
                    <a:gd name="connsiteX168" fmla="*/ 4111 w 10000"/>
                    <a:gd name="connsiteY168" fmla="*/ 8318 h 10000"/>
                    <a:gd name="connsiteX169" fmla="*/ 4278 w 10000"/>
                    <a:gd name="connsiteY169" fmla="*/ 8271 h 10000"/>
                    <a:gd name="connsiteX170" fmla="*/ 4389 w 10000"/>
                    <a:gd name="connsiteY170" fmla="*/ 8256 h 10000"/>
                    <a:gd name="connsiteX171" fmla="*/ 4389 w 10000"/>
                    <a:gd name="connsiteY171" fmla="*/ 8256 h 10000"/>
                    <a:gd name="connsiteX172" fmla="*/ 3722 w 10000"/>
                    <a:gd name="connsiteY172" fmla="*/ 8271 h 10000"/>
                    <a:gd name="connsiteX173" fmla="*/ 3611 w 10000"/>
                    <a:gd name="connsiteY173" fmla="*/ 8287 h 10000"/>
                    <a:gd name="connsiteX174" fmla="*/ 3556 w 10000"/>
                    <a:gd name="connsiteY174" fmla="*/ 8303 h 10000"/>
                    <a:gd name="connsiteX175" fmla="*/ 3556 w 10000"/>
                    <a:gd name="connsiteY175" fmla="*/ 8303 h 10000"/>
                    <a:gd name="connsiteX176" fmla="*/ 3444 w 10000"/>
                    <a:gd name="connsiteY176" fmla="*/ 8364 h 10000"/>
                    <a:gd name="connsiteX177" fmla="*/ 3278 w 10000"/>
                    <a:gd name="connsiteY177" fmla="*/ 8457 h 10000"/>
                    <a:gd name="connsiteX178" fmla="*/ 3000 w 10000"/>
                    <a:gd name="connsiteY178" fmla="*/ 8566 h 10000"/>
                    <a:gd name="connsiteX179" fmla="*/ 2667 w 10000"/>
                    <a:gd name="connsiteY179" fmla="*/ 8641 h 10000"/>
                    <a:gd name="connsiteX180" fmla="*/ 2667 w 10000"/>
                    <a:gd name="connsiteY180" fmla="*/ 8641 h 10000"/>
                    <a:gd name="connsiteX181" fmla="*/ 2333 w 10000"/>
                    <a:gd name="connsiteY181" fmla="*/ 8704 h 10000"/>
                    <a:gd name="connsiteX182" fmla="*/ 1833 w 10000"/>
                    <a:gd name="connsiteY182" fmla="*/ 8766 h 10000"/>
                    <a:gd name="connsiteX183" fmla="*/ 1389 w 10000"/>
                    <a:gd name="connsiteY183" fmla="*/ 8797 h 10000"/>
                    <a:gd name="connsiteX184" fmla="*/ 889 w 10000"/>
                    <a:gd name="connsiteY184" fmla="*/ 8812 h 10000"/>
                    <a:gd name="connsiteX185" fmla="*/ 889 w 10000"/>
                    <a:gd name="connsiteY185" fmla="*/ 8812 h 10000"/>
                    <a:gd name="connsiteX186" fmla="*/ 500 w 10000"/>
                    <a:gd name="connsiteY186" fmla="*/ 8828 h 10000"/>
                    <a:gd name="connsiteX187" fmla="*/ 222 w 10000"/>
                    <a:gd name="connsiteY187" fmla="*/ 8844 h 10000"/>
                    <a:gd name="connsiteX188" fmla="*/ 0 w 10000"/>
                    <a:gd name="connsiteY188" fmla="*/ 8859 h 10000"/>
                    <a:gd name="connsiteX189" fmla="*/ 0 w 10000"/>
                    <a:gd name="connsiteY189" fmla="*/ 8859 h 10000"/>
                    <a:gd name="connsiteX190" fmla="*/ 278 w 10000"/>
                    <a:gd name="connsiteY190" fmla="*/ 9105 h 10000"/>
                    <a:gd name="connsiteX191" fmla="*/ 500 w 10000"/>
                    <a:gd name="connsiteY191" fmla="*/ 9291 h 10000"/>
                    <a:gd name="connsiteX192" fmla="*/ 722 w 10000"/>
                    <a:gd name="connsiteY192" fmla="*/ 9446 h 10000"/>
                    <a:gd name="connsiteX193" fmla="*/ 722 w 10000"/>
                    <a:gd name="connsiteY193" fmla="*/ 9446 h 10000"/>
                    <a:gd name="connsiteX194" fmla="*/ 889 w 10000"/>
                    <a:gd name="connsiteY194" fmla="*/ 9538 h 10000"/>
                    <a:gd name="connsiteX195" fmla="*/ 944 w 10000"/>
                    <a:gd name="connsiteY195" fmla="*/ 9615 h 10000"/>
                    <a:gd name="connsiteX196" fmla="*/ 1111 w 10000"/>
                    <a:gd name="connsiteY196" fmla="*/ 9692 h 10000"/>
                    <a:gd name="connsiteX197" fmla="*/ 1333 w 10000"/>
                    <a:gd name="connsiteY197" fmla="*/ 9816 h 10000"/>
                    <a:gd name="connsiteX198" fmla="*/ 1333 w 10000"/>
                    <a:gd name="connsiteY198" fmla="*/ 9816 h 10000"/>
                    <a:gd name="connsiteX199" fmla="*/ 1444 w 10000"/>
                    <a:gd name="connsiteY199" fmla="*/ 9879 h 10000"/>
                    <a:gd name="connsiteX200" fmla="*/ 1500 w 10000"/>
                    <a:gd name="connsiteY200" fmla="*/ 9924 h 10000"/>
                    <a:gd name="connsiteX201" fmla="*/ 1500 w 10000"/>
                    <a:gd name="connsiteY201" fmla="*/ 9971 h 10000"/>
                    <a:gd name="connsiteX202" fmla="*/ 1556 w 10000"/>
                    <a:gd name="connsiteY202" fmla="*/ 9986 h 10000"/>
                    <a:gd name="connsiteX203" fmla="*/ 1722 w 10000"/>
                    <a:gd name="connsiteY203" fmla="*/ 10000 h 10000"/>
                    <a:gd name="connsiteX204" fmla="*/ 10000 w 10000"/>
                    <a:gd name="connsiteY204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6500 w 10000"/>
                    <a:gd name="connsiteY44" fmla="*/ 8134 h 10000"/>
                    <a:gd name="connsiteX45" fmla="*/ 7167 w 10000"/>
                    <a:gd name="connsiteY45" fmla="*/ 8087 h 10000"/>
                    <a:gd name="connsiteX46" fmla="*/ 8389 w 10000"/>
                    <a:gd name="connsiteY46" fmla="*/ 7995 h 10000"/>
                    <a:gd name="connsiteX47" fmla="*/ 8389 w 10000"/>
                    <a:gd name="connsiteY47" fmla="*/ 7995 h 10000"/>
                    <a:gd name="connsiteX48" fmla="*/ 8667 w 10000"/>
                    <a:gd name="connsiteY48" fmla="*/ 7963 h 10000"/>
                    <a:gd name="connsiteX49" fmla="*/ 8778 w 10000"/>
                    <a:gd name="connsiteY49" fmla="*/ 7917 h 10000"/>
                    <a:gd name="connsiteX50" fmla="*/ 8889 w 10000"/>
                    <a:gd name="connsiteY50" fmla="*/ 7887 h 10000"/>
                    <a:gd name="connsiteX51" fmla="*/ 8833 w 10000"/>
                    <a:gd name="connsiteY51" fmla="*/ 7856 h 10000"/>
                    <a:gd name="connsiteX52" fmla="*/ 8833 w 10000"/>
                    <a:gd name="connsiteY52" fmla="*/ 7826 h 10000"/>
                    <a:gd name="connsiteX53" fmla="*/ 8722 w 10000"/>
                    <a:gd name="connsiteY53" fmla="*/ 7793 h 10000"/>
                    <a:gd name="connsiteX54" fmla="*/ 8556 w 10000"/>
                    <a:gd name="connsiteY54" fmla="*/ 7747 h 10000"/>
                    <a:gd name="connsiteX55" fmla="*/ 8556 w 10000"/>
                    <a:gd name="connsiteY55" fmla="*/ 7747 h 10000"/>
                    <a:gd name="connsiteX56" fmla="*/ 6556 w 10000"/>
                    <a:gd name="connsiteY56" fmla="*/ 7470 h 10000"/>
                    <a:gd name="connsiteX57" fmla="*/ 6556 w 10000"/>
                    <a:gd name="connsiteY57" fmla="*/ 7470 h 10000"/>
                    <a:gd name="connsiteX58" fmla="*/ 6333 w 10000"/>
                    <a:gd name="connsiteY58" fmla="*/ 7424 h 10000"/>
                    <a:gd name="connsiteX59" fmla="*/ 6167 w 10000"/>
                    <a:gd name="connsiteY59" fmla="*/ 7377 h 10000"/>
                    <a:gd name="connsiteX60" fmla="*/ 6056 w 10000"/>
                    <a:gd name="connsiteY60" fmla="*/ 7331 h 10000"/>
                    <a:gd name="connsiteX61" fmla="*/ 6056 w 10000"/>
                    <a:gd name="connsiteY61" fmla="*/ 7331 h 10000"/>
                    <a:gd name="connsiteX62" fmla="*/ 8056 w 10000"/>
                    <a:gd name="connsiteY62" fmla="*/ 7315 h 10000"/>
                    <a:gd name="connsiteX63" fmla="*/ 10000 w 10000"/>
                    <a:gd name="connsiteY63" fmla="*/ 7470 h 10000"/>
                    <a:gd name="connsiteX64" fmla="*/ 10000 w 10000"/>
                    <a:gd name="connsiteY64" fmla="*/ 6065 h 10000"/>
                    <a:gd name="connsiteX65" fmla="*/ 10000 w 10000"/>
                    <a:gd name="connsiteY65" fmla="*/ 6065 h 10000"/>
                    <a:gd name="connsiteX66" fmla="*/ 7778 w 10000"/>
                    <a:gd name="connsiteY66" fmla="*/ 5740 h 10000"/>
                    <a:gd name="connsiteX67" fmla="*/ 6556 w 10000"/>
                    <a:gd name="connsiteY67" fmla="*/ 5556 h 10000"/>
                    <a:gd name="connsiteX68" fmla="*/ 6556 w 10000"/>
                    <a:gd name="connsiteY68" fmla="*/ 5556 h 10000"/>
                    <a:gd name="connsiteX69" fmla="*/ 6556 w 10000"/>
                    <a:gd name="connsiteY69" fmla="*/ 5541 h 10000"/>
                    <a:gd name="connsiteX70" fmla="*/ 6556 w 10000"/>
                    <a:gd name="connsiteY70" fmla="*/ 5448 h 10000"/>
                    <a:gd name="connsiteX71" fmla="*/ 6556 w 10000"/>
                    <a:gd name="connsiteY71" fmla="*/ 5448 h 10000"/>
                    <a:gd name="connsiteX72" fmla="*/ 6389 w 10000"/>
                    <a:gd name="connsiteY72" fmla="*/ 5340 h 10000"/>
                    <a:gd name="connsiteX73" fmla="*/ 6056 w 10000"/>
                    <a:gd name="connsiteY73" fmla="*/ 5171 h 10000"/>
                    <a:gd name="connsiteX74" fmla="*/ 5333 w 10000"/>
                    <a:gd name="connsiteY74" fmla="*/ 4846 h 10000"/>
                    <a:gd name="connsiteX75" fmla="*/ 5333 w 10000"/>
                    <a:gd name="connsiteY75" fmla="*/ 4846 h 10000"/>
                    <a:gd name="connsiteX76" fmla="*/ 5167 w 10000"/>
                    <a:gd name="connsiteY76" fmla="*/ 4800 h 10000"/>
                    <a:gd name="connsiteX77" fmla="*/ 4889 w 10000"/>
                    <a:gd name="connsiteY77" fmla="*/ 4737 h 10000"/>
                    <a:gd name="connsiteX78" fmla="*/ 4056 w 10000"/>
                    <a:gd name="connsiteY78" fmla="*/ 4599 h 10000"/>
                    <a:gd name="connsiteX79" fmla="*/ 2889 w 10000"/>
                    <a:gd name="connsiteY79" fmla="*/ 4430 h 10000"/>
                    <a:gd name="connsiteX80" fmla="*/ 2889 w 10000"/>
                    <a:gd name="connsiteY80" fmla="*/ 4430 h 10000"/>
                    <a:gd name="connsiteX81" fmla="*/ 2389 w 10000"/>
                    <a:gd name="connsiteY81" fmla="*/ 4413 h 10000"/>
                    <a:gd name="connsiteX82" fmla="*/ 2000 w 10000"/>
                    <a:gd name="connsiteY82" fmla="*/ 4397 h 10000"/>
                    <a:gd name="connsiteX83" fmla="*/ 1889 w 10000"/>
                    <a:gd name="connsiteY83" fmla="*/ 4382 h 10000"/>
                    <a:gd name="connsiteX84" fmla="*/ 1778 w 10000"/>
                    <a:gd name="connsiteY84" fmla="*/ 4367 h 10000"/>
                    <a:gd name="connsiteX85" fmla="*/ 1778 w 10000"/>
                    <a:gd name="connsiteY85" fmla="*/ 4367 h 10000"/>
                    <a:gd name="connsiteX86" fmla="*/ 1667 w 10000"/>
                    <a:gd name="connsiteY86" fmla="*/ 4305 h 10000"/>
                    <a:gd name="connsiteX87" fmla="*/ 1500 w 10000"/>
                    <a:gd name="connsiteY87" fmla="*/ 4198 h 10000"/>
                    <a:gd name="connsiteX88" fmla="*/ 1444 w 10000"/>
                    <a:gd name="connsiteY88" fmla="*/ 4136 h 10000"/>
                    <a:gd name="connsiteX89" fmla="*/ 1444 w 10000"/>
                    <a:gd name="connsiteY89" fmla="*/ 4073 h 10000"/>
                    <a:gd name="connsiteX90" fmla="*/ 1444 w 10000"/>
                    <a:gd name="connsiteY90" fmla="*/ 4028 h 10000"/>
                    <a:gd name="connsiteX91" fmla="*/ 1556 w 10000"/>
                    <a:gd name="connsiteY91" fmla="*/ 3981 h 10000"/>
                    <a:gd name="connsiteX92" fmla="*/ 1556 w 10000"/>
                    <a:gd name="connsiteY92" fmla="*/ 3981 h 10000"/>
                    <a:gd name="connsiteX93" fmla="*/ 1833 w 10000"/>
                    <a:gd name="connsiteY93" fmla="*/ 3904 h 10000"/>
                    <a:gd name="connsiteX94" fmla="*/ 2111 w 10000"/>
                    <a:gd name="connsiteY94" fmla="*/ 3828 h 10000"/>
                    <a:gd name="connsiteX95" fmla="*/ 2278 w 10000"/>
                    <a:gd name="connsiteY95" fmla="*/ 3782 h 10000"/>
                    <a:gd name="connsiteX96" fmla="*/ 2389 w 10000"/>
                    <a:gd name="connsiteY96" fmla="*/ 3734 h 10000"/>
                    <a:gd name="connsiteX97" fmla="*/ 2389 w 10000"/>
                    <a:gd name="connsiteY97" fmla="*/ 3672 h 10000"/>
                    <a:gd name="connsiteX98" fmla="*/ 2389 w 10000"/>
                    <a:gd name="connsiteY98" fmla="*/ 3596 h 10000"/>
                    <a:gd name="connsiteX99" fmla="*/ 2389 w 10000"/>
                    <a:gd name="connsiteY99" fmla="*/ 3596 h 10000"/>
                    <a:gd name="connsiteX100" fmla="*/ 2167 w 10000"/>
                    <a:gd name="connsiteY100" fmla="*/ 3379 h 10000"/>
                    <a:gd name="connsiteX101" fmla="*/ 1889 w 10000"/>
                    <a:gd name="connsiteY101" fmla="*/ 3087 h 10000"/>
                    <a:gd name="connsiteX102" fmla="*/ 1667 w 10000"/>
                    <a:gd name="connsiteY102" fmla="*/ 2824 h 10000"/>
                    <a:gd name="connsiteX103" fmla="*/ 1611 w 10000"/>
                    <a:gd name="connsiteY103" fmla="*/ 2747 h 10000"/>
                    <a:gd name="connsiteX104" fmla="*/ 1611 w 10000"/>
                    <a:gd name="connsiteY104" fmla="*/ 2716 h 10000"/>
                    <a:gd name="connsiteX105" fmla="*/ 1667 w 10000"/>
                    <a:gd name="connsiteY105" fmla="*/ 2700 h 10000"/>
                    <a:gd name="connsiteX106" fmla="*/ 1667 w 10000"/>
                    <a:gd name="connsiteY106" fmla="*/ 2700 h 10000"/>
                    <a:gd name="connsiteX107" fmla="*/ 2000 w 10000"/>
                    <a:gd name="connsiteY107" fmla="*/ 2686 h 10000"/>
                    <a:gd name="connsiteX108" fmla="*/ 2222 w 10000"/>
                    <a:gd name="connsiteY108" fmla="*/ 2686 h 10000"/>
                    <a:gd name="connsiteX109" fmla="*/ 2389 w 10000"/>
                    <a:gd name="connsiteY109" fmla="*/ 2700 h 10000"/>
                    <a:gd name="connsiteX110" fmla="*/ 2389 w 10000"/>
                    <a:gd name="connsiteY110" fmla="*/ 2700 h 10000"/>
                    <a:gd name="connsiteX111" fmla="*/ 2444 w 10000"/>
                    <a:gd name="connsiteY111" fmla="*/ 2700 h 10000"/>
                    <a:gd name="connsiteX112" fmla="*/ 2500 w 10000"/>
                    <a:gd name="connsiteY112" fmla="*/ 2670 h 10000"/>
                    <a:gd name="connsiteX113" fmla="*/ 2778 w 10000"/>
                    <a:gd name="connsiteY113" fmla="*/ 2577 h 10000"/>
                    <a:gd name="connsiteX114" fmla="*/ 3500 w 10000"/>
                    <a:gd name="connsiteY114" fmla="*/ 2269 h 10000"/>
                    <a:gd name="connsiteX115" fmla="*/ 4444 w 10000"/>
                    <a:gd name="connsiteY115" fmla="*/ 1822 h 10000"/>
                    <a:gd name="connsiteX116" fmla="*/ 4444 w 10000"/>
                    <a:gd name="connsiteY116" fmla="*/ 1822 h 10000"/>
                    <a:gd name="connsiteX117" fmla="*/ 4444 w 10000"/>
                    <a:gd name="connsiteY117" fmla="*/ 1759 h 10000"/>
                    <a:gd name="connsiteX118" fmla="*/ 4444 w 10000"/>
                    <a:gd name="connsiteY118" fmla="*/ 1619 h 10000"/>
                    <a:gd name="connsiteX119" fmla="*/ 4500 w 10000"/>
                    <a:gd name="connsiteY119" fmla="*/ 1528 h 10000"/>
                    <a:gd name="connsiteX120" fmla="*/ 4611 w 10000"/>
                    <a:gd name="connsiteY120" fmla="*/ 1450 h 10000"/>
                    <a:gd name="connsiteX121" fmla="*/ 4778 w 10000"/>
                    <a:gd name="connsiteY121" fmla="*/ 1358 h 10000"/>
                    <a:gd name="connsiteX122" fmla="*/ 5000 w 10000"/>
                    <a:gd name="connsiteY122" fmla="*/ 1281 h 10000"/>
                    <a:gd name="connsiteX123" fmla="*/ 5000 w 10000"/>
                    <a:gd name="connsiteY123" fmla="*/ 1281 h 10000"/>
                    <a:gd name="connsiteX124" fmla="*/ 5556 w 10000"/>
                    <a:gd name="connsiteY124" fmla="*/ 1127 h 10000"/>
                    <a:gd name="connsiteX125" fmla="*/ 6111 w 10000"/>
                    <a:gd name="connsiteY125" fmla="*/ 926 h 10000"/>
                    <a:gd name="connsiteX126" fmla="*/ 6667 w 10000"/>
                    <a:gd name="connsiteY126" fmla="*/ 740 h 10000"/>
                    <a:gd name="connsiteX127" fmla="*/ 7056 w 10000"/>
                    <a:gd name="connsiteY127" fmla="*/ 572 h 10000"/>
                    <a:gd name="connsiteX128" fmla="*/ 7056 w 10000"/>
                    <a:gd name="connsiteY128" fmla="*/ 572 h 10000"/>
                    <a:gd name="connsiteX129" fmla="*/ 7333 w 10000"/>
                    <a:gd name="connsiteY129" fmla="*/ 417 h 10000"/>
                    <a:gd name="connsiteX130" fmla="*/ 7667 w 10000"/>
                    <a:gd name="connsiteY130" fmla="*/ 232 h 10000"/>
                    <a:gd name="connsiteX131" fmla="*/ 8000 w 10000"/>
                    <a:gd name="connsiteY131" fmla="*/ 92 h 10000"/>
                    <a:gd name="connsiteX132" fmla="*/ 8167 w 10000"/>
                    <a:gd name="connsiteY132" fmla="*/ 29 h 10000"/>
                    <a:gd name="connsiteX133" fmla="*/ 8333 w 10000"/>
                    <a:gd name="connsiteY133" fmla="*/ 15 h 10000"/>
                    <a:gd name="connsiteX134" fmla="*/ 8333 w 10000"/>
                    <a:gd name="connsiteY134" fmla="*/ 15 h 10000"/>
                    <a:gd name="connsiteX135" fmla="*/ 8667 w 10000"/>
                    <a:gd name="connsiteY135" fmla="*/ 0 h 10000"/>
                    <a:gd name="connsiteX136" fmla="*/ 9111 w 10000"/>
                    <a:gd name="connsiteY136" fmla="*/ 0 h 10000"/>
                    <a:gd name="connsiteX137" fmla="*/ 10000 w 10000"/>
                    <a:gd name="connsiteY137" fmla="*/ 15 h 10000"/>
                    <a:gd name="connsiteX138" fmla="*/ 10000 w 10000"/>
                    <a:gd name="connsiteY138" fmla="*/ 9446 h 10000"/>
                    <a:gd name="connsiteX139" fmla="*/ 10000 w 10000"/>
                    <a:gd name="connsiteY139" fmla="*/ 9446 h 10000"/>
                    <a:gd name="connsiteX140" fmla="*/ 9722 w 10000"/>
                    <a:gd name="connsiteY140" fmla="*/ 9430 h 10000"/>
                    <a:gd name="connsiteX141" fmla="*/ 9389 w 10000"/>
                    <a:gd name="connsiteY141" fmla="*/ 9446 h 10000"/>
                    <a:gd name="connsiteX142" fmla="*/ 9389 w 10000"/>
                    <a:gd name="connsiteY142" fmla="*/ 9446 h 10000"/>
                    <a:gd name="connsiteX143" fmla="*/ 9278 w 10000"/>
                    <a:gd name="connsiteY143" fmla="*/ 9461 h 10000"/>
                    <a:gd name="connsiteX144" fmla="*/ 9056 w 10000"/>
                    <a:gd name="connsiteY144" fmla="*/ 9446 h 10000"/>
                    <a:gd name="connsiteX145" fmla="*/ 8722 w 10000"/>
                    <a:gd name="connsiteY145" fmla="*/ 9399 h 10000"/>
                    <a:gd name="connsiteX146" fmla="*/ 8444 w 10000"/>
                    <a:gd name="connsiteY146" fmla="*/ 9276 h 10000"/>
                    <a:gd name="connsiteX147" fmla="*/ 8444 w 10000"/>
                    <a:gd name="connsiteY147" fmla="*/ 9276 h 10000"/>
                    <a:gd name="connsiteX148" fmla="*/ 8111 w 10000"/>
                    <a:gd name="connsiteY148" fmla="*/ 9075 h 10000"/>
                    <a:gd name="connsiteX149" fmla="*/ 7778 w 10000"/>
                    <a:gd name="connsiteY149" fmla="*/ 8997 h 10000"/>
                    <a:gd name="connsiteX150" fmla="*/ 7556 w 10000"/>
                    <a:gd name="connsiteY150" fmla="*/ 8981 h 10000"/>
                    <a:gd name="connsiteX151" fmla="*/ 7000 w 10000"/>
                    <a:gd name="connsiteY151" fmla="*/ 8950 h 10000"/>
                    <a:gd name="connsiteX152" fmla="*/ 6556 w 10000"/>
                    <a:gd name="connsiteY152" fmla="*/ 8967 h 10000"/>
                    <a:gd name="connsiteX153" fmla="*/ 6222 w 10000"/>
                    <a:gd name="connsiteY153" fmla="*/ 8967 h 10000"/>
                    <a:gd name="connsiteX154" fmla="*/ 6111 w 10000"/>
                    <a:gd name="connsiteY154" fmla="*/ 8950 h 10000"/>
                    <a:gd name="connsiteX155" fmla="*/ 6056 w 10000"/>
                    <a:gd name="connsiteY155" fmla="*/ 8659 h 10000"/>
                    <a:gd name="connsiteX156" fmla="*/ 6056 w 10000"/>
                    <a:gd name="connsiteY156" fmla="*/ 8597 h 10000"/>
                    <a:gd name="connsiteX157" fmla="*/ 5944 w 10000"/>
                    <a:gd name="connsiteY157" fmla="*/ 8520 h 10000"/>
                    <a:gd name="connsiteX158" fmla="*/ 5889 w 10000"/>
                    <a:gd name="connsiteY158" fmla="*/ 8505 h 10000"/>
                    <a:gd name="connsiteX159" fmla="*/ 5667 w 10000"/>
                    <a:gd name="connsiteY159" fmla="*/ 8488 h 10000"/>
                    <a:gd name="connsiteX160" fmla="*/ 4889 w 10000"/>
                    <a:gd name="connsiteY160" fmla="*/ 8612 h 10000"/>
                    <a:gd name="connsiteX161" fmla="*/ 4611 w 10000"/>
                    <a:gd name="connsiteY161" fmla="*/ 8641 h 10000"/>
                    <a:gd name="connsiteX162" fmla="*/ 4500 w 10000"/>
                    <a:gd name="connsiteY162" fmla="*/ 8641 h 10000"/>
                    <a:gd name="connsiteX163" fmla="*/ 4222 w 10000"/>
                    <a:gd name="connsiteY163" fmla="*/ 8488 h 10000"/>
                    <a:gd name="connsiteX164" fmla="*/ 4222 w 10000"/>
                    <a:gd name="connsiteY164" fmla="*/ 8488 h 10000"/>
                    <a:gd name="connsiteX165" fmla="*/ 4111 w 10000"/>
                    <a:gd name="connsiteY165" fmla="*/ 8411 h 10000"/>
                    <a:gd name="connsiteX166" fmla="*/ 4111 w 10000"/>
                    <a:gd name="connsiteY166" fmla="*/ 8318 h 10000"/>
                    <a:gd name="connsiteX167" fmla="*/ 4111 w 10000"/>
                    <a:gd name="connsiteY167" fmla="*/ 8318 h 10000"/>
                    <a:gd name="connsiteX168" fmla="*/ 4278 w 10000"/>
                    <a:gd name="connsiteY168" fmla="*/ 8271 h 10000"/>
                    <a:gd name="connsiteX169" fmla="*/ 4389 w 10000"/>
                    <a:gd name="connsiteY169" fmla="*/ 8256 h 10000"/>
                    <a:gd name="connsiteX170" fmla="*/ 4389 w 10000"/>
                    <a:gd name="connsiteY170" fmla="*/ 8256 h 10000"/>
                    <a:gd name="connsiteX171" fmla="*/ 3722 w 10000"/>
                    <a:gd name="connsiteY171" fmla="*/ 8271 h 10000"/>
                    <a:gd name="connsiteX172" fmla="*/ 3611 w 10000"/>
                    <a:gd name="connsiteY172" fmla="*/ 8287 h 10000"/>
                    <a:gd name="connsiteX173" fmla="*/ 3556 w 10000"/>
                    <a:gd name="connsiteY173" fmla="*/ 8303 h 10000"/>
                    <a:gd name="connsiteX174" fmla="*/ 3556 w 10000"/>
                    <a:gd name="connsiteY174" fmla="*/ 8303 h 10000"/>
                    <a:gd name="connsiteX175" fmla="*/ 3444 w 10000"/>
                    <a:gd name="connsiteY175" fmla="*/ 8364 h 10000"/>
                    <a:gd name="connsiteX176" fmla="*/ 3278 w 10000"/>
                    <a:gd name="connsiteY176" fmla="*/ 8457 h 10000"/>
                    <a:gd name="connsiteX177" fmla="*/ 3000 w 10000"/>
                    <a:gd name="connsiteY177" fmla="*/ 8566 h 10000"/>
                    <a:gd name="connsiteX178" fmla="*/ 2667 w 10000"/>
                    <a:gd name="connsiteY178" fmla="*/ 8641 h 10000"/>
                    <a:gd name="connsiteX179" fmla="*/ 2667 w 10000"/>
                    <a:gd name="connsiteY179" fmla="*/ 8641 h 10000"/>
                    <a:gd name="connsiteX180" fmla="*/ 2333 w 10000"/>
                    <a:gd name="connsiteY180" fmla="*/ 8704 h 10000"/>
                    <a:gd name="connsiteX181" fmla="*/ 1833 w 10000"/>
                    <a:gd name="connsiteY181" fmla="*/ 8766 h 10000"/>
                    <a:gd name="connsiteX182" fmla="*/ 1389 w 10000"/>
                    <a:gd name="connsiteY182" fmla="*/ 8797 h 10000"/>
                    <a:gd name="connsiteX183" fmla="*/ 889 w 10000"/>
                    <a:gd name="connsiteY183" fmla="*/ 8812 h 10000"/>
                    <a:gd name="connsiteX184" fmla="*/ 889 w 10000"/>
                    <a:gd name="connsiteY184" fmla="*/ 8812 h 10000"/>
                    <a:gd name="connsiteX185" fmla="*/ 500 w 10000"/>
                    <a:gd name="connsiteY185" fmla="*/ 8828 h 10000"/>
                    <a:gd name="connsiteX186" fmla="*/ 222 w 10000"/>
                    <a:gd name="connsiteY186" fmla="*/ 8844 h 10000"/>
                    <a:gd name="connsiteX187" fmla="*/ 0 w 10000"/>
                    <a:gd name="connsiteY187" fmla="*/ 8859 h 10000"/>
                    <a:gd name="connsiteX188" fmla="*/ 0 w 10000"/>
                    <a:gd name="connsiteY188" fmla="*/ 8859 h 10000"/>
                    <a:gd name="connsiteX189" fmla="*/ 278 w 10000"/>
                    <a:gd name="connsiteY189" fmla="*/ 9105 h 10000"/>
                    <a:gd name="connsiteX190" fmla="*/ 500 w 10000"/>
                    <a:gd name="connsiteY190" fmla="*/ 9291 h 10000"/>
                    <a:gd name="connsiteX191" fmla="*/ 722 w 10000"/>
                    <a:gd name="connsiteY191" fmla="*/ 9446 h 10000"/>
                    <a:gd name="connsiteX192" fmla="*/ 722 w 10000"/>
                    <a:gd name="connsiteY192" fmla="*/ 9446 h 10000"/>
                    <a:gd name="connsiteX193" fmla="*/ 889 w 10000"/>
                    <a:gd name="connsiteY193" fmla="*/ 9538 h 10000"/>
                    <a:gd name="connsiteX194" fmla="*/ 944 w 10000"/>
                    <a:gd name="connsiteY194" fmla="*/ 9615 h 10000"/>
                    <a:gd name="connsiteX195" fmla="*/ 1111 w 10000"/>
                    <a:gd name="connsiteY195" fmla="*/ 9692 h 10000"/>
                    <a:gd name="connsiteX196" fmla="*/ 1333 w 10000"/>
                    <a:gd name="connsiteY196" fmla="*/ 9816 h 10000"/>
                    <a:gd name="connsiteX197" fmla="*/ 1333 w 10000"/>
                    <a:gd name="connsiteY197" fmla="*/ 9816 h 10000"/>
                    <a:gd name="connsiteX198" fmla="*/ 1444 w 10000"/>
                    <a:gd name="connsiteY198" fmla="*/ 9879 h 10000"/>
                    <a:gd name="connsiteX199" fmla="*/ 1500 w 10000"/>
                    <a:gd name="connsiteY199" fmla="*/ 9924 h 10000"/>
                    <a:gd name="connsiteX200" fmla="*/ 1500 w 10000"/>
                    <a:gd name="connsiteY200" fmla="*/ 9971 h 10000"/>
                    <a:gd name="connsiteX201" fmla="*/ 1556 w 10000"/>
                    <a:gd name="connsiteY201" fmla="*/ 9986 h 10000"/>
                    <a:gd name="connsiteX202" fmla="*/ 1722 w 10000"/>
                    <a:gd name="connsiteY202" fmla="*/ 10000 h 10000"/>
                    <a:gd name="connsiteX203" fmla="*/ 10000 w 10000"/>
                    <a:gd name="connsiteY203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7167 w 10000"/>
                    <a:gd name="connsiteY44" fmla="*/ 8087 h 10000"/>
                    <a:gd name="connsiteX45" fmla="*/ 8389 w 10000"/>
                    <a:gd name="connsiteY45" fmla="*/ 7995 h 10000"/>
                    <a:gd name="connsiteX46" fmla="*/ 8389 w 10000"/>
                    <a:gd name="connsiteY46" fmla="*/ 7995 h 10000"/>
                    <a:gd name="connsiteX47" fmla="*/ 8667 w 10000"/>
                    <a:gd name="connsiteY47" fmla="*/ 7963 h 10000"/>
                    <a:gd name="connsiteX48" fmla="*/ 8778 w 10000"/>
                    <a:gd name="connsiteY48" fmla="*/ 7917 h 10000"/>
                    <a:gd name="connsiteX49" fmla="*/ 8889 w 10000"/>
                    <a:gd name="connsiteY49" fmla="*/ 7887 h 10000"/>
                    <a:gd name="connsiteX50" fmla="*/ 8833 w 10000"/>
                    <a:gd name="connsiteY50" fmla="*/ 7856 h 10000"/>
                    <a:gd name="connsiteX51" fmla="*/ 8833 w 10000"/>
                    <a:gd name="connsiteY51" fmla="*/ 7826 h 10000"/>
                    <a:gd name="connsiteX52" fmla="*/ 8722 w 10000"/>
                    <a:gd name="connsiteY52" fmla="*/ 7793 h 10000"/>
                    <a:gd name="connsiteX53" fmla="*/ 8556 w 10000"/>
                    <a:gd name="connsiteY53" fmla="*/ 7747 h 10000"/>
                    <a:gd name="connsiteX54" fmla="*/ 8556 w 10000"/>
                    <a:gd name="connsiteY54" fmla="*/ 7747 h 10000"/>
                    <a:gd name="connsiteX55" fmla="*/ 6556 w 10000"/>
                    <a:gd name="connsiteY55" fmla="*/ 7470 h 10000"/>
                    <a:gd name="connsiteX56" fmla="*/ 6556 w 10000"/>
                    <a:gd name="connsiteY56" fmla="*/ 7470 h 10000"/>
                    <a:gd name="connsiteX57" fmla="*/ 6333 w 10000"/>
                    <a:gd name="connsiteY57" fmla="*/ 7424 h 10000"/>
                    <a:gd name="connsiteX58" fmla="*/ 6167 w 10000"/>
                    <a:gd name="connsiteY58" fmla="*/ 7377 h 10000"/>
                    <a:gd name="connsiteX59" fmla="*/ 6056 w 10000"/>
                    <a:gd name="connsiteY59" fmla="*/ 7331 h 10000"/>
                    <a:gd name="connsiteX60" fmla="*/ 6056 w 10000"/>
                    <a:gd name="connsiteY60" fmla="*/ 7331 h 10000"/>
                    <a:gd name="connsiteX61" fmla="*/ 8056 w 10000"/>
                    <a:gd name="connsiteY61" fmla="*/ 7315 h 10000"/>
                    <a:gd name="connsiteX62" fmla="*/ 10000 w 10000"/>
                    <a:gd name="connsiteY62" fmla="*/ 7470 h 10000"/>
                    <a:gd name="connsiteX63" fmla="*/ 10000 w 10000"/>
                    <a:gd name="connsiteY63" fmla="*/ 6065 h 10000"/>
                    <a:gd name="connsiteX64" fmla="*/ 10000 w 10000"/>
                    <a:gd name="connsiteY64" fmla="*/ 6065 h 10000"/>
                    <a:gd name="connsiteX65" fmla="*/ 7778 w 10000"/>
                    <a:gd name="connsiteY65" fmla="*/ 5740 h 10000"/>
                    <a:gd name="connsiteX66" fmla="*/ 6556 w 10000"/>
                    <a:gd name="connsiteY66" fmla="*/ 5556 h 10000"/>
                    <a:gd name="connsiteX67" fmla="*/ 6556 w 10000"/>
                    <a:gd name="connsiteY67" fmla="*/ 5556 h 10000"/>
                    <a:gd name="connsiteX68" fmla="*/ 6556 w 10000"/>
                    <a:gd name="connsiteY68" fmla="*/ 5541 h 10000"/>
                    <a:gd name="connsiteX69" fmla="*/ 6556 w 10000"/>
                    <a:gd name="connsiteY69" fmla="*/ 5448 h 10000"/>
                    <a:gd name="connsiteX70" fmla="*/ 6556 w 10000"/>
                    <a:gd name="connsiteY70" fmla="*/ 5448 h 10000"/>
                    <a:gd name="connsiteX71" fmla="*/ 6389 w 10000"/>
                    <a:gd name="connsiteY71" fmla="*/ 5340 h 10000"/>
                    <a:gd name="connsiteX72" fmla="*/ 6056 w 10000"/>
                    <a:gd name="connsiteY72" fmla="*/ 5171 h 10000"/>
                    <a:gd name="connsiteX73" fmla="*/ 5333 w 10000"/>
                    <a:gd name="connsiteY73" fmla="*/ 4846 h 10000"/>
                    <a:gd name="connsiteX74" fmla="*/ 5333 w 10000"/>
                    <a:gd name="connsiteY74" fmla="*/ 4846 h 10000"/>
                    <a:gd name="connsiteX75" fmla="*/ 5167 w 10000"/>
                    <a:gd name="connsiteY75" fmla="*/ 4800 h 10000"/>
                    <a:gd name="connsiteX76" fmla="*/ 4889 w 10000"/>
                    <a:gd name="connsiteY76" fmla="*/ 4737 h 10000"/>
                    <a:gd name="connsiteX77" fmla="*/ 4056 w 10000"/>
                    <a:gd name="connsiteY77" fmla="*/ 4599 h 10000"/>
                    <a:gd name="connsiteX78" fmla="*/ 2889 w 10000"/>
                    <a:gd name="connsiteY78" fmla="*/ 4430 h 10000"/>
                    <a:gd name="connsiteX79" fmla="*/ 2889 w 10000"/>
                    <a:gd name="connsiteY79" fmla="*/ 4430 h 10000"/>
                    <a:gd name="connsiteX80" fmla="*/ 2389 w 10000"/>
                    <a:gd name="connsiteY80" fmla="*/ 4413 h 10000"/>
                    <a:gd name="connsiteX81" fmla="*/ 2000 w 10000"/>
                    <a:gd name="connsiteY81" fmla="*/ 4397 h 10000"/>
                    <a:gd name="connsiteX82" fmla="*/ 1889 w 10000"/>
                    <a:gd name="connsiteY82" fmla="*/ 4382 h 10000"/>
                    <a:gd name="connsiteX83" fmla="*/ 1778 w 10000"/>
                    <a:gd name="connsiteY83" fmla="*/ 4367 h 10000"/>
                    <a:gd name="connsiteX84" fmla="*/ 1778 w 10000"/>
                    <a:gd name="connsiteY84" fmla="*/ 4367 h 10000"/>
                    <a:gd name="connsiteX85" fmla="*/ 1667 w 10000"/>
                    <a:gd name="connsiteY85" fmla="*/ 4305 h 10000"/>
                    <a:gd name="connsiteX86" fmla="*/ 1500 w 10000"/>
                    <a:gd name="connsiteY86" fmla="*/ 4198 h 10000"/>
                    <a:gd name="connsiteX87" fmla="*/ 1444 w 10000"/>
                    <a:gd name="connsiteY87" fmla="*/ 4136 h 10000"/>
                    <a:gd name="connsiteX88" fmla="*/ 1444 w 10000"/>
                    <a:gd name="connsiteY88" fmla="*/ 4073 h 10000"/>
                    <a:gd name="connsiteX89" fmla="*/ 1444 w 10000"/>
                    <a:gd name="connsiteY89" fmla="*/ 4028 h 10000"/>
                    <a:gd name="connsiteX90" fmla="*/ 1556 w 10000"/>
                    <a:gd name="connsiteY90" fmla="*/ 3981 h 10000"/>
                    <a:gd name="connsiteX91" fmla="*/ 1556 w 10000"/>
                    <a:gd name="connsiteY91" fmla="*/ 3981 h 10000"/>
                    <a:gd name="connsiteX92" fmla="*/ 1833 w 10000"/>
                    <a:gd name="connsiteY92" fmla="*/ 3904 h 10000"/>
                    <a:gd name="connsiteX93" fmla="*/ 2111 w 10000"/>
                    <a:gd name="connsiteY93" fmla="*/ 3828 h 10000"/>
                    <a:gd name="connsiteX94" fmla="*/ 2278 w 10000"/>
                    <a:gd name="connsiteY94" fmla="*/ 3782 h 10000"/>
                    <a:gd name="connsiteX95" fmla="*/ 2389 w 10000"/>
                    <a:gd name="connsiteY95" fmla="*/ 3734 h 10000"/>
                    <a:gd name="connsiteX96" fmla="*/ 2389 w 10000"/>
                    <a:gd name="connsiteY96" fmla="*/ 3672 h 10000"/>
                    <a:gd name="connsiteX97" fmla="*/ 2389 w 10000"/>
                    <a:gd name="connsiteY97" fmla="*/ 3596 h 10000"/>
                    <a:gd name="connsiteX98" fmla="*/ 2389 w 10000"/>
                    <a:gd name="connsiteY98" fmla="*/ 3596 h 10000"/>
                    <a:gd name="connsiteX99" fmla="*/ 2167 w 10000"/>
                    <a:gd name="connsiteY99" fmla="*/ 3379 h 10000"/>
                    <a:gd name="connsiteX100" fmla="*/ 1889 w 10000"/>
                    <a:gd name="connsiteY100" fmla="*/ 3087 h 10000"/>
                    <a:gd name="connsiteX101" fmla="*/ 1667 w 10000"/>
                    <a:gd name="connsiteY101" fmla="*/ 2824 h 10000"/>
                    <a:gd name="connsiteX102" fmla="*/ 1611 w 10000"/>
                    <a:gd name="connsiteY102" fmla="*/ 2747 h 10000"/>
                    <a:gd name="connsiteX103" fmla="*/ 1611 w 10000"/>
                    <a:gd name="connsiteY103" fmla="*/ 2716 h 10000"/>
                    <a:gd name="connsiteX104" fmla="*/ 1667 w 10000"/>
                    <a:gd name="connsiteY104" fmla="*/ 2700 h 10000"/>
                    <a:gd name="connsiteX105" fmla="*/ 1667 w 10000"/>
                    <a:gd name="connsiteY105" fmla="*/ 2700 h 10000"/>
                    <a:gd name="connsiteX106" fmla="*/ 2000 w 10000"/>
                    <a:gd name="connsiteY106" fmla="*/ 2686 h 10000"/>
                    <a:gd name="connsiteX107" fmla="*/ 2222 w 10000"/>
                    <a:gd name="connsiteY107" fmla="*/ 2686 h 10000"/>
                    <a:gd name="connsiteX108" fmla="*/ 2389 w 10000"/>
                    <a:gd name="connsiteY108" fmla="*/ 2700 h 10000"/>
                    <a:gd name="connsiteX109" fmla="*/ 2389 w 10000"/>
                    <a:gd name="connsiteY109" fmla="*/ 2700 h 10000"/>
                    <a:gd name="connsiteX110" fmla="*/ 2444 w 10000"/>
                    <a:gd name="connsiteY110" fmla="*/ 2700 h 10000"/>
                    <a:gd name="connsiteX111" fmla="*/ 2500 w 10000"/>
                    <a:gd name="connsiteY111" fmla="*/ 2670 h 10000"/>
                    <a:gd name="connsiteX112" fmla="*/ 2778 w 10000"/>
                    <a:gd name="connsiteY112" fmla="*/ 2577 h 10000"/>
                    <a:gd name="connsiteX113" fmla="*/ 3500 w 10000"/>
                    <a:gd name="connsiteY113" fmla="*/ 2269 h 10000"/>
                    <a:gd name="connsiteX114" fmla="*/ 4444 w 10000"/>
                    <a:gd name="connsiteY114" fmla="*/ 1822 h 10000"/>
                    <a:gd name="connsiteX115" fmla="*/ 4444 w 10000"/>
                    <a:gd name="connsiteY115" fmla="*/ 1822 h 10000"/>
                    <a:gd name="connsiteX116" fmla="*/ 4444 w 10000"/>
                    <a:gd name="connsiteY116" fmla="*/ 1759 h 10000"/>
                    <a:gd name="connsiteX117" fmla="*/ 4444 w 10000"/>
                    <a:gd name="connsiteY117" fmla="*/ 1619 h 10000"/>
                    <a:gd name="connsiteX118" fmla="*/ 4500 w 10000"/>
                    <a:gd name="connsiteY118" fmla="*/ 1528 h 10000"/>
                    <a:gd name="connsiteX119" fmla="*/ 4611 w 10000"/>
                    <a:gd name="connsiteY119" fmla="*/ 1450 h 10000"/>
                    <a:gd name="connsiteX120" fmla="*/ 4778 w 10000"/>
                    <a:gd name="connsiteY120" fmla="*/ 1358 h 10000"/>
                    <a:gd name="connsiteX121" fmla="*/ 5000 w 10000"/>
                    <a:gd name="connsiteY121" fmla="*/ 1281 h 10000"/>
                    <a:gd name="connsiteX122" fmla="*/ 5000 w 10000"/>
                    <a:gd name="connsiteY122" fmla="*/ 1281 h 10000"/>
                    <a:gd name="connsiteX123" fmla="*/ 5556 w 10000"/>
                    <a:gd name="connsiteY123" fmla="*/ 1127 h 10000"/>
                    <a:gd name="connsiteX124" fmla="*/ 6111 w 10000"/>
                    <a:gd name="connsiteY124" fmla="*/ 926 h 10000"/>
                    <a:gd name="connsiteX125" fmla="*/ 6667 w 10000"/>
                    <a:gd name="connsiteY125" fmla="*/ 740 h 10000"/>
                    <a:gd name="connsiteX126" fmla="*/ 7056 w 10000"/>
                    <a:gd name="connsiteY126" fmla="*/ 572 h 10000"/>
                    <a:gd name="connsiteX127" fmla="*/ 7056 w 10000"/>
                    <a:gd name="connsiteY127" fmla="*/ 572 h 10000"/>
                    <a:gd name="connsiteX128" fmla="*/ 7333 w 10000"/>
                    <a:gd name="connsiteY128" fmla="*/ 417 h 10000"/>
                    <a:gd name="connsiteX129" fmla="*/ 7667 w 10000"/>
                    <a:gd name="connsiteY129" fmla="*/ 232 h 10000"/>
                    <a:gd name="connsiteX130" fmla="*/ 8000 w 10000"/>
                    <a:gd name="connsiteY130" fmla="*/ 92 h 10000"/>
                    <a:gd name="connsiteX131" fmla="*/ 8167 w 10000"/>
                    <a:gd name="connsiteY131" fmla="*/ 29 h 10000"/>
                    <a:gd name="connsiteX132" fmla="*/ 8333 w 10000"/>
                    <a:gd name="connsiteY132" fmla="*/ 15 h 10000"/>
                    <a:gd name="connsiteX133" fmla="*/ 8333 w 10000"/>
                    <a:gd name="connsiteY133" fmla="*/ 15 h 10000"/>
                    <a:gd name="connsiteX134" fmla="*/ 8667 w 10000"/>
                    <a:gd name="connsiteY134" fmla="*/ 0 h 10000"/>
                    <a:gd name="connsiteX135" fmla="*/ 9111 w 10000"/>
                    <a:gd name="connsiteY135" fmla="*/ 0 h 10000"/>
                    <a:gd name="connsiteX136" fmla="*/ 10000 w 10000"/>
                    <a:gd name="connsiteY136" fmla="*/ 15 h 10000"/>
                    <a:gd name="connsiteX137" fmla="*/ 10000 w 10000"/>
                    <a:gd name="connsiteY137" fmla="*/ 9446 h 10000"/>
                    <a:gd name="connsiteX138" fmla="*/ 10000 w 10000"/>
                    <a:gd name="connsiteY138" fmla="*/ 9446 h 10000"/>
                    <a:gd name="connsiteX139" fmla="*/ 9722 w 10000"/>
                    <a:gd name="connsiteY139" fmla="*/ 9430 h 10000"/>
                    <a:gd name="connsiteX140" fmla="*/ 9389 w 10000"/>
                    <a:gd name="connsiteY140" fmla="*/ 9446 h 10000"/>
                    <a:gd name="connsiteX141" fmla="*/ 9389 w 10000"/>
                    <a:gd name="connsiteY141" fmla="*/ 9446 h 10000"/>
                    <a:gd name="connsiteX142" fmla="*/ 9278 w 10000"/>
                    <a:gd name="connsiteY142" fmla="*/ 9461 h 10000"/>
                    <a:gd name="connsiteX143" fmla="*/ 9056 w 10000"/>
                    <a:gd name="connsiteY143" fmla="*/ 9446 h 10000"/>
                    <a:gd name="connsiteX144" fmla="*/ 8722 w 10000"/>
                    <a:gd name="connsiteY144" fmla="*/ 9399 h 10000"/>
                    <a:gd name="connsiteX145" fmla="*/ 8444 w 10000"/>
                    <a:gd name="connsiteY145" fmla="*/ 9276 h 10000"/>
                    <a:gd name="connsiteX146" fmla="*/ 8444 w 10000"/>
                    <a:gd name="connsiteY146" fmla="*/ 9276 h 10000"/>
                    <a:gd name="connsiteX147" fmla="*/ 8111 w 10000"/>
                    <a:gd name="connsiteY147" fmla="*/ 9075 h 10000"/>
                    <a:gd name="connsiteX148" fmla="*/ 7778 w 10000"/>
                    <a:gd name="connsiteY148" fmla="*/ 8997 h 10000"/>
                    <a:gd name="connsiteX149" fmla="*/ 7556 w 10000"/>
                    <a:gd name="connsiteY149" fmla="*/ 8981 h 10000"/>
                    <a:gd name="connsiteX150" fmla="*/ 7000 w 10000"/>
                    <a:gd name="connsiteY150" fmla="*/ 8950 h 10000"/>
                    <a:gd name="connsiteX151" fmla="*/ 6556 w 10000"/>
                    <a:gd name="connsiteY151" fmla="*/ 8967 h 10000"/>
                    <a:gd name="connsiteX152" fmla="*/ 6222 w 10000"/>
                    <a:gd name="connsiteY152" fmla="*/ 8967 h 10000"/>
                    <a:gd name="connsiteX153" fmla="*/ 6111 w 10000"/>
                    <a:gd name="connsiteY153" fmla="*/ 8950 h 10000"/>
                    <a:gd name="connsiteX154" fmla="*/ 6056 w 10000"/>
                    <a:gd name="connsiteY154" fmla="*/ 8659 h 10000"/>
                    <a:gd name="connsiteX155" fmla="*/ 6056 w 10000"/>
                    <a:gd name="connsiteY155" fmla="*/ 8597 h 10000"/>
                    <a:gd name="connsiteX156" fmla="*/ 5944 w 10000"/>
                    <a:gd name="connsiteY156" fmla="*/ 8520 h 10000"/>
                    <a:gd name="connsiteX157" fmla="*/ 5889 w 10000"/>
                    <a:gd name="connsiteY157" fmla="*/ 8505 h 10000"/>
                    <a:gd name="connsiteX158" fmla="*/ 5667 w 10000"/>
                    <a:gd name="connsiteY158" fmla="*/ 8488 h 10000"/>
                    <a:gd name="connsiteX159" fmla="*/ 4889 w 10000"/>
                    <a:gd name="connsiteY159" fmla="*/ 8612 h 10000"/>
                    <a:gd name="connsiteX160" fmla="*/ 4611 w 10000"/>
                    <a:gd name="connsiteY160" fmla="*/ 8641 h 10000"/>
                    <a:gd name="connsiteX161" fmla="*/ 4500 w 10000"/>
                    <a:gd name="connsiteY161" fmla="*/ 8641 h 10000"/>
                    <a:gd name="connsiteX162" fmla="*/ 4222 w 10000"/>
                    <a:gd name="connsiteY162" fmla="*/ 8488 h 10000"/>
                    <a:gd name="connsiteX163" fmla="*/ 4222 w 10000"/>
                    <a:gd name="connsiteY163" fmla="*/ 8488 h 10000"/>
                    <a:gd name="connsiteX164" fmla="*/ 4111 w 10000"/>
                    <a:gd name="connsiteY164" fmla="*/ 8411 h 10000"/>
                    <a:gd name="connsiteX165" fmla="*/ 4111 w 10000"/>
                    <a:gd name="connsiteY165" fmla="*/ 8318 h 10000"/>
                    <a:gd name="connsiteX166" fmla="*/ 4111 w 10000"/>
                    <a:gd name="connsiteY166" fmla="*/ 8318 h 10000"/>
                    <a:gd name="connsiteX167" fmla="*/ 4278 w 10000"/>
                    <a:gd name="connsiteY167" fmla="*/ 8271 h 10000"/>
                    <a:gd name="connsiteX168" fmla="*/ 4389 w 10000"/>
                    <a:gd name="connsiteY168" fmla="*/ 8256 h 10000"/>
                    <a:gd name="connsiteX169" fmla="*/ 4389 w 10000"/>
                    <a:gd name="connsiteY169" fmla="*/ 8256 h 10000"/>
                    <a:gd name="connsiteX170" fmla="*/ 3722 w 10000"/>
                    <a:gd name="connsiteY170" fmla="*/ 8271 h 10000"/>
                    <a:gd name="connsiteX171" fmla="*/ 3611 w 10000"/>
                    <a:gd name="connsiteY171" fmla="*/ 8287 h 10000"/>
                    <a:gd name="connsiteX172" fmla="*/ 3556 w 10000"/>
                    <a:gd name="connsiteY172" fmla="*/ 8303 h 10000"/>
                    <a:gd name="connsiteX173" fmla="*/ 3556 w 10000"/>
                    <a:gd name="connsiteY173" fmla="*/ 8303 h 10000"/>
                    <a:gd name="connsiteX174" fmla="*/ 3444 w 10000"/>
                    <a:gd name="connsiteY174" fmla="*/ 8364 h 10000"/>
                    <a:gd name="connsiteX175" fmla="*/ 3278 w 10000"/>
                    <a:gd name="connsiteY175" fmla="*/ 8457 h 10000"/>
                    <a:gd name="connsiteX176" fmla="*/ 3000 w 10000"/>
                    <a:gd name="connsiteY176" fmla="*/ 8566 h 10000"/>
                    <a:gd name="connsiteX177" fmla="*/ 2667 w 10000"/>
                    <a:gd name="connsiteY177" fmla="*/ 8641 h 10000"/>
                    <a:gd name="connsiteX178" fmla="*/ 2667 w 10000"/>
                    <a:gd name="connsiteY178" fmla="*/ 8641 h 10000"/>
                    <a:gd name="connsiteX179" fmla="*/ 2333 w 10000"/>
                    <a:gd name="connsiteY179" fmla="*/ 8704 h 10000"/>
                    <a:gd name="connsiteX180" fmla="*/ 1833 w 10000"/>
                    <a:gd name="connsiteY180" fmla="*/ 8766 h 10000"/>
                    <a:gd name="connsiteX181" fmla="*/ 1389 w 10000"/>
                    <a:gd name="connsiteY181" fmla="*/ 8797 h 10000"/>
                    <a:gd name="connsiteX182" fmla="*/ 889 w 10000"/>
                    <a:gd name="connsiteY182" fmla="*/ 8812 h 10000"/>
                    <a:gd name="connsiteX183" fmla="*/ 889 w 10000"/>
                    <a:gd name="connsiteY183" fmla="*/ 8812 h 10000"/>
                    <a:gd name="connsiteX184" fmla="*/ 500 w 10000"/>
                    <a:gd name="connsiteY184" fmla="*/ 8828 h 10000"/>
                    <a:gd name="connsiteX185" fmla="*/ 222 w 10000"/>
                    <a:gd name="connsiteY185" fmla="*/ 8844 h 10000"/>
                    <a:gd name="connsiteX186" fmla="*/ 0 w 10000"/>
                    <a:gd name="connsiteY186" fmla="*/ 8859 h 10000"/>
                    <a:gd name="connsiteX187" fmla="*/ 0 w 10000"/>
                    <a:gd name="connsiteY187" fmla="*/ 8859 h 10000"/>
                    <a:gd name="connsiteX188" fmla="*/ 278 w 10000"/>
                    <a:gd name="connsiteY188" fmla="*/ 9105 h 10000"/>
                    <a:gd name="connsiteX189" fmla="*/ 500 w 10000"/>
                    <a:gd name="connsiteY189" fmla="*/ 9291 h 10000"/>
                    <a:gd name="connsiteX190" fmla="*/ 722 w 10000"/>
                    <a:gd name="connsiteY190" fmla="*/ 9446 h 10000"/>
                    <a:gd name="connsiteX191" fmla="*/ 722 w 10000"/>
                    <a:gd name="connsiteY191" fmla="*/ 9446 h 10000"/>
                    <a:gd name="connsiteX192" fmla="*/ 889 w 10000"/>
                    <a:gd name="connsiteY192" fmla="*/ 9538 h 10000"/>
                    <a:gd name="connsiteX193" fmla="*/ 944 w 10000"/>
                    <a:gd name="connsiteY193" fmla="*/ 9615 h 10000"/>
                    <a:gd name="connsiteX194" fmla="*/ 1111 w 10000"/>
                    <a:gd name="connsiteY194" fmla="*/ 9692 h 10000"/>
                    <a:gd name="connsiteX195" fmla="*/ 1333 w 10000"/>
                    <a:gd name="connsiteY195" fmla="*/ 9816 h 10000"/>
                    <a:gd name="connsiteX196" fmla="*/ 1333 w 10000"/>
                    <a:gd name="connsiteY196" fmla="*/ 9816 h 10000"/>
                    <a:gd name="connsiteX197" fmla="*/ 1444 w 10000"/>
                    <a:gd name="connsiteY197" fmla="*/ 9879 h 10000"/>
                    <a:gd name="connsiteX198" fmla="*/ 1500 w 10000"/>
                    <a:gd name="connsiteY198" fmla="*/ 9924 h 10000"/>
                    <a:gd name="connsiteX199" fmla="*/ 1500 w 10000"/>
                    <a:gd name="connsiteY199" fmla="*/ 9971 h 10000"/>
                    <a:gd name="connsiteX200" fmla="*/ 1556 w 10000"/>
                    <a:gd name="connsiteY200" fmla="*/ 9986 h 10000"/>
                    <a:gd name="connsiteX201" fmla="*/ 1722 w 10000"/>
                    <a:gd name="connsiteY201" fmla="*/ 10000 h 10000"/>
                    <a:gd name="connsiteX202" fmla="*/ 10000 w 10000"/>
                    <a:gd name="connsiteY202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8389 w 10000"/>
                    <a:gd name="connsiteY44" fmla="*/ 7995 h 10000"/>
                    <a:gd name="connsiteX45" fmla="*/ 8389 w 10000"/>
                    <a:gd name="connsiteY45" fmla="*/ 7995 h 10000"/>
                    <a:gd name="connsiteX46" fmla="*/ 8667 w 10000"/>
                    <a:gd name="connsiteY46" fmla="*/ 7963 h 10000"/>
                    <a:gd name="connsiteX47" fmla="*/ 8778 w 10000"/>
                    <a:gd name="connsiteY47" fmla="*/ 7917 h 10000"/>
                    <a:gd name="connsiteX48" fmla="*/ 8889 w 10000"/>
                    <a:gd name="connsiteY48" fmla="*/ 7887 h 10000"/>
                    <a:gd name="connsiteX49" fmla="*/ 8833 w 10000"/>
                    <a:gd name="connsiteY49" fmla="*/ 7856 h 10000"/>
                    <a:gd name="connsiteX50" fmla="*/ 8833 w 10000"/>
                    <a:gd name="connsiteY50" fmla="*/ 7826 h 10000"/>
                    <a:gd name="connsiteX51" fmla="*/ 8722 w 10000"/>
                    <a:gd name="connsiteY51" fmla="*/ 7793 h 10000"/>
                    <a:gd name="connsiteX52" fmla="*/ 8556 w 10000"/>
                    <a:gd name="connsiteY52" fmla="*/ 7747 h 10000"/>
                    <a:gd name="connsiteX53" fmla="*/ 8556 w 10000"/>
                    <a:gd name="connsiteY53" fmla="*/ 7747 h 10000"/>
                    <a:gd name="connsiteX54" fmla="*/ 6556 w 10000"/>
                    <a:gd name="connsiteY54" fmla="*/ 7470 h 10000"/>
                    <a:gd name="connsiteX55" fmla="*/ 6556 w 10000"/>
                    <a:gd name="connsiteY55" fmla="*/ 7470 h 10000"/>
                    <a:gd name="connsiteX56" fmla="*/ 6333 w 10000"/>
                    <a:gd name="connsiteY56" fmla="*/ 7424 h 10000"/>
                    <a:gd name="connsiteX57" fmla="*/ 6167 w 10000"/>
                    <a:gd name="connsiteY57" fmla="*/ 7377 h 10000"/>
                    <a:gd name="connsiteX58" fmla="*/ 6056 w 10000"/>
                    <a:gd name="connsiteY58" fmla="*/ 7331 h 10000"/>
                    <a:gd name="connsiteX59" fmla="*/ 6056 w 10000"/>
                    <a:gd name="connsiteY59" fmla="*/ 7331 h 10000"/>
                    <a:gd name="connsiteX60" fmla="*/ 8056 w 10000"/>
                    <a:gd name="connsiteY60" fmla="*/ 7315 h 10000"/>
                    <a:gd name="connsiteX61" fmla="*/ 10000 w 10000"/>
                    <a:gd name="connsiteY61" fmla="*/ 7470 h 10000"/>
                    <a:gd name="connsiteX62" fmla="*/ 10000 w 10000"/>
                    <a:gd name="connsiteY62" fmla="*/ 6065 h 10000"/>
                    <a:gd name="connsiteX63" fmla="*/ 10000 w 10000"/>
                    <a:gd name="connsiteY63" fmla="*/ 6065 h 10000"/>
                    <a:gd name="connsiteX64" fmla="*/ 7778 w 10000"/>
                    <a:gd name="connsiteY64" fmla="*/ 5740 h 10000"/>
                    <a:gd name="connsiteX65" fmla="*/ 6556 w 10000"/>
                    <a:gd name="connsiteY65" fmla="*/ 5556 h 10000"/>
                    <a:gd name="connsiteX66" fmla="*/ 6556 w 10000"/>
                    <a:gd name="connsiteY66" fmla="*/ 5556 h 10000"/>
                    <a:gd name="connsiteX67" fmla="*/ 6556 w 10000"/>
                    <a:gd name="connsiteY67" fmla="*/ 5541 h 10000"/>
                    <a:gd name="connsiteX68" fmla="*/ 6556 w 10000"/>
                    <a:gd name="connsiteY68" fmla="*/ 5448 h 10000"/>
                    <a:gd name="connsiteX69" fmla="*/ 6556 w 10000"/>
                    <a:gd name="connsiteY69" fmla="*/ 5448 h 10000"/>
                    <a:gd name="connsiteX70" fmla="*/ 6389 w 10000"/>
                    <a:gd name="connsiteY70" fmla="*/ 5340 h 10000"/>
                    <a:gd name="connsiteX71" fmla="*/ 6056 w 10000"/>
                    <a:gd name="connsiteY71" fmla="*/ 5171 h 10000"/>
                    <a:gd name="connsiteX72" fmla="*/ 5333 w 10000"/>
                    <a:gd name="connsiteY72" fmla="*/ 4846 h 10000"/>
                    <a:gd name="connsiteX73" fmla="*/ 5333 w 10000"/>
                    <a:gd name="connsiteY73" fmla="*/ 4846 h 10000"/>
                    <a:gd name="connsiteX74" fmla="*/ 5167 w 10000"/>
                    <a:gd name="connsiteY74" fmla="*/ 4800 h 10000"/>
                    <a:gd name="connsiteX75" fmla="*/ 4889 w 10000"/>
                    <a:gd name="connsiteY75" fmla="*/ 4737 h 10000"/>
                    <a:gd name="connsiteX76" fmla="*/ 4056 w 10000"/>
                    <a:gd name="connsiteY76" fmla="*/ 4599 h 10000"/>
                    <a:gd name="connsiteX77" fmla="*/ 2889 w 10000"/>
                    <a:gd name="connsiteY77" fmla="*/ 4430 h 10000"/>
                    <a:gd name="connsiteX78" fmla="*/ 2889 w 10000"/>
                    <a:gd name="connsiteY78" fmla="*/ 4430 h 10000"/>
                    <a:gd name="connsiteX79" fmla="*/ 2389 w 10000"/>
                    <a:gd name="connsiteY79" fmla="*/ 4413 h 10000"/>
                    <a:gd name="connsiteX80" fmla="*/ 2000 w 10000"/>
                    <a:gd name="connsiteY80" fmla="*/ 4397 h 10000"/>
                    <a:gd name="connsiteX81" fmla="*/ 1889 w 10000"/>
                    <a:gd name="connsiteY81" fmla="*/ 4382 h 10000"/>
                    <a:gd name="connsiteX82" fmla="*/ 1778 w 10000"/>
                    <a:gd name="connsiteY82" fmla="*/ 4367 h 10000"/>
                    <a:gd name="connsiteX83" fmla="*/ 1778 w 10000"/>
                    <a:gd name="connsiteY83" fmla="*/ 4367 h 10000"/>
                    <a:gd name="connsiteX84" fmla="*/ 1667 w 10000"/>
                    <a:gd name="connsiteY84" fmla="*/ 4305 h 10000"/>
                    <a:gd name="connsiteX85" fmla="*/ 1500 w 10000"/>
                    <a:gd name="connsiteY85" fmla="*/ 4198 h 10000"/>
                    <a:gd name="connsiteX86" fmla="*/ 1444 w 10000"/>
                    <a:gd name="connsiteY86" fmla="*/ 4136 h 10000"/>
                    <a:gd name="connsiteX87" fmla="*/ 1444 w 10000"/>
                    <a:gd name="connsiteY87" fmla="*/ 4073 h 10000"/>
                    <a:gd name="connsiteX88" fmla="*/ 1444 w 10000"/>
                    <a:gd name="connsiteY88" fmla="*/ 4028 h 10000"/>
                    <a:gd name="connsiteX89" fmla="*/ 1556 w 10000"/>
                    <a:gd name="connsiteY89" fmla="*/ 3981 h 10000"/>
                    <a:gd name="connsiteX90" fmla="*/ 1556 w 10000"/>
                    <a:gd name="connsiteY90" fmla="*/ 3981 h 10000"/>
                    <a:gd name="connsiteX91" fmla="*/ 1833 w 10000"/>
                    <a:gd name="connsiteY91" fmla="*/ 3904 h 10000"/>
                    <a:gd name="connsiteX92" fmla="*/ 2111 w 10000"/>
                    <a:gd name="connsiteY92" fmla="*/ 3828 h 10000"/>
                    <a:gd name="connsiteX93" fmla="*/ 2278 w 10000"/>
                    <a:gd name="connsiteY93" fmla="*/ 3782 h 10000"/>
                    <a:gd name="connsiteX94" fmla="*/ 2389 w 10000"/>
                    <a:gd name="connsiteY94" fmla="*/ 3734 h 10000"/>
                    <a:gd name="connsiteX95" fmla="*/ 2389 w 10000"/>
                    <a:gd name="connsiteY95" fmla="*/ 3672 h 10000"/>
                    <a:gd name="connsiteX96" fmla="*/ 2389 w 10000"/>
                    <a:gd name="connsiteY96" fmla="*/ 3596 h 10000"/>
                    <a:gd name="connsiteX97" fmla="*/ 2389 w 10000"/>
                    <a:gd name="connsiteY97" fmla="*/ 3596 h 10000"/>
                    <a:gd name="connsiteX98" fmla="*/ 2167 w 10000"/>
                    <a:gd name="connsiteY98" fmla="*/ 3379 h 10000"/>
                    <a:gd name="connsiteX99" fmla="*/ 1889 w 10000"/>
                    <a:gd name="connsiteY99" fmla="*/ 3087 h 10000"/>
                    <a:gd name="connsiteX100" fmla="*/ 1667 w 10000"/>
                    <a:gd name="connsiteY100" fmla="*/ 2824 h 10000"/>
                    <a:gd name="connsiteX101" fmla="*/ 1611 w 10000"/>
                    <a:gd name="connsiteY101" fmla="*/ 2747 h 10000"/>
                    <a:gd name="connsiteX102" fmla="*/ 1611 w 10000"/>
                    <a:gd name="connsiteY102" fmla="*/ 2716 h 10000"/>
                    <a:gd name="connsiteX103" fmla="*/ 1667 w 10000"/>
                    <a:gd name="connsiteY103" fmla="*/ 2700 h 10000"/>
                    <a:gd name="connsiteX104" fmla="*/ 1667 w 10000"/>
                    <a:gd name="connsiteY104" fmla="*/ 2700 h 10000"/>
                    <a:gd name="connsiteX105" fmla="*/ 2000 w 10000"/>
                    <a:gd name="connsiteY105" fmla="*/ 2686 h 10000"/>
                    <a:gd name="connsiteX106" fmla="*/ 2222 w 10000"/>
                    <a:gd name="connsiteY106" fmla="*/ 2686 h 10000"/>
                    <a:gd name="connsiteX107" fmla="*/ 2389 w 10000"/>
                    <a:gd name="connsiteY107" fmla="*/ 2700 h 10000"/>
                    <a:gd name="connsiteX108" fmla="*/ 2389 w 10000"/>
                    <a:gd name="connsiteY108" fmla="*/ 2700 h 10000"/>
                    <a:gd name="connsiteX109" fmla="*/ 2444 w 10000"/>
                    <a:gd name="connsiteY109" fmla="*/ 2700 h 10000"/>
                    <a:gd name="connsiteX110" fmla="*/ 2500 w 10000"/>
                    <a:gd name="connsiteY110" fmla="*/ 2670 h 10000"/>
                    <a:gd name="connsiteX111" fmla="*/ 2778 w 10000"/>
                    <a:gd name="connsiteY111" fmla="*/ 2577 h 10000"/>
                    <a:gd name="connsiteX112" fmla="*/ 3500 w 10000"/>
                    <a:gd name="connsiteY112" fmla="*/ 2269 h 10000"/>
                    <a:gd name="connsiteX113" fmla="*/ 4444 w 10000"/>
                    <a:gd name="connsiteY113" fmla="*/ 1822 h 10000"/>
                    <a:gd name="connsiteX114" fmla="*/ 4444 w 10000"/>
                    <a:gd name="connsiteY114" fmla="*/ 1822 h 10000"/>
                    <a:gd name="connsiteX115" fmla="*/ 4444 w 10000"/>
                    <a:gd name="connsiteY115" fmla="*/ 1759 h 10000"/>
                    <a:gd name="connsiteX116" fmla="*/ 4444 w 10000"/>
                    <a:gd name="connsiteY116" fmla="*/ 1619 h 10000"/>
                    <a:gd name="connsiteX117" fmla="*/ 4500 w 10000"/>
                    <a:gd name="connsiteY117" fmla="*/ 1528 h 10000"/>
                    <a:gd name="connsiteX118" fmla="*/ 4611 w 10000"/>
                    <a:gd name="connsiteY118" fmla="*/ 1450 h 10000"/>
                    <a:gd name="connsiteX119" fmla="*/ 4778 w 10000"/>
                    <a:gd name="connsiteY119" fmla="*/ 1358 h 10000"/>
                    <a:gd name="connsiteX120" fmla="*/ 5000 w 10000"/>
                    <a:gd name="connsiteY120" fmla="*/ 1281 h 10000"/>
                    <a:gd name="connsiteX121" fmla="*/ 5000 w 10000"/>
                    <a:gd name="connsiteY121" fmla="*/ 1281 h 10000"/>
                    <a:gd name="connsiteX122" fmla="*/ 5556 w 10000"/>
                    <a:gd name="connsiteY122" fmla="*/ 1127 h 10000"/>
                    <a:gd name="connsiteX123" fmla="*/ 6111 w 10000"/>
                    <a:gd name="connsiteY123" fmla="*/ 926 h 10000"/>
                    <a:gd name="connsiteX124" fmla="*/ 6667 w 10000"/>
                    <a:gd name="connsiteY124" fmla="*/ 740 h 10000"/>
                    <a:gd name="connsiteX125" fmla="*/ 7056 w 10000"/>
                    <a:gd name="connsiteY125" fmla="*/ 572 h 10000"/>
                    <a:gd name="connsiteX126" fmla="*/ 7056 w 10000"/>
                    <a:gd name="connsiteY126" fmla="*/ 572 h 10000"/>
                    <a:gd name="connsiteX127" fmla="*/ 7333 w 10000"/>
                    <a:gd name="connsiteY127" fmla="*/ 417 h 10000"/>
                    <a:gd name="connsiteX128" fmla="*/ 7667 w 10000"/>
                    <a:gd name="connsiteY128" fmla="*/ 232 h 10000"/>
                    <a:gd name="connsiteX129" fmla="*/ 8000 w 10000"/>
                    <a:gd name="connsiteY129" fmla="*/ 92 h 10000"/>
                    <a:gd name="connsiteX130" fmla="*/ 8167 w 10000"/>
                    <a:gd name="connsiteY130" fmla="*/ 29 h 10000"/>
                    <a:gd name="connsiteX131" fmla="*/ 8333 w 10000"/>
                    <a:gd name="connsiteY131" fmla="*/ 15 h 10000"/>
                    <a:gd name="connsiteX132" fmla="*/ 8333 w 10000"/>
                    <a:gd name="connsiteY132" fmla="*/ 15 h 10000"/>
                    <a:gd name="connsiteX133" fmla="*/ 8667 w 10000"/>
                    <a:gd name="connsiteY133" fmla="*/ 0 h 10000"/>
                    <a:gd name="connsiteX134" fmla="*/ 9111 w 10000"/>
                    <a:gd name="connsiteY134" fmla="*/ 0 h 10000"/>
                    <a:gd name="connsiteX135" fmla="*/ 10000 w 10000"/>
                    <a:gd name="connsiteY135" fmla="*/ 15 h 10000"/>
                    <a:gd name="connsiteX136" fmla="*/ 10000 w 10000"/>
                    <a:gd name="connsiteY136" fmla="*/ 9446 h 10000"/>
                    <a:gd name="connsiteX137" fmla="*/ 10000 w 10000"/>
                    <a:gd name="connsiteY137" fmla="*/ 9446 h 10000"/>
                    <a:gd name="connsiteX138" fmla="*/ 9722 w 10000"/>
                    <a:gd name="connsiteY138" fmla="*/ 9430 h 10000"/>
                    <a:gd name="connsiteX139" fmla="*/ 9389 w 10000"/>
                    <a:gd name="connsiteY139" fmla="*/ 9446 h 10000"/>
                    <a:gd name="connsiteX140" fmla="*/ 9389 w 10000"/>
                    <a:gd name="connsiteY140" fmla="*/ 9446 h 10000"/>
                    <a:gd name="connsiteX141" fmla="*/ 9278 w 10000"/>
                    <a:gd name="connsiteY141" fmla="*/ 9461 h 10000"/>
                    <a:gd name="connsiteX142" fmla="*/ 9056 w 10000"/>
                    <a:gd name="connsiteY142" fmla="*/ 9446 h 10000"/>
                    <a:gd name="connsiteX143" fmla="*/ 8722 w 10000"/>
                    <a:gd name="connsiteY143" fmla="*/ 9399 h 10000"/>
                    <a:gd name="connsiteX144" fmla="*/ 8444 w 10000"/>
                    <a:gd name="connsiteY144" fmla="*/ 9276 h 10000"/>
                    <a:gd name="connsiteX145" fmla="*/ 8444 w 10000"/>
                    <a:gd name="connsiteY145" fmla="*/ 9276 h 10000"/>
                    <a:gd name="connsiteX146" fmla="*/ 8111 w 10000"/>
                    <a:gd name="connsiteY146" fmla="*/ 9075 h 10000"/>
                    <a:gd name="connsiteX147" fmla="*/ 7778 w 10000"/>
                    <a:gd name="connsiteY147" fmla="*/ 8997 h 10000"/>
                    <a:gd name="connsiteX148" fmla="*/ 7556 w 10000"/>
                    <a:gd name="connsiteY148" fmla="*/ 8981 h 10000"/>
                    <a:gd name="connsiteX149" fmla="*/ 7000 w 10000"/>
                    <a:gd name="connsiteY149" fmla="*/ 8950 h 10000"/>
                    <a:gd name="connsiteX150" fmla="*/ 6556 w 10000"/>
                    <a:gd name="connsiteY150" fmla="*/ 8967 h 10000"/>
                    <a:gd name="connsiteX151" fmla="*/ 6222 w 10000"/>
                    <a:gd name="connsiteY151" fmla="*/ 8967 h 10000"/>
                    <a:gd name="connsiteX152" fmla="*/ 6111 w 10000"/>
                    <a:gd name="connsiteY152" fmla="*/ 8950 h 10000"/>
                    <a:gd name="connsiteX153" fmla="*/ 6056 w 10000"/>
                    <a:gd name="connsiteY153" fmla="*/ 8659 h 10000"/>
                    <a:gd name="connsiteX154" fmla="*/ 6056 w 10000"/>
                    <a:gd name="connsiteY154" fmla="*/ 8597 h 10000"/>
                    <a:gd name="connsiteX155" fmla="*/ 5944 w 10000"/>
                    <a:gd name="connsiteY155" fmla="*/ 8520 h 10000"/>
                    <a:gd name="connsiteX156" fmla="*/ 5889 w 10000"/>
                    <a:gd name="connsiteY156" fmla="*/ 8505 h 10000"/>
                    <a:gd name="connsiteX157" fmla="*/ 5667 w 10000"/>
                    <a:gd name="connsiteY157" fmla="*/ 8488 h 10000"/>
                    <a:gd name="connsiteX158" fmla="*/ 4889 w 10000"/>
                    <a:gd name="connsiteY158" fmla="*/ 8612 h 10000"/>
                    <a:gd name="connsiteX159" fmla="*/ 4611 w 10000"/>
                    <a:gd name="connsiteY159" fmla="*/ 8641 h 10000"/>
                    <a:gd name="connsiteX160" fmla="*/ 4500 w 10000"/>
                    <a:gd name="connsiteY160" fmla="*/ 8641 h 10000"/>
                    <a:gd name="connsiteX161" fmla="*/ 4222 w 10000"/>
                    <a:gd name="connsiteY161" fmla="*/ 8488 h 10000"/>
                    <a:gd name="connsiteX162" fmla="*/ 4222 w 10000"/>
                    <a:gd name="connsiteY162" fmla="*/ 8488 h 10000"/>
                    <a:gd name="connsiteX163" fmla="*/ 4111 w 10000"/>
                    <a:gd name="connsiteY163" fmla="*/ 8411 h 10000"/>
                    <a:gd name="connsiteX164" fmla="*/ 4111 w 10000"/>
                    <a:gd name="connsiteY164" fmla="*/ 8318 h 10000"/>
                    <a:gd name="connsiteX165" fmla="*/ 4111 w 10000"/>
                    <a:gd name="connsiteY165" fmla="*/ 8318 h 10000"/>
                    <a:gd name="connsiteX166" fmla="*/ 4278 w 10000"/>
                    <a:gd name="connsiteY166" fmla="*/ 8271 h 10000"/>
                    <a:gd name="connsiteX167" fmla="*/ 4389 w 10000"/>
                    <a:gd name="connsiteY167" fmla="*/ 8256 h 10000"/>
                    <a:gd name="connsiteX168" fmla="*/ 4389 w 10000"/>
                    <a:gd name="connsiteY168" fmla="*/ 8256 h 10000"/>
                    <a:gd name="connsiteX169" fmla="*/ 3722 w 10000"/>
                    <a:gd name="connsiteY169" fmla="*/ 8271 h 10000"/>
                    <a:gd name="connsiteX170" fmla="*/ 3611 w 10000"/>
                    <a:gd name="connsiteY170" fmla="*/ 8287 h 10000"/>
                    <a:gd name="connsiteX171" fmla="*/ 3556 w 10000"/>
                    <a:gd name="connsiteY171" fmla="*/ 8303 h 10000"/>
                    <a:gd name="connsiteX172" fmla="*/ 3556 w 10000"/>
                    <a:gd name="connsiteY172" fmla="*/ 8303 h 10000"/>
                    <a:gd name="connsiteX173" fmla="*/ 3444 w 10000"/>
                    <a:gd name="connsiteY173" fmla="*/ 8364 h 10000"/>
                    <a:gd name="connsiteX174" fmla="*/ 3278 w 10000"/>
                    <a:gd name="connsiteY174" fmla="*/ 8457 h 10000"/>
                    <a:gd name="connsiteX175" fmla="*/ 3000 w 10000"/>
                    <a:gd name="connsiteY175" fmla="*/ 8566 h 10000"/>
                    <a:gd name="connsiteX176" fmla="*/ 2667 w 10000"/>
                    <a:gd name="connsiteY176" fmla="*/ 8641 h 10000"/>
                    <a:gd name="connsiteX177" fmla="*/ 2667 w 10000"/>
                    <a:gd name="connsiteY177" fmla="*/ 8641 h 10000"/>
                    <a:gd name="connsiteX178" fmla="*/ 2333 w 10000"/>
                    <a:gd name="connsiteY178" fmla="*/ 8704 h 10000"/>
                    <a:gd name="connsiteX179" fmla="*/ 1833 w 10000"/>
                    <a:gd name="connsiteY179" fmla="*/ 8766 h 10000"/>
                    <a:gd name="connsiteX180" fmla="*/ 1389 w 10000"/>
                    <a:gd name="connsiteY180" fmla="*/ 8797 h 10000"/>
                    <a:gd name="connsiteX181" fmla="*/ 889 w 10000"/>
                    <a:gd name="connsiteY181" fmla="*/ 8812 h 10000"/>
                    <a:gd name="connsiteX182" fmla="*/ 889 w 10000"/>
                    <a:gd name="connsiteY182" fmla="*/ 8812 h 10000"/>
                    <a:gd name="connsiteX183" fmla="*/ 500 w 10000"/>
                    <a:gd name="connsiteY183" fmla="*/ 8828 h 10000"/>
                    <a:gd name="connsiteX184" fmla="*/ 222 w 10000"/>
                    <a:gd name="connsiteY184" fmla="*/ 8844 h 10000"/>
                    <a:gd name="connsiteX185" fmla="*/ 0 w 10000"/>
                    <a:gd name="connsiteY185" fmla="*/ 8859 h 10000"/>
                    <a:gd name="connsiteX186" fmla="*/ 0 w 10000"/>
                    <a:gd name="connsiteY186" fmla="*/ 8859 h 10000"/>
                    <a:gd name="connsiteX187" fmla="*/ 278 w 10000"/>
                    <a:gd name="connsiteY187" fmla="*/ 9105 h 10000"/>
                    <a:gd name="connsiteX188" fmla="*/ 500 w 10000"/>
                    <a:gd name="connsiteY188" fmla="*/ 9291 h 10000"/>
                    <a:gd name="connsiteX189" fmla="*/ 722 w 10000"/>
                    <a:gd name="connsiteY189" fmla="*/ 9446 h 10000"/>
                    <a:gd name="connsiteX190" fmla="*/ 722 w 10000"/>
                    <a:gd name="connsiteY190" fmla="*/ 9446 h 10000"/>
                    <a:gd name="connsiteX191" fmla="*/ 889 w 10000"/>
                    <a:gd name="connsiteY191" fmla="*/ 9538 h 10000"/>
                    <a:gd name="connsiteX192" fmla="*/ 944 w 10000"/>
                    <a:gd name="connsiteY192" fmla="*/ 9615 h 10000"/>
                    <a:gd name="connsiteX193" fmla="*/ 1111 w 10000"/>
                    <a:gd name="connsiteY193" fmla="*/ 9692 h 10000"/>
                    <a:gd name="connsiteX194" fmla="*/ 1333 w 10000"/>
                    <a:gd name="connsiteY194" fmla="*/ 9816 h 10000"/>
                    <a:gd name="connsiteX195" fmla="*/ 1333 w 10000"/>
                    <a:gd name="connsiteY195" fmla="*/ 9816 h 10000"/>
                    <a:gd name="connsiteX196" fmla="*/ 1444 w 10000"/>
                    <a:gd name="connsiteY196" fmla="*/ 9879 h 10000"/>
                    <a:gd name="connsiteX197" fmla="*/ 1500 w 10000"/>
                    <a:gd name="connsiteY197" fmla="*/ 9924 h 10000"/>
                    <a:gd name="connsiteX198" fmla="*/ 1500 w 10000"/>
                    <a:gd name="connsiteY198" fmla="*/ 9971 h 10000"/>
                    <a:gd name="connsiteX199" fmla="*/ 1556 w 10000"/>
                    <a:gd name="connsiteY199" fmla="*/ 9986 h 10000"/>
                    <a:gd name="connsiteX200" fmla="*/ 1722 w 10000"/>
                    <a:gd name="connsiteY200" fmla="*/ 10000 h 10000"/>
                    <a:gd name="connsiteX201" fmla="*/ 10000 w 10000"/>
                    <a:gd name="connsiteY201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7986 w 10000"/>
                    <a:gd name="connsiteY44" fmla="*/ 7987 h 10000"/>
                    <a:gd name="connsiteX45" fmla="*/ 8389 w 10000"/>
                    <a:gd name="connsiteY45" fmla="*/ 7995 h 10000"/>
                    <a:gd name="connsiteX46" fmla="*/ 8389 w 10000"/>
                    <a:gd name="connsiteY46" fmla="*/ 7995 h 10000"/>
                    <a:gd name="connsiteX47" fmla="*/ 8667 w 10000"/>
                    <a:gd name="connsiteY47" fmla="*/ 7963 h 10000"/>
                    <a:gd name="connsiteX48" fmla="*/ 8778 w 10000"/>
                    <a:gd name="connsiteY48" fmla="*/ 7917 h 10000"/>
                    <a:gd name="connsiteX49" fmla="*/ 8889 w 10000"/>
                    <a:gd name="connsiteY49" fmla="*/ 7887 h 10000"/>
                    <a:gd name="connsiteX50" fmla="*/ 8833 w 10000"/>
                    <a:gd name="connsiteY50" fmla="*/ 7856 h 10000"/>
                    <a:gd name="connsiteX51" fmla="*/ 8833 w 10000"/>
                    <a:gd name="connsiteY51" fmla="*/ 7826 h 10000"/>
                    <a:gd name="connsiteX52" fmla="*/ 8722 w 10000"/>
                    <a:gd name="connsiteY52" fmla="*/ 7793 h 10000"/>
                    <a:gd name="connsiteX53" fmla="*/ 8556 w 10000"/>
                    <a:gd name="connsiteY53" fmla="*/ 7747 h 10000"/>
                    <a:gd name="connsiteX54" fmla="*/ 8556 w 10000"/>
                    <a:gd name="connsiteY54" fmla="*/ 7747 h 10000"/>
                    <a:gd name="connsiteX55" fmla="*/ 6556 w 10000"/>
                    <a:gd name="connsiteY55" fmla="*/ 7470 h 10000"/>
                    <a:gd name="connsiteX56" fmla="*/ 6556 w 10000"/>
                    <a:gd name="connsiteY56" fmla="*/ 7470 h 10000"/>
                    <a:gd name="connsiteX57" fmla="*/ 6333 w 10000"/>
                    <a:gd name="connsiteY57" fmla="*/ 7424 h 10000"/>
                    <a:gd name="connsiteX58" fmla="*/ 6167 w 10000"/>
                    <a:gd name="connsiteY58" fmla="*/ 7377 h 10000"/>
                    <a:gd name="connsiteX59" fmla="*/ 6056 w 10000"/>
                    <a:gd name="connsiteY59" fmla="*/ 7331 h 10000"/>
                    <a:gd name="connsiteX60" fmla="*/ 6056 w 10000"/>
                    <a:gd name="connsiteY60" fmla="*/ 7331 h 10000"/>
                    <a:gd name="connsiteX61" fmla="*/ 8056 w 10000"/>
                    <a:gd name="connsiteY61" fmla="*/ 7315 h 10000"/>
                    <a:gd name="connsiteX62" fmla="*/ 10000 w 10000"/>
                    <a:gd name="connsiteY62" fmla="*/ 7470 h 10000"/>
                    <a:gd name="connsiteX63" fmla="*/ 10000 w 10000"/>
                    <a:gd name="connsiteY63" fmla="*/ 6065 h 10000"/>
                    <a:gd name="connsiteX64" fmla="*/ 10000 w 10000"/>
                    <a:gd name="connsiteY64" fmla="*/ 6065 h 10000"/>
                    <a:gd name="connsiteX65" fmla="*/ 7778 w 10000"/>
                    <a:gd name="connsiteY65" fmla="*/ 5740 h 10000"/>
                    <a:gd name="connsiteX66" fmla="*/ 6556 w 10000"/>
                    <a:gd name="connsiteY66" fmla="*/ 5556 h 10000"/>
                    <a:gd name="connsiteX67" fmla="*/ 6556 w 10000"/>
                    <a:gd name="connsiteY67" fmla="*/ 5556 h 10000"/>
                    <a:gd name="connsiteX68" fmla="*/ 6556 w 10000"/>
                    <a:gd name="connsiteY68" fmla="*/ 5541 h 10000"/>
                    <a:gd name="connsiteX69" fmla="*/ 6556 w 10000"/>
                    <a:gd name="connsiteY69" fmla="*/ 5448 h 10000"/>
                    <a:gd name="connsiteX70" fmla="*/ 6556 w 10000"/>
                    <a:gd name="connsiteY70" fmla="*/ 5448 h 10000"/>
                    <a:gd name="connsiteX71" fmla="*/ 6389 w 10000"/>
                    <a:gd name="connsiteY71" fmla="*/ 5340 h 10000"/>
                    <a:gd name="connsiteX72" fmla="*/ 6056 w 10000"/>
                    <a:gd name="connsiteY72" fmla="*/ 5171 h 10000"/>
                    <a:gd name="connsiteX73" fmla="*/ 5333 w 10000"/>
                    <a:gd name="connsiteY73" fmla="*/ 4846 h 10000"/>
                    <a:gd name="connsiteX74" fmla="*/ 5333 w 10000"/>
                    <a:gd name="connsiteY74" fmla="*/ 4846 h 10000"/>
                    <a:gd name="connsiteX75" fmla="*/ 5167 w 10000"/>
                    <a:gd name="connsiteY75" fmla="*/ 4800 h 10000"/>
                    <a:gd name="connsiteX76" fmla="*/ 4889 w 10000"/>
                    <a:gd name="connsiteY76" fmla="*/ 4737 h 10000"/>
                    <a:gd name="connsiteX77" fmla="*/ 4056 w 10000"/>
                    <a:gd name="connsiteY77" fmla="*/ 4599 h 10000"/>
                    <a:gd name="connsiteX78" fmla="*/ 2889 w 10000"/>
                    <a:gd name="connsiteY78" fmla="*/ 4430 h 10000"/>
                    <a:gd name="connsiteX79" fmla="*/ 2889 w 10000"/>
                    <a:gd name="connsiteY79" fmla="*/ 4430 h 10000"/>
                    <a:gd name="connsiteX80" fmla="*/ 2389 w 10000"/>
                    <a:gd name="connsiteY80" fmla="*/ 4413 h 10000"/>
                    <a:gd name="connsiteX81" fmla="*/ 2000 w 10000"/>
                    <a:gd name="connsiteY81" fmla="*/ 4397 h 10000"/>
                    <a:gd name="connsiteX82" fmla="*/ 1889 w 10000"/>
                    <a:gd name="connsiteY82" fmla="*/ 4382 h 10000"/>
                    <a:gd name="connsiteX83" fmla="*/ 1778 w 10000"/>
                    <a:gd name="connsiteY83" fmla="*/ 4367 h 10000"/>
                    <a:gd name="connsiteX84" fmla="*/ 1778 w 10000"/>
                    <a:gd name="connsiteY84" fmla="*/ 4367 h 10000"/>
                    <a:gd name="connsiteX85" fmla="*/ 1667 w 10000"/>
                    <a:gd name="connsiteY85" fmla="*/ 4305 h 10000"/>
                    <a:gd name="connsiteX86" fmla="*/ 1500 w 10000"/>
                    <a:gd name="connsiteY86" fmla="*/ 4198 h 10000"/>
                    <a:gd name="connsiteX87" fmla="*/ 1444 w 10000"/>
                    <a:gd name="connsiteY87" fmla="*/ 4136 h 10000"/>
                    <a:gd name="connsiteX88" fmla="*/ 1444 w 10000"/>
                    <a:gd name="connsiteY88" fmla="*/ 4073 h 10000"/>
                    <a:gd name="connsiteX89" fmla="*/ 1444 w 10000"/>
                    <a:gd name="connsiteY89" fmla="*/ 4028 h 10000"/>
                    <a:gd name="connsiteX90" fmla="*/ 1556 w 10000"/>
                    <a:gd name="connsiteY90" fmla="*/ 3981 h 10000"/>
                    <a:gd name="connsiteX91" fmla="*/ 1556 w 10000"/>
                    <a:gd name="connsiteY91" fmla="*/ 3981 h 10000"/>
                    <a:gd name="connsiteX92" fmla="*/ 1833 w 10000"/>
                    <a:gd name="connsiteY92" fmla="*/ 3904 h 10000"/>
                    <a:gd name="connsiteX93" fmla="*/ 2111 w 10000"/>
                    <a:gd name="connsiteY93" fmla="*/ 3828 h 10000"/>
                    <a:gd name="connsiteX94" fmla="*/ 2278 w 10000"/>
                    <a:gd name="connsiteY94" fmla="*/ 3782 h 10000"/>
                    <a:gd name="connsiteX95" fmla="*/ 2389 w 10000"/>
                    <a:gd name="connsiteY95" fmla="*/ 3734 h 10000"/>
                    <a:gd name="connsiteX96" fmla="*/ 2389 w 10000"/>
                    <a:gd name="connsiteY96" fmla="*/ 3672 h 10000"/>
                    <a:gd name="connsiteX97" fmla="*/ 2389 w 10000"/>
                    <a:gd name="connsiteY97" fmla="*/ 3596 h 10000"/>
                    <a:gd name="connsiteX98" fmla="*/ 2389 w 10000"/>
                    <a:gd name="connsiteY98" fmla="*/ 3596 h 10000"/>
                    <a:gd name="connsiteX99" fmla="*/ 2167 w 10000"/>
                    <a:gd name="connsiteY99" fmla="*/ 3379 h 10000"/>
                    <a:gd name="connsiteX100" fmla="*/ 1889 w 10000"/>
                    <a:gd name="connsiteY100" fmla="*/ 3087 h 10000"/>
                    <a:gd name="connsiteX101" fmla="*/ 1667 w 10000"/>
                    <a:gd name="connsiteY101" fmla="*/ 2824 h 10000"/>
                    <a:gd name="connsiteX102" fmla="*/ 1611 w 10000"/>
                    <a:gd name="connsiteY102" fmla="*/ 2747 h 10000"/>
                    <a:gd name="connsiteX103" fmla="*/ 1611 w 10000"/>
                    <a:gd name="connsiteY103" fmla="*/ 2716 h 10000"/>
                    <a:gd name="connsiteX104" fmla="*/ 1667 w 10000"/>
                    <a:gd name="connsiteY104" fmla="*/ 2700 h 10000"/>
                    <a:gd name="connsiteX105" fmla="*/ 1667 w 10000"/>
                    <a:gd name="connsiteY105" fmla="*/ 2700 h 10000"/>
                    <a:gd name="connsiteX106" fmla="*/ 2000 w 10000"/>
                    <a:gd name="connsiteY106" fmla="*/ 2686 h 10000"/>
                    <a:gd name="connsiteX107" fmla="*/ 2222 w 10000"/>
                    <a:gd name="connsiteY107" fmla="*/ 2686 h 10000"/>
                    <a:gd name="connsiteX108" fmla="*/ 2389 w 10000"/>
                    <a:gd name="connsiteY108" fmla="*/ 2700 h 10000"/>
                    <a:gd name="connsiteX109" fmla="*/ 2389 w 10000"/>
                    <a:gd name="connsiteY109" fmla="*/ 2700 h 10000"/>
                    <a:gd name="connsiteX110" fmla="*/ 2444 w 10000"/>
                    <a:gd name="connsiteY110" fmla="*/ 2700 h 10000"/>
                    <a:gd name="connsiteX111" fmla="*/ 2500 w 10000"/>
                    <a:gd name="connsiteY111" fmla="*/ 2670 h 10000"/>
                    <a:gd name="connsiteX112" fmla="*/ 2778 w 10000"/>
                    <a:gd name="connsiteY112" fmla="*/ 2577 h 10000"/>
                    <a:gd name="connsiteX113" fmla="*/ 3500 w 10000"/>
                    <a:gd name="connsiteY113" fmla="*/ 2269 h 10000"/>
                    <a:gd name="connsiteX114" fmla="*/ 4444 w 10000"/>
                    <a:gd name="connsiteY114" fmla="*/ 1822 h 10000"/>
                    <a:gd name="connsiteX115" fmla="*/ 4444 w 10000"/>
                    <a:gd name="connsiteY115" fmla="*/ 1822 h 10000"/>
                    <a:gd name="connsiteX116" fmla="*/ 4444 w 10000"/>
                    <a:gd name="connsiteY116" fmla="*/ 1759 h 10000"/>
                    <a:gd name="connsiteX117" fmla="*/ 4444 w 10000"/>
                    <a:gd name="connsiteY117" fmla="*/ 1619 h 10000"/>
                    <a:gd name="connsiteX118" fmla="*/ 4500 w 10000"/>
                    <a:gd name="connsiteY118" fmla="*/ 1528 h 10000"/>
                    <a:gd name="connsiteX119" fmla="*/ 4611 w 10000"/>
                    <a:gd name="connsiteY119" fmla="*/ 1450 h 10000"/>
                    <a:gd name="connsiteX120" fmla="*/ 4778 w 10000"/>
                    <a:gd name="connsiteY120" fmla="*/ 1358 h 10000"/>
                    <a:gd name="connsiteX121" fmla="*/ 5000 w 10000"/>
                    <a:gd name="connsiteY121" fmla="*/ 1281 h 10000"/>
                    <a:gd name="connsiteX122" fmla="*/ 5000 w 10000"/>
                    <a:gd name="connsiteY122" fmla="*/ 1281 h 10000"/>
                    <a:gd name="connsiteX123" fmla="*/ 5556 w 10000"/>
                    <a:gd name="connsiteY123" fmla="*/ 1127 h 10000"/>
                    <a:gd name="connsiteX124" fmla="*/ 6111 w 10000"/>
                    <a:gd name="connsiteY124" fmla="*/ 926 h 10000"/>
                    <a:gd name="connsiteX125" fmla="*/ 6667 w 10000"/>
                    <a:gd name="connsiteY125" fmla="*/ 740 h 10000"/>
                    <a:gd name="connsiteX126" fmla="*/ 7056 w 10000"/>
                    <a:gd name="connsiteY126" fmla="*/ 572 h 10000"/>
                    <a:gd name="connsiteX127" fmla="*/ 7056 w 10000"/>
                    <a:gd name="connsiteY127" fmla="*/ 572 h 10000"/>
                    <a:gd name="connsiteX128" fmla="*/ 7333 w 10000"/>
                    <a:gd name="connsiteY128" fmla="*/ 417 h 10000"/>
                    <a:gd name="connsiteX129" fmla="*/ 7667 w 10000"/>
                    <a:gd name="connsiteY129" fmla="*/ 232 h 10000"/>
                    <a:gd name="connsiteX130" fmla="*/ 8000 w 10000"/>
                    <a:gd name="connsiteY130" fmla="*/ 92 h 10000"/>
                    <a:gd name="connsiteX131" fmla="*/ 8167 w 10000"/>
                    <a:gd name="connsiteY131" fmla="*/ 29 h 10000"/>
                    <a:gd name="connsiteX132" fmla="*/ 8333 w 10000"/>
                    <a:gd name="connsiteY132" fmla="*/ 15 h 10000"/>
                    <a:gd name="connsiteX133" fmla="*/ 8333 w 10000"/>
                    <a:gd name="connsiteY133" fmla="*/ 15 h 10000"/>
                    <a:gd name="connsiteX134" fmla="*/ 8667 w 10000"/>
                    <a:gd name="connsiteY134" fmla="*/ 0 h 10000"/>
                    <a:gd name="connsiteX135" fmla="*/ 9111 w 10000"/>
                    <a:gd name="connsiteY135" fmla="*/ 0 h 10000"/>
                    <a:gd name="connsiteX136" fmla="*/ 10000 w 10000"/>
                    <a:gd name="connsiteY136" fmla="*/ 15 h 10000"/>
                    <a:gd name="connsiteX137" fmla="*/ 10000 w 10000"/>
                    <a:gd name="connsiteY137" fmla="*/ 9446 h 10000"/>
                    <a:gd name="connsiteX138" fmla="*/ 10000 w 10000"/>
                    <a:gd name="connsiteY138" fmla="*/ 9446 h 10000"/>
                    <a:gd name="connsiteX139" fmla="*/ 9722 w 10000"/>
                    <a:gd name="connsiteY139" fmla="*/ 9430 h 10000"/>
                    <a:gd name="connsiteX140" fmla="*/ 9389 w 10000"/>
                    <a:gd name="connsiteY140" fmla="*/ 9446 h 10000"/>
                    <a:gd name="connsiteX141" fmla="*/ 9389 w 10000"/>
                    <a:gd name="connsiteY141" fmla="*/ 9446 h 10000"/>
                    <a:gd name="connsiteX142" fmla="*/ 9278 w 10000"/>
                    <a:gd name="connsiteY142" fmla="*/ 9461 h 10000"/>
                    <a:gd name="connsiteX143" fmla="*/ 9056 w 10000"/>
                    <a:gd name="connsiteY143" fmla="*/ 9446 h 10000"/>
                    <a:gd name="connsiteX144" fmla="*/ 8722 w 10000"/>
                    <a:gd name="connsiteY144" fmla="*/ 9399 h 10000"/>
                    <a:gd name="connsiteX145" fmla="*/ 8444 w 10000"/>
                    <a:gd name="connsiteY145" fmla="*/ 9276 h 10000"/>
                    <a:gd name="connsiteX146" fmla="*/ 8444 w 10000"/>
                    <a:gd name="connsiteY146" fmla="*/ 9276 h 10000"/>
                    <a:gd name="connsiteX147" fmla="*/ 8111 w 10000"/>
                    <a:gd name="connsiteY147" fmla="*/ 9075 h 10000"/>
                    <a:gd name="connsiteX148" fmla="*/ 7778 w 10000"/>
                    <a:gd name="connsiteY148" fmla="*/ 8997 h 10000"/>
                    <a:gd name="connsiteX149" fmla="*/ 7556 w 10000"/>
                    <a:gd name="connsiteY149" fmla="*/ 8981 h 10000"/>
                    <a:gd name="connsiteX150" fmla="*/ 7000 w 10000"/>
                    <a:gd name="connsiteY150" fmla="*/ 8950 h 10000"/>
                    <a:gd name="connsiteX151" fmla="*/ 6556 w 10000"/>
                    <a:gd name="connsiteY151" fmla="*/ 8967 h 10000"/>
                    <a:gd name="connsiteX152" fmla="*/ 6222 w 10000"/>
                    <a:gd name="connsiteY152" fmla="*/ 8967 h 10000"/>
                    <a:gd name="connsiteX153" fmla="*/ 6111 w 10000"/>
                    <a:gd name="connsiteY153" fmla="*/ 8950 h 10000"/>
                    <a:gd name="connsiteX154" fmla="*/ 6056 w 10000"/>
                    <a:gd name="connsiteY154" fmla="*/ 8659 h 10000"/>
                    <a:gd name="connsiteX155" fmla="*/ 6056 w 10000"/>
                    <a:gd name="connsiteY155" fmla="*/ 8597 h 10000"/>
                    <a:gd name="connsiteX156" fmla="*/ 5944 w 10000"/>
                    <a:gd name="connsiteY156" fmla="*/ 8520 h 10000"/>
                    <a:gd name="connsiteX157" fmla="*/ 5889 w 10000"/>
                    <a:gd name="connsiteY157" fmla="*/ 8505 h 10000"/>
                    <a:gd name="connsiteX158" fmla="*/ 5667 w 10000"/>
                    <a:gd name="connsiteY158" fmla="*/ 8488 h 10000"/>
                    <a:gd name="connsiteX159" fmla="*/ 4889 w 10000"/>
                    <a:gd name="connsiteY159" fmla="*/ 8612 h 10000"/>
                    <a:gd name="connsiteX160" fmla="*/ 4611 w 10000"/>
                    <a:gd name="connsiteY160" fmla="*/ 8641 h 10000"/>
                    <a:gd name="connsiteX161" fmla="*/ 4500 w 10000"/>
                    <a:gd name="connsiteY161" fmla="*/ 8641 h 10000"/>
                    <a:gd name="connsiteX162" fmla="*/ 4222 w 10000"/>
                    <a:gd name="connsiteY162" fmla="*/ 8488 h 10000"/>
                    <a:gd name="connsiteX163" fmla="*/ 4222 w 10000"/>
                    <a:gd name="connsiteY163" fmla="*/ 8488 h 10000"/>
                    <a:gd name="connsiteX164" fmla="*/ 4111 w 10000"/>
                    <a:gd name="connsiteY164" fmla="*/ 8411 h 10000"/>
                    <a:gd name="connsiteX165" fmla="*/ 4111 w 10000"/>
                    <a:gd name="connsiteY165" fmla="*/ 8318 h 10000"/>
                    <a:gd name="connsiteX166" fmla="*/ 4111 w 10000"/>
                    <a:gd name="connsiteY166" fmla="*/ 8318 h 10000"/>
                    <a:gd name="connsiteX167" fmla="*/ 4278 w 10000"/>
                    <a:gd name="connsiteY167" fmla="*/ 8271 h 10000"/>
                    <a:gd name="connsiteX168" fmla="*/ 4389 w 10000"/>
                    <a:gd name="connsiteY168" fmla="*/ 8256 h 10000"/>
                    <a:gd name="connsiteX169" fmla="*/ 4389 w 10000"/>
                    <a:gd name="connsiteY169" fmla="*/ 8256 h 10000"/>
                    <a:gd name="connsiteX170" fmla="*/ 3722 w 10000"/>
                    <a:gd name="connsiteY170" fmla="*/ 8271 h 10000"/>
                    <a:gd name="connsiteX171" fmla="*/ 3611 w 10000"/>
                    <a:gd name="connsiteY171" fmla="*/ 8287 h 10000"/>
                    <a:gd name="connsiteX172" fmla="*/ 3556 w 10000"/>
                    <a:gd name="connsiteY172" fmla="*/ 8303 h 10000"/>
                    <a:gd name="connsiteX173" fmla="*/ 3556 w 10000"/>
                    <a:gd name="connsiteY173" fmla="*/ 8303 h 10000"/>
                    <a:gd name="connsiteX174" fmla="*/ 3444 w 10000"/>
                    <a:gd name="connsiteY174" fmla="*/ 8364 h 10000"/>
                    <a:gd name="connsiteX175" fmla="*/ 3278 w 10000"/>
                    <a:gd name="connsiteY175" fmla="*/ 8457 h 10000"/>
                    <a:gd name="connsiteX176" fmla="*/ 3000 w 10000"/>
                    <a:gd name="connsiteY176" fmla="*/ 8566 h 10000"/>
                    <a:gd name="connsiteX177" fmla="*/ 2667 w 10000"/>
                    <a:gd name="connsiteY177" fmla="*/ 8641 h 10000"/>
                    <a:gd name="connsiteX178" fmla="*/ 2667 w 10000"/>
                    <a:gd name="connsiteY178" fmla="*/ 8641 h 10000"/>
                    <a:gd name="connsiteX179" fmla="*/ 2333 w 10000"/>
                    <a:gd name="connsiteY179" fmla="*/ 8704 h 10000"/>
                    <a:gd name="connsiteX180" fmla="*/ 1833 w 10000"/>
                    <a:gd name="connsiteY180" fmla="*/ 8766 h 10000"/>
                    <a:gd name="connsiteX181" fmla="*/ 1389 w 10000"/>
                    <a:gd name="connsiteY181" fmla="*/ 8797 h 10000"/>
                    <a:gd name="connsiteX182" fmla="*/ 889 w 10000"/>
                    <a:gd name="connsiteY182" fmla="*/ 8812 h 10000"/>
                    <a:gd name="connsiteX183" fmla="*/ 889 w 10000"/>
                    <a:gd name="connsiteY183" fmla="*/ 8812 h 10000"/>
                    <a:gd name="connsiteX184" fmla="*/ 500 w 10000"/>
                    <a:gd name="connsiteY184" fmla="*/ 8828 h 10000"/>
                    <a:gd name="connsiteX185" fmla="*/ 222 w 10000"/>
                    <a:gd name="connsiteY185" fmla="*/ 8844 h 10000"/>
                    <a:gd name="connsiteX186" fmla="*/ 0 w 10000"/>
                    <a:gd name="connsiteY186" fmla="*/ 8859 h 10000"/>
                    <a:gd name="connsiteX187" fmla="*/ 0 w 10000"/>
                    <a:gd name="connsiteY187" fmla="*/ 8859 h 10000"/>
                    <a:gd name="connsiteX188" fmla="*/ 278 w 10000"/>
                    <a:gd name="connsiteY188" fmla="*/ 9105 h 10000"/>
                    <a:gd name="connsiteX189" fmla="*/ 500 w 10000"/>
                    <a:gd name="connsiteY189" fmla="*/ 9291 h 10000"/>
                    <a:gd name="connsiteX190" fmla="*/ 722 w 10000"/>
                    <a:gd name="connsiteY190" fmla="*/ 9446 h 10000"/>
                    <a:gd name="connsiteX191" fmla="*/ 722 w 10000"/>
                    <a:gd name="connsiteY191" fmla="*/ 9446 h 10000"/>
                    <a:gd name="connsiteX192" fmla="*/ 889 w 10000"/>
                    <a:gd name="connsiteY192" fmla="*/ 9538 h 10000"/>
                    <a:gd name="connsiteX193" fmla="*/ 944 w 10000"/>
                    <a:gd name="connsiteY193" fmla="*/ 9615 h 10000"/>
                    <a:gd name="connsiteX194" fmla="*/ 1111 w 10000"/>
                    <a:gd name="connsiteY194" fmla="*/ 9692 h 10000"/>
                    <a:gd name="connsiteX195" fmla="*/ 1333 w 10000"/>
                    <a:gd name="connsiteY195" fmla="*/ 9816 h 10000"/>
                    <a:gd name="connsiteX196" fmla="*/ 1333 w 10000"/>
                    <a:gd name="connsiteY196" fmla="*/ 9816 h 10000"/>
                    <a:gd name="connsiteX197" fmla="*/ 1444 w 10000"/>
                    <a:gd name="connsiteY197" fmla="*/ 9879 h 10000"/>
                    <a:gd name="connsiteX198" fmla="*/ 1500 w 10000"/>
                    <a:gd name="connsiteY198" fmla="*/ 9924 h 10000"/>
                    <a:gd name="connsiteX199" fmla="*/ 1500 w 10000"/>
                    <a:gd name="connsiteY199" fmla="*/ 9971 h 10000"/>
                    <a:gd name="connsiteX200" fmla="*/ 1556 w 10000"/>
                    <a:gd name="connsiteY200" fmla="*/ 9986 h 10000"/>
                    <a:gd name="connsiteX201" fmla="*/ 1722 w 10000"/>
                    <a:gd name="connsiteY201" fmla="*/ 10000 h 10000"/>
                    <a:gd name="connsiteX202" fmla="*/ 10000 w 10000"/>
                    <a:gd name="connsiteY202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7986 w 10000"/>
                    <a:gd name="connsiteY44" fmla="*/ 7987 h 10000"/>
                    <a:gd name="connsiteX45" fmla="*/ 8389 w 10000"/>
                    <a:gd name="connsiteY45" fmla="*/ 7995 h 10000"/>
                    <a:gd name="connsiteX46" fmla="*/ 8389 w 10000"/>
                    <a:gd name="connsiteY46" fmla="*/ 7995 h 10000"/>
                    <a:gd name="connsiteX47" fmla="*/ 8667 w 10000"/>
                    <a:gd name="connsiteY47" fmla="*/ 7963 h 10000"/>
                    <a:gd name="connsiteX48" fmla="*/ 8778 w 10000"/>
                    <a:gd name="connsiteY48" fmla="*/ 7917 h 10000"/>
                    <a:gd name="connsiteX49" fmla="*/ 8889 w 10000"/>
                    <a:gd name="connsiteY49" fmla="*/ 7887 h 10000"/>
                    <a:gd name="connsiteX50" fmla="*/ 8833 w 10000"/>
                    <a:gd name="connsiteY50" fmla="*/ 7856 h 10000"/>
                    <a:gd name="connsiteX51" fmla="*/ 8833 w 10000"/>
                    <a:gd name="connsiteY51" fmla="*/ 7826 h 10000"/>
                    <a:gd name="connsiteX52" fmla="*/ 8722 w 10000"/>
                    <a:gd name="connsiteY52" fmla="*/ 7793 h 10000"/>
                    <a:gd name="connsiteX53" fmla="*/ 8556 w 10000"/>
                    <a:gd name="connsiteY53" fmla="*/ 7747 h 10000"/>
                    <a:gd name="connsiteX54" fmla="*/ 6556 w 10000"/>
                    <a:gd name="connsiteY54" fmla="*/ 7470 h 10000"/>
                    <a:gd name="connsiteX55" fmla="*/ 6556 w 10000"/>
                    <a:gd name="connsiteY55" fmla="*/ 7470 h 10000"/>
                    <a:gd name="connsiteX56" fmla="*/ 6333 w 10000"/>
                    <a:gd name="connsiteY56" fmla="*/ 7424 h 10000"/>
                    <a:gd name="connsiteX57" fmla="*/ 6167 w 10000"/>
                    <a:gd name="connsiteY57" fmla="*/ 7377 h 10000"/>
                    <a:gd name="connsiteX58" fmla="*/ 6056 w 10000"/>
                    <a:gd name="connsiteY58" fmla="*/ 7331 h 10000"/>
                    <a:gd name="connsiteX59" fmla="*/ 6056 w 10000"/>
                    <a:gd name="connsiteY59" fmla="*/ 7331 h 10000"/>
                    <a:gd name="connsiteX60" fmla="*/ 8056 w 10000"/>
                    <a:gd name="connsiteY60" fmla="*/ 7315 h 10000"/>
                    <a:gd name="connsiteX61" fmla="*/ 10000 w 10000"/>
                    <a:gd name="connsiteY61" fmla="*/ 7470 h 10000"/>
                    <a:gd name="connsiteX62" fmla="*/ 10000 w 10000"/>
                    <a:gd name="connsiteY62" fmla="*/ 6065 h 10000"/>
                    <a:gd name="connsiteX63" fmla="*/ 10000 w 10000"/>
                    <a:gd name="connsiteY63" fmla="*/ 6065 h 10000"/>
                    <a:gd name="connsiteX64" fmla="*/ 7778 w 10000"/>
                    <a:gd name="connsiteY64" fmla="*/ 5740 h 10000"/>
                    <a:gd name="connsiteX65" fmla="*/ 6556 w 10000"/>
                    <a:gd name="connsiteY65" fmla="*/ 5556 h 10000"/>
                    <a:gd name="connsiteX66" fmla="*/ 6556 w 10000"/>
                    <a:gd name="connsiteY66" fmla="*/ 5556 h 10000"/>
                    <a:gd name="connsiteX67" fmla="*/ 6556 w 10000"/>
                    <a:gd name="connsiteY67" fmla="*/ 5541 h 10000"/>
                    <a:gd name="connsiteX68" fmla="*/ 6556 w 10000"/>
                    <a:gd name="connsiteY68" fmla="*/ 5448 h 10000"/>
                    <a:gd name="connsiteX69" fmla="*/ 6556 w 10000"/>
                    <a:gd name="connsiteY69" fmla="*/ 5448 h 10000"/>
                    <a:gd name="connsiteX70" fmla="*/ 6389 w 10000"/>
                    <a:gd name="connsiteY70" fmla="*/ 5340 h 10000"/>
                    <a:gd name="connsiteX71" fmla="*/ 6056 w 10000"/>
                    <a:gd name="connsiteY71" fmla="*/ 5171 h 10000"/>
                    <a:gd name="connsiteX72" fmla="*/ 5333 w 10000"/>
                    <a:gd name="connsiteY72" fmla="*/ 4846 h 10000"/>
                    <a:gd name="connsiteX73" fmla="*/ 5333 w 10000"/>
                    <a:gd name="connsiteY73" fmla="*/ 4846 h 10000"/>
                    <a:gd name="connsiteX74" fmla="*/ 5167 w 10000"/>
                    <a:gd name="connsiteY74" fmla="*/ 4800 h 10000"/>
                    <a:gd name="connsiteX75" fmla="*/ 4889 w 10000"/>
                    <a:gd name="connsiteY75" fmla="*/ 4737 h 10000"/>
                    <a:gd name="connsiteX76" fmla="*/ 4056 w 10000"/>
                    <a:gd name="connsiteY76" fmla="*/ 4599 h 10000"/>
                    <a:gd name="connsiteX77" fmla="*/ 2889 w 10000"/>
                    <a:gd name="connsiteY77" fmla="*/ 4430 h 10000"/>
                    <a:gd name="connsiteX78" fmla="*/ 2889 w 10000"/>
                    <a:gd name="connsiteY78" fmla="*/ 4430 h 10000"/>
                    <a:gd name="connsiteX79" fmla="*/ 2389 w 10000"/>
                    <a:gd name="connsiteY79" fmla="*/ 4413 h 10000"/>
                    <a:gd name="connsiteX80" fmla="*/ 2000 w 10000"/>
                    <a:gd name="connsiteY80" fmla="*/ 4397 h 10000"/>
                    <a:gd name="connsiteX81" fmla="*/ 1889 w 10000"/>
                    <a:gd name="connsiteY81" fmla="*/ 4382 h 10000"/>
                    <a:gd name="connsiteX82" fmla="*/ 1778 w 10000"/>
                    <a:gd name="connsiteY82" fmla="*/ 4367 h 10000"/>
                    <a:gd name="connsiteX83" fmla="*/ 1778 w 10000"/>
                    <a:gd name="connsiteY83" fmla="*/ 4367 h 10000"/>
                    <a:gd name="connsiteX84" fmla="*/ 1667 w 10000"/>
                    <a:gd name="connsiteY84" fmla="*/ 4305 h 10000"/>
                    <a:gd name="connsiteX85" fmla="*/ 1500 w 10000"/>
                    <a:gd name="connsiteY85" fmla="*/ 4198 h 10000"/>
                    <a:gd name="connsiteX86" fmla="*/ 1444 w 10000"/>
                    <a:gd name="connsiteY86" fmla="*/ 4136 h 10000"/>
                    <a:gd name="connsiteX87" fmla="*/ 1444 w 10000"/>
                    <a:gd name="connsiteY87" fmla="*/ 4073 h 10000"/>
                    <a:gd name="connsiteX88" fmla="*/ 1444 w 10000"/>
                    <a:gd name="connsiteY88" fmla="*/ 4028 h 10000"/>
                    <a:gd name="connsiteX89" fmla="*/ 1556 w 10000"/>
                    <a:gd name="connsiteY89" fmla="*/ 3981 h 10000"/>
                    <a:gd name="connsiteX90" fmla="*/ 1556 w 10000"/>
                    <a:gd name="connsiteY90" fmla="*/ 3981 h 10000"/>
                    <a:gd name="connsiteX91" fmla="*/ 1833 w 10000"/>
                    <a:gd name="connsiteY91" fmla="*/ 3904 h 10000"/>
                    <a:gd name="connsiteX92" fmla="*/ 2111 w 10000"/>
                    <a:gd name="connsiteY92" fmla="*/ 3828 h 10000"/>
                    <a:gd name="connsiteX93" fmla="*/ 2278 w 10000"/>
                    <a:gd name="connsiteY93" fmla="*/ 3782 h 10000"/>
                    <a:gd name="connsiteX94" fmla="*/ 2389 w 10000"/>
                    <a:gd name="connsiteY94" fmla="*/ 3734 h 10000"/>
                    <a:gd name="connsiteX95" fmla="*/ 2389 w 10000"/>
                    <a:gd name="connsiteY95" fmla="*/ 3672 h 10000"/>
                    <a:gd name="connsiteX96" fmla="*/ 2389 w 10000"/>
                    <a:gd name="connsiteY96" fmla="*/ 3596 h 10000"/>
                    <a:gd name="connsiteX97" fmla="*/ 2389 w 10000"/>
                    <a:gd name="connsiteY97" fmla="*/ 3596 h 10000"/>
                    <a:gd name="connsiteX98" fmla="*/ 2167 w 10000"/>
                    <a:gd name="connsiteY98" fmla="*/ 3379 h 10000"/>
                    <a:gd name="connsiteX99" fmla="*/ 1889 w 10000"/>
                    <a:gd name="connsiteY99" fmla="*/ 3087 h 10000"/>
                    <a:gd name="connsiteX100" fmla="*/ 1667 w 10000"/>
                    <a:gd name="connsiteY100" fmla="*/ 2824 h 10000"/>
                    <a:gd name="connsiteX101" fmla="*/ 1611 w 10000"/>
                    <a:gd name="connsiteY101" fmla="*/ 2747 h 10000"/>
                    <a:gd name="connsiteX102" fmla="*/ 1611 w 10000"/>
                    <a:gd name="connsiteY102" fmla="*/ 2716 h 10000"/>
                    <a:gd name="connsiteX103" fmla="*/ 1667 w 10000"/>
                    <a:gd name="connsiteY103" fmla="*/ 2700 h 10000"/>
                    <a:gd name="connsiteX104" fmla="*/ 1667 w 10000"/>
                    <a:gd name="connsiteY104" fmla="*/ 2700 h 10000"/>
                    <a:gd name="connsiteX105" fmla="*/ 2000 w 10000"/>
                    <a:gd name="connsiteY105" fmla="*/ 2686 h 10000"/>
                    <a:gd name="connsiteX106" fmla="*/ 2222 w 10000"/>
                    <a:gd name="connsiteY106" fmla="*/ 2686 h 10000"/>
                    <a:gd name="connsiteX107" fmla="*/ 2389 w 10000"/>
                    <a:gd name="connsiteY107" fmla="*/ 2700 h 10000"/>
                    <a:gd name="connsiteX108" fmla="*/ 2389 w 10000"/>
                    <a:gd name="connsiteY108" fmla="*/ 2700 h 10000"/>
                    <a:gd name="connsiteX109" fmla="*/ 2444 w 10000"/>
                    <a:gd name="connsiteY109" fmla="*/ 2700 h 10000"/>
                    <a:gd name="connsiteX110" fmla="*/ 2500 w 10000"/>
                    <a:gd name="connsiteY110" fmla="*/ 2670 h 10000"/>
                    <a:gd name="connsiteX111" fmla="*/ 2778 w 10000"/>
                    <a:gd name="connsiteY111" fmla="*/ 2577 h 10000"/>
                    <a:gd name="connsiteX112" fmla="*/ 3500 w 10000"/>
                    <a:gd name="connsiteY112" fmla="*/ 2269 h 10000"/>
                    <a:gd name="connsiteX113" fmla="*/ 4444 w 10000"/>
                    <a:gd name="connsiteY113" fmla="*/ 1822 h 10000"/>
                    <a:gd name="connsiteX114" fmla="*/ 4444 w 10000"/>
                    <a:gd name="connsiteY114" fmla="*/ 1822 h 10000"/>
                    <a:gd name="connsiteX115" fmla="*/ 4444 w 10000"/>
                    <a:gd name="connsiteY115" fmla="*/ 1759 h 10000"/>
                    <a:gd name="connsiteX116" fmla="*/ 4444 w 10000"/>
                    <a:gd name="connsiteY116" fmla="*/ 1619 h 10000"/>
                    <a:gd name="connsiteX117" fmla="*/ 4500 w 10000"/>
                    <a:gd name="connsiteY117" fmla="*/ 1528 h 10000"/>
                    <a:gd name="connsiteX118" fmla="*/ 4611 w 10000"/>
                    <a:gd name="connsiteY118" fmla="*/ 1450 h 10000"/>
                    <a:gd name="connsiteX119" fmla="*/ 4778 w 10000"/>
                    <a:gd name="connsiteY119" fmla="*/ 1358 h 10000"/>
                    <a:gd name="connsiteX120" fmla="*/ 5000 w 10000"/>
                    <a:gd name="connsiteY120" fmla="*/ 1281 h 10000"/>
                    <a:gd name="connsiteX121" fmla="*/ 5000 w 10000"/>
                    <a:gd name="connsiteY121" fmla="*/ 1281 h 10000"/>
                    <a:gd name="connsiteX122" fmla="*/ 5556 w 10000"/>
                    <a:gd name="connsiteY122" fmla="*/ 1127 h 10000"/>
                    <a:gd name="connsiteX123" fmla="*/ 6111 w 10000"/>
                    <a:gd name="connsiteY123" fmla="*/ 926 h 10000"/>
                    <a:gd name="connsiteX124" fmla="*/ 6667 w 10000"/>
                    <a:gd name="connsiteY124" fmla="*/ 740 h 10000"/>
                    <a:gd name="connsiteX125" fmla="*/ 7056 w 10000"/>
                    <a:gd name="connsiteY125" fmla="*/ 572 h 10000"/>
                    <a:gd name="connsiteX126" fmla="*/ 7056 w 10000"/>
                    <a:gd name="connsiteY126" fmla="*/ 572 h 10000"/>
                    <a:gd name="connsiteX127" fmla="*/ 7333 w 10000"/>
                    <a:gd name="connsiteY127" fmla="*/ 417 h 10000"/>
                    <a:gd name="connsiteX128" fmla="*/ 7667 w 10000"/>
                    <a:gd name="connsiteY128" fmla="*/ 232 h 10000"/>
                    <a:gd name="connsiteX129" fmla="*/ 8000 w 10000"/>
                    <a:gd name="connsiteY129" fmla="*/ 92 h 10000"/>
                    <a:gd name="connsiteX130" fmla="*/ 8167 w 10000"/>
                    <a:gd name="connsiteY130" fmla="*/ 29 h 10000"/>
                    <a:gd name="connsiteX131" fmla="*/ 8333 w 10000"/>
                    <a:gd name="connsiteY131" fmla="*/ 15 h 10000"/>
                    <a:gd name="connsiteX132" fmla="*/ 8333 w 10000"/>
                    <a:gd name="connsiteY132" fmla="*/ 15 h 10000"/>
                    <a:gd name="connsiteX133" fmla="*/ 8667 w 10000"/>
                    <a:gd name="connsiteY133" fmla="*/ 0 h 10000"/>
                    <a:gd name="connsiteX134" fmla="*/ 9111 w 10000"/>
                    <a:gd name="connsiteY134" fmla="*/ 0 h 10000"/>
                    <a:gd name="connsiteX135" fmla="*/ 10000 w 10000"/>
                    <a:gd name="connsiteY135" fmla="*/ 15 h 10000"/>
                    <a:gd name="connsiteX136" fmla="*/ 10000 w 10000"/>
                    <a:gd name="connsiteY136" fmla="*/ 9446 h 10000"/>
                    <a:gd name="connsiteX137" fmla="*/ 10000 w 10000"/>
                    <a:gd name="connsiteY137" fmla="*/ 9446 h 10000"/>
                    <a:gd name="connsiteX138" fmla="*/ 9722 w 10000"/>
                    <a:gd name="connsiteY138" fmla="*/ 9430 h 10000"/>
                    <a:gd name="connsiteX139" fmla="*/ 9389 w 10000"/>
                    <a:gd name="connsiteY139" fmla="*/ 9446 h 10000"/>
                    <a:gd name="connsiteX140" fmla="*/ 9389 w 10000"/>
                    <a:gd name="connsiteY140" fmla="*/ 9446 h 10000"/>
                    <a:gd name="connsiteX141" fmla="*/ 9278 w 10000"/>
                    <a:gd name="connsiteY141" fmla="*/ 9461 h 10000"/>
                    <a:gd name="connsiteX142" fmla="*/ 9056 w 10000"/>
                    <a:gd name="connsiteY142" fmla="*/ 9446 h 10000"/>
                    <a:gd name="connsiteX143" fmla="*/ 8722 w 10000"/>
                    <a:gd name="connsiteY143" fmla="*/ 9399 h 10000"/>
                    <a:gd name="connsiteX144" fmla="*/ 8444 w 10000"/>
                    <a:gd name="connsiteY144" fmla="*/ 9276 h 10000"/>
                    <a:gd name="connsiteX145" fmla="*/ 8444 w 10000"/>
                    <a:gd name="connsiteY145" fmla="*/ 9276 h 10000"/>
                    <a:gd name="connsiteX146" fmla="*/ 8111 w 10000"/>
                    <a:gd name="connsiteY146" fmla="*/ 9075 h 10000"/>
                    <a:gd name="connsiteX147" fmla="*/ 7778 w 10000"/>
                    <a:gd name="connsiteY147" fmla="*/ 8997 h 10000"/>
                    <a:gd name="connsiteX148" fmla="*/ 7556 w 10000"/>
                    <a:gd name="connsiteY148" fmla="*/ 8981 h 10000"/>
                    <a:gd name="connsiteX149" fmla="*/ 7000 w 10000"/>
                    <a:gd name="connsiteY149" fmla="*/ 8950 h 10000"/>
                    <a:gd name="connsiteX150" fmla="*/ 6556 w 10000"/>
                    <a:gd name="connsiteY150" fmla="*/ 8967 h 10000"/>
                    <a:gd name="connsiteX151" fmla="*/ 6222 w 10000"/>
                    <a:gd name="connsiteY151" fmla="*/ 8967 h 10000"/>
                    <a:gd name="connsiteX152" fmla="*/ 6111 w 10000"/>
                    <a:gd name="connsiteY152" fmla="*/ 8950 h 10000"/>
                    <a:gd name="connsiteX153" fmla="*/ 6056 w 10000"/>
                    <a:gd name="connsiteY153" fmla="*/ 8659 h 10000"/>
                    <a:gd name="connsiteX154" fmla="*/ 6056 w 10000"/>
                    <a:gd name="connsiteY154" fmla="*/ 8597 h 10000"/>
                    <a:gd name="connsiteX155" fmla="*/ 5944 w 10000"/>
                    <a:gd name="connsiteY155" fmla="*/ 8520 h 10000"/>
                    <a:gd name="connsiteX156" fmla="*/ 5889 w 10000"/>
                    <a:gd name="connsiteY156" fmla="*/ 8505 h 10000"/>
                    <a:gd name="connsiteX157" fmla="*/ 5667 w 10000"/>
                    <a:gd name="connsiteY157" fmla="*/ 8488 h 10000"/>
                    <a:gd name="connsiteX158" fmla="*/ 4889 w 10000"/>
                    <a:gd name="connsiteY158" fmla="*/ 8612 h 10000"/>
                    <a:gd name="connsiteX159" fmla="*/ 4611 w 10000"/>
                    <a:gd name="connsiteY159" fmla="*/ 8641 h 10000"/>
                    <a:gd name="connsiteX160" fmla="*/ 4500 w 10000"/>
                    <a:gd name="connsiteY160" fmla="*/ 8641 h 10000"/>
                    <a:gd name="connsiteX161" fmla="*/ 4222 w 10000"/>
                    <a:gd name="connsiteY161" fmla="*/ 8488 h 10000"/>
                    <a:gd name="connsiteX162" fmla="*/ 4222 w 10000"/>
                    <a:gd name="connsiteY162" fmla="*/ 8488 h 10000"/>
                    <a:gd name="connsiteX163" fmla="*/ 4111 w 10000"/>
                    <a:gd name="connsiteY163" fmla="*/ 8411 h 10000"/>
                    <a:gd name="connsiteX164" fmla="*/ 4111 w 10000"/>
                    <a:gd name="connsiteY164" fmla="*/ 8318 h 10000"/>
                    <a:gd name="connsiteX165" fmla="*/ 4111 w 10000"/>
                    <a:gd name="connsiteY165" fmla="*/ 8318 h 10000"/>
                    <a:gd name="connsiteX166" fmla="*/ 4278 w 10000"/>
                    <a:gd name="connsiteY166" fmla="*/ 8271 h 10000"/>
                    <a:gd name="connsiteX167" fmla="*/ 4389 w 10000"/>
                    <a:gd name="connsiteY167" fmla="*/ 8256 h 10000"/>
                    <a:gd name="connsiteX168" fmla="*/ 4389 w 10000"/>
                    <a:gd name="connsiteY168" fmla="*/ 8256 h 10000"/>
                    <a:gd name="connsiteX169" fmla="*/ 3722 w 10000"/>
                    <a:gd name="connsiteY169" fmla="*/ 8271 h 10000"/>
                    <a:gd name="connsiteX170" fmla="*/ 3611 w 10000"/>
                    <a:gd name="connsiteY170" fmla="*/ 8287 h 10000"/>
                    <a:gd name="connsiteX171" fmla="*/ 3556 w 10000"/>
                    <a:gd name="connsiteY171" fmla="*/ 8303 h 10000"/>
                    <a:gd name="connsiteX172" fmla="*/ 3556 w 10000"/>
                    <a:gd name="connsiteY172" fmla="*/ 8303 h 10000"/>
                    <a:gd name="connsiteX173" fmla="*/ 3444 w 10000"/>
                    <a:gd name="connsiteY173" fmla="*/ 8364 h 10000"/>
                    <a:gd name="connsiteX174" fmla="*/ 3278 w 10000"/>
                    <a:gd name="connsiteY174" fmla="*/ 8457 h 10000"/>
                    <a:gd name="connsiteX175" fmla="*/ 3000 w 10000"/>
                    <a:gd name="connsiteY175" fmla="*/ 8566 h 10000"/>
                    <a:gd name="connsiteX176" fmla="*/ 2667 w 10000"/>
                    <a:gd name="connsiteY176" fmla="*/ 8641 h 10000"/>
                    <a:gd name="connsiteX177" fmla="*/ 2667 w 10000"/>
                    <a:gd name="connsiteY177" fmla="*/ 8641 h 10000"/>
                    <a:gd name="connsiteX178" fmla="*/ 2333 w 10000"/>
                    <a:gd name="connsiteY178" fmla="*/ 8704 h 10000"/>
                    <a:gd name="connsiteX179" fmla="*/ 1833 w 10000"/>
                    <a:gd name="connsiteY179" fmla="*/ 8766 h 10000"/>
                    <a:gd name="connsiteX180" fmla="*/ 1389 w 10000"/>
                    <a:gd name="connsiteY180" fmla="*/ 8797 h 10000"/>
                    <a:gd name="connsiteX181" fmla="*/ 889 w 10000"/>
                    <a:gd name="connsiteY181" fmla="*/ 8812 h 10000"/>
                    <a:gd name="connsiteX182" fmla="*/ 889 w 10000"/>
                    <a:gd name="connsiteY182" fmla="*/ 8812 h 10000"/>
                    <a:gd name="connsiteX183" fmla="*/ 500 w 10000"/>
                    <a:gd name="connsiteY183" fmla="*/ 8828 h 10000"/>
                    <a:gd name="connsiteX184" fmla="*/ 222 w 10000"/>
                    <a:gd name="connsiteY184" fmla="*/ 8844 h 10000"/>
                    <a:gd name="connsiteX185" fmla="*/ 0 w 10000"/>
                    <a:gd name="connsiteY185" fmla="*/ 8859 h 10000"/>
                    <a:gd name="connsiteX186" fmla="*/ 0 w 10000"/>
                    <a:gd name="connsiteY186" fmla="*/ 8859 h 10000"/>
                    <a:gd name="connsiteX187" fmla="*/ 278 w 10000"/>
                    <a:gd name="connsiteY187" fmla="*/ 9105 h 10000"/>
                    <a:gd name="connsiteX188" fmla="*/ 500 w 10000"/>
                    <a:gd name="connsiteY188" fmla="*/ 9291 h 10000"/>
                    <a:gd name="connsiteX189" fmla="*/ 722 w 10000"/>
                    <a:gd name="connsiteY189" fmla="*/ 9446 h 10000"/>
                    <a:gd name="connsiteX190" fmla="*/ 722 w 10000"/>
                    <a:gd name="connsiteY190" fmla="*/ 9446 h 10000"/>
                    <a:gd name="connsiteX191" fmla="*/ 889 w 10000"/>
                    <a:gd name="connsiteY191" fmla="*/ 9538 h 10000"/>
                    <a:gd name="connsiteX192" fmla="*/ 944 w 10000"/>
                    <a:gd name="connsiteY192" fmla="*/ 9615 h 10000"/>
                    <a:gd name="connsiteX193" fmla="*/ 1111 w 10000"/>
                    <a:gd name="connsiteY193" fmla="*/ 9692 h 10000"/>
                    <a:gd name="connsiteX194" fmla="*/ 1333 w 10000"/>
                    <a:gd name="connsiteY194" fmla="*/ 9816 h 10000"/>
                    <a:gd name="connsiteX195" fmla="*/ 1333 w 10000"/>
                    <a:gd name="connsiteY195" fmla="*/ 9816 h 10000"/>
                    <a:gd name="connsiteX196" fmla="*/ 1444 w 10000"/>
                    <a:gd name="connsiteY196" fmla="*/ 9879 h 10000"/>
                    <a:gd name="connsiteX197" fmla="*/ 1500 w 10000"/>
                    <a:gd name="connsiteY197" fmla="*/ 9924 h 10000"/>
                    <a:gd name="connsiteX198" fmla="*/ 1500 w 10000"/>
                    <a:gd name="connsiteY198" fmla="*/ 9971 h 10000"/>
                    <a:gd name="connsiteX199" fmla="*/ 1556 w 10000"/>
                    <a:gd name="connsiteY199" fmla="*/ 9986 h 10000"/>
                    <a:gd name="connsiteX200" fmla="*/ 1722 w 10000"/>
                    <a:gd name="connsiteY200" fmla="*/ 10000 h 10000"/>
                    <a:gd name="connsiteX201" fmla="*/ 10000 w 10000"/>
                    <a:gd name="connsiteY201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7986 w 10000"/>
                    <a:gd name="connsiteY44" fmla="*/ 7987 h 10000"/>
                    <a:gd name="connsiteX45" fmla="*/ 8389 w 10000"/>
                    <a:gd name="connsiteY45" fmla="*/ 7995 h 10000"/>
                    <a:gd name="connsiteX46" fmla="*/ 8389 w 10000"/>
                    <a:gd name="connsiteY46" fmla="*/ 7995 h 10000"/>
                    <a:gd name="connsiteX47" fmla="*/ 8667 w 10000"/>
                    <a:gd name="connsiteY47" fmla="*/ 7963 h 10000"/>
                    <a:gd name="connsiteX48" fmla="*/ 8778 w 10000"/>
                    <a:gd name="connsiteY48" fmla="*/ 7917 h 10000"/>
                    <a:gd name="connsiteX49" fmla="*/ 8889 w 10000"/>
                    <a:gd name="connsiteY49" fmla="*/ 7887 h 10000"/>
                    <a:gd name="connsiteX50" fmla="*/ 8833 w 10000"/>
                    <a:gd name="connsiteY50" fmla="*/ 7856 h 10000"/>
                    <a:gd name="connsiteX51" fmla="*/ 8833 w 10000"/>
                    <a:gd name="connsiteY51" fmla="*/ 7826 h 10000"/>
                    <a:gd name="connsiteX52" fmla="*/ 8556 w 10000"/>
                    <a:gd name="connsiteY52" fmla="*/ 7747 h 10000"/>
                    <a:gd name="connsiteX53" fmla="*/ 6556 w 10000"/>
                    <a:gd name="connsiteY53" fmla="*/ 7470 h 10000"/>
                    <a:gd name="connsiteX54" fmla="*/ 6556 w 10000"/>
                    <a:gd name="connsiteY54" fmla="*/ 7470 h 10000"/>
                    <a:gd name="connsiteX55" fmla="*/ 6333 w 10000"/>
                    <a:gd name="connsiteY55" fmla="*/ 7424 h 10000"/>
                    <a:gd name="connsiteX56" fmla="*/ 6167 w 10000"/>
                    <a:gd name="connsiteY56" fmla="*/ 7377 h 10000"/>
                    <a:gd name="connsiteX57" fmla="*/ 6056 w 10000"/>
                    <a:gd name="connsiteY57" fmla="*/ 7331 h 10000"/>
                    <a:gd name="connsiteX58" fmla="*/ 6056 w 10000"/>
                    <a:gd name="connsiteY58" fmla="*/ 7331 h 10000"/>
                    <a:gd name="connsiteX59" fmla="*/ 8056 w 10000"/>
                    <a:gd name="connsiteY59" fmla="*/ 7315 h 10000"/>
                    <a:gd name="connsiteX60" fmla="*/ 10000 w 10000"/>
                    <a:gd name="connsiteY60" fmla="*/ 7470 h 10000"/>
                    <a:gd name="connsiteX61" fmla="*/ 10000 w 10000"/>
                    <a:gd name="connsiteY61" fmla="*/ 6065 h 10000"/>
                    <a:gd name="connsiteX62" fmla="*/ 10000 w 10000"/>
                    <a:gd name="connsiteY62" fmla="*/ 6065 h 10000"/>
                    <a:gd name="connsiteX63" fmla="*/ 7778 w 10000"/>
                    <a:gd name="connsiteY63" fmla="*/ 5740 h 10000"/>
                    <a:gd name="connsiteX64" fmla="*/ 6556 w 10000"/>
                    <a:gd name="connsiteY64" fmla="*/ 5556 h 10000"/>
                    <a:gd name="connsiteX65" fmla="*/ 6556 w 10000"/>
                    <a:gd name="connsiteY65" fmla="*/ 5556 h 10000"/>
                    <a:gd name="connsiteX66" fmla="*/ 6556 w 10000"/>
                    <a:gd name="connsiteY66" fmla="*/ 5541 h 10000"/>
                    <a:gd name="connsiteX67" fmla="*/ 6556 w 10000"/>
                    <a:gd name="connsiteY67" fmla="*/ 5448 h 10000"/>
                    <a:gd name="connsiteX68" fmla="*/ 6556 w 10000"/>
                    <a:gd name="connsiteY68" fmla="*/ 5448 h 10000"/>
                    <a:gd name="connsiteX69" fmla="*/ 6389 w 10000"/>
                    <a:gd name="connsiteY69" fmla="*/ 5340 h 10000"/>
                    <a:gd name="connsiteX70" fmla="*/ 6056 w 10000"/>
                    <a:gd name="connsiteY70" fmla="*/ 5171 h 10000"/>
                    <a:gd name="connsiteX71" fmla="*/ 5333 w 10000"/>
                    <a:gd name="connsiteY71" fmla="*/ 4846 h 10000"/>
                    <a:gd name="connsiteX72" fmla="*/ 5333 w 10000"/>
                    <a:gd name="connsiteY72" fmla="*/ 4846 h 10000"/>
                    <a:gd name="connsiteX73" fmla="*/ 5167 w 10000"/>
                    <a:gd name="connsiteY73" fmla="*/ 4800 h 10000"/>
                    <a:gd name="connsiteX74" fmla="*/ 4889 w 10000"/>
                    <a:gd name="connsiteY74" fmla="*/ 4737 h 10000"/>
                    <a:gd name="connsiteX75" fmla="*/ 4056 w 10000"/>
                    <a:gd name="connsiteY75" fmla="*/ 4599 h 10000"/>
                    <a:gd name="connsiteX76" fmla="*/ 2889 w 10000"/>
                    <a:gd name="connsiteY76" fmla="*/ 4430 h 10000"/>
                    <a:gd name="connsiteX77" fmla="*/ 2889 w 10000"/>
                    <a:gd name="connsiteY77" fmla="*/ 4430 h 10000"/>
                    <a:gd name="connsiteX78" fmla="*/ 2389 w 10000"/>
                    <a:gd name="connsiteY78" fmla="*/ 4413 h 10000"/>
                    <a:gd name="connsiteX79" fmla="*/ 2000 w 10000"/>
                    <a:gd name="connsiteY79" fmla="*/ 4397 h 10000"/>
                    <a:gd name="connsiteX80" fmla="*/ 1889 w 10000"/>
                    <a:gd name="connsiteY80" fmla="*/ 4382 h 10000"/>
                    <a:gd name="connsiteX81" fmla="*/ 1778 w 10000"/>
                    <a:gd name="connsiteY81" fmla="*/ 4367 h 10000"/>
                    <a:gd name="connsiteX82" fmla="*/ 1778 w 10000"/>
                    <a:gd name="connsiteY82" fmla="*/ 4367 h 10000"/>
                    <a:gd name="connsiteX83" fmla="*/ 1667 w 10000"/>
                    <a:gd name="connsiteY83" fmla="*/ 4305 h 10000"/>
                    <a:gd name="connsiteX84" fmla="*/ 1500 w 10000"/>
                    <a:gd name="connsiteY84" fmla="*/ 4198 h 10000"/>
                    <a:gd name="connsiteX85" fmla="*/ 1444 w 10000"/>
                    <a:gd name="connsiteY85" fmla="*/ 4136 h 10000"/>
                    <a:gd name="connsiteX86" fmla="*/ 1444 w 10000"/>
                    <a:gd name="connsiteY86" fmla="*/ 4073 h 10000"/>
                    <a:gd name="connsiteX87" fmla="*/ 1444 w 10000"/>
                    <a:gd name="connsiteY87" fmla="*/ 4028 h 10000"/>
                    <a:gd name="connsiteX88" fmla="*/ 1556 w 10000"/>
                    <a:gd name="connsiteY88" fmla="*/ 3981 h 10000"/>
                    <a:gd name="connsiteX89" fmla="*/ 1556 w 10000"/>
                    <a:gd name="connsiteY89" fmla="*/ 3981 h 10000"/>
                    <a:gd name="connsiteX90" fmla="*/ 1833 w 10000"/>
                    <a:gd name="connsiteY90" fmla="*/ 3904 h 10000"/>
                    <a:gd name="connsiteX91" fmla="*/ 2111 w 10000"/>
                    <a:gd name="connsiteY91" fmla="*/ 3828 h 10000"/>
                    <a:gd name="connsiteX92" fmla="*/ 2278 w 10000"/>
                    <a:gd name="connsiteY92" fmla="*/ 3782 h 10000"/>
                    <a:gd name="connsiteX93" fmla="*/ 2389 w 10000"/>
                    <a:gd name="connsiteY93" fmla="*/ 3734 h 10000"/>
                    <a:gd name="connsiteX94" fmla="*/ 2389 w 10000"/>
                    <a:gd name="connsiteY94" fmla="*/ 3672 h 10000"/>
                    <a:gd name="connsiteX95" fmla="*/ 2389 w 10000"/>
                    <a:gd name="connsiteY95" fmla="*/ 3596 h 10000"/>
                    <a:gd name="connsiteX96" fmla="*/ 2389 w 10000"/>
                    <a:gd name="connsiteY96" fmla="*/ 3596 h 10000"/>
                    <a:gd name="connsiteX97" fmla="*/ 2167 w 10000"/>
                    <a:gd name="connsiteY97" fmla="*/ 3379 h 10000"/>
                    <a:gd name="connsiteX98" fmla="*/ 1889 w 10000"/>
                    <a:gd name="connsiteY98" fmla="*/ 3087 h 10000"/>
                    <a:gd name="connsiteX99" fmla="*/ 1667 w 10000"/>
                    <a:gd name="connsiteY99" fmla="*/ 2824 h 10000"/>
                    <a:gd name="connsiteX100" fmla="*/ 1611 w 10000"/>
                    <a:gd name="connsiteY100" fmla="*/ 2747 h 10000"/>
                    <a:gd name="connsiteX101" fmla="*/ 1611 w 10000"/>
                    <a:gd name="connsiteY101" fmla="*/ 2716 h 10000"/>
                    <a:gd name="connsiteX102" fmla="*/ 1667 w 10000"/>
                    <a:gd name="connsiteY102" fmla="*/ 2700 h 10000"/>
                    <a:gd name="connsiteX103" fmla="*/ 1667 w 10000"/>
                    <a:gd name="connsiteY103" fmla="*/ 2700 h 10000"/>
                    <a:gd name="connsiteX104" fmla="*/ 2000 w 10000"/>
                    <a:gd name="connsiteY104" fmla="*/ 2686 h 10000"/>
                    <a:gd name="connsiteX105" fmla="*/ 2222 w 10000"/>
                    <a:gd name="connsiteY105" fmla="*/ 2686 h 10000"/>
                    <a:gd name="connsiteX106" fmla="*/ 2389 w 10000"/>
                    <a:gd name="connsiteY106" fmla="*/ 2700 h 10000"/>
                    <a:gd name="connsiteX107" fmla="*/ 2389 w 10000"/>
                    <a:gd name="connsiteY107" fmla="*/ 2700 h 10000"/>
                    <a:gd name="connsiteX108" fmla="*/ 2444 w 10000"/>
                    <a:gd name="connsiteY108" fmla="*/ 2700 h 10000"/>
                    <a:gd name="connsiteX109" fmla="*/ 2500 w 10000"/>
                    <a:gd name="connsiteY109" fmla="*/ 2670 h 10000"/>
                    <a:gd name="connsiteX110" fmla="*/ 2778 w 10000"/>
                    <a:gd name="connsiteY110" fmla="*/ 2577 h 10000"/>
                    <a:gd name="connsiteX111" fmla="*/ 3500 w 10000"/>
                    <a:gd name="connsiteY111" fmla="*/ 2269 h 10000"/>
                    <a:gd name="connsiteX112" fmla="*/ 4444 w 10000"/>
                    <a:gd name="connsiteY112" fmla="*/ 1822 h 10000"/>
                    <a:gd name="connsiteX113" fmla="*/ 4444 w 10000"/>
                    <a:gd name="connsiteY113" fmla="*/ 1822 h 10000"/>
                    <a:gd name="connsiteX114" fmla="*/ 4444 w 10000"/>
                    <a:gd name="connsiteY114" fmla="*/ 1759 h 10000"/>
                    <a:gd name="connsiteX115" fmla="*/ 4444 w 10000"/>
                    <a:gd name="connsiteY115" fmla="*/ 1619 h 10000"/>
                    <a:gd name="connsiteX116" fmla="*/ 4500 w 10000"/>
                    <a:gd name="connsiteY116" fmla="*/ 1528 h 10000"/>
                    <a:gd name="connsiteX117" fmla="*/ 4611 w 10000"/>
                    <a:gd name="connsiteY117" fmla="*/ 1450 h 10000"/>
                    <a:gd name="connsiteX118" fmla="*/ 4778 w 10000"/>
                    <a:gd name="connsiteY118" fmla="*/ 1358 h 10000"/>
                    <a:gd name="connsiteX119" fmla="*/ 5000 w 10000"/>
                    <a:gd name="connsiteY119" fmla="*/ 1281 h 10000"/>
                    <a:gd name="connsiteX120" fmla="*/ 5000 w 10000"/>
                    <a:gd name="connsiteY120" fmla="*/ 1281 h 10000"/>
                    <a:gd name="connsiteX121" fmla="*/ 5556 w 10000"/>
                    <a:gd name="connsiteY121" fmla="*/ 1127 h 10000"/>
                    <a:gd name="connsiteX122" fmla="*/ 6111 w 10000"/>
                    <a:gd name="connsiteY122" fmla="*/ 926 h 10000"/>
                    <a:gd name="connsiteX123" fmla="*/ 6667 w 10000"/>
                    <a:gd name="connsiteY123" fmla="*/ 740 h 10000"/>
                    <a:gd name="connsiteX124" fmla="*/ 7056 w 10000"/>
                    <a:gd name="connsiteY124" fmla="*/ 572 h 10000"/>
                    <a:gd name="connsiteX125" fmla="*/ 7056 w 10000"/>
                    <a:gd name="connsiteY125" fmla="*/ 572 h 10000"/>
                    <a:gd name="connsiteX126" fmla="*/ 7333 w 10000"/>
                    <a:gd name="connsiteY126" fmla="*/ 417 h 10000"/>
                    <a:gd name="connsiteX127" fmla="*/ 7667 w 10000"/>
                    <a:gd name="connsiteY127" fmla="*/ 232 h 10000"/>
                    <a:gd name="connsiteX128" fmla="*/ 8000 w 10000"/>
                    <a:gd name="connsiteY128" fmla="*/ 92 h 10000"/>
                    <a:gd name="connsiteX129" fmla="*/ 8167 w 10000"/>
                    <a:gd name="connsiteY129" fmla="*/ 29 h 10000"/>
                    <a:gd name="connsiteX130" fmla="*/ 8333 w 10000"/>
                    <a:gd name="connsiteY130" fmla="*/ 15 h 10000"/>
                    <a:gd name="connsiteX131" fmla="*/ 8333 w 10000"/>
                    <a:gd name="connsiteY131" fmla="*/ 15 h 10000"/>
                    <a:gd name="connsiteX132" fmla="*/ 8667 w 10000"/>
                    <a:gd name="connsiteY132" fmla="*/ 0 h 10000"/>
                    <a:gd name="connsiteX133" fmla="*/ 9111 w 10000"/>
                    <a:gd name="connsiteY133" fmla="*/ 0 h 10000"/>
                    <a:gd name="connsiteX134" fmla="*/ 10000 w 10000"/>
                    <a:gd name="connsiteY134" fmla="*/ 15 h 10000"/>
                    <a:gd name="connsiteX135" fmla="*/ 10000 w 10000"/>
                    <a:gd name="connsiteY135" fmla="*/ 9446 h 10000"/>
                    <a:gd name="connsiteX136" fmla="*/ 10000 w 10000"/>
                    <a:gd name="connsiteY136" fmla="*/ 9446 h 10000"/>
                    <a:gd name="connsiteX137" fmla="*/ 9722 w 10000"/>
                    <a:gd name="connsiteY137" fmla="*/ 9430 h 10000"/>
                    <a:gd name="connsiteX138" fmla="*/ 9389 w 10000"/>
                    <a:gd name="connsiteY138" fmla="*/ 9446 h 10000"/>
                    <a:gd name="connsiteX139" fmla="*/ 9389 w 10000"/>
                    <a:gd name="connsiteY139" fmla="*/ 9446 h 10000"/>
                    <a:gd name="connsiteX140" fmla="*/ 9278 w 10000"/>
                    <a:gd name="connsiteY140" fmla="*/ 9461 h 10000"/>
                    <a:gd name="connsiteX141" fmla="*/ 9056 w 10000"/>
                    <a:gd name="connsiteY141" fmla="*/ 9446 h 10000"/>
                    <a:gd name="connsiteX142" fmla="*/ 8722 w 10000"/>
                    <a:gd name="connsiteY142" fmla="*/ 9399 h 10000"/>
                    <a:gd name="connsiteX143" fmla="*/ 8444 w 10000"/>
                    <a:gd name="connsiteY143" fmla="*/ 9276 h 10000"/>
                    <a:gd name="connsiteX144" fmla="*/ 8444 w 10000"/>
                    <a:gd name="connsiteY144" fmla="*/ 9276 h 10000"/>
                    <a:gd name="connsiteX145" fmla="*/ 8111 w 10000"/>
                    <a:gd name="connsiteY145" fmla="*/ 9075 h 10000"/>
                    <a:gd name="connsiteX146" fmla="*/ 7778 w 10000"/>
                    <a:gd name="connsiteY146" fmla="*/ 8997 h 10000"/>
                    <a:gd name="connsiteX147" fmla="*/ 7556 w 10000"/>
                    <a:gd name="connsiteY147" fmla="*/ 8981 h 10000"/>
                    <a:gd name="connsiteX148" fmla="*/ 7000 w 10000"/>
                    <a:gd name="connsiteY148" fmla="*/ 8950 h 10000"/>
                    <a:gd name="connsiteX149" fmla="*/ 6556 w 10000"/>
                    <a:gd name="connsiteY149" fmla="*/ 8967 h 10000"/>
                    <a:gd name="connsiteX150" fmla="*/ 6222 w 10000"/>
                    <a:gd name="connsiteY150" fmla="*/ 8967 h 10000"/>
                    <a:gd name="connsiteX151" fmla="*/ 6111 w 10000"/>
                    <a:gd name="connsiteY151" fmla="*/ 8950 h 10000"/>
                    <a:gd name="connsiteX152" fmla="*/ 6056 w 10000"/>
                    <a:gd name="connsiteY152" fmla="*/ 8659 h 10000"/>
                    <a:gd name="connsiteX153" fmla="*/ 6056 w 10000"/>
                    <a:gd name="connsiteY153" fmla="*/ 8597 h 10000"/>
                    <a:gd name="connsiteX154" fmla="*/ 5944 w 10000"/>
                    <a:gd name="connsiteY154" fmla="*/ 8520 h 10000"/>
                    <a:gd name="connsiteX155" fmla="*/ 5889 w 10000"/>
                    <a:gd name="connsiteY155" fmla="*/ 8505 h 10000"/>
                    <a:gd name="connsiteX156" fmla="*/ 5667 w 10000"/>
                    <a:gd name="connsiteY156" fmla="*/ 8488 h 10000"/>
                    <a:gd name="connsiteX157" fmla="*/ 4889 w 10000"/>
                    <a:gd name="connsiteY157" fmla="*/ 8612 h 10000"/>
                    <a:gd name="connsiteX158" fmla="*/ 4611 w 10000"/>
                    <a:gd name="connsiteY158" fmla="*/ 8641 h 10000"/>
                    <a:gd name="connsiteX159" fmla="*/ 4500 w 10000"/>
                    <a:gd name="connsiteY159" fmla="*/ 8641 h 10000"/>
                    <a:gd name="connsiteX160" fmla="*/ 4222 w 10000"/>
                    <a:gd name="connsiteY160" fmla="*/ 8488 h 10000"/>
                    <a:gd name="connsiteX161" fmla="*/ 4222 w 10000"/>
                    <a:gd name="connsiteY161" fmla="*/ 8488 h 10000"/>
                    <a:gd name="connsiteX162" fmla="*/ 4111 w 10000"/>
                    <a:gd name="connsiteY162" fmla="*/ 8411 h 10000"/>
                    <a:gd name="connsiteX163" fmla="*/ 4111 w 10000"/>
                    <a:gd name="connsiteY163" fmla="*/ 8318 h 10000"/>
                    <a:gd name="connsiteX164" fmla="*/ 4111 w 10000"/>
                    <a:gd name="connsiteY164" fmla="*/ 8318 h 10000"/>
                    <a:gd name="connsiteX165" fmla="*/ 4278 w 10000"/>
                    <a:gd name="connsiteY165" fmla="*/ 8271 h 10000"/>
                    <a:gd name="connsiteX166" fmla="*/ 4389 w 10000"/>
                    <a:gd name="connsiteY166" fmla="*/ 8256 h 10000"/>
                    <a:gd name="connsiteX167" fmla="*/ 4389 w 10000"/>
                    <a:gd name="connsiteY167" fmla="*/ 8256 h 10000"/>
                    <a:gd name="connsiteX168" fmla="*/ 3722 w 10000"/>
                    <a:gd name="connsiteY168" fmla="*/ 8271 h 10000"/>
                    <a:gd name="connsiteX169" fmla="*/ 3611 w 10000"/>
                    <a:gd name="connsiteY169" fmla="*/ 8287 h 10000"/>
                    <a:gd name="connsiteX170" fmla="*/ 3556 w 10000"/>
                    <a:gd name="connsiteY170" fmla="*/ 8303 h 10000"/>
                    <a:gd name="connsiteX171" fmla="*/ 3556 w 10000"/>
                    <a:gd name="connsiteY171" fmla="*/ 8303 h 10000"/>
                    <a:gd name="connsiteX172" fmla="*/ 3444 w 10000"/>
                    <a:gd name="connsiteY172" fmla="*/ 8364 h 10000"/>
                    <a:gd name="connsiteX173" fmla="*/ 3278 w 10000"/>
                    <a:gd name="connsiteY173" fmla="*/ 8457 h 10000"/>
                    <a:gd name="connsiteX174" fmla="*/ 3000 w 10000"/>
                    <a:gd name="connsiteY174" fmla="*/ 8566 h 10000"/>
                    <a:gd name="connsiteX175" fmla="*/ 2667 w 10000"/>
                    <a:gd name="connsiteY175" fmla="*/ 8641 h 10000"/>
                    <a:gd name="connsiteX176" fmla="*/ 2667 w 10000"/>
                    <a:gd name="connsiteY176" fmla="*/ 8641 h 10000"/>
                    <a:gd name="connsiteX177" fmla="*/ 2333 w 10000"/>
                    <a:gd name="connsiteY177" fmla="*/ 8704 h 10000"/>
                    <a:gd name="connsiteX178" fmla="*/ 1833 w 10000"/>
                    <a:gd name="connsiteY178" fmla="*/ 8766 h 10000"/>
                    <a:gd name="connsiteX179" fmla="*/ 1389 w 10000"/>
                    <a:gd name="connsiteY179" fmla="*/ 8797 h 10000"/>
                    <a:gd name="connsiteX180" fmla="*/ 889 w 10000"/>
                    <a:gd name="connsiteY180" fmla="*/ 8812 h 10000"/>
                    <a:gd name="connsiteX181" fmla="*/ 889 w 10000"/>
                    <a:gd name="connsiteY181" fmla="*/ 8812 h 10000"/>
                    <a:gd name="connsiteX182" fmla="*/ 500 w 10000"/>
                    <a:gd name="connsiteY182" fmla="*/ 8828 h 10000"/>
                    <a:gd name="connsiteX183" fmla="*/ 222 w 10000"/>
                    <a:gd name="connsiteY183" fmla="*/ 8844 h 10000"/>
                    <a:gd name="connsiteX184" fmla="*/ 0 w 10000"/>
                    <a:gd name="connsiteY184" fmla="*/ 8859 h 10000"/>
                    <a:gd name="connsiteX185" fmla="*/ 0 w 10000"/>
                    <a:gd name="connsiteY185" fmla="*/ 8859 h 10000"/>
                    <a:gd name="connsiteX186" fmla="*/ 278 w 10000"/>
                    <a:gd name="connsiteY186" fmla="*/ 9105 h 10000"/>
                    <a:gd name="connsiteX187" fmla="*/ 500 w 10000"/>
                    <a:gd name="connsiteY187" fmla="*/ 9291 h 10000"/>
                    <a:gd name="connsiteX188" fmla="*/ 722 w 10000"/>
                    <a:gd name="connsiteY188" fmla="*/ 9446 h 10000"/>
                    <a:gd name="connsiteX189" fmla="*/ 722 w 10000"/>
                    <a:gd name="connsiteY189" fmla="*/ 9446 h 10000"/>
                    <a:gd name="connsiteX190" fmla="*/ 889 w 10000"/>
                    <a:gd name="connsiteY190" fmla="*/ 9538 h 10000"/>
                    <a:gd name="connsiteX191" fmla="*/ 944 w 10000"/>
                    <a:gd name="connsiteY191" fmla="*/ 9615 h 10000"/>
                    <a:gd name="connsiteX192" fmla="*/ 1111 w 10000"/>
                    <a:gd name="connsiteY192" fmla="*/ 9692 h 10000"/>
                    <a:gd name="connsiteX193" fmla="*/ 1333 w 10000"/>
                    <a:gd name="connsiteY193" fmla="*/ 9816 h 10000"/>
                    <a:gd name="connsiteX194" fmla="*/ 1333 w 10000"/>
                    <a:gd name="connsiteY194" fmla="*/ 9816 h 10000"/>
                    <a:gd name="connsiteX195" fmla="*/ 1444 w 10000"/>
                    <a:gd name="connsiteY195" fmla="*/ 9879 h 10000"/>
                    <a:gd name="connsiteX196" fmla="*/ 1500 w 10000"/>
                    <a:gd name="connsiteY196" fmla="*/ 9924 h 10000"/>
                    <a:gd name="connsiteX197" fmla="*/ 1500 w 10000"/>
                    <a:gd name="connsiteY197" fmla="*/ 9971 h 10000"/>
                    <a:gd name="connsiteX198" fmla="*/ 1556 w 10000"/>
                    <a:gd name="connsiteY198" fmla="*/ 9986 h 10000"/>
                    <a:gd name="connsiteX199" fmla="*/ 1722 w 10000"/>
                    <a:gd name="connsiteY199" fmla="*/ 10000 h 10000"/>
                    <a:gd name="connsiteX200" fmla="*/ 10000 w 10000"/>
                    <a:gd name="connsiteY200" fmla="*/ 9430 h 10000"/>
                    <a:gd name="connsiteX0" fmla="*/ 10000 w 10000"/>
                    <a:gd name="connsiteY0" fmla="*/ 9430 h 10000"/>
                    <a:gd name="connsiteX1" fmla="*/ 10000 w 10000"/>
                    <a:gd name="connsiteY1" fmla="*/ 9430 h 10000"/>
                    <a:gd name="connsiteX2" fmla="*/ 9222 w 10000"/>
                    <a:gd name="connsiteY2" fmla="*/ 9446 h 10000"/>
                    <a:gd name="connsiteX3" fmla="*/ 8944 w 10000"/>
                    <a:gd name="connsiteY3" fmla="*/ 9446 h 10000"/>
                    <a:gd name="connsiteX4" fmla="*/ 8833 w 10000"/>
                    <a:gd name="connsiteY4" fmla="*/ 9430 h 10000"/>
                    <a:gd name="connsiteX5" fmla="*/ 8778 w 10000"/>
                    <a:gd name="connsiteY5" fmla="*/ 9414 h 10000"/>
                    <a:gd name="connsiteX6" fmla="*/ 8778 w 10000"/>
                    <a:gd name="connsiteY6" fmla="*/ 9414 h 10000"/>
                    <a:gd name="connsiteX7" fmla="*/ 8444 w 10000"/>
                    <a:gd name="connsiteY7" fmla="*/ 9229 h 10000"/>
                    <a:gd name="connsiteX8" fmla="*/ 8167 w 10000"/>
                    <a:gd name="connsiteY8" fmla="*/ 9059 h 10000"/>
                    <a:gd name="connsiteX9" fmla="*/ 8167 w 10000"/>
                    <a:gd name="connsiteY9" fmla="*/ 9059 h 10000"/>
                    <a:gd name="connsiteX10" fmla="*/ 8056 w 10000"/>
                    <a:gd name="connsiteY10" fmla="*/ 9029 h 10000"/>
                    <a:gd name="connsiteX11" fmla="*/ 7889 w 10000"/>
                    <a:gd name="connsiteY11" fmla="*/ 8997 h 10000"/>
                    <a:gd name="connsiteX12" fmla="*/ 7444 w 10000"/>
                    <a:gd name="connsiteY12" fmla="*/ 8981 h 10000"/>
                    <a:gd name="connsiteX13" fmla="*/ 6889 w 10000"/>
                    <a:gd name="connsiteY13" fmla="*/ 8967 h 10000"/>
                    <a:gd name="connsiteX14" fmla="*/ 6389 w 10000"/>
                    <a:gd name="connsiteY14" fmla="*/ 8967 h 10000"/>
                    <a:gd name="connsiteX15" fmla="*/ 6389 w 10000"/>
                    <a:gd name="connsiteY15" fmla="*/ 8967 h 10000"/>
                    <a:gd name="connsiteX16" fmla="*/ 6167 w 10000"/>
                    <a:gd name="connsiteY16" fmla="*/ 8950 h 10000"/>
                    <a:gd name="connsiteX17" fmla="*/ 6056 w 10000"/>
                    <a:gd name="connsiteY17" fmla="*/ 8921 h 10000"/>
                    <a:gd name="connsiteX18" fmla="*/ 6000 w 10000"/>
                    <a:gd name="connsiteY18" fmla="*/ 8889 h 10000"/>
                    <a:gd name="connsiteX19" fmla="*/ 6056 w 10000"/>
                    <a:gd name="connsiteY19" fmla="*/ 8704 h 10000"/>
                    <a:gd name="connsiteX20" fmla="*/ 6111 w 10000"/>
                    <a:gd name="connsiteY20" fmla="*/ 8641 h 10000"/>
                    <a:gd name="connsiteX21" fmla="*/ 6056 w 10000"/>
                    <a:gd name="connsiteY21" fmla="*/ 8566 h 10000"/>
                    <a:gd name="connsiteX22" fmla="*/ 6056 w 10000"/>
                    <a:gd name="connsiteY22" fmla="*/ 8566 h 10000"/>
                    <a:gd name="connsiteX23" fmla="*/ 6000 w 10000"/>
                    <a:gd name="connsiteY23" fmla="*/ 8520 h 10000"/>
                    <a:gd name="connsiteX24" fmla="*/ 5944 w 10000"/>
                    <a:gd name="connsiteY24" fmla="*/ 8488 h 10000"/>
                    <a:gd name="connsiteX25" fmla="*/ 5833 w 10000"/>
                    <a:gd name="connsiteY25" fmla="*/ 8488 h 10000"/>
                    <a:gd name="connsiteX26" fmla="*/ 5667 w 10000"/>
                    <a:gd name="connsiteY26" fmla="*/ 8505 h 10000"/>
                    <a:gd name="connsiteX27" fmla="*/ 5333 w 10000"/>
                    <a:gd name="connsiteY27" fmla="*/ 8550 h 10000"/>
                    <a:gd name="connsiteX28" fmla="*/ 4889 w 10000"/>
                    <a:gd name="connsiteY28" fmla="*/ 8627 h 10000"/>
                    <a:gd name="connsiteX29" fmla="*/ 4889 w 10000"/>
                    <a:gd name="connsiteY29" fmla="*/ 8627 h 10000"/>
                    <a:gd name="connsiteX30" fmla="*/ 4611 w 10000"/>
                    <a:gd name="connsiteY30" fmla="*/ 8641 h 10000"/>
                    <a:gd name="connsiteX31" fmla="*/ 4500 w 10000"/>
                    <a:gd name="connsiteY31" fmla="*/ 8641 h 10000"/>
                    <a:gd name="connsiteX32" fmla="*/ 4444 w 10000"/>
                    <a:gd name="connsiteY32" fmla="*/ 8627 h 10000"/>
                    <a:gd name="connsiteX33" fmla="*/ 4222 w 10000"/>
                    <a:gd name="connsiteY33" fmla="*/ 8488 h 10000"/>
                    <a:gd name="connsiteX34" fmla="*/ 4222 w 10000"/>
                    <a:gd name="connsiteY34" fmla="*/ 8488 h 10000"/>
                    <a:gd name="connsiteX35" fmla="*/ 4111 w 10000"/>
                    <a:gd name="connsiteY35" fmla="*/ 8442 h 10000"/>
                    <a:gd name="connsiteX36" fmla="*/ 4111 w 10000"/>
                    <a:gd name="connsiteY36" fmla="*/ 8396 h 10000"/>
                    <a:gd name="connsiteX37" fmla="*/ 4111 w 10000"/>
                    <a:gd name="connsiteY37" fmla="*/ 8364 h 10000"/>
                    <a:gd name="connsiteX38" fmla="*/ 4167 w 10000"/>
                    <a:gd name="connsiteY38" fmla="*/ 8333 h 10000"/>
                    <a:gd name="connsiteX39" fmla="*/ 4278 w 10000"/>
                    <a:gd name="connsiteY39" fmla="*/ 8271 h 10000"/>
                    <a:gd name="connsiteX40" fmla="*/ 4389 w 10000"/>
                    <a:gd name="connsiteY40" fmla="*/ 8256 h 10000"/>
                    <a:gd name="connsiteX41" fmla="*/ 4389 w 10000"/>
                    <a:gd name="connsiteY41" fmla="*/ 8256 h 10000"/>
                    <a:gd name="connsiteX42" fmla="*/ 4389 w 10000"/>
                    <a:gd name="connsiteY42" fmla="*/ 8242 h 10000"/>
                    <a:gd name="connsiteX43" fmla="*/ 4444 w 10000"/>
                    <a:gd name="connsiteY43" fmla="*/ 8226 h 10000"/>
                    <a:gd name="connsiteX44" fmla="*/ 7986 w 10000"/>
                    <a:gd name="connsiteY44" fmla="*/ 7987 h 10000"/>
                    <a:gd name="connsiteX45" fmla="*/ 8389 w 10000"/>
                    <a:gd name="connsiteY45" fmla="*/ 7995 h 10000"/>
                    <a:gd name="connsiteX46" fmla="*/ 8389 w 10000"/>
                    <a:gd name="connsiteY46" fmla="*/ 7995 h 10000"/>
                    <a:gd name="connsiteX47" fmla="*/ 8667 w 10000"/>
                    <a:gd name="connsiteY47" fmla="*/ 7963 h 10000"/>
                    <a:gd name="connsiteX48" fmla="*/ 8889 w 10000"/>
                    <a:gd name="connsiteY48" fmla="*/ 7887 h 10000"/>
                    <a:gd name="connsiteX49" fmla="*/ 8833 w 10000"/>
                    <a:gd name="connsiteY49" fmla="*/ 7856 h 10000"/>
                    <a:gd name="connsiteX50" fmla="*/ 8833 w 10000"/>
                    <a:gd name="connsiteY50" fmla="*/ 7826 h 10000"/>
                    <a:gd name="connsiteX51" fmla="*/ 8556 w 10000"/>
                    <a:gd name="connsiteY51" fmla="*/ 7747 h 10000"/>
                    <a:gd name="connsiteX52" fmla="*/ 6556 w 10000"/>
                    <a:gd name="connsiteY52" fmla="*/ 7470 h 10000"/>
                    <a:gd name="connsiteX53" fmla="*/ 6556 w 10000"/>
                    <a:gd name="connsiteY53" fmla="*/ 7470 h 10000"/>
                    <a:gd name="connsiteX54" fmla="*/ 6333 w 10000"/>
                    <a:gd name="connsiteY54" fmla="*/ 7424 h 10000"/>
                    <a:gd name="connsiteX55" fmla="*/ 6167 w 10000"/>
                    <a:gd name="connsiteY55" fmla="*/ 7377 h 10000"/>
                    <a:gd name="connsiteX56" fmla="*/ 6056 w 10000"/>
                    <a:gd name="connsiteY56" fmla="*/ 7331 h 10000"/>
                    <a:gd name="connsiteX57" fmla="*/ 6056 w 10000"/>
                    <a:gd name="connsiteY57" fmla="*/ 7331 h 10000"/>
                    <a:gd name="connsiteX58" fmla="*/ 8056 w 10000"/>
                    <a:gd name="connsiteY58" fmla="*/ 7315 h 10000"/>
                    <a:gd name="connsiteX59" fmla="*/ 10000 w 10000"/>
                    <a:gd name="connsiteY59" fmla="*/ 7470 h 10000"/>
                    <a:gd name="connsiteX60" fmla="*/ 10000 w 10000"/>
                    <a:gd name="connsiteY60" fmla="*/ 6065 h 10000"/>
                    <a:gd name="connsiteX61" fmla="*/ 10000 w 10000"/>
                    <a:gd name="connsiteY61" fmla="*/ 6065 h 10000"/>
                    <a:gd name="connsiteX62" fmla="*/ 7778 w 10000"/>
                    <a:gd name="connsiteY62" fmla="*/ 5740 h 10000"/>
                    <a:gd name="connsiteX63" fmla="*/ 6556 w 10000"/>
                    <a:gd name="connsiteY63" fmla="*/ 5556 h 10000"/>
                    <a:gd name="connsiteX64" fmla="*/ 6556 w 10000"/>
                    <a:gd name="connsiteY64" fmla="*/ 5556 h 10000"/>
                    <a:gd name="connsiteX65" fmla="*/ 6556 w 10000"/>
                    <a:gd name="connsiteY65" fmla="*/ 5541 h 10000"/>
                    <a:gd name="connsiteX66" fmla="*/ 6556 w 10000"/>
                    <a:gd name="connsiteY66" fmla="*/ 5448 h 10000"/>
                    <a:gd name="connsiteX67" fmla="*/ 6556 w 10000"/>
                    <a:gd name="connsiteY67" fmla="*/ 5448 h 10000"/>
                    <a:gd name="connsiteX68" fmla="*/ 6389 w 10000"/>
                    <a:gd name="connsiteY68" fmla="*/ 5340 h 10000"/>
                    <a:gd name="connsiteX69" fmla="*/ 6056 w 10000"/>
                    <a:gd name="connsiteY69" fmla="*/ 5171 h 10000"/>
                    <a:gd name="connsiteX70" fmla="*/ 5333 w 10000"/>
                    <a:gd name="connsiteY70" fmla="*/ 4846 h 10000"/>
                    <a:gd name="connsiteX71" fmla="*/ 5333 w 10000"/>
                    <a:gd name="connsiteY71" fmla="*/ 4846 h 10000"/>
                    <a:gd name="connsiteX72" fmla="*/ 5167 w 10000"/>
                    <a:gd name="connsiteY72" fmla="*/ 4800 h 10000"/>
                    <a:gd name="connsiteX73" fmla="*/ 4889 w 10000"/>
                    <a:gd name="connsiteY73" fmla="*/ 4737 h 10000"/>
                    <a:gd name="connsiteX74" fmla="*/ 4056 w 10000"/>
                    <a:gd name="connsiteY74" fmla="*/ 4599 h 10000"/>
                    <a:gd name="connsiteX75" fmla="*/ 2889 w 10000"/>
                    <a:gd name="connsiteY75" fmla="*/ 4430 h 10000"/>
                    <a:gd name="connsiteX76" fmla="*/ 2889 w 10000"/>
                    <a:gd name="connsiteY76" fmla="*/ 4430 h 10000"/>
                    <a:gd name="connsiteX77" fmla="*/ 2389 w 10000"/>
                    <a:gd name="connsiteY77" fmla="*/ 4413 h 10000"/>
                    <a:gd name="connsiteX78" fmla="*/ 2000 w 10000"/>
                    <a:gd name="connsiteY78" fmla="*/ 4397 h 10000"/>
                    <a:gd name="connsiteX79" fmla="*/ 1889 w 10000"/>
                    <a:gd name="connsiteY79" fmla="*/ 4382 h 10000"/>
                    <a:gd name="connsiteX80" fmla="*/ 1778 w 10000"/>
                    <a:gd name="connsiteY80" fmla="*/ 4367 h 10000"/>
                    <a:gd name="connsiteX81" fmla="*/ 1778 w 10000"/>
                    <a:gd name="connsiteY81" fmla="*/ 4367 h 10000"/>
                    <a:gd name="connsiteX82" fmla="*/ 1667 w 10000"/>
                    <a:gd name="connsiteY82" fmla="*/ 4305 h 10000"/>
                    <a:gd name="connsiteX83" fmla="*/ 1500 w 10000"/>
                    <a:gd name="connsiteY83" fmla="*/ 4198 h 10000"/>
                    <a:gd name="connsiteX84" fmla="*/ 1444 w 10000"/>
                    <a:gd name="connsiteY84" fmla="*/ 4136 h 10000"/>
                    <a:gd name="connsiteX85" fmla="*/ 1444 w 10000"/>
                    <a:gd name="connsiteY85" fmla="*/ 4073 h 10000"/>
                    <a:gd name="connsiteX86" fmla="*/ 1444 w 10000"/>
                    <a:gd name="connsiteY86" fmla="*/ 4028 h 10000"/>
                    <a:gd name="connsiteX87" fmla="*/ 1556 w 10000"/>
                    <a:gd name="connsiteY87" fmla="*/ 3981 h 10000"/>
                    <a:gd name="connsiteX88" fmla="*/ 1556 w 10000"/>
                    <a:gd name="connsiteY88" fmla="*/ 3981 h 10000"/>
                    <a:gd name="connsiteX89" fmla="*/ 1833 w 10000"/>
                    <a:gd name="connsiteY89" fmla="*/ 3904 h 10000"/>
                    <a:gd name="connsiteX90" fmla="*/ 2111 w 10000"/>
                    <a:gd name="connsiteY90" fmla="*/ 3828 h 10000"/>
                    <a:gd name="connsiteX91" fmla="*/ 2278 w 10000"/>
                    <a:gd name="connsiteY91" fmla="*/ 3782 h 10000"/>
                    <a:gd name="connsiteX92" fmla="*/ 2389 w 10000"/>
                    <a:gd name="connsiteY92" fmla="*/ 3734 h 10000"/>
                    <a:gd name="connsiteX93" fmla="*/ 2389 w 10000"/>
                    <a:gd name="connsiteY93" fmla="*/ 3672 h 10000"/>
                    <a:gd name="connsiteX94" fmla="*/ 2389 w 10000"/>
                    <a:gd name="connsiteY94" fmla="*/ 3596 h 10000"/>
                    <a:gd name="connsiteX95" fmla="*/ 2389 w 10000"/>
                    <a:gd name="connsiteY95" fmla="*/ 3596 h 10000"/>
                    <a:gd name="connsiteX96" fmla="*/ 2167 w 10000"/>
                    <a:gd name="connsiteY96" fmla="*/ 3379 h 10000"/>
                    <a:gd name="connsiteX97" fmla="*/ 1889 w 10000"/>
                    <a:gd name="connsiteY97" fmla="*/ 3087 h 10000"/>
                    <a:gd name="connsiteX98" fmla="*/ 1667 w 10000"/>
                    <a:gd name="connsiteY98" fmla="*/ 2824 h 10000"/>
                    <a:gd name="connsiteX99" fmla="*/ 1611 w 10000"/>
                    <a:gd name="connsiteY99" fmla="*/ 2747 h 10000"/>
                    <a:gd name="connsiteX100" fmla="*/ 1611 w 10000"/>
                    <a:gd name="connsiteY100" fmla="*/ 2716 h 10000"/>
                    <a:gd name="connsiteX101" fmla="*/ 1667 w 10000"/>
                    <a:gd name="connsiteY101" fmla="*/ 2700 h 10000"/>
                    <a:gd name="connsiteX102" fmla="*/ 1667 w 10000"/>
                    <a:gd name="connsiteY102" fmla="*/ 2700 h 10000"/>
                    <a:gd name="connsiteX103" fmla="*/ 2000 w 10000"/>
                    <a:gd name="connsiteY103" fmla="*/ 2686 h 10000"/>
                    <a:gd name="connsiteX104" fmla="*/ 2222 w 10000"/>
                    <a:gd name="connsiteY104" fmla="*/ 2686 h 10000"/>
                    <a:gd name="connsiteX105" fmla="*/ 2389 w 10000"/>
                    <a:gd name="connsiteY105" fmla="*/ 2700 h 10000"/>
                    <a:gd name="connsiteX106" fmla="*/ 2389 w 10000"/>
                    <a:gd name="connsiteY106" fmla="*/ 2700 h 10000"/>
                    <a:gd name="connsiteX107" fmla="*/ 2444 w 10000"/>
                    <a:gd name="connsiteY107" fmla="*/ 2700 h 10000"/>
                    <a:gd name="connsiteX108" fmla="*/ 2500 w 10000"/>
                    <a:gd name="connsiteY108" fmla="*/ 2670 h 10000"/>
                    <a:gd name="connsiteX109" fmla="*/ 2778 w 10000"/>
                    <a:gd name="connsiteY109" fmla="*/ 2577 h 10000"/>
                    <a:gd name="connsiteX110" fmla="*/ 3500 w 10000"/>
                    <a:gd name="connsiteY110" fmla="*/ 2269 h 10000"/>
                    <a:gd name="connsiteX111" fmla="*/ 4444 w 10000"/>
                    <a:gd name="connsiteY111" fmla="*/ 1822 h 10000"/>
                    <a:gd name="connsiteX112" fmla="*/ 4444 w 10000"/>
                    <a:gd name="connsiteY112" fmla="*/ 1822 h 10000"/>
                    <a:gd name="connsiteX113" fmla="*/ 4444 w 10000"/>
                    <a:gd name="connsiteY113" fmla="*/ 1759 h 10000"/>
                    <a:gd name="connsiteX114" fmla="*/ 4444 w 10000"/>
                    <a:gd name="connsiteY114" fmla="*/ 1619 h 10000"/>
                    <a:gd name="connsiteX115" fmla="*/ 4500 w 10000"/>
                    <a:gd name="connsiteY115" fmla="*/ 1528 h 10000"/>
                    <a:gd name="connsiteX116" fmla="*/ 4611 w 10000"/>
                    <a:gd name="connsiteY116" fmla="*/ 1450 h 10000"/>
                    <a:gd name="connsiteX117" fmla="*/ 4778 w 10000"/>
                    <a:gd name="connsiteY117" fmla="*/ 1358 h 10000"/>
                    <a:gd name="connsiteX118" fmla="*/ 5000 w 10000"/>
                    <a:gd name="connsiteY118" fmla="*/ 1281 h 10000"/>
                    <a:gd name="connsiteX119" fmla="*/ 5000 w 10000"/>
                    <a:gd name="connsiteY119" fmla="*/ 1281 h 10000"/>
                    <a:gd name="connsiteX120" fmla="*/ 5556 w 10000"/>
                    <a:gd name="connsiteY120" fmla="*/ 1127 h 10000"/>
                    <a:gd name="connsiteX121" fmla="*/ 6111 w 10000"/>
                    <a:gd name="connsiteY121" fmla="*/ 926 h 10000"/>
                    <a:gd name="connsiteX122" fmla="*/ 6667 w 10000"/>
                    <a:gd name="connsiteY122" fmla="*/ 740 h 10000"/>
                    <a:gd name="connsiteX123" fmla="*/ 7056 w 10000"/>
                    <a:gd name="connsiteY123" fmla="*/ 572 h 10000"/>
                    <a:gd name="connsiteX124" fmla="*/ 7056 w 10000"/>
                    <a:gd name="connsiteY124" fmla="*/ 572 h 10000"/>
                    <a:gd name="connsiteX125" fmla="*/ 7333 w 10000"/>
                    <a:gd name="connsiteY125" fmla="*/ 417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46 h 10000"/>
                    <a:gd name="connsiteX135" fmla="*/ 10000 w 10000"/>
                    <a:gd name="connsiteY135" fmla="*/ 9446 h 10000"/>
                    <a:gd name="connsiteX136" fmla="*/ 9722 w 10000"/>
                    <a:gd name="connsiteY136" fmla="*/ 9430 h 10000"/>
                    <a:gd name="connsiteX137" fmla="*/ 9389 w 10000"/>
                    <a:gd name="connsiteY137" fmla="*/ 9446 h 10000"/>
                    <a:gd name="connsiteX138" fmla="*/ 9389 w 10000"/>
                    <a:gd name="connsiteY138" fmla="*/ 9446 h 10000"/>
                    <a:gd name="connsiteX139" fmla="*/ 9278 w 10000"/>
                    <a:gd name="connsiteY139" fmla="*/ 9461 h 10000"/>
                    <a:gd name="connsiteX140" fmla="*/ 9056 w 10000"/>
                    <a:gd name="connsiteY140" fmla="*/ 9446 h 10000"/>
                    <a:gd name="connsiteX141" fmla="*/ 8722 w 10000"/>
                    <a:gd name="connsiteY141" fmla="*/ 9399 h 10000"/>
                    <a:gd name="connsiteX142" fmla="*/ 8444 w 10000"/>
                    <a:gd name="connsiteY142" fmla="*/ 9276 h 10000"/>
                    <a:gd name="connsiteX143" fmla="*/ 8444 w 10000"/>
                    <a:gd name="connsiteY143" fmla="*/ 9276 h 10000"/>
                    <a:gd name="connsiteX144" fmla="*/ 8111 w 10000"/>
                    <a:gd name="connsiteY144" fmla="*/ 9075 h 10000"/>
                    <a:gd name="connsiteX145" fmla="*/ 7778 w 10000"/>
                    <a:gd name="connsiteY145" fmla="*/ 8997 h 10000"/>
                    <a:gd name="connsiteX146" fmla="*/ 7556 w 10000"/>
                    <a:gd name="connsiteY146" fmla="*/ 8981 h 10000"/>
                    <a:gd name="connsiteX147" fmla="*/ 7000 w 10000"/>
                    <a:gd name="connsiteY147" fmla="*/ 8950 h 10000"/>
                    <a:gd name="connsiteX148" fmla="*/ 6556 w 10000"/>
                    <a:gd name="connsiteY148" fmla="*/ 8967 h 10000"/>
                    <a:gd name="connsiteX149" fmla="*/ 6222 w 10000"/>
                    <a:gd name="connsiteY149" fmla="*/ 8967 h 10000"/>
                    <a:gd name="connsiteX150" fmla="*/ 6111 w 10000"/>
                    <a:gd name="connsiteY150" fmla="*/ 8950 h 10000"/>
                    <a:gd name="connsiteX151" fmla="*/ 6056 w 10000"/>
                    <a:gd name="connsiteY151" fmla="*/ 8659 h 10000"/>
                    <a:gd name="connsiteX152" fmla="*/ 6056 w 10000"/>
                    <a:gd name="connsiteY152" fmla="*/ 8597 h 10000"/>
                    <a:gd name="connsiteX153" fmla="*/ 5944 w 10000"/>
                    <a:gd name="connsiteY153" fmla="*/ 8520 h 10000"/>
                    <a:gd name="connsiteX154" fmla="*/ 5889 w 10000"/>
                    <a:gd name="connsiteY154" fmla="*/ 8505 h 10000"/>
                    <a:gd name="connsiteX155" fmla="*/ 5667 w 10000"/>
                    <a:gd name="connsiteY155" fmla="*/ 8488 h 10000"/>
                    <a:gd name="connsiteX156" fmla="*/ 4889 w 10000"/>
                    <a:gd name="connsiteY156" fmla="*/ 8612 h 10000"/>
                    <a:gd name="connsiteX157" fmla="*/ 4611 w 10000"/>
                    <a:gd name="connsiteY157" fmla="*/ 8641 h 10000"/>
                    <a:gd name="connsiteX158" fmla="*/ 4500 w 10000"/>
                    <a:gd name="connsiteY158" fmla="*/ 8641 h 10000"/>
                    <a:gd name="connsiteX159" fmla="*/ 4222 w 10000"/>
                    <a:gd name="connsiteY159" fmla="*/ 8488 h 10000"/>
                    <a:gd name="connsiteX160" fmla="*/ 4222 w 10000"/>
                    <a:gd name="connsiteY160" fmla="*/ 8488 h 10000"/>
                    <a:gd name="connsiteX161" fmla="*/ 4111 w 10000"/>
                    <a:gd name="connsiteY161" fmla="*/ 8411 h 10000"/>
                    <a:gd name="connsiteX162" fmla="*/ 4111 w 10000"/>
                    <a:gd name="connsiteY162" fmla="*/ 8318 h 10000"/>
                    <a:gd name="connsiteX163" fmla="*/ 4111 w 10000"/>
                    <a:gd name="connsiteY163" fmla="*/ 8318 h 10000"/>
                    <a:gd name="connsiteX164" fmla="*/ 4278 w 10000"/>
                    <a:gd name="connsiteY164" fmla="*/ 8271 h 10000"/>
                    <a:gd name="connsiteX165" fmla="*/ 4389 w 10000"/>
                    <a:gd name="connsiteY165" fmla="*/ 8256 h 10000"/>
                    <a:gd name="connsiteX166" fmla="*/ 4389 w 10000"/>
                    <a:gd name="connsiteY166" fmla="*/ 8256 h 10000"/>
                    <a:gd name="connsiteX167" fmla="*/ 3722 w 10000"/>
                    <a:gd name="connsiteY167" fmla="*/ 8271 h 10000"/>
                    <a:gd name="connsiteX168" fmla="*/ 3611 w 10000"/>
                    <a:gd name="connsiteY168" fmla="*/ 8287 h 10000"/>
                    <a:gd name="connsiteX169" fmla="*/ 3556 w 10000"/>
                    <a:gd name="connsiteY169" fmla="*/ 8303 h 10000"/>
                    <a:gd name="connsiteX170" fmla="*/ 3556 w 10000"/>
                    <a:gd name="connsiteY170" fmla="*/ 8303 h 10000"/>
                    <a:gd name="connsiteX171" fmla="*/ 3444 w 10000"/>
                    <a:gd name="connsiteY171" fmla="*/ 8364 h 10000"/>
                    <a:gd name="connsiteX172" fmla="*/ 3278 w 10000"/>
                    <a:gd name="connsiteY172" fmla="*/ 8457 h 10000"/>
                    <a:gd name="connsiteX173" fmla="*/ 3000 w 10000"/>
                    <a:gd name="connsiteY173" fmla="*/ 8566 h 10000"/>
                    <a:gd name="connsiteX174" fmla="*/ 2667 w 10000"/>
                    <a:gd name="connsiteY174" fmla="*/ 8641 h 10000"/>
                    <a:gd name="connsiteX175" fmla="*/ 2667 w 10000"/>
                    <a:gd name="connsiteY175" fmla="*/ 8641 h 10000"/>
                    <a:gd name="connsiteX176" fmla="*/ 2333 w 10000"/>
                    <a:gd name="connsiteY176" fmla="*/ 8704 h 10000"/>
                    <a:gd name="connsiteX177" fmla="*/ 1833 w 10000"/>
                    <a:gd name="connsiteY177" fmla="*/ 8766 h 10000"/>
                    <a:gd name="connsiteX178" fmla="*/ 1389 w 10000"/>
                    <a:gd name="connsiteY178" fmla="*/ 8797 h 10000"/>
                    <a:gd name="connsiteX179" fmla="*/ 889 w 10000"/>
                    <a:gd name="connsiteY179" fmla="*/ 8812 h 10000"/>
                    <a:gd name="connsiteX180" fmla="*/ 889 w 10000"/>
                    <a:gd name="connsiteY180" fmla="*/ 8812 h 10000"/>
                    <a:gd name="connsiteX181" fmla="*/ 500 w 10000"/>
                    <a:gd name="connsiteY181" fmla="*/ 8828 h 10000"/>
                    <a:gd name="connsiteX182" fmla="*/ 222 w 10000"/>
                    <a:gd name="connsiteY182" fmla="*/ 8844 h 10000"/>
                    <a:gd name="connsiteX183" fmla="*/ 0 w 10000"/>
                    <a:gd name="connsiteY183" fmla="*/ 8859 h 10000"/>
                    <a:gd name="connsiteX184" fmla="*/ 0 w 10000"/>
                    <a:gd name="connsiteY184" fmla="*/ 8859 h 10000"/>
                    <a:gd name="connsiteX185" fmla="*/ 278 w 10000"/>
                    <a:gd name="connsiteY185" fmla="*/ 9105 h 10000"/>
                    <a:gd name="connsiteX186" fmla="*/ 500 w 10000"/>
                    <a:gd name="connsiteY186" fmla="*/ 9291 h 10000"/>
                    <a:gd name="connsiteX187" fmla="*/ 722 w 10000"/>
                    <a:gd name="connsiteY187" fmla="*/ 9446 h 10000"/>
                    <a:gd name="connsiteX188" fmla="*/ 722 w 10000"/>
                    <a:gd name="connsiteY188" fmla="*/ 9446 h 10000"/>
                    <a:gd name="connsiteX189" fmla="*/ 889 w 10000"/>
                    <a:gd name="connsiteY189" fmla="*/ 9538 h 10000"/>
                    <a:gd name="connsiteX190" fmla="*/ 944 w 10000"/>
                    <a:gd name="connsiteY190" fmla="*/ 9615 h 10000"/>
                    <a:gd name="connsiteX191" fmla="*/ 1111 w 10000"/>
                    <a:gd name="connsiteY191" fmla="*/ 9692 h 10000"/>
                    <a:gd name="connsiteX192" fmla="*/ 1333 w 10000"/>
                    <a:gd name="connsiteY192" fmla="*/ 9816 h 10000"/>
                    <a:gd name="connsiteX193" fmla="*/ 1333 w 10000"/>
                    <a:gd name="connsiteY193" fmla="*/ 9816 h 10000"/>
                    <a:gd name="connsiteX194" fmla="*/ 1444 w 10000"/>
                    <a:gd name="connsiteY194" fmla="*/ 9879 h 10000"/>
                    <a:gd name="connsiteX195" fmla="*/ 1500 w 10000"/>
                    <a:gd name="connsiteY195" fmla="*/ 9924 h 10000"/>
                    <a:gd name="connsiteX196" fmla="*/ 1500 w 10000"/>
                    <a:gd name="connsiteY196" fmla="*/ 9971 h 10000"/>
                    <a:gd name="connsiteX197" fmla="*/ 1556 w 10000"/>
                    <a:gd name="connsiteY197" fmla="*/ 9986 h 10000"/>
                    <a:gd name="connsiteX198" fmla="*/ 1722 w 10000"/>
                    <a:gd name="connsiteY198" fmla="*/ 10000 h 10000"/>
                    <a:gd name="connsiteX199" fmla="*/ 10000 w 10000"/>
                    <a:gd name="connsiteY199" fmla="*/ 9430 h 10000"/>
                    <a:gd name="connsiteX0" fmla="*/ 10000 w 10000"/>
                    <a:gd name="connsiteY0" fmla="*/ 9430 h 9986"/>
                    <a:gd name="connsiteX1" fmla="*/ 10000 w 10000"/>
                    <a:gd name="connsiteY1" fmla="*/ 9430 h 9986"/>
                    <a:gd name="connsiteX2" fmla="*/ 9222 w 10000"/>
                    <a:gd name="connsiteY2" fmla="*/ 9446 h 9986"/>
                    <a:gd name="connsiteX3" fmla="*/ 8944 w 10000"/>
                    <a:gd name="connsiteY3" fmla="*/ 9446 h 9986"/>
                    <a:gd name="connsiteX4" fmla="*/ 8833 w 10000"/>
                    <a:gd name="connsiteY4" fmla="*/ 9430 h 9986"/>
                    <a:gd name="connsiteX5" fmla="*/ 8778 w 10000"/>
                    <a:gd name="connsiteY5" fmla="*/ 9414 h 9986"/>
                    <a:gd name="connsiteX6" fmla="*/ 8778 w 10000"/>
                    <a:gd name="connsiteY6" fmla="*/ 9414 h 9986"/>
                    <a:gd name="connsiteX7" fmla="*/ 8444 w 10000"/>
                    <a:gd name="connsiteY7" fmla="*/ 9229 h 9986"/>
                    <a:gd name="connsiteX8" fmla="*/ 8167 w 10000"/>
                    <a:gd name="connsiteY8" fmla="*/ 9059 h 9986"/>
                    <a:gd name="connsiteX9" fmla="*/ 8167 w 10000"/>
                    <a:gd name="connsiteY9" fmla="*/ 9059 h 9986"/>
                    <a:gd name="connsiteX10" fmla="*/ 8056 w 10000"/>
                    <a:gd name="connsiteY10" fmla="*/ 9029 h 9986"/>
                    <a:gd name="connsiteX11" fmla="*/ 7889 w 10000"/>
                    <a:gd name="connsiteY11" fmla="*/ 8997 h 9986"/>
                    <a:gd name="connsiteX12" fmla="*/ 7444 w 10000"/>
                    <a:gd name="connsiteY12" fmla="*/ 8981 h 9986"/>
                    <a:gd name="connsiteX13" fmla="*/ 6889 w 10000"/>
                    <a:gd name="connsiteY13" fmla="*/ 8967 h 9986"/>
                    <a:gd name="connsiteX14" fmla="*/ 6389 w 10000"/>
                    <a:gd name="connsiteY14" fmla="*/ 8967 h 9986"/>
                    <a:gd name="connsiteX15" fmla="*/ 6389 w 10000"/>
                    <a:gd name="connsiteY15" fmla="*/ 8967 h 9986"/>
                    <a:gd name="connsiteX16" fmla="*/ 6167 w 10000"/>
                    <a:gd name="connsiteY16" fmla="*/ 8950 h 9986"/>
                    <a:gd name="connsiteX17" fmla="*/ 6056 w 10000"/>
                    <a:gd name="connsiteY17" fmla="*/ 8921 h 9986"/>
                    <a:gd name="connsiteX18" fmla="*/ 6000 w 10000"/>
                    <a:gd name="connsiteY18" fmla="*/ 8889 h 9986"/>
                    <a:gd name="connsiteX19" fmla="*/ 6056 w 10000"/>
                    <a:gd name="connsiteY19" fmla="*/ 8704 h 9986"/>
                    <a:gd name="connsiteX20" fmla="*/ 6111 w 10000"/>
                    <a:gd name="connsiteY20" fmla="*/ 8641 h 9986"/>
                    <a:gd name="connsiteX21" fmla="*/ 6056 w 10000"/>
                    <a:gd name="connsiteY21" fmla="*/ 8566 h 9986"/>
                    <a:gd name="connsiteX22" fmla="*/ 6056 w 10000"/>
                    <a:gd name="connsiteY22" fmla="*/ 8566 h 9986"/>
                    <a:gd name="connsiteX23" fmla="*/ 6000 w 10000"/>
                    <a:gd name="connsiteY23" fmla="*/ 8520 h 9986"/>
                    <a:gd name="connsiteX24" fmla="*/ 5944 w 10000"/>
                    <a:gd name="connsiteY24" fmla="*/ 8488 h 9986"/>
                    <a:gd name="connsiteX25" fmla="*/ 5833 w 10000"/>
                    <a:gd name="connsiteY25" fmla="*/ 8488 h 9986"/>
                    <a:gd name="connsiteX26" fmla="*/ 5667 w 10000"/>
                    <a:gd name="connsiteY26" fmla="*/ 8505 h 9986"/>
                    <a:gd name="connsiteX27" fmla="*/ 5333 w 10000"/>
                    <a:gd name="connsiteY27" fmla="*/ 8550 h 9986"/>
                    <a:gd name="connsiteX28" fmla="*/ 4889 w 10000"/>
                    <a:gd name="connsiteY28" fmla="*/ 8627 h 9986"/>
                    <a:gd name="connsiteX29" fmla="*/ 4889 w 10000"/>
                    <a:gd name="connsiteY29" fmla="*/ 8627 h 9986"/>
                    <a:gd name="connsiteX30" fmla="*/ 4611 w 10000"/>
                    <a:gd name="connsiteY30" fmla="*/ 8641 h 9986"/>
                    <a:gd name="connsiteX31" fmla="*/ 4500 w 10000"/>
                    <a:gd name="connsiteY31" fmla="*/ 8641 h 9986"/>
                    <a:gd name="connsiteX32" fmla="*/ 4444 w 10000"/>
                    <a:gd name="connsiteY32" fmla="*/ 8627 h 9986"/>
                    <a:gd name="connsiteX33" fmla="*/ 4222 w 10000"/>
                    <a:gd name="connsiteY33" fmla="*/ 8488 h 9986"/>
                    <a:gd name="connsiteX34" fmla="*/ 4222 w 10000"/>
                    <a:gd name="connsiteY34" fmla="*/ 8488 h 9986"/>
                    <a:gd name="connsiteX35" fmla="*/ 4111 w 10000"/>
                    <a:gd name="connsiteY35" fmla="*/ 8442 h 9986"/>
                    <a:gd name="connsiteX36" fmla="*/ 4111 w 10000"/>
                    <a:gd name="connsiteY36" fmla="*/ 8396 h 9986"/>
                    <a:gd name="connsiteX37" fmla="*/ 4111 w 10000"/>
                    <a:gd name="connsiteY37" fmla="*/ 8364 h 9986"/>
                    <a:gd name="connsiteX38" fmla="*/ 4167 w 10000"/>
                    <a:gd name="connsiteY38" fmla="*/ 8333 h 9986"/>
                    <a:gd name="connsiteX39" fmla="*/ 4278 w 10000"/>
                    <a:gd name="connsiteY39" fmla="*/ 8271 h 9986"/>
                    <a:gd name="connsiteX40" fmla="*/ 4389 w 10000"/>
                    <a:gd name="connsiteY40" fmla="*/ 8256 h 9986"/>
                    <a:gd name="connsiteX41" fmla="*/ 4389 w 10000"/>
                    <a:gd name="connsiteY41" fmla="*/ 8256 h 9986"/>
                    <a:gd name="connsiteX42" fmla="*/ 4389 w 10000"/>
                    <a:gd name="connsiteY42" fmla="*/ 8242 h 9986"/>
                    <a:gd name="connsiteX43" fmla="*/ 4444 w 10000"/>
                    <a:gd name="connsiteY43" fmla="*/ 8226 h 9986"/>
                    <a:gd name="connsiteX44" fmla="*/ 7986 w 10000"/>
                    <a:gd name="connsiteY44" fmla="*/ 7987 h 9986"/>
                    <a:gd name="connsiteX45" fmla="*/ 8389 w 10000"/>
                    <a:gd name="connsiteY45" fmla="*/ 7995 h 9986"/>
                    <a:gd name="connsiteX46" fmla="*/ 8389 w 10000"/>
                    <a:gd name="connsiteY46" fmla="*/ 7995 h 9986"/>
                    <a:gd name="connsiteX47" fmla="*/ 8667 w 10000"/>
                    <a:gd name="connsiteY47" fmla="*/ 7963 h 9986"/>
                    <a:gd name="connsiteX48" fmla="*/ 8889 w 10000"/>
                    <a:gd name="connsiteY48" fmla="*/ 7887 h 9986"/>
                    <a:gd name="connsiteX49" fmla="*/ 8833 w 10000"/>
                    <a:gd name="connsiteY49" fmla="*/ 7856 h 9986"/>
                    <a:gd name="connsiteX50" fmla="*/ 8833 w 10000"/>
                    <a:gd name="connsiteY50" fmla="*/ 7826 h 9986"/>
                    <a:gd name="connsiteX51" fmla="*/ 8556 w 10000"/>
                    <a:gd name="connsiteY51" fmla="*/ 7747 h 9986"/>
                    <a:gd name="connsiteX52" fmla="*/ 6556 w 10000"/>
                    <a:gd name="connsiteY52" fmla="*/ 7470 h 9986"/>
                    <a:gd name="connsiteX53" fmla="*/ 6556 w 10000"/>
                    <a:gd name="connsiteY53" fmla="*/ 7470 h 9986"/>
                    <a:gd name="connsiteX54" fmla="*/ 6333 w 10000"/>
                    <a:gd name="connsiteY54" fmla="*/ 7424 h 9986"/>
                    <a:gd name="connsiteX55" fmla="*/ 6167 w 10000"/>
                    <a:gd name="connsiteY55" fmla="*/ 7377 h 9986"/>
                    <a:gd name="connsiteX56" fmla="*/ 6056 w 10000"/>
                    <a:gd name="connsiteY56" fmla="*/ 7331 h 9986"/>
                    <a:gd name="connsiteX57" fmla="*/ 6056 w 10000"/>
                    <a:gd name="connsiteY57" fmla="*/ 7331 h 9986"/>
                    <a:gd name="connsiteX58" fmla="*/ 8056 w 10000"/>
                    <a:gd name="connsiteY58" fmla="*/ 7315 h 9986"/>
                    <a:gd name="connsiteX59" fmla="*/ 10000 w 10000"/>
                    <a:gd name="connsiteY59" fmla="*/ 7470 h 9986"/>
                    <a:gd name="connsiteX60" fmla="*/ 10000 w 10000"/>
                    <a:gd name="connsiteY60" fmla="*/ 6065 h 9986"/>
                    <a:gd name="connsiteX61" fmla="*/ 10000 w 10000"/>
                    <a:gd name="connsiteY61" fmla="*/ 6065 h 9986"/>
                    <a:gd name="connsiteX62" fmla="*/ 7778 w 10000"/>
                    <a:gd name="connsiteY62" fmla="*/ 5740 h 9986"/>
                    <a:gd name="connsiteX63" fmla="*/ 6556 w 10000"/>
                    <a:gd name="connsiteY63" fmla="*/ 5556 h 9986"/>
                    <a:gd name="connsiteX64" fmla="*/ 6556 w 10000"/>
                    <a:gd name="connsiteY64" fmla="*/ 5556 h 9986"/>
                    <a:gd name="connsiteX65" fmla="*/ 6556 w 10000"/>
                    <a:gd name="connsiteY65" fmla="*/ 5541 h 9986"/>
                    <a:gd name="connsiteX66" fmla="*/ 6556 w 10000"/>
                    <a:gd name="connsiteY66" fmla="*/ 5448 h 9986"/>
                    <a:gd name="connsiteX67" fmla="*/ 6556 w 10000"/>
                    <a:gd name="connsiteY67" fmla="*/ 5448 h 9986"/>
                    <a:gd name="connsiteX68" fmla="*/ 6389 w 10000"/>
                    <a:gd name="connsiteY68" fmla="*/ 5340 h 9986"/>
                    <a:gd name="connsiteX69" fmla="*/ 6056 w 10000"/>
                    <a:gd name="connsiteY69" fmla="*/ 5171 h 9986"/>
                    <a:gd name="connsiteX70" fmla="*/ 5333 w 10000"/>
                    <a:gd name="connsiteY70" fmla="*/ 4846 h 9986"/>
                    <a:gd name="connsiteX71" fmla="*/ 5333 w 10000"/>
                    <a:gd name="connsiteY71" fmla="*/ 4846 h 9986"/>
                    <a:gd name="connsiteX72" fmla="*/ 5167 w 10000"/>
                    <a:gd name="connsiteY72" fmla="*/ 4800 h 9986"/>
                    <a:gd name="connsiteX73" fmla="*/ 4889 w 10000"/>
                    <a:gd name="connsiteY73" fmla="*/ 4737 h 9986"/>
                    <a:gd name="connsiteX74" fmla="*/ 4056 w 10000"/>
                    <a:gd name="connsiteY74" fmla="*/ 4599 h 9986"/>
                    <a:gd name="connsiteX75" fmla="*/ 2889 w 10000"/>
                    <a:gd name="connsiteY75" fmla="*/ 4430 h 9986"/>
                    <a:gd name="connsiteX76" fmla="*/ 2889 w 10000"/>
                    <a:gd name="connsiteY76" fmla="*/ 4430 h 9986"/>
                    <a:gd name="connsiteX77" fmla="*/ 2389 w 10000"/>
                    <a:gd name="connsiteY77" fmla="*/ 4413 h 9986"/>
                    <a:gd name="connsiteX78" fmla="*/ 2000 w 10000"/>
                    <a:gd name="connsiteY78" fmla="*/ 4397 h 9986"/>
                    <a:gd name="connsiteX79" fmla="*/ 1889 w 10000"/>
                    <a:gd name="connsiteY79" fmla="*/ 4382 h 9986"/>
                    <a:gd name="connsiteX80" fmla="*/ 1778 w 10000"/>
                    <a:gd name="connsiteY80" fmla="*/ 4367 h 9986"/>
                    <a:gd name="connsiteX81" fmla="*/ 1778 w 10000"/>
                    <a:gd name="connsiteY81" fmla="*/ 4367 h 9986"/>
                    <a:gd name="connsiteX82" fmla="*/ 1667 w 10000"/>
                    <a:gd name="connsiteY82" fmla="*/ 4305 h 9986"/>
                    <a:gd name="connsiteX83" fmla="*/ 1500 w 10000"/>
                    <a:gd name="connsiteY83" fmla="*/ 4198 h 9986"/>
                    <a:gd name="connsiteX84" fmla="*/ 1444 w 10000"/>
                    <a:gd name="connsiteY84" fmla="*/ 4136 h 9986"/>
                    <a:gd name="connsiteX85" fmla="*/ 1444 w 10000"/>
                    <a:gd name="connsiteY85" fmla="*/ 4073 h 9986"/>
                    <a:gd name="connsiteX86" fmla="*/ 1444 w 10000"/>
                    <a:gd name="connsiteY86" fmla="*/ 4028 h 9986"/>
                    <a:gd name="connsiteX87" fmla="*/ 1556 w 10000"/>
                    <a:gd name="connsiteY87" fmla="*/ 3981 h 9986"/>
                    <a:gd name="connsiteX88" fmla="*/ 1556 w 10000"/>
                    <a:gd name="connsiteY88" fmla="*/ 3981 h 9986"/>
                    <a:gd name="connsiteX89" fmla="*/ 1833 w 10000"/>
                    <a:gd name="connsiteY89" fmla="*/ 3904 h 9986"/>
                    <a:gd name="connsiteX90" fmla="*/ 2111 w 10000"/>
                    <a:gd name="connsiteY90" fmla="*/ 3828 h 9986"/>
                    <a:gd name="connsiteX91" fmla="*/ 2278 w 10000"/>
                    <a:gd name="connsiteY91" fmla="*/ 3782 h 9986"/>
                    <a:gd name="connsiteX92" fmla="*/ 2389 w 10000"/>
                    <a:gd name="connsiteY92" fmla="*/ 3734 h 9986"/>
                    <a:gd name="connsiteX93" fmla="*/ 2389 w 10000"/>
                    <a:gd name="connsiteY93" fmla="*/ 3672 h 9986"/>
                    <a:gd name="connsiteX94" fmla="*/ 2389 w 10000"/>
                    <a:gd name="connsiteY94" fmla="*/ 3596 h 9986"/>
                    <a:gd name="connsiteX95" fmla="*/ 2389 w 10000"/>
                    <a:gd name="connsiteY95" fmla="*/ 3596 h 9986"/>
                    <a:gd name="connsiteX96" fmla="*/ 2167 w 10000"/>
                    <a:gd name="connsiteY96" fmla="*/ 3379 h 9986"/>
                    <a:gd name="connsiteX97" fmla="*/ 1889 w 10000"/>
                    <a:gd name="connsiteY97" fmla="*/ 3087 h 9986"/>
                    <a:gd name="connsiteX98" fmla="*/ 1667 w 10000"/>
                    <a:gd name="connsiteY98" fmla="*/ 2824 h 9986"/>
                    <a:gd name="connsiteX99" fmla="*/ 1611 w 10000"/>
                    <a:gd name="connsiteY99" fmla="*/ 2747 h 9986"/>
                    <a:gd name="connsiteX100" fmla="*/ 1611 w 10000"/>
                    <a:gd name="connsiteY100" fmla="*/ 2716 h 9986"/>
                    <a:gd name="connsiteX101" fmla="*/ 1667 w 10000"/>
                    <a:gd name="connsiteY101" fmla="*/ 2700 h 9986"/>
                    <a:gd name="connsiteX102" fmla="*/ 1667 w 10000"/>
                    <a:gd name="connsiteY102" fmla="*/ 2700 h 9986"/>
                    <a:gd name="connsiteX103" fmla="*/ 2000 w 10000"/>
                    <a:gd name="connsiteY103" fmla="*/ 2686 h 9986"/>
                    <a:gd name="connsiteX104" fmla="*/ 2222 w 10000"/>
                    <a:gd name="connsiteY104" fmla="*/ 2686 h 9986"/>
                    <a:gd name="connsiteX105" fmla="*/ 2389 w 10000"/>
                    <a:gd name="connsiteY105" fmla="*/ 2700 h 9986"/>
                    <a:gd name="connsiteX106" fmla="*/ 2389 w 10000"/>
                    <a:gd name="connsiteY106" fmla="*/ 2700 h 9986"/>
                    <a:gd name="connsiteX107" fmla="*/ 2444 w 10000"/>
                    <a:gd name="connsiteY107" fmla="*/ 2700 h 9986"/>
                    <a:gd name="connsiteX108" fmla="*/ 2500 w 10000"/>
                    <a:gd name="connsiteY108" fmla="*/ 2670 h 9986"/>
                    <a:gd name="connsiteX109" fmla="*/ 2778 w 10000"/>
                    <a:gd name="connsiteY109" fmla="*/ 2577 h 9986"/>
                    <a:gd name="connsiteX110" fmla="*/ 3500 w 10000"/>
                    <a:gd name="connsiteY110" fmla="*/ 2269 h 9986"/>
                    <a:gd name="connsiteX111" fmla="*/ 4444 w 10000"/>
                    <a:gd name="connsiteY111" fmla="*/ 1822 h 9986"/>
                    <a:gd name="connsiteX112" fmla="*/ 4444 w 10000"/>
                    <a:gd name="connsiteY112" fmla="*/ 1822 h 9986"/>
                    <a:gd name="connsiteX113" fmla="*/ 4444 w 10000"/>
                    <a:gd name="connsiteY113" fmla="*/ 1759 h 9986"/>
                    <a:gd name="connsiteX114" fmla="*/ 4444 w 10000"/>
                    <a:gd name="connsiteY114" fmla="*/ 1619 h 9986"/>
                    <a:gd name="connsiteX115" fmla="*/ 4500 w 10000"/>
                    <a:gd name="connsiteY115" fmla="*/ 1528 h 9986"/>
                    <a:gd name="connsiteX116" fmla="*/ 4611 w 10000"/>
                    <a:gd name="connsiteY116" fmla="*/ 1450 h 9986"/>
                    <a:gd name="connsiteX117" fmla="*/ 4778 w 10000"/>
                    <a:gd name="connsiteY117" fmla="*/ 1358 h 9986"/>
                    <a:gd name="connsiteX118" fmla="*/ 5000 w 10000"/>
                    <a:gd name="connsiteY118" fmla="*/ 1281 h 9986"/>
                    <a:gd name="connsiteX119" fmla="*/ 5000 w 10000"/>
                    <a:gd name="connsiteY119" fmla="*/ 1281 h 9986"/>
                    <a:gd name="connsiteX120" fmla="*/ 5556 w 10000"/>
                    <a:gd name="connsiteY120" fmla="*/ 1127 h 9986"/>
                    <a:gd name="connsiteX121" fmla="*/ 6111 w 10000"/>
                    <a:gd name="connsiteY121" fmla="*/ 926 h 9986"/>
                    <a:gd name="connsiteX122" fmla="*/ 6667 w 10000"/>
                    <a:gd name="connsiteY122" fmla="*/ 740 h 9986"/>
                    <a:gd name="connsiteX123" fmla="*/ 7056 w 10000"/>
                    <a:gd name="connsiteY123" fmla="*/ 572 h 9986"/>
                    <a:gd name="connsiteX124" fmla="*/ 7056 w 10000"/>
                    <a:gd name="connsiteY124" fmla="*/ 572 h 9986"/>
                    <a:gd name="connsiteX125" fmla="*/ 7333 w 10000"/>
                    <a:gd name="connsiteY125" fmla="*/ 417 h 9986"/>
                    <a:gd name="connsiteX126" fmla="*/ 7667 w 10000"/>
                    <a:gd name="connsiteY126" fmla="*/ 232 h 9986"/>
                    <a:gd name="connsiteX127" fmla="*/ 8000 w 10000"/>
                    <a:gd name="connsiteY127" fmla="*/ 92 h 9986"/>
                    <a:gd name="connsiteX128" fmla="*/ 8167 w 10000"/>
                    <a:gd name="connsiteY128" fmla="*/ 29 h 9986"/>
                    <a:gd name="connsiteX129" fmla="*/ 8333 w 10000"/>
                    <a:gd name="connsiteY129" fmla="*/ 15 h 9986"/>
                    <a:gd name="connsiteX130" fmla="*/ 8333 w 10000"/>
                    <a:gd name="connsiteY130" fmla="*/ 15 h 9986"/>
                    <a:gd name="connsiteX131" fmla="*/ 8667 w 10000"/>
                    <a:gd name="connsiteY131" fmla="*/ 0 h 9986"/>
                    <a:gd name="connsiteX132" fmla="*/ 9111 w 10000"/>
                    <a:gd name="connsiteY132" fmla="*/ 0 h 9986"/>
                    <a:gd name="connsiteX133" fmla="*/ 10000 w 10000"/>
                    <a:gd name="connsiteY133" fmla="*/ 15 h 9986"/>
                    <a:gd name="connsiteX134" fmla="*/ 10000 w 10000"/>
                    <a:gd name="connsiteY134" fmla="*/ 9446 h 9986"/>
                    <a:gd name="connsiteX135" fmla="*/ 10000 w 10000"/>
                    <a:gd name="connsiteY135" fmla="*/ 9446 h 9986"/>
                    <a:gd name="connsiteX136" fmla="*/ 9722 w 10000"/>
                    <a:gd name="connsiteY136" fmla="*/ 9430 h 9986"/>
                    <a:gd name="connsiteX137" fmla="*/ 9389 w 10000"/>
                    <a:gd name="connsiteY137" fmla="*/ 9446 h 9986"/>
                    <a:gd name="connsiteX138" fmla="*/ 9389 w 10000"/>
                    <a:gd name="connsiteY138" fmla="*/ 9446 h 9986"/>
                    <a:gd name="connsiteX139" fmla="*/ 9278 w 10000"/>
                    <a:gd name="connsiteY139" fmla="*/ 9461 h 9986"/>
                    <a:gd name="connsiteX140" fmla="*/ 9056 w 10000"/>
                    <a:gd name="connsiteY140" fmla="*/ 9446 h 9986"/>
                    <a:gd name="connsiteX141" fmla="*/ 8722 w 10000"/>
                    <a:gd name="connsiteY141" fmla="*/ 9399 h 9986"/>
                    <a:gd name="connsiteX142" fmla="*/ 8444 w 10000"/>
                    <a:gd name="connsiteY142" fmla="*/ 9276 h 9986"/>
                    <a:gd name="connsiteX143" fmla="*/ 8444 w 10000"/>
                    <a:gd name="connsiteY143" fmla="*/ 9276 h 9986"/>
                    <a:gd name="connsiteX144" fmla="*/ 8111 w 10000"/>
                    <a:gd name="connsiteY144" fmla="*/ 9075 h 9986"/>
                    <a:gd name="connsiteX145" fmla="*/ 7778 w 10000"/>
                    <a:gd name="connsiteY145" fmla="*/ 8997 h 9986"/>
                    <a:gd name="connsiteX146" fmla="*/ 7556 w 10000"/>
                    <a:gd name="connsiteY146" fmla="*/ 8981 h 9986"/>
                    <a:gd name="connsiteX147" fmla="*/ 7000 w 10000"/>
                    <a:gd name="connsiteY147" fmla="*/ 8950 h 9986"/>
                    <a:gd name="connsiteX148" fmla="*/ 6556 w 10000"/>
                    <a:gd name="connsiteY148" fmla="*/ 8967 h 9986"/>
                    <a:gd name="connsiteX149" fmla="*/ 6222 w 10000"/>
                    <a:gd name="connsiteY149" fmla="*/ 8967 h 9986"/>
                    <a:gd name="connsiteX150" fmla="*/ 6111 w 10000"/>
                    <a:gd name="connsiteY150" fmla="*/ 8950 h 9986"/>
                    <a:gd name="connsiteX151" fmla="*/ 6056 w 10000"/>
                    <a:gd name="connsiteY151" fmla="*/ 8659 h 9986"/>
                    <a:gd name="connsiteX152" fmla="*/ 6056 w 10000"/>
                    <a:gd name="connsiteY152" fmla="*/ 8597 h 9986"/>
                    <a:gd name="connsiteX153" fmla="*/ 5944 w 10000"/>
                    <a:gd name="connsiteY153" fmla="*/ 8520 h 9986"/>
                    <a:gd name="connsiteX154" fmla="*/ 5889 w 10000"/>
                    <a:gd name="connsiteY154" fmla="*/ 8505 h 9986"/>
                    <a:gd name="connsiteX155" fmla="*/ 5667 w 10000"/>
                    <a:gd name="connsiteY155" fmla="*/ 8488 h 9986"/>
                    <a:gd name="connsiteX156" fmla="*/ 4889 w 10000"/>
                    <a:gd name="connsiteY156" fmla="*/ 8612 h 9986"/>
                    <a:gd name="connsiteX157" fmla="*/ 4611 w 10000"/>
                    <a:gd name="connsiteY157" fmla="*/ 8641 h 9986"/>
                    <a:gd name="connsiteX158" fmla="*/ 4500 w 10000"/>
                    <a:gd name="connsiteY158" fmla="*/ 8641 h 9986"/>
                    <a:gd name="connsiteX159" fmla="*/ 4222 w 10000"/>
                    <a:gd name="connsiteY159" fmla="*/ 8488 h 9986"/>
                    <a:gd name="connsiteX160" fmla="*/ 4222 w 10000"/>
                    <a:gd name="connsiteY160" fmla="*/ 8488 h 9986"/>
                    <a:gd name="connsiteX161" fmla="*/ 4111 w 10000"/>
                    <a:gd name="connsiteY161" fmla="*/ 8411 h 9986"/>
                    <a:gd name="connsiteX162" fmla="*/ 4111 w 10000"/>
                    <a:gd name="connsiteY162" fmla="*/ 8318 h 9986"/>
                    <a:gd name="connsiteX163" fmla="*/ 4111 w 10000"/>
                    <a:gd name="connsiteY163" fmla="*/ 8318 h 9986"/>
                    <a:gd name="connsiteX164" fmla="*/ 4278 w 10000"/>
                    <a:gd name="connsiteY164" fmla="*/ 8271 h 9986"/>
                    <a:gd name="connsiteX165" fmla="*/ 4389 w 10000"/>
                    <a:gd name="connsiteY165" fmla="*/ 8256 h 9986"/>
                    <a:gd name="connsiteX166" fmla="*/ 4389 w 10000"/>
                    <a:gd name="connsiteY166" fmla="*/ 8256 h 9986"/>
                    <a:gd name="connsiteX167" fmla="*/ 3722 w 10000"/>
                    <a:gd name="connsiteY167" fmla="*/ 8271 h 9986"/>
                    <a:gd name="connsiteX168" fmla="*/ 3611 w 10000"/>
                    <a:gd name="connsiteY168" fmla="*/ 8287 h 9986"/>
                    <a:gd name="connsiteX169" fmla="*/ 3556 w 10000"/>
                    <a:gd name="connsiteY169" fmla="*/ 8303 h 9986"/>
                    <a:gd name="connsiteX170" fmla="*/ 3556 w 10000"/>
                    <a:gd name="connsiteY170" fmla="*/ 8303 h 9986"/>
                    <a:gd name="connsiteX171" fmla="*/ 3444 w 10000"/>
                    <a:gd name="connsiteY171" fmla="*/ 8364 h 9986"/>
                    <a:gd name="connsiteX172" fmla="*/ 3278 w 10000"/>
                    <a:gd name="connsiteY172" fmla="*/ 8457 h 9986"/>
                    <a:gd name="connsiteX173" fmla="*/ 3000 w 10000"/>
                    <a:gd name="connsiteY173" fmla="*/ 8566 h 9986"/>
                    <a:gd name="connsiteX174" fmla="*/ 2667 w 10000"/>
                    <a:gd name="connsiteY174" fmla="*/ 8641 h 9986"/>
                    <a:gd name="connsiteX175" fmla="*/ 2667 w 10000"/>
                    <a:gd name="connsiteY175" fmla="*/ 8641 h 9986"/>
                    <a:gd name="connsiteX176" fmla="*/ 2333 w 10000"/>
                    <a:gd name="connsiteY176" fmla="*/ 8704 h 9986"/>
                    <a:gd name="connsiteX177" fmla="*/ 1833 w 10000"/>
                    <a:gd name="connsiteY177" fmla="*/ 8766 h 9986"/>
                    <a:gd name="connsiteX178" fmla="*/ 1389 w 10000"/>
                    <a:gd name="connsiteY178" fmla="*/ 8797 h 9986"/>
                    <a:gd name="connsiteX179" fmla="*/ 889 w 10000"/>
                    <a:gd name="connsiteY179" fmla="*/ 8812 h 9986"/>
                    <a:gd name="connsiteX180" fmla="*/ 889 w 10000"/>
                    <a:gd name="connsiteY180" fmla="*/ 8812 h 9986"/>
                    <a:gd name="connsiteX181" fmla="*/ 500 w 10000"/>
                    <a:gd name="connsiteY181" fmla="*/ 8828 h 9986"/>
                    <a:gd name="connsiteX182" fmla="*/ 222 w 10000"/>
                    <a:gd name="connsiteY182" fmla="*/ 8844 h 9986"/>
                    <a:gd name="connsiteX183" fmla="*/ 0 w 10000"/>
                    <a:gd name="connsiteY183" fmla="*/ 8859 h 9986"/>
                    <a:gd name="connsiteX184" fmla="*/ 0 w 10000"/>
                    <a:gd name="connsiteY184" fmla="*/ 8859 h 9986"/>
                    <a:gd name="connsiteX185" fmla="*/ 278 w 10000"/>
                    <a:gd name="connsiteY185" fmla="*/ 9105 h 9986"/>
                    <a:gd name="connsiteX186" fmla="*/ 500 w 10000"/>
                    <a:gd name="connsiteY186" fmla="*/ 9291 h 9986"/>
                    <a:gd name="connsiteX187" fmla="*/ 722 w 10000"/>
                    <a:gd name="connsiteY187" fmla="*/ 9446 h 9986"/>
                    <a:gd name="connsiteX188" fmla="*/ 722 w 10000"/>
                    <a:gd name="connsiteY188" fmla="*/ 9446 h 9986"/>
                    <a:gd name="connsiteX189" fmla="*/ 889 w 10000"/>
                    <a:gd name="connsiteY189" fmla="*/ 9538 h 9986"/>
                    <a:gd name="connsiteX190" fmla="*/ 944 w 10000"/>
                    <a:gd name="connsiteY190" fmla="*/ 9615 h 9986"/>
                    <a:gd name="connsiteX191" fmla="*/ 1111 w 10000"/>
                    <a:gd name="connsiteY191" fmla="*/ 9692 h 9986"/>
                    <a:gd name="connsiteX192" fmla="*/ 1333 w 10000"/>
                    <a:gd name="connsiteY192" fmla="*/ 9816 h 9986"/>
                    <a:gd name="connsiteX193" fmla="*/ 1333 w 10000"/>
                    <a:gd name="connsiteY193" fmla="*/ 9816 h 9986"/>
                    <a:gd name="connsiteX194" fmla="*/ 1444 w 10000"/>
                    <a:gd name="connsiteY194" fmla="*/ 9879 h 9986"/>
                    <a:gd name="connsiteX195" fmla="*/ 1500 w 10000"/>
                    <a:gd name="connsiteY195" fmla="*/ 9924 h 9986"/>
                    <a:gd name="connsiteX196" fmla="*/ 1500 w 10000"/>
                    <a:gd name="connsiteY196" fmla="*/ 9971 h 9986"/>
                    <a:gd name="connsiteX197" fmla="*/ 1556 w 10000"/>
                    <a:gd name="connsiteY197" fmla="*/ 9986 h 9986"/>
                    <a:gd name="connsiteX198" fmla="*/ 10000 w 10000"/>
                    <a:gd name="connsiteY198" fmla="*/ 9430 h 9986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500 w 10000"/>
                    <a:gd name="connsiteY186" fmla="*/ 9304 h 10000"/>
                    <a:gd name="connsiteX187" fmla="*/ 722 w 10000"/>
                    <a:gd name="connsiteY187" fmla="*/ 9459 h 10000"/>
                    <a:gd name="connsiteX188" fmla="*/ 722 w 10000"/>
                    <a:gd name="connsiteY188" fmla="*/ 9459 h 10000"/>
                    <a:gd name="connsiteX189" fmla="*/ 889 w 10000"/>
                    <a:gd name="connsiteY189" fmla="*/ 9551 h 10000"/>
                    <a:gd name="connsiteX190" fmla="*/ 944 w 10000"/>
                    <a:gd name="connsiteY190" fmla="*/ 9628 h 10000"/>
                    <a:gd name="connsiteX191" fmla="*/ 1111 w 10000"/>
                    <a:gd name="connsiteY191" fmla="*/ 9706 h 10000"/>
                    <a:gd name="connsiteX192" fmla="*/ 1333 w 10000"/>
                    <a:gd name="connsiteY192" fmla="*/ 9830 h 10000"/>
                    <a:gd name="connsiteX193" fmla="*/ 1333 w 10000"/>
                    <a:gd name="connsiteY193" fmla="*/ 9830 h 10000"/>
                    <a:gd name="connsiteX194" fmla="*/ 1444 w 10000"/>
                    <a:gd name="connsiteY194" fmla="*/ 9893 h 10000"/>
                    <a:gd name="connsiteX195" fmla="*/ 1500 w 10000"/>
                    <a:gd name="connsiteY195" fmla="*/ 9985 h 10000"/>
                    <a:gd name="connsiteX196" fmla="*/ 1556 w 10000"/>
                    <a:gd name="connsiteY196" fmla="*/ 10000 h 10000"/>
                    <a:gd name="connsiteX197" fmla="*/ 10000 w 10000"/>
                    <a:gd name="connsiteY197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500 w 10000"/>
                    <a:gd name="connsiteY186" fmla="*/ 9304 h 10000"/>
                    <a:gd name="connsiteX187" fmla="*/ 722 w 10000"/>
                    <a:gd name="connsiteY187" fmla="*/ 9459 h 10000"/>
                    <a:gd name="connsiteX188" fmla="*/ 722 w 10000"/>
                    <a:gd name="connsiteY188" fmla="*/ 9459 h 10000"/>
                    <a:gd name="connsiteX189" fmla="*/ 889 w 10000"/>
                    <a:gd name="connsiteY189" fmla="*/ 9551 h 10000"/>
                    <a:gd name="connsiteX190" fmla="*/ 944 w 10000"/>
                    <a:gd name="connsiteY190" fmla="*/ 9628 h 10000"/>
                    <a:gd name="connsiteX191" fmla="*/ 1111 w 10000"/>
                    <a:gd name="connsiteY191" fmla="*/ 9706 h 10000"/>
                    <a:gd name="connsiteX192" fmla="*/ 1333 w 10000"/>
                    <a:gd name="connsiteY192" fmla="*/ 9830 h 10000"/>
                    <a:gd name="connsiteX193" fmla="*/ 1444 w 10000"/>
                    <a:gd name="connsiteY193" fmla="*/ 9893 h 10000"/>
                    <a:gd name="connsiteX194" fmla="*/ 1500 w 10000"/>
                    <a:gd name="connsiteY194" fmla="*/ 9985 h 10000"/>
                    <a:gd name="connsiteX195" fmla="*/ 1556 w 10000"/>
                    <a:gd name="connsiteY195" fmla="*/ 10000 h 10000"/>
                    <a:gd name="connsiteX196" fmla="*/ 10000 w 10000"/>
                    <a:gd name="connsiteY196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500 w 10000"/>
                    <a:gd name="connsiteY186" fmla="*/ 9304 h 10000"/>
                    <a:gd name="connsiteX187" fmla="*/ 722 w 10000"/>
                    <a:gd name="connsiteY187" fmla="*/ 9459 h 10000"/>
                    <a:gd name="connsiteX188" fmla="*/ 722 w 10000"/>
                    <a:gd name="connsiteY188" fmla="*/ 9459 h 10000"/>
                    <a:gd name="connsiteX189" fmla="*/ 889 w 10000"/>
                    <a:gd name="connsiteY189" fmla="*/ 9551 h 10000"/>
                    <a:gd name="connsiteX190" fmla="*/ 944 w 10000"/>
                    <a:gd name="connsiteY190" fmla="*/ 9628 h 10000"/>
                    <a:gd name="connsiteX191" fmla="*/ 1333 w 10000"/>
                    <a:gd name="connsiteY191" fmla="*/ 9830 h 10000"/>
                    <a:gd name="connsiteX192" fmla="*/ 1444 w 10000"/>
                    <a:gd name="connsiteY192" fmla="*/ 9893 h 10000"/>
                    <a:gd name="connsiteX193" fmla="*/ 1500 w 10000"/>
                    <a:gd name="connsiteY193" fmla="*/ 9985 h 10000"/>
                    <a:gd name="connsiteX194" fmla="*/ 1556 w 10000"/>
                    <a:gd name="connsiteY194" fmla="*/ 10000 h 10000"/>
                    <a:gd name="connsiteX195" fmla="*/ 10000 w 10000"/>
                    <a:gd name="connsiteY195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500 w 10000"/>
                    <a:gd name="connsiteY186" fmla="*/ 9304 h 10000"/>
                    <a:gd name="connsiteX187" fmla="*/ 722 w 10000"/>
                    <a:gd name="connsiteY187" fmla="*/ 9459 h 10000"/>
                    <a:gd name="connsiteX188" fmla="*/ 722 w 10000"/>
                    <a:gd name="connsiteY188" fmla="*/ 9459 h 10000"/>
                    <a:gd name="connsiteX189" fmla="*/ 944 w 10000"/>
                    <a:gd name="connsiteY189" fmla="*/ 9628 h 10000"/>
                    <a:gd name="connsiteX190" fmla="*/ 1333 w 10000"/>
                    <a:gd name="connsiteY190" fmla="*/ 9830 h 10000"/>
                    <a:gd name="connsiteX191" fmla="*/ 1444 w 10000"/>
                    <a:gd name="connsiteY191" fmla="*/ 9893 h 10000"/>
                    <a:gd name="connsiteX192" fmla="*/ 1500 w 10000"/>
                    <a:gd name="connsiteY192" fmla="*/ 9985 h 10000"/>
                    <a:gd name="connsiteX193" fmla="*/ 1556 w 10000"/>
                    <a:gd name="connsiteY193" fmla="*/ 10000 h 10000"/>
                    <a:gd name="connsiteX194" fmla="*/ 10000 w 10000"/>
                    <a:gd name="connsiteY194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500 w 10000"/>
                    <a:gd name="connsiteY186" fmla="*/ 9304 h 10000"/>
                    <a:gd name="connsiteX187" fmla="*/ 722 w 10000"/>
                    <a:gd name="connsiteY187" fmla="*/ 9459 h 10000"/>
                    <a:gd name="connsiteX188" fmla="*/ 944 w 10000"/>
                    <a:gd name="connsiteY188" fmla="*/ 9628 h 10000"/>
                    <a:gd name="connsiteX189" fmla="*/ 1333 w 10000"/>
                    <a:gd name="connsiteY189" fmla="*/ 9830 h 10000"/>
                    <a:gd name="connsiteX190" fmla="*/ 1444 w 10000"/>
                    <a:gd name="connsiteY190" fmla="*/ 9893 h 10000"/>
                    <a:gd name="connsiteX191" fmla="*/ 1500 w 10000"/>
                    <a:gd name="connsiteY191" fmla="*/ 9985 h 10000"/>
                    <a:gd name="connsiteX192" fmla="*/ 1556 w 10000"/>
                    <a:gd name="connsiteY192" fmla="*/ 10000 h 10000"/>
                    <a:gd name="connsiteX193" fmla="*/ 10000 w 10000"/>
                    <a:gd name="connsiteY193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278 w 10000"/>
                    <a:gd name="connsiteY185" fmla="*/ 9118 h 10000"/>
                    <a:gd name="connsiteX186" fmla="*/ 722 w 10000"/>
                    <a:gd name="connsiteY186" fmla="*/ 9459 h 10000"/>
                    <a:gd name="connsiteX187" fmla="*/ 944 w 10000"/>
                    <a:gd name="connsiteY187" fmla="*/ 9628 h 10000"/>
                    <a:gd name="connsiteX188" fmla="*/ 1333 w 10000"/>
                    <a:gd name="connsiteY188" fmla="*/ 9830 h 10000"/>
                    <a:gd name="connsiteX189" fmla="*/ 1444 w 10000"/>
                    <a:gd name="connsiteY189" fmla="*/ 9893 h 10000"/>
                    <a:gd name="connsiteX190" fmla="*/ 1500 w 10000"/>
                    <a:gd name="connsiteY190" fmla="*/ 9985 h 10000"/>
                    <a:gd name="connsiteX191" fmla="*/ 1556 w 10000"/>
                    <a:gd name="connsiteY191" fmla="*/ 10000 h 10000"/>
                    <a:gd name="connsiteX192" fmla="*/ 10000 w 10000"/>
                    <a:gd name="connsiteY192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0 w 10000"/>
                    <a:gd name="connsiteY184" fmla="*/ 8871 h 10000"/>
                    <a:gd name="connsiteX185" fmla="*/ 722 w 10000"/>
                    <a:gd name="connsiteY185" fmla="*/ 9459 h 10000"/>
                    <a:gd name="connsiteX186" fmla="*/ 944 w 10000"/>
                    <a:gd name="connsiteY186" fmla="*/ 9628 h 10000"/>
                    <a:gd name="connsiteX187" fmla="*/ 1333 w 10000"/>
                    <a:gd name="connsiteY187" fmla="*/ 9830 h 10000"/>
                    <a:gd name="connsiteX188" fmla="*/ 1444 w 10000"/>
                    <a:gd name="connsiteY188" fmla="*/ 9893 h 10000"/>
                    <a:gd name="connsiteX189" fmla="*/ 1500 w 10000"/>
                    <a:gd name="connsiteY189" fmla="*/ 9985 h 10000"/>
                    <a:gd name="connsiteX190" fmla="*/ 1556 w 10000"/>
                    <a:gd name="connsiteY190" fmla="*/ 10000 h 10000"/>
                    <a:gd name="connsiteX191" fmla="*/ 10000 w 10000"/>
                    <a:gd name="connsiteY191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889 w 10000"/>
                    <a:gd name="connsiteY180" fmla="*/ 8824 h 10000"/>
                    <a:gd name="connsiteX181" fmla="*/ 500 w 10000"/>
                    <a:gd name="connsiteY181" fmla="*/ 8840 h 10000"/>
                    <a:gd name="connsiteX182" fmla="*/ 222 w 10000"/>
                    <a:gd name="connsiteY182" fmla="*/ 8856 h 10000"/>
                    <a:gd name="connsiteX183" fmla="*/ 0 w 10000"/>
                    <a:gd name="connsiteY183" fmla="*/ 8871 h 10000"/>
                    <a:gd name="connsiteX184" fmla="*/ 722 w 10000"/>
                    <a:gd name="connsiteY184" fmla="*/ 9459 h 10000"/>
                    <a:gd name="connsiteX185" fmla="*/ 944 w 10000"/>
                    <a:gd name="connsiteY185" fmla="*/ 9628 h 10000"/>
                    <a:gd name="connsiteX186" fmla="*/ 1333 w 10000"/>
                    <a:gd name="connsiteY186" fmla="*/ 9830 h 10000"/>
                    <a:gd name="connsiteX187" fmla="*/ 1444 w 10000"/>
                    <a:gd name="connsiteY187" fmla="*/ 9893 h 10000"/>
                    <a:gd name="connsiteX188" fmla="*/ 1500 w 10000"/>
                    <a:gd name="connsiteY188" fmla="*/ 9985 h 10000"/>
                    <a:gd name="connsiteX189" fmla="*/ 1556 w 10000"/>
                    <a:gd name="connsiteY189" fmla="*/ 10000 h 10000"/>
                    <a:gd name="connsiteX190" fmla="*/ 10000 w 10000"/>
                    <a:gd name="connsiteY190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1389 w 10000"/>
                    <a:gd name="connsiteY178" fmla="*/ 8809 h 10000"/>
                    <a:gd name="connsiteX179" fmla="*/ 889 w 10000"/>
                    <a:gd name="connsiteY179" fmla="*/ 8824 h 10000"/>
                    <a:gd name="connsiteX180" fmla="*/ 500 w 10000"/>
                    <a:gd name="connsiteY180" fmla="*/ 8840 h 10000"/>
                    <a:gd name="connsiteX181" fmla="*/ 222 w 10000"/>
                    <a:gd name="connsiteY181" fmla="*/ 8856 h 10000"/>
                    <a:gd name="connsiteX182" fmla="*/ 0 w 10000"/>
                    <a:gd name="connsiteY182" fmla="*/ 8871 h 10000"/>
                    <a:gd name="connsiteX183" fmla="*/ 722 w 10000"/>
                    <a:gd name="connsiteY183" fmla="*/ 9459 h 10000"/>
                    <a:gd name="connsiteX184" fmla="*/ 944 w 10000"/>
                    <a:gd name="connsiteY184" fmla="*/ 9628 h 10000"/>
                    <a:gd name="connsiteX185" fmla="*/ 1333 w 10000"/>
                    <a:gd name="connsiteY185" fmla="*/ 9830 h 10000"/>
                    <a:gd name="connsiteX186" fmla="*/ 1444 w 10000"/>
                    <a:gd name="connsiteY186" fmla="*/ 9893 h 10000"/>
                    <a:gd name="connsiteX187" fmla="*/ 1500 w 10000"/>
                    <a:gd name="connsiteY187" fmla="*/ 9985 h 10000"/>
                    <a:gd name="connsiteX188" fmla="*/ 1556 w 10000"/>
                    <a:gd name="connsiteY188" fmla="*/ 10000 h 10000"/>
                    <a:gd name="connsiteX189" fmla="*/ 10000 w 10000"/>
                    <a:gd name="connsiteY189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1833 w 10000"/>
                    <a:gd name="connsiteY177" fmla="*/ 8778 h 10000"/>
                    <a:gd name="connsiteX178" fmla="*/ 889 w 10000"/>
                    <a:gd name="connsiteY178" fmla="*/ 8824 h 10000"/>
                    <a:gd name="connsiteX179" fmla="*/ 500 w 10000"/>
                    <a:gd name="connsiteY179" fmla="*/ 8840 h 10000"/>
                    <a:gd name="connsiteX180" fmla="*/ 222 w 10000"/>
                    <a:gd name="connsiteY180" fmla="*/ 8856 h 10000"/>
                    <a:gd name="connsiteX181" fmla="*/ 0 w 10000"/>
                    <a:gd name="connsiteY181" fmla="*/ 8871 h 10000"/>
                    <a:gd name="connsiteX182" fmla="*/ 722 w 10000"/>
                    <a:gd name="connsiteY182" fmla="*/ 9459 h 10000"/>
                    <a:gd name="connsiteX183" fmla="*/ 944 w 10000"/>
                    <a:gd name="connsiteY183" fmla="*/ 9628 h 10000"/>
                    <a:gd name="connsiteX184" fmla="*/ 1333 w 10000"/>
                    <a:gd name="connsiteY184" fmla="*/ 9830 h 10000"/>
                    <a:gd name="connsiteX185" fmla="*/ 1444 w 10000"/>
                    <a:gd name="connsiteY185" fmla="*/ 9893 h 10000"/>
                    <a:gd name="connsiteX186" fmla="*/ 1500 w 10000"/>
                    <a:gd name="connsiteY186" fmla="*/ 9985 h 10000"/>
                    <a:gd name="connsiteX187" fmla="*/ 1556 w 10000"/>
                    <a:gd name="connsiteY187" fmla="*/ 10000 h 10000"/>
                    <a:gd name="connsiteX188" fmla="*/ 10000 w 10000"/>
                    <a:gd name="connsiteY188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2333 w 10000"/>
                    <a:gd name="connsiteY176" fmla="*/ 8716 h 10000"/>
                    <a:gd name="connsiteX177" fmla="*/ 889 w 10000"/>
                    <a:gd name="connsiteY177" fmla="*/ 8824 h 10000"/>
                    <a:gd name="connsiteX178" fmla="*/ 500 w 10000"/>
                    <a:gd name="connsiteY178" fmla="*/ 8840 h 10000"/>
                    <a:gd name="connsiteX179" fmla="*/ 222 w 10000"/>
                    <a:gd name="connsiteY179" fmla="*/ 8856 h 10000"/>
                    <a:gd name="connsiteX180" fmla="*/ 0 w 10000"/>
                    <a:gd name="connsiteY180" fmla="*/ 8871 h 10000"/>
                    <a:gd name="connsiteX181" fmla="*/ 722 w 10000"/>
                    <a:gd name="connsiteY181" fmla="*/ 9459 h 10000"/>
                    <a:gd name="connsiteX182" fmla="*/ 944 w 10000"/>
                    <a:gd name="connsiteY182" fmla="*/ 9628 h 10000"/>
                    <a:gd name="connsiteX183" fmla="*/ 1333 w 10000"/>
                    <a:gd name="connsiteY183" fmla="*/ 9830 h 10000"/>
                    <a:gd name="connsiteX184" fmla="*/ 1444 w 10000"/>
                    <a:gd name="connsiteY184" fmla="*/ 9893 h 10000"/>
                    <a:gd name="connsiteX185" fmla="*/ 1500 w 10000"/>
                    <a:gd name="connsiteY185" fmla="*/ 9985 h 10000"/>
                    <a:gd name="connsiteX186" fmla="*/ 1556 w 10000"/>
                    <a:gd name="connsiteY186" fmla="*/ 10000 h 10000"/>
                    <a:gd name="connsiteX187" fmla="*/ 10000 w 10000"/>
                    <a:gd name="connsiteY187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2667 w 10000"/>
                    <a:gd name="connsiteY175" fmla="*/ 8653 h 10000"/>
                    <a:gd name="connsiteX176" fmla="*/ 889 w 10000"/>
                    <a:gd name="connsiteY176" fmla="*/ 8824 h 10000"/>
                    <a:gd name="connsiteX177" fmla="*/ 500 w 10000"/>
                    <a:gd name="connsiteY177" fmla="*/ 8840 h 10000"/>
                    <a:gd name="connsiteX178" fmla="*/ 222 w 10000"/>
                    <a:gd name="connsiteY178" fmla="*/ 8856 h 10000"/>
                    <a:gd name="connsiteX179" fmla="*/ 0 w 10000"/>
                    <a:gd name="connsiteY179" fmla="*/ 8871 h 10000"/>
                    <a:gd name="connsiteX180" fmla="*/ 722 w 10000"/>
                    <a:gd name="connsiteY180" fmla="*/ 9459 h 10000"/>
                    <a:gd name="connsiteX181" fmla="*/ 944 w 10000"/>
                    <a:gd name="connsiteY181" fmla="*/ 9628 h 10000"/>
                    <a:gd name="connsiteX182" fmla="*/ 1333 w 10000"/>
                    <a:gd name="connsiteY182" fmla="*/ 9830 h 10000"/>
                    <a:gd name="connsiteX183" fmla="*/ 1444 w 10000"/>
                    <a:gd name="connsiteY183" fmla="*/ 9893 h 10000"/>
                    <a:gd name="connsiteX184" fmla="*/ 1500 w 10000"/>
                    <a:gd name="connsiteY184" fmla="*/ 9985 h 10000"/>
                    <a:gd name="connsiteX185" fmla="*/ 1556 w 10000"/>
                    <a:gd name="connsiteY185" fmla="*/ 10000 h 10000"/>
                    <a:gd name="connsiteX186" fmla="*/ 10000 w 10000"/>
                    <a:gd name="connsiteY186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3000 w 10000"/>
                    <a:gd name="connsiteY173" fmla="*/ 8578 h 10000"/>
                    <a:gd name="connsiteX174" fmla="*/ 2667 w 10000"/>
                    <a:gd name="connsiteY174" fmla="*/ 8653 h 10000"/>
                    <a:gd name="connsiteX175" fmla="*/ 889 w 10000"/>
                    <a:gd name="connsiteY175" fmla="*/ 8824 h 10000"/>
                    <a:gd name="connsiteX176" fmla="*/ 500 w 10000"/>
                    <a:gd name="connsiteY176" fmla="*/ 8840 h 10000"/>
                    <a:gd name="connsiteX177" fmla="*/ 222 w 10000"/>
                    <a:gd name="connsiteY177" fmla="*/ 8856 h 10000"/>
                    <a:gd name="connsiteX178" fmla="*/ 0 w 10000"/>
                    <a:gd name="connsiteY178" fmla="*/ 8871 h 10000"/>
                    <a:gd name="connsiteX179" fmla="*/ 722 w 10000"/>
                    <a:gd name="connsiteY179" fmla="*/ 9459 h 10000"/>
                    <a:gd name="connsiteX180" fmla="*/ 944 w 10000"/>
                    <a:gd name="connsiteY180" fmla="*/ 9628 h 10000"/>
                    <a:gd name="connsiteX181" fmla="*/ 1333 w 10000"/>
                    <a:gd name="connsiteY181" fmla="*/ 9830 h 10000"/>
                    <a:gd name="connsiteX182" fmla="*/ 1444 w 10000"/>
                    <a:gd name="connsiteY182" fmla="*/ 9893 h 10000"/>
                    <a:gd name="connsiteX183" fmla="*/ 1500 w 10000"/>
                    <a:gd name="connsiteY183" fmla="*/ 9985 h 10000"/>
                    <a:gd name="connsiteX184" fmla="*/ 1556 w 10000"/>
                    <a:gd name="connsiteY184" fmla="*/ 10000 h 10000"/>
                    <a:gd name="connsiteX185" fmla="*/ 10000 w 10000"/>
                    <a:gd name="connsiteY185" fmla="*/ 9443 h 10000"/>
                    <a:gd name="connsiteX0" fmla="*/ 10000 w 10000"/>
                    <a:gd name="connsiteY0" fmla="*/ 9443 h 10000"/>
                    <a:gd name="connsiteX1" fmla="*/ 10000 w 10000"/>
                    <a:gd name="connsiteY1" fmla="*/ 9443 h 10000"/>
                    <a:gd name="connsiteX2" fmla="*/ 9222 w 10000"/>
                    <a:gd name="connsiteY2" fmla="*/ 9459 h 10000"/>
                    <a:gd name="connsiteX3" fmla="*/ 8944 w 10000"/>
                    <a:gd name="connsiteY3" fmla="*/ 9459 h 10000"/>
                    <a:gd name="connsiteX4" fmla="*/ 8833 w 10000"/>
                    <a:gd name="connsiteY4" fmla="*/ 9443 h 10000"/>
                    <a:gd name="connsiteX5" fmla="*/ 8778 w 10000"/>
                    <a:gd name="connsiteY5" fmla="*/ 9427 h 10000"/>
                    <a:gd name="connsiteX6" fmla="*/ 8778 w 10000"/>
                    <a:gd name="connsiteY6" fmla="*/ 9427 h 10000"/>
                    <a:gd name="connsiteX7" fmla="*/ 8444 w 10000"/>
                    <a:gd name="connsiteY7" fmla="*/ 9242 h 10000"/>
                    <a:gd name="connsiteX8" fmla="*/ 8167 w 10000"/>
                    <a:gd name="connsiteY8" fmla="*/ 9072 h 10000"/>
                    <a:gd name="connsiteX9" fmla="*/ 8167 w 10000"/>
                    <a:gd name="connsiteY9" fmla="*/ 9072 h 10000"/>
                    <a:gd name="connsiteX10" fmla="*/ 8056 w 10000"/>
                    <a:gd name="connsiteY10" fmla="*/ 9042 h 10000"/>
                    <a:gd name="connsiteX11" fmla="*/ 7889 w 10000"/>
                    <a:gd name="connsiteY11" fmla="*/ 9010 h 10000"/>
                    <a:gd name="connsiteX12" fmla="*/ 7444 w 10000"/>
                    <a:gd name="connsiteY12" fmla="*/ 8994 h 10000"/>
                    <a:gd name="connsiteX13" fmla="*/ 6889 w 10000"/>
                    <a:gd name="connsiteY13" fmla="*/ 8980 h 10000"/>
                    <a:gd name="connsiteX14" fmla="*/ 6389 w 10000"/>
                    <a:gd name="connsiteY14" fmla="*/ 8980 h 10000"/>
                    <a:gd name="connsiteX15" fmla="*/ 6389 w 10000"/>
                    <a:gd name="connsiteY15" fmla="*/ 8980 h 10000"/>
                    <a:gd name="connsiteX16" fmla="*/ 6167 w 10000"/>
                    <a:gd name="connsiteY16" fmla="*/ 8963 h 10000"/>
                    <a:gd name="connsiteX17" fmla="*/ 6056 w 10000"/>
                    <a:gd name="connsiteY17" fmla="*/ 8934 h 10000"/>
                    <a:gd name="connsiteX18" fmla="*/ 6000 w 10000"/>
                    <a:gd name="connsiteY18" fmla="*/ 8901 h 10000"/>
                    <a:gd name="connsiteX19" fmla="*/ 6056 w 10000"/>
                    <a:gd name="connsiteY19" fmla="*/ 8716 h 10000"/>
                    <a:gd name="connsiteX20" fmla="*/ 6111 w 10000"/>
                    <a:gd name="connsiteY20" fmla="*/ 8653 h 10000"/>
                    <a:gd name="connsiteX21" fmla="*/ 6056 w 10000"/>
                    <a:gd name="connsiteY21" fmla="*/ 8578 h 10000"/>
                    <a:gd name="connsiteX22" fmla="*/ 6056 w 10000"/>
                    <a:gd name="connsiteY22" fmla="*/ 8578 h 10000"/>
                    <a:gd name="connsiteX23" fmla="*/ 6000 w 10000"/>
                    <a:gd name="connsiteY23" fmla="*/ 8532 h 10000"/>
                    <a:gd name="connsiteX24" fmla="*/ 5944 w 10000"/>
                    <a:gd name="connsiteY24" fmla="*/ 8500 h 10000"/>
                    <a:gd name="connsiteX25" fmla="*/ 5833 w 10000"/>
                    <a:gd name="connsiteY25" fmla="*/ 8500 h 10000"/>
                    <a:gd name="connsiteX26" fmla="*/ 5667 w 10000"/>
                    <a:gd name="connsiteY26" fmla="*/ 8517 h 10000"/>
                    <a:gd name="connsiteX27" fmla="*/ 5333 w 10000"/>
                    <a:gd name="connsiteY27" fmla="*/ 8562 h 10000"/>
                    <a:gd name="connsiteX28" fmla="*/ 4889 w 10000"/>
                    <a:gd name="connsiteY28" fmla="*/ 8639 h 10000"/>
                    <a:gd name="connsiteX29" fmla="*/ 4889 w 10000"/>
                    <a:gd name="connsiteY29" fmla="*/ 8639 h 10000"/>
                    <a:gd name="connsiteX30" fmla="*/ 4611 w 10000"/>
                    <a:gd name="connsiteY30" fmla="*/ 8653 h 10000"/>
                    <a:gd name="connsiteX31" fmla="*/ 4500 w 10000"/>
                    <a:gd name="connsiteY31" fmla="*/ 8653 h 10000"/>
                    <a:gd name="connsiteX32" fmla="*/ 4444 w 10000"/>
                    <a:gd name="connsiteY32" fmla="*/ 8639 h 10000"/>
                    <a:gd name="connsiteX33" fmla="*/ 4222 w 10000"/>
                    <a:gd name="connsiteY33" fmla="*/ 8500 h 10000"/>
                    <a:gd name="connsiteX34" fmla="*/ 4222 w 10000"/>
                    <a:gd name="connsiteY34" fmla="*/ 8500 h 10000"/>
                    <a:gd name="connsiteX35" fmla="*/ 4111 w 10000"/>
                    <a:gd name="connsiteY35" fmla="*/ 8454 h 10000"/>
                    <a:gd name="connsiteX36" fmla="*/ 4111 w 10000"/>
                    <a:gd name="connsiteY36" fmla="*/ 8408 h 10000"/>
                    <a:gd name="connsiteX37" fmla="*/ 4111 w 10000"/>
                    <a:gd name="connsiteY37" fmla="*/ 8376 h 10000"/>
                    <a:gd name="connsiteX38" fmla="*/ 4167 w 10000"/>
                    <a:gd name="connsiteY38" fmla="*/ 8345 h 10000"/>
                    <a:gd name="connsiteX39" fmla="*/ 4278 w 10000"/>
                    <a:gd name="connsiteY39" fmla="*/ 8283 h 10000"/>
                    <a:gd name="connsiteX40" fmla="*/ 4389 w 10000"/>
                    <a:gd name="connsiteY40" fmla="*/ 8268 h 10000"/>
                    <a:gd name="connsiteX41" fmla="*/ 4389 w 10000"/>
                    <a:gd name="connsiteY41" fmla="*/ 8268 h 10000"/>
                    <a:gd name="connsiteX42" fmla="*/ 4389 w 10000"/>
                    <a:gd name="connsiteY42" fmla="*/ 8254 h 10000"/>
                    <a:gd name="connsiteX43" fmla="*/ 4444 w 10000"/>
                    <a:gd name="connsiteY43" fmla="*/ 8238 h 10000"/>
                    <a:gd name="connsiteX44" fmla="*/ 7986 w 10000"/>
                    <a:gd name="connsiteY44" fmla="*/ 7998 h 10000"/>
                    <a:gd name="connsiteX45" fmla="*/ 8389 w 10000"/>
                    <a:gd name="connsiteY45" fmla="*/ 8006 h 10000"/>
                    <a:gd name="connsiteX46" fmla="*/ 8389 w 10000"/>
                    <a:gd name="connsiteY46" fmla="*/ 8006 h 10000"/>
                    <a:gd name="connsiteX47" fmla="*/ 8667 w 10000"/>
                    <a:gd name="connsiteY47" fmla="*/ 7974 h 10000"/>
                    <a:gd name="connsiteX48" fmla="*/ 8889 w 10000"/>
                    <a:gd name="connsiteY48" fmla="*/ 7898 h 10000"/>
                    <a:gd name="connsiteX49" fmla="*/ 8833 w 10000"/>
                    <a:gd name="connsiteY49" fmla="*/ 7867 h 10000"/>
                    <a:gd name="connsiteX50" fmla="*/ 8833 w 10000"/>
                    <a:gd name="connsiteY50" fmla="*/ 7837 h 10000"/>
                    <a:gd name="connsiteX51" fmla="*/ 8556 w 10000"/>
                    <a:gd name="connsiteY51" fmla="*/ 7758 h 10000"/>
                    <a:gd name="connsiteX52" fmla="*/ 6556 w 10000"/>
                    <a:gd name="connsiteY52" fmla="*/ 7480 h 10000"/>
                    <a:gd name="connsiteX53" fmla="*/ 6556 w 10000"/>
                    <a:gd name="connsiteY53" fmla="*/ 7480 h 10000"/>
                    <a:gd name="connsiteX54" fmla="*/ 6333 w 10000"/>
                    <a:gd name="connsiteY54" fmla="*/ 7434 h 10000"/>
                    <a:gd name="connsiteX55" fmla="*/ 6167 w 10000"/>
                    <a:gd name="connsiteY55" fmla="*/ 7387 h 10000"/>
                    <a:gd name="connsiteX56" fmla="*/ 6056 w 10000"/>
                    <a:gd name="connsiteY56" fmla="*/ 7341 h 10000"/>
                    <a:gd name="connsiteX57" fmla="*/ 6056 w 10000"/>
                    <a:gd name="connsiteY57" fmla="*/ 7341 h 10000"/>
                    <a:gd name="connsiteX58" fmla="*/ 8056 w 10000"/>
                    <a:gd name="connsiteY58" fmla="*/ 7325 h 10000"/>
                    <a:gd name="connsiteX59" fmla="*/ 10000 w 10000"/>
                    <a:gd name="connsiteY59" fmla="*/ 7480 h 10000"/>
                    <a:gd name="connsiteX60" fmla="*/ 10000 w 10000"/>
                    <a:gd name="connsiteY60" fmla="*/ 6074 h 10000"/>
                    <a:gd name="connsiteX61" fmla="*/ 10000 w 10000"/>
                    <a:gd name="connsiteY61" fmla="*/ 6074 h 10000"/>
                    <a:gd name="connsiteX62" fmla="*/ 7778 w 10000"/>
                    <a:gd name="connsiteY62" fmla="*/ 5748 h 10000"/>
                    <a:gd name="connsiteX63" fmla="*/ 6556 w 10000"/>
                    <a:gd name="connsiteY63" fmla="*/ 5564 h 10000"/>
                    <a:gd name="connsiteX64" fmla="*/ 6556 w 10000"/>
                    <a:gd name="connsiteY64" fmla="*/ 5564 h 10000"/>
                    <a:gd name="connsiteX65" fmla="*/ 6556 w 10000"/>
                    <a:gd name="connsiteY65" fmla="*/ 5549 h 10000"/>
                    <a:gd name="connsiteX66" fmla="*/ 6556 w 10000"/>
                    <a:gd name="connsiteY66" fmla="*/ 5456 h 10000"/>
                    <a:gd name="connsiteX67" fmla="*/ 6556 w 10000"/>
                    <a:gd name="connsiteY67" fmla="*/ 5456 h 10000"/>
                    <a:gd name="connsiteX68" fmla="*/ 6389 w 10000"/>
                    <a:gd name="connsiteY68" fmla="*/ 5347 h 10000"/>
                    <a:gd name="connsiteX69" fmla="*/ 6056 w 10000"/>
                    <a:gd name="connsiteY69" fmla="*/ 5178 h 10000"/>
                    <a:gd name="connsiteX70" fmla="*/ 5333 w 10000"/>
                    <a:gd name="connsiteY70" fmla="*/ 4853 h 10000"/>
                    <a:gd name="connsiteX71" fmla="*/ 5333 w 10000"/>
                    <a:gd name="connsiteY71" fmla="*/ 4853 h 10000"/>
                    <a:gd name="connsiteX72" fmla="*/ 5167 w 10000"/>
                    <a:gd name="connsiteY72" fmla="*/ 4807 h 10000"/>
                    <a:gd name="connsiteX73" fmla="*/ 4889 w 10000"/>
                    <a:gd name="connsiteY73" fmla="*/ 4744 h 10000"/>
                    <a:gd name="connsiteX74" fmla="*/ 4056 w 10000"/>
                    <a:gd name="connsiteY74" fmla="*/ 4605 h 10000"/>
                    <a:gd name="connsiteX75" fmla="*/ 2889 w 10000"/>
                    <a:gd name="connsiteY75" fmla="*/ 4436 h 10000"/>
                    <a:gd name="connsiteX76" fmla="*/ 2889 w 10000"/>
                    <a:gd name="connsiteY76" fmla="*/ 4436 h 10000"/>
                    <a:gd name="connsiteX77" fmla="*/ 2389 w 10000"/>
                    <a:gd name="connsiteY77" fmla="*/ 4419 h 10000"/>
                    <a:gd name="connsiteX78" fmla="*/ 2000 w 10000"/>
                    <a:gd name="connsiteY78" fmla="*/ 4403 h 10000"/>
                    <a:gd name="connsiteX79" fmla="*/ 1889 w 10000"/>
                    <a:gd name="connsiteY79" fmla="*/ 4388 h 10000"/>
                    <a:gd name="connsiteX80" fmla="*/ 1778 w 10000"/>
                    <a:gd name="connsiteY80" fmla="*/ 4373 h 10000"/>
                    <a:gd name="connsiteX81" fmla="*/ 1778 w 10000"/>
                    <a:gd name="connsiteY81" fmla="*/ 4373 h 10000"/>
                    <a:gd name="connsiteX82" fmla="*/ 1667 w 10000"/>
                    <a:gd name="connsiteY82" fmla="*/ 4311 h 10000"/>
                    <a:gd name="connsiteX83" fmla="*/ 1500 w 10000"/>
                    <a:gd name="connsiteY83" fmla="*/ 4204 h 10000"/>
                    <a:gd name="connsiteX84" fmla="*/ 1444 w 10000"/>
                    <a:gd name="connsiteY84" fmla="*/ 4142 h 10000"/>
                    <a:gd name="connsiteX85" fmla="*/ 1444 w 10000"/>
                    <a:gd name="connsiteY85" fmla="*/ 4079 h 10000"/>
                    <a:gd name="connsiteX86" fmla="*/ 1444 w 10000"/>
                    <a:gd name="connsiteY86" fmla="*/ 4034 h 10000"/>
                    <a:gd name="connsiteX87" fmla="*/ 1556 w 10000"/>
                    <a:gd name="connsiteY87" fmla="*/ 3987 h 10000"/>
                    <a:gd name="connsiteX88" fmla="*/ 1556 w 10000"/>
                    <a:gd name="connsiteY88" fmla="*/ 3987 h 10000"/>
                    <a:gd name="connsiteX89" fmla="*/ 1833 w 10000"/>
                    <a:gd name="connsiteY89" fmla="*/ 3909 h 10000"/>
                    <a:gd name="connsiteX90" fmla="*/ 2111 w 10000"/>
                    <a:gd name="connsiteY90" fmla="*/ 3833 h 10000"/>
                    <a:gd name="connsiteX91" fmla="*/ 2278 w 10000"/>
                    <a:gd name="connsiteY91" fmla="*/ 3787 h 10000"/>
                    <a:gd name="connsiteX92" fmla="*/ 2389 w 10000"/>
                    <a:gd name="connsiteY92" fmla="*/ 3739 h 10000"/>
                    <a:gd name="connsiteX93" fmla="*/ 2389 w 10000"/>
                    <a:gd name="connsiteY93" fmla="*/ 3677 h 10000"/>
                    <a:gd name="connsiteX94" fmla="*/ 2389 w 10000"/>
                    <a:gd name="connsiteY94" fmla="*/ 3601 h 10000"/>
                    <a:gd name="connsiteX95" fmla="*/ 2389 w 10000"/>
                    <a:gd name="connsiteY95" fmla="*/ 3601 h 10000"/>
                    <a:gd name="connsiteX96" fmla="*/ 2167 w 10000"/>
                    <a:gd name="connsiteY96" fmla="*/ 3384 h 10000"/>
                    <a:gd name="connsiteX97" fmla="*/ 1889 w 10000"/>
                    <a:gd name="connsiteY97" fmla="*/ 3091 h 10000"/>
                    <a:gd name="connsiteX98" fmla="*/ 1667 w 10000"/>
                    <a:gd name="connsiteY98" fmla="*/ 2828 h 10000"/>
                    <a:gd name="connsiteX99" fmla="*/ 1611 w 10000"/>
                    <a:gd name="connsiteY99" fmla="*/ 2751 h 10000"/>
                    <a:gd name="connsiteX100" fmla="*/ 1611 w 10000"/>
                    <a:gd name="connsiteY100" fmla="*/ 2720 h 10000"/>
                    <a:gd name="connsiteX101" fmla="*/ 1667 w 10000"/>
                    <a:gd name="connsiteY101" fmla="*/ 2704 h 10000"/>
                    <a:gd name="connsiteX102" fmla="*/ 1667 w 10000"/>
                    <a:gd name="connsiteY102" fmla="*/ 2704 h 10000"/>
                    <a:gd name="connsiteX103" fmla="*/ 2000 w 10000"/>
                    <a:gd name="connsiteY103" fmla="*/ 2690 h 10000"/>
                    <a:gd name="connsiteX104" fmla="*/ 2222 w 10000"/>
                    <a:gd name="connsiteY104" fmla="*/ 2690 h 10000"/>
                    <a:gd name="connsiteX105" fmla="*/ 2389 w 10000"/>
                    <a:gd name="connsiteY105" fmla="*/ 2704 h 10000"/>
                    <a:gd name="connsiteX106" fmla="*/ 2389 w 10000"/>
                    <a:gd name="connsiteY106" fmla="*/ 2704 h 10000"/>
                    <a:gd name="connsiteX107" fmla="*/ 2444 w 10000"/>
                    <a:gd name="connsiteY107" fmla="*/ 2704 h 10000"/>
                    <a:gd name="connsiteX108" fmla="*/ 2500 w 10000"/>
                    <a:gd name="connsiteY108" fmla="*/ 2674 h 10000"/>
                    <a:gd name="connsiteX109" fmla="*/ 2778 w 10000"/>
                    <a:gd name="connsiteY109" fmla="*/ 2581 h 10000"/>
                    <a:gd name="connsiteX110" fmla="*/ 3500 w 10000"/>
                    <a:gd name="connsiteY110" fmla="*/ 2272 h 10000"/>
                    <a:gd name="connsiteX111" fmla="*/ 4444 w 10000"/>
                    <a:gd name="connsiteY111" fmla="*/ 1825 h 10000"/>
                    <a:gd name="connsiteX112" fmla="*/ 4444 w 10000"/>
                    <a:gd name="connsiteY112" fmla="*/ 1825 h 10000"/>
                    <a:gd name="connsiteX113" fmla="*/ 4444 w 10000"/>
                    <a:gd name="connsiteY113" fmla="*/ 1761 h 10000"/>
                    <a:gd name="connsiteX114" fmla="*/ 4444 w 10000"/>
                    <a:gd name="connsiteY114" fmla="*/ 1621 h 10000"/>
                    <a:gd name="connsiteX115" fmla="*/ 4500 w 10000"/>
                    <a:gd name="connsiteY115" fmla="*/ 1530 h 10000"/>
                    <a:gd name="connsiteX116" fmla="*/ 4611 w 10000"/>
                    <a:gd name="connsiteY116" fmla="*/ 1452 h 10000"/>
                    <a:gd name="connsiteX117" fmla="*/ 4778 w 10000"/>
                    <a:gd name="connsiteY117" fmla="*/ 1360 h 10000"/>
                    <a:gd name="connsiteX118" fmla="*/ 5000 w 10000"/>
                    <a:gd name="connsiteY118" fmla="*/ 1283 h 10000"/>
                    <a:gd name="connsiteX119" fmla="*/ 5000 w 10000"/>
                    <a:gd name="connsiteY119" fmla="*/ 1283 h 10000"/>
                    <a:gd name="connsiteX120" fmla="*/ 5556 w 10000"/>
                    <a:gd name="connsiteY120" fmla="*/ 1129 h 10000"/>
                    <a:gd name="connsiteX121" fmla="*/ 6111 w 10000"/>
                    <a:gd name="connsiteY121" fmla="*/ 927 h 10000"/>
                    <a:gd name="connsiteX122" fmla="*/ 6667 w 10000"/>
                    <a:gd name="connsiteY122" fmla="*/ 741 h 10000"/>
                    <a:gd name="connsiteX123" fmla="*/ 7056 w 10000"/>
                    <a:gd name="connsiteY123" fmla="*/ 573 h 10000"/>
                    <a:gd name="connsiteX124" fmla="*/ 7056 w 10000"/>
                    <a:gd name="connsiteY124" fmla="*/ 573 h 10000"/>
                    <a:gd name="connsiteX125" fmla="*/ 7333 w 10000"/>
                    <a:gd name="connsiteY125" fmla="*/ 418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59 h 10000"/>
                    <a:gd name="connsiteX135" fmla="*/ 10000 w 10000"/>
                    <a:gd name="connsiteY135" fmla="*/ 9459 h 10000"/>
                    <a:gd name="connsiteX136" fmla="*/ 9722 w 10000"/>
                    <a:gd name="connsiteY136" fmla="*/ 9443 h 10000"/>
                    <a:gd name="connsiteX137" fmla="*/ 9389 w 10000"/>
                    <a:gd name="connsiteY137" fmla="*/ 9459 h 10000"/>
                    <a:gd name="connsiteX138" fmla="*/ 9389 w 10000"/>
                    <a:gd name="connsiteY138" fmla="*/ 9459 h 10000"/>
                    <a:gd name="connsiteX139" fmla="*/ 9278 w 10000"/>
                    <a:gd name="connsiteY139" fmla="*/ 9474 h 10000"/>
                    <a:gd name="connsiteX140" fmla="*/ 9056 w 10000"/>
                    <a:gd name="connsiteY140" fmla="*/ 9459 h 10000"/>
                    <a:gd name="connsiteX141" fmla="*/ 8722 w 10000"/>
                    <a:gd name="connsiteY141" fmla="*/ 9412 h 10000"/>
                    <a:gd name="connsiteX142" fmla="*/ 8444 w 10000"/>
                    <a:gd name="connsiteY142" fmla="*/ 9289 h 10000"/>
                    <a:gd name="connsiteX143" fmla="*/ 8444 w 10000"/>
                    <a:gd name="connsiteY143" fmla="*/ 9289 h 10000"/>
                    <a:gd name="connsiteX144" fmla="*/ 8111 w 10000"/>
                    <a:gd name="connsiteY144" fmla="*/ 9088 h 10000"/>
                    <a:gd name="connsiteX145" fmla="*/ 7778 w 10000"/>
                    <a:gd name="connsiteY145" fmla="*/ 9010 h 10000"/>
                    <a:gd name="connsiteX146" fmla="*/ 7556 w 10000"/>
                    <a:gd name="connsiteY146" fmla="*/ 8994 h 10000"/>
                    <a:gd name="connsiteX147" fmla="*/ 7000 w 10000"/>
                    <a:gd name="connsiteY147" fmla="*/ 8963 h 10000"/>
                    <a:gd name="connsiteX148" fmla="*/ 6556 w 10000"/>
                    <a:gd name="connsiteY148" fmla="*/ 8980 h 10000"/>
                    <a:gd name="connsiteX149" fmla="*/ 6222 w 10000"/>
                    <a:gd name="connsiteY149" fmla="*/ 8980 h 10000"/>
                    <a:gd name="connsiteX150" fmla="*/ 6111 w 10000"/>
                    <a:gd name="connsiteY150" fmla="*/ 8963 h 10000"/>
                    <a:gd name="connsiteX151" fmla="*/ 6056 w 10000"/>
                    <a:gd name="connsiteY151" fmla="*/ 8671 h 10000"/>
                    <a:gd name="connsiteX152" fmla="*/ 6056 w 10000"/>
                    <a:gd name="connsiteY152" fmla="*/ 8609 h 10000"/>
                    <a:gd name="connsiteX153" fmla="*/ 5944 w 10000"/>
                    <a:gd name="connsiteY153" fmla="*/ 8532 h 10000"/>
                    <a:gd name="connsiteX154" fmla="*/ 5889 w 10000"/>
                    <a:gd name="connsiteY154" fmla="*/ 8517 h 10000"/>
                    <a:gd name="connsiteX155" fmla="*/ 5667 w 10000"/>
                    <a:gd name="connsiteY155" fmla="*/ 8500 h 10000"/>
                    <a:gd name="connsiteX156" fmla="*/ 4889 w 10000"/>
                    <a:gd name="connsiteY156" fmla="*/ 8624 h 10000"/>
                    <a:gd name="connsiteX157" fmla="*/ 4611 w 10000"/>
                    <a:gd name="connsiteY157" fmla="*/ 8653 h 10000"/>
                    <a:gd name="connsiteX158" fmla="*/ 4500 w 10000"/>
                    <a:gd name="connsiteY158" fmla="*/ 8653 h 10000"/>
                    <a:gd name="connsiteX159" fmla="*/ 4222 w 10000"/>
                    <a:gd name="connsiteY159" fmla="*/ 8500 h 10000"/>
                    <a:gd name="connsiteX160" fmla="*/ 4222 w 10000"/>
                    <a:gd name="connsiteY160" fmla="*/ 8500 h 10000"/>
                    <a:gd name="connsiteX161" fmla="*/ 4111 w 10000"/>
                    <a:gd name="connsiteY161" fmla="*/ 8423 h 10000"/>
                    <a:gd name="connsiteX162" fmla="*/ 4111 w 10000"/>
                    <a:gd name="connsiteY162" fmla="*/ 8330 h 10000"/>
                    <a:gd name="connsiteX163" fmla="*/ 4111 w 10000"/>
                    <a:gd name="connsiteY163" fmla="*/ 8330 h 10000"/>
                    <a:gd name="connsiteX164" fmla="*/ 4278 w 10000"/>
                    <a:gd name="connsiteY164" fmla="*/ 8283 h 10000"/>
                    <a:gd name="connsiteX165" fmla="*/ 4389 w 10000"/>
                    <a:gd name="connsiteY165" fmla="*/ 8268 h 10000"/>
                    <a:gd name="connsiteX166" fmla="*/ 4389 w 10000"/>
                    <a:gd name="connsiteY166" fmla="*/ 8268 h 10000"/>
                    <a:gd name="connsiteX167" fmla="*/ 3722 w 10000"/>
                    <a:gd name="connsiteY167" fmla="*/ 8283 h 10000"/>
                    <a:gd name="connsiteX168" fmla="*/ 3611 w 10000"/>
                    <a:gd name="connsiteY168" fmla="*/ 8299 h 10000"/>
                    <a:gd name="connsiteX169" fmla="*/ 3556 w 10000"/>
                    <a:gd name="connsiteY169" fmla="*/ 8315 h 10000"/>
                    <a:gd name="connsiteX170" fmla="*/ 3556 w 10000"/>
                    <a:gd name="connsiteY170" fmla="*/ 8315 h 10000"/>
                    <a:gd name="connsiteX171" fmla="*/ 3444 w 10000"/>
                    <a:gd name="connsiteY171" fmla="*/ 8376 h 10000"/>
                    <a:gd name="connsiteX172" fmla="*/ 3278 w 10000"/>
                    <a:gd name="connsiteY172" fmla="*/ 8469 h 10000"/>
                    <a:gd name="connsiteX173" fmla="*/ 2667 w 10000"/>
                    <a:gd name="connsiteY173" fmla="*/ 8653 h 10000"/>
                    <a:gd name="connsiteX174" fmla="*/ 889 w 10000"/>
                    <a:gd name="connsiteY174" fmla="*/ 8824 h 10000"/>
                    <a:gd name="connsiteX175" fmla="*/ 500 w 10000"/>
                    <a:gd name="connsiteY175" fmla="*/ 8840 h 10000"/>
                    <a:gd name="connsiteX176" fmla="*/ 222 w 10000"/>
                    <a:gd name="connsiteY176" fmla="*/ 8856 h 10000"/>
                    <a:gd name="connsiteX177" fmla="*/ 0 w 10000"/>
                    <a:gd name="connsiteY177" fmla="*/ 8871 h 10000"/>
                    <a:gd name="connsiteX178" fmla="*/ 722 w 10000"/>
                    <a:gd name="connsiteY178" fmla="*/ 9459 h 10000"/>
                    <a:gd name="connsiteX179" fmla="*/ 944 w 10000"/>
                    <a:gd name="connsiteY179" fmla="*/ 9628 h 10000"/>
                    <a:gd name="connsiteX180" fmla="*/ 1333 w 10000"/>
                    <a:gd name="connsiteY180" fmla="*/ 9830 h 10000"/>
                    <a:gd name="connsiteX181" fmla="*/ 1444 w 10000"/>
                    <a:gd name="connsiteY181" fmla="*/ 9893 h 10000"/>
                    <a:gd name="connsiteX182" fmla="*/ 1500 w 10000"/>
                    <a:gd name="connsiteY182" fmla="*/ 9985 h 10000"/>
                    <a:gd name="connsiteX183" fmla="*/ 1556 w 10000"/>
                    <a:gd name="connsiteY183" fmla="*/ 10000 h 10000"/>
                    <a:gd name="connsiteX184" fmla="*/ 10000 w 10000"/>
                    <a:gd name="connsiteY184" fmla="*/ 9443 h 10000"/>
                    <a:gd name="connsiteX0" fmla="*/ 10000 w 10000"/>
                    <a:gd name="connsiteY0" fmla="*/ 9443 h 9985"/>
                    <a:gd name="connsiteX1" fmla="*/ 10000 w 10000"/>
                    <a:gd name="connsiteY1" fmla="*/ 9443 h 9985"/>
                    <a:gd name="connsiteX2" fmla="*/ 9222 w 10000"/>
                    <a:gd name="connsiteY2" fmla="*/ 9459 h 9985"/>
                    <a:gd name="connsiteX3" fmla="*/ 8944 w 10000"/>
                    <a:gd name="connsiteY3" fmla="*/ 9459 h 9985"/>
                    <a:gd name="connsiteX4" fmla="*/ 8833 w 10000"/>
                    <a:gd name="connsiteY4" fmla="*/ 9443 h 9985"/>
                    <a:gd name="connsiteX5" fmla="*/ 8778 w 10000"/>
                    <a:gd name="connsiteY5" fmla="*/ 9427 h 9985"/>
                    <a:gd name="connsiteX6" fmla="*/ 8778 w 10000"/>
                    <a:gd name="connsiteY6" fmla="*/ 9427 h 9985"/>
                    <a:gd name="connsiteX7" fmla="*/ 8444 w 10000"/>
                    <a:gd name="connsiteY7" fmla="*/ 9242 h 9985"/>
                    <a:gd name="connsiteX8" fmla="*/ 8167 w 10000"/>
                    <a:gd name="connsiteY8" fmla="*/ 9072 h 9985"/>
                    <a:gd name="connsiteX9" fmla="*/ 8167 w 10000"/>
                    <a:gd name="connsiteY9" fmla="*/ 9072 h 9985"/>
                    <a:gd name="connsiteX10" fmla="*/ 8056 w 10000"/>
                    <a:gd name="connsiteY10" fmla="*/ 9042 h 9985"/>
                    <a:gd name="connsiteX11" fmla="*/ 7889 w 10000"/>
                    <a:gd name="connsiteY11" fmla="*/ 9010 h 9985"/>
                    <a:gd name="connsiteX12" fmla="*/ 7444 w 10000"/>
                    <a:gd name="connsiteY12" fmla="*/ 8994 h 9985"/>
                    <a:gd name="connsiteX13" fmla="*/ 6889 w 10000"/>
                    <a:gd name="connsiteY13" fmla="*/ 8980 h 9985"/>
                    <a:gd name="connsiteX14" fmla="*/ 6389 w 10000"/>
                    <a:gd name="connsiteY14" fmla="*/ 8980 h 9985"/>
                    <a:gd name="connsiteX15" fmla="*/ 6389 w 10000"/>
                    <a:gd name="connsiteY15" fmla="*/ 8980 h 9985"/>
                    <a:gd name="connsiteX16" fmla="*/ 6167 w 10000"/>
                    <a:gd name="connsiteY16" fmla="*/ 8963 h 9985"/>
                    <a:gd name="connsiteX17" fmla="*/ 6056 w 10000"/>
                    <a:gd name="connsiteY17" fmla="*/ 8934 h 9985"/>
                    <a:gd name="connsiteX18" fmla="*/ 6000 w 10000"/>
                    <a:gd name="connsiteY18" fmla="*/ 8901 h 9985"/>
                    <a:gd name="connsiteX19" fmla="*/ 6056 w 10000"/>
                    <a:gd name="connsiteY19" fmla="*/ 8716 h 9985"/>
                    <a:gd name="connsiteX20" fmla="*/ 6111 w 10000"/>
                    <a:gd name="connsiteY20" fmla="*/ 8653 h 9985"/>
                    <a:gd name="connsiteX21" fmla="*/ 6056 w 10000"/>
                    <a:gd name="connsiteY21" fmla="*/ 8578 h 9985"/>
                    <a:gd name="connsiteX22" fmla="*/ 6056 w 10000"/>
                    <a:gd name="connsiteY22" fmla="*/ 8578 h 9985"/>
                    <a:gd name="connsiteX23" fmla="*/ 6000 w 10000"/>
                    <a:gd name="connsiteY23" fmla="*/ 8532 h 9985"/>
                    <a:gd name="connsiteX24" fmla="*/ 5944 w 10000"/>
                    <a:gd name="connsiteY24" fmla="*/ 8500 h 9985"/>
                    <a:gd name="connsiteX25" fmla="*/ 5833 w 10000"/>
                    <a:gd name="connsiteY25" fmla="*/ 8500 h 9985"/>
                    <a:gd name="connsiteX26" fmla="*/ 5667 w 10000"/>
                    <a:gd name="connsiteY26" fmla="*/ 8517 h 9985"/>
                    <a:gd name="connsiteX27" fmla="*/ 5333 w 10000"/>
                    <a:gd name="connsiteY27" fmla="*/ 8562 h 9985"/>
                    <a:gd name="connsiteX28" fmla="*/ 4889 w 10000"/>
                    <a:gd name="connsiteY28" fmla="*/ 8639 h 9985"/>
                    <a:gd name="connsiteX29" fmla="*/ 4889 w 10000"/>
                    <a:gd name="connsiteY29" fmla="*/ 8639 h 9985"/>
                    <a:gd name="connsiteX30" fmla="*/ 4611 w 10000"/>
                    <a:gd name="connsiteY30" fmla="*/ 8653 h 9985"/>
                    <a:gd name="connsiteX31" fmla="*/ 4500 w 10000"/>
                    <a:gd name="connsiteY31" fmla="*/ 8653 h 9985"/>
                    <a:gd name="connsiteX32" fmla="*/ 4444 w 10000"/>
                    <a:gd name="connsiteY32" fmla="*/ 8639 h 9985"/>
                    <a:gd name="connsiteX33" fmla="*/ 4222 w 10000"/>
                    <a:gd name="connsiteY33" fmla="*/ 8500 h 9985"/>
                    <a:gd name="connsiteX34" fmla="*/ 4222 w 10000"/>
                    <a:gd name="connsiteY34" fmla="*/ 8500 h 9985"/>
                    <a:gd name="connsiteX35" fmla="*/ 4111 w 10000"/>
                    <a:gd name="connsiteY35" fmla="*/ 8454 h 9985"/>
                    <a:gd name="connsiteX36" fmla="*/ 4111 w 10000"/>
                    <a:gd name="connsiteY36" fmla="*/ 8408 h 9985"/>
                    <a:gd name="connsiteX37" fmla="*/ 4111 w 10000"/>
                    <a:gd name="connsiteY37" fmla="*/ 8376 h 9985"/>
                    <a:gd name="connsiteX38" fmla="*/ 4167 w 10000"/>
                    <a:gd name="connsiteY38" fmla="*/ 8345 h 9985"/>
                    <a:gd name="connsiteX39" fmla="*/ 4278 w 10000"/>
                    <a:gd name="connsiteY39" fmla="*/ 8283 h 9985"/>
                    <a:gd name="connsiteX40" fmla="*/ 4389 w 10000"/>
                    <a:gd name="connsiteY40" fmla="*/ 8268 h 9985"/>
                    <a:gd name="connsiteX41" fmla="*/ 4389 w 10000"/>
                    <a:gd name="connsiteY41" fmla="*/ 8268 h 9985"/>
                    <a:gd name="connsiteX42" fmla="*/ 4389 w 10000"/>
                    <a:gd name="connsiteY42" fmla="*/ 8254 h 9985"/>
                    <a:gd name="connsiteX43" fmla="*/ 4444 w 10000"/>
                    <a:gd name="connsiteY43" fmla="*/ 8238 h 9985"/>
                    <a:gd name="connsiteX44" fmla="*/ 7986 w 10000"/>
                    <a:gd name="connsiteY44" fmla="*/ 7998 h 9985"/>
                    <a:gd name="connsiteX45" fmla="*/ 8389 w 10000"/>
                    <a:gd name="connsiteY45" fmla="*/ 8006 h 9985"/>
                    <a:gd name="connsiteX46" fmla="*/ 8389 w 10000"/>
                    <a:gd name="connsiteY46" fmla="*/ 8006 h 9985"/>
                    <a:gd name="connsiteX47" fmla="*/ 8667 w 10000"/>
                    <a:gd name="connsiteY47" fmla="*/ 7974 h 9985"/>
                    <a:gd name="connsiteX48" fmla="*/ 8889 w 10000"/>
                    <a:gd name="connsiteY48" fmla="*/ 7898 h 9985"/>
                    <a:gd name="connsiteX49" fmla="*/ 8833 w 10000"/>
                    <a:gd name="connsiteY49" fmla="*/ 7867 h 9985"/>
                    <a:gd name="connsiteX50" fmla="*/ 8833 w 10000"/>
                    <a:gd name="connsiteY50" fmla="*/ 7837 h 9985"/>
                    <a:gd name="connsiteX51" fmla="*/ 8556 w 10000"/>
                    <a:gd name="connsiteY51" fmla="*/ 7758 h 9985"/>
                    <a:gd name="connsiteX52" fmla="*/ 6556 w 10000"/>
                    <a:gd name="connsiteY52" fmla="*/ 7480 h 9985"/>
                    <a:gd name="connsiteX53" fmla="*/ 6556 w 10000"/>
                    <a:gd name="connsiteY53" fmla="*/ 7480 h 9985"/>
                    <a:gd name="connsiteX54" fmla="*/ 6333 w 10000"/>
                    <a:gd name="connsiteY54" fmla="*/ 7434 h 9985"/>
                    <a:gd name="connsiteX55" fmla="*/ 6167 w 10000"/>
                    <a:gd name="connsiteY55" fmla="*/ 7387 h 9985"/>
                    <a:gd name="connsiteX56" fmla="*/ 6056 w 10000"/>
                    <a:gd name="connsiteY56" fmla="*/ 7341 h 9985"/>
                    <a:gd name="connsiteX57" fmla="*/ 6056 w 10000"/>
                    <a:gd name="connsiteY57" fmla="*/ 7341 h 9985"/>
                    <a:gd name="connsiteX58" fmla="*/ 8056 w 10000"/>
                    <a:gd name="connsiteY58" fmla="*/ 7325 h 9985"/>
                    <a:gd name="connsiteX59" fmla="*/ 10000 w 10000"/>
                    <a:gd name="connsiteY59" fmla="*/ 7480 h 9985"/>
                    <a:gd name="connsiteX60" fmla="*/ 10000 w 10000"/>
                    <a:gd name="connsiteY60" fmla="*/ 6074 h 9985"/>
                    <a:gd name="connsiteX61" fmla="*/ 10000 w 10000"/>
                    <a:gd name="connsiteY61" fmla="*/ 6074 h 9985"/>
                    <a:gd name="connsiteX62" fmla="*/ 7778 w 10000"/>
                    <a:gd name="connsiteY62" fmla="*/ 5748 h 9985"/>
                    <a:gd name="connsiteX63" fmla="*/ 6556 w 10000"/>
                    <a:gd name="connsiteY63" fmla="*/ 5564 h 9985"/>
                    <a:gd name="connsiteX64" fmla="*/ 6556 w 10000"/>
                    <a:gd name="connsiteY64" fmla="*/ 5564 h 9985"/>
                    <a:gd name="connsiteX65" fmla="*/ 6556 w 10000"/>
                    <a:gd name="connsiteY65" fmla="*/ 5549 h 9985"/>
                    <a:gd name="connsiteX66" fmla="*/ 6556 w 10000"/>
                    <a:gd name="connsiteY66" fmla="*/ 5456 h 9985"/>
                    <a:gd name="connsiteX67" fmla="*/ 6556 w 10000"/>
                    <a:gd name="connsiteY67" fmla="*/ 5456 h 9985"/>
                    <a:gd name="connsiteX68" fmla="*/ 6389 w 10000"/>
                    <a:gd name="connsiteY68" fmla="*/ 5347 h 9985"/>
                    <a:gd name="connsiteX69" fmla="*/ 6056 w 10000"/>
                    <a:gd name="connsiteY69" fmla="*/ 5178 h 9985"/>
                    <a:gd name="connsiteX70" fmla="*/ 5333 w 10000"/>
                    <a:gd name="connsiteY70" fmla="*/ 4853 h 9985"/>
                    <a:gd name="connsiteX71" fmla="*/ 5333 w 10000"/>
                    <a:gd name="connsiteY71" fmla="*/ 4853 h 9985"/>
                    <a:gd name="connsiteX72" fmla="*/ 5167 w 10000"/>
                    <a:gd name="connsiteY72" fmla="*/ 4807 h 9985"/>
                    <a:gd name="connsiteX73" fmla="*/ 4889 w 10000"/>
                    <a:gd name="connsiteY73" fmla="*/ 4744 h 9985"/>
                    <a:gd name="connsiteX74" fmla="*/ 4056 w 10000"/>
                    <a:gd name="connsiteY74" fmla="*/ 4605 h 9985"/>
                    <a:gd name="connsiteX75" fmla="*/ 2889 w 10000"/>
                    <a:gd name="connsiteY75" fmla="*/ 4436 h 9985"/>
                    <a:gd name="connsiteX76" fmla="*/ 2889 w 10000"/>
                    <a:gd name="connsiteY76" fmla="*/ 4436 h 9985"/>
                    <a:gd name="connsiteX77" fmla="*/ 2389 w 10000"/>
                    <a:gd name="connsiteY77" fmla="*/ 4419 h 9985"/>
                    <a:gd name="connsiteX78" fmla="*/ 2000 w 10000"/>
                    <a:gd name="connsiteY78" fmla="*/ 4403 h 9985"/>
                    <a:gd name="connsiteX79" fmla="*/ 1889 w 10000"/>
                    <a:gd name="connsiteY79" fmla="*/ 4388 h 9985"/>
                    <a:gd name="connsiteX80" fmla="*/ 1778 w 10000"/>
                    <a:gd name="connsiteY80" fmla="*/ 4373 h 9985"/>
                    <a:gd name="connsiteX81" fmla="*/ 1778 w 10000"/>
                    <a:gd name="connsiteY81" fmla="*/ 4373 h 9985"/>
                    <a:gd name="connsiteX82" fmla="*/ 1667 w 10000"/>
                    <a:gd name="connsiteY82" fmla="*/ 4311 h 9985"/>
                    <a:gd name="connsiteX83" fmla="*/ 1500 w 10000"/>
                    <a:gd name="connsiteY83" fmla="*/ 4204 h 9985"/>
                    <a:gd name="connsiteX84" fmla="*/ 1444 w 10000"/>
                    <a:gd name="connsiteY84" fmla="*/ 4142 h 9985"/>
                    <a:gd name="connsiteX85" fmla="*/ 1444 w 10000"/>
                    <a:gd name="connsiteY85" fmla="*/ 4079 h 9985"/>
                    <a:gd name="connsiteX86" fmla="*/ 1444 w 10000"/>
                    <a:gd name="connsiteY86" fmla="*/ 4034 h 9985"/>
                    <a:gd name="connsiteX87" fmla="*/ 1556 w 10000"/>
                    <a:gd name="connsiteY87" fmla="*/ 3987 h 9985"/>
                    <a:gd name="connsiteX88" fmla="*/ 1556 w 10000"/>
                    <a:gd name="connsiteY88" fmla="*/ 3987 h 9985"/>
                    <a:gd name="connsiteX89" fmla="*/ 1833 w 10000"/>
                    <a:gd name="connsiteY89" fmla="*/ 3909 h 9985"/>
                    <a:gd name="connsiteX90" fmla="*/ 2111 w 10000"/>
                    <a:gd name="connsiteY90" fmla="*/ 3833 h 9985"/>
                    <a:gd name="connsiteX91" fmla="*/ 2278 w 10000"/>
                    <a:gd name="connsiteY91" fmla="*/ 3787 h 9985"/>
                    <a:gd name="connsiteX92" fmla="*/ 2389 w 10000"/>
                    <a:gd name="connsiteY92" fmla="*/ 3739 h 9985"/>
                    <a:gd name="connsiteX93" fmla="*/ 2389 w 10000"/>
                    <a:gd name="connsiteY93" fmla="*/ 3677 h 9985"/>
                    <a:gd name="connsiteX94" fmla="*/ 2389 w 10000"/>
                    <a:gd name="connsiteY94" fmla="*/ 3601 h 9985"/>
                    <a:gd name="connsiteX95" fmla="*/ 2389 w 10000"/>
                    <a:gd name="connsiteY95" fmla="*/ 3601 h 9985"/>
                    <a:gd name="connsiteX96" fmla="*/ 2167 w 10000"/>
                    <a:gd name="connsiteY96" fmla="*/ 3384 h 9985"/>
                    <a:gd name="connsiteX97" fmla="*/ 1889 w 10000"/>
                    <a:gd name="connsiteY97" fmla="*/ 3091 h 9985"/>
                    <a:gd name="connsiteX98" fmla="*/ 1667 w 10000"/>
                    <a:gd name="connsiteY98" fmla="*/ 2828 h 9985"/>
                    <a:gd name="connsiteX99" fmla="*/ 1611 w 10000"/>
                    <a:gd name="connsiteY99" fmla="*/ 2751 h 9985"/>
                    <a:gd name="connsiteX100" fmla="*/ 1611 w 10000"/>
                    <a:gd name="connsiteY100" fmla="*/ 2720 h 9985"/>
                    <a:gd name="connsiteX101" fmla="*/ 1667 w 10000"/>
                    <a:gd name="connsiteY101" fmla="*/ 2704 h 9985"/>
                    <a:gd name="connsiteX102" fmla="*/ 1667 w 10000"/>
                    <a:gd name="connsiteY102" fmla="*/ 2704 h 9985"/>
                    <a:gd name="connsiteX103" fmla="*/ 2000 w 10000"/>
                    <a:gd name="connsiteY103" fmla="*/ 2690 h 9985"/>
                    <a:gd name="connsiteX104" fmla="*/ 2222 w 10000"/>
                    <a:gd name="connsiteY104" fmla="*/ 2690 h 9985"/>
                    <a:gd name="connsiteX105" fmla="*/ 2389 w 10000"/>
                    <a:gd name="connsiteY105" fmla="*/ 2704 h 9985"/>
                    <a:gd name="connsiteX106" fmla="*/ 2389 w 10000"/>
                    <a:gd name="connsiteY106" fmla="*/ 2704 h 9985"/>
                    <a:gd name="connsiteX107" fmla="*/ 2444 w 10000"/>
                    <a:gd name="connsiteY107" fmla="*/ 2704 h 9985"/>
                    <a:gd name="connsiteX108" fmla="*/ 2500 w 10000"/>
                    <a:gd name="connsiteY108" fmla="*/ 2674 h 9985"/>
                    <a:gd name="connsiteX109" fmla="*/ 2778 w 10000"/>
                    <a:gd name="connsiteY109" fmla="*/ 2581 h 9985"/>
                    <a:gd name="connsiteX110" fmla="*/ 3500 w 10000"/>
                    <a:gd name="connsiteY110" fmla="*/ 2272 h 9985"/>
                    <a:gd name="connsiteX111" fmla="*/ 4444 w 10000"/>
                    <a:gd name="connsiteY111" fmla="*/ 1825 h 9985"/>
                    <a:gd name="connsiteX112" fmla="*/ 4444 w 10000"/>
                    <a:gd name="connsiteY112" fmla="*/ 1825 h 9985"/>
                    <a:gd name="connsiteX113" fmla="*/ 4444 w 10000"/>
                    <a:gd name="connsiteY113" fmla="*/ 1761 h 9985"/>
                    <a:gd name="connsiteX114" fmla="*/ 4444 w 10000"/>
                    <a:gd name="connsiteY114" fmla="*/ 1621 h 9985"/>
                    <a:gd name="connsiteX115" fmla="*/ 4500 w 10000"/>
                    <a:gd name="connsiteY115" fmla="*/ 1530 h 9985"/>
                    <a:gd name="connsiteX116" fmla="*/ 4611 w 10000"/>
                    <a:gd name="connsiteY116" fmla="*/ 1452 h 9985"/>
                    <a:gd name="connsiteX117" fmla="*/ 4778 w 10000"/>
                    <a:gd name="connsiteY117" fmla="*/ 1360 h 9985"/>
                    <a:gd name="connsiteX118" fmla="*/ 5000 w 10000"/>
                    <a:gd name="connsiteY118" fmla="*/ 1283 h 9985"/>
                    <a:gd name="connsiteX119" fmla="*/ 5000 w 10000"/>
                    <a:gd name="connsiteY119" fmla="*/ 1283 h 9985"/>
                    <a:gd name="connsiteX120" fmla="*/ 5556 w 10000"/>
                    <a:gd name="connsiteY120" fmla="*/ 1129 h 9985"/>
                    <a:gd name="connsiteX121" fmla="*/ 6111 w 10000"/>
                    <a:gd name="connsiteY121" fmla="*/ 927 h 9985"/>
                    <a:gd name="connsiteX122" fmla="*/ 6667 w 10000"/>
                    <a:gd name="connsiteY122" fmla="*/ 741 h 9985"/>
                    <a:gd name="connsiteX123" fmla="*/ 7056 w 10000"/>
                    <a:gd name="connsiteY123" fmla="*/ 573 h 9985"/>
                    <a:gd name="connsiteX124" fmla="*/ 7056 w 10000"/>
                    <a:gd name="connsiteY124" fmla="*/ 573 h 9985"/>
                    <a:gd name="connsiteX125" fmla="*/ 7333 w 10000"/>
                    <a:gd name="connsiteY125" fmla="*/ 418 h 9985"/>
                    <a:gd name="connsiteX126" fmla="*/ 7667 w 10000"/>
                    <a:gd name="connsiteY126" fmla="*/ 232 h 9985"/>
                    <a:gd name="connsiteX127" fmla="*/ 8000 w 10000"/>
                    <a:gd name="connsiteY127" fmla="*/ 92 h 9985"/>
                    <a:gd name="connsiteX128" fmla="*/ 8167 w 10000"/>
                    <a:gd name="connsiteY128" fmla="*/ 29 h 9985"/>
                    <a:gd name="connsiteX129" fmla="*/ 8333 w 10000"/>
                    <a:gd name="connsiteY129" fmla="*/ 15 h 9985"/>
                    <a:gd name="connsiteX130" fmla="*/ 8333 w 10000"/>
                    <a:gd name="connsiteY130" fmla="*/ 15 h 9985"/>
                    <a:gd name="connsiteX131" fmla="*/ 8667 w 10000"/>
                    <a:gd name="connsiteY131" fmla="*/ 0 h 9985"/>
                    <a:gd name="connsiteX132" fmla="*/ 9111 w 10000"/>
                    <a:gd name="connsiteY132" fmla="*/ 0 h 9985"/>
                    <a:gd name="connsiteX133" fmla="*/ 10000 w 10000"/>
                    <a:gd name="connsiteY133" fmla="*/ 15 h 9985"/>
                    <a:gd name="connsiteX134" fmla="*/ 10000 w 10000"/>
                    <a:gd name="connsiteY134" fmla="*/ 9459 h 9985"/>
                    <a:gd name="connsiteX135" fmla="*/ 10000 w 10000"/>
                    <a:gd name="connsiteY135" fmla="*/ 9459 h 9985"/>
                    <a:gd name="connsiteX136" fmla="*/ 9722 w 10000"/>
                    <a:gd name="connsiteY136" fmla="*/ 9443 h 9985"/>
                    <a:gd name="connsiteX137" fmla="*/ 9389 w 10000"/>
                    <a:gd name="connsiteY137" fmla="*/ 9459 h 9985"/>
                    <a:gd name="connsiteX138" fmla="*/ 9389 w 10000"/>
                    <a:gd name="connsiteY138" fmla="*/ 9459 h 9985"/>
                    <a:gd name="connsiteX139" fmla="*/ 9278 w 10000"/>
                    <a:gd name="connsiteY139" fmla="*/ 9474 h 9985"/>
                    <a:gd name="connsiteX140" fmla="*/ 9056 w 10000"/>
                    <a:gd name="connsiteY140" fmla="*/ 9459 h 9985"/>
                    <a:gd name="connsiteX141" fmla="*/ 8722 w 10000"/>
                    <a:gd name="connsiteY141" fmla="*/ 9412 h 9985"/>
                    <a:gd name="connsiteX142" fmla="*/ 8444 w 10000"/>
                    <a:gd name="connsiteY142" fmla="*/ 9289 h 9985"/>
                    <a:gd name="connsiteX143" fmla="*/ 8444 w 10000"/>
                    <a:gd name="connsiteY143" fmla="*/ 9289 h 9985"/>
                    <a:gd name="connsiteX144" fmla="*/ 8111 w 10000"/>
                    <a:gd name="connsiteY144" fmla="*/ 9088 h 9985"/>
                    <a:gd name="connsiteX145" fmla="*/ 7778 w 10000"/>
                    <a:gd name="connsiteY145" fmla="*/ 9010 h 9985"/>
                    <a:gd name="connsiteX146" fmla="*/ 7556 w 10000"/>
                    <a:gd name="connsiteY146" fmla="*/ 8994 h 9985"/>
                    <a:gd name="connsiteX147" fmla="*/ 7000 w 10000"/>
                    <a:gd name="connsiteY147" fmla="*/ 8963 h 9985"/>
                    <a:gd name="connsiteX148" fmla="*/ 6556 w 10000"/>
                    <a:gd name="connsiteY148" fmla="*/ 8980 h 9985"/>
                    <a:gd name="connsiteX149" fmla="*/ 6222 w 10000"/>
                    <a:gd name="connsiteY149" fmla="*/ 8980 h 9985"/>
                    <a:gd name="connsiteX150" fmla="*/ 6111 w 10000"/>
                    <a:gd name="connsiteY150" fmla="*/ 8963 h 9985"/>
                    <a:gd name="connsiteX151" fmla="*/ 6056 w 10000"/>
                    <a:gd name="connsiteY151" fmla="*/ 8671 h 9985"/>
                    <a:gd name="connsiteX152" fmla="*/ 6056 w 10000"/>
                    <a:gd name="connsiteY152" fmla="*/ 8609 h 9985"/>
                    <a:gd name="connsiteX153" fmla="*/ 5944 w 10000"/>
                    <a:gd name="connsiteY153" fmla="*/ 8532 h 9985"/>
                    <a:gd name="connsiteX154" fmla="*/ 5889 w 10000"/>
                    <a:gd name="connsiteY154" fmla="*/ 8517 h 9985"/>
                    <a:gd name="connsiteX155" fmla="*/ 5667 w 10000"/>
                    <a:gd name="connsiteY155" fmla="*/ 8500 h 9985"/>
                    <a:gd name="connsiteX156" fmla="*/ 4889 w 10000"/>
                    <a:gd name="connsiteY156" fmla="*/ 8624 h 9985"/>
                    <a:gd name="connsiteX157" fmla="*/ 4611 w 10000"/>
                    <a:gd name="connsiteY157" fmla="*/ 8653 h 9985"/>
                    <a:gd name="connsiteX158" fmla="*/ 4500 w 10000"/>
                    <a:gd name="connsiteY158" fmla="*/ 8653 h 9985"/>
                    <a:gd name="connsiteX159" fmla="*/ 4222 w 10000"/>
                    <a:gd name="connsiteY159" fmla="*/ 8500 h 9985"/>
                    <a:gd name="connsiteX160" fmla="*/ 4222 w 10000"/>
                    <a:gd name="connsiteY160" fmla="*/ 8500 h 9985"/>
                    <a:gd name="connsiteX161" fmla="*/ 4111 w 10000"/>
                    <a:gd name="connsiteY161" fmla="*/ 8423 h 9985"/>
                    <a:gd name="connsiteX162" fmla="*/ 4111 w 10000"/>
                    <a:gd name="connsiteY162" fmla="*/ 8330 h 9985"/>
                    <a:gd name="connsiteX163" fmla="*/ 4111 w 10000"/>
                    <a:gd name="connsiteY163" fmla="*/ 8330 h 9985"/>
                    <a:gd name="connsiteX164" fmla="*/ 4278 w 10000"/>
                    <a:gd name="connsiteY164" fmla="*/ 8283 h 9985"/>
                    <a:gd name="connsiteX165" fmla="*/ 4389 w 10000"/>
                    <a:gd name="connsiteY165" fmla="*/ 8268 h 9985"/>
                    <a:gd name="connsiteX166" fmla="*/ 4389 w 10000"/>
                    <a:gd name="connsiteY166" fmla="*/ 8268 h 9985"/>
                    <a:gd name="connsiteX167" fmla="*/ 3722 w 10000"/>
                    <a:gd name="connsiteY167" fmla="*/ 8283 h 9985"/>
                    <a:gd name="connsiteX168" fmla="*/ 3611 w 10000"/>
                    <a:gd name="connsiteY168" fmla="*/ 8299 h 9985"/>
                    <a:gd name="connsiteX169" fmla="*/ 3556 w 10000"/>
                    <a:gd name="connsiteY169" fmla="*/ 8315 h 9985"/>
                    <a:gd name="connsiteX170" fmla="*/ 3556 w 10000"/>
                    <a:gd name="connsiteY170" fmla="*/ 8315 h 9985"/>
                    <a:gd name="connsiteX171" fmla="*/ 3444 w 10000"/>
                    <a:gd name="connsiteY171" fmla="*/ 8376 h 9985"/>
                    <a:gd name="connsiteX172" fmla="*/ 3278 w 10000"/>
                    <a:gd name="connsiteY172" fmla="*/ 8469 h 9985"/>
                    <a:gd name="connsiteX173" fmla="*/ 2667 w 10000"/>
                    <a:gd name="connsiteY173" fmla="*/ 8653 h 9985"/>
                    <a:gd name="connsiteX174" fmla="*/ 889 w 10000"/>
                    <a:gd name="connsiteY174" fmla="*/ 8824 h 9985"/>
                    <a:gd name="connsiteX175" fmla="*/ 500 w 10000"/>
                    <a:gd name="connsiteY175" fmla="*/ 8840 h 9985"/>
                    <a:gd name="connsiteX176" fmla="*/ 222 w 10000"/>
                    <a:gd name="connsiteY176" fmla="*/ 8856 h 9985"/>
                    <a:gd name="connsiteX177" fmla="*/ 0 w 10000"/>
                    <a:gd name="connsiteY177" fmla="*/ 8871 h 9985"/>
                    <a:gd name="connsiteX178" fmla="*/ 722 w 10000"/>
                    <a:gd name="connsiteY178" fmla="*/ 9459 h 9985"/>
                    <a:gd name="connsiteX179" fmla="*/ 944 w 10000"/>
                    <a:gd name="connsiteY179" fmla="*/ 9628 h 9985"/>
                    <a:gd name="connsiteX180" fmla="*/ 1333 w 10000"/>
                    <a:gd name="connsiteY180" fmla="*/ 9830 h 9985"/>
                    <a:gd name="connsiteX181" fmla="*/ 1444 w 10000"/>
                    <a:gd name="connsiteY181" fmla="*/ 9893 h 9985"/>
                    <a:gd name="connsiteX182" fmla="*/ 1500 w 10000"/>
                    <a:gd name="connsiteY182" fmla="*/ 9985 h 9985"/>
                    <a:gd name="connsiteX183" fmla="*/ 10000 w 10000"/>
                    <a:gd name="connsiteY183" fmla="*/ 9443 h 9985"/>
                    <a:gd name="connsiteX0" fmla="*/ 10000 w 10000"/>
                    <a:gd name="connsiteY0" fmla="*/ 9457 h 10000"/>
                    <a:gd name="connsiteX1" fmla="*/ 10000 w 10000"/>
                    <a:gd name="connsiteY1" fmla="*/ 9457 h 10000"/>
                    <a:gd name="connsiteX2" fmla="*/ 9222 w 10000"/>
                    <a:gd name="connsiteY2" fmla="*/ 9473 h 10000"/>
                    <a:gd name="connsiteX3" fmla="*/ 8944 w 10000"/>
                    <a:gd name="connsiteY3" fmla="*/ 9473 h 10000"/>
                    <a:gd name="connsiteX4" fmla="*/ 8833 w 10000"/>
                    <a:gd name="connsiteY4" fmla="*/ 9457 h 10000"/>
                    <a:gd name="connsiteX5" fmla="*/ 8778 w 10000"/>
                    <a:gd name="connsiteY5" fmla="*/ 9441 h 10000"/>
                    <a:gd name="connsiteX6" fmla="*/ 8778 w 10000"/>
                    <a:gd name="connsiteY6" fmla="*/ 9441 h 10000"/>
                    <a:gd name="connsiteX7" fmla="*/ 8444 w 10000"/>
                    <a:gd name="connsiteY7" fmla="*/ 9256 h 10000"/>
                    <a:gd name="connsiteX8" fmla="*/ 8167 w 10000"/>
                    <a:gd name="connsiteY8" fmla="*/ 9086 h 10000"/>
                    <a:gd name="connsiteX9" fmla="*/ 8167 w 10000"/>
                    <a:gd name="connsiteY9" fmla="*/ 9086 h 10000"/>
                    <a:gd name="connsiteX10" fmla="*/ 8056 w 10000"/>
                    <a:gd name="connsiteY10" fmla="*/ 9056 h 10000"/>
                    <a:gd name="connsiteX11" fmla="*/ 7889 w 10000"/>
                    <a:gd name="connsiteY11" fmla="*/ 9024 h 10000"/>
                    <a:gd name="connsiteX12" fmla="*/ 7444 w 10000"/>
                    <a:gd name="connsiteY12" fmla="*/ 9008 h 10000"/>
                    <a:gd name="connsiteX13" fmla="*/ 6889 w 10000"/>
                    <a:gd name="connsiteY13" fmla="*/ 8993 h 10000"/>
                    <a:gd name="connsiteX14" fmla="*/ 6389 w 10000"/>
                    <a:gd name="connsiteY14" fmla="*/ 8993 h 10000"/>
                    <a:gd name="connsiteX15" fmla="*/ 6389 w 10000"/>
                    <a:gd name="connsiteY15" fmla="*/ 8993 h 10000"/>
                    <a:gd name="connsiteX16" fmla="*/ 6167 w 10000"/>
                    <a:gd name="connsiteY16" fmla="*/ 8976 h 10000"/>
                    <a:gd name="connsiteX17" fmla="*/ 6056 w 10000"/>
                    <a:gd name="connsiteY17" fmla="*/ 8947 h 10000"/>
                    <a:gd name="connsiteX18" fmla="*/ 6000 w 10000"/>
                    <a:gd name="connsiteY18" fmla="*/ 8914 h 10000"/>
                    <a:gd name="connsiteX19" fmla="*/ 6056 w 10000"/>
                    <a:gd name="connsiteY19" fmla="*/ 8729 h 10000"/>
                    <a:gd name="connsiteX20" fmla="*/ 6111 w 10000"/>
                    <a:gd name="connsiteY20" fmla="*/ 8666 h 10000"/>
                    <a:gd name="connsiteX21" fmla="*/ 6056 w 10000"/>
                    <a:gd name="connsiteY21" fmla="*/ 8591 h 10000"/>
                    <a:gd name="connsiteX22" fmla="*/ 6056 w 10000"/>
                    <a:gd name="connsiteY22" fmla="*/ 8591 h 10000"/>
                    <a:gd name="connsiteX23" fmla="*/ 6000 w 10000"/>
                    <a:gd name="connsiteY23" fmla="*/ 8545 h 10000"/>
                    <a:gd name="connsiteX24" fmla="*/ 5944 w 10000"/>
                    <a:gd name="connsiteY24" fmla="*/ 8513 h 10000"/>
                    <a:gd name="connsiteX25" fmla="*/ 5833 w 10000"/>
                    <a:gd name="connsiteY25" fmla="*/ 8513 h 10000"/>
                    <a:gd name="connsiteX26" fmla="*/ 5667 w 10000"/>
                    <a:gd name="connsiteY26" fmla="*/ 8530 h 10000"/>
                    <a:gd name="connsiteX27" fmla="*/ 5333 w 10000"/>
                    <a:gd name="connsiteY27" fmla="*/ 8575 h 10000"/>
                    <a:gd name="connsiteX28" fmla="*/ 4889 w 10000"/>
                    <a:gd name="connsiteY28" fmla="*/ 8652 h 10000"/>
                    <a:gd name="connsiteX29" fmla="*/ 4889 w 10000"/>
                    <a:gd name="connsiteY29" fmla="*/ 8652 h 10000"/>
                    <a:gd name="connsiteX30" fmla="*/ 4611 w 10000"/>
                    <a:gd name="connsiteY30" fmla="*/ 8666 h 10000"/>
                    <a:gd name="connsiteX31" fmla="*/ 4500 w 10000"/>
                    <a:gd name="connsiteY31" fmla="*/ 8666 h 10000"/>
                    <a:gd name="connsiteX32" fmla="*/ 4444 w 10000"/>
                    <a:gd name="connsiteY32" fmla="*/ 8652 h 10000"/>
                    <a:gd name="connsiteX33" fmla="*/ 4222 w 10000"/>
                    <a:gd name="connsiteY33" fmla="*/ 8513 h 10000"/>
                    <a:gd name="connsiteX34" fmla="*/ 4222 w 10000"/>
                    <a:gd name="connsiteY34" fmla="*/ 8513 h 10000"/>
                    <a:gd name="connsiteX35" fmla="*/ 4111 w 10000"/>
                    <a:gd name="connsiteY35" fmla="*/ 8467 h 10000"/>
                    <a:gd name="connsiteX36" fmla="*/ 4111 w 10000"/>
                    <a:gd name="connsiteY36" fmla="*/ 8421 h 10000"/>
                    <a:gd name="connsiteX37" fmla="*/ 4111 w 10000"/>
                    <a:gd name="connsiteY37" fmla="*/ 8389 h 10000"/>
                    <a:gd name="connsiteX38" fmla="*/ 4167 w 10000"/>
                    <a:gd name="connsiteY38" fmla="*/ 8358 h 10000"/>
                    <a:gd name="connsiteX39" fmla="*/ 4278 w 10000"/>
                    <a:gd name="connsiteY39" fmla="*/ 8295 h 10000"/>
                    <a:gd name="connsiteX40" fmla="*/ 4389 w 10000"/>
                    <a:gd name="connsiteY40" fmla="*/ 8280 h 10000"/>
                    <a:gd name="connsiteX41" fmla="*/ 4389 w 10000"/>
                    <a:gd name="connsiteY41" fmla="*/ 8280 h 10000"/>
                    <a:gd name="connsiteX42" fmla="*/ 4389 w 10000"/>
                    <a:gd name="connsiteY42" fmla="*/ 8266 h 10000"/>
                    <a:gd name="connsiteX43" fmla="*/ 4444 w 10000"/>
                    <a:gd name="connsiteY43" fmla="*/ 8250 h 10000"/>
                    <a:gd name="connsiteX44" fmla="*/ 7986 w 10000"/>
                    <a:gd name="connsiteY44" fmla="*/ 8010 h 10000"/>
                    <a:gd name="connsiteX45" fmla="*/ 8389 w 10000"/>
                    <a:gd name="connsiteY45" fmla="*/ 8018 h 10000"/>
                    <a:gd name="connsiteX46" fmla="*/ 8389 w 10000"/>
                    <a:gd name="connsiteY46" fmla="*/ 8018 h 10000"/>
                    <a:gd name="connsiteX47" fmla="*/ 8667 w 10000"/>
                    <a:gd name="connsiteY47" fmla="*/ 7986 h 10000"/>
                    <a:gd name="connsiteX48" fmla="*/ 8889 w 10000"/>
                    <a:gd name="connsiteY48" fmla="*/ 7910 h 10000"/>
                    <a:gd name="connsiteX49" fmla="*/ 8833 w 10000"/>
                    <a:gd name="connsiteY49" fmla="*/ 7879 h 10000"/>
                    <a:gd name="connsiteX50" fmla="*/ 8833 w 10000"/>
                    <a:gd name="connsiteY50" fmla="*/ 7849 h 10000"/>
                    <a:gd name="connsiteX51" fmla="*/ 8556 w 10000"/>
                    <a:gd name="connsiteY51" fmla="*/ 7770 h 10000"/>
                    <a:gd name="connsiteX52" fmla="*/ 6556 w 10000"/>
                    <a:gd name="connsiteY52" fmla="*/ 7491 h 10000"/>
                    <a:gd name="connsiteX53" fmla="*/ 6556 w 10000"/>
                    <a:gd name="connsiteY53" fmla="*/ 7491 h 10000"/>
                    <a:gd name="connsiteX54" fmla="*/ 6333 w 10000"/>
                    <a:gd name="connsiteY54" fmla="*/ 7445 h 10000"/>
                    <a:gd name="connsiteX55" fmla="*/ 6167 w 10000"/>
                    <a:gd name="connsiteY55" fmla="*/ 7398 h 10000"/>
                    <a:gd name="connsiteX56" fmla="*/ 6056 w 10000"/>
                    <a:gd name="connsiteY56" fmla="*/ 7352 h 10000"/>
                    <a:gd name="connsiteX57" fmla="*/ 6056 w 10000"/>
                    <a:gd name="connsiteY57" fmla="*/ 7352 h 10000"/>
                    <a:gd name="connsiteX58" fmla="*/ 8056 w 10000"/>
                    <a:gd name="connsiteY58" fmla="*/ 7336 h 10000"/>
                    <a:gd name="connsiteX59" fmla="*/ 10000 w 10000"/>
                    <a:gd name="connsiteY59" fmla="*/ 7491 h 10000"/>
                    <a:gd name="connsiteX60" fmla="*/ 10000 w 10000"/>
                    <a:gd name="connsiteY60" fmla="*/ 6083 h 10000"/>
                    <a:gd name="connsiteX61" fmla="*/ 10000 w 10000"/>
                    <a:gd name="connsiteY61" fmla="*/ 6083 h 10000"/>
                    <a:gd name="connsiteX62" fmla="*/ 7778 w 10000"/>
                    <a:gd name="connsiteY62" fmla="*/ 5757 h 10000"/>
                    <a:gd name="connsiteX63" fmla="*/ 6556 w 10000"/>
                    <a:gd name="connsiteY63" fmla="*/ 5572 h 10000"/>
                    <a:gd name="connsiteX64" fmla="*/ 6556 w 10000"/>
                    <a:gd name="connsiteY64" fmla="*/ 5572 h 10000"/>
                    <a:gd name="connsiteX65" fmla="*/ 6556 w 10000"/>
                    <a:gd name="connsiteY65" fmla="*/ 5557 h 10000"/>
                    <a:gd name="connsiteX66" fmla="*/ 6556 w 10000"/>
                    <a:gd name="connsiteY66" fmla="*/ 5464 h 10000"/>
                    <a:gd name="connsiteX67" fmla="*/ 6556 w 10000"/>
                    <a:gd name="connsiteY67" fmla="*/ 5464 h 10000"/>
                    <a:gd name="connsiteX68" fmla="*/ 6389 w 10000"/>
                    <a:gd name="connsiteY68" fmla="*/ 5355 h 10000"/>
                    <a:gd name="connsiteX69" fmla="*/ 6056 w 10000"/>
                    <a:gd name="connsiteY69" fmla="*/ 5186 h 10000"/>
                    <a:gd name="connsiteX70" fmla="*/ 5333 w 10000"/>
                    <a:gd name="connsiteY70" fmla="*/ 4860 h 10000"/>
                    <a:gd name="connsiteX71" fmla="*/ 5333 w 10000"/>
                    <a:gd name="connsiteY71" fmla="*/ 4860 h 10000"/>
                    <a:gd name="connsiteX72" fmla="*/ 5167 w 10000"/>
                    <a:gd name="connsiteY72" fmla="*/ 4814 h 10000"/>
                    <a:gd name="connsiteX73" fmla="*/ 4889 w 10000"/>
                    <a:gd name="connsiteY73" fmla="*/ 4751 h 10000"/>
                    <a:gd name="connsiteX74" fmla="*/ 4056 w 10000"/>
                    <a:gd name="connsiteY74" fmla="*/ 4612 h 10000"/>
                    <a:gd name="connsiteX75" fmla="*/ 2889 w 10000"/>
                    <a:gd name="connsiteY75" fmla="*/ 4443 h 10000"/>
                    <a:gd name="connsiteX76" fmla="*/ 2889 w 10000"/>
                    <a:gd name="connsiteY76" fmla="*/ 4443 h 10000"/>
                    <a:gd name="connsiteX77" fmla="*/ 2389 w 10000"/>
                    <a:gd name="connsiteY77" fmla="*/ 4426 h 10000"/>
                    <a:gd name="connsiteX78" fmla="*/ 2000 w 10000"/>
                    <a:gd name="connsiteY78" fmla="*/ 4410 h 10000"/>
                    <a:gd name="connsiteX79" fmla="*/ 1889 w 10000"/>
                    <a:gd name="connsiteY79" fmla="*/ 4395 h 10000"/>
                    <a:gd name="connsiteX80" fmla="*/ 1778 w 10000"/>
                    <a:gd name="connsiteY80" fmla="*/ 4380 h 10000"/>
                    <a:gd name="connsiteX81" fmla="*/ 1778 w 10000"/>
                    <a:gd name="connsiteY81" fmla="*/ 4380 h 10000"/>
                    <a:gd name="connsiteX82" fmla="*/ 1667 w 10000"/>
                    <a:gd name="connsiteY82" fmla="*/ 4317 h 10000"/>
                    <a:gd name="connsiteX83" fmla="*/ 1500 w 10000"/>
                    <a:gd name="connsiteY83" fmla="*/ 4210 h 10000"/>
                    <a:gd name="connsiteX84" fmla="*/ 1444 w 10000"/>
                    <a:gd name="connsiteY84" fmla="*/ 4148 h 10000"/>
                    <a:gd name="connsiteX85" fmla="*/ 1444 w 10000"/>
                    <a:gd name="connsiteY85" fmla="*/ 4085 h 10000"/>
                    <a:gd name="connsiteX86" fmla="*/ 1444 w 10000"/>
                    <a:gd name="connsiteY86" fmla="*/ 4040 h 10000"/>
                    <a:gd name="connsiteX87" fmla="*/ 1556 w 10000"/>
                    <a:gd name="connsiteY87" fmla="*/ 3993 h 10000"/>
                    <a:gd name="connsiteX88" fmla="*/ 1556 w 10000"/>
                    <a:gd name="connsiteY88" fmla="*/ 3993 h 10000"/>
                    <a:gd name="connsiteX89" fmla="*/ 1833 w 10000"/>
                    <a:gd name="connsiteY89" fmla="*/ 3915 h 10000"/>
                    <a:gd name="connsiteX90" fmla="*/ 2111 w 10000"/>
                    <a:gd name="connsiteY90" fmla="*/ 3839 h 10000"/>
                    <a:gd name="connsiteX91" fmla="*/ 2278 w 10000"/>
                    <a:gd name="connsiteY91" fmla="*/ 3793 h 10000"/>
                    <a:gd name="connsiteX92" fmla="*/ 2389 w 10000"/>
                    <a:gd name="connsiteY92" fmla="*/ 3745 h 10000"/>
                    <a:gd name="connsiteX93" fmla="*/ 2389 w 10000"/>
                    <a:gd name="connsiteY93" fmla="*/ 3683 h 10000"/>
                    <a:gd name="connsiteX94" fmla="*/ 2389 w 10000"/>
                    <a:gd name="connsiteY94" fmla="*/ 3606 h 10000"/>
                    <a:gd name="connsiteX95" fmla="*/ 2389 w 10000"/>
                    <a:gd name="connsiteY95" fmla="*/ 3606 h 10000"/>
                    <a:gd name="connsiteX96" fmla="*/ 2167 w 10000"/>
                    <a:gd name="connsiteY96" fmla="*/ 3389 h 10000"/>
                    <a:gd name="connsiteX97" fmla="*/ 1889 w 10000"/>
                    <a:gd name="connsiteY97" fmla="*/ 3096 h 10000"/>
                    <a:gd name="connsiteX98" fmla="*/ 1667 w 10000"/>
                    <a:gd name="connsiteY98" fmla="*/ 2832 h 10000"/>
                    <a:gd name="connsiteX99" fmla="*/ 1611 w 10000"/>
                    <a:gd name="connsiteY99" fmla="*/ 2755 h 10000"/>
                    <a:gd name="connsiteX100" fmla="*/ 1611 w 10000"/>
                    <a:gd name="connsiteY100" fmla="*/ 2724 h 10000"/>
                    <a:gd name="connsiteX101" fmla="*/ 1667 w 10000"/>
                    <a:gd name="connsiteY101" fmla="*/ 2708 h 10000"/>
                    <a:gd name="connsiteX102" fmla="*/ 1667 w 10000"/>
                    <a:gd name="connsiteY102" fmla="*/ 2708 h 10000"/>
                    <a:gd name="connsiteX103" fmla="*/ 2000 w 10000"/>
                    <a:gd name="connsiteY103" fmla="*/ 2694 h 10000"/>
                    <a:gd name="connsiteX104" fmla="*/ 2222 w 10000"/>
                    <a:gd name="connsiteY104" fmla="*/ 2694 h 10000"/>
                    <a:gd name="connsiteX105" fmla="*/ 2389 w 10000"/>
                    <a:gd name="connsiteY105" fmla="*/ 2708 h 10000"/>
                    <a:gd name="connsiteX106" fmla="*/ 2389 w 10000"/>
                    <a:gd name="connsiteY106" fmla="*/ 2708 h 10000"/>
                    <a:gd name="connsiteX107" fmla="*/ 2444 w 10000"/>
                    <a:gd name="connsiteY107" fmla="*/ 2708 h 10000"/>
                    <a:gd name="connsiteX108" fmla="*/ 2500 w 10000"/>
                    <a:gd name="connsiteY108" fmla="*/ 2678 h 10000"/>
                    <a:gd name="connsiteX109" fmla="*/ 2778 w 10000"/>
                    <a:gd name="connsiteY109" fmla="*/ 2585 h 10000"/>
                    <a:gd name="connsiteX110" fmla="*/ 3500 w 10000"/>
                    <a:gd name="connsiteY110" fmla="*/ 2275 h 10000"/>
                    <a:gd name="connsiteX111" fmla="*/ 4444 w 10000"/>
                    <a:gd name="connsiteY111" fmla="*/ 1828 h 10000"/>
                    <a:gd name="connsiteX112" fmla="*/ 4444 w 10000"/>
                    <a:gd name="connsiteY112" fmla="*/ 1828 h 10000"/>
                    <a:gd name="connsiteX113" fmla="*/ 4444 w 10000"/>
                    <a:gd name="connsiteY113" fmla="*/ 1764 h 10000"/>
                    <a:gd name="connsiteX114" fmla="*/ 4444 w 10000"/>
                    <a:gd name="connsiteY114" fmla="*/ 1623 h 10000"/>
                    <a:gd name="connsiteX115" fmla="*/ 4500 w 10000"/>
                    <a:gd name="connsiteY115" fmla="*/ 1532 h 10000"/>
                    <a:gd name="connsiteX116" fmla="*/ 4611 w 10000"/>
                    <a:gd name="connsiteY116" fmla="*/ 1454 h 10000"/>
                    <a:gd name="connsiteX117" fmla="*/ 4778 w 10000"/>
                    <a:gd name="connsiteY117" fmla="*/ 1362 h 10000"/>
                    <a:gd name="connsiteX118" fmla="*/ 5000 w 10000"/>
                    <a:gd name="connsiteY118" fmla="*/ 1285 h 10000"/>
                    <a:gd name="connsiteX119" fmla="*/ 5000 w 10000"/>
                    <a:gd name="connsiteY119" fmla="*/ 1285 h 10000"/>
                    <a:gd name="connsiteX120" fmla="*/ 5556 w 10000"/>
                    <a:gd name="connsiteY120" fmla="*/ 1131 h 10000"/>
                    <a:gd name="connsiteX121" fmla="*/ 6111 w 10000"/>
                    <a:gd name="connsiteY121" fmla="*/ 928 h 10000"/>
                    <a:gd name="connsiteX122" fmla="*/ 6667 w 10000"/>
                    <a:gd name="connsiteY122" fmla="*/ 742 h 10000"/>
                    <a:gd name="connsiteX123" fmla="*/ 7056 w 10000"/>
                    <a:gd name="connsiteY123" fmla="*/ 574 h 10000"/>
                    <a:gd name="connsiteX124" fmla="*/ 7056 w 10000"/>
                    <a:gd name="connsiteY124" fmla="*/ 574 h 10000"/>
                    <a:gd name="connsiteX125" fmla="*/ 7333 w 10000"/>
                    <a:gd name="connsiteY125" fmla="*/ 419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73 h 10000"/>
                    <a:gd name="connsiteX135" fmla="*/ 10000 w 10000"/>
                    <a:gd name="connsiteY135" fmla="*/ 9473 h 10000"/>
                    <a:gd name="connsiteX136" fmla="*/ 9722 w 10000"/>
                    <a:gd name="connsiteY136" fmla="*/ 9457 h 10000"/>
                    <a:gd name="connsiteX137" fmla="*/ 9389 w 10000"/>
                    <a:gd name="connsiteY137" fmla="*/ 9473 h 10000"/>
                    <a:gd name="connsiteX138" fmla="*/ 9389 w 10000"/>
                    <a:gd name="connsiteY138" fmla="*/ 9473 h 10000"/>
                    <a:gd name="connsiteX139" fmla="*/ 9278 w 10000"/>
                    <a:gd name="connsiteY139" fmla="*/ 9488 h 10000"/>
                    <a:gd name="connsiteX140" fmla="*/ 9056 w 10000"/>
                    <a:gd name="connsiteY140" fmla="*/ 9473 h 10000"/>
                    <a:gd name="connsiteX141" fmla="*/ 8722 w 10000"/>
                    <a:gd name="connsiteY141" fmla="*/ 9426 h 10000"/>
                    <a:gd name="connsiteX142" fmla="*/ 8444 w 10000"/>
                    <a:gd name="connsiteY142" fmla="*/ 9303 h 10000"/>
                    <a:gd name="connsiteX143" fmla="*/ 8444 w 10000"/>
                    <a:gd name="connsiteY143" fmla="*/ 9303 h 10000"/>
                    <a:gd name="connsiteX144" fmla="*/ 8111 w 10000"/>
                    <a:gd name="connsiteY144" fmla="*/ 9102 h 10000"/>
                    <a:gd name="connsiteX145" fmla="*/ 7778 w 10000"/>
                    <a:gd name="connsiteY145" fmla="*/ 9024 h 10000"/>
                    <a:gd name="connsiteX146" fmla="*/ 7556 w 10000"/>
                    <a:gd name="connsiteY146" fmla="*/ 9008 h 10000"/>
                    <a:gd name="connsiteX147" fmla="*/ 7000 w 10000"/>
                    <a:gd name="connsiteY147" fmla="*/ 8976 h 10000"/>
                    <a:gd name="connsiteX148" fmla="*/ 6556 w 10000"/>
                    <a:gd name="connsiteY148" fmla="*/ 8993 h 10000"/>
                    <a:gd name="connsiteX149" fmla="*/ 6222 w 10000"/>
                    <a:gd name="connsiteY149" fmla="*/ 8993 h 10000"/>
                    <a:gd name="connsiteX150" fmla="*/ 6111 w 10000"/>
                    <a:gd name="connsiteY150" fmla="*/ 8976 h 10000"/>
                    <a:gd name="connsiteX151" fmla="*/ 6056 w 10000"/>
                    <a:gd name="connsiteY151" fmla="*/ 8684 h 10000"/>
                    <a:gd name="connsiteX152" fmla="*/ 6056 w 10000"/>
                    <a:gd name="connsiteY152" fmla="*/ 8622 h 10000"/>
                    <a:gd name="connsiteX153" fmla="*/ 5944 w 10000"/>
                    <a:gd name="connsiteY153" fmla="*/ 8545 h 10000"/>
                    <a:gd name="connsiteX154" fmla="*/ 5889 w 10000"/>
                    <a:gd name="connsiteY154" fmla="*/ 8530 h 10000"/>
                    <a:gd name="connsiteX155" fmla="*/ 5667 w 10000"/>
                    <a:gd name="connsiteY155" fmla="*/ 8513 h 10000"/>
                    <a:gd name="connsiteX156" fmla="*/ 4889 w 10000"/>
                    <a:gd name="connsiteY156" fmla="*/ 8637 h 10000"/>
                    <a:gd name="connsiteX157" fmla="*/ 4611 w 10000"/>
                    <a:gd name="connsiteY157" fmla="*/ 8666 h 10000"/>
                    <a:gd name="connsiteX158" fmla="*/ 4500 w 10000"/>
                    <a:gd name="connsiteY158" fmla="*/ 8666 h 10000"/>
                    <a:gd name="connsiteX159" fmla="*/ 4222 w 10000"/>
                    <a:gd name="connsiteY159" fmla="*/ 8513 h 10000"/>
                    <a:gd name="connsiteX160" fmla="*/ 4222 w 10000"/>
                    <a:gd name="connsiteY160" fmla="*/ 8513 h 10000"/>
                    <a:gd name="connsiteX161" fmla="*/ 4111 w 10000"/>
                    <a:gd name="connsiteY161" fmla="*/ 8436 h 10000"/>
                    <a:gd name="connsiteX162" fmla="*/ 4111 w 10000"/>
                    <a:gd name="connsiteY162" fmla="*/ 8343 h 10000"/>
                    <a:gd name="connsiteX163" fmla="*/ 4111 w 10000"/>
                    <a:gd name="connsiteY163" fmla="*/ 8343 h 10000"/>
                    <a:gd name="connsiteX164" fmla="*/ 4278 w 10000"/>
                    <a:gd name="connsiteY164" fmla="*/ 8295 h 10000"/>
                    <a:gd name="connsiteX165" fmla="*/ 4389 w 10000"/>
                    <a:gd name="connsiteY165" fmla="*/ 8280 h 10000"/>
                    <a:gd name="connsiteX166" fmla="*/ 4389 w 10000"/>
                    <a:gd name="connsiteY166" fmla="*/ 8280 h 10000"/>
                    <a:gd name="connsiteX167" fmla="*/ 3722 w 10000"/>
                    <a:gd name="connsiteY167" fmla="*/ 8295 h 10000"/>
                    <a:gd name="connsiteX168" fmla="*/ 3611 w 10000"/>
                    <a:gd name="connsiteY168" fmla="*/ 8311 h 10000"/>
                    <a:gd name="connsiteX169" fmla="*/ 3556 w 10000"/>
                    <a:gd name="connsiteY169" fmla="*/ 8327 h 10000"/>
                    <a:gd name="connsiteX170" fmla="*/ 3556 w 10000"/>
                    <a:gd name="connsiteY170" fmla="*/ 8327 h 10000"/>
                    <a:gd name="connsiteX171" fmla="*/ 3444 w 10000"/>
                    <a:gd name="connsiteY171" fmla="*/ 8389 h 10000"/>
                    <a:gd name="connsiteX172" fmla="*/ 3278 w 10000"/>
                    <a:gd name="connsiteY172" fmla="*/ 8482 h 10000"/>
                    <a:gd name="connsiteX173" fmla="*/ 2667 w 10000"/>
                    <a:gd name="connsiteY173" fmla="*/ 8666 h 10000"/>
                    <a:gd name="connsiteX174" fmla="*/ 889 w 10000"/>
                    <a:gd name="connsiteY174" fmla="*/ 8837 h 10000"/>
                    <a:gd name="connsiteX175" fmla="*/ 500 w 10000"/>
                    <a:gd name="connsiteY175" fmla="*/ 8853 h 10000"/>
                    <a:gd name="connsiteX176" fmla="*/ 222 w 10000"/>
                    <a:gd name="connsiteY176" fmla="*/ 8869 h 10000"/>
                    <a:gd name="connsiteX177" fmla="*/ 0 w 10000"/>
                    <a:gd name="connsiteY177" fmla="*/ 8884 h 10000"/>
                    <a:gd name="connsiteX178" fmla="*/ 722 w 10000"/>
                    <a:gd name="connsiteY178" fmla="*/ 9473 h 10000"/>
                    <a:gd name="connsiteX179" fmla="*/ 944 w 10000"/>
                    <a:gd name="connsiteY179" fmla="*/ 9642 h 10000"/>
                    <a:gd name="connsiteX180" fmla="*/ 1333 w 10000"/>
                    <a:gd name="connsiteY180" fmla="*/ 9845 h 10000"/>
                    <a:gd name="connsiteX181" fmla="*/ 1500 w 10000"/>
                    <a:gd name="connsiteY181" fmla="*/ 10000 h 10000"/>
                    <a:gd name="connsiteX182" fmla="*/ 10000 w 10000"/>
                    <a:gd name="connsiteY182" fmla="*/ 9457 h 10000"/>
                    <a:gd name="connsiteX0" fmla="*/ 10000 w 10000"/>
                    <a:gd name="connsiteY0" fmla="*/ 9457 h 10000"/>
                    <a:gd name="connsiteX1" fmla="*/ 10000 w 10000"/>
                    <a:gd name="connsiteY1" fmla="*/ 9457 h 10000"/>
                    <a:gd name="connsiteX2" fmla="*/ 9222 w 10000"/>
                    <a:gd name="connsiteY2" fmla="*/ 9473 h 10000"/>
                    <a:gd name="connsiteX3" fmla="*/ 8944 w 10000"/>
                    <a:gd name="connsiteY3" fmla="*/ 9473 h 10000"/>
                    <a:gd name="connsiteX4" fmla="*/ 8833 w 10000"/>
                    <a:gd name="connsiteY4" fmla="*/ 9457 h 10000"/>
                    <a:gd name="connsiteX5" fmla="*/ 8778 w 10000"/>
                    <a:gd name="connsiteY5" fmla="*/ 9441 h 10000"/>
                    <a:gd name="connsiteX6" fmla="*/ 8778 w 10000"/>
                    <a:gd name="connsiteY6" fmla="*/ 9441 h 10000"/>
                    <a:gd name="connsiteX7" fmla="*/ 8444 w 10000"/>
                    <a:gd name="connsiteY7" fmla="*/ 9256 h 10000"/>
                    <a:gd name="connsiteX8" fmla="*/ 8167 w 10000"/>
                    <a:gd name="connsiteY8" fmla="*/ 9086 h 10000"/>
                    <a:gd name="connsiteX9" fmla="*/ 8167 w 10000"/>
                    <a:gd name="connsiteY9" fmla="*/ 9086 h 10000"/>
                    <a:gd name="connsiteX10" fmla="*/ 8056 w 10000"/>
                    <a:gd name="connsiteY10" fmla="*/ 9056 h 10000"/>
                    <a:gd name="connsiteX11" fmla="*/ 7889 w 10000"/>
                    <a:gd name="connsiteY11" fmla="*/ 9024 h 10000"/>
                    <a:gd name="connsiteX12" fmla="*/ 7444 w 10000"/>
                    <a:gd name="connsiteY12" fmla="*/ 9008 h 10000"/>
                    <a:gd name="connsiteX13" fmla="*/ 6889 w 10000"/>
                    <a:gd name="connsiteY13" fmla="*/ 8993 h 10000"/>
                    <a:gd name="connsiteX14" fmla="*/ 6389 w 10000"/>
                    <a:gd name="connsiteY14" fmla="*/ 8993 h 10000"/>
                    <a:gd name="connsiteX15" fmla="*/ 6389 w 10000"/>
                    <a:gd name="connsiteY15" fmla="*/ 8993 h 10000"/>
                    <a:gd name="connsiteX16" fmla="*/ 6167 w 10000"/>
                    <a:gd name="connsiteY16" fmla="*/ 8976 h 10000"/>
                    <a:gd name="connsiteX17" fmla="*/ 6056 w 10000"/>
                    <a:gd name="connsiteY17" fmla="*/ 8947 h 10000"/>
                    <a:gd name="connsiteX18" fmla="*/ 6000 w 10000"/>
                    <a:gd name="connsiteY18" fmla="*/ 8914 h 10000"/>
                    <a:gd name="connsiteX19" fmla="*/ 6056 w 10000"/>
                    <a:gd name="connsiteY19" fmla="*/ 8729 h 10000"/>
                    <a:gd name="connsiteX20" fmla="*/ 6111 w 10000"/>
                    <a:gd name="connsiteY20" fmla="*/ 8666 h 10000"/>
                    <a:gd name="connsiteX21" fmla="*/ 6056 w 10000"/>
                    <a:gd name="connsiteY21" fmla="*/ 8591 h 10000"/>
                    <a:gd name="connsiteX22" fmla="*/ 6056 w 10000"/>
                    <a:gd name="connsiteY22" fmla="*/ 8591 h 10000"/>
                    <a:gd name="connsiteX23" fmla="*/ 6000 w 10000"/>
                    <a:gd name="connsiteY23" fmla="*/ 8545 h 10000"/>
                    <a:gd name="connsiteX24" fmla="*/ 5944 w 10000"/>
                    <a:gd name="connsiteY24" fmla="*/ 8513 h 10000"/>
                    <a:gd name="connsiteX25" fmla="*/ 5833 w 10000"/>
                    <a:gd name="connsiteY25" fmla="*/ 8513 h 10000"/>
                    <a:gd name="connsiteX26" fmla="*/ 5667 w 10000"/>
                    <a:gd name="connsiteY26" fmla="*/ 8530 h 10000"/>
                    <a:gd name="connsiteX27" fmla="*/ 5333 w 10000"/>
                    <a:gd name="connsiteY27" fmla="*/ 8575 h 10000"/>
                    <a:gd name="connsiteX28" fmla="*/ 4889 w 10000"/>
                    <a:gd name="connsiteY28" fmla="*/ 8652 h 10000"/>
                    <a:gd name="connsiteX29" fmla="*/ 4889 w 10000"/>
                    <a:gd name="connsiteY29" fmla="*/ 8652 h 10000"/>
                    <a:gd name="connsiteX30" fmla="*/ 4611 w 10000"/>
                    <a:gd name="connsiteY30" fmla="*/ 8666 h 10000"/>
                    <a:gd name="connsiteX31" fmla="*/ 4500 w 10000"/>
                    <a:gd name="connsiteY31" fmla="*/ 8666 h 10000"/>
                    <a:gd name="connsiteX32" fmla="*/ 4444 w 10000"/>
                    <a:gd name="connsiteY32" fmla="*/ 8652 h 10000"/>
                    <a:gd name="connsiteX33" fmla="*/ 4222 w 10000"/>
                    <a:gd name="connsiteY33" fmla="*/ 8513 h 10000"/>
                    <a:gd name="connsiteX34" fmla="*/ 4222 w 10000"/>
                    <a:gd name="connsiteY34" fmla="*/ 8513 h 10000"/>
                    <a:gd name="connsiteX35" fmla="*/ 4111 w 10000"/>
                    <a:gd name="connsiteY35" fmla="*/ 8467 h 10000"/>
                    <a:gd name="connsiteX36" fmla="*/ 4111 w 10000"/>
                    <a:gd name="connsiteY36" fmla="*/ 8421 h 10000"/>
                    <a:gd name="connsiteX37" fmla="*/ 4111 w 10000"/>
                    <a:gd name="connsiteY37" fmla="*/ 8389 h 10000"/>
                    <a:gd name="connsiteX38" fmla="*/ 4167 w 10000"/>
                    <a:gd name="connsiteY38" fmla="*/ 8358 h 10000"/>
                    <a:gd name="connsiteX39" fmla="*/ 4278 w 10000"/>
                    <a:gd name="connsiteY39" fmla="*/ 8295 h 10000"/>
                    <a:gd name="connsiteX40" fmla="*/ 4389 w 10000"/>
                    <a:gd name="connsiteY40" fmla="*/ 8280 h 10000"/>
                    <a:gd name="connsiteX41" fmla="*/ 4389 w 10000"/>
                    <a:gd name="connsiteY41" fmla="*/ 8280 h 10000"/>
                    <a:gd name="connsiteX42" fmla="*/ 4389 w 10000"/>
                    <a:gd name="connsiteY42" fmla="*/ 8266 h 10000"/>
                    <a:gd name="connsiteX43" fmla="*/ 4444 w 10000"/>
                    <a:gd name="connsiteY43" fmla="*/ 8250 h 10000"/>
                    <a:gd name="connsiteX44" fmla="*/ 7986 w 10000"/>
                    <a:gd name="connsiteY44" fmla="*/ 8010 h 10000"/>
                    <a:gd name="connsiteX45" fmla="*/ 8389 w 10000"/>
                    <a:gd name="connsiteY45" fmla="*/ 8018 h 10000"/>
                    <a:gd name="connsiteX46" fmla="*/ 8389 w 10000"/>
                    <a:gd name="connsiteY46" fmla="*/ 8018 h 10000"/>
                    <a:gd name="connsiteX47" fmla="*/ 8667 w 10000"/>
                    <a:gd name="connsiteY47" fmla="*/ 7986 h 10000"/>
                    <a:gd name="connsiteX48" fmla="*/ 8889 w 10000"/>
                    <a:gd name="connsiteY48" fmla="*/ 7910 h 10000"/>
                    <a:gd name="connsiteX49" fmla="*/ 8833 w 10000"/>
                    <a:gd name="connsiteY49" fmla="*/ 7879 h 10000"/>
                    <a:gd name="connsiteX50" fmla="*/ 8833 w 10000"/>
                    <a:gd name="connsiteY50" fmla="*/ 7849 h 10000"/>
                    <a:gd name="connsiteX51" fmla="*/ 8556 w 10000"/>
                    <a:gd name="connsiteY51" fmla="*/ 7770 h 10000"/>
                    <a:gd name="connsiteX52" fmla="*/ 6556 w 10000"/>
                    <a:gd name="connsiteY52" fmla="*/ 7491 h 10000"/>
                    <a:gd name="connsiteX53" fmla="*/ 6556 w 10000"/>
                    <a:gd name="connsiteY53" fmla="*/ 7491 h 10000"/>
                    <a:gd name="connsiteX54" fmla="*/ 6333 w 10000"/>
                    <a:gd name="connsiteY54" fmla="*/ 7445 h 10000"/>
                    <a:gd name="connsiteX55" fmla="*/ 6167 w 10000"/>
                    <a:gd name="connsiteY55" fmla="*/ 7398 h 10000"/>
                    <a:gd name="connsiteX56" fmla="*/ 6056 w 10000"/>
                    <a:gd name="connsiteY56" fmla="*/ 7352 h 10000"/>
                    <a:gd name="connsiteX57" fmla="*/ 6056 w 10000"/>
                    <a:gd name="connsiteY57" fmla="*/ 7352 h 10000"/>
                    <a:gd name="connsiteX58" fmla="*/ 8056 w 10000"/>
                    <a:gd name="connsiteY58" fmla="*/ 7336 h 10000"/>
                    <a:gd name="connsiteX59" fmla="*/ 10000 w 10000"/>
                    <a:gd name="connsiteY59" fmla="*/ 7491 h 10000"/>
                    <a:gd name="connsiteX60" fmla="*/ 10000 w 10000"/>
                    <a:gd name="connsiteY60" fmla="*/ 6083 h 10000"/>
                    <a:gd name="connsiteX61" fmla="*/ 10000 w 10000"/>
                    <a:gd name="connsiteY61" fmla="*/ 6083 h 10000"/>
                    <a:gd name="connsiteX62" fmla="*/ 7778 w 10000"/>
                    <a:gd name="connsiteY62" fmla="*/ 5757 h 10000"/>
                    <a:gd name="connsiteX63" fmla="*/ 6556 w 10000"/>
                    <a:gd name="connsiteY63" fmla="*/ 5572 h 10000"/>
                    <a:gd name="connsiteX64" fmla="*/ 6556 w 10000"/>
                    <a:gd name="connsiteY64" fmla="*/ 5572 h 10000"/>
                    <a:gd name="connsiteX65" fmla="*/ 6556 w 10000"/>
                    <a:gd name="connsiteY65" fmla="*/ 5557 h 10000"/>
                    <a:gd name="connsiteX66" fmla="*/ 6556 w 10000"/>
                    <a:gd name="connsiteY66" fmla="*/ 5464 h 10000"/>
                    <a:gd name="connsiteX67" fmla="*/ 6556 w 10000"/>
                    <a:gd name="connsiteY67" fmla="*/ 5464 h 10000"/>
                    <a:gd name="connsiteX68" fmla="*/ 6389 w 10000"/>
                    <a:gd name="connsiteY68" fmla="*/ 5355 h 10000"/>
                    <a:gd name="connsiteX69" fmla="*/ 6056 w 10000"/>
                    <a:gd name="connsiteY69" fmla="*/ 5186 h 10000"/>
                    <a:gd name="connsiteX70" fmla="*/ 5333 w 10000"/>
                    <a:gd name="connsiteY70" fmla="*/ 4860 h 10000"/>
                    <a:gd name="connsiteX71" fmla="*/ 5333 w 10000"/>
                    <a:gd name="connsiteY71" fmla="*/ 4860 h 10000"/>
                    <a:gd name="connsiteX72" fmla="*/ 5167 w 10000"/>
                    <a:gd name="connsiteY72" fmla="*/ 4814 h 10000"/>
                    <a:gd name="connsiteX73" fmla="*/ 4889 w 10000"/>
                    <a:gd name="connsiteY73" fmla="*/ 4751 h 10000"/>
                    <a:gd name="connsiteX74" fmla="*/ 4056 w 10000"/>
                    <a:gd name="connsiteY74" fmla="*/ 4612 h 10000"/>
                    <a:gd name="connsiteX75" fmla="*/ 2889 w 10000"/>
                    <a:gd name="connsiteY75" fmla="*/ 4443 h 10000"/>
                    <a:gd name="connsiteX76" fmla="*/ 2889 w 10000"/>
                    <a:gd name="connsiteY76" fmla="*/ 4443 h 10000"/>
                    <a:gd name="connsiteX77" fmla="*/ 2389 w 10000"/>
                    <a:gd name="connsiteY77" fmla="*/ 4426 h 10000"/>
                    <a:gd name="connsiteX78" fmla="*/ 2000 w 10000"/>
                    <a:gd name="connsiteY78" fmla="*/ 4410 h 10000"/>
                    <a:gd name="connsiteX79" fmla="*/ 1889 w 10000"/>
                    <a:gd name="connsiteY79" fmla="*/ 4395 h 10000"/>
                    <a:gd name="connsiteX80" fmla="*/ 1778 w 10000"/>
                    <a:gd name="connsiteY80" fmla="*/ 4380 h 10000"/>
                    <a:gd name="connsiteX81" fmla="*/ 1778 w 10000"/>
                    <a:gd name="connsiteY81" fmla="*/ 4380 h 10000"/>
                    <a:gd name="connsiteX82" fmla="*/ 1667 w 10000"/>
                    <a:gd name="connsiteY82" fmla="*/ 4317 h 10000"/>
                    <a:gd name="connsiteX83" fmla="*/ 1500 w 10000"/>
                    <a:gd name="connsiteY83" fmla="*/ 4210 h 10000"/>
                    <a:gd name="connsiteX84" fmla="*/ 1444 w 10000"/>
                    <a:gd name="connsiteY84" fmla="*/ 4148 h 10000"/>
                    <a:gd name="connsiteX85" fmla="*/ 1444 w 10000"/>
                    <a:gd name="connsiteY85" fmla="*/ 4085 h 10000"/>
                    <a:gd name="connsiteX86" fmla="*/ 1444 w 10000"/>
                    <a:gd name="connsiteY86" fmla="*/ 4040 h 10000"/>
                    <a:gd name="connsiteX87" fmla="*/ 1556 w 10000"/>
                    <a:gd name="connsiteY87" fmla="*/ 3993 h 10000"/>
                    <a:gd name="connsiteX88" fmla="*/ 1556 w 10000"/>
                    <a:gd name="connsiteY88" fmla="*/ 3993 h 10000"/>
                    <a:gd name="connsiteX89" fmla="*/ 1833 w 10000"/>
                    <a:gd name="connsiteY89" fmla="*/ 3915 h 10000"/>
                    <a:gd name="connsiteX90" fmla="*/ 2111 w 10000"/>
                    <a:gd name="connsiteY90" fmla="*/ 3839 h 10000"/>
                    <a:gd name="connsiteX91" fmla="*/ 2278 w 10000"/>
                    <a:gd name="connsiteY91" fmla="*/ 3793 h 10000"/>
                    <a:gd name="connsiteX92" fmla="*/ 2389 w 10000"/>
                    <a:gd name="connsiteY92" fmla="*/ 3745 h 10000"/>
                    <a:gd name="connsiteX93" fmla="*/ 2389 w 10000"/>
                    <a:gd name="connsiteY93" fmla="*/ 3683 h 10000"/>
                    <a:gd name="connsiteX94" fmla="*/ 2389 w 10000"/>
                    <a:gd name="connsiteY94" fmla="*/ 3606 h 10000"/>
                    <a:gd name="connsiteX95" fmla="*/ 2389 w 10000"/>
                    <a:gd name="connsiteY95" fmla="*/ 3606 h 10000"/>
                    <a:gd name="connsiteX96" fmla="*/ 2167 w 10000"/>
                    <a:gd name="connsiteY96" fmla="*/ 3389 h 10000"/>
                    <a:gd name="connsiteX97" fmla="*/ 1889 w 10000"/>
                    <a:gd name="connsiteY97" fmla="*/ 3096 h 10000"/>
                    <a:gd name="connsiteX98" fmla="*/ 1667 w 10000"/>
                    <a:gd name="connsiteY98" fmla="*/ 2832 h 10000"/>
                    <a:gd name="connsiteX99" fmla="*/ 1611 w 10000"/>
                    <a:gd name="connsiteY99" fmla="*/ 2755 h 10000"/>
                    <a:gd name="connsiteX100" fmla="*/ 1611 w 10000"/>
                    <a:gd name="connsiteY100" fmla="*/ 2724 h 10000"/>
                    <a:gd name="connsiteX101" fmla="*/ 1667 w 10000"/>
                    <a:gd name="connsiteY101" fmla="*/ 2708 h 10000"/>
                    <a:gd name="connsiteX102" fmla="*/ 1667 w 10000"/>
                    <a:gd name="connsiteY102" fmla="*/ 2708 h 10000"/>
                    <a:gd name="connsiteX103" fmla="*/ 2000 w 10000"/>
                    <a:gd name="connsiteY103" fmla="*/ 2694 h 10000"/>
                    <a:gd name="connsiteX104" fmla="*/ 2222 w 10000"/>
                    <a:gd name="connsiteY104" fmla="*/ 2694 h 10000"/>
                    <a:gd name="connsiteX105" fmla="*/ 2389 w 10000"/>
                    <a:gd name="connsiteY105" fmla="*/ 2708 h 10000"/>
                    <a:gd name="connsiteX106" fmla="*/ 2389 w 10000"/>
                    <a:gd name="connsiteY106" fmla="*/ 2708 h 10000"/>
                    <a:gd name="connsiteX107" fmla="*/ 2444 w 10000"/>
                    <a:gd name="connsiteY107" fmla="*/ 2708 h 10000"/>
                    <a:gd name="connsiteX108" fmla="*/ 2500 w 10000"/>
                    <a:gd name="connsiteY108" fmla="*/ 2678 h 10000"/>
                    <a:gd name="connsiteX109" fmla="*/ 2778 w 10000"/>
                    <a:gd name="connsiteY109" fmla="*/ 2585 h 10000"/>
                    <a:gd name="connsiteX110" fmla="*/ 3500 w 10000"/>
                    <a:gd name="connsiteY110" fmla="*/ 2275 h 10000"/>
                    <a:gd name="connsiteX111" fmla="*/ 4444 w 10000"/>
                    <a:gd name="connsiteY111" fmla="*/ 1828 h 10000"/>
                    <a:gd name="connsiteX112" fmla="*/ 4444 w 10000"/>
                    <a:gd name="connsiteY112" fmla="*/ 1828 h 10000"/>
                    <a:gd name="connsiteX113" fmla="*/ 4444 w 10000"/>
                    <a:gd name="connsiteY113" fmla="*/ 1764 h 10000"/>
                    <a:gd name="connsiteX114" fmla="*/ 4444 w 10000"/>
                    <a:gd name="connsiteY114" fmla="*/ 1623 h 10000"/>
                    <a:gd name="connsiteX115" fmla="*/ 4500 w 10000"/>
                    <a:gd name="connsiteY115" fmla="*/ 1532 h 10000"/>
                    <a:gd name="connsiteX116" fmla="*/ 4611 w 10000"/>
                    <a:gd name="connsiteY116" fmla="*/ 1454 h 10000"/>
                    <a:gd name="connsiteX117" fmla="*/ 4778 w 10000"/>
                    <a:gd name="connsiteY117" fmla="*/ 1362 h 10000"/>
                    <a:gd name="connsiteX118" fmla="*/ 5000 w 10000"/>
                    <a:gd name="connsiteY118" fmla="*/ 1285 h 10000"/>
                    <a:gd name="connsiteX119" fmla="*/ 5000 w 10000"/>
                    <a:gd name="connsiteY119" fmla="*/ 1285 h 10000"/>
                    <a:gd name="connsiteX120" fmla="*/ 5556 w 10000"/>
                    <a:gd name="connsiteY120" fmla="*/ 1131 h 10000"/>
                    <a:gd name="connsiteX121" fmla="*/ 6111 w 10000"/>
                    <a:gd name="connsiteY121" fmla="*/ 928 h 10000"/>
                    <a:gd name="connsiteX122" fmla="*/ 6667 w 10000"/>
                    <a:gd name="connsiteY122" fmla="*/ 742 h 10000"/>
                    <a:gd name="connsiteX123" fmla="*/ 7056 w 10000"/>
                    <a:gd name="connsiteY123" fmla="*/ 574 h 10000"/>
                    <a:gd name="connsiteX124" fmla="*/ 7056 w 10000"/>
                    <a:gd name="connsiteY124" fmla="*/ 574 h 10000"/>
                    <a:gd name="connsiteX125" fmla="*/ 7333 w 10000"/>
                    <a:gd name="connsiteY125" fmla="*/ 419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73 h 10000"/>
                    <a:gd name="connsiteX135" fmla="*/ 10000 w 10000"/>
                    <a:gd name="connsiteY135" fmla="*/ 9473 h 10000"/>
                    <a:gd name="connsiteX136" fmla="*/ 9722 w 10000"/>
                    <a:gd name="connsiteY136" fmla="*/ 9457 h 10000"/>
                    <a:gd name="connsiteX137" fmla="*/ 9389 w 10000"/>
                    <a:gd name="connsiteY137" fmla="*/ 9473 h 10000"/>
                    <a:gd name="connsiteX138" fmla="*/ 9389 w 10000"/>
                    <a:gd name="connsiteY138" fmla="*/ 9473 h 10000"/>
                    <a:gd name="connsiteX139" fmla="*/ 9278 w 10000"/>
                    <a:gd name="connsiteY139" fmla="*/ 9488 h 10000"/>
                    <a:gd name="connsiteX140" fmla="*/ 9056 w 10000"/>
                    <a:gd name="connsiteY140" fmla="*/ 9473 h 10000"/>
                    <a:gd name="connsiteX141" fmla="*/ 8722 w 10000"/>
                    <a:gd name="connsiteY141" fmla="*/ 9426 h 10000"/>
                    <a:gd name="connsiteX142" fmla="*/ 8444 w 10000"/>
                    <a:gd name="connsiteY142" fmla="*/ 9303 h 10000"/>
                    <a:gd name="connsiteX143" fmla="*/ 8444 w 10000"/>
                    <a:gd name="connsiteY143" fmla="*/ 9303 h 10000"/>
                    <a:gd name="connsiteX144" fmla="*/ 8111 w 10000"/>
                    <a:gd name="connsiteY144" fmla="*/ 9102 h 10000"/>
                    <a:gd name="connsiteX145" fmla="*/ 7778 w 10000"/>
                    <a:gd name="connsiteY145" fmla="*/ 9024 h 10000"/>
                    <a:gd name="connsiteX146" fmla="*/ 7556 w 10000"/>
                    <a:gd name="connsiteY146" fmla="*/ 9008 h 10000"/>
                    <a:gd name="connsiteX147" fmla="*/ 7000 w 10000"/>
                    <a:gd name="connsiteY147" fmla="*/ 8976 h 10000"/>
                    <a:gd name="connsiteX148" fmla="*/ 6556 w 10000"/>
                    <a:gd name="connsiteY148" fmla="*/ 8993 h 10000"/>
                    <a:gd name="connsiteX149" fmla="*/ 6222 w 10000"/>
                    <a:gd name="connsiteY149" fmla="*/ 8993 h 10000"/>
                    <a:gd name="connsiteX150" fmla="*/ 6111 w 10000"/>
                    <a:gd name="connsiteY150" fmla="*/ 8976 h 10000"/>
                    <a:gd name="connsiteX151" fmla="*/ 6056 w 10000"/>
                    <a:gd name="connsiteY151" fmla="*/ 8684 h 10000"/>
                    <a:gd name="connsiteX152" fmla="*/ 6056 w 10000"/>
                    <a:gd name="connsiteY152" fmla="*/ 8622 h 10000"/>
                    <a:gd name="connsiteX153" fmla="*/ 5944 w 10000"/>
                    <a:gd name="connsiteY153" fmla="*/ 8545 h 10000"/>
                    <a:gd name="connsiteX154" fmla="*/ 5889 w 10000"/>
                    <a:gd name="connsiteY154" fmla="*/ 8530 h 10000"/>
                    <a:gd name="connsiteX155" fmla="*/ 5667 w 10000"/>
                    <a:gd name="connsiteY155" fmla="*/ 8513 h 10000"/>
                    <a:gd name="connsiteX156" fmla="*/ 4889 w 10000"/>
                    <a:gd name="connsiteY156" fmla="*/ 8637 h 10000"/>
                    <a:gd name="connsiteX157" fmla="*/ 4611 w 10000"/>
                    <a:gd name="connsiteY157" fmla="*/ 8666 h 10000"/>
                    <a:gd name="connsiteX158" fmla="*/ 4500 w 10000"/>
                    <a:gd name="connsiteY158" fmla="*/ 8666 h 10000"/>
                    <a:gd name="connsiteX159" fmla="*/ 4222 w 10000"/>
                    <a:gd name="connsiteY159" fmla="*/ 8513 h 10000"/>
                    <a:gd name="connsiteX160" fmla="*/ 4222 w 10000"/>
                    <a:gd name="connsiteY160" fmla="*/ 8513 h 10000"/>
                    <a:gd name="connsiteX161" fmla="*/ 4111 w 10000"/>
                    <a:gd name="connsiteY161" fmla="*/ 8436 h 10000"/>
                    <a:gd name="connsiteX162" fmla="*/ 4111 w 10000"/>
                    <a:gd name="connsiteY162" fmla="*/ 8343 h 10000"/>
                    <a:gd name="connsiteX163" fmla="*/ 4111 w 10000"/>
                    <a:gd name="connsiteY163" fmla="*/ 8343 h 10000"/>
                    <a:gd name="connsiteX164" fmla="*/ 4278 w 10000"/>
                    <a:gd name="connsiteY164" fmla="*/ 8295 h 10000"/>
                    <a:gd name="connsiteX165" fmla="*/ 4389 w 10000"/>
                    <a:gd name="connsiteY165" fmla="*/ 8280 h 10000"/>
                    <a:gd name="connsiteX166" fmla="*/ 4389 w 10000"/>
                    <a:gd name="connsiteY166" fmla="*/ 8280 h 10000"/>
                    <a:gd name="connsiteX167" fmla="*/ 3722 w 10000"/>
                    <a:gd name="connsiteY167" fmla="*/ 8295 h 10000"/>
                    <a:gd name="connsiteX168" fmla="*/ 3611 w 10000"/>
                    <a:gd name="connsiteY168" fmla="*/ 8311 h 10000"/>
                    <a:gd name="connsiteX169" fmla="*/ 3556 w 10000"/>
                    <a:gd name="connsiteY169" fmla="*/ 8327 h 10000"/>
                    <a:gd name="connsiteX170" fmla="*/ 3556 w 10000"/>
                    <a:gd name="connsiteY170" fmla="*/ 8327 h 10000"/>
                    <a:gd name="connsiteX171" fmla="*/ 3444 w 10000"/>
                    <a:gd name="connsiteY171" fmla="*/ 8389 h 10000"/>
                    <a:gd name="connsiteX172" fmla="*/ 3278 w 10000"/>
                    <a:gd name="connsiteY172" fmla="*/ 8482 h 10000"/>
                    <a:gd name="connsiteX173" fmla="*/ 2667 w 10000"/>
                    <a:gd name="connsiteY173" fmla="*/ 8666 h 10000"/>
                    <a:gd name="connsiteX174" fmla="*/ 889 w 10000"/>
                    <a:gd name="connsiteY174" fmla="*/ 8837 h 10000"/>
                    <a:gd name="connsiteX175" fmla="*/ 500 w 10000"/>
                    <a:gd name="connsiteY175" fmla="*/ 8853 h 10000"/>
                    <a:gd name="connsiteX176" fmla="*/ 222 w 10000"/>
                    <a:gd name="connsiteY176" fmla="*/ 8869 h 10000"/>
                    <a:gd name="connsiteX177" fmla="*/ 0 w 10000"/>
                    <a:gd name="connsiteY177" fmla="*/ 8884 h 10000"/>
                    <a:gd name="connsiteX178" fmla="*/ 722 w 10000"/>
                    <a:gd name="connsiteY178" fmla="*/ 9473 h 10000"/>
                    <a:gd name="connsiteX179" fmla="*/ 944 w 10000"/>
                    <a:gd name="connsiteY179" fmla="*/ 9642 h 10000"/>
                    <a:gd name="connsiteX180" fmla="*/ 1500 w 10000"/>
                    <a:gd name="connsiteY180" fmla="*/ 10000 h 10000"/>
                    <a:gd name="connsiteX181" fmla="*/ 10000 w 10000"/>
                    <a:gd name="connsiteY181" fmla="*/ 9457 h 10000"/>
                    <a:gd name="connsiteX0" fmla="*/ 10000 w 10000"/>
                    <a:gd name="connsiteY0" fmla="*/ 9457 h 10000"/>
                    <a:gd name="connsiteX1" fmla="*/ 10000 w 10000"/>
                    <a:gd name="connsiteY1" fmla="*/ 9457 h 10000"/>
                    <a:gd name="connsiteX2" fmla="*/ 9222 w 10000"/>
                    <a:gd name="connsiteY2" fmla="*/ 9473 h 10000"/>
                    <a:gd name="connsiteX3" fmla="*/ 8944 w 10000"/>
                    <a:gd name="connsiteY3" fmla="*/ 9473 h 10000"/>
                    <a:gd name="connsiteX4" fmla="*/ 8833 w 10000"/>
                    <a:gd name="connsiteY4" fmla="*/ 9457 h 10000"/>
                    <a:gd name="connsiteX5" fmla="*/ 8778 w 10000"/>
                    <a:gd name="connsiteY5" fmla="*/ 9441 h 10000"/>
                    <a:gd name="connsiteX6" fmla="*/ 8778 w 10000"/>
                    <a:gd name="connsiteY6" fmla="*/ 9441 h 10000"/>
                    <a:gd name="connsiteX7" fmla="*/ 8444 w 10000"/>
                    <a:gd name="connsiteY7" fmla="*/ 9256 h 10000"/>
                    <a:gd name="connsiteX8" fmla="*/ 8167 w 10000"/>
                    <a:gd name="connsiteY8" fmla="*/ 9086 h 10000"/>
                    <a:gd name="connsiteX9" fmla="*/ 8167 w 10000"/>
                    <a:gd name="connsiteY9" fmla="*/ 9086 h 10000"/>
                    <a:gd name="connsiteX10" fmla="*/ 8056 w 10000"/>
                    <a:gd name="connsiteY10" fmla="*/ 9056 h 10000"/>
                    <a:gd name="connsiteX11" fmla="*/ 7889 w 10000"/>
                    <a:gd name="connsiteY11" fmla="*/ 9024 h 10000"/>
                    <a:gd name="connsiteX12" fmla="*/ 7444 w 10000"/>
                    <a:gd name="connsiteY12" fmla="*/ 9008 h 10000"/>
                    <a:gd name="connsiteX13" fmla="*/ 6889 w 10000"/>
                    <a:gd name="connsiteY13" fmla="*/ 8993 h 10000"/>
                    <a:gd name="connsiteX14" fmla="*/ 6389 w 10000"/>
                    <a:gd name="connsiteY14" fmla="*/ 8993 h 10000"/>
                    <a:gd name="connsiteX15" fmla="*/ 6389 w 10000"/>
                    <a:gd name="connsiteY15" fmla="*/ 8993 h 10000"/>
                    <a:gd name="connsiteX16" fmla="*/ 6167 w 10000"/>
                    <a:gd name="connsiteY16" fmla="*/ 8976 h 10000"/>
                    <a:gd name="connsiteX17" fmla="*/ 6056 w 10000"/>
                    <a:gd name="connsiteY17" fmla="*/ 8947 h 10000"/>
                    <a:gd name="connsiteX18" fmla="*/ 6000 w 10000"/>
                    <a:gd name="connsiteY18" fmla="*/ 8914 h 10000"/>
                    <a:gd name="connsiteX19" fmla="*/ 6056 w 10000"/>
                    <a:gd name="connsiteY19" fmla="*/ 8729 h 10000"/>
                    <a:gd name="connsiteX20" fmla="*/ 6111 w 10000"/>
                    <a:gd name="connsiteY20" fmla="*/ 8666 h 10000"/>
                    <a:gd name="connsiteX21" fmla="*/ 6056 w 10000"/>
                    <a:gd name="connsiteY21" fmla="*/ 8591 h 10000"/>
                    <a:gd name="connsiteX22" fmla="*/ 6056 w 10000"/>
                    <a:gd name="connsiteY22" fmla="*/ 8591 h 10000"/>
                    <a:gd name="connsiteX23" fmla="*/ 6000 w 10000"/>
                    <a:gd name="connsiteY23" fmla="*/ 8545 h 10000"/>
                    <a:gd name="connsiteX24" fmla="*/ 5944 w 10000"/>
                    <a:gd name="connsiteY24" fmla="*/ 8513 h 10000"/>
                    <a:gd name="connsiteX25" fmla="*/ 5833 w 10000"/>
                    <a:gd name="connsiteY25" fmla="*/ 8513 h 10000"/>
                    <a:gd name="connsiteX26" fmla="*/ 5667 w 10000"/>
                    <a:gd name="connsiteY26" fmla="*/ 8530 h 10000"/>
                    <a:gd name="connsiteX27" fmla="*/ 5333 w 10000"/>
                    <a:gd name="connsiteY27" fmla="*/ 8575 h 10000"/>
                    <a:gd name="connsiteX28" fmla="*/ 4889 w 10000"/>
                    <a:gd name="connsiteY28" fmla="*/ 8652 h 10000"/>
                    <a:gd name="connsiteX29" fmla="*/ 4889 w 10000"/>
                    <a:gd name="connsiteY29" fmla="*/ 8652 h 10000"/>
                    <a:gd name="connsiteX30" fmla="*/ 4611 w 10000"/>
                    <a:gd name="connsiteY30" fmla="*/ 8666 h 10000"/>
                    <a:gd name="connsiteX31" fmla="*/ 4500 w 10000"/>
                    <a:gd name="connsiteY31" fmla="*/ 8666 h 10000"/>
                    <a:gd name="connsiteX32" fmla="*/ 4444 w 10000"/>
                    <a:gd name="connsiteY32" fmla="*/ 8652 h 10000"/>
                    <a:gd name="connsiteX33" fmla="*/ 4222 w 10000"/>
                    <a:gd name="connsiteY33" fmla="*/ 8513 h 10000"/>
                    <a:gd name="connsiteX34" fmla="*/ 4222 w 10000"/>
                    <a:gd name="connsiteY34" fmla="*/ 8513 h 10000"/>
                    <a:gd name="connsiteX35" fmla="*/ 4111 w 10000"/>
                    <a:gd name="connsiteY35" fmla="*/ 8467 h 10000"/>
                    <a:gd name="connsiteX36" fmla="*/ 4111 w 10000"/>
                    <a:gd name="connsiteY36" fmla="*/ 8421 h 10000"/>
                    <a:gd name="connsiteX37" fmla="*/ 4111 w 10000"/>
                    <a:gd name="connsiteY37" fmla="*/ 8389 h 10000"/>
                    <a:gd name="connsiteX38" fmla="*/ 4167 w 10000"/>
                    <a:gd name="connsiteY38" fmla="*/ 8358 h 10000"/>
                    <a:gd name="connsiteX39" fmla="*/ 4278 w 10000"/>
                    <a:gd name="connsiteY39" fmla="*/ 8295 h 10000"/>
                    <a:gd name="connsiteX40" fmla="*/ 4389 w 10000"/>
                    <a:gd name="connsiteY40" fmla="*/ 8280 h 10000"/>
                    <a:gd name="connsiteX41" fmla="*/ 4389 w 10000"/>
                    <a:gd name="connsiteY41" fmla="*/ 8280 h 10000"/>
                    <a:gd name="connsiteX42" fmla="*/ 4389 w 10000"/>
                    <a:gd name="connsiteY42" fmla="*/ 8266 h 10000"/>
                    <a:gd name="connsiteX43" fmla="*/ 4444 w 10000"/>
                    <a:gd name="connsiteY43" fmla="*/ 8250 h 10000"/>
                    <a:gd name="connsiteX44" fmla="*/ 7986 w 10000"/>
                    <a:gd name="connsiteY44" fmla="*/ 8010 h 10000"/>
                    <a:gd name="connsiteX45" fmla="*/ 8389 w 10000"/>
                    <a:gd name="connsiteY45" fmla="*/ 8018 h 10000"/>
                    <a:gd name="connsiteX46" fmla="*/ 8389 w 10000"/>
                    <a:gd name="connsiteY46" fmla="*/ 8018 h 10000"/>
                    <a:gd name="connsiteX47" fmla="*/ 8667 w 10000"/>
                    <a:gd name="connsiteY47" fmla="*/ 7986 h 10000"/>
                    <a:gd name="connsiteX48" fmla="*/ 8889 w 10000"/>
                    <a:gd name="connsiteY48" fmla="*/ 7910 h 10000"/>
                    <a:gd name="connsiteX49" fmla="*/ 8833 w 10000"/>
                    <a:gd name="connsiteY49" fmla="*/ 7879 h 10000"/>
                    <a:gd name="connsiteX50" fmla="*/ 8833 w 10000"/>
                    <a:gd name="connsiteY50" fmla="*/ 7849 h 10000"/>
                    <a:gd name="connsiteX51" fmla="*/ 8556 w 10000"/>
                    <a:gd name="connsiteY51" fmla="*/ 7770 h 10000"/>
                    <a:gd name="connsiteX52" fmla="*/ 6556 w 10000"/>
                    <a:gd name="connsiteY52" fmla="*/ 7491 h 10000"/>
                    <a:gd name="connsiteX53" fmla="*/ 6556 w 10000"/>
                    <a:gd name="connsiteY53" fmla="*/ 7491 h 10000"/>
                    <a:gd name="connsiteX54" fmla="*/ 6333 w 10000"/>
                    <a:gd name="connsiteY54" fmla="*/ 7445 h 10000"/>
                    <a:gd name="connsiteX55" fmla="*/ 6167 w 10000"/>
                    <a:gd name="connsiteY55" fmla="*/ 7398 h 10000"/>
                    <a:gd name="connsiteX56" fmla="*/ 6056 w 10000"/>
                    <a:gd name="connsiteY56" fmla="*/ 7352 h 10000"/>
                    <a:gd name="connsiteX57" fmla="*/ 6056 w 10000"/>
                    <a:gd name="connsiteY57" fmla="*/ 7352 h 10000"/>
                    <a:gd name="connsiteX58" fmla="*/ 8056 w 10000"/>
                    <a:gd name="connsiteY58" fmla="*/ 7336 h 10000"/>
                    <a:gd name="connsiteX59" fmla="*/ 10000 w 10000"/>
                    <a:gd name="connsiteY59" fmla="*/ 7491 h 10000"/>
                    <a:gd name="connsiteX60" fmla="*/ 10000 w 10000"/>
                    <a:gd name="connsiteY60" fmla="*/ 6083 h 10000"/>
                    <a:gd name="connsiteX61" fmla="*/ 10000 w 10000"/>
                    <a:gd name="connsiteY61" fmla="*/ 6083 h 10000"/>
                    <a:gd name="connsiteX62" fmla="*/ 7778 w 10000"/>
                    <a:gd name="connsiteY62" fmla="*/ 5757 h 10000"/>
                    <a:gd name="connsiteX63" fmla="*/ 6556 w 10000"/>
                    <a:gd name="connsiteY63" fmla="*/ 5572 h 10000"/>
                    <a:gd name="connsiteX64" fmla="*/ 6556 w 10000"/>
                    <a:gd name="connsiteY64" fmla="*/ 5572 h 10000"/>
                    <a:gd name="connsiteX65" fmla="*/ 6556 w 10000"/>
                    <a:gd name="connsiteY65" fmla="*/ 5557 h 10000"/>
                    <a:gd name="connsiteX66" fmla="*/ 6556 w 10000"/>
                    <a:gd name="connsiteY66" fmla="*/ 5464 h 10000"/>
                    <a:gd name="connsiteX67" fmla="*/ 6556 w 10000"/>
                    <a:gd name="connsiteY67" fmla="*/ 5464 h 10000"/>
                    <a:gd name="connsiteX68" fmla="*/ 6389 w 10000"/>
                    <a:gd name="connsiteY68" fmla="*/ 5355 h 10000"/>
                    <a:gd name="connsiteX69" fmla="*/ 6056 w 10000"/>
                    <a:gd name="connsiteY69" fmla="*/ 5186 h 10000"/>
                    <a:gd name="connsiteX70" fmla="*/ 5333 w 10000"/>
                    <a:gd name="connsiteY70" fmla="*/ 4860 h 10000"/>
                    <a:gd name="connsiteX71" fmla="*/ 5333 w 10000"/>
                    <a:gd name="connsiteY71" fmla="*/ 4860 h 10000"/>
                    <a:gd name="connsiteX72" fmla="*/ 5167 w 10000"/>
                    <a:gd name="connsiteY72" fmla="*/ 4814 h 10000"/>
                    <a:gd name="connsiteX73" fmla="*/ 4889 w 10000"/>
                    <a:gd name="connsiteY73" fmla="*/ 4751 h 10000"/>
                    <a:gd name="connsiteX74" fmla="*/ 4056 w 10000"/>
                    <a:gd name="connsiteY74" fmla="*/ 4612 h 10000"/>
                    <a:gd name="connsiteX75" fmla="*/ 2889 w 10000"/>
                    <a:gd name="connsiteY75" fmla="*/ 4443 h 10000"/>
                    <a:gd name="connsiteX76" fmla="*/ 2889 w 10000"/>
                    <a:gd name="connsiteY76" fmla="*/ 4443 h 10000"/>
                    <a:gd name="connsiteX77" fmla="*/ 2389 w 10000"/>
                    <a:gd name="connsiteY77" fmla="*/ 4426 h 10000"/>
                    <a:gd name="connsiteX78" fmla="*/ 2000 w 10000"/>
                    <a:gd name="connsiteY78" fmla="*/ 4410 h 10000"/>
                    <a:gd name="connsiteX79" fmla="*/ 1889 w 10000"/>
                    <a:gd name="connsiteY79" fmla="*/ 4395 h 10000"/>
                    <a:gd name="connsiteX80" fmla="*/ 1778 w 10000"/>
                    <a:gd name="connsiteY80" fmla="*/ 4380 h 10000"/>
                    <a:gd name="connsiteX81" fmla="*/ 1778 w 10000"/>
                    <a:gd name="connsiteY81" fmla="*/ 4380 h 10000"/>
                    <a:gd name="connsiteX82" fmla="*/ 1667 w 10000"/>
                    <a:gd name="connsiteY82" fmla="*/ 4317 h 10000"/>
                    <a:gd name="connsiteX83" fmla="*/ 1500 w 10000"/>
                    <a:gd name="connsiteY83" fmla="*/ 4210 h 10000"/>
                    <a:gd name="connsiteX84" fmla="*/ 1444 w 10000"/>
                    <a:gd name="connsiteY84" fmla="*/ 4148 h 10000"/>
                    <a:gd name="connsiteX85" fmla="*/ 1444 w 10000"/>
                    <a:gd name="connsiteY85" fmla="*/ 4085 h 10000"/>
                    <a:gd name="connsiteX86" fmla="*/ 1444 w 10000"/>
                    <a:gd name="connsiteY86" fmla="*/ 4040 h 10000"/>
                    <a:gd name="connsiteX87" fmla="*/ 1556 w 10000"/>
                    <a:gd name="connsiteY87" fmla="*/ 3993 h 10000"/>
                    <a:gd name="connsiteX88" fmla="*/ 1556 w 10000"/>
                    <a:gd name="connsiteY88" fmla="*/ 3993 h 10000"/>
                    <a:gd name="connsiteX89" fmla="*/ 1833 w 10000"/>
                    <a:gd name="connsiteY89" fmla="*/ 3915 h 10000"/>
                    <a:gd name="connsiteX90" fmla="*/ 2111 w 10000"/>
                    <a:gd name="connsiteY90" fmla="*/ 3839 h 10000"/>
                    <a:gd name="connsiteX91" fmla="*/ 2278 w 10000"/>
                    <a:gd name="connsiteY91" fmla="*/ 3793 h 10000"/>
                    <a:gd name="connsiteX92" fmla="*/ 2389 w 10000"/>
                    <a:gd name="connsiteY92" fmla="*/ 3745 h 10000"/>
                    <a:gd name="connsiteX93" fmla="*/ 2389 w 10000"/>
                    <a:gd name="connsiteY93" fmla="*/ 3683 h 10000"/>
                    <a:gd name="connsiteX94" fmla="*/ 2389 w 10000"/>
                    <a:gd name="connsiteY94" fmla="*/ 3606 h 10000"/>
                    <a:gd name="connsiteX95" fmla="*/ 2389 w 10000"/>
                    <a:gd name="connsiteY95" fmla="*/ 3606 h 10000"/>
                    <a:gd name="connsiteX96" fmla="*/ 2167 w 10000"/>
                    <a:gd name="connsiteY96" fmla="*/ 3389 h 10000"/>
                    <a:gd name="connsiteX97" fmla="*/ 1889 w 10000"/>
                    <a:gd name="connsiteY97" fmla="*/ 3096 h 10000"/>
                    <a:gd name="connsiteX98" fmla="*/ 1667 w 10000"/>
                    <a:gd name="connsiteY98" fmla="*/ 2832 h 10000"/>
                    <a:gd name="connsiteX99" fmla="*/ 1611 w 10000"/>
                    <a:gd name="connsiteY99" fmla="*/ 2755 h 10000"/>
                    <a:gd name="connsiteX100" fmla="*/ 1611 w 10000"/>
                    <a:gd name="connsiteY100" fmla="*/ 2724 h 10000"/>
                    <a:gd name="connsiteX101" fmla="*/ 1667 w 10000"/>
                    <a:gd name="connsiteY101" fmla="*/ 2708 h 10000"/>
                    <a:gd name="connsiteX102" fmla="*/ 1667 w 10000"/>
                    <a:gd name="connsiteY102" fmla="*/ 2708 h 10000"/>
                    <a:gd name="connsiteX103" fmla="*/ 2000 w 10000"/>
                    <a:gd name="connsiteY103" fmla="*/ 2694 h 10000"/>
                    <a:gd name="connsiteX104" fmla="*/ 2222 w 10000"/>
                    <a:gd name="connsiteY104" fmla="*/ 2694 h 10000"/>
                    <a:gd name="connsiteX105" fmla="*/ 2389 w 10000"/>
                    <a:gd name="connsiteY105" fmla="*/ 2708 h 10000"/>
                    <a:gd name="connsiteX106" fmla="*/ 2389 w 10000"/>
                    <a:gd name="connsiteY106" fmla="*/ 2708 h 10000"/>
                    <a:gd name="connsiteX107" fmla="*/ 2444 w 10000"/>
                    <a:gd name="connsiteY107" fmla="*/ 2708 h 10000"/>
                    <a:gd name="connsiteX108" fmla="*/ 2500 w 10000"/>
                    <a:gd name="connsiteY108" fmla="*/ 2678 h 10000"/>
                    <a:gd name="connsiteX109" fmla="*/ 2778 w 10000"/>
                    <a:gd name="connsiteY109" fmla="*/ 2585 h 10000"/>
                    <a:gd name="connsiteX110" fmla="*/ 3500 w 10000"/>
                    <a:gd name="connsiteY110" fmla="*/ 2275 h 10000"/>
                    <a:gd name="connsiteX111" fmla="*/ 4444 w 10000"/>
                    <a:gd name="connsiteY111" fmla="*/ 1828 h 10000"/>
                    <a:gd name="connsiteX112" fmla="*/ 4444 w 10000"/>
                    <a:gd name="connsiteY112" fmla="*/ 1828 h 10000"/>
                    <a:gd name="connsiteX113" fmla="*/ 4444 w 10000"/>
                    <a:gd name="connsiteY113" fmla="*/ 1764 h 10000"/>
                    <a:gd name="connsiteX114" fmla="*/ 4444 w 10000"/>
                    <a:gd name="connsiteY114" fmla="*/ 1623 h 10000"/>
                    <a:gd name="connsiteX115" fmla="*/ 4500 w 10000"/>
                    <a:gd name="connsiteY115" fmla="*/ 1532 h 10000"/>
                    <a:gd name="connsiteX116" fmla="*/ 4611 w 10000"/>
                    <a:gd name="connsiteY116" fmla="*/ 1454 h 10000"/>
                    <a:gd name="connsiteX117" fmla="*/ 4778 w 10000"/>
                    <a:gd name="connsiteY117" fmla="*/ 1362 h 10000"/>
                    <a:gd name="connsiteX118" fmla="*/ 5000 w 10000"/>
                    <a:gd name="connsiteY118" fmla="*/ 1285 h 10000"/>
                    <a:gd name="connsiteX119" fmla="*/ 5000 w 10000"/>
                    <a:gd name="connsiteY119" fmla="*/ 1285 h 10000"/>
                    <a:gd name="connsiteX120" fmla="*/ 5556 w 10000"/>
                    <a:gd name="connsiteY120" fmla="*/ 1131 h 10000"/>
                    <a:gd name="connsiteX121" fmla="*/ 6111 w 10000"/>
                    <a:gd name="connsiteY121" fmla="*/ 928 h 10000"/>
                    <a:gd name="connsiteX122" fmla="*/ 6667 w 10000"/>
                    <a:gd name="connsiteY122" fmla="*/ 742 h 10000"/>
                    <a:gd name="connsiteX123" fmla="*/ 7056 w 10000"/>
                    <a:gd name="connsiteY123" fmla="*/ 574 h 10000"/>
                    <a:gd name="connsiteX124" fmla="*/ 7056 w 10000"/>
                    <a:gd name="connsiteY124" fmla="*/ 574 h 10000"/>
                    <a:gd name="connsiteX125" fmla="*/ 7333 w 10000"/>
                    <a:gd name="connsiteY125" fmla="*/ 419 h 10000"/>
                    <a:gd name="connsiteX126" fmla="*/ 7667 w 10000"/>
                    <a:gd name="connsiteY126" fmla="*/ 232 h 10000"/>
                    <a:gd name="connsiteX127" fmla="*/ 8000 w 10000"/>
                    <a:gd name="connsiteY127" fmla="*/ 92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473 h 10000"/>
                    <a:gd name="connsiteX135" fmla="*/ 10000 w 10000"/>
                    <a:gd name="connsiteY135" fmla="*/ 9473 h 10000"/>
                    <a:gd name="connsiteX136" fmla="*/ 9722 w 10000"/>
                    <a:gd name="connsiteY136" fmla="*/ 9457 h 10000"/>
                    <a:gd name="connsiteX137" fmla="*/ 9389 w 10000"/>
                    <a:gd name="connsiteY137" fmla="*/ 9473 h 10000"/>
                    <a:gd name="connsiteX138" fmla="*/ 9389 w 10000"/>
                    <a:gd name="connsiteY138" fmla="*/ 9473 h 10000"/>
                    <a:gd name="connsiteX139" fmla="*/ 9278 w 10000"/>
                    <a:gd name="connsiteY139" fmla="*/ 9488 h 10000"/>
                    <a:gd name="connsiteX140" fmla="*/ 9056 w 10000"/>
                    <a:gd name="connsiteY140" fmla="*/ 9473 h 10000"/>
                    <a:gd name="connsiteX141" fmla="*/ 8722 w 10000"/>
                    <a:gd name="connsiteY141" fmla="*/ 9426 h 10000"/>
                    <a:gd name="connsiteX142" fmla="*/ 8444 w 10000"/>
                    <a:gd name="connsiteY142" fmla="*/ 9303 h 10000"/>
                    <a:gd name="connsiteX143" fmla="*/ 8444 w 10000"/>
                    <a:gd name="connsiteY143" fmla="*/ 9303 h 10000"/>
                    <a:gd name="connsiteX144" fmla="*/ 8111 w 10000"/>
                    <a:gd name="connsiteY144" fmla="*/ 9102 h 10000"/>
                    <a:gd name="connsiteX145" fmla="*/ 7778 w 10000"/>
                    <a:gd name="connsiteY145" fmla="*/ 9024 h 10000"/>
                    <a:gd name="connsiteX146" fmla="*/ 7556 w 10000"/>
                    <a:gd name="connsiteY146" fmla="*/ 9008 h 10000"/>
                    <a:gd name="connsiteX147" fmla="*/ 7000 w 10000"/>
                    <a:gd name="connsiteY147" fmla="*/ 8976 h 10000"/>
                    <a:gd name="connsiteX148" fmla="*/ 6556 w 10000"/>
                    <a:gd name="connsiteY148" fmla="*/ 8993 h 10000"/>
                    <a:gd name="connsiteX149" fmla="*/ 6222 w 10000"/>
                    <a:gd name="connsiteY149" fmla="*/ 8993 h 10000"/>
                    <a:gd name="connsiteX150" fmla="*/ 6111 w 10000"/>
                    <a:gd name="connsiteY150" fmla="*/ 8976 h 10000"/>
                    <a:gd name="connsiteX151" fmla="*/ 6056 w 10000"/>
                    <a:gd name="connsiteY151" fmla="*/ 8684 h 10000"/>
                    <a:gd name="connsiteX152" fmla="*/ 6056 w 10000"/>
                    <a:gd name="connsiteY152" fmla="*/ 8622 h 10000"/>
                    <a:gd name="connsiteX153" fmla="*/ 5944 w 10000"/>
                    <a:gd name="connsiteY153" fmla="*/ 8545 h 10000"/>
                    <a:gd name="connsiteX154" fmla="*/ 5889 w 10000"/>
                    <a:gd name="connsiteY154" fmla="*/ 8530 h 10000"/>
                    <a:gd name="connsiteX155" fmla="*/ 5667 w 10000"/>
                    <a:gd name="connsiteY155" fmla="*/ 8513 h 10000"/>
                    <a:gd name="connsiteX156" fmla="*/ 4889 w 10000"/>
                    <a:gd name="connsiteY156" fmla="*/ 8637 h 10000"/>
                    <a:gd name="connsiteX157" fmla="*/ 4611 w 10000"/>
                    <a:gd name="connsiteY157" fmla="*/ 8666 h 10000"/>
                    <a:gd name="connsiteX158" fmla="*/ 4500 w 10000"/>
                    <a:gd name="connsiteY158" fmla="*/ 8666 h 10000"/>
                    <a:gd name="connsiteX159" fmla="*/ 4222 w 10000"/>
                    <a:gd name="connsiteY159" fmla="*/ 8513 h 10000"/>
                    <a:gd name="connsiteX160" fmla="*/ 4222 w 10000"/>
                    <a:gd name="connsiteY160" fmla="*/ 8513 h 10000"/>
                    <a:gd name="connsiteX161" fmla="*/ 4111 w 10000"/>
                    <a:gd name="connsiteY161" fmla="*/ 8436 h 10000"/>
                    <a:gd name="connsiteX162" fmla="*/ 4111 w 10000"/>
                    <a:gd name="connsiteY162" fmla="*/ 8343 h 10000"/>
                    <a:gd name="connsiteX163" fmla="*/ 4111 w 10000"/>
                    <a:gd name="connsiteY163" fmla="*/ 8343 h 10000"/>
                    <a:gd name="connsiteX164" fmla="*/ 4278 w 10000"/>
                    <a:gd name="connsiteY164" fmla="*/ 8295 h 10000"/>
                    <a:gd name="connsiteX165" fmla="*/ 4389 w 10000"/>
                    <a:gd name="connsiteY165" fmla="*/ 8280 h 10000"/>
                    <a:gd name="connsiteX166" fmla="*/ 4389 w 10000"/>
                    <a:gd name="connsiteY166" fmla="*/ 8280 h 10000"/>
                    <a:gd name="connsiteX167" fmla="*/ 3722 w 10000"/>
                    <a:gd name="connsiteY167" fmla="*/ 8295 h 10000"/>
                    <a:gd name="connsiteX168" fmla="*/ 3611 w 10000"/>
                    <a:gd name="connsiteY168" fmla="*/ 8311 h 10000"/>
                    <a:gd name="connsiteX169" fmla="*/ 3556 w 10000"/>
                    <a:gd name="connsiteY169" fmla="*/ 8327 h 10000"/>
                    <a:gd name="connsiteX170" fmla="*/ 3556 w 10000"/>
                    <a:gd name="connsiteY170" fmla="*/ 8327 h 10000"/>
                    <a:gd name="connsiteX171" fmla="*/ 3444 w 10000"/>
                    <a:gd name="connsiteY171" fmla="*/ 8389 h 10000"/>
                    <a:gd name="connsiteX172" fmla="*/ 3278 w 10000"/>
                    <a:gd name="connsiteY172" fmla="*/ 8482 h 10000"/>
                    <a:gd name="connsiteX173" fmla="*/ 2667 w 10000"/>
                    <a:gd name="connsiteY173" fmla="*/ 8666 h 10000"/>
                    <a:gd name="connsiteX174" fmla="*/ 889 w 10000"/>
                    <a:gd name="connsiteY174" fmla="*/ 8837 h 10000"/>
                    <a:gd name="connsiteX175" fmla="*/ 500 w 10000"/>
                    <a:gd name="connsiteY175" fmla="*/ 8853 h 10000"/>
                    <a:gd name="connsiteX176" fmla="*/ 222 w 10000"/>
                    <a:gd name="connsiteY176" fmla="*/ 8869 h 10000"/>
                    <a:gd name="connsiteX177" fmla="*/ 0 w 10000"/>
                    <a:gd name="connsiteY177" fmla="*/ 8884 h 10000"/>
                    <a:gd name="connsiteX178" fmla="*/ 722 w 10000"/>
                    <a:gd name="connsiteY178" fmla="*/ 9473 h 10000"/>
                    <a:gd name="connsiteX179" fmla="*/ 944 w 10000"/>
                    <a:gd name="connsiteY179" fmla="*/ 9642 h 10000"/>
                    <a:gd name="connsiteX180" fmla="*/ 1216 w 10000"/>
                    <a:gd name="connsiteY180" fmla="*/ 9872 h 10000"/>
                    <a:gd name="connsiteX181" fmla="*/ 1500 w 10000"/>
                    <a:gd name="connsiteY181" fmla="*/ 10000 h 10000"/>
                    <a:gd name="connsiteX182" fmla="*/ 10000 w 10000"/>
                    <a:gd name="connsiteY182" fmla="*/ 9457 h 10000"/>
                    <a:gd name="connsiteX0" fmla="*/ 10000 w 10000"/>
                    <a:gd name="connsiteY0" fmla="*/ 9457 h 9872"/>
                    <a:gd name="connsiteX1" fmla="*/ 10000 w 10000"/>
                    <a:gd name="connsiteY1" fmla="*/ 9457 h 9872"/>
                    <a:gd name="connsiteX2" fmla="*/ 9222 w 10000"/>
                    <a:gd name="connsiteY2" fmla="*/ 9473 h 9872"/>
                    <a:gd name="connsiteX3" fmla="*/ 8944 w 10000"/>
                    <a:gd name="connsiteY3" fmla="*/ 9473 h 9872"/>
                    <a:gd name="connsiteX4" fmla="*/ 8833 w 10000"/>
                    <a:gd name="connsiteY4" fmla="*/ 9457 h 9872"/>
                    <a:gd name="connsiteX5" fmla="*/ 8778 w 10000"/>
                    <a:gd name="connsiteY5" fmla="*/ 9441 h 9872"/>
                    <a:gd name="connsiteX6" fmla="*/ 8778 w 10000"/>
                    <a:gd name="connsiteY6" fmla="*/ 9441 h 9872"/>
                    <a:gd name="connsiteX7" fmla="*/ 8444 w 10000"/>
                    <a:gd name="connsiteY7" fmla="*/ 9256 h 9872"/>
                    <a:gd name="connsiteX8" fmla="*/ 8167 w 10000"/>
                    <a:gd name="connsiteY8" fmla="*/ 9086 h 9872"/>
                    <a:gd name="connsiteX9" fmla="*/ 8167 w 10000"/>
                    <a:gd name="connsiteY9" fmla="*/ 9086 h 9872"/>
                    <a:gd name="connsiteX10" fmla="*/ 8056 w 10000"/>
                    <a:gd name="connsiteY10" fmla="*/ 9056 h 9872"/>
                    <a:gd name="connsiteX11" fmla="*/ 7889 w 10000"/>
                    <a:gd name="connsiteY11" fmla="*/ 9024 h 9872"/>
                    <a:gd name="connsiteX12" fmla="*/ 7444 w 10000"/>
                    <a:gd name="connsiteY12" fmla="*/ 9008 h 9872"/>
                    <a:gd name="connsiteX13" fmla="*/ 6889 w 10000"/>
                    <a:gd name="connsiteY13" fmla="*/ 8993 h 9872"/>
                    <a:gd name="connsiteX14" fmla="*/ 6389 w 10000"/>
                    <a:gd name="connsiteY14" fmla="*/ 8993 h 9872"/>
                    <a:gd name="connsiteX15" fmla="*/ 6389 w 10000"/>
                    <a:gd name="connsiteY15" fmla="*/ 8993 h 9872"/>
                    <a:gd name="connsiteX16" fmla="*/ 6167 w 10000"/>
                    <a:gd name="connsiteY16" fmla="*/ 8976 h 9872"/>
                    <a:gd name="connsiteX17" fmla="*/ 6056 w 10000"/>
                    <a:gd name="connsiteY17" fmla="*/ 8947 h 9872"/>
                    <a:gd name="connsiteX18" fmla="*/ 6000 w 10000"/>
                    <a:gd name="connsiteY18" fmla="*/ 8914 h 9872"/>
                    <a:gd name="connsiteX19" fmla="*/ 6056 w 10000"/>
                    <a:gd name="connsiteY19" fmla="*/ 8729 h 9872"/>
                    <a:gd name="connsiteX20" fmla="*/ 6111 w 10000"/>
                    <a:gd name="connsiteY20" fmla="*/ 8666 h 9872"/>
                    <a:gd name="connsiteX21" fmla="*/ 6056 w 10000"/>
                    <a:gd name="connsiteY21" fmla="*/ 8591 h 9872"/>
                    <a:gd name="connsiteX22" fmla="*/ 6056 w 10000"/>
                    <a:gd name="connsiteY22" fmla="*/ 8591 h 9872"/>
                    <a:gd name="connsiteX23" fmla="*/ 6000 w 10000"/>
                    <a:gd name="connsiteY23" fmla="*/ 8545 h 9872"/>
                    <a:gd name="connsiteX24" fmla="*/ 5944 w 10000"/>
                    <a:gd name="connsiteY24" fmla="*/ 8513 h 9872"/>
                    <a:gd name="connsiteX25" fmla="*/ 5833 w 10000"/>
                    <a:gd name="connsiteY25" fmla="*/ 8513 h 9872"/>
                    <a:gd name="connsiteX26" fmla="*/ 5667 w 10000"/>
                    <a:gd name="connsiteY26" fmla="*/ 8530 h 9872"/>
                    <a:gd name="connsiteX27" fmla="*/ 5333 w 10000"/>
                    <a:gd name="connsiteY27" fmla="*/ 8575 h 9872"/>
                    <a:gd name="connsiteX28" fmla="*/ 4889 w 10000"/>
                    <a:gd name="connsiteY28" fmla="*/ 8652 h 9872"/>
                    <a:gd name="connsiteX29" fmla="*/ 4889 w 10000"/>
                    <a:gd name="connsiteY29" fmla="*/ 8652 h 9872"/>
                    <a:gd name="connsiteX30" fmla="*/ 4611 w 10000"/>
                    <a:gd name="connsiteY30" fmla="*/ 8666 h 9872"/>
                    <a:gd name="connsiteX31" fmla="*/ 4500 w 10000"/>
                    <a:gd name="connsiteY31" fmla="*/ 8666 h 9872"/>
                    <a:gd name="connsiteX32" fmla="*/ 4444 w 10000"/>
                    <a:gd name="connsiteY32" fmla="*/ 8652 h 9872"/>
                    <a:gd name="connsiteX33" fmla="*/ 4222 w 10000"/>
                    <a:gd name="connsiteY33" fmla="*/ 8513 h 9872"/>
                    <a:gd name="connsiteX34" fmla="*/ 4222 w 10000"/>
                    <a:gd name="connsiteY34" fmla="*/ 8513 h 9872"/>
                    <a:gd name="connsiteX35" fmla="*/ 4111 w 10000"/>
                    <a:gd name="connsiteY35" fmla="*/ 8467 h 9872"/>
                    <a:gd name="connsiteX36" fmla="*/ 4111 w 10000"/>
                    <a:gd name="connsiteY36" fmla="*/ 8421 h 9872"/>
                    <a:gd name="connsiteX37" fmla="*/ 4111 w 10000"/>
                    <a:gd name="connsiteY37" fmla="*/ 8389 h 9872"/>
                    <a:gd name="connsiteX38" fmla="*/ 4167 w 10000"/>
                    <a:gd name="connsiteY38" fmla="*/ 8358 h 9872"/>
                    <a:gd name="connsiteX39" fmla="*/ 4278 w 10000"/>
                    <a:gd name="connsiteY39" fmla="*/ 8295 h 9872"/>
                    <a:gd name="connsiteX40" fmla="*/ 4389 w 10000"/>
                    <a:gd name="connsiteY40" fmla="*/ 8280 h 9872"/>
                    <a:gd name="connsiteX41" fmla="*/ 4389 w 10000"/>
                    <a:gd name="connsiteY41" fmla="*/ 8280 h 9872"/>
                    <a:gd name="connsiteX42" fmla="*/ 4389 w 10000"/>
                    <a:gd name="connsiteY42" fmla="*/ 8266 h 9872"/>
                    <a:gd name="connsiteX43" fmla="*/ 4444 w 10000"/>
                    <a:gd name="connsiteY43" fmla="*/ 8250 h 9872"/>
                    <a:gd name="connsiteX44" fmla="*/ 7986 w 10000"/>
                    <a:gd name="connsiteY44" fmla="*/ 8010 h 9872"/>
                    <a:gd name="connsiteX45" fmla="*/ 8389 w 10000"/>
                    <a:gd name="connsiteY45" fmla="*/ 8018 h 9872"/>
                    <a:gd name="connsiteX46" fmla="*/ 8389 w 10000"/>
                    <a:gd name="connsiteY46" fmla="*/ 8018 h 9872"/>
                    <a:gd name="connsiteX47" fmla="*/ 8667 w 10000"/>
                    <a:gd name="connsiteY47" fmla="*/ 7986 h 9872"/>
                    <a:gd name="connsiteX48" fmla="*/ 8889 w 10000"/>
                    <a:gd name="connsiteY48" fmla="*/ 7910 h 9872"/>
                    <a:gd name="connsiteX49" fmla="*/ 8833 w 10000"/>
                    <a:gd name="connsiteY49" fmla="*/ 7879 h 9872"/>
                    <a:gd name="connsiteX50" fmla="*/ 8833 w 10000"/>
                    <a:gd name="connsiteY50" fmla="*/ 7849 h 9872"/>
                    <a:gd name="connsiteX51" fmla="*/ 8556 w 10000"/>
                    <a:gd name="connsiteY51" fmla="*/ 7770 h 9872"/>
                    <a:gd name="connsiteX52" fmla="*/ 6556 w 10000"/>
                    <a:gd name="connsiteY52" fmla="*/ 7491 h 9872"/>
                    <a:gd name="connsiteX53" fmla="*/ 6556 w 10000"/>
                    <a:gd name="connsiteY53" fmla="*/ 7491 h 9872"/>
                    <a:gd name="connsiteX54" fmla="*/ 6333 w 10000"/>
                    <a:gd name="connsiteY54" fmla="*/ 7445 h 9872"/>
                    <a:gd name="connsiteX55" fmla="*/ 6167 w 10000"/>
                    <a:gd name="connsiteY55" fmla="*/ 7398 h 9872"/>
                    <a:gd name="connsiteX56" fmla="*/ 6056 w 10000"/>
                    <a:gd name="connsiteY56" fmla="*/ 7352 h 9872"/>
                    <a:gd name="connsiteX57" fmla="*/ 6056 w 10000"/>
                    <a:gd name="connsiteY57" fmla="*/ 7352 h 9872"/>
                    <a:gd name="connsiteX58" fmla="*/ 8056 w 10000"/>
                    <a:gd name="connsiteY58" fmla="*/ 7336 h 9872"/>
                    <a:gd name="connsiteX59" fmla="*/ 10000 w 10000"/>
                    <a:gd name="connsiteY59" fmla="*/ 7491 h 9872"/>
                    <a:gd name="connsiteX60" fmla="*/ 10000 w 10000"/>
                    <a:gd name="connsiteY60" fmla="*/ 6083 h 9872"/>
                    <a:gd name="connsiteX61" fmla="*/ 10000 w 10000"/>
                    <a:gd name="connsiteY61" fmla="*/ 6083 h 9872"/>
                    <a:gd name="connsiteX62" fmla="*/ 7778 w 10000"/>
                    <a:gd name="connsiteY62" fmla="*/ 5757 h 9872"/>
                    <a:gd name="connsiteX63" fmla="*/ 6556 w 10000"/>
                    <a:gd name="connsiteY63" fmla="*/ 5572 h 9872"/>
                    <a:gd name="connsiteX64" fmla="*/ 6556 w 10000"/>
                    <a:gd name="connsiteY64" fmla="*/ 5572 h 9872"/>
                    <a:gd name="connsiteX65" fmla="*/ 6556 w 10000"/>
                    <a:gd name="connsiteY65" fmla="*/ 5557 h 9872"/>
                    <a:gd name="connsiteX66" fmla="*/ 6556 w 10000"/>
                    <a:gd name="connsiteY66" fmla="*/ 5464 h 9872"/>
                    <a:gd name="connsiteX67" fmla="*/ 6556 w 10000"/>
                    <a:gd name="connsiteY67" fmla="*/ 5464 h 9872"/>
                    <a:gd name="connsiteX68" fmla="*/ 6389 w 10000"/>
                    <a:gd name="connsiteY68" fmla="*/ 5355 h 9872"/>
                    <a:gd name="connsiteX69" fmla="*/ 6056 w 10000"/>
                    <a:gd name="connsiteY69" fmla="*/ 5186 h 9872"/>
                    <a:gd name="connsiteX70" fmla="*/ 5333 w 10000"/>
                    <a:gd name="connsiteY70" fmla="*/ 4860 h 9872"/>
                    <a:gd name="connsiteX71" fmla="*/ 5333 w 10000"/>
                    <a:gd name="connsiteY71" fmla="*/ 4860 h 9872"/>
                    <a:gd name="connsiteX72" fmla="*/ 5167 w 10000"/>
                    <a:gd name="connsiteY72" fmla="*/ 4814 h 9872"/>
                    <a:gd name="connsiteX73" fmla="*/ 4889 w 10000"/>
                    <a:gd name="connsiteY73" fmla="*/ 4751 h 9872"/>
                    <a:gd name="connsiteX74" fmla="*/ 4056 w 10000"/>
                    <a:gd name="connsiteY74" fmla="*/ 4612 h 9872"/>
                    <a:gd name="connsiteX75" fmla="*/ 2889 w 10000"/>
                    <a:gd name="connsiteY75" fmla="*/ 4443 h 9872"/>
                    <a:gd name="connsiteX76" fmla="*/ 2889 w 10000"/>
                    <a:gd name="connsiteY76" fmla="*/ 4443 h 9872"/>
                    <a:gd name="connsiteX77" fmla="*/ 2389 w 10000"/>
                    <a:gd name="connsiteY77" fmla="*/ 4426 h 9872"/>
                    <a:gd name="connsiteX78" fmla="*/ 2000 w 10000"/>
                    <a:gd name="connsiteY78" fmla="*/ 4410 h 9872"/>
                    <a:gd name="connsiteX79" fmla="*/ 1889 w 10000"/>
                    <a:gd name="connsiteY79" fmla="*/ 4395 h 9872"/>
                    <a:gd name="connsiteX80" fmla="*/ 1778 w 10000"/>
                    <a:gd name="connsiteY80" fmla="*/ 4380 h 9872"/>
                    <a:gd name="connsiteX81" fmla="*/ 1778 w 10000"/>
                    <a:gd name="connsiteY81" fmla="*/ 4380 h 9872"/>
                    <a:gd name="connsiteX82" fmla="*/ 1667 w 10000"/>
                    <a:gd name="connsiteY82" fmla="*/ 4317 h 9872"/>
                    <a:gd name="connsiteX83" fmla="*/ 1500 w 10000"/>
                    <a:gd name="connsiteY83" fmla="*/ 4210 h 9872"/>
                    <a:gd name="connsiteX84" fmla="*/ 1444 w 10000"/>
                    <a:gd name="connsiteY84" fmla="*/ 4148 h 9872"/>
                    <a:gd name="connsiteX85" fmla="*/ 1444 w 10000"/>
                    <a:gd name="connsiteY85" fmla="*/ 4085 h 9872"/>
                    <a:gd name="connsiteX86" fmla="*/ 1444 w 10000"/>
                    <a:gd name="connsiteY86" fmla="*/ 4040 h 9872"/>
                    <a:gd name="connsiteX87" fmla="*/ 1556 w 10000"/>
                    <a:gd name="connsiteY87" fmla="*/ 3993 h 9872"/>
                    <a:gd name="connsiteX88" fmla="*/ 1556 w 10000"/>
                    <a:gd name="connsiteY88" fmla="*/ 3993 h 9872"/>
                    <a:gd name="connsiteX89" fmla="*/ 1833 w 10000"/>
                    <a:gd name="connsiteY89" fmla="*/ 3915 h 9872"/>
                    <a:gd name="connsiteX90" fmla="*/ 2111 w 10000"/>
                    <a:gd name="connsiteY90" fmla="*/ 3839 h 9872"/>
                    <a:gd name="connsiteX91" fmla="*/ 2278 w 10000"/>
                    <a:gd name="connsiteY91" fmla="*/ 3793 h 9872"/>
                    <a:gd name="connsiteX92" fmla="*/ 2389 w 10000"/>
                    <a:gd name="connsiteY92" fmla="*/ 3745 h 9872"/>
                    <a:gd name="connsiteX93" fmla="*/ 2389 w 10000"/>
                    <a:gd name="connsiteY93" fmla="*/ 3683 h 9872"/>
                    <a:gd name="connsiteX94" fmla="*/ 2389 w 10000"/>
                    <a:gd name="connsiteY94" fmla="*/ 3606 h 9872"/>
                    <a:gd name="connsiteX95" fmla="*/ 2389 w 10000"/>
                    <a:gd name="connsiteY95" fmla="*/ 3606 h 9872"/>
                    <a:gd name="connsiteX96" fmla="*/ 2167 w 10000"/>
                    <a:gd name="connsiteY96" fmla="*/ 3389 h 9872"/>
                    <a:gd name="connsiteX97" fmla="*/ 1889 w 10000"/>
                    <a:gd name="connsiteY97" fmla="*/ 3096 h 9872"/>
                    <a:gd name="connsiteX98" fmla="*/ 1667 w 10000"/>
                    <a:gd name="connsiteY98" fmla="*/ 2832 h 9872"/>
                    <a:gd name="connsiteX99" fmla="*/ 1611 w 10000"/>
                    <a:gd name="connsiteY99" fmla="*/ 2755 h 9872"/>
                    <a:gd name="connsiteX100" fmla="*/ 1611 w 10000"/>
                    <a:gd name="connsiteY100" fmla="*/ 2724 h 9872"/>
                    <a:gd name="connsiteX101" fmla="*/ 1667 w 10000"/>
                    <a:gd name="connsiteY101" fmla="*/ 2708 h 9872"/>
                    <a:gd name="connsiteX102" fmla="*/ 1667 w 10000"/>
                    <a:gd name="connsiteY102" fmla="*/ 2708 h 9872"/>
                    <a:gd name="connsiteX103" fmla="*/ 2000 w 10000"/>
                    <a:gd name="connsiteY103" fmla="*/ 2694 h 9872"/>
                    <a:gd name="connsiteX104" fmla="*/ 2222 w 10000"/>
                    <a:gd name="connsiteY104" fmla="*/ 2694 h 9872"/>
                    <a:gd name="connsiteX105" fmla="*/ 2389 w 10000"/>
                    <a:gd name="connsiteY105" fmla="*/ 2708 h 9872"/>
                    <a:gd name="connsiteX106" fmla="*/ 2389 w 10000"/>
                    <a:gd name="connsiteY106" fmla="*/ 2708 h 9872"/>
                    <a:gd name="connsiteX107" fmla="*/ 2444 w 10000"/>
                    <a:gd name="connsiteY107" fmla="*/ 2708 h 9872"/>
                    <a:gd name="connsiteX108" fmla="*/ 2500 w 10000"/>
                    <a:gd name="connsiteY108" fmla="*/ 2678 h 9872"/>
                    <a:gd name="connsiteX109" fmla="*/ 2778 w 10000"/>
                    <a:gd name="connsiteY109" fmla="*/ 2585 h 9872"/>
                    <a:gd name="connsiteX110" fmla="*/ 3500 w 10000"/>
                    <a:gd name="connsiteY110" fmla="*/ 2275 h 9872"/>
                    <a:gd name="connsiteX111" fmla="*/ 4444 w 10000"/>
                    <a:gd name="connsiteY111" fmla="*/ 1828 h 9872"/>
                    <a:gd name="connsiteX112" fmla="*/ 4444 w 10000"/>
                    <a:gd name="connsiteY112" fmla="*/ 1828 h 9872"/>
                    <a:gd name="connsiteX113" fmla="*/ 4444 w 10000"/>
                    <a:gd name="connsiteY113" fmla="*/ 1764 h 9872"/>
                    <a:gd name="connsiteX114" fmla="*/ 4444 w 10000"/>
                    <a:gd name="connsiteY114" fmla="*/ 1623 h 9872"/>
                    <a:gd name="connsiteX115" fmla="*/ 4500 w 10000"/>
                    <a:gd name="connsiteY115" fmla="*/ 1532 h 9872"/>
                    <a:gd name="connsiteX116" fmla="*/ 4611 w 10000"/>
                    <a:gd name="connsiteY116" fmla="*/ 1454 h 9872"/>
                    <a:gd name="connsiteX117" fmla="*/ 4778 w 10000"/>
                    <a:gd name="connsiteY117" fmla="*/ 1362 h 9872"/>
                    <a:gd name="connsiteX118" fmla="*/ 5000 w 10000"/>
                    <a:gd name="connsiteY118" fmla="*/ 1285 h 9872"/>
                    <a:gd name="connsiteX119" fmla="*/ 5000 w 10000"/>
                    <a:gd name="connsiteY119" fmla="*/ 1285 h 9872"/>
                    <a:gd name="connsiteX120" fmla="*/ 5556 w 10000"/>
                    <a:gd name="connsiteY120" fmla="*/ 1131 h 9872"/>
                    <a:gd name="connsiteX121" fmla="*/ 6111 w 10000"/>
                    <a:gd name="connsiteY121" fmla="*/ 928 h 9872"/>
                    <a:gd name="connsiteX122" fmla="*/ 6667 w 10000"/>
                    <a:gd name="connsiteY122" fmla="*/ 742 h 9872"/>
                    <a:gd name="connsiteX123" fmla="*/ 7056 w 10000"/>
                    <a:gd name="connsiteY123" fmla="*/ 574 h 9872"/>
                    <a:gd name="connsiteX124" fmla="*/ 7056 w 10000"/>
                    <a:gd name="connsiteY124" fmla="*/ 574 h 9872"/>
                    <a:gd name="connsiteX125" fmla="*/ 7333 w 10000"/>
                    <a:gd name="connsiteY125" fmla="*/ 419 h 9872"/>
                    <a:gd name="connsiteX126" fmla="*/ 7667 w 10000"/>
                    <a:gd name="connsiteY126" fmla="*/ 232 h 9872"/>
                    <a:gd name="connsiteX127" fmla="*/ 8000 w 10000"/>
                    <a:gd name="connsiteY127" fmla="*/ 92 h 9872"/>
                    <a:gd name="connsiteX128" fmla="*/ 8167 w 10000"/>
                    <a:gd name="connsiteY128" fmla="*/ 29 h 9872"/>
                    <a:gd name="connsiteX129" fmla="*/ 8333 w 10000"/>
                    <a:gd name="connsiteY129" fmla="*/ 15 h 9872"/>
                    <a:gd name="connsiteX130" fmla="*/ 8333 w 10000"/>
                    <a:gd name="connsiteY130" fmla="*/ 15 h 9872"/>
                    <a:gd name="connsiteX131" fmla="*/ 8667 w 10000"/>
                    <a:gd name="connsiteY131" fmla="*/ 0 h 9872"/>
                    <a:gd name="connsiteX132" fmla="*/ 9111 w 10000"/>
                    <a:gd name="connsiteY132" fmla="*/ 0 h 9872"/>
                    <a:gd name="connsiteX133" fmla="*/ 10000 w 10000"/>
                    <a:gd name="connsiteY133" fmla="*/ 15 h 9872"/>
                    <a:gd name="connsiteX134" fmla="*/ 10000 w 10000"/>
                    <a:gd name="connsiteY134" fmla="*/ 9473 h 9872"/>
                    <a:gd name="connsiteX135" fmla="*/ 10000 w 10000"/>
                    <a:gd name="connsiteY135" fmla="*/ 9473 h 9872"/>
                    <a:gd name="connsiteX136" fmla="*/ 9722 w 10000"/>
                    <a:gd name="connsiteY136" fmla="*/ 9457 h 9872"/>
                    <a:gd name="connsiteX137" fmla="*/ 9389 w 10000"/>
                    <a:gd name="connsiteY137" fmla="*/ 9473 h 9872"/>
                    <a:gd name="connsiteX138" fmla="*/ 9389 w 10000"/>
                    <a:gd name="connsiteY138" fmla="*/ 9473 h 9872"/>
                    <a:gd name="connsiteX139" fmla="*/ 9278 w 10000"/>
                    <a:gd name="connsiteY139" fmla="*/ 9488 h 9872"/>
                    <a:gd name="connsiteX140" fmla="*/ 9056 w 10000"/>
                    <a:gd name="connsiteY140" fmla="*/ 9473 h 9872"/>
                    <a:gd name="connsiteX141" fmla="*/ 8722 w 10000"/>
                    <a:gd name="connsiteY141" fmla="*/ 9426 h 9872"/>
                    <a:gd name="connsiteX142" fmla="*/ 8444 w 10000"/>
                    <a:gd name="connsiteY142" fmla="*/ 9303 h 9872"/>
                    <a:gd name="connsiteX143" fmla="*/ 8444 w 10000"/>
                    <a:gd name="connsiteY143" fmla="*/ 9303 h 9872"/>
                    <a:gd name="connsiteX144" fmla="*/ 8111 w 10000"/>
                    <a:gd name="connsiteY144" fmla="*/ 9102 h 9872"/>
                    <a:gd name="connsiteX145" fmla="*/ 7778 w 10000"/>
                    <a:gd name="connsiteY145" fmla="*/ 9024 h 9872"/>
                    <a:gd name="connsiteX146" fmla="*/ 7556 w 10000"/>
                    <a:gd name="connsiteY146" fmla="*/ 9008 h 9872"/>
                    <a:gd name="connsiteX147" fmla="*/ 7000 w 10000"/>
                    <a:gd name="connsiteY147" fmla="*/ 8976 h 9872"/>
                    <a:gd name="connsiteX148" fmla="*/ 6556 w 10000"/>
                    <a:gd name="connsiteY148" fmla="*/ 8993 h 9872"/>
                    <a:gd name="connsiteX149" fmla="*/ 6222 w 10000"/>
                    <a:gd name="connsiteY149" fmla="*/ 8993 h 9872"/>
                    <a:gd name="connsiteX150" fmla="*/ 6111 w 10000"/>
                    <a:gd name="connsiteY150" fmla="*/ 8976 h 9872"/>
                    <a:gd name="connsiteX151" fmla="*/ 6056 w 10000"/>
                    <a:gd name="connsiteY151" fmla="*/ 8684 h 9872"/>
                    <a:gd name="connsiteX152" fmla="*/ 6056 w 10000"/>
                    <a:gd name="connsiteY152" fmla="*/ 8622 h 9872"/>
                    <a:gd name="connsiteX153" fmla="*/ 5944 w 10000"/>
                    <a:gd name="connsiteY153" fmla="*/ 8545 h 9872"/>
                    <a:gd name="connsiteX154" fmla="*/ 5889 w 10000"/>
                    <a:gd name="connsiteY154" fmla="*/ 8530 h 9872"/>
                    <a:gd name="connsiteX155" fmla="*/ 5667 w 10000"/>
                    <a:gd name="connsiteY155" fmla="*/ 8513 h 9872"/>
                    <a:gd name="connsiteX156" fmla="*/ 4889 w 10000"/>
                    <a:gd name="connsiteY156" fmla="*/ 8637 h 9872"/>
                    <a:gd name="connsiteX157" fmla="*/ 4611 w 10000"/>
                    <a:gd name="connsiteY157" fmla="*/ 8666 h 9872"/>
                    <a:gd name="connsiteX158" fmla="*/ 4500 w 10000"/>
                    <a:gd name="connsiteY158" fmla="*/ 8666 h 9872"/>
                    <a:gd name="connsiteX159" fmla="*/ 4222 w 10000"/>
                    <a:gd name="connsiteY159" fmla="*/ 8513 h 9872"/>
                    <a:gd name="connsiteX160" fmla="*/ 4222 w 10000"/>
                    <a:gd name="connsiteY160" fmla="*/ 8513 h 9872"/>
                    <a:gd name="connsiteX161" fmla="*/ 4111 w 10000"/>
                    <a:gd name="connsiteY161" fmla="*/ 8436 h 9872"/>
                    <a:gd name="connsiteX162" fmla="*/ 4111 w 10000"/>
                    <a:gd name="connsiteY162" fmla="*/ 8343 h 9872"/>
                    <a:gd name="connsiteX163" fmla="*/ 4111 w 10000"/>
                    <a:gd name="connsiteY163" fmla="*/ 8343 h 9872"/>
                    <a:gd name="connsiteX164" fmla="*/ 4278 w 10000"/>
                    <a:gd name="connsiteY164" fmla="*/ 8295 h 9872"/>
                    <a:gd name="connsiteX165" fmla="*/ 4389 w 10000"/>
                    <a:gd name="connsiteY165" fmla="*/ 8280 h 9872"/>
                    <a:gd name="connsiteX166" fmla="*/ 4389 w 10000"/>
                    <a:gd name="connsiteY166" fmla="*/ 8280 h 9872"/>
                    <a:gd name="connsiteX167" fmla="*/ 3722 w 10000"/>
                    <a:gd name="connsiteY167" fmla="*/ 8295 h 9872"/>
                    <a:gd name="connsiteX168" fmla="*/ 3611 w 10000"/>
                    <a:gd name="connsiteY168" fmla="*/ 8311 h 9872"/>
                    <a:gd name="connsiteX169" fmla="*/ 3556 w 10000"/>
                    <a:gd name="connsiteY169" fmla="*/ 8327 h 9872"/>
                    <a:gd name="connsiteX170" fmla="*/ 3556 w 10000"/>
                    <a:gd name="connsiteY170" fmla="*/ 8327 h 9872"/>
                    <a:gd name="connsiteX171" fmla="*/ 3444 w 10000"/>
                    <a:gd name="connsiteY171" fmla="*/ 8389 h 9872"/>
                    <a:gd name="connsiteX172" fmla="*/ 3278 w 10000"/>
                    <a:gd name="connsiteY172" fmla="*/ 8482 h 9872"/>
                    <a:gd name="connsiteX173" fmla="*/ 2667 w 10000"/>
                    <a:gd name="connsiteY173" fmla="*/ 8666 h 9872"/>
                    <a:gd name="connsiteX174" fmla="*/ 889 w 10000"/>
                    <a:gd name="connsiteY174" fmla="*/ 8837 h 9872"/>
                    <a:gd name="connsiteX175" fmla="*/ 500 w 10000"/>
                    <a:gd name="connsiteY175" fmla="*/ 8853 h 9872"/>
                    <a:gd name="connsiteX176" fmla="*/ 222 w 10000"/>
                    <a:gd name="connsiteY176" fmla="*/ 8869 h 9872"/>
                    <a:gd name="connsiteX177" fmla="*/ 0 w 10000"/>
                    <a:gd name="connsiteY177" fmla="*/ 8884 h 9872"/>
                    <a:gd name="connsiteX178" fmla="*/ 722 w 10000"/>
                    <a:gd name="connsiteY178" fmla="*/ 9473 h 9872"/>
                    <a:gd name="connsiteX179" fmla="*/ 944 w 10000"/>
                    <a:gd name="connsiteY179" fmla="*/ 9642 h 9872"/>
                    <a:gd name="connsiteX180" fmla="*/ 1216 w 10000"/>
                    <a:gd name="connsiteY180" fmla="*/ 9872 h 9872"/>
                    <a:gd name="connsiteX181" fmla="*/ 10000 w 10000"/>
                    <a:gd name="connsiteY181" fmla="*/ 9457 h 9872"/>
                    <a:gd name="connsiteX0" fmla="*/ 10000 w 10000"/>
                    <a:gd name="connsiteY0" fmla="*/ 9580 h 9767"/>
                    <a:gd name="connsiteX1" fmla="*/ 10000 w 10000"/>
                    <a:gd name="connsiteY1" fmla="*/ 9580 h 9767"/>
                    <a:gd name="connsiteX2" fmla="*/ 9222 w 10000"/>
                    <a:gd name="connsiteY2" fmla="*/ 9596 h 9767"/>
                    <a:gd name="connsiteX3" fmla="*/ 8944 w 10000"/>
                    <a:gd name="connsiteY3" fmla="*/ 9596 h 9767"/>
                    <a:gd name="connsiteX4" fmla="*/ 8833 w 10000"/>
                    <a:gd name="connsiteY4" fmla="*/ 9580 h 9767"/>
                    <a:gd name="connsiteX5" fmla="*/ 8778 w 10000"/>
                    <a:gd name="connsiteY5" fmla="*/ 9563 h 9767"/>
                    <a:gd name="connsiteX6" fmla="*/ 8778 w 10000"/>
                    <a:gd name="connsiteY6" fmla="*/ 9563 h 9767"/>
                    <a:gd name="connsiteX7" fmla="*/ 8444 w 10000"/>
                    <a:gd name="connsiteY7" fmla="*/ 9376 h 9767"/>
                    <a:gd name="connsiteX8" fmla="*/ 8167 w 10000"/>
                    <a:gd name="connsiteY8" fmla="*/ 9204 h 9767"/>
                    <a:gd name="connsiteX9" fmla="*/ 8167 w 10000"/>
                    <a:gd name="connsiteY9" fmla="*/ 9204 h 9767"/>
                    <a:gd name="connsiteX10" fmla="*/ 8056 w 10000"/>
                    <a:gd name="connsiteY10" fmla="*/ 9173 h 9767"/>
                    <a:gd name="connsiteX11" fmla="*/ 7889 w 10000"/>
                    <a:gd name="connsiteY11" fmla="*/ 9141 h 9767"/>
                    <a:gd name="connsiteX12" fmla="*/ 7444 w 10000"/>
                    <a:gd name="connsiteY12" fmla="*/ 9125 h 9767"/>
                    <a:gd name="connsiteX13" fmla="*/ 6889 w 10000"/>
                    <a:gd name="connsiteY13" fmla="*/ 9110 h 9767"/>
                    <a:gd name="connsiteX14" fmla="*/ 6389 w 10000"/>
                    <a:gd name="connsiteY14" fmla="*/ 9110 h 9767"/>
                    <a:gd name="connsiteX15" fmla="*/ 6389 w 10000"/>
                    <a:gd name="connsiteY15" fmla="*/ 9110 h 9767"/>
                    <a:gd name="connsiteX16" fmla="*/ 6167 w 10000"/>
                    <a:gd name="connsiteY16" fmla="*/ 9092 h 9767"/>
                    <a:gd name="connsiteX17" fmla="*/ 6056 w 10000"/>
                    <a:gd name="connsiteY17" fmla="*/ 9063 h 9767"/>
                    <a:gd name="connsiteX18" fmla="*/ 6000 w 10000"/>
                    <a:gd name="connsiteY18" fmla="*/ 9030 h 9767"/>
                    <a:gd name="connsiteX19" fmla="*/ 6056 w 10000"/>
                    <a:gd name="connsiteY19" fmla="*/ 8842 h 9767"/>
                    <a:gd name="connsiteX20" fmla="*/ 6111 w 10000"/>
                    <a:gd name="connsiteY20" fmla="*/ 8778 h 9767"/>
                    <a:gd name="connsiteX21" fmla="*/ 6056 w 10000"/>
                    <a:gd name="connsiteY21" fmla="*/ 8702 h 9767"/>
                    <a:gd name="connsiteX22" fmla="*/ 6056 w 10000"/>
                    <a:gd name="connsiteY22" fmla="*/ 8702 h 9767"/>
                    <a:gd name="connsiteX23" fmla="*/ 6000 w 10000"/>
                    <a:gd name="connsiteY23" fmla="*/ 8656 h 9767"/>
                    <a:gd name="connsiteX24" fmla="*/ 5944 w 10000"/>
                    <a:gd name="connsiteY24" fmla="*/ 8623 h 9767"/>
                    <a:gd name="connsiteX25" fmla="*/ 5833 w 10000"/>
                    <a:gd name="connsiteY25" fmla="*/ 8623 h 9767"/>
                    <a:gd name="connsiteX26" fmla="*/ 5667 w 10000"/>
                    <a:gd name="connsiteY26" fmla="*/ 8641 h 9767"/>
                    <a:gd name="connsiteX27" fmla="*/ 5333 w 10000"/>
                    <a:gd name="connsiteY27" fmla="*/ 8686 h 9767"/>
                    <a:gd name="connsiteX28" fmla="*/ 4889 w 10000"/>
                    <a:gd name="connsiteY28" fmla="*/ 8764 h 9767"/>
                    <a:gd name="connsiteX29" fmla="*/ 4889 w 10000"/>
                    <a:gd name="connsiteY29" fmla="*/ 8764 h 9767"/>
                    <a:gd name="connsiteX30" fmla="*/ 4611 w 10000"/>
                    <a:gd name="connsiteY30" fmla="*/ 8778 h 9767"/>
                    <a:gd name="connsiteX31" fmla="*/ 4500 w 10000"/>
                    <a:gd name="connsiteY31" fmla="*/ 8778 h 9767"/>
                    <a:gd name="connsiteX32" fmla="*/ 4444 w 10000"/>
                    <a:gd name="connsiteY32" fmla="*/ 8764 h 9767"/>
                    <a:gd name="connsiteX33" fmla="*/ 4222 w 10000"/>
                    <a:gd name="connsiteY33" fmla="*/ 8623 h 9767"/>
                    <a:gd name="connsiteX34" fmla="*/ 4222 w 10000"/>
                    <a:gd name="connsiteY34" fmla="*/ 8623 h 9767"/>
                    <a:gd name="connsiteX35" fmla="*/ 4111 w 10000"/>
                    <a:gd name="connsiteY35" fmla="*/ 8577 h 9767"/>
                    <a:gd name="connsiteX36" fmla="*/ 4111 w 10000"/>
                    <a:gd name="connsiteY36" fmla="*/ 8530 h 9767"/>
                    <a:gd name="connsiteX37" fmla="*/ 4111 w 10000"/>
                    <a:gd name="connsiteY37" fmla="*/ 8498 h 9767"/>
                    <a:gd name="connsiteX38" fmla="*/ 4167 w 10000"/>
                    <a:gd name="connsiteY38" fmla="*/ 8466 h 9767"/>
                    <a:gd name="connsiteX39" fmla="*/ 4278 w 10000"/>
                    <a:gd name="connsiteY39" fmla="*/ 8403 h 9767"/>
                    <a:gd name="connsiteX40" fmla="*/ 4389 w 10000"/>
                    <a:gd name="connsiteY40" fmla="*/ 8387 h 9767"/>
                    <a:gd name="connsiteX41" fmla="*/ 4389 w 10000"/>
                    <a:gd name="connsiteY41" fmla="*/ 8387 h 9767"/>
                    <a:gd name="connsiteX42" fmla="*/ 4389 w 10000"/>
                    <a:gd name="connsiteY42" fmla="*/ 8373 h 9767"/>
                    <a:gd name="connsiteX43" fmla="*/ 4444 w 10000"/>
                    <a:gd name="connsiteY43" fmla="*/ 8357 h 9767"/>
                    <a:gd name="connsiteX44" fmla="*/ 7986 w 10000"/>
                    <a:gd name="connsiteY44" fmla="*/ 8114 h 9767"/>
                    <a:gd name="connsiteX45" fmla="*/ 8389 w 10000"/>
                    <a:gd name="connsiteY45" fmla="*/ 8122 h 9767"/>
                    <a:gd name="connsiteX46" fmla="*/ 8389 w 10000"/>
                    <a:gd name="connsiteY46" fmla="*/ 8122 h 9767"/>
                    <a:gd name="connsiteX47" fmla="*/ 8667 w 10000"/>
                    <a:gd name="connsiteY47" fmla="*/ 8090 h 9767"/>
                    <a:gd name="connsiteX48" fmla="*/ 8889 w 10000"/>
                    <a:gd name="connsiteY48" fmla="*/ 8013 h 9767"/>
                    <a:gd name="connsiteX49" fmla="*/ 8833 w 10000"/>
                    <a:gd name="connsiteY49" fmla="*/ 7981 h 9767"/>
                    <a:gd name="connsiteX50" fmla="*/ 8833 w 10000"/>
                    <a:gd name="connsiteY50" fmla="*/ 7951 h 9767"/>
                    <a:gd name="connsiteX51" fmla="*/ 8556 w 10000"/>
                    <a:gd name="connsiteY51" fmla="*/ 7871 h 9767"/>
                    <a:gd name="connsiteX52" fmla="*/ 6556 w 10000"/>
                    <a:gd name="connsiteY52" fmla="*/ 7588 h 9767"/>
                    <a:gd name="connsiteX53" fmla="*/ 6556 w 10000"/>
                    <a:gd name="connsiteY53" fmla="*/ 7588 h 9767"/>
                    <a:gd name="connsiteX54" fmla="*/ 6333 w 10000"/>
                    <a:gd name="connsiteY54" fmla="*/ 7542 h 9767"/>
                    <a:gd name="connsiteX55" fmla="*/ 6167 w 10000"/>
                    <a:gd name="connsiteY55" fmla="*/ 7494 h 9767"/>
                    <a:gd name="connsiteX56" fmla="*/ 6056 w 10000"/>
                    <a:gd name="connsiteY56" fmla="*/ 7447 h 9767"/>
                    <a:gd name="connsiteX57" fmla="*/ 6056 w 10000"/>
                    <a:gd name="connsiteY57" fmla="*/ 7447 h 9767"/>
                    <a:gd name="connsiteX58" fmla="*/ 8056 w 10000"/>
                    <a:gd name="connsiteY58" fmla="*/ 7431 h 9767"/>
                    <a:gd name="connsiteX59" fmla="*/ 10000 w 10000"/>
                    <a:gd name="connsiteY59" fmla="*/ 7588 h 9767"/>
                    <a:gd name="connsiteX60" fmla="*/ 10000 w 10000"/>
                    <a:gd name="connsiteY60" fmla="*/ 6162 h 9767"/>
                    <a:gd name="connsiteX61" fmla="*/ 10000 w 10000"/>
                    <a:gd name="connsiteY61" fmla="*/ 6162 h 9767"/>
                    <a:gd name="connsiteX62" fmla="*/ 7778 w 10000"/>
                    <a:gd name="connsiteY62" fmla="*/ 5832 h 9767"/>
                    <a:gd name="connsiteX63" fmla="*/ 6556 w 10000"/>
                    <a:gd name="connsiteY63" fmla="*/ 5644 h 9767"/>
                    <a:gd name="connsiteX64" fmla="*/ 6556 w 10000"/>
                    <a:gd name="connsiteY64" fmla="*/ 5644 h 9767"/>
                    <a:gd name="connsiteX65" fmla="*/ 6556 w 10000"/>
                    <a:gd name="connsiteY65" fmla="*/ 5629 h 9767"/>
                    <a:gd name="connsiteX66" fmla="*/ 6556 w 10000"/>
                    <a:gd name="connsiteY66" fmla="*/ 5535 h 9767"/>
                    <a:gd name="connsiteX67" fmla="*/ 6556 w 10000"/>
                    <a:gd name="connsiteY67" fmla="*/ 5535 h 9767"/>
                    <a:gd name="connsiteX68" fmla="*/ 6389 w 10000"/>
                    <a:gd name="connsiteY68" fmla="*/ 5424 h 9767"/>
                    <a:gd name="connsiteX69" fmla="*/ 6056 w 10000"/>
                    <a:gd name="connsiteY69" fmla="*/ 5253 h 9767"/>
                    <a:gd name="connsiteX70" fmla="*/ 5333 w 10000"/>
                    <a:gd name="connsiteY70" fmla="*/ 4923 h 9767"/>
                    <a:gd name="connsiteX71" fmla="*/ 5333 w 10000"/>
                    <a:gd name="connsiteY71" fmla="*/ 4923 h 9767"/>
                    <a:gd name="connsiteX72" fmla="*/ 5167 w 10000"/>
                    <a:gd name="connsiteY72" fmla="*/ 4876 h 9767"/>
                    <a:gd name="connsiteX73" fmla="*/ 4889 w 10000"/>
                    <a:gd name="connsiteY73" fmla="*/ 4813 h 9767"/>
                    <a:gd name="connsiteX74" fmla="*/ 4056 w 10000"/>
                    <a:gd name="connsiteY74" fmla="*/ 4672 h 9767"/>
                    <a:gd name="connsiteX75" fmla="*/ 2889 w 10000"/>
                    <a:gd name="connsiteY75" fmla="*/ 4501 h 9767"/>
                    <a:gd name="connsiteX76" fmla="*/ 2889 w 10000"/>
                    <a:gd name="connsiteY76" fmla="*/ 4501 h 9767"/>
                    <a:gd name="connsiteX77" fmla="*/ 2389 w 10000"/>
                    <a:gd name="connsiteY77" fmla="*/ 4483 h 9767"/>
                    <a:gd name="connsiteX78" fmla="*/ 2000 w 10000"/>
                    <a:gd name="connsiteY78" fmla="*/ 4467 h 9767"/>
                    <a:gd name="connsiteX79" fmla="*/ 1889 w 10000"/>
                    <a:gd name="connsiteY79" fmla="*/ 4452 h 9767"/>
                    <a:gd name="connsiteX80" fmla="*/ 1778 w 10000"/>
                    <a:gd name="connsiteY80" fmla="*/ 4437 h 9767"/>
                    <a:gd name="connsiteX81" fmla="*/ 1778 w 10000"/>
                    <a:gd name="connsiteY81" fmla="*/ 4437 h 9767"/>
                    <a:gd name="connsiteX82" fmla="*/ 1667 w 10000"/>
                    <a:gd name="connsiteY82" fmla="*/ 4373 h 9767"/>
                    <a:gd name="connsiteX83" fmla="*/ 1500 w 10000"/>
                    <a:gd name="connsiteY83" fmla="*/ 4265 h 9767"/>
                    <a:gd name="connsiteX84" fmla="*/ 1444 w 10000"/>
                    <a:gd name="connsiteY84" fmla="*/ 4202 h 9767"/>
                    <a:gd name="connsiteX85" fmla="*/ 1444 w 10000"/>
                    <a:gd name="connsiteY85" fmla="*/ 4138 h 9767"/>
                    <a:gd name="connsiteX86" fmla="*/ 1444 w 10000"/>
                    <a:gd name="connsiteY86" fmla="*/ 4092 h 9767"/>
                    <a:gd name="connsiteX87" fmla="*/ 1556 w 10000"/>
                    <a:gd name="connsiteY87" fmla="*/ 4045 h 9767"/>
                    <a:gd name="connsiteX88" fmla="*/ 1556 w 10000"/>
                    <a:gd name="connsiteY88" fmla="*/ 4045 h 9767"/>
                    <a:gd name="connsiteX89" fmla="*/ 1833 w 10000"/>
                    <a:gd name="connsiteY89" fmla="*/ 3966 h 9767"/>
                    <a:gd name="connsiteX90" fmla="*/ 2111 w 10000"/>
                    <a:gd name="connsiteY90" fmla="*/ 3889 h 9767"/>
                    <a:gd name="connsiteX91" fmla="*/ 2278 w 10000"/>
                    <a:gd name="connsiteY91" fmla="*/ 3842 h 9767"/>
                    <a:gd name="connsiteX92" fmla="*/ 2389 w 10000"/>
                    <a:gd name="connsiteY92" fmla="*/ 3794 h 9767"/>
                    <a:gd name="connsiteX93" fmla="*/ 2389 w 10000"/>
                    <a:gd name="connsiteY93" fmla="*/ 3731 h 9767"/>
                    <a:gd name="connsiteX94" fmla="*/ 2389 w 10000"/>
                    <a:gd name="connsiteY94" fmla="*/ 3653 h 9767"/>
                    <a:gd name="connsiteX95" fmla="*/ 2389 w 10000"/>
                    <a:gd name="connsiteY95" fmla="*/ 3653 h 9767"/>
                    <a:gd name="connsiteX96" fmla="*/ 2167 w 10000"/>
                    <a:gd name="connsiteY96" fmla="*/ 3433 h 9767"/>
                    <a:gd name="connsiteX97" fmla="*/ 1889 w 10000"/>
                    <a:gd name="connsiteY97" fmla="*/ 3136 h 9767"/>
                    <a:gd name="connsiteX98" fmla="*/ 1667 w 10000"/>
                    <a:gd name="connsiteY98" fmla="*/ 2869 h 9767"/>
                    <a:gd name="connsiteX99" fmla="*/ 1611 w 10000"/>
                    <a:gd name="connsiteY99" fmla="*/ 2791 h 9767"/>
                    <a:gd name="connsiteX100" fmla="*/ 1611 w 10000"/>
                    <a:gd name="connsiteY100" fmla="*/ 2759 h 9767"/>
                    <a:gd name="connsiteX101" fmla="*/ 1667 w 10000"/>
                    <a:gd name="connsiteY101" fmla="*/ 2743 h 9767"/>
                    <a:gd name="connsiteX102" fmla="*/ 1667 w 10000"/>
                    <a:gd name="connsiteY102" fmla="*/ 2743 h 9767"/>
                    <a:gd name="connsiteX103" fmla="*/ 2000 w 10000"/>
                    <a:gd name="connsiteY103" fmla="*/ 2729 h 9767"/>
                    <a:gd name="connsiteX104" fmla="*/ 2222 w 10000"/>
                    <a:gd name="connsiteY104" fmla="*/ 2729 h 9767"/>
                    <a:gd name="connsiteX105" fmla="*/ 2389 w 10000"/>
                    <a:gd name="connsiteY105" fmla="*/ 2743 h 9767"/>
                    <a:gd name="connsiteX106" fmla="*/ 2389 w 10000"/>
                    <a:gd name="connsiteY106" fmla="*/ 2743 h 9767"/>
                    <a:gd name="connsiteX107" fmla="*/ 2444 w 10000"/>
                    <a:gd name="connsiteY107" fmla="*/ 2743 h 9767"/>
                    <a:gd name="connsiteX108" fmla="*/ 2500 w 10000"/>
                    <a:gd name="connsiteY108" fmla="*/ 2713 h 9767"/>
                    <a:gd name="connsiteX109" fmla="*/ 2778 w 10000"/>
                    <a:gd name="connsiteY109" fmla="*/ 2619 h 9767"/>
                    <a:gd name="connsiteX110" fmla="*/ 3500 w 10000"/>
                    <a:gd name="connsiteY110" fmla="*/ 2304 h 9767"/>
                    <a:gd name="connsiteX111" fmla="*/ 4444 w 10000"/>
                    <a:gd name="connsiteY111" fmla="*/ 1852 h 9767"/>
                    <a:gd name="connsiteX112" fmla="*/ 4444 w 10000"/>
                    <a:gd name="connsiteY112" fmla="*/ 1852 h 9767"/>
                    <a:gd name="connsiteX113" fmla="*/ 4444 w 10000"/>
                    <a:gd name="connsiteY113" fmla="*/ 1787 h 9767"/>
                    <a:gd name="connsiteX114" fmla="*/ 4444 w 10000"/>
                    <a:gd name="connsiteY114" fmla="*/ 1644 h 9767"/>
                    <a:gd name="connsiteX115" fmla="*/ 4500 w 10000"/>
                    <a:gd name="connsiteY115" fmla="*/ 1552 h 9767"/>
                    <a:gd name="connsiteX116" fmla="*/ 4611 w 10000"/>
                    <a:gd name="connsiteY116" fmla="*/ 1473 h 9767"/>
                    <a:gd name="connsiteX117" fmla="*/ 4778 w 10000"/>
                    <a:gd name="connsiteY117" fmla="*/ 1380 h 9767"/>
                    <a:gd name="connsiteX118" fmla="*/ 5000 w 10000"/>
                    <a:gd name="connsiteY118" fmla="*/ 1302 h 9767"/>
                    <a:gd name="connsiteX119" fmla="*/ 5000 w 10000"/>
                    <a:gd name="connsiteY119" fmla="*/ 1302 h 9767"/>
                    <a:gd name="connsiteX120" fmla="*/ 5556 w 10000"/>
                    <a:gd name="connsiteY120" fmla="*/ 1146 h 9767"/>
                    <a:gd name="connsiteX121" fmla="*/ 6111 w 10000"/>
                    <a:gd name="connsiteY121" fmla="*/ 940 h 9767"/>
                    <a:gd name="connsiteX122" fmla="*/ 6667 w 10000"/>
                    <a:gd name="connsiteY122" fmla="*/ 752 h 9767"/>
                    <a:gd name="connsiteX123" fmla="*/ 7056 w 10000"/>
                    <a:gd name="connsiteY123" fmla="*/ 581 h 9767"/>
                    <a:gd name="connsiteX124" fmla="*/ 7056 w 10000"/>
                    <a:gd name="connsiteY124" fmla="*/ 581 h 9767"/>
                    <a:gd name="connsiteX125" fmla="*/ 7333 w 10000"/>
                    <a:gd name="connsiteY125" fmla="*/ 424 h 9767"/>
                    <a:gd name="connsiteX126" fmla="*/ 7667 w 10000"/>
                    <a:gd name="connsiteY126" fmla="*/ 235 h 9767"/>
                    <a:gd name="connsiteX127" fmla="*/ 8000 w 10000"/>
                    <a:gd name="connsiteY127" fmla="*/ 93 h 9767"/>
                    <a:gd name="connsiteX128" fmla="*/ 8167 w 10000"/>
                    <a:gd name="connsiteY128" fmla="*/ 29 h 9767"/>
                    <a:gd name="connsiteX129" fmla="*/ 8333 w 10000"/>
                    <a:gd name="connsiteY129" fmla="*/ 15 h 9767"/>
                    <a:gd name="connsiteX130" fmla="*/ 8333 w 10000"/>
                    <a:gd name="connsiteY130" fmla="*/ 15 h 9767"/>
                    <a:gd name="connsiteX131" fmla="*/ 8667 w 10000"/>
                    <a:gd name="connsiteY131" fmla="*/ 0 h 9767"/>
                    <a:gd name="connsiteX132" fmla="*/ 9111 w 10000"/>
                    <a:gd name="connsiteY132" fmla="*/ 0 h 9767"/>
                    <a:gd name="connsiteX133" fmla="*/ 10000 w 10000"/>
                    <a:gd name="connsiteY133" fmla="*/ 15 h 9767"/>
                    <a:gd name="connsiteX134" fmla="*/ 10000 w 10000"/>
                    <a:gd name="connsiteY134" fmla="*/ 9596 h 9767"/>
                    <a:gd name="connsiteX135" fmla="*/ 10000 w 10000"/>
                    <a:gd name="connsiteY135" fmla="*/ 9596 h 9767"/>
                    <a:gd name="connsiteX136" fmla="*/ 9722 w 10000"/>
                    <a:gd name="connsiteY136" fmla="*/ 9580 h 9767"/>
                    <a:gd name="connsiteX137" fmla="*/ 9389 w 10000"/>
                    <a:gd name="connsiteY137" fmla="*/ 9596 h 9767"/>
                    <a:gd name="connsiteX138" fmla="*/ 9389 w 10000"/>
                    <a:gd name="connsiteY138" fmla="*/ 9596 h 9767"/>
                    <a:gd name="connsiteX139" fmla="*/ 9278 w 10000"/>
                    <a:gd name="connsiteY139" fmla="*/ 9611 h 9767"/>
                    <a:gd name="connsiteX140" fmla="*/ 9056 w 10000"/>
                    <a:gd name="connsiteY140" fmla="*/ 9596 h 9767"/>
                    <a:gd name="connsiteX141" fmla="*/ 8722 w 10000"/>
                    <a:gd name="connsiteY141" fmla="*/ 9548 h 9767"/>
                    <a:gd name="connsiteX142" fmla="*/ 8444 w 10000"/>
                    <a:gd name="connsiteY142" fmla="*/ 9424 h 9767"/>
                    <a:gd name="connsiteX143" fmla="*/ 8444 w 10000"/>
                    <a:gd name="connsiteY143" fmla="*/ 9424 h 9767"/>
                    <a:gd name="connsiteX144" fmla="*/ 8111 w 10000"/>
                    <a:gd name="connsiteY144" fmla="*/ 9220 h 9767"/>
                    <a:gd name="connsiteX145" fmla="*/ 7778 w 10000"/>
                    <a:gd name="connsiteY145" fmla="*/ 9141 h 9767"/>
                    <a:gd name="connsiteX146" fmla="*/ 7556 w 10000"/>
                    <a:gd name="connsiteY146" fmla="*/ 9125 h 9767"/>
                    <a:gd name="connsiteX147" fmla="*/ 7000 w 10000"/>
                    <a:gd name="connsiteY147" fmla="*/ 9092 h 9767"/>
                    <a:gd name="connsiteX148" fmla="*/ 6556 w 10000"/>
                    <a:gd name="connsiteY148" fmla="*/ 9110 h 9767"/>
                    <a:gd name="connsiteX149" fmla="*/ 6222 w 10000"/>
                    <a:gd name="connsiteY149" fmla="*/ 9110 h 9767"/>
                    <a:gd name="connsiteX150" fmla="*/ 6111 w 10000"/>
                    <a:gd name="connsiteY150" fmla="*/ 9092 h 9767"/>
                    <a:gd name="connsiteX151" fmla="*/ 6056 w 10000"/>
                    <a:gd name="connsiteY151" fmla="*/ 8797 h 9767"/>
                    <a:gd name="connsiteX152" fmla="*/ 6056 w 10000"/>
                    <a:gd name="connsiteY152" fmla="*/ 8734 h 9767"/>
                    <a:gd name="connsiteX153" fmla="*/ 5944 w 10000"/>
                    <a:gd name="connsiteY153" fmla="*/ 8656 h 9767"/>
                    <a:gd name="connsiteX154" fmla="*/ 5889 w 10000"/>
                    <a:gd name="connsiteY154" fmla="*/ 8641 h 9767"/>
                    <a:gd name="connsiteX155" fmla="*/ 5667 w 10000"/>
                    <a:gd name="connsiteY155" fmla="*/ 8623 h 9767"/>
                    <a:gd name="connsiteX156" fmla="*/ 4889 w 10000"/>
                    <a:gd name="connsiteY156" fmla="*/ 8749 h 9767"/>
                    <a:gd name="connsiteX157" fmla="*/ 4611 w 10000"/>
                    <a:gd name="connsiteY157" fmla="*/ 8778 h 9767"/>
                    <a:gd name="connsiteX158" fmla="*/ 4500 w 10000"/>
                    <a:gd name="connsiteY158" fmla="*/ 8778 h 9767"/>
                    <a:gd name="connsiteX159" fmla="*/ 4222 w 10000"/>
                    <a:gd name="connsiteY159" fmla="*/ 8623 h 9767"/>
                    <a:gd name="connsiteX160" fmla="*/ 4222 w 10000"/>
                    <a:gd name="connsiteY160" fmla="*/ 8623 h 9767"/>
                    <a:gd name="connsiteX161" fmla="*/ 4111 w 10000"/>
                    <a:gd name="connsiteY161" fmla="*/ 8545 h 9767"/>
                    <a:gd name="connsiteX162" fmla="*/ 4111 w 10000"/>
                    <a:gd name="connsiteY162" fmla="*/ 8451 h 9767"/>
                    <a:gd name="connsiteX163" fmla="*/ 4111 w 10000"/>
                    <a:gd name="connsiteY163" fmla="*/ 8451 h 9767"/>
                    <a:gd name="connsiteX164" fmla="*/ 4278 w 10000"/>
                    <a:gd name="connsiteY164" fmla="*/ 8403 h 9767"/>
                    <a:gd name="connsiteX165" fmla="*/ 4389 w 10000"/>
                    <a:gd name="connsiteY165" fmla="*/ 8387 h 9767"/>
                    <a:gd name="connsiteX166" fmla="*/ 4389 w 10000"/>
                    <a:gd name="connsiteY166" fmla="*/ 8387 h 9767"/>
                    <a:gd name="connsiteX167" fmla="*/ 3722 w 10000"/>
                    <a:gd name="connsiteY167" fmla="*/ 8403 h 9767"/>
                    <a:gd name="connsiteX168" fmla="*/ 3611 w 10000"/>
                    <a:gd name="connsiteY168" fmla="*/ 8419 h 9767"/>
                    <a:gd name="connsiteX169" fmla="*/ 3556 w 10000"/>
                    <a:gd name="connsiteY169" fmla="*/ 8435 h 9767"/>
                    <a:gd name="connsiteX170" fmla="*/ 3556 w 10000"/>
                    <a:gd name="connsiteY170" fmla="*/ 8435 h 9767"/>
                    <a:gd name="connsiteX171" fmla="*/ 3444 w 10000"/>
                    <a:gd name="connsiteY171" fmla="*/ 8498 h 9767"/>
                    <a:gd name="connsiteX172" fmla="*/ 3278 w 10000"/>
                    <a:gd name="connsiteY172" fmla="*/ 8592 h 9767"/>
                    <a:gd name="connsiteX173" fmla="*/ 2667 w 10000"/>
                    <a:gd name="connsiteY173" fmla="*/ 8778 h 9767"/>
                    <a:gd name="connsiteX174" fmla="*/ 889 w 10000"/>
                    <a:gd name="connsiteY174" fmla="*/ 8952 h 9767"/>
                    <a:gd name="connsiteX175" fmla="*/ 500 w 10000"/>
                    <a:gd name="connsiteY175" fmla="*/ 8968 h 9767"/>
                    <a:gd name="connsiteX176" fmla="*/ 222 w 10000"/>
                    <a:gd name="connsiteY176" fmla="*/ 8984 h 9767"/>
                    <a:gd name="connsiteX177" fmla="*/ 0 w 10000"/>
                    <a:gd name="connsiteY177" fmla="*/ 8999 h 9767"/>
                    <a:gd name="connsiteX178" fmla="*/ 722 w 10000"/>
                    <a:gd name="connsiteY178" fmla="*/ 9596 h 9767"/>
                    <a:gd name="connsiteX179" fmla="*/ 944 w 10000"/>
                    <a:gd name="connsiteY179" fmla="*/ 9767 h 9767"/>
                    <a:gd name="connsiteX180" fmla="*/ 10000 w 10000"/>
                    <a:gd name="connsiteY180" fmla="*/ 9580 h 9767"/>
                    <a:gd name="connsiteX0" fmla="*/ 10000 w 10000"/>
                    <a:gd name="connsiteY0" fmla="*/ 9809 h 9840"/>
                    <a:gd name="connsiteX1" fmla="*/ 10000 w 10000"/>
                    <a:gd name="connsiteY1" fmla="*/ 9809 h 9840"/>
                    <a:gd name="connsiteX2" fmla="*/ 9222 w 10000"/>
                    <a:gd name="connsiteY2" fmla="*/ 9825 h 9840"/>
                    <a:gd name="connsiteX3" fmla="*/ 8944 w 10000"/>
                    <a:gd name="connsiteY3" fmla="*/ 9825 h 9840"/>
                    <a:gd name="connsiteX4" fmla="*/ 8833 w 10000"/>
                    <a:gd name="connsiteY4" fmla="*/ 9809 h 9840"/>
                    <a:gd name="connsiteX5" fmla="*/ 8778 w 10000"/>
                    <a:gd name="connsiteY5" fmla="*/ 9791 h 9840"/>
                    <a:gd name="connsiteX6" fmla="*/ 8778 w 10000"/>
                    <a:gd name="connsiteY6" fmla="*/ 9791 h 9840"/>
                    <a:gd name="connsiteX7" fmla="*/ 8444 w 10000"/>
                    <a:gd name="connsiteY7" fmla="*/ 9600 h 9840"/>
                    <a:gd name="connsiteX8" fmla="*/ 8167 w 10000"/>
                    <a:gd name="connsiteY8" fmla="*/ 9424 h 9840"/>
                    <a:gd name="connsiteX9" fmla="*/ 8167 w 10000"/>
                    <a:gd name="connsiteY9" fmla="*/ 9424 h 9840"/>
                    <a:gd name="connsiteX10" fmla="*/ 8056 w 10000"/>
                    <a:gd name="connsiteY10" fmla="*/ 9392 h 9840"/>
                    <a:gd name="connsiteX11" fmla="*/ 7889 w 10000"/>
                    <a:gd name="connsiteY11" fmla="*/ 9359 h 9840"/>
                    <a:gd name="connsiteX12" fmla="*/ 7444 w 10000"/>
                    <a:gd name="connsiteY12" fmla="*/ 9343 h 9840"/>
                    <a:gd name="connsiteX13" fmla="*/ 6889 w 10000"/>
                    <a:gd name="connsiteY13" fmla="*/ 9327 h 9840"/>
                    <a:gd name="connsiteX14" fmla="*/ 6389 w 10000"/>
                    <a:gd name="connsiteY14" fmla="*/ 9327 h 9840"/>
                    <a:gd name="connsiteX15" fmla="*/ 6389 w 10000"/>
                    <a:gd name="connsiteY15" fmla="*/ 9327 h 9840"/>
                    <a:gd name="connsiteX16" fmla="*/ 6167 w 10000"/>
                    <a:gd name="connsiteY16" fmla="*/ 9309 h 9840"/>
                    <a:gd name="connsiteX17" fmla="*/ 6056 w 10000"/>
                    <a:gd name="connsiteY17" fmla="*/ 9279 h 9840"/>
                    <a:gd name="connsiteX18" fmla="*/ 6000 w 10000"/>
                    <a:gd name="connsiteY18" fmla="*/ 9245 h 9840"/>
                    <a:gd name="connsiteX19" fmla="*/ 6056 w 10000"/>
                    <a:gd name="connsiteY19" fmla="*/ 9053 h 9840"/>
                    <a:gd name="connsiteX20" fmla="*/ 6111 w 10000"/>
                    <a:gd name="connsiteY20" fmla="*/ 8987 h 9840"/>
                    <a:gd name="connsiteX21" fmla="*/ 6056 w 10000"/>
                    <a:gd name="connsiteY21" fmla="*/ 8910 h 9840"/>
                    <a:gd name="connsiteX22" fmla="*/ 6056 w 10000"/>
                    <a:gd name="connsiteY22" fmla="*/ 8910 h 9840"/>
                    <a:gd name="connsiteX23" fmla="*/ 6000 w 10000"/>
                    <a:gd name="connsiteY23" fmla="*/ 8862 h 9840"/>
                    <a:gd name="connsiteX24" fmla="*/ 5944 w 10000"/>
                    <a:gd name="connsiteY24" fmla="*/ 8829 h 9840"/>
                    <a:gd name="connsiteX25" fmla="*/ 5833 w 10000"/>
                    <a:gd name="connsiteY25" fmla="*/ 8829 h 9840"/>
                    <a:gd name="connsiteX26" fmla="*/ 5667 w 10000"/>
                    <a:gd name="connsiteY26" fmla="*/ 8847 h 9840"/>
                    <a:gd name="connsiteX27" fmla="*/ 5333 w 10000"/>
                    <a:gd name="connsiteY27" fmla="*/ 8893 h 9840"/>
                    <a:gd name="connsiteX28" fmla="*/ 4889 w 10000"/>
                    <a:gd name="connsiteY28" fmla="*/ 8973 h 9840"/>
                    <a:gd name="connsiteX29" fmla="*/ 4889 w 10000"/>
                    <a:gd name="connsiteY29" fmla="*/ 8973 h 9840"/>
                    <a:gd name="connsiteX30" fmla="*/ 4611 w 10000"/>
                    <a:gd name="connsiteY30" fmla="*/ 8987 h 9840"/>
                    <a:gd name="connsiteX31" fmla="*/ 4500 w 10000"/>
                    <a:gd name="connsiteY31" fmla="*/ 8987 h 9840"/>
                    <a:gd name="connsiteX32" fmla="*/ 4444 w 10000"/>
                    <a:gd name="connsiteY32" fmla="*/ 8973 h 9840"/>
                    <a:gd name="connsiteX33" fmla="*/ 4222 w 10000"/>
                    <a:gd name="connsiteY33" fmla="*/ 8829 h 9840"/>
                    <a:gd name="connsiteX34" fmla="*/ 4222 w 10000"/>
                    <a:gd name="connsiteY34" fmla="*/ 8829 h 9840"/>
                    <a:gd name="connsiteX35" fmla="*/ 4111 w 10000"/>
                    <a:gd name="connsiteY35" fmla="*/ 8782 h 9840"/>
                    <a:gd name="connsiteX36" fmla="*/ 4111 w 10000"/>
                    <a:gd name="connsiteY36" fmla="*/ 8733 h 9840"/>
                    <a:gd name="connsiteX37" fmla="*/ 4111 w 10000"/>
                    <a:gd name="connsiteY37" fmla="*/ 8701 h 9840"/>
                    <a:gd name="connsiteX38" fmla="*/ 4167 w 10000"/>
                    <a:gd name="connsiteY38" fmla="*/ 8668 h 9840"/>
                    <a:gd name="connsiteX39" fmla="*/ 4278 w 10000"/>
                    <a:gd name="connsiteY39" fmla="*/ 8603 h 9840"/>
                    <a:gd name="connsiteX40" fmla="*/ 4389 w 10000"/>
                    <a:gd name="connsiteY40" fmla="*/ 8587 h 9840"/>
                    <a:gd name="connsiteX41" fmla="*/ 4389 w 10000"/>
                    <a:gd name="connsiteY41" fmla="*/ 8587 h 9840"/>
                    <a:gd name="connsiteX42" fmla="*/ 4389 w 10000"/>
                    <a:gd name="connsiteY42" fmla="*/ 8573 h 9840"/>
                    <a:gd name="connsiteX43" fmla="*/ 4444 w 10000"/>
                    <a:gd name="connsiteY43" fmla="*/ 8556 h 9840"/>
                    <a:gd name="connsiteX44" fmla="*/ 7986 w 10000"/>
                    <a:gd name="connsiteY44" fmla="*/ 8308 h 9840"/>
                    <a:gd name="connsiteX45" fmla="*/ 8389 w 10000"/>
                    <a:gd name="connsiteY45" fmla="*/ 8316 h 9840"/>
                    <a:gd name="connsiteX46" fmla="*/ 8389 w 10000"/>
                    <a:gd name="connsiteY46" fmla="*/ 8316 h 9840"/>
                    <a:gd name="connsiteX47" fmla="*/ 8667 w 10000"/>
                    <a:gd name="connsiteY47" fmla="*/ 8283 h 9840"/>
                    <a:gd name="connsiteX48" fmla="*/ 8889 w 10000"/>
                    <a:gd name="connsiteY48" fmla="*/ 8204 h 9840"/>
                    <a:gd name="connsiteX49" fmla="*/ 8833 w 10000"/>
                    <a:gd name="connsiteY49" fmla="*/ 8171 h 9840"/>
                    <a:gd name="connsiteX50" fmla="*/ 8833 w 10000"/>
                    <a:gd name="connsiteY50" fmla="*/ 8141 h 9840"/>
                    <a:gd name="connsiteX51" fmla="*/ 8556 w 10000"/>
                    <a:gd name="connsiteY51" fmla="*/ 8059 h 9840"/>
                    <a:gd name="connsiteX52" fmla="*/ 6556 w 10000"/>
                    <a:gd name="connsiteY52" fmla="*/ 7769 h 9840"/>
                    <a:gd name="connsiteX53" fmla="*/ 6556 w 10000"/>
                    <a:gd name="connsiteY53" fmla="*/ 7769 h 9840"/>
                    <a:gd name="connsiteX54" fmla="*/ 6333 w 10000"/>
                    <a:gd name="connsiteY54" fmla="*/ 7722 h 9840"/>
                    <a:gd name="connsiteX55" fmla="*/ 6167 w 10000"/>
                    <a:gd name="connsiteY55" fmla="*/ 7673 h 9840"/>
                    <a:gd name="connsiteX56" fmla="*/ 6056 w 10000"/>
                    <a:gd name="connsiteY56" fmla="*/ 7625 h 9840"/>
                    <a:gd name="connsiteX57" fmla="*/ 6056 w 10000"/>
                    <a:gd name="connsiteY57" fmla="*/ 7625 h 9840"/>
                    <a:gd name="connsiteX58" fmla="*/ 8056 w 10000"/>
                    <a:gd name="connsiteY58" fmla="*/ 7608 h 9840"/>
                    <a:gd name="connsiteX59" fmla="*/ 10000 w 10000"/>
                    <a:gd name="connsiteY59" fmla="*/ 7769 h 9840"/>
                    <a:gd name="connsiteX60" fmla="*/ 10000 w 10000"/>
                    <a:gd name="connsiteY60" fmla="*/ 6309 h 9840"/>
                    <a:gd name="connsiteX61" fmla="*/ 10000 w 10000"/>
                    <a:gd name="connsiteY61" fmla="*/ 6309 h 9840"/>
                    <a:gd name="connsiteX62" fmla="*/ 7778 w 10000"/>
                    <a:gd name="connsiteY62" fmla="*/ 5971 h 9840"/>
                    <a:gd name="connsiteX63" fmla="*/ 6556 w 10000"/>
                    <a:gd name="connsiteY63" fmla="*/ 5779 h 9840"/>
                    <a:gd name="connsiteX64" fmla="*/ 6556 w 10000"/>
                    <a:gd name="connsiteY64" fmla="*/ 5779 h 9840"/>
                    <a:gd name="connsiteX65" fmla="*/ 6556 w 10000"/>
                    <a:gd name="connsiteY65" fmla="*/ 5763 h 9840"/>
                    <a:gd name="connsiteX66" fmla="*/ 6556 w 10000"/>
                    <a:gd name="connsiteY66" fmla="*/ 5667 h 9840"/>
                    <a:gd name="connsiteX67" fmla="*/ 6556 w 10000"/>
                    <a:gd name="connsiteY67" fmla="*/ 5667 h 9840"/>
                    <a:gd name="connsiteX68" fmla="*/ 6389 w 10000"/>
                    <a:gd name="connsiteY68" fmla="*/ 5553 h 9840"/>
                    <a:gd name="connsiteX69" fmla="*/ 6056 w 10000"/>
                    <a:gd name="connsiteY69" fmla="*/ 5378 h 9840"/>
                    <a:gd name="connsiteX70" fmla="*/ 5333 w 10000"/>
                    <a:gd name="connsiteY70" fmla="*/ 5040 h 9840"/>
                    <a:gd name="connsiteX71" fmla="*/ 5333 w 10000"/>
                    <a:gd name="connsiteY71" fmla="*/ 5040 h 9840"/>
                    <a:gd name="connsiteX72" fmla="*/ 5167 w 10000"/>
                    <a:gd name="connsiteY72" fmla="*/ 4992 h 9840"/>
                    <a:gd name="connsiteX73" fmla="*/ 4889 w 10000"/>
                    <a:gd name="connsiteY73" fmla="*/ 4928 h 9840"/>
                    <a:gd name="connsiteX74" fmla="*/ 4056 w 10000"/>
                    <a:gd name="connsiteY74" fmla="*/ 4783 h 9840"/>
                    <a:gd name="connsiteX75" fmla="*/ 2889 w 10000"/>
                    <a:gd name="connsiteY75" fmla="*/ 4608 h 9840"/>
                    <a:gd name="connsiteX76" fmla="*/ 2889 w 10000"/>
                    <a:gd name="connsiteY76" fmla="*/ 4608 h 9840"/>
                    <a:gd name="connsiteX77" fmla="*/ 2389 w 10000"/>
                    <a:gd name="connsiteY77" fmla="*/ 4590 h 9840"/>
                    <a:gd name="connsiteX78" fmla="*/ 2000 w 10000"/>
                    <a:gd name="connsiteY78" fmla="*/ 4574 h 9840"/>
                    <a:gd name="connsiteX79" fmla="*/ 1889 w 10000"/>
                    <a:gd name="connsiteY79" fmla="*/ 4558 h 9840"/>
                    <a:gd name="connsiteX80" fmla="*/ 1778 w 10000"/>
                    <a:gd name="connsiteY80" fmla="*/ 4543 h 9840"/>
                    <a:gd name="connsiteX81" fmla="*/ 1778 w 10000"/>
                    <a:gd name="connsiteY81" fmla="*/ 4543 h 9840"/>
                    <a:gd name="connsiteX82" fmla="*/ 1667 w 10000"/>
                    <a:gd name="connsiteY82" fmla="*/ 4477 h 9840"/>
                    <a:gd name="connsiteX83" fmla="*/ 1500 w 10000"/>
                    <a:gd name="connsiteY83" fmla="*/ 4367 h 9840"/>
                    <a:gd name="connsiteX84" fmla="*/ 1444 w 10000"/>
                    <a:gd name="connsiteY84" fmla="*/ 4302 h 9840"/>
                    <a:gd name="connsiteX85" fmla="*/ 1444 w 10000"/>
                    <a:gd name="connsiteY85" fmla="*/ 4237 h 9840"/>
                    <a:gd name="connsiteX86" fmla="*/ 1444 w 10000"/>
                    <a:gd name="connsiteY86" fmla="*/ 4190 h 9840"/>
                    <a:gd name="connsiteX87" fmla="*/ 1556 w 10000"/>
                    <a:gd name="connsiteY87" fmla="*/ 4141 h 9840"/>
                    <a:gd name="connsiteX88" fmla="*/ 1556 w 10000"/>
                    <a:gd name="connsiteY88" fmla="*/ 4141 h 9840"/>
                    <a:gd name="connsiteX89" fmla="*/ 1833 w 10000"/>
                    <a:gd name="connsiteY89" fmla="*/ 4061 h 9840"/>
                    <a:gd name="connsiteX90" fmla="*/ 2111 w 10000"/>
                    <a:gd name="connsiteY90" fmla="*/ 3982 h 9840"/>
                    <a:gd name="connsiteX91" fmla="*/ 2278 w 10000"/>
                    <a:gd name="connsiteY91" fmla="*/ 3934 h 9840"/>
                    <a:gd name="connsiteX92" fmla="*/ 2389 w 10000"/>
                    <a:gd name="connsiteY92" fmla="*/ 3885 h 9840"/>
                    <a:gd name="connsiteX93" fmla="*/ 2389 w 10000"/>
                    <a:gd name="connsiteY93" fmla="*/ 3820 h 9840"/>
                    <a:gd name="connsiteX94" fmla="*/ 2389 w 10000"/>
                    <a:gd name="connsiteY94" fmla="*/ 3740 h 9840"/>
                    <a:gd name="connsiteX95" fmla="*/ 2389 w 10000"/>
                    <a:gd name="connsiteY95" fmla="*/ 3740 h 9840"/>
                    <a:gd name="connsiteX96" fmla="*/ 2167 w 10000"/>
                    <a:gd name="connsiteY96" fmla="*/ 3515 h 9840"/>
                    <a:gd name="connsiteX97" fmla="*/ 1889 w 10000"/>
                    <a:gd name="connsiteY97" fmla="*/ 3211 h 9840"/>
                    <a:gd name="connsiteX98" fmla="*/ 1667 w 10000"/>
                    <a:gd name="connsiteY98" fmla="*/ 2937 h 9840"/>
                    <a:gd name="connsiteX99" fmla="*/ 1611 w 10000"/>
                    <a:gd name="connsiteY99" fmla="*/ 2858 h 9840"/>
                    <a:gd name="connsiteX100" fmla="*/ 1611 w 10000"/>
                    <a:gd name="connsiteY100" fmla="*/ 2825 h 9840"/>
                    <a:gd name="connsiteX101" fmla="*/ 1667 w 10000"/>
                    <a:gd name="connsiteY101" fmla="*/ 2808 h 9840"/>
                    <a:gd name="connsiteX102" fmla="*/ 1667 w 10000"/>
                    <a:gd name="connsiteY102" fmla="*/ 2808 h 9840"/>
                    <a:gd name="connsiteX103" fmla="*/ 2000 w 10000"/>
                    <a:gd name="connsiteY103" fmla="*/ 2794 h 9840"/>
                    <a:gd name="connsiteX104" fmla="*/ 2222 w 10000"/>
                    <a:gd name="connsiteY104" fmla="*/ 2794 h 9840"/>
                    <a:gd name="connsiteX105" fmla="*/ 2389 w 10000"/>
                    <a:gd name="connsiteY105" fmla="*/ 2808 h 9840"/>
                    <a:gd name="connsiteX106" fmla="*/ 2389 w 10000"/>
                    <a:gd name="connsiteY106" fmla="*/ 2808 h 9840"/>
                    <a:gd name="connsiteX107" fmla="*/ 2444 w 10000"/>
                    <a:gd name="connsiteY107" fmla="*/ 2808 h 9840"/>
                    <a:gd name="connsiteX108" fmla="*/ 2500 w 10000"/>
                    <a:gd name="connsiteY108" fmla="*/ 2778 h 9840"/>
                    <a:gd name="connsiteX109" fmla="*/ 2778 w 10000"/>
                    <a:gd name="connsiteY109" fmla="*/ 2681 h 9840"/>
                    <a:gd name="connsiteX110" fmla="*/ 3500 w 10000"/>
                    <a:gd name="connsiteY110" fmla="*/ 2359 h 9840"/>
                    <a:gd name="connsiteX111" fmla="*/ 4444 w 10000"/>
                    <a:gd name="connsiteY111" fmla="*/ 1896 h 9840"/>
                    <a:gd name="connsiteX112" fmla="*/ 4444 w 10000"/>
                    <a:gd name="connsiteY112" fmla="*/ 1896 h 9840"/>
                    <a:gd name="connsiteX113" fmla="*/ 4444 w 10000"/>
                    <a:gd name="connsiteY113" fmla="*/ 1830 h 9840"/>
                    <a:gd name="connsiteX114" fmla="*/ 4444 w 10000"/>
                    <a:gd name="connsiteY114" fmla="*/ 1683 h 9840"/>
                    <a:gd name="connsiteX115" fmla="*/ 4500 w 10000"/>
                    <a:gd name="connsiteY115" fmla="*/ 1589 h 9840"/>
                    <a:gd name="connsiteX116" fmla="*/ 4611 w 10000"/>
                    <a:gd name="connsiteY116" fmla="*/ 1508 h 9840"/>
                    <a:gd name="connsiteX117" fmla="*/ 4778 w 10000"/>
                    <a:gd name="connsiteY117" fmla="*/ 1413 h 9840"/>
                    <a:gd name="connsiteX118" fmla="*/ 5000 w 10000"/>
                    <a:gd name="connsiteY118" fmla="*/ 1333 h 9840"/>
                    <a:gd name="connsiteX119" fmla="*/ 5000 w 10000"/>
                    <a:gd name="connsiteY119" fmla="*/ 1333 h 9840"/>
                    <a:gd name="connsiteX120" fmla="*/ 5556 w 10000"/>
                    <a:gd name="connsiteY120" fmla="*/ 1173 h 9840"/>
                    <a:gd name="connsiteX121" fmla="*/ 6111 w 10000"/>
                    <a:gd name="connsiteY121" fmla="*/ 962 h 9840"/>
                    <a:gd name="connsiteX122" fmla="*/ 6667 w 10000"/>
                    <a:gd name="connsiteY122" fmla="*/ 770 h 9840"/>
                    <a:gd name="connsiteX123" fmla="*/ 7056 w 10000"/>
                    <a:gd name="connsiteY123" fmla="*/ 595 h 9840"/>
                    <a:gd name="connsiteX124" fmla="*/ 7056 w 10000"/>
                    <a:gd name="connsiteY124" fmla="*/ 595 h 9840"/>
                    <a:gd name="connsiteX125" fmla="*/ 7333 w 10000"/>
                    <a:gd name="connsiteY125" fmla="*/ 434 h 9840"/>
                    <a:gd name="connsiteX126" fmla="*/ 7667 w 10000"/>
                    <a:gd name="connsiteY126" fmla="*/ 241 h 9840"/>
                    <a:gd name="connsiteX127" fmla="*/ 8000 w 10000"/>
                    <a:gd name="connsiteY127" fmla="*/ 95 h 9840"/>
                    <a:gd name="connsiteX128" fmla="*/ 8167 w 10000"/>
                    <a:gd name="connsiteY128" fmla="*/ 30 h 9840"/>
                    <a:gd name="connsiteX129" fmla="*/ 8333 w 10000"/>
                    <a:gd name="connsiteY129" fmla="*/ 15 h 9840"/>
                    <a:gd name="connsiteX130" fmla="*/ 8333 w 10000"/>
                    <a:gd name="connsiteY130" fmla="*/ 15 h 9840"/>
                    <a:gd name="connsiteX131" fmla="*/ 8667 w 10000"/>
                    <a:gd name="connsiteY131" fmla="*/ 0 h 9840"/>
                    <a:gd name="connsiteX132" fmla="*/ 9111 w 10000"/>
                    <a:gd name="connsiteY132" fmla="*/ 0 h 9840"/>
                    <a:gd name="connsiteX133" fmla="*/ 10000 w 10000"/>
                    <a:gd name="connsiteY133" fmla="*/ 15 h 9840"/>
                    <a:gd name="connsiteX134" fmla="*/ 10000 w 10000"/>
                    <a:gd name="connsiteY134" fmla="*/ 9825 h 9840"/>
                    <a:gd name="connsiteX135" fmla="*/ 10000 w 10000"/>
                    <a:gd name="connsiteY135" fmla="*/ 9825 h 9840"/>
                    <a:gd name="connsiteX136" fmla="*/ 9722 w 10000"/>
                    <a:gd name="connsiteY136" fmla="*/ 9809 h 9840"/>
                    <a:gd name="connsiteX137" fmla="*/ 9389 w 10000"/>
                    <a:gd name="connsiteY137" fmla="*/ 9825 h 9840"/>
                    <a:gd name="connsiteX138" fmla="*/ 9389 w 10000"/>
                    <a:gd name="connsiteY138" fmla="*/ 9825 h 9840"/>
                    <a:gd name="connsiteX139" fmla="*/ 9278 w 10000"/>
                    <a:gd name="connsiteY139" fmla="*/ 9840 h 9840"/>
                    <a:gd name="connsiteX140" fmla="*/ 9056 w 10000"/>
                    <a:gd name="connsiteY140" fmla="*/ 9825 h 9840"/>
                    <a:gd name="connsiteX141" fmla="*/ 8722 w 10000"/>
                    <a:gd name="connsiteY141" fmla="*/ 9776 h 9840"/>
                    <a:gd name="connsiteX142" fmla="*/ 8444 w 10000"/>
                    <a:gd name="connsiteY142" fmla="*/ 9649 h 9840"/>
                    <a:gd name="connsiteX143" fmla="*/ 8444 w 10000"/>
                    <a:gd name="connsiteY143" fmla="*/ 9649 h 9840"/>
                    <a:gd name="connsiteX144" fmla="*/ 8111 w 10000"/>
                    <a:gd name="connsiteY144" fmla="*/ 9440 h 9840"/>
                    <a:gd name="connsiteX145" fmla="*/ 7778 w 10000"/>
                    <a:gd name="connsiteY145" fmla="*/ 9359 h 9840"/>
                    <a:gd name="connsiteX146" fmla="*/ 7556 w 10000"/>
                    <a:gd name="connsiteY146" fmla="*/ 9343 h 9840"/>
                    <a:gd name="connsiteX147" fmla="*/ 7000 w 10000"/>
                    <a:gd name="connsiteY147" fmla="*/ 9309 h 9840"/>
                    <a:gd name="connsiteX148" fmla="*/ 6556 w 10000"/>
                    <a:gd name="connsiteY148" fmla="*/ 9327 h 9840"/>
                    <a:gd name="connsiteX149" fmla="*/ 6222 w 10000"/>
                    <a:gd name="connsiteY149" fmla="*/ 9327 h 9840"/>
                    <a:gd name="connsiteX150" fmla="*/ 6111 w 10000"/>
                    <a:gd name="connsiteY150" fmla="*/ 9309 h 9840"/>
                    <a:gd name="connsiteX151" fmla="*/ 6056 w 10000"/>
                    <a:gd name="connsiteY151" fmla="*/ 9007 h 9840"/>
                    <a:gd name="connsiteX152" fmla="*/ 6056 w 10000"/>
                    <a:gd name="connsiteY152" fmla="*/ 8942 h 9840"/>
                    <a:gd name="connsiteX153" fmla="*/ 5944 w 10000"/>
                    <a:gd name="connsiteY153" fmla="*/ 8862 h 9840"/>
                    <a:gd name="connsiteX154" fmla="*/ 5889 w 10000"/>
                    <a:gd name="connsiteY154" fmla="*/ 8847 h 9840"/>
                    <a:gd name="connsiteX155" fmla="*/ 5667 w 10000"/>
                    <a:gd name="connsiteY155" fmla="*/ 8829 h 9840"/>
                    <a:gd name="connsiteX156" fmla="*/ 4889 w 10000"/>
                    <a:gd name="connsiteY156" fmla="*/ 8958 h 9840"/>
                    <a:gd name="connsiteX157" fmla="*/ 4611 w 10000"/>
                    <a:gd name="connsiteY157" fmla="*/ 8987 h 9840"/>
                    <a:gd name="connsiteX158" fmla="*/ 4500 w 10000"/>
                    <a:gd name="connsiteY158" fmla="*/ 8987 h 9840"/>
                    <a:gd name="connsiteX159" fmla="*/ 4222 w 10000"/>
                    <a:gd name="connsiteY159" fmla="*/ 8829 h 9840"/>
                    <a:gd name="connsiteX160" fmla="*/ 4222 w 10000"/>
                    <a:gd name="connsiteY160" fmla="*/ 8829 h 9840"/>
                    <a:gd name="connsiteX161" fmla="*/ 4111 w 10000"/>
                    <a:gd name="connsiteY161" fmla="*/ 8749 h 9840"/>
                    <a:gd name="connsiteX162" fmla="*/ 4111 w 10000"/>
                    <a:gd name="connsiteY162" fmla="*/ 8653 h 9840"/>
                    <a:gd name="connsiteX163" fmla="*/ 4111 w 10000"/>
                    <a:gd name="connsiteY163" fmla="*/ 8653 h 9840"/>
                    <a:gd name="connsiteX164" fmla="*/ 4278 w 10000"/>
                    <a:gd name="connsiteY164" fmla="*/ 8603 h 9840"/>
                    <a:gd name="connsiteX165" fmla="*/ 4389 w 10000"/>
                    <a:gd name="connsiteY165" fmla="*/ 8587 h 9840"/>
                    <a:gd name="connsiteX166" fmla="*/ 4389 w 10000"/>
                    <a:gd name="connsiteY166" fmla="*/ 8587 h 9840"/>
                    <a:gd name="connsiteX167" fmla="*/ 3722 w 10000"/>
                    <a:gd name="connsiteY167" fmla="*/ 8603 h 9840"/>
                    <a:gd name="connsiteX168" fmla="*/ 3611 w 10000"/>
                    <a:gd name="connsiteY168" fmla="*/ 8620 h 9840"/>
                    <a:gd name="connsiteX169" fmla="*/ 3556 w 10000"/>
                    <a:gd name="connsiteY169" fmla="*/ 8636 h 9840"/>
                    <a:gd name="connsiteX170" fmla="*/ 3556 w 10000"/>
                    <a:gd name="connsiteY170" fmla="*/ 8636 h 9840"/>
                    <a:gd name="connsiteX171" fmla="*/ 3444 w 10000"/>
                    <a:gd name="connsiteY171" fmla="*/ 8701 h 9840"/>
                    <a:gd name="connsiteX172" fmla="*/ 3278 w 10000"/>
                    <a:gd name="connsiteY172" fmla="*/ 8797 h 9840"/>
                    <a:gd name="connsiteX173" fmla="*/ 2667 w 10000"/>
                    <a:gd name="connsiteY173" fmla="*/ 8987 h 9840"/>
                    <a:gd name="connsiteX174" fmla="*/ 889 w 10000"/>
                    <a:gd name="connsiteY174" fmla="*/ 9166 h 9840"/>
                    <a:gd name="connsiteX175" fmla="*/ 500 w 10000"/>
                    <a:gd name="connsiteY175" fmla="*/ 9182 h 9840"/>
                    <a:gd name="connsiteX176" fmla="*/ 222 w 10000"/>
                    <a:gd name="connsiteY176" fmla="*/ 9198 h 9840"/>
                    <a:gd name="connsiteX177" fmla="*/ 0 w 10000"/>
                    <a:gd name="connsiteY177" fmla="*/ 9214 h 9840"/>
                    <a:gd name="connsiteX178" fmla="*/ 722 w 10000"/>
                    <a:gd name="connsiteY178" fmla="*/ 9825 h 9840"/>
                    <a:gd name="connsiteX179" fmla="*/ 10000 w 10000"/>
                    <a:gd name="connsiteY179" fmla="*/ 9809 h 984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222 w 10000"/>
                    <a:gd name="connsiteY2" fmla="*/ 9985 h 10000"/>
                    <a:gd name="connsiteX3" fmla="*/ 8944 w 10000"/>
                    <a:gd name="connsiteY3" fmla="*/ 9985 h 10000"/>
                    <a:gd name="connsiteX4" fmla="*/ 8833 w 10000"/>
                    <a:gd name="connsiteY4" fmla="*/ 9968 h 10000"/>
                    <a:gd name="connsiteX5" fmla="*/ 8778 w 10000"/>
                    <a:gd name="connsiteY5" fmla="*/ 9950 h 10000"/>
                    <a:gd name="connsiteX6" fmla="*/ 8778 w 10000"/>
                    <a:gd name="connsiteY6" fmla="*/ 9950 h 10000"/>
                    <a:gd name="connsiteX7" fmla="*/ 8444 w 10000"/>
                    <a:gd name="connsiteY7" fmla="*/ 9756 h 10000"/>
                    <a:gd name="connsiteX8" fmla="*/ 8167 w 10000"/>
                    <a:gd name="connsiteY8" fmla="*/ 9577 h 10000"/>
                    <a:gd name="connsiteX9" fmla="*/ 8167 w 10000"/>
                    <a:gd name="connsiteY9" fmla="*/ 9577 h 10000"/>
                    <a:gd name="connsiteX10" fmla="*/ 8056 w 10000"/>
                    <a:gd name="connsiteY10" fmla="*/ 9545 h 10000"/>
                    <a:gd name="connsiteX11" fmla="*/ 7889 w 10000"/>
                    <a:gd name="connsiteY11" fmla="*/ 9511 h 10000"/>
                    <a:gd name="connsiteX12" fmla="*/ 7444 w 10000"/>
                    <a:gd name="connsiteY12" fmla="*/ 9495 h 10000"/>
                    <a:gd name="connsiteX13" fmla="*/ 6889 w 10000"/>
                    <a:gd name="connsiteY13" fmla="*/ 9479 h 10000"/>
                    <a:gd name="connsiteX14" fmla="*/ 6389 w 10000"/>
                    <a:gd name="connsiteY14" fmla="*/ 9479 h 10000"/>
                    <a:gd name="connsiteX15" fmla="*/ 6389 w 10000"/>
                    <a:gd name="connsiteY15" fmla="*/ 9479 h 10000"/>
                    <a:gd name="connsiteX16" fmla="*/ 6167 w 10000"/>
                    <a:gd name="connsiteY16" fmla="*/ 9460 h 10000"/>
                    <a:gd name="connsiteX17" fmla="*/ 6056 w 10000"/>
                    <a:gd name="connsiteY17" fmla="*/ 9430 h 10000"/>
                    <a:gd name="connsiteX18" fmla="*/ 6000 w 10000"/>
                    <a:gd name="connsiteY18" fmla="*/ 9395 h 10000"/>
                    <a:gd name="connsiteX19" fmla="*/ 6056 w 10000"/>
                    <a:gd name="connsiteY19" fmla="*/ 9200 h 10000"/>
                    <a:gd name="connsiteX20" fmla="*/ 6111 w 10000"/>
                    <a:gd name="connsiteY20" fmla="*/ 9133 h 10000"/>
                    <a:gd name="connsiteX21" fmla="*/ 6056 w 10000"/>
                    <a:gd name="connsiteY21" fmla="*/ 9055 h 10000"/>
                    <a:gd name="connsiteX22" fmla="*/ 6056 w 10000"/>
                    <a:gd name="connsiteY22" fmla="*/ 9055 h 10000"/>
                    <a:gd name="connsiteX23" fmla="*/ 6000 w 10000"/>
                    <a:gd name="connsiteY23" fmla="*/ 9006 h 10000"/>
                    <a:gd name="connsiteX24" fmla="*/ 5944 w 10000"/>
                    <a:gd name="connsiteY24" fmla="*/ 8973 h 10000"/>
                    <a:gd name="connsiteX25" fmla="*/ 5833 w 10000"/>
                    <a:gd name="connsiteY25" fmla="*/ 8973 h 10000"/>
                    <a:gd name="connsiteX26" fmla="*/ 5667 w 10000"/>
                    <a:gd name="connsiteY26" fmla="*/ 8991 h 10000"/>
                    <a:gd name="connsiteX27" fmla="*/ 5333 w 10000"/>
                    <a:gd name="connsiteY27" fmla="*/ 9038 h 10000"/>
                    <a:gd name="connsiteX28" fmla="*/ 4889 w 10000"/>
                    <a:gd name="connsiteY28" fmla="*/ 9119 h 10000"/>
                    <a:gd name="connsiteX29" fmla="*/ 4889 w 10000"/>
                    <a:gd name="connsiteY29" fmla="*/ 9119 h 10000"/>
                    <a:gd name="connsiteX30" fmla="*/ 4611 w 10000"/>
                    <a:gd name="connsiteY30" fmla="*/ 9133 h 10000"/>
                    <a:gd name="connsiteX31" fmla="*/ 4500 w 10000"/>
                    <a:gd name="connsiteY31" fmla="*/ 9133 h 10000"/>
                    <a:gd name="connsiteX32" fmla="*/ 4444 w 10000"/>
                    <a:gd name="connsiteY32" fmla="*/ 9119 h 10000"/>
                    <a:gd name="connsiteX33" fmla="*/ 4222 w 10000"/>
                    <a:gd name="connsiteY33" fmla="*/ 8973 h 10000"/>
                    <a:gd name="connsiteX34" fmla="*/ 4222 w 10000"/>
                    <a:gd name="connsiteY34" fmla="*/ 8973 h 10000"/>
                    <a:gd name="connsiteX35" fmla="*/ 4111 w 10000"/>
                    <a:gd name="connsiteY35" fmla="*/ 8925 h 10000"/>
                    <a:gd name="connsiteX36" fmla="*/ 4111 w 10000"/>
                    <a:gd name="connsiteY36" fmla="*/ 8875 h 10000"/>
                    <a:gd name="connsiteX37" fmla="*/ 4111 w 10000"/>
                    <a:gd name="connsiteY37" fmla="*/ 8842 h 10000"/>
                    <a:gd name="connsiteX38" fmla="*/ 4167 w 10000"/>
                    <a:gd name="connsiteY38" fmla="*/ 8809 h 10000"/>
                    <a:gd name="connsiteX39" fmla="*/ 4278 w 10000"/>
                    <a:gd name="connsiteY39" fmla="*/ 8743 h 10000"/>
                    <a:gd name="connsiteX40" fmla="*/ 4389 w 10000"/>
                    <a:gd name="connsiteY40" fmla="*/ 8727 h 10000"/>
                    <a:gd name="connsiteX41" fmla="*/ 4389 w 10000"/>
                    <a:gd name="connsiteY41" fmla="*/ 8727 h 10000"/>
                    <a:gd name="connsiteX42" fmla="*/ 4389 w 10000"/>
                    <a:gd name="connsiteY42" fmla="*/ 8712 h 10000"/>
                    <a:gd name="connsiteX43" fmla="*/ 4444 w 10000"/>
                    <a:gd name="connsiteY43" fmla="*/ 8695 h 10000"/>
                    <a:gd name="connsiteX44" fmla="*/ 7986 w 10000"/>
                    <a:gd name="connsiteY44" fmla="*/ 8443 h 10000"/>
                    <a:gd name="connsiteX45" fmla="*/ 8389 w 10000"/>
                    <a:gd name="connsiteY45" fmla="*/ 8451 h 10000"/>
                    <a:gd name="connsiteX46" fmla="*/ 8389 w 10000"/>
                    <a:gd name="connsiteY46" fmla="*/ 8451 h 10000"/>
                    <a:gd name="connsiteX47" fmla="*/ 8667 w 10000"/>
                    <a:gd name="connsiteY47" fmla="*/ 8418 h 10000"/>
                    <a:gd name="connsiteX48" fmla="*/ 8889 w 10000"/>
                    <a:gd name="connsiteY48" fmla="*/ 8337 h 10000"/>
                    <a:gd name="connsiteX49" fmla="*/ 8833 w 10000"/>
                    <a:gd name="connsiteY49" fmla="*/ 8304 h 10000"/>
                    <a:gd name="connsiteX50" fmla="*/ 8833 w 10000"/>
                    <a:gd name="connsiteY50" fmla="*/ 8273 h 10000"/>
                    <a:gd name="connsiteX51" fmla="*/ 8556 w 10000"/>
                    <a:gd name="connsiteY51" fmla="*/ 8190 h 10000"/>
                    <a:gd name="connsiteX52" fmla="*/ 6556 w 10000"/>
                    <a:gd name="connsiteY52" fmla="*/ 7895 h 10000"/>
                    <a:gd name="connsiteX53" fmla="*/ 6556 w 10000"/>
                    <a:gd name="connsiteY53" fmla="*/ 7895 h 10000"/>
                    <a:gd name="connsiteX54" fmla="*/ 6333 w 10000"/>
                    <a:gd name="connsiteY54" fmla="*/ 7848 h 10000"/>
                    <a:gd name="connsiteX55" fmla="*/ 6167 w 10000"/>
                    <a:gd name="connsiteY55" fmla="*/ 7798 h 10000"/>
                    <a:gd name="connsiteX56" fmla="*/ 6056 w 10000"/>
                    <a:gd name="connsiteY56" fmla="*/ 7749 h 10000"/>
                    <a:gd name="connsiteX57" fmla="*/ 6056 w 10000"/>
                    <a:gd name="connsiteY57" fmla="*/ 7749 h 10000"/>
                    <a:gd name="connsiteX58" fmla="*/ 8056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778 w 10000"/>
                    <a:gd name="connsiteY62" fmla="*/ 6068 h 10000"/>
                    <a:gd name="connsiteX63" fmla="*/ 6556 w 10000"/>
                    <a:gd name="connsiteY63" fmla="*/ 5873 h 10000"/>
                    <a:gd name="connsiteX64" fmla="*/ 6556 w 10000"/>
                    <a:gd name="connsiteY64" fmla="*/ 5873 h 10000"/>
                    <a:gd name="connsiteX65" fmla="*/ 6556 w 10000"/>
                    <a:gd name="connsiteY65" fmla="*/ 5857 h 10000"/>
                    <a:gd name="connsiteX66" fmla="*/ 6556 w 10000"/>
                    <a:gd name="connsiteY66" fmla="*/ 5759 h 10000"/>
                    <a:gd name="connsiteX67" fmla="*/ 6556 w 10000"/>
                    <a:gd name="connsiteY67" fmla="*/ 5759 h 10000"/>
                    <a:gd name="connsiteX68" fmla="*/ 6389 w 10000"/>
                    <a:gd name="connsiteY68" fmla="*/ 5643 h 10000"/>
                    <a:gd name="connsiteX69" fmla="*/ 6056 w 10000"/>
                    <a:gd name="connsiteY69" fmla="*/ 5465 h 10000"/>
                    <a:gd name="connsiteX70" fmla="*/ 5333 w 10000"/>
                    <a:gd name="connsiteY70" fmla="*/ 5122 h 10000"/>
                    <a:gd name="connsiteX71" fmla="*/ 5333 w 10000"/>
                    <a:gd name="connsiteY71" fmla="*/ 5122 h 10000"/>
                    <a:gd name="connsiteX72" fmla="*/ 5167 w 10000"/>
                    <a:gd name="connsiteY72" fmla="*/ 5073 h 10000"/>
                    <a:gd name="connsiteX73" fmla="*/ 4889 w 10000"/>
                    <a:gd name="connsiteY73" fmla="*/ 5008 h 10000"/>
                    <a:gd name="connsiteX74" fmla="*/ 4056 w 10000"/>
                    <a:gd name="connsiteY74" fmla="*/ 4861 h 10000"/>
                    <a:gd name="connsiteX75" fmla="*/ 2889 w 10000"/>
                    <a:gd name="connsiteY75" fmla="*/ 4683 h 10000"/>
                    <a:gd name="connsiteX76" fmla="*/ 2889 w 10000"/>
                    <a:gd name="connsiteY76" fmla="*/ 4683 h 10000"/>
                    <a:gd name="connsiteX77" fmla="*/ 2389 w 10000"/>
                    <a:gd name="connsiteY77" fmla="*/ 4665 h 10000"/>
                    <a:gd name="connsiteX78" fmla="*/ 2000 w 10000"/>
                    <a:gd name="connsiteY78" fmla="*/ 4648 h 10000"/>
                    <a:gd name="connsiteX79" fmla="*/ 1889 w 10000"/>
                    <a:gd name="connsiteY79" fmla="*/ 4632 h 10000"/>
                    <a:gd name="connsiteX80" fmla="*/ 1778 w 10000"/>
                    <a:gd name="connsiteY80" fmla="*/ 4617 h 10000"/>
                    <a:gd name="connsiteX81" fmla="*/ 1778 w 10000"/>
                    <a:gd name="connsiteY81" fmla="*/ 4617 h 10000"/>
                    <a:gd name="connsiteX82" fmla="*/ 1667 w 10000"/>
                    <a:gd name="connsiteY82" fmla="*/ 4550 h 10000"/>
                    <a:gd name="connsiteX83" fmla="*/ 1500 w 10000"/>
                    <a:gd name="connsiteY83" fmla="*/ 4438 h 10000"/>
                    <a:gd name="connsiteX84" fmla="*/ 1444 w 10000"/>
                    <a:gd name="connsiteY84" fmla="*/ 4372 h 10000"/>
                    <a:gd name="connsiteX85" fmla="*/ 1444 w 10000"/>
                    <a:gd name="connsiteY85" fmla="*/ 4306 h 10000"/>
                    <a:gd name="connsiteX86" fmla="*/ 1444 w 10000"/>
                    <a:gd name="connsiteY86" fmla="*/ 4258 h 10000"/>
                    <a:gd name="connsiteX87" fmla="*/ 1556 w 10000"/>
                    <a:gd name="connsiteY87" fmla="*/ 4208 h 10000"/>
                    <a:gd name="connsiteX88" fmla="*/ 1556 w 10000"/>
                    <a:gd name="connsiteY88" fmla="*/ 4208 h 10000"/>
                    <a:gd name="connsiteX89" fmla="*/ 1833 w 10000"/>
                    <a:gd name="connsiteY89" fmla="*/ 4127 h 10000"/>
                    <a:gd name="connsiteX90" fmla="*/ 2111 w 10000"/>
                    <a:gd name="connsiteY90" fmla="*/ 4047 h 10000"/>
                    <a:gd name="connsiteX91" fmla="*/ 2278 w 10000"/>
                    <a:gd name="connsiteY91" fmla="*/ 3998 h 10000"/>
                    <a:gd name="connsiteX92" fmla="*/ 2389 w 10000"/>
                    <a:gd name="connsiteY92" fmla="*/ 3948 h 10000"/>
                    <a:gd name="connsiteX93" fmla="*/ 2389 w 10000"/>
                    <a:gd name="connsiteY93" fmla="*/ 3882 h 10000"/>
                    <a:gd name="connsiteX94" fmla="*/ 2389 w 10000"/>
                    <a:gd name="connsiteY94" fmla="*/ 3801 h 10000"/>
                    <a:gd name="connsiteX95" fmla="*/ 2389 w 10000"/>
                    <a:gd name="connsiteY95" fmla="*/ 3801 h 10000"/>
                    <a:gd name="connsiteX96" fmla="*/ 2167 w 10000"/>
                    <a:gd name="connsiteY96" fmla="*/ 3572 h 10000"/>
                    <a:gd name="connsiteX97" fmla="*/ 1889 w 10000"/>
                    <a:gd name="connsiteY97" fmla="*/ 3263 h 10000"/>
                    <a:gd name="connsiteX98" fmla="*/ 1667 w 10000"/>
                    <a:gd name="connsiteY98" fmla="*/ 2985 h 10000"/>
                    <a:gd name="connsiteX99" fmla="*/ 1611 w 10000"/>
                    <a:gd name="connsiteY99" fmla="*/ 2904 h 10000"/>
                    <a:gd name="connsiteX100" fmla="*/ 1611 w 10000"/>
                    <a:gd name="connsiteY100" fmla="*/ 2871 h 10000"/>
                    <a:gd name="connsiteX101" fmla="*/ 1667 w 10000"/>
                    <a:gd name="connsiteY101" fmla="*/ 2854 h 10000"/>
                    <a:gd name="connsiteX102" fmla="*/ 1667 w 10000"/>
                    <a:gd name="connsiteY102" fmla="*/ 2854 h 10000"/>
                    <a:gd name="connsiteX103" fmla="*/ 2000 w 10000"/>
                    <a:gd name="connsiteY103" fmla="*/ 2839 h 10000"/>
                    <a:gd name="connsiteX104" fmla="*/ 2222 w 10000"/>
                    <a:gd name="connsiteY104" fmla="*/ 2839 h 10000"/>
                    <a:gd name="connsiteX105" fmla="*/ 2389 w 10000"/>
                    <a:gd name="connsiteY105" fmla="*/ 2854 h 10000"/>
                    <a:gd name="connsiteX106" fmla="*/ 2389 w 10000"/>
                    <a:gd name="connsiteY106" fmla="*/ 2854 h 10000"/>
                    <a:gd name="connsiteX107" fmla="*/ 2444 w 10000"/>
                    <a:gd name="connsiteY107" fmla="*/ 2854 h 10000"/>
                    <a:gd name="connsiteX108" fmla="*/ 2500 w 10000"/>
                    <a:gd name="connsiteY108" fmla="*/ 2823 h 10000"/>
                    <a:gd name="connsiteX109" fmla="*/ 2778 w 10000"/>
                    <a:gd name="connsiteY109" fmla="*/ 2725 h 10000"/>
                    <a:gd name="connsiteX110" fmla="*/ 3500 w 10000"/>
                    <a:gd name="connsiteY110" fmla="*/ 2397 h 10000"/>
                    <a:gd name="connsiteX111" fmla="*/ 4444 w 10000"/>
                    <a:gd name="connsiteY111" fmla="*/ 1927 h 10000"/>
                    <a:gd name="connsiteX112" fmla="*/ 4444 w 10000"/>
                    <a:gd name="connsiteY112" fmla="*/ 1927 h 10000"/>
                    <a:gd name="connsiteX113" fmla="*/ 4444 w 10000"/>
                    <a:gd name="connsiteY113" fmla="*/ 1860 h 10000"/>
                    <a:gd name="connsiteX114" fmla="*/ 4444 w 10000"/>
                    <a:gd name="connsiteY114" fmla="*/ 1710 h 10000"/>
                    <a:gd name="connsiteX115" fmla="*/ 4500 w 10000"/>
                    <a:gd name="connsiteY115" fmla="*/ 1615 h 10000"/>
                    <a:gd name="connsiteX116" fmla="*/ 4611 w 10000"/>
                    <a:gd name="connsiteY116" fmla="*/ 1533 h 10000"/>
                    <a:gd name="connsiteX117" fmla="*/ 4778 w 10000"/>
                    <a:gd name="connsiteY117" fmla="*/ 1436 h 10000"/>
                    <a:gd name="connsiteX118" fmla="*/ 5000 w 10000"/>
                    <a:gd name="connsiteY118" fmla="*/ 1355 h 10000"/>
                    <a:gd name="connsiteX119" fmla="*/ 5000 w 10000"/>
                    <a:gd name="connsiteY119" fmla="*/ 1355 h 10000"/>
                    <a:gd name="connsiteX120" fmla="*/ 5556 w 10000"/>
                    <a:gd name="connsiteY120" fmla="*/ 1192 h 10000"/>
                    <a:gd name="connsiteX121" fmla="*/ 6111 w 10000"/>
                    <a:gd name="connsiteY121" fmla="*/ 978 h 10000"/>
                    <a:gd name="connsiteX122" fmla="*/ 6667 w 10000"/>
                    <a:gd name="connsiteY122" fmla="*/ 783 h 10000"/>
                    <a:gd name="connsiteX123" fmla="*/ 7056 w 10000"/>
                    <a:gd name="connsiteY123" fmla="*/ 605 h 10000"/>
                    <a:gd name="connsiteX124" fmla="*/ 7056 w 10000"/>
                    <a:gd name="connsiteY124" fmla="*/ 605 h 10000"/>
                    <a:gd name="connsiteX125" fmla="*/ 7333 w 10000"/>
                    <a:gd name="connsiteY125" fmla="*/ 441 h 10000"/>
                    <a:gd name="connsiteX126" fmla="*/ 7667 w 10000"/>
                    <a:gd name="connsiteY126" fmla="*/ 245 h 10000"/>
                    <a:gd name="connsiteX127" fmla="*/ 8000 w 10000"/>
                    <a:gd name="connsiteY127" fmla="*/ 97 h 10000"/>
                    <a:gd name="connsiteX128" fmla="*/ 8167 w 10000"/>
                    <a:gd name="connsiteY128" fmla="*/ 30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722 w 10000"/>
                    <a:gd name="connsiteY136" fmla="*/ 9968 h 10000"/>
                    <a:gd name="connsiteX137" fmla="*/ 9389 w 10000"/>
                    <a:gd name="connsiteY137" fmla="*/ 9985 h 10000"/>
                    <a:gd name="connsiteX138" fmla="*/ 9389 w 10000"/>
                    <a:gd name="connsiteY138" fmla="*/ 9985 h 10000"/>
                    <a:gd name="connsiteX139" fmla="*/ 9278 w 10000"/>
                    <a:gd name="connsiteY139" fmla="*/ 10000 h 10000"/>
                    <a:gd name="connsiteX140" fmla="*/ 9056 w 10000"/>
                    <a:gd name="connsiteY140" fmla="*/ 9985 h 10000"/>
                    <a:gd name="connsiteX141" fmla="*/ 8722 w 10000"/>
                    <a:gd name="connsiteY141" fmla="*/ 9935 h 10000"/>
                    <a:gd name="connsiteX142" fmla="*/ 8444 w 10000"/>
                    <a:gd name="connsiteY142" fmla="*/ 9806 h 10000"/>
                    <a:gd name="connsiteX143" fmla="*/ 8444 w 10000"/>
                    <a:gd name="connsiteY143" fmla="*/ 9806 h 10000"/>
                    <a:gd name="connsiteX144" fmla="*/ 8111 w 10000"/>
                    <a:gd name="connsiteY144" fmla="*/ 9593 h 10000"/>
                    <a:gd name="connsiteX145" fmla="*/ 7778 w 10000"/>
                    <a:gd name="connsiteY145" fmla="*/ 9511 h 10000"/>
                    <a:gd name="connsiteX146" fmla="*/ 7556 w 10000"/>
                    <a:gd name="connsiteY146" fmla="*/ 9495 h 10000"/>
                    <a:gd name="connsiteX147" fmla="*/ 7000 w 10000"/>
                    <a:gd name="connsiteY147" fmla="*/ 9460 h 10000"/>
                    <a:gd name="connsiteX148" fmla="*/ 6556 w 10000"/>
                    <a:gd name="connsiteY148" fmla="*/ 9479 h 10000"/>
                    <a:gd name="connsiteX149" fmla="*/ 6222 w 10000"/>
                    <a:gd name="connsiteY149" fmla="*/ 9479 h 10000"/>
                    <a:gd name="connsiteX150" fmla="*/ 6111 w 10000"/>
                    <a:gd name="connsiteY150" fmla="*/ 9460 h 10000"/>
                    <a:gd name="connsiteX151" fmla="*/ 6056 w 10000"/>
                    <a:gd name="connsiteY151" fmla="*/ 9153 h 10000"/>
                    <a:gd name="connsiteX152" fmla="*/ 6056 w 10000"/>
                    <a:gd name="connsiteY152" fmla="*/ 9087 h 10000"/>
                    <a:gd name="connsiteX153" fmla="*/ 5944 w 10000"/>
                    <a:gd name="connsiteY153" fmla="*/ 9006 h 10000"/>
                    <a:gd name="connsiteX154" fmla="*/ 5889 w 10000"/>
                    <a:gd name="connsiteY154" fmla="*/ 8991 h 10000"/>
                    <a:gd name="connsiteX155" fmla="*/ 5667 w 10000"/>
                    <a:gd name="connsiteY155" fmla="*/ 8973 h 10000"/>
                    <a:gd name="connsiteX156" fmla="*/ 4889 w 10000"/>
                    <a:gd name="connsiteY156" fmla="*/ 9104 h 10000"/>
                    <a:gd name="connsiteX157" fmla="*/ 4611 w 10000"/>
                    <a:gd name="connsiteY157" fmla="*/ 9133 h 10000"/>
                    <a:gd name="connsiteX158" fmla="*/ 4500 w 10000"/>
                    <a:gd name="connsiteY158" fmla="*/ 9133 h 10000"/>
                    <a:gd name="connsiteX159" fmla="*/ 4222 w 10000"/>
                    <a:gd name="connsiteY159" fmla="*/ 8973 h 10000"/>
                    <a:gd name="connsiteX160" fmla="*/ 4222 w 10000"/>
                    <a:gd name="connsiteY160" fmla="*/ 8973 h 10000"/>
                    <a:gd name="connsiteX161" fmla="*/ 4111 w 10000"/>
                    <a:gd name="connsiteY161" fmla="*/ 8891 h 10000"/>
                    <a:gd name="connsiteX162" fmla="*/ 4111 w 10000"/>
                    <a:gd name="connsiteY162" fmla="*/ 8794 h 10000"/>
                    <a:gd name="connsiteX163" fmla="*/ 4111 w 10000"/>
                    <a:gd name="connsiteY163" fmla="*/ 8794 h 10000"/>
                    <a:gd name="connsiteX164" fmla="*/ 4278 w 10000"/>
                    <a:gd name="connsiteY164" fmla="*/ 8743 h 10000"/>
                    <a:gd name="connsiteX165" fmla="*/ 4389 w 10000"/>
                    <a:gd name="connsiteY165" fmla="*/ 8727 h 10000"/>
                    <a:gd name="connsiteX166" fmla="*/ 4389 w 10000"/>
                    <a:gd name="connsiteY166" fmla="*/ 8727 h 10000"/>
                    <a:gd name="connsiteX167" fmla="*/ 3722 w 10000"/>
                    <a:gd name="connsiteY167" fmla="*/ 8743 h 10000"/>
                    <a:gd name="connsiteX168" fmla="*/ 3611 w 10000"/>
                    <a:gd name="connsiteY168" fmla="*/ 8760 h 10000"/>
                    <a:gd name="connsiteX169" fmla="*/ 3556 w 10000"/>
                    <a:gd name="connsiteY169" fmla="*/ 8776 h 10000"/>
                    <a:gd name="connsiteX170" fmla="*/ 3556 w 10000"/>
                    <a:gd name="connsiteY170" fmla="*/ 8776 h 10000"/>
                    <a:gd name="connsiteX171" fmla="*/ 3444 w 10000"/>
                    <a:gd name="connsiteY171" fmla="*/ 8842 h 10000"/>
                    <a:gd name="connsiteX172" fmla="*/ 3278 w 10000"/>
                    <a:gd name="connsiteY172" fmla="*/ 8940 h 10000"/>
                    <a:gd name="connsiteX173" fmla="*/ 2667 w 10000"/>
                    <a:gd name="connsiteY173" fmla="*/ 9133 h 10000"/>
                    <a:gd name="connsiteX174" fmla="*/ 889 w 10000"/>
                    <a:gd name="connsiteY174" fmla="*/ 9315 h 10000"/>
                    <a:gd name="connsiteX175" fmla="*/ 500 w 10000"/>
                    <a:gd name="connsiteY175" fmla="*/ 9331 h 10000"/>
                    <a:gd name="connsiteX176" fmla="*/ 222 w 10000"/>
                    <a:gd name="connsiteY176" fmla="*/ 9348 h 10000"/>
                    <a:gd name="connsiteX177" fmla="*/ 0 w 10000"/>
                    <a:gd name="connsiteY177" fmla="*/ 9364 h 10000"/>
                    <a:gd name="connsiteX178" fmla="*/ 10000 w 10000"/>
                    <a:gd name="connsiteY178" fmla="*/ 9968 h 10000"/>
                    <a:gd name="connsiteX0" fmla="*/ 9778 w 9778"/>
                    <a:gd name="connsiteY0" fmla="*/ 9968 h 10000"/>
                    <a:gd name="connsiteX1" fmla="*/ 9778 w 9778"/>
                    <a:gd name="connsiteY1" fmla="*/ 9968 h 10000"/>
                    <a:gd name="connsiteX2" fmla="*/ 9000 w 9778"/>
                    <a:gd name="connsiteY2" fmla="*/ 9985 h 10000"/>
                    <a:gd name="connsiteX3" fmla="*/ 8722 w 9778"/>
                    <a:gd name="connsiteY3" fmla="*/ 9985 h 10000"/>
                    <a:gd name="connsiteX4" fmla="*/ 8611 w 9778"/>
                    <a:gd name="connsiteY4" fmla="*/ 9968 h 10000"/>
                    <a:gd name="connsiteX5" fmla="*/ 8556 w 9778"/>
                    <a:gd name="connsiteY5" fmla="*/ 9950 h 10000"/>
                    <a:gd name="connsiteX6" fmla="*/ 8556 w 9778"/>
                    <a:gd name="connsiteY6" fmla="*/ 9950 h 10000"/>
                    <a:gd name="connsiteX7" fmla="*/ 8222 w 9778"/>
                    <a:gd name="connsiteY7" fmla="*/ 9756 h 10000"/>
                    <a:gd name="connsiteX8" fmla="*/ 7945 w 9778"/>
                    <a:gd name="connsiteY8" fmla="*/ 9577 h 10000"/>
                    <a:gd name="connsiteX9" fmla="*/ 7945 w 9778"/>
                    <a:gd name="connsiteY9" fmla="*/ 9577 h 10000"/>
                    <a:gd name="connsiteX10" fmla="*/ 7834 w 9778"/>
                    <a:gd name="connsiteY10" fmla="*/ 9545 h 10000"/>
                    <a:gd name="connsiteX11" fmla="*/ 7667 w 9778"/>
                    <a:gd name="connsiteY11" fmla="*/ 9511 h 10000"/>
                    <a:gd name="connsiteX12" fmla="*/ 7222 w 9778"/>
                    <a:gd name="connsiteY12" fmla="*/ 9495 h 10000"/>
                    <a:gd name="connsiteX13" fmla="*/ 6667 w 9778"/>
                    <a:gd name="connsiteY13" fmla="*/ 9479 h 10000"/>
                    <a:gd name="connsiteX14" fmla="*/ 6167 w 9778"/>
                    <a:gd name="connsiteY14" fmla="*/ 9479 h 10000"/>
                    <a:gd name="connsiteX15" fmla="*/ 6167 w 9778"/>
                    <a:gd name="connsiteY15" fmla="*/ 9479 h 10000"/>
                    <a:gd name="connsiteX16" fmla="*/ 5945 w 9778"/>
                    <a:gd name="connsiteY16" fmla="*/ 9460 h 10000"/>
                    <a:gd name="connsiteX17" fmla="*/ 5834 w 9778"/>
                    <a:gd name="connsiteY17" fmla="*/ 9430 h 10000"/>
                    <a:gd name="connsiteX18" fmla="*/ 5778 w 9778"/>
                    <a:gd name="connsiteY18" fmla="*/ 9395 h 10000"/>
                    <a:gd name="connsiteX19" fmla="*/ 5834 w 9778"/>
                    <a:gd name="connsiteY19" fmla="*/ 9200 h 10000"/>
                    <a:gd name="connsiteX20" fmla="*/ 5889 w 9778"/>
                    <a:gd name="connsiteY20" fmla="*/ 9133 h 10000"/>
                    <a:gd name="connsiteX21" fmla="*/ 5834 w 9778"/>
                    <a:gd name="connsiteY21" fmla="*/ 9055 h 10000"/>
                    <a:gd name="connsiteX22" fmla="*/ 5834 w 9778"/>
                    <a:gd name="connsiteY22" fmla="*/ 9055 h 10000"/>
                    <a:gd name="connsiteX23" fmla="*/ 5778 w 9778"/>
                    <a:gd name="connsiteY23" fmla="*/ 9006 h 10000"/>
                    <a:gd name="connsiteX24" fmla="*/ 5722 w 9778"/>
                    <a:gd name="connsiteY24" fmla="*/ 8973 h 10000"/>
                    <a:gd name="connsiteX25" fmla="*/ 5611 w 9778"/>
                    <a:gd name="connsiteY25" fmla="*/ 8973 h 10000"/>
                    <a:gd name="connsiteX26" fmla="*/ 5445 w 9778"/>
                    <a:gd name="connsiteY26" fmla="*/ 8991 h 10000"/>
                    <a:gd name="connsiteX27" fmla="*/ 5111 w 9778"/>
                    <a:gd name="connsiteY27" fmla="*/ 9038 h 10000"/>
                    <a:gd name="connsiteX28" fmla="*/ 4667 w 9778"/>
                    <a:gd name="connsiteY28" fmla="*/ 9119 h 10000"/>
                    <a:gd name="connsiteX29" fmla="*/ 4667 w 9778"/>
                    <a:gd name="connsiteY29" fmla="*/ 9119 h 10000"/>
                    <a:gd name="connsiteX30" fmla="*/ 4389 w 9778"/>
                    <a:gd name="connsiteY30" fmla="*/ 9133 h 10000"/>
                    <a:gd name="connsiteX31" fmla="*/ 4278 w 9778"/>
                    <a:gd name="connsiteY31" fmla="*/ 9133 h 10000"/>
                    <a:gd name="connsiteX32" fmla="*/ 4222 w 9778"/>
                    <a:gd name="connsiteY32" fmla="*/ 9119 h 10000"/>
                    <a:gd name="connsiteX33" fmla="*/ 4000 w 9778"/>
                    <a:gd name="connsiteY33" fmla="*/ 8973 h 10000"/>
                    <a:gd name="connsiteX34" fmla="*/ 4000 w 9778"/>
                    <a:gd name="connsiteY34" fmla="*/ 8973 h 10000"/>
                    <a:gd name="connsiteX35" fmla="*/ 3889 w 9778"/>
                    <a:gd name="connsiteY35" fmla="*/ 8925 h 10000"/>
                    <a:gd name="connsiteX36" fmla="*/ 3889 w 9778"/>
                    <a:gd name="connsiteY36" fmla="*/ 8875 h 10000"/>
                    <a:gd name="connsiteX37" fmla="*/ 3889 w 9778"/>
                    <a:gd name="connsiteY37" fmla="*/ 8842 h 10000"/>
                    <a:gd name="connsiteX38" fmla="*/ 3945 w 9778"/>
                    <a:gd name="connsiteY38" fmla="*/ 8809 h 10000"/>
                    <a:gd name="connsiteX39" fmla="*/ 4056 w 9778"/>
                    <a:gd name="connsiteY39" fmla="*/ 8743 h 10000"/>
                    <a:gd name="connsiteX40" fmla="*/ 4167 w 9778"/>
                    <a:gd name="connsiteY40" fmla="*/ 8727 h 10000"/>
                    <a:gd name="connsiteX41" fmla="*/ 4167 w 9778"/>
                    <a:gd name="connsiteY41" fmla="*/ 8727 h 10000"/>
                    <a:gd name="connsiteX42" fmla="*/ 4167 w 9778"/>
                    <a:gd name="connsiteY42" fmla="*/ 8712 h 10000"/>
                    <a:gd name="connsiteX43" fmla="*/ 4222 w 9778"/>
                    <a:gd name="connsiteY43" fmla="*/ 8695 h 10000"/>
                    <a:gd name="connsiteX44" fmla="*/ 7764 w 9778"/>
                    <a:gd name="connsiteY44" fmla="*/ 8443 h 10000"/>
                    <a:gd name="connsiteX45" fmla="*/ 8167 w 9778"/>
                    <a:gd name="connsiteY45" fmla="*/ 8451 h 10000"/>
                    <a:gd name="connsiteX46" fmla="*/ 8167 w 9778"/>
                    <a:gd name="connsiteY46" fmla="*/ 8451 h 10000"/>
                    <a:gd name="connsiteX47" fmla="*/ 8445 w 9778"/>
                    <a:gd name="connsiteY47" fmla="*/ 8418 h 10000"/>
                    <a:gd name="connsiteX48" fmla="*/ 8667 w 9778"/>
                    <a:gd name="connsiteY48" fmla="*/ 8337 h 10000"/>
                    <a:gd name="connsiteX49" fmla="*/ 8611 w 9778"/>
                    <a:gd name="connsiteY49" fmla="*/ 8304 h 10000"/>
                    <a:gd name="connsiteX50" fmla="*/ 8611 w 9778"/>
                    <a:gd name="connsiteY50" fmla="*/ 8273 h 10000"/>
                    <a:gd name="connsiteX51" fmla="*/ 8334 w 9778"/>
                    <a:gd name="connsiteY51" fmla="*/ 8190 h 10000"/>
                    <a:gd name="connsiteX52" fmla="*/ 6334 w 9778"/>
                    <a:gd name="connsiteY52" fmla="*/ 7895 h 10000"/>
                    <a:gd name="connsiteX53" fmla="*/ 6334 w 9778"/>
                    <a:gd name="connsiteY53" fmla="*/ 7895 h 10000"/>
                    <a:gd name="connsiteX54" fmla="*/ 6111 w 9778"/>
                    <a:gd name="connsiteY54" fmla="*/ 7848 h 10000"/>
                    <a:gd name="connsiteX55" fmla="*/ 5945 w 9778"/>
                    <a:gd name="connsiteY55" fmla="*/ 7798 h 10000"/>
                    <a:gd name="connsiteX56" fmla="*/ 5834 w 9778"/>
                    <a:gd name="connsiteY56" fmla="*/ 7749 h 10000"/>
                    <a:gd name="connsiteX57" fmla="*/ 5834 w 9778"/>
                    <a:gd name="connsiteY57" fmla="*/ 7749 h 10000"/>
                    <a:gd name="connsiteX58" fmla="*/ 7834 w 9778"/>
                    <a:gd name="connsiteY58" fmla="*/ 7732 h 10000"/>
                    <a:gd name="connsiteX59" fmla="*/ 9778 w 9778"/>
                    <a:gd name="connsiteY59" fmla="*/ 7895 h 10000"/>
                    <a:gd name="connsiteX60" fmla="*/ 9778 w 9778"/>
                    <a:gd name="connsiteY60" fmla="*/ 6412 h 10000"/>
                    <a:gd name="connsiteX61" fmla="*/ 9778 w 9778"/>
                    <a:gd name="connsiteY61" fmla="*/ 6412 h 10000"/>
                    <a:gd name="connsiteX62" fmla="*/ 7556 w 9778"/>
                    <a:gd name="connsiteY62" fmla="*/ 6068 h 10000"/>
                    <a:gd name="connsiteX63" fmla="*/ 6334 w 9778"/>
                    <a:gd name="connsiteY63" fmla="*/ 5873 h 10000"/>
                    <a:gd name="connsiteX64" fmla="*/ 6334 w 9778"/>
                    <a:gd name="connsiteY64" fmla="*/ 5873 h 10000"/>
                    <a:gd name="connsiteX65" fmla="*/ 6334 w 9778"/>
                    <a:gd name="connsiteY65" fmla="*/ 5857 h 10000"/>
                    <a:gd name="connsiteX66" fmla="*/ 6334 w 9778"/>
                    <a:gd name="connsiteY66" fmla="*/ 5759 h 10000"/>
                    <a:gd name="connsiteX67" fmla="*/ 6334 w 9778"/>
                    <a:gd name="connsiteY67" fmla="*/ 5759 h 10000"/>
                    <a:gd name="connsiteX68" fmla="*/ 6167 w 9778"/>
                    <a:gd name="connsiteY68" fmla="*/ 5643 h 10000"/>
                    <a:gd name="connsiteX69" fmla="*/ 5834 w 9778"/>
                    <a:gd name="connsiteY69" fmla="*/ 5465 h 10000"/>
                    <a:gd name="connsiteX70" fmla="*/ 5111 w 9778"/>
                    <a:gd name="connsiteY70" fmla="*/ 5122 h 10000"/>
                    <a:gd name="connsiteX71" fmla="*/ 5111 w 9778"/>
                    <a:gd name="connsiteY71" fmla="*/ 5122 h 10000"/>
                    <a:gd name="connsiteX72" fmla="*/ 4945 w 9778"/>
                    <a:gd name="connsiteY72" fmla="*/ 5073 h 10000"/>
                    <a:gd name="connsiteX73" fmla="*/ 4667 w 9778"/>
                    <a:gd name="connsiteY73" fmla="*/ 5008 h 10000"/>
                    <a:gd name="connsiteX74" fmla="*/ 3834 w 9778"/>
                    <a:gd name="connsiteY74" fmla="*/ 4861 h 10000"/>
                    <a:gd name="connsiteX75" fmla="*/ 2667 w 9778"/>
                    <a:gd name="connsiteY75" fmla="*/ 4683 h 10000"/>
                    <a:gd name="connsiteX76" fmla="*/ 2667 w 9778"/>
                    <a:gd name="connsiteY76" fmla="*/ 4683 h 10000"/>
                    <a:gd name="connsiteX77" fmla="*/ 2167 w 9778"/>
                    <a:gd name="connsiteY77" fmla="*/ 4665 h 10000"/>
                    <a:gd name="connsiteX78" fmla="*/ 1778 w 9778"/>
                    <a:gd name="connsiteY78" fmla="*/ 4648 h 10000"/>
                    <a:gd name="connsiteX79" fmla="*/ 1667 w 9778"/>
                    <a:gd name="connsiteY79" fmla="*/ 4632 h 10000"/>
                    <a:gd name="connsiteX80" fmla="*/ 1556 w 9778"/>
                    <a:gd name="connsiteY80" fmla="*/ 4617 h 10000"/>
                    <a:gd name="connsiteX81" fmla="*/ 1556 w 9778"/>
                    <a:gd name="connsiteY81" fmla="*/ 4617 h 10000"/>
                    <a:gd name="connsiteX82" fmla="*/ 1445 w 9778"/>
                    <a:gd name="connsiteY82" fmla="*/ 4550 h 10000"/>
                    <a:gd name="connsiteX83" fmla="*/ 1278 w 9778"/>
                    <a:gd name="connsiteY83" fmla="*/ 4438 h 10000"/>
                    <a:gd name="connsiteX84" fmla="*/ 1222 w 9778"/>
                    <a:gd name="connsiteY84" fmla="*/ 4372 h 10000"/>
                    <a:gd name="connsiteX85" fmla="*/ 1222 w 9778"/>
                    <a:gd name="connsiteY85" fmla="*/ 4306 h 10000"/>
                    <a:gd name="connsiteX86" fmla="*/ 1222 w 9778"/>
                    <a:gd name="connsiteY86" fmla="*/ 4258 h 10000"/>
                    <a:gd name="connsiteX87" fmla="*/ 1334 w 9778"/>
                    <a:gd name="connsiteY87" fmla="*/ 4208 h 10000"/>
                    <a:gd name="connsiteX88" fmla="*/ 1334 w 9778"/>
                    <a:gd name="connsiteY88" fmla="*/ 4208 h 10000"/>
                    <a:gd name="connsiteX89" fmla="*/ 1611 w 9778"/>
                    <a:gd name="connsiteY89" fmla="*/ 4127 h 10000"/>
                    <a:gd name="connsiteX90" fmla="*/ 1889 w 9778"/>
                    <a:gd name="connsiteY90" fmla="*/ 4047 h 10000"/>
                    <a:gd name="connsiteX91" fmla="*/ 2056 w 9778"/>
                    <a:gd name="connsiteY91" fmla="*/ 3998 h 10000"/>
                    <a:gd name="connsiteX92" fmla="*/ 2167 w 9778"/>
                    <a:gd name="connsiteY92" fmla="*/ 3948 h 10000"/>
                    <a:gd name="connsiteX93" fmla="*/ 2167 w 9778"/>
                    <a:gd name="connsiteY93" fmla="*/ 3882 h 10000"/>
                    <a:gd name="connsiteX94" fmla="*/ 2167 w 9778"/>
                    <a:gd name="connsiteY94" fmla="*/ 3801 h 10000"/>
                    <a:gd name="connsiteX95" fmla="*/ 2167 w 9778"/>
                    <a:gd name="connsiteY95" fmla="*/ 3801 h 10000"/>
                    <a:gd name="connsiteX96" fmla="*/ 1945 w 9778"/>
                    <a:gd name="connsiteY96" fmla="*/ 3572 h 10000"/>
                    <a:gd name="connsiteX97" fmla="*/ 1667 w 9778"/>
                    <a:gd name="connsiteY97" fmla="*/ 3263 h 10000"/>
                    <a:gd name="connsiteX98" fmla="*/ 1445 w 9778"/>
                    <a:gd name="connsiteY98" fmla="*/ 2985 h 10000"/>
                    <a:gd name="connsiteX99" fmla="*/ 1389 w 9778"/>
                    <a:gd name="connsiteY99" fmla="*/ 2904 h 10000"/>
                    <a:gd name="connsiteX100" fmla="*/ 1389 w 9778"/>
                    <a:gd name="connsiteY100" fmla="*/ 2871 h 10000"/>
                    <a:gd name="connsiteX101" fmla="*/ 1445 w 9778"/>
                    <a:gd name="connsiteY101" fmla="*/ 2854 h 10000"/>
                    <a:gd name="connsiteX102" fmla="*/ 1445 w 9778"/>
                    <a:gd name="connsiteY102" fmla="*/ 2854 h 10000"/>
                    <a:gd name="connsiteX103" fmla="*/ 1778 w 9778"/>
                    <a:gd name="connsiteY103" fmla="*/ 2839 h 10000"/>
                    <a:gd name="connsiteX104" fmla="*/ 2000 w 9778"/>
                    <a:gd name="connsiteY104" fmla="*/ 2839 h 10000"/>
                    <a:gd name="connsiteX105" fmla="*/ 2167 w 9778"/>
                    <a:gd name="connsiteY105" fmla="*/ 2854 h 10000"/>
                    <a:gd name="connsiteX106" fmla="*/ 2167 w 9778"/>
                    <a:gd name="connsiteY106" fmla="*/ 2854 h 10000"/>
                    <a:gd name="connsiteX107" fmla="*/ 2222 w 9778"/>
                    <a:gd name="connsiteY107" fmla="*/ 2854 h 10000"/>
                    <a:gd name="connsiteX108" fmla="*/ 2278 w 9778"/>
                    <a:gd name="connsiteY108" fmla="*/ 2823 h 10000"/>
                    <a:gd name="connsiteX109" fmla="*/ 2556 w 9778"/>
                    <a:gd name="connsiteY109" fmla="*/ 2725 h 10000"/>
                    <a:gd name="connsiteX110" fmla="*/ 3278 w 9778"/>
                    <a:gd name="connsiteY110" fmla="*/ 2397 h 10000"/>
                    <a:gd name="connsiteX111" fmla="*/ 4222 w 9778"/>
                    <a:gd name="connsiteY111" fmla="*/ 1927 h 10000"/>
                    <a:gd name="connsiteX112" fmla="*/ 4222 w 9778"/>
                    <a:gd name="connsiteY112" fmla="*/ 1927 h 10000"/>
                    <a:gd name="connsiteX113" fmla="*/ 4222 w 9778"/>
                    <a:gd name="connsiteY113" fmla="*/ 1860 h 10000"/>
                    <a:gd name="connsiteX114" fmla="*/ 4222 w 9778"/>
                    <a:gd name="connsiteY114" fmla="*/ 1710 h 10000"/>
                    <a:gd name="connsiteX115" fmla="*/ 4278 w 9778"/>
                    <a:gd name="connsiteY115" fmla="*/ 1615 h 10000"/>
                    <a:gd name="connsiteX116" fmla="*/ 4389 w 9778"/>
                    <a:gd name="connsiteY116" fmla="*/ 1533 h 10000"/>
                    <a:gd name="connsiteX117" fmla="*/ 4556 w 9778"/>
                    <a:gd name="connsiteY117" fmla="*/ 1436 h 10000"/>
                    <a:gd name="connsiteX118" fmla="*/ 4778 w 9778"/>
                    <a:gd name="connsiteY118" fmla="*/ 1355 h 10000"/>
                    <a:gd name="connsiteX119" fmla="*/ 4778 w 9778"/>
                    <a:gd name="connsiteY119" fmla="*/ 1355 h 10000"/>
                    <a:gd name="connsiteX120" fmla="*/ 5334 w 9778"/>
                    <a:gd name="connsiteY120" fmla="*/ 1192 h 10000"/>
                    <a:gd name="connsiteX121" fmla="*/ 5889 w 9778"/>
                    <a:gd name="connsiteY121" fmla="*/ 978 h 10000"/>
                    <a:gd name="connsiteX122" fmla="*/ 6445 w 9778"/>
                    <a:gd name="connsiteY122" fmla="*/ 783 h 10000"/>
                    <a:gd name="connsiteX123" fmla="*/ 6834 w 9778"/>
                    <a:gd name="connsiteY123" fmla="*/ 605 h 10000"/>
                    <a:gd name="connsiteX124" fmla="*/ 6834 w 9778"/>
                    <a:gd name="connsiteY124" fmla="*/ 605 h 10000"/>
                    <a:gd name="connsiteX125" fmla="*/ 7111 w 9778"/>
                    <a:gd name="connsiteY125" fmla="*/ 441 h 10000"/>
                    <a:gd name="connsiteX126" fmla="*/ 7445 w 9778"/>
                    <a:gd name="connsiteY126" fmla="*/ 245 h 10000"/>
                    <a:gd name="connsiteX127" fmla="*/ 7778 w 9778"/>
                    <a:gd name="connsiteY127" fmla="*/ 97 h 10000"/>
                    <a:gd name="connsiteX128" fmla="*/ 7945 w 9778"/>
                    <a:gd name="connsiteY128" fmla="*/ 30 h 10000"/>
                    <a:gd name="connsiteX129" fmla="*/ 8111 w 9778"/>
                    <a:gd name="connsiteY129" fmla="*/ 15 h 10000"/>
                    <a:gd name="connsiteX130" fmla="*/ 8111 w 9778"/>
                    <a:gd name="connsiteY130" fmla="*/ 15 h 10000"/>
                    <a:gd name="connsiteX131" fmla="*/ 8445 w 9778"/>
                    <a:gd name="connsiteY131" fmla="*/ 0 h 10000"/>
                    <a:gd name="connsiteX132" fmla="*/ 8889 w 9778"/>
                    <a:gd name="connsiteY132" fmla="*/ 0 h 10000"/>
                    <a:gd name="connsiteX133" fmla="*/ 9778 w 9778"/>
                    <a:gd name="connsiteY133" fmla="*/ 15 h 10000"/>
                    <a:gd name="connsiteX134" fmla="*/ 9778 w 9778"/>
                    <a:gd name="connsiteY134" fmla="*/ 9985 h 10000"/>
                    <a:gd name="connsiteX135" fmla="*/ 9778 w 9778"/>
                    <a:gd name="connsiteY135" fmla="*/ 9985 h 10000"/>
                    <a:gd name="connsiteX136" fmla="*/ 9500 w 9778"/>
                    <a:gd name="connsiteY136" fmla="*/ 9968 h 10000"/>
                    <a:gd name="connsiteX137" fmla="*/ 9167 w 9778"/>
                    <a:gd name="connsiteY137" fmla="*/ 9985 h 10000"/>
                    <a:gd name="connsiteX138" fmla="*/ 9167 w 9778"/>
                    <a:gd name="connsiteY138" fmla="*/ 9985 h 10000"/>
                    <a:gd name="connsiteX139" fmla="*/ 9056 w 9778"/>
                    <a:gd name="connsiteY139" fmla="*/ 10000 h 10000"/>
                    <a:gd name="connsiteX140" fmla="*/ 8834 w 9778"/>
                    <a:gd name="connsiteY140" fmla="*/ 9985 h 10000"/>
                    <a:gd name="connsiteX141" fmla="*/ 8500 w 9778"/>
                    <a:gd name="connsiteY141" fmla="*/ 9935 h 10000"/>
                    <a:gd name="connsiteX142" fmla="*/ 8222 w 9778"/>
                    <a:gd name="connsiteY142" fmla="*/ 9806 h 10000"/>
                    <a:gd name="connsiteX143" fmla="*/ 8222 w 9778"/>
                    <a:gd name="connsiteY143" fmla="*/ 9806 h 10000"/>
                    <a:gd name="connsiteX144" fmla="*/ 7889 w 9778"/>
                    <a:gd name="connsiteY144" fmla="*/ 9593 h 10000"/>
                    <a:gd name="connsiteX145" fmla="*/ 7556 w 9778"/>
                    <a:gd name="connsiteY145" fmla="*/ 9511 h 10000"/>
                    <a:gd name="connsiteX146" fmla="*/ 7334 w 9778"/>
                    <a:gd name="connsiteY146" fmla="*/ 9495 h 10000"/>
                    <a:gd name="connsiteX147" fmla="*/ 6778 w 9778"/>
                    <a:gd name="connsiteY147" fmla="*/ 9460 h 10000"/>
                    <a:gd name="connsiteX148" fmla="*/ 6334 w 9778"/>
                    <a:gd name="connsiteY148" fmla="*/ 9479 h 10000"/>
                    <a:gd name="connsiteX149" fmla="*/ 6000 w 9778"/>
                    <a:gd name="connsiteY149" fmla="*/ 9479 h 10000"/>
                    <a:gd name="connsiteX150" fmla="*/ 5889 w 9778"/>
                    <a:gd name="connsiteY150" fmla="*/ 9460 h 10000"/>
                    <a:gd name="connsiteX151" fmla="*/ 5834 w 9778"/>
                    <a:gd name="connsiteY151" fmla="*/ 9153 h 10000"/>
                    <a:gd name="connsiteX152" fmla="*/ 5834 w 9778"/>
                    <a:gd name="connsiteY152" fmla="*/ 9087 h 10000"/>
                    <a:gd name="connsiteX153" fmla="*/ 5722 w 9778"/>
                    <a:gd name="connsiteY153" fmla="*/ 9006 h 10000"/>
                    <a:gd name="connsiteX154" fmla="*/ 5667 w 9778"/>
                    <a:gd name="connsiteY154" fmla="*/ 8991 h 10000"/>
                    <a:gd name="connsiteX155" fmla="*/ 5445 w 9778"/>
                    <a:gd name="connsiteY155" fmla="*/ 8973 h 10000"/>
                    <a:gd name="connsiteX156" fmla="*/ 4667 w 9778"/>
                    <a:gd name="connsiteY156" fmla="*/ 9104 h 10000"/>
                    <a:gd name="connsiteX157" fmla="*/ 4389 w 9778"/>
                    <a:gd name="connsiteY157" fmla="*/ 9133 h 10000"/>
                    <a:gd name="connsiteX158" fmla="*/ 4278 w 9778"/>
                    <a:gd name="connsiteY158" fmla="*/ 9133 h 10000"/>
                    <a:gd name="connsiteX159" fmla="*/ 4000 w 9778"/>
                    <a:gd name="connsiteY159" fmla="*/ 8973 h 10000"/>
                    <a:gd name="connsiteX160" fmla="*/ 4000 w 9778"/>
                    <a:gd name="connsiteY160" fmla="*/ 8973 h 10000"/>
                    <a:gd name="connsiteX161" fmla="*/ 3889 w 9778"/>
                    <a:gd name="connsiteY161" fmla="*/ 8891 h 10000"/>
                    <a:gd name="connsiteX162" fmla="*/ 3889 w 9778"/>
                    <a:gd name="connsiteY162" fmla="*/ 8794 h 10000"/>
                    <a:gd name="connsiteX163" fmla="*/ 3889 w 9778"/>
                    <a:gd name="connsiteY163" fmla="*/ 8794 h 10000"/>
                    <a:gd name="connsiteX164" fmla="*/ 4056 w 9778"/>
                    <a:gd name="connsiteY164" fmla="*/ 8743 h 10000"/>
                    <a:gd name="connsiteX165" fmla="*/ 4167 w 9778"/>
                    <a:gd name="connsiteY165" fmla="*/ 8727 h 10000"/>
                    <a:gd name="connsiteX166" fmla="*/ 4167 w 9778"/>
                    <a:gd name="connsiteY166" fmla="*/ 8727 h 10000"/>
                    <a:gd name="connsiteX167" fmla="*/ 3500 w 9778"/>
                    <a:gd name="connsiteY167" fmla="*/ 8743 h 10000"/>
                    <a:gd name="connsiteX168" fmla="*/ 3389 w 9778"/>
                    <a:gd name="connsiteY168" fmla="*/ 8760 h 10000"/>
                    <a:gd name="connsiteX169" fmla="*/ 3334 w 9778"/>
                    <a:gd name="connsiteY169" fmla="*/ 8776 h 10000"/>
                    <a:gd name="connsiteX170" fmla="*/ 3334 w 9778"/>
                    <a:gd name="connsiteY170" fmla="*/ 8776 h 10000"/>
                    <a:gd name="connsiteX171" fmla="*/ 3222 w 9778"/>
                    <a:gd name="connsiteY171" fmla="*/ 8842 h 10000"/>
                    <a:gd name="connsiteX172" fmla="*/ 3056 w 9778"/>
                    <a:gd name="connsiteY172" fmla="*/ 8940 h 10000"/>
                    <a:gd name="connsiteX173" fmla="*/ 2445 w 9778"/>
                    <a:gd name="connsiteY173" fmla="*/ 9133 h 10000"/>
                    <a:gd name="connsiteX174" fmla="*/ 667 w 9778"/>
                    <a:gd name="connsiteY174" fmla="*/ 9315 h 10000"/>
                    <a:gd name="connsiteX175" fmla="*/ 278 w 9778"/>
                    <a:gd name="connsiteY175" fmla="*/ 9331 h 10000"/>
                    <a:gd name="connsiteX176" fmla="*/ 0 w 9778"/>
                    <a:gd name="connsiteY176" fmla="*/ 9348 h 10000"/>
                    <a:gd name="connsiteX177" fmla="*/ 9778 w 9778"/>
                    <a:gd name="connsiteY177" fmla="*/ 9968 h 10000"/>
                    <a:gd name="connsiteX0" fmla="*/ 9716 w 9716"/>
                    <a:gd name="connsiteY0" fmla="*/ 9968 h 10000"/>
                    <a:gd name="connsiteX1" fmla="*/ 9716 w 9716"/>
                    <a:gd name="connsiteY1" fmla="*/ 9968 h 10000"/>
                    <a:gd name="connsiteX2" fmla="*/ 8920 w 9716"/>
                    <a:gd name="connsiteY2" fmla="*/ 9985 h 10000"/>
                    <a:gd name="connsiteX3" fmla="*/ 8636 w 9716"/>
                    <a:gd name="connsiteY3" fmla="*/ 9985 h 10000"/>
                    <a:gd name="connsiteX4" fmla="*/ 8523 w 9716"/>
                    <a:gd name="connsiteY4" fmla="*/ 9968 h 10000"/>
                    <a:gd name="connsiteX5" fmla="*/ 8466 w 9716"/>
                    <a:gd name="connsiteY5" fmla="*/ 9950 h 10000"/>
                    <a:gd name="connsiteX6" fmla="*/ 8466 w 9716"/>
                    <a:gd name="connsiteY6" fmla="*/ 9950 h 10000"/>
                    <a:gd name="connsiteX7" fmla="*/ 8125 w 9716"/>
                    <a:gd name="connsiteY7" fmla="*/ 9756 h 10000"/>
                    <a:gd name="connsiteX8" fmla="*/ 7841 w 9716"/>
                    <a:gd name="connsiteY8" fmla="*/ 9577 h 10000"/>
                    <a:gd name="connsiteX9" fmla="*/ 7841 w 9716"/>
                    <a:gd name="connsiteY9" fmla="*/ 9577 h 10000"/>
                    <a:gd name="connsiteX10" fmla="*/ 7728 w 9716"/>
                    <a:gd name="connsiteY10" fmla="*/ 9545 h 10000"/>
                    <a:gd name="connsiteX11" fmla="*/ 7557 w 9716"/>
                    <a:gd name="connsiteY11" fmla="*/ 9511 h 10000"/>
                    <a:gd name="connsiteX12" fmla="*/ 7102 w 9716"/>
                    <a:gd name="connsiteY12" fmla="*/ 9495 h 10000"/>
                    <a:gd name="connsiteX13" fmla="*/ 6534 w 9716"/>
                    <a:gd name="connsiteY13" fmla="*/ 9479 h 10000"/>
                    <a:gd name="connsiteX14" fmla="*/ 6023 w 9716"/>
                    <a:gd name="connsiteY14" fmla="*/ 9479 h 10000"/>
                    <a:gd name="connsiteX15" fmla="*/ 6023 w 9716"/>
                    <a:gd name="connsiteY15" fmla="*/ 9479 h 10000"/>
                    <a:gd name="connsiteX16" fmla="*/ 5796 w 9716"/>
                    <a:gd name="connsiteY16" fmla="*/ 9460 h 10000"/>
                    <a:gd name="connsiteX17" fmla="*/ 5682 w 9716"/>
                    <a:gd name="connsiteY17" fmla="*/ 9430 h 10000"/>
                    <a:gd name="connsiteX18" fmla="*/ 5625 w 9716"/>
                    <a:gd name="connsiteY18" fmla="*/ 9395 h 10000"/>
                    <a:gd name="connsiteX19" fmla="*/ 5682 w 9716"/>
                    <a:gd name="connsiteY19" fmla="*/ 9200 h 10000"/>
                    <a:gd name="connsiteX20" fmla="*/ 5739 w 9716"/>
                    <a:gd name="connsiteY20" fmla="*/ 9133 h 10000"/>
                    <a:gd name="connsiteX21" fmla="*/ 5682 w 9716"/>
                    <a:gd name="connsiteY21" fmla="*/ 9055 h 10000"/>
                    <a:gd name="connsiteX22" fmla="*/ 5682 w 9716"/>
                    <a:gd name="connsiteY22" fmla="*/ 9055 h 10000"/>
                    <a:gd name="connsiteX23" fmla="*/ 5625 w 9716"/>
                    <a:gd name="connsiteY23" fmla="*/ 9006 h 10000"/>
                    <a:gd name="connsiteX24" fmla="*/ 5568 w 9716"/>
                    <a:gd name="connsiteY24" fmla="*/ 8973 h 10000"/>
                    <a:gd name="connsiteX25" fmla="*/ 5454 w 9716"/>
                    <a:gd name="connsiteY25" fmla="*/ 8973 h 10000"/>
                    <a:gd name="connsiteX26" fmla="*/ 5285 w 9716"/>
                    <a:gd name="connsiteY26" fmla="*/ 8991 h 10000"/>
                    <a:gd name="connsiteX27" fmla="*/ 4943 w 9716"/>
                    <a:gd name="connsiteY27" fmla="*/ 9038 h 10000"/>
                    <a:gd name="connsiteX28" fmla="*/ 4489 w 9716"/>
                    <a:gd name="connsiteY28" fmla="*/ 9119 h 10000"/>
                    <a:gd name="connsiteX29" fmla="*/ 4489 w 9716"/>
                    <a:gd name="connsiteY29" fmla="*/ 9119 h 10000"/>
                    <a:gd name="connsiteX30" fmla="*/ 4205 w 9716"/>
                    <a:gd name="connsiteY30" fmla="*/ 9133 h 10000"/>
                    <a:gd name="connsiteX31" fmla="*/ 4091 w 9716"/>
                    <a:gd name="connsiteY31" fmla="*/ 9133 h 10000"/>
                    <a:gd name="connsiteX32" fmla="*/ 4034 w 9716"/>
                    <a:gd name="connsiteY32" fmla="*/ 9119 h 10000"/>
                    <a:gd name="connsiteX33" fmla="*/ 3807 w 9716"/>
                    <a:gd name="connsiteY33" fmla="*/ 8973 h 10000"/>
                    <a:gd name="connsiteX34" fmla="*/ 3807 w 9716"/>
                    <a:gd name="connsiteY34" fmla="*/ 8973 h 10000"/>
                    <a:gd name="connsiteX35" fmla="*/ 3693 w 9716"/>
                    <a:gd name="connsiteY35" fmla="*/ 8925 h 10000"/>
                    <a:gd name="connsiteX36" fmla="*/ 3693 w 9716"/>
                    <a:gd name="connsiteY36" fmla="*/ 8875 h 10000"/>
                    <a:gd name="connsiteX37" fmla="*/ 3693 w 9716"/>
                    <a:gd name="connsiteY37" fmla="*/ 8842 h 10000"/>
                    <a:gd name="connsiteX38" fmla="*/ 3751 w 9716"/>
                    <a:gd name="connsiteY38" fmla="*/ 8809 h 10000"/>
                    <a:gd name="connsiteX39" fmla="*/ 3864 w 9716"/>
                    <a:gd name="connsiteY39" fmla="*/ 8743 h 10000"/>
                    <a:gd name="connsiteX40" fmla="*/ 3978 w 9716"/>
                    <a:gd name="connsiteY40" fmla="*/ 8727 h 10000"/>
                    <a:gd name="connsiteX41" fmla="*/ 3978 w 9716"/>
                    <a:gd name="connsiteY41" fmla="*/ 8727 h 10000"/>
                    <a:gd name="connsiteX42" fmla="*/ 3978 w 9716"/>
                    <a:gd name="connsiteY42" fmla="*/ 8712 h 10000"/>
                    <a:gd name="connsiteX43" fmla="*/ 4034 w 9716"/>
                    <a:gd name="connsiteY43" fmla="*/ 8695 h 10000"/>
                    <a:gd name="connsiteX44" fmla="*/ 7656 w 9716"/>
                    <a:gd name="connsiteY44" fmla="*/ 8443 h 10000"/>
                    <a:gd name="connsiteX45" fmla="*/ 8068 w 9716"/>
                    <a:gd name="connsiteY45" fmla="*/ 8451 h 10000"/>
                    <a:gd name="connsiteX46" fmla="*/ 8068 w 9716"/>
                    <a:gd name="connsiteY46" fmla="*/ 8451 h 10000"/>
                    <a:gd name="connsiteX47" fmla="*/ 8353 w 9716"/>
                    <a:gd name="connsiteY47" fmla="*/ 8418 h 10000"/>
                    <a:gd name="connsiteX48" fmla="*/ 8580 w 9716"/>
                    <a:gd name="connsiteY48" fmla="*/ 8337 h 10000"/>
                    <a:gd name="connsiteX49" fmla="*/ 8523 w 9716"/>
                    <a:gd name="connsiteY49" fmla="*/ 8304 h 10000"/>
                    <a:gd name="connsiteX50" fmla="*/ 8523 w 9716"/>
                    <a:gd name="connsiteY50" fmla="*/ 8273 h 10000"/>
                    <a:gd name="connsiteX51" fmla="*/ 8239 w 9716"/>
                    <a:gd name="connsiteY51" fmla="*/ 8190 h 10000"/>
                    <a:gd name="connsiteX52" fmla="*/ 6194 w 9716"/>
                    <a:gd name="connsiteY52" fmla="*/ 7895 h 10000"/>
                    <a:gd name="connsiteX53" fmla="*/ 6194 w 9716"/>
                    <a:gd name="connsiteY53" fmla="*/ 7895 h 10000"/>
                    <a:gd name="connsiteX54" fmla="*/ 5966 w 9716"/>
                    <a:gd name="connsiteY54" fmla="*/ 7848 h 10000"/>
                    <a:gd name="connsiteX55" fmla="*/ 5796 w 9716"/>
                    <a:gd name="connsiteY55" fmla="*/ 7798 h 10000"/>
                    <a:gd name="connsiteX56" fmla="*/ 5682 w 9716"/>
                    <a:gd name="connsiteY56" fmla="*/ 7749 h 10000"/>
                    <a:gd name="connsiteX57" fmla="*/ 5682 w 9716"/>
                    <a:gd name="connsiteY57" fmla="*/ 7749 h 10000"/>
                    <a:gd name="connsiteX58" fmla="*/ 7728 w 9716"/>
                    <a:gd name="connsiteY58" fmla="*/ 7732 h 10000"/>
                    <a:gd name="connsiteX59" fmla="*/ 9716 w 9716"/>
                    <a:gd name="connsiteY59" fmla="*/ 7895 h 10000"/>
                    <a:gd name="connsiteX60" fmla="*/ 9716 w 9716"/>
                    <a:gd name="connsiteY60" fmla="*/ 6412 h 10000"/>
                    <a:gd name="connsiteX61" fmla="*/ 9716 w 9716"/>
                    <a:gd name="connsiteY61" fmla="*/ 6412 h 10000"/>
                    <a:gd name="connsiteX62" fmla="*/ 7444 w 9716"/>
                    <a:gd name="connsiteY62" fmla="*/ 6068 h 10000"/>
                    <a:gd name="connsiteX63" fmla="*/ 6194 w 9716"/>
                    <a:gd name="connsiteY63" fmla="*/ 5873 h 10000"/>
                    <a:gd name="connsiteX64" fmla="*/ 6194 w 9716"/>
                    <a:gd name="connsiteY64" fmla="*/ 5873 h 10000"/>
                    <a:gd name="connsiteX65" fmla="*/ 6194 w 9716"/>
                    <a:gd name="connsiteY65" fmla="*/ 5857 h 10000"/>
                    <a:gd name="connsiteX66" fmla="*/ 6194 w 9716"/>
                    <a:gd name="connsiteY66" fmla="*/ 5759 h 10000"/>
                    <a:gd name="connsiteX67" fmla="*/ 6194 w 9716"/>
                    <a:gd name="connsiteY67" fmla="*/ 5759 h 10000"/>
                    <a:gd name="connsiteX68" fmla="*/ 6023 w 9716"/>
                    <a:gd name="connsiteY68" fmla="*/ 5643 h 10000"/>
                    <a:gd name="connsiteX69" fmla="*/ 5682 w 9716"/>
                    <a:gd name="connsiteY69" fmla="*/ 5465 h 10000"/>
                    <a:gd name="connsiteX70" fmla="*/ 4943 w 9716"/>
                    <a:gd name="connsiteY70" fmla="*/ 5122 h 10000"/>
                    <a:gd name="connsiteX71" fmla="*/ 4943 w 9716"/>
                    <a:gd name="connsiteY71" fmla="*/ 5122 h 10000"/>
                    <a:gd name="connsiteX72" fmla="*/ 4773 w 9716"/>
                    <a:gd name="connsiteY72" fmla="*/ 5073 h 10000"/>
                    <a:gd name="connsiteX73" fmla="*/ 4489 w 9716"/>
                    <a:gd name="connsiteY73" fmla="*/ 5008 h 10000"/>
                    <a:gd name="connsiteX74" fmla="*/ 3637 w 9716"/>
                    <a:gd name="connsiteY74" fmla="*/ 4861 h 10000"/>
                    <a:gd name="connsiteX75" fmla="*/ 2444 w 9716"/>
                    <a:gd name="connsiteY75" fmla="*/ 4683 h 10000"/>
                    <a:gd name="connsiteX76" fmla="*/ 2444 w 9716"/>
                    <a:gd name="connsiteY76" fmla="*/ 4683 h 10000"/>
                    <a:gd name="connsiteX77" fmla="*/ 1932 w 9716"/>
                    <a:gd name="connsiteY77" fmla="*/ 4665 h 10000"/>
                    <a:gd name="connsiteX78" fmla="*/ 1534 w 9716"/>
                    <a:gd name="connsiteY78" fmla="*/ 4648 h 10000"/>
                    <a:gd name="connsiteX79" fmla="*/ 1421 w 9716"/>
                    <a:gd name="connsiteY79" fmla="*/ 4632 h 10000"/>
                    <a:gd name="connsiteX80" fmla="*/ 1307 w 9716"/>
                    <a:gd name="connsiteY80" fmla="*/ 4617 h 10000"/>
                    <a:gd name="connsiteX81" fmla="*/ 1307 w 9716"/>
                    <a:gd name="connsiteY81" fmla="*/ 4617 h 10000"/>
                    <a:gd name="connsiteX82" fmla="*/ 1194 w 9716"/>
                    <a:gd name="connsiteY82" fmla="*/ 4550 h 10000"/>
                    <a:gd name="connsiteX83" fmla="*/ 1023 w 9716"/>
                    <a:gd name="connsiteY83" fmla="*/ 4438 h 10000"/>
                    <a:gd name="connsiteX84" fmla="*/ 966 w 9716"/>
                    <a:gd name="connsiteY84" fmla="*/ 4372 h 10000"/>
                    <a:gd name="connsiteX85" fmla="*/ 966 w 9716"/>
                    <a:gd name="connsiteY85" fmla="*/ 4306 h 10000"/>
                    <a:gd name="connsiteX86" fmla="*/ 966 w 9716"/>
                    <a:gd name="connsiteY86" fmla="*/ 4258 h 10000"/>
                    <a:gd name="connsiteX87" fmla="*/ 1080 w 9716"/>
                    <a:gd name="connsiteY87" fmla="*/ 4208 h 10000"/>
                    <a:gd name="connsiteX88" fmla="*/ 1080 w 9716"/>
                    <a:gd name="connsiteY88" fmla="*/ 4208 h 10000"/>
                    <a:gd name="connsiteX89" fmla="*/ 1364 w 9716"/>
                    <a:gd name="connsiteY89" fmla="*/ 4127 h 10000"/>
                    <a:gd name="connsiteX90" fmla="*/ 1648 w 9716"/>
                    <a:gd name="connsiteY90" fmla="*/ 4047 h 10000"/>
                    <a:gd name="connsiteX91" fmla="*/ 1819 w 9716"/>
                    <a:gd name="connsiteY91" fmla="*/ 3998 h 10000"/>
                    <a:gd name="connsiteX92" fmla="*/ 1932 w 9716"/>
                    <a:gd name="connsiteY92" fmla="*/ 3948 h 10000"/>
                    <a:gd name="connsiteX93" fmla="*/ 1932 w 9716"/>
                    <a:gd name="connsiteY93" fmla="*/ 3882 h 10000"/>
                    <a:gd name="connsiteX94" fmla="*/ 1932 w 9716"/>
                    <a:gd name="connsiteY94" fmla="*/ 3801 h 10000"/>
                    <a:gd name="connsiteX95" fmla="*/ 1932 w 9716"/>
                    <a:gd name="connsiteY95" fmla="*/ 3801 h 10000"/>
                    <a:gd name="connsiteX96" fmla="*/ 1705 w 9716"/>
                    <a:gd name="connsiteY96" fmla="*/ 3572 h 10000"/>
                    <a:gd name="connsiteX97" fmla="*/ 1421 w 9716"/>
                    <a:gd name="connsiteY97" fmla="*/ 3263 h 10000"/>
                    <a:gd name="connsiteX98" fmla="*/ 1194 w 9716"/>
                    <a:gd name="connsiteY98" fmla="*/ 2985 h 10000"/>
                    <a:gd name="connsiteX99" fmla="*/ 1137 w 9716"/>
                    <a:gd name="connsiteY99" fmla="*/ 2904 h 10000"/>
                    <a:gd name="connsiteX100" fmla="*/ 1137 w 9716"/>
                    <a:gd name="connsiteY100" fmla="*/ 2871 h 10000"/>
                    <a:gd name="connsiteX101" fmla="*/ 1194 w 9716"/>
                    <a:gd name="connsiteY101" fmla="*/ 2854 h 10000"/>
                    <a:gd name="connsiteX102" fmla="*/ 1194 w 9716"/>
                    <a:gd name="connsiteY102" fmla="*/ 2854 h 10000"/>
                    <a:gd name="connsiteX103" fmla="*/ 1534 w 9716"/>
                    <a:gd name="connsiteY103" fmla="*/ 2839 h 10000"/>
                    <a:gd name="connsiteX104" fmla="*/ 1761 w 9716"/>
                    <a:gd name="connsiteY104" fmla="*/ 2839 h 10000"/>
                    <a:gd name="connsiteX105" fmla="*/ 1932 w 9716"/>
                    <a:gd name="connsiteY105" fmla="*/ 2854 h 10000"/>
                    <a:gd name="connsiteX106" fmla="*/ 1932 w 9716"/>
                    <a:gd name="connsiteY106" fmla="*/ 2854 h 10000"/>
                    <a:gd name="connsiteX107" fmla="*/ 1988 w 9716"/>
                    <a:gd name="connsiteY107" fmla="*/ 2854 h 10000"/>
                    <a:gd name="connsiteX108" fmla="*/ 2046 w 9716"/>
                    <a:gd name="connsiteY108" fmla="*/ 2823 h 10000"/>
                    <a:gd name="connsiteX109" fmla="*/ 2330 w 9716"/>
                    <a:gd name="connsiteY109" fmla="*/ 2725 h 10000"/>
                    <a:gd name="connsiteX110" fmla="*/ 3068 w 9716"/>
                    <a:gd name="connsiteY110" fmla="*/ 2397 h 10000"/>
                    <a:gd name="connsiteX111" fmla="*/ 4034 w 9716"/>
                    <a:gd name="connsiteY111" fmla="*/ 1927 h 10000"/>
                    <a:gd name="connsiteX112" fmla="*/ 4034 w 9716"/>
                    <a:gd name="connsiteY112" fmla="*/ 1927 h 10000"/>
                    <a:gd name="connsiteX113" fmla="*/ 4034 w 9716"/>
                    <a:gd name="connsiteY113" fmla="*/ 1860 h 10000"/>
                    <a:gd name="connsiteX114" fmla="*/ 4034 w 9716"/>
                    <a:gd name="connsiteY114" fmla="*/ 1710 h 10000"/>
                    <a:gd name="connsiteX115" fmla="*/ 4091 w 9716"/>
                    <a:gd name="connsiteY115" fmla="*/ 1615 h 10000"/>
                    <a:gd name="connsiteX116" fmla="*/ 4205 w 9716"/>
                    <a:gd name="connsiteY116" fmla="*/ 1533 h 10000"/>
                    <a:gd name="connsiteX117" fmla="*/ 4375 w 9716"/>
                    <a:gd name="connsiteY117" fmla="*/ 1436 h 10000"/>
                    <a:gd name="connsiteX118" fmla="*/ 4602 w 9716"/>
                    <a:gd name="connsiteY118" fmla="*/ 1355 h 10000"/>
                    <a:gd name="connsiteX119" fmla="*/ 4602 w 9716"/>
                    <a:gd name="connsiteY119" fmla="*/ 1355 h 10000"/>
                    <a:gd name="connsiteX120" fmla="*/ 5171 w 9716"/>
                    <a:gd name="connsiteY120" fmla="*/ 1192 h 10000"/>
                    <a:gd name="connsiteX121" fmla="*/ 5739 w 9716"/>
                    <a:gd name="connsiteY121" fmla="*/ 978 h 10000"/>
                    <a:gd name="connsiteX122" fmla="*/ 6307 w 9716"/>
                    <a:gd name="connsiteY122" fmla="*/ 783 h 10000"/>
                    <a:gd name="connsiteX123" fmla="*/ 6705 w 9716"/>
                    <a:gd name="connsiteY123" fmla="*/ 605 h 10000"/>
                    <a:gd name="connsiteX124" fmla="*/ 6705 w 9716"/>
                    <a:gd name="connsiteY124" fmla="*/ 605 h 10000"/>
                    <a:gd name="connsiteX125" fmla="*/ 6988 w 9716"/>
                    <a:gd name="connsiteY125" fmla="*/ 441 h 10000"/>
                    <a:gd name="connsiteX126" fmla="*/ 7330 w 9716"/>
                    <a:gd name="connsiteY126" fmla="*/ 245 h 10000"/>
                    <a:gd name="connsiteX127" fmla="*/ 7671 w 9716"/>
                    <a:gd name="connsiteY127" fmla="*/ 97 h 10000"/>
                    <a:gd name="connsiteX128" fmla="*/ 7841 w 9716"/>
                    <a:gd name="connsiteY128" fmla="*/ 30 h 10000"/>
                    <a:gd name="connsiteX129" fmla="*/ 8011 w 9716"/>
                    <a:gd name="connsiteY129" fmla="*/ 15 h 10000"/>
                    <a:gd name="connsiteX130" fmla="*/ 8011 w 9716"/>
                    <a:gd name="connsiteY130" fmla="*/ 15 h 10000"/>
                    <a:gd name="connsiteX131" fmla="*/ 8353 w 9716"/>
                    <a:gd name="connsiteY131" fmla="*/ 0 h 10000"/>
                    <a:gd name="connsiteX132" fmla="*/ 8807 w 9716"/>
                    <a:gd name="connsiteY132" fmla="*/ 0 h 10000"/>
                    <a:gd name="connsiteX133" fmla="*/ 9716 w 9716"/>
                    <a:gd name="connsiteY133" fmla="*/ 15 h 10000"/>
                    <a:gd name="connsiteX134" fmla="*/ 9716 w 9716"/>
                    <a:gd name="connsiteY134" fmla="*/ 9985 h 10000"/>
                    <a:gd name="connsiteX135" fmla="*/ 9716 w 9716"/>
                    <a:gd name="connsiteY135" fmla="*/ 9985 h 10000"/>
                    <a:gd name="connsiteX136" fmla="*/ 9432 w 9716"/>
                    <a:gd name="connsiteY136" fmla="*/ 9968 h 10000"/>
                    <a:gd name="connsiteX137" fmla="*/ 9091 w 9716"/>
                    <a:gd name="connsiteY137" fmla="*/ 9985 h 10000"/>
                    <a:gd name="connsiteX138" fmla="*/ 9091 w 9716"/>
                    <a:gd name="connsiteY138" fmla="*/ 9985 h 10000"/>
                    <a:gd name="connsiteX139" fmla="*/ 8978 w 9716"/>
                    <a:gd name="connsiteY139" fmla="*/ 10000 h 10000"/>
                    <a:gd name="connsiteX140" fmla="*/ 8751 w 9716"/>
                    <a:gd name="connsiteY140" fmla="*/ 9985 h 10000"/>
                    <a:gd name="connsiteX141" fmla="*/ 8409 w 9716"/>
                    <a:gd name="connsiteY141" fmla="*/ 9935 h 10000"/>
                    <a:gd name="connsiteX142" fmla="*/ 8125 w 9716"/>
                    <a:gd name="connsiteY142" fmla="*/ 9806 h 10000"/>
                    <a:gd name="connsiteX143" fmla="*/ 8125 w 9716"/>
                    <a:gd name="connsiteY143" fmla="*/ 9806 h 10000"/>
                    <a:gd name="connsiteX144" fmla="*/ 7784 w 9716"/>
                    <a:gd name="connsiteY144" fmla="*/ 9593 h 10000"/>
                    <a:gd name="connsiteX145" fmla="*/ 7444 w 9716"/>
                    <a:gd name="connsiteY145" fmla="*/ 9511 h 10000"/>
                    <a:gd name="connsiteX146" fmla="*/ 7217 w 9716"/>
                    <a:gd name="connsiteY146" fmla="*/ 9495 h 10000"/>
                    <a:gd name="connsiteX147" fmla="*/ 6648 w 9716"/>
                    <a:gd name="connsiteY147" fmla="*/ 9460 h 10000"/>
                    <a:gd name="connsiteX148" fmla="*/ 6194 w 9716"/>
                    <a:gd name="connsiteY148" fmla="*/ 9479 h 10000"/>
                    <a:gd name="connsiteX149" fmla="*/ 5852 w 9716"/>
                    <a:gd name="connsiteY149" fmla="*/ 9479 h 10000"/>
                    <a:gd name="connsiteX150" fmla="*/ 5739 w 9716"/>
                    <a:gd name="connsiteY150" fmla="*/ 9460 h 10000"/>
                    <a:gd name="connsiteX151" fmla="*/ 5682 w 9716"/>
                    <a:gd name="connsiteY151" fmla="*/ 9153 h 10000"/>
                    <a:gd name="connsiteX152" fmla="*/ 5682 w 9716"/>
                    <a:gd name="connsiteY152" fmla="*/ 9087 h 10000"/>
                    <a:gd name="connsiteX153" fmla="*/ 5568 w 9716"/>
                    <a:gd name="connsiteY153" fmla="*/ 9006 h 10000"/>
                    <a:gd name="connsiteX154" fmla="*/ 5512 w 9716"/>
                    <a:gd name="connsiteY154" fmla="*/ 8991 h 10000"/>
                    <a:gd name="connsiteX155" fmla="*/ 5285 w 9716"/>
                    <a:gd name="connsiteY155" fmla="*/ 8973 h 10000"/>
                    <a:gd name="connsiteX156" fmla="*/ 4489 w 9716"/>
                    <a:gd name="connsiteY156" fmla="*/ 9104 h 10000"/>
                    <a:gd name="connsiteX157" fmla="*/ 4205 w 9716"/>
                    <a:gd name="connsiteY157" fmla="*/ 9133 h 10000"/>
                    <a:gd name="connsiteX158" fmla="*/ 4091 w 9716"/>
                    <a:gd name="connsiteY158" fmla="*/ 9133 h 10000"/>
                    <a:gd name="connsiteX159" fmla="*/ 3807 w 9716"/>
                    <a:gd name="connsiteY159" fmla="*/ 8973 h 10000"/>
                    <a:gd name="connsiteX160" fmla="*/ 3807 w 9716"/>
                    <a:gd name="connsiteY160" fmla="*/ 8973 h 10000"/>
                    <a:gd name="connsiteX161" fmla="*/ 3693 w 9716"/>
                    <a:gd name="connsiteY161" fmla="*/ 8891 h 10000"/>
                    <a:gd name="connsiteX162" fmla="*/ 3693 w 9716"/>
                    <a:gd name="connsiteY162" fmla="*/ 8794 h 10000"/>
                    <a:gd name="connsiteX163" fmla="*/ 3693 w 9716"/>
                    <a:gd name="connsiteY163" fmla="*/ 8794 h 10000"/>
                    <a:gd name="connsiteX164" fmla="*/ 3864 w 9716"/>
                    <a:gd name="connsiteY164" fmla="*/ 8743 h 10000"/>
                    <a:gd name="connsiteX165" fmla="*/ 3978 w 9716"/>
                    <a:gd name="connsiteY165" fmla="*/ 8727 h 10000"/>
                    <a:gd name="connsiteX166" fmla="*/ 3978 w 9716"/>
                    <a:gd name="connsiteY166" fmla="*/ 8727 h 10000"/>
                    <a:gd name="connsiteX167" fmla="*/ 3295 w 9716"/>
                    <a:gd name="connsiteY167" fmla="*/ 8743 h 10000"/>
                    <a:gd name="connsiteX168" fmla="*/ 3182 w 9716"/>
                    <a:gd name="connsiteY168" fmla="*/ 8760 h 10000"/>
                    <a:gd name="connsiteX169" fmla="*/ 3126 w 9716"/>
                    <a:gd name="connsiteY169" fmla="*/ 8776 h 10000"/>
                    <a:gd name="connsiteX170" fmla="*/ 3126 w 9716"/>
                    <a:gd name="connsiteY170" fmla="*/ 8776 h 10000"/>
                    <a:gd name="connsiteX171" fmla="*/ 3011 w 9716"/>
                    <a:gd name="connsiteY171" fmla="*/ 8842 h 10000"/>
                    <a:gd name="connsiteX172" fmla="*/ 2841 w 9716"/>
                    <a:gd name="connsiteY172" fmla="*/ 8940 h 10000"/>
                    <a:gd name="connsiteX173" fmla="*/ 2217 w 9716"/>
                    <a:gd name="connsiteY173" fmla="*/ 9133 h 10000"/>
                    <a:gd name="connsiteX174" fmla="*/ 398 w 9716"/>
                    <a:gd name="connsiteY174" fmla="*/ 9315 h 10000"/>
                    <a:gd name="connsiteX175" fmla="*/ 0 w 9716"/>
                    <a:gd name="connsiteY175" fmla="*/ 9331 h 10000"/>
                    <a:gd name="connsiteX176" fmla="*/ 9716 w 9716"/>
                    <a:gd name="connsiteY176" fmla="*/ 9968 h 10000"/>
                    <a:gd name="connsiteX0" fmla="*/ 9590 w 9590"/>
                    <a:gd name="connsiteY0" fmla="*/ 9968 h 10000"/>
                    <a:gd name="connsiteX1" fmla="*/ 9590 w 9590"/>
                    <a:gd name="connsiteY1" fmla="*/ 9968 h 10000"/>
                    <a:gd name="connsiteX2" fmla="*/ 8771 w 9590"/>
                    <a:gd name="connsiteY2" fmla="*/ 9985 h 10000"/>
                    <a:gd name="connsiteX3" fmla="*/ 8478 w 9590"/>
                    <a:gd name="connsiteY3" fmla="*/ 9985 h 10000"/>
                    <a:gd name="connsiteX4" fmla="*/ 8362 w 9590"/>
                    <a:gd name="connsiteY4" fmla="*/ 9968 h 10000"/>
                    <a:gd name="connsiteX5" fmla="*/ 8303 w 9590"/>
                    <a:gd name="connsiteY5" fmla="*/ 9950 h 10000"/>
                    <a:gd name="connsiteX6" fmla="*/ 8303 w 9590"/>
                    <a:gd name="connsiteY6" fmla="*/ 9950 h 10000"/>
                    <a:gd name="connsiteX7" fmla="*/ 7952 w 9590"/>
                    <a:gd name="connsiteY7" fmla="*/ 9756 h 10000"/>
                    <a:gd name="connsiteX8" fmla="*/ 7660 w 9590"/>
                    <a:gd name="connsiteY8" fmla="*/ 9577 h 10000"/>
                    <a:gd name="connsiteX9" fmla="*/ 7660 w 9590"/>
                    <a:gd name="connsiteY9" fmla="*/ 9577 h 10000"/>
                    <a:gd name="connsiteX10" fmla="*/ 7544 w 9590"/>
                    <a:gd name="connsiteY10" fmla="*/ 9545 h 10000"/>
                    <a:gd name="connsiteX11" fmla="*/ 7368 w 9590"/>
                    <a:gd name="connsiteY11" fmla="*/ 9511 h 10000"/>
                    <a:gd name="connsiteX12" fmla="*/ 6900 w 9590"/>
                    <a:gd name="connsiteY12" fmla="*/ 9495 h 10000"/>
                    <a:gd name="connsiteX13" fmla="*/ 6315 w 9590"/>
                    <a:gd name="connsiteY13" fmla="*/ 9479 h 10000"/>
                    <a:gd name="connsiteX14" fmla="*/ 5789 w 9590"/>
                    <a:gd name="connsiteY14" fmla="*/ 9479 h 10000"/>
                    <a:gd name="connsiteX15" fmla="*/ 5789 w 9590"/>
                    <a:gd name="connsiteY15" fmla="*/ 9479 h 10000"/>
                    <a:gd name="connsiteX16" fmla="*/ 5555 w 9590"/>
                    <a:gd name="connsiteY16" fmla="*/ 9460 h 10000"/>
                    <a:gd name="connsiteX17" fmla="*/ 5438 w 9590"/>
                    <a:gd name="connsiteY17" fmla="*/ 9430 h 10000"/>
                    <a:gd name="connsiteX18" fmla="*/ 5379 w 9590"/>
                    <a:gd name="connsiteY18" fmla="*/ 9395 h 10000"/>
                    <a:gd name="connsiteX19" fmla="*/ 5438 w 9590"/>
                    <a:gd name="connsiteY19" fmla="*/ 9200 h 10000"/>
                    <a:gd name="connsiteX20" fmla="*/ 5497 w 9590"/>
                    <a:gd name="connsiteY20" fmla="*/ 9133 h 10000"/>
                    <a:gd name="connsiteX21" fmla="*/ 5438 w 9590"/>
                    <a:gd name="connsiteY21" fmla="*/ 9055 h 10000"/>
                    <a:gd name="connsiteX22" fmla="*/ 5438 w 9590"/>
                    <a:gd name="connsiteY22" fmla="*/ 9055 h 10000"/>
                    <a:gd name="connsiteX23" fmla="*/ 5379 w 9590"/>
                    <a:gd name="connsiteY23" fmla="*/ 9006 h 10000"/>
                    <a:gd name="connsiteX24" fmla="*/ 5321 w 9590"/>
                    <a:gd name="connsiteY24" fmla="*/ 8973 h 10000"/>
                    <a:gd name="connsiteX25" fmla="*/ 5203 w 9590"/>
                    <a:gd name="connsiteY25" fmla="*/ 8973 h 10000"/>
                    <a:gd name="connsiteX26" fmla="*/ 5029 w 9590"/>
                    <a:gd name="connsiteY26" fmla="*/ 8991 h 10000"/>
                    <a:gd name="connsiteX27" fmla="*/ 4677 w 9590"/>
                    <a:gd name="connsiteY27" fmla="*/ 9038 h 10000"/>
                    <a:gd name="connsiteX28" fmla="*/ 4210 w 9590"/>
                    <a:gd name="connsiteY28" fmla="*/ 9119 h 10000"/>
                    <a:gd name="connsiteX29" fmla="*/ 4210 w 9590"/>
                    <a:gd name="connsiteY29" fmla="*/ 9119 h 10000"/>
                    <a:gd name="connsiteX30" fmla="*/ 3918 w 9590"/>
                    <a:gd name="connsiteY30" fmla="*/ 9133 h 10000"/>
                    <a:gd name="connsiteX31" fmla="*/ 3801 w 9590"/>
                    <a:gd name="connsiteY31" fmla="*/ 9133 h 10000"/>
                    <a:gd name="connsiteX32" fmla="*/ 3742 w 9590"/>
                    <a:gd name="connsiteY32" fmla="*/ 9119 h 10000"/>
                    <a:gd name="connsiteX33" fmla="*/ 3508 w 9590"/>
                    <a:gd name="connsiteY33" fmla="*/ 8973 h 10000"/>
                    <a:gd name="connsiteX34" fmla="*/ 3508 w 9590"/>
                    <a:gd name="connsiteY34" fmla="*/ 8973 h 10000"/>
                    <a:gd name="connsiteX35" fmla="*/ 3391 w 9590"/>
                    <a:gd name="connsiteY35" fmla="*/ 8925 h 10000"/>
                    <a:gd name="connsiteX36" fmla="*/ 3391 w 9590"/>
                    <a:gd name="connsiteY36" fmla="*/ 8875 h 10000"/>
                    <a:gd name="connsiteX37" fmla="*/ 3391 w 9590"/>
                    <a:gd name="connsiteY37" fmla="*/ 8842 h 10000"/>
                    <a:gd name="connsiteX38" fmla="*/ 3451 w 9590"/>
                    <a:gd name="connsiteY38" fmla="*/ 8809 h 10000"/>
                    <a:gd name="connsiteX39" fmla="*/ 3567 w 9590"/>
                    <a:gd name="connsiteY39" fmla="*/ 8743 h 10000"/>
                    <a:gd name="connsiteX40" fmla="*/ 3684 w 9590"/>
                    <a:gd name="connsiteY40" fmla="*/ 8727 h 10000"/>
                    <a:gd name="connsiteX41" fmla="*/ 3684 w 9590"/>
                    <a:gd name="connsiteY41" fmla="*/ 8727 h 10000"/>
                    <a:gd name="connsiteX42" fmla="*/ 3684 w 9590"/>
                    <a:gd name="connsiteY42" fmla="*/ 8712 h 10000"/>
                    <a:gd name="connsiteX43" fmla="*/ 3742 w 9590"/>
                    <a:gd name="connsiteY43" fmla="*/ 8695 h 10000"/>
                    <a:gd name="connsiteX44" fmla="*/ 7470 w 9590"/>
                    <a:gd name="connsiteY44" fmla="*/ 8443 h 10000"/>
                    <a:gd name="connsiteX45" fmla="*/ 7894 w 9590"/>
                    <a:gd name="connsiteY45" fmla="*/ 8451 h 10000"/>
                    <a:gd name="connsiteX46" fmla="*/ 7894 w 9590"/>
                    <a:gd name="connsiteY46" fmla="*/ 8451 h 10000"/>
                    <a:gd name="connsiteX47" fmla="*/ 8187 w 9590"/>
                    <a:gd name="connsiteY47" fmla="*/ 8418 h 10000"/>
                    <a:gd name="connsiteX48" fmla="*/ 8421 w 9590"/>
                    <a:gd name="connsiteY48" fmla="*/ 8337 h 10000"/>
                    <a:gd name="connsiteX49" fmla="*/ 8362 w 9590"/>
                    <a:gd name="connsiteY49" fmla="*/ 8304 h 10000"/>
                    <a:gd name="connsiteX50" fmla="*/ 8362 w 9590"/>
                    <a:gd name="connsiteY50" fmla="*/ 8273 h 10000"/>
                    <a:gd name="connsiteX51" fmla="*/ 8070 w 9590"/>
                    <a:gd name="connsiteY51" fmla="*/ 8190 h 10000"/>
                    <a:gd name="connsiteX52" fmla="*/ 5965 w 9590"/>
                    <a:gd name="connsiteY52" fmla="*/ 7895 h 10000"/>
                    <a:gd name="connsiteX53" fmla="*/ 5965 w 9590"/>
                    <a:gd name="connsiteY53" fmla="*/ 7895 h 10000"/>
                    <a:gd name="connsiteX54" fmla="*/ 5730 w 9590"/>
                    <a:gd name="connsiteY54" fmla="*/ 7848 h 10000"/>
                    <a:gd name="connsiteX55" fmla="*/ 5555 w 9590"/>
                    <a:gd name="connsiteY55" fmla="*/ 7798 h 10000"/>
                    <a:gd name="connsiteX56" fmla="*/ 5438 w 9590"/>
                    <a:gd name="connsiteY56" fmla="*/ 7749 h 10000"/>
                    <a:gd name="connsiteX57" fmla="*/ 5438 w 9590"/>
                    <a:gd name="connsiteY57" fmla="*/ 7749 h 10000"/>
                    <a:gd name="connsiteX58" fmla="*/ 7544 w 9590"/>
                    <a:gd name="connsiteY58" fmla="*/ 7732 h 10000"/>
                    <a:gd name="connsiteX59" fmla="*/ 9590 w 9590"/>
                    <a:gd name="connsiteY59" fmla="*/ 7895 h 10000"/>
                    <a:gd name="connsiteX60" fmla="*/ 9590 w 9590"/>
                    <a:gd name="connsiteY60" fmla="*/ 6412 h 10000"/>
                    <a:gd name="connsiteX61" fmla="*/ 9590 w 9590"/>
                    <a:gd name="connsiteY61" fmla="*/ 6412 h 10000"/>
                    <a:gd name="connsiteX62" fmla="*/ 7252 w 9590"/>
                    <a:gd name="connsiteY62" fmla="*/ 6068 h 10000"/>
                    <a:gd name="connsiteX63" fmla="*/ 5965 w 9590"/>
                    <a:gd name="connsiteY63" fmla="*/ 5873 h 10000"/>
                    <a:gd name="connsiteX64" fmla="*/ 5965 w 9590"/>
                    <a:gd name="connsiteY64" fmla="*/ 5873 h 10000"/>
                    <a:gd name="connsiteX65" fmla="*/ 5965 w 9590"/>
                    <a:gd name="connsiteY65" fmla="*/ 5857 h 10000"/>
                    <a:gd name="connsiteX66" fmla="*/ 5965 w 9590"/>
                    <a:gd name="connsiteY66" fmla="*/ 5759 h 10000"/>
                    <a:gd name="connsiteX67" fmla="*/ 5965 w 9590"/>
                    <a:gd name="connsiteY67" fmla="*/ 5759 h 10000"/>
                    <a:gd name="connsiteX68" fmla="*/ 5789 w 9590"/>
                    <a:gd name="connsiteY68" fmla="*/ 5643 h 10000"/>
                    <a:gd name="connsiteX69" fmla="*/ 5438 w 9590"/>
                    <a:gd name="connsiteY69" fmla="*/ 5465 h 10000"/>
                    <a:gd name="connsiteX70" fmla="*/ 4677 w 9590"/>
                    <a:gd name="connsiteY70" fmla="*/ 5122 h 10000"/>
                    <a:gd name="connsiteX71" fmla="*/ 4677 w 9590"/>
                    <a:gd name="connsiteY71" fmla="*/ 5122 h 10000"/>
                    <a:gd name="connsiteX72" fmla="*/ 4503 w 9590"/>
                    <a:gd name="connsiteY72" fmla="*/ 5073 h 10000"/>
                    <a:gd name="connsiteX73" fmla="*/ 4210 w 9590"/>
                    <a:gd name="connsiteY73" fmla="*/ 5008 h 10000"/>
                    <a:gd name="connsiteX74" fmla="*/ 3333 w 9590"/>
                    <a:gd name="connsiteY74" fmla="*/ 4861 h 10000"/>
                    <a:gd name="connsiteX75" fmla="*/ 2105 w 9590"/>
                    <a:gd name="connsiteY75" fmla="*/ 4683 h 10000"/>
                    <a:gd name="connsiteX76" fmla="*/ 2105 w 9590"/>
                    <a:gd name="connsiteY76" fmla="*/ 4683 h 10000"/>
                    <a:gd name="connsiteX77" fmla="*/ 1578 w 9590"/>
                    <a:gd name="connsiteY77" fmla="*/ 4665 h 10000"/>
                    <a:gd name="connsiteX78" fmla="*/ 1169 w 9590"/>
                    <a:gd name="connsiteY78" fmla="*/ 4648 h 10000"/>
                    <a:gd name="connsiteX79" fmla="*/ 1053 w 9590"/>
                    <a:gd name="connsiteY79" fmla="*/ 4632 h 10000"/>
                    <a:gd name="connsiteX80" fmla="*/ 935 w 9590"/>
                    <a:gd name="connsiteY80" fmla="*/ 4617 h 10000"/>
                    <a:gd name="connsiteX81" fmla="*/ 935 w 9590"/>
                    <a:gd name="connsiteY81" fmla="*/ 4617 h 10000"/>
                    <a:gd name="connsiteX82" fmla="*/ 819 w 9590"/>
                    <a:gd name="connsiteY82" fmla="*/ 4550 h 10000"/>
                    <a:gd name="connsiteX83" fmla="*/ 643 w 9590"/>
                    <a:gd name="connsiteY83" fmla="*/ 4438 h 10000"/>
                    <a:gd name="connsiteX84" fmla="*/ 584 w 9590"/>
                    <a:gd name="connsiteY84" fmla="*/ 4372 h 10000"/>
                    <a:gd name="connsiteX85" fmla="*/ 584 w 9590"/>
                    <a:gd name="connsiteY85" fmla="*/ 4306 h 10000"/>
                    <a:gd name="connsiteX86" fmla="*/ 584 w 9590"/>
                    <a:gd name="connsiteY86" fmla="*/ 4258 h 10000"/>
                    <a:gd name="connsiteX87" fmla="*/ 702 w 9590"/>
                    <a:gd name="connsiteY87" fmla="*/ 4208 h 10000"/>
                    <a:gd name="connsiteX88" fmla="*/ 702 w 9590"/>
                    <a:gd name="connsiteY88" fmla="*/ 4208 h 10000"/>
                    <a:gd name="connsiteX89" fmla="*/ 994 w 9590"/>
                    <a:gd name="connsiteY89" fmla="*/ 4127 h 10000"/>
                    <a:gd name="connsiteX90" fmla="*/ 1286 w 9590"/>
                    <a:gd name="connsiteY90" fmla="*/ 4047 h 10000"/>
                    <a:gd name="connsiteX91" fmla="*/ 1462 w 9590"/>
                    <a:gd name="connsiteY91" fmla="*/ 3998 h 10000"/>
                    <a:gd name="connsiteX92" fmla="*/ 1578 w 9590"/>
                    <a:gd name="connsiteY92" fmla="*/ 3948 h 10000"/>
                    <a:gd name="connsiteX93" fmla="*/ 1578 w 9590"/>
                    <a:gd name="connsiteY93" fmla="*/ 3882 h 10000"/>
                    <a:gd name="connsiteX94" fmla="*/ 1578 w 9590"/>
                    <a:gd name="connsiteY94" fmla="*/ 3801 h 10000"/>
                    <a:gd name="connsiteX95" fmla="*/ 1578 w 9590"/>
                    <a:gd name="connsiteY95" fmla="*/ 3801 h 10000"/>
                    <a:gd name="connsiteX96" fmla="*/ 1345 w 9590"/>
                    <a:gd name="connsiteY96" fmla="*/ 3572 h 10000"/>
                    <a:gd name="connsiteX97" fmla="*/ 1053 w 9590"/>
                    <a:gd name="connsiteY97" fmla="*/ 3263 h 10000"/>
                    <a:gd name="connsiteX98" fmla="*/ 819 w 9590"/>
                    <a:gd name="connsiteY98" fmla="*/ 2985 h 10000"/>
                    <a:gd name="connsiteX99" fmla="*/ 760 w 9590"/>
                    <a:gd name="connsiteY99" fmla="*/ 2904 h 10000"/>
                    <a:gd name="connsiteX100" fmla="*/ 760 w 9590"/>
                    <a:gd name="connsiteY100" fmla="*/ 2871 h 10000"/>
                    <a:gd name="connsiteX101" fmla="*/ 819 w 9590"/>
                    <a:gd name="connsiteY101" fmla="*/ 2854 h 10000"/>
                    <a:gd name="connsiteX102" fmla="*/ 819 w 9590"/>
                    <a:gd name="connsiteY102" fmla="*/ 2854 h 10000"/>
                    <a:gd name="connsiteX103" fmla="*/ 1169 w 9590"/>
                    <a:gd name="connsiteY103" fmla="*/ 2839 h 10000"/>
                    <a:gd name="connsiteX104" fmla="*/ 1402 w 9590"/>
                    <a:gd name="connsiteY104" fmla="*/ 2839 h 10000"/>
                    <a:gd name="connsiteX105" fmla="*/ 1578 w 9590"/>
                    <a:gd name="connsiteY105" fmla="*/ 2854 h 10000"/>
                    <a:gd name="connsiteX106" fmla="*/ 1578 w 9590"/>
                    <a:gd name="connsiteY106" fmla="*/ 2854 h 10000"/>
                    <a:gd name="connsiteX107" fmla="*/ 1636 w 9590"/>
                    <a:gd name="connsiteY107" fmla="*/ 2854 h 10000"/>
                    <a:gd name="connsiteX108" fmla="*/ 1696 w 9590"/>
                    <a:gd name="connsiteY108" fmla="*/ 2823 h 10000"/>
                    <a:gd name="connsiteX109" fmla="*/ 1988 w 9590"/>
                    <a:gd name="connsiteY109" fmla="*/ 2725 h 10000"/>
                    <a:gd name="connsiteX110" fmla="*/ 2748 w 9590"/>
                    <a:gd name="connsiteY110" fmla="*/ 2397 h 10000"/>
                    <a:gd name="connsiteX111" fmla="*/ 3742 w 9590"/>
                    <a:gd name="connsiteY111" fmla="*/ 1927 h 10000"/>
                    <a:gd name="connsiteX112" fmla="*/ 3742 w 9590"/>
                    <a:gd name="connsiteY112" fmla="*/ 1927 h 10000"/>
                    <a:gd name="connsiteX113" fmla="*/ 3742 w 9590"/>
                    <a:gd name="connsiteY113" fmla="*/ 1860 h 10000"/>
                    <a:gd name="connsiteX114" fmla="*/ 3742 w 9590"/>
                    <a:gd name="connsiteY114" fmla="*/ 1710 h 10000"/>
                    <a:gd name="connsiteX115" fmla="*/ 3801 w 9590"/>
                    <a:gd name="connsiteY115" fmla="*/ 1615 h 10000"/>
                    <a:gd name="connsiteX116" fmla="*/ 3918 w 9590"/>
                    <a:gd name="connsiteY116" fmla="*/ 1533 h 10000"/>
                    <a:gd name="connsiteX117" fmla="*/ 4093 w 9590"/>
                    <a:gd name="connsiteY117" fmla="*/ 1436 h 10000"/>
                    <a:gd name="connsiteX118" fmla="*/ 4327 w 9590"/>
                    <a:gd name="connsiteY118" fmla="*/ 1355 h 10000"/>
                    <a:gd name="connsiteX119" fmla="*/ 4327 w 9590"/>
                    <a:gd name="connsiteY119" fmla="*/ 1355 h 10000"/>
                    <a:gd name="connsiteX120" fmla="*/ 4912 w 9590"/>
                    <a:gd name="connsiteY120" fmla="*/ 1192 h 10000"/>
                    <a:gd name="connsiteX121" fmla="*/ 5497 w 9590"/>
                    <a:gd name="connsiteY121" fmla="*/ 978 h 10000"/>
                    <a:gd name="connsiteX122" fmla="*/ 6081 w 9590"/>
                    <a:gd name="connsiteY122" fmla="*/ 783 h 10000"/>
                    <a:gd name="connsiteX123" fmla="*/ 6491 w 9590"/>
                    <a:gd name="connsiteY123" fmla="*/ 605 h 10000"/>
                    <a:gd name="connsiteX124" fmla="*/ 6491 w 9590"/>
                    <a:gd name="connsiteY124" fmla="*/ 605 h 10000"/>
                    <a:gd name="connsiteX125" fmla="*/ 6782 w 9590"/>
                    <a:gd name="connsiteY125" fmla="*/ 441 h 10000"/>
                    <a:gd name="connsiteX126" fmla="*/ 7134 w 9590"/>
                    <a:gd name="connsiteY126" fmla="*/ 245 h 10000"/>
                    <a:gd name="connsiteX127" fmla="*/ 7485 w 9590"/>
                    <a:gd name="connsiteY127" fmla="*/ 97 h 10000"/>
                    <a:gd name="connsiteX128" fmla="*/ 7660 w 9590"/>
                    <a:gd name="connsiteY128" fmla="*/ 30 h 10000"/>
                    <a:gd name="connsiteX129" fmla="*/ 7835 w 9590"/>
                    <a:gd name="connsiteY129" fmla="*/ 15 h 10000"/>
                    <a:gd name="connsiteX130" fmla="*/ 7835 w 9590"/>
                    <a:gd name="connsiteY130" fmla="*/ 15 h 10000"/>
                    <a:gd name="connsiteX131" fmla="*/ 8187 w 9590"/>
                    <a:gd name="connsiteY131" fmla="*/ 0 h 10000"/>
                    <a:gd name="connsiteX132" fmla="*/ 8654 w 9590"/>
                    <a:gd name="connsiteY132" fmla="*/ 0 h 10000"/>
                    <a:gd name="connsiteX133" fmla="*/ 9590 w 9590"/>
                    <a:gd name="connsiteY133" fmla="*/ 15 h 10000"/>
                    <a:gd name="connsiteX134" fmla="*/ 9590 w 9590"/>
                    <a:gd name="connsiteY134" fmla="*/ 9985 h 10000"/>
                    <a:gd name="connsiteX135" fmla="*/ 9590 w 9590"/>
                    <a:gd name="connsiteY135" fmla="*/ 9985 h 10000"/>
                    <a:gd name="connsiteX136" fmla="*/ 9298 w 9590"/>
                    <a:gd name="connsiteY136" fmla="*/ 9968 h 10000"/>
                    <a:gd name="connsiteX137" fmla="*/ 8947 w 9590"/>
                    <a:gd name="connsiteY137" fmla="*/ 9985 h 10000"/>
                    <a:gd name="connsiteX138" fmla="*/ 8947 w 9590"/>
                    <a:gd name="connsiteY138" fmla="*/ 9985 h 10000"/>
                    <a:gd name="connsiteX139" fmla="*/ 8830 w 9590"/>
                    <a:gd name="connsiteY139" fmla="*/ 10000 h 10000"/>
                    <a:gd name="connsiteX140" fmla="*/ 8597 w 9590"/>
                    <a:gd name="connsiteY140" fmla="*/ 9985 h 10000"/>
                    <a:gd name="connsiteX141" fmla="*/ 8245 w 9590"/>
                    <a:gd name="connsiteY141" fmla="*/ 9935 h 10000"/>
                    <a:gd name="connsiteX142" fmla="*/ 7952 w 9590"/>
                    <a:gd name="connsiteY142" fmla="*/ 9806 h 10000"/>
                    <a:gd name="connsiteX143" fmla="*/ 7952 w 9590"/>
                    <a:gd name="connsiteY143" fmla="*/ 9806 h 10000"/>
                    <a:gd name="connsiteX144" fmla="*/ 7602 w 9590"/>
                    <a:gd name="connsiteY144" fmla="*/ 9593 h 10000"/>
                    <a:gd name="connsiteX145" fmla="*/ 7252 w 9590"/>
                    <a:gd name="connsiteY145" fmla="*/ 9511 h 10000"/>
                    <a:gd name="connsiteX146" fmla="*/ 7018 w 9590"/>
                    <a:gd name="connsiteY146" fmla="*/ 9495 h 10000"/>
                    <a:gd name="connsiteX147" fmla="*/ 6432 w 9590"/>
                    <a:gd name="connsiteY147" fmla="*/ 9460 h 10000"/>
                    <a:gd name="connsiteX148" fmla="*/ 5965 w 9590"/>
                    <a:gd name="connsiteY148" fmla="*/ 9479 h 10000"/>
                    <a:gd name="connsiteX149" fmla="*/ 5613 w 9590"/>
                    <a:gd name="connsiteY149" fmla="*/ 9479 h 10000"/>
                    <a:gd name="connsiteX150" fmla="*/ 5497 w 9590"/>
                    <a:gd name="connsiteY150" fmla="*/ 9460 h 10000"/>
                    <a:gd name="connsiteX151" fmla="*/ 5438 w 9590"/>
                    <a:gd name="connsiteY151" fmla="*/ 9153 h 10000"/>
                    <a:gd name="connsiteX152" fmla="*/ 5438 w 9590"/>
                    <a:gd name="connsiteY152" fmla="*/ 9087 h 10000"/>
                    <a:gd name="connsiteX153" fmla="*/ 5321 w 9590"/>
                    <a:gd name="connsiteY153" fmla="*/ 9006 h 10000"/>
                    <a:gd name="connsiteX154" fmla="*/ 5263 w 9590"/>
                    <a:gd name="connsiteY154" fmla="*/ 8991 h 10000"/>
                    <a:gd name="connsiteX155" fmla="*/ 5029 w 9590"/>
                    <a:gd name="connsiteY155" fmla="*/ 8973 h 10000"/>
                    <a:gd name="connsiteX156" fmla="*/ 4210 w 9590"/>
                    <a:gd name="connsiteY156" fmla="*/ 9104 h 10000"/>
                    <a:gd name="connsiteX157" fmla="*/ 3918 w 9590"/>
                    <a:gd name="connsiteY157" fmla="*/ 9133 h 10000"/>
                    <a:gd name="connsiteX158" fmla="*/ 3801 w 9590"/>
                    <a:gd name="connsiteY158" fmla="*/ 9133 h 10000"/>
                    <a:gd name="connsiteX159" fmla="*/ 3508 w 9590"/>
                    <a:gd name="connsiteY159" fmla="*/ 8973 h 10000"/>
                    <a:gd name="connsiteX160" fmla="*/ 3508 w 9590"/>
                    <a:gd name="connsiteY160" fmla="*/ 8973 h 10000"/>
                    <a:gd name="connsiteX161" fmla="*/ 3391 w 9590"/>
                    <a:gd name="connsiteY161" fmla="*/ 8891 h 10000"/>
                    <a:gd name="connsiteX162" fmla="*/ 3391 w 9590"/>
                    <a:gd name="connsiteY162" fmla="*/ 8794 h 10000"/>
                    <a:gd name="connsiteX163" fmla="*/ 3391 w 9590"/>
                    <a:gd name="connsiteY163" fmla="*/ 8794 h 10000"/>
                    <a:gd name="connsiteX164" fmla="*/ 3567 w 9590"/>
                    <a:gd name="connsiteY164" fmla="*/ 8743 h 10000"/>
                    <a:gd name="connsiteX165" fmla="*/ 3684 w 9590"/>
                    <a:gd name="connsiteY165" fmla="*/ 8727 h 10000"/>
                    <a:gd name="connsiteX166" fmla="*/ 3684 w 9590"/>
                    <a:gd name="connsiteY166" fmla="*/ 8727 h 10000"/>
                    <a:gd name="connsiteX167" fmla="*/ 2981 w 9590"/>
                    <a:gd name="connsiteY167" fmla="*/ 8743 h 10000"/>
                    <a:gd name="connsiteX168" fmla="*/ 2865 w 9590"/>
                    <a:gd name="connsiteY168" fmla="*/ 8760 h 10000"/>
                    <a:gd name="connsiteX169" fmla="*/ 2807 w 9590"/>
                    <a:gd name="connsiteY169" fmla="*/ 8776 h 10000"/>
                    <a:gd name="connsiteX170" fmla="*/ 2807 w 9590"/>
                    <a:gd name="connsiteY170" fmla="*/ 8776 h 10000"/>
                    <a:gd name="connsiteX171" fmla="*/ 2689 w 9590"/>
                    <a:gd name="connsiteY171" fmla="*/ 8842 h 10000"/>
                    <a:gd name="connsiteX172" fmla="*/ 2514 w 9590"/>
                    <a:gd name="connsiteY172" fmla="*/ 8940 h 10000"/>
                    <a:gd name="connsiteX173" fmla="*/ 1872 w 9590"/>
                    <a:gd name="connsiteY173" fmla="*/ 9133 h 10000"/>
                    <a:gd name="connsiteX174" fmla="*/ 0 w 9590"/>
                    <a:gd name="connsiteY174" fmla="*/ 9315 h 10000"/>
                    <a:gd name="connsiteX175" fmla="*/ 9590 w 9590"/>
                    <a:gd name="connsiteY175" fmla="*/ 9968 h 10000"/>
                    <a:gd name="connsiteX0" fmla="*/ 9391 w 9391"/>
                    <a:gd name="connsiteY0" fmla="*/ 9968 h 10000"/>
                    <a:gd name="connsiteX1" fmla="*/ 9391 w 9391"/>
                    <a:gd name="connsiteY1" fmla="*/ 9968 h 10000"/>
                    <a:gd name="connsiteX2" fmla="*/ 8537 w 9391"/>
                    <a:gd name="connsiteY2" fmla="*/ 9985 h 10000"/>
                    <a:gd name="connsiteX3" fmla="*/ 8231 w 9391"/>
                    <a:gd name="connsiteY3" fmla="*/ 9985 h 10000"/>
                    <a:gd name="connsiteX4" fmla="*/ 8110 w 9391"/>
                    <a:gd name="connsiteY4" fmla="*/ 9968 h 10000"/>
                    <a:gd name="connsiteX5" fmla="*/ 8049 w 9391"/>
                    <a:gd name="connsiteY5" fmla="*/ 9950 h 10000"/>
                    <a:gd name="connsiteX6" fmla="*/ 8049 w 9391"/>
                    <a:gd name="connsiteY6" fmla="*/ 9950 h 10000"/>
                    <a:gd name="connsiteX7" fmla="*/ 7683 w 9391"/>
                    <a:gd name="connsiteY7" fmla="*/ 9756 h 10000"/>
                    <a:gd name="connsiteX8" fmla="*/ 7378 w 9391"/>
                    <a:gd name="connsiteY8" fmla="*/ 9577 h 10000"/>
                    <a:gd name="connsiteX9" fmla="*/ 7378 w 9391"/>
                    <a:gd name="connsiteY9" fmla="*/ 9577 h 10000"/>
                    <a:gd name="connsiteX10" fmla="*/ 7258 w 9391"/>
                    <a:gd name="connsiteY10" fmla="*/ 9545 h 10000"/>
                    <a:gd name="connsiteX11" fmla="*/ 7074 w 9391"/>
                    <a:gd name="connsiteY11" fmla="*/ 9511 h 10000"/>
                    <a:gd name="connsiteX12" fmla="*/ 6586 w 9391"/>
                    <a:gd name="connsiteY12" fmla="*/ 9495 h 10000"/>
                    <a:gd name="connsiteX13" fmla="*/ 5976 w 9391"/>
                    <a:gd name="connsiteY13" fmla="*/ 9479 h 10000"/>
                    <a:gd name="connsiteX14" fmla="*/ 5427 w 9391"/>
                    <a:gd name="connsiteY14" fmla="*/ 9479 h 10000"/>
                    <a:gd name="connsiteX15" fmla="*/ 5427 w 9391"/>
                    <a:gd name="connsiteY15" fmla="*/ 9479 h 10000"/>
                    <a:gd name="connsiteX16" fmla="*/ 5183 w 9391"/>
                    <a:gd name="connsiteY16" fmla="*/ 9460 h 10000"/>
                    <a:gd name="connsiteX17" fmla="*/ 5061 w 9391"/>
                    <a:gd name="connsiteY17" fmla="*/ 9430 h 10000"/>
                    <a:gd name="connsiteX18" fmla="*/ 5000 w 9391"/>
                    <a:gd name="connsiteY18" fmla="*/ 9395 h 10000"/>
                    <a:gd name="connsiteX19" fmla="*/ 5061 w 9391"/>
                    <a:gd name="connsiteY19" fmla="*/ 9200 h 10000"/>
                    <a:gd name="connsiteX20" fmla="*/ 5123 w 9391"/>
                    <a:gd name="connsiteY20" fmla="*/ 9133 h 10000"/>
                    <a:gd name="connsiteX21" fmla="*/ 5061 w 9391"/>
                    <a:gd name="connsiteY21" fmla="*/ 9055 h 10000"/>
                    <a:gd name="connsiteX22" fmla="*/ 5061 w 9391"/>
                    <a:gd name="connsiteY22" fmla="*/ 9055 h 10000"/>
                    <a:gd name="connsiteX23" fmla="*/ 5000 w 9391"/>
                    <a:gd name="connsiteY23" fmla="*/ 9006 h 10000"/>
                    <a:gd name="connsiteX24" fmla="*/ 4939 w 9391"/>
                    <a:gd name="connsiteY24" fmla="*/ 8973 h 10000"/>
                    <a:gd name="connsiteX25" fmla="*/ 4816 w 9391"/>
                    <a:gd name="connsiteY25" fmla="*/ 8973 h 10000"/>
                    <a:gd name="connsiteX26" fmla="*/ 4635 w 9391"/>
                    <a:gd name="connsiteY26" fmla="*/ 8991 h 10000"/>
                    <a:gd name="connsiteX27" fmla="*/ 4268 w 9391"/>
                    <a:gd name="connsiteY27" fmla="*/ 9038 h 10000"/>
                    <a:gd name="connsiteX28" fmla="*/ 3781 w 9391"/>
                    <a:gd name="connsiteY28" fmla="*/ 9119 h 10000"/>
                    <a:gd name="connsiteX29" fmla="*/ 3781 w 9391"/>
                    <a:gd name="connsiteY29" fmla="*/ 9119 h 10000"/>
                    <a:gd name="connsiteX30" fmla="*/ 3477 w 9391"/>
                    <a:gd name="connsiteY30" fmla="*/ 9133 h 10000"/>
                    <a:gd name="connsiteX31" fmla="*/ 3355 w 9391"/>
                    <a:gd name="connsiteY31" fmla="*/ 9133 h 10000"/>
                    <a:gd name="connsiteX32" fmla="*/ 3293 w 9391"/>
                    <a:gd name="connsiteY32" fmla="*/ 9119 h 10000"/>
                    <a:gd name="connsiteX33" fmla="*/ 3049 w 9391"/>
                    <a:gd name="connsiteY33" fmla="*/ 8973 h 10000"/>
                    <a:gd name="connsiteX34" fmla="*/ 3049 w 9391"/>
                    <a:gd name="connsiteY34" fmla="*/ 8973 h 10000"/>
                    <a:gd name="connsiteX35" fmla="*/ 2927 w 9391"/>
                    <a:gd name="connsiteY35" fmla="*/ 8925 h 10000"/>
                    <a:gd name="connsiteX36" fmla="*/ 2927 w 9391"/>
                    <a:gd name="connsiteY36" fmla="*/ 8875 h 10000"/>
                    <a:gd name="connsiteX37" fmla="*/ 2927 w 9391"/>
                    <a:gd name="connsiteY37" fmla="*/ 8842 h 10000"/>
                    <a:gd name="connsiteX38" fmla="*/ 2990 w 9391"/>
                    <a:gd name="connsiteY38" fmla="*/ 8809 h 10000"/>
                    <a:gd name="connsiteX39" fmla="*/ 3110 w 9391"/>
                    <a:gd name="connsiteY39" fmla="*/ 8743 h 10000"/>
                    <a:gd name="connsiteX40" fmla="*/ 3233 w 9391"/>
                    <a:gd name="connsiteY40" fmla="*/ 8727 h 10000"/>
                    <a:gd name="connsiteX41" fmla="*/ 3233 w 9391"/>
                    <a:gd name="connsiteY41" fmla="*/ 8727 h 10000"/>
                    <a:gd name="connsiteX42" fmla="*/ 3233 w 9391"/>
                    <a:gd name="connsiteY42" fmla="*/ 8712 h 10000"/>
                    <a:gd name="connsiteX43" fmla="*/ 3293 w 9391"/>
                    <a:gd name="connsiteY43" fmla="*/ 8695 h 10000"/>
                    <a:gd name="connsiteX44" fmla="*/ 7180 w 9391"/>
                    <a:gd name="connsiteY44" fmla="*/ 8443 h 10000"/>
                    <a:gd name="connsiteX45" fmla="*/ 7622 w 9391"/>
                    <a:gd name="connsiteY45" fmla="*/ 8451 h 10000"/>
                    <a:gd name="connsiteX46" fmla="*/ 7622 w 9391"/>
                    <a:gd name="connsiteY46" fmla="*/ 8451 h 10000"/>
                    <a:gd name="connsiteX47" fmla="*/ 7928 w 9391"/>
                    <a:gd name="connsiteY47" fmla="*/ 8418 h 10000"/>
                    <a:gd name="connsiteX48" fmla="*/ 8172 w 9391"/>
                    <a:gd name="connsiteY48" fmla="*/ 8337 h 10000"/>
                    <a:gd name="connsiteX49" fmla="*/ 8110 w 9391"/>
                    <a:gd name="connsiteY49" fmla="*/ 8304 h 10000"/>
                    <a:gd name="connsiteX50" fmla="*/ 8110 w 9391"/>
                    <a:gd name="connsiteY50" fmla="*/ 8273 h 10000"/>
                    <a:gd name="connsiteX51" fmla="*/ 7806 w 9391"/>
                    <a:gd name="connsiteY51" fmla="*/ 8190 h 10000"/>
                    <a:gd name="connsiteX52" fmla="*/ 5611 w 9391"/>
                    <a:gd name="connsiteY52" fmla="*/ 7895 h 10000"/>
                    <a:gd name="connsiteX53" fmla="*/ 5611 w 9391"/>
                    <a:gd name="connsiteY53" fmla="*/ 7895 h 10000"/>
                    <a:gd name="connsiteX54" fmla="*/ 5366 w 9391"/>
                    <a:gd name="connsiteY54" fmla="*/ 7848 h 10000"/>
                    <a:gd name="connsiteX55" fmla="*/ 5183 w 9391"/>
                    <a:gd name="connsiteY55" fmla="*/ 7798 h 10000"/>
                    <a:gd name="connsiteX56" fmla="*/ 5061 w 9391"/>
                    <a:gd name="connsiteY56" fmla="*/ 7749 h 10000"/>
                    <a:gd name="connsiteX57" fmla="*/ 5061 w 9391"/>
                    <a:gd name="connsiteY57" fmla="*/ 7749 h 10000"/>
                    <a:gd name="connsiteX58" fmla="*/ 7258 w 9391"/>
                    <a:gd name="connsiteY58" fmla="*/ 7732 h 10000"/>
                    <a:gd name="connsiteX59" fmla="*/ 9391 w 9391"/>
                    <a:gd name="connsiteY59" fmla="*/ 7895 h 10000"/>
                    <a:gd name="connsiteX60" fmla="*/ 9391 w 9391"/>
                    <a:gd name="connsiteY60" fmla="*/ 6412 h 10000"/>
                    <a:gd name="connsiteX61" fmla="*/ 9391 w 9391"/>
                    <a:gd name="connsiteY61" fmla="*/ 6412 h 10000"/>
                    <a:gd name="connsiteX62" fmla="*/ 6953 w 9391"/>
                    <a:gd name="connsiteY62" fmla="*/ 6068 h 10000"/>
                    <a:gd name="connsiteX63" fmla="*/ 5611 w 9391"/>
                    <a:gd name="connsiteY63" fmla="*/ 5873 h 10000"/>
                    <a:gd name="connsiteX64" fmla="*/ 5611 w 9391"/>
                    <a:gd name="connsiteY64" fmla="*/ 5873 h 10000"/>
                    <a:gd name="connsiteX65" fmla="*/ 5611 w 9391"/>
                    <a:gd name="connsiteY65" fmla="*/ 5857 h 10000"/>
                    <a:gd name="connsiteX66" fmla="*/ 5611 w 9391"/>
                    <a:gd name="connsiteY66" fmla="*/ 5759 h 10000"/>
                    <a:gd name="connsiteX67" fmla="*/ 5611 w 9391"/>
                    <a:gd name="connsiteY67" fmla="*/ 5759 h 10000"/>
                    <a:gd name="connsiteX68" fmla="*/ 5427 w 9391"/>
                    <a:gd name="connsiteY68" fmla="*/ 5643 h 10000"/>
                    <a:gd name="connsiteX69" fmla="*/ 5061 w 9391"/>
                    <a:gd name="connsiteY69" fmla="*/ 5465 h 10000"/>
                    <a:gd name="connsiteX70" fmla="*/ 4268 w 9391"/>
                    <a:gd name="connsiteY70" fmla="*/ 5122 h 10000"/>
                    <a:gd name="connsiteX71" fmla="*/ 4268 w 9391"/>
                    <a:gd name="connsiteY71" fmla="*/ 5122 h 10000"/>
                    <a:gd name="connsiteX72" fmla="*/ 4087 w 9391"/>
                    <a:gd name="connsiteY72" fmla="*/ 5073 h 10000"/>
                    <a:gd name="connsiteX73" fmla="*/ 3781 w 9391"/>
                    <a:gd name="connsiteY73" fmla="*/ 5008 h 10000"/>
                    <a:gd name="connsiteX74" fmla="*/ 2866 w 9391"/>
                    <a:gd name="connsiteY74" fmla="*/ 4861 h 10000"/>
                    <a:gd name="connsiteX75" fmla="*/ 1586 w 9391"/>
                    <a:gd name="connsiteY75" fmla="*/ 4683 h 10000"/>
                    <a:gd name="connsiteX76" fmla="*/ 1586 w 9391"/>
                    <a:gd name="connsiteY76" fmla="*/ 4683 h 10000"/>
                    <a:gd name="connsiteX77" fmla="*/ 1036 w 9391"/>
                    <a:gd name="connsiteY77" fmla="*/ 4665 h 10000"/>
                    <a:gd name="connsiteX78" fmla="*/ 610 w 9391"/>
                    <a:gd name="connsiteY78" fmla="*/ 4648 h 10000"/>
                    <a:gd name="connsiteX79" fmla="*/ 489 w 9391"/>
                    <a:gd name="connsiteY79" fmla="*/ 4632 h 10000"/>
                    <a:gd name="connsiteX80" fmla="*/ 366 w 9391"/>
                    <a:gd name="connsiteY80" fmla="*/ 4617 h 10000"/>
                    <a:gd name="connsiteX81" fmla="*/ 366 w 9391"/>
                    <a:gd name="connsiteY81" fmla="*/ 4617 h 10000"/>
                    <a:gd name="connsiteX82" fmla="*/ 245 w 9391"/>
                    <a:gd name="connsiteY82" fmla="*/ 4550 h 10000"/>
                    <a:gd name="connsiteX83" fmla="*/ 61 w 9391"/>
                    <a:gd name="connsiteY83" fmla="*/ 4438 h 10000"/>
                    <a:gd name="connsiteX84" fmla="*/ 0 w 9391"/>
                    <a:gd name="connsiteY84" fmla="*/ 4372 h 10000"/>
                    <a:gd name="connsiteX85" fmla="*/ 0 w 9391"/>
                    <a:gd name="connsiteY85" fmla="*/ 4306 h 10000"/>
                    <a:gd name="connsiteX86" fmla="*/ 0 w 9391"/>
                    <a:gd name="connsiteY86" fmla="*/ 4258 h 10000"/>
                    <a:gd name="connsiteX87" fmla="*/ 123 w 9391"/>
                    <a:gd name="connsiteY87" fmla="*/ 4208 h 10000"/>
                    <a:gd name="connsiteX88" fmla="*/ 123 w 9391"/>
                    <a:gd name="connsiteY88" fmla="*/ 4208 h 10000"/>
                    <a:gd name="connsiteX89" fmla="*/ 427 w 9391"/>
                    <a:gd name="connsiteY89" fmla="*/ 4127 h 10000"/>
                    <a:gd name="connsiteX90" fmla="*/ 732 w 9391"/>
                    <a:gd name="connsiteY90" fmla="*/ 4047 h 10000"/>
                    <a:gd name="connsiteX91" fmla="*/ 916 w 9391"/>
                    <a:gd name="connsiteY91" fmla="*/ 3998 h 10000"/>
                    <a:gd name="connsiteX92" fmla="*/ 1036 w 9391"/>
                    <a:gd name="connsiteY92" fmla="*/ 3948 h 10000"/>
                    <a:gd name="connsiteX93" fmla="*/ 1036 w 9391"/>
                    <a:gd name="connsiteY93" fmla="*/ 3882 h 10000"/>
                    <a:gd name="connsiteX94" fmla="*/ 1036 w 9391"/>
                    <a:gd name="connsiteY94" fmla="*/ 3801 h 10000"/>
                    <a:gd name="connsiteX95" fmla="*/ 1036 w 9391"/>
                    <a:gd name="connsiteY95" fmla="*/ 3801 h 10000"/>
                    <a:gd name="connsiteX96" fmla="*/ 794 w 9391"/>
                    <a:gd name="connsiteY96" fmla="*/ 3572 h 10000"/>
                    <a:gd name="connsiteX97" fmla="*/ 489 w 9391"/>
                    <a:gd name="connsiteY97" fmla="*/ 3263 h 10000"/>
                    <a:gd name="connsiteX98" fmla="*/ 245 w 9391"/>
                    <a:gd name="connsiteY98" fmla="*/ 2985 h 10000"/>
                    <a:gd name="connsiteX99" fmla="*/ 183 w 9391"/>
                    <a:gd name="connsiteY99" fmla="*/ 2904 h 10000"/>
                    <a:gd name="connsiteX100" fmla="*/ 183 w 9391"/>
                    <a:gd name="connsiteY100" fmla="*/ 2871 h 10000"/>
                    <a:gd name="connsiteX101" fmla="*/ 245 w 9391"/>
                    <a:gd name="connsiteY101" fmla="*/ 2854 h 10000"/>
                    <a:gd name="connsiteX102" fmla="*/ 245 w 9391"/>
                    <a:gd name="connsiteY102" fmla="*/ 2854 h 10000"/>
                    <a:gd name="connsiteX103" fmla="*/ 610 w 9391"/>
                    <a:gd name="connsiteY103" fmla="*/ 2839 h 10000"/>
                    <a:gd name="connsiteX104" fmla="*/ 853 w 9391"/>
                    <a:gd name="connsiteY104" fmla="*/ 2839 h 10000"/>
                    <a:gd name="connsiteX105" fmla="*/ 1036 w 9391"/>
                    <a:gd name="connsiteY105" fmla="*/ 2854 h 10000"/>
                    <a:gd name="connsiteX106" fmla="*/ 1036 w 9391"/>
                    <a:gd name="connsiteY106" fmla="*/ 2854 h 10000"/>
                    <a:gd name="connsiteX107" fmla="*/ 1097 w 9391"/>
                    <a:gd name="connsiteY107" fmla="*/ 2854 h 10000"/>
                    <a:gd name="connsiteX108" fmla="*/ 1160 w 9391"/>
                    <a:gd name="connsiteY108" fmla="*/ 2823 h 10000"/>
                    <a:gd name="connsiteX109" fmla="*/ 1464 w 9391"/>
                    <a:gd name="connsiteY109" fmla="*/ 2725 h 10000"/>
                    <a:gd name="connsiteX110" fmla="*/ 2256 w 9391"/>
                    <a:gd name="connsiteY110" fmla="*/ 2397 h 10000"/>
                    <a:gd name="connsiteX111" fmla="*/ 3293 w 9391"/>
                    <a:gd name="connsiteY111" fmla="*/ 1927 h 10000"/>
                    <a:gd name="connsiteX112" fmla="*/ 3293 w 9391"/>
                    <a:gd name="connsiteY112" fmla="*/ 1927 h 10000"/>
                    <a:gd name="connsiteX113" fmla="*/ 3293 w 9391"/>
                    <a:gd name="connsiteY113" fmla="*/ 1860 h 10000"/>
                    <a:gd name="connsiteX114" fmla="*/ 3293 w 9391"/>
                    <a:gd name="connsiteY114" fmla="*/ 1710 h 10000"/>
                    <a:gd name="connsiteX115" fmla="*/ 3355 w 9391"/>
                    <a:gd name="connsiteY115" fmla="*/ 1615 h 10000"/>
                    <a:gd name="connsiteX116" fmla="*/ 3477 w 9391"/>
                    <a:gd name="connsiteY116" fmla="*/ 1533 h 10000"/>
                    <a:gd name="connsiteX117" fmla="*/ 3659 w 9391"/>
                    <a:gd name="connsiteY117" fmla="*/ 1436 h 10000"/>
                    <a:gd name="connsiteX118" fmla="*/ 3903 w 9391"/>
                    <a:gd name="connsiteY118" fmla="*/ 1355 h 10000"/>
                    <a:gd name="connsiteX119" fmla="*/ 3903 w 9391"/>
                    <a:gd name="connsiteY119" fmla="*/ 1355 h 10000"/>
                    <a:gd name="connsiteX120" fmla="*/ 4513 w 9391"/>
                    <a:gd name="connsiteY120" fmla="*/ 1192 h 10000"/>
                    <a:gd name="connsiteX121" fmla="*/ 5123 w 9391"/>
                    <a:gd name="connsiteY121" fmla="*/ 978 h 10000"/>
                    <a:gd name="connsiteX122" fmla="*/ 5732 w 9391"/>
                    <a:gd name="connsiteY122" fmla="*/ 783 h 10000"/>
                    <a:gd name="connsiteX123" fmla="*/ 6160 w 9391"/>
                    <a:gd name="connsiteY123" fmla="*/ 605 h 10000"/>
                    <a:gd name="connsiteX124" fmla="*/ 6160 w 9391"/>
                    <a:gd name="connsiteY124" fmla="*/ 605 h 10000"/>
                    <a:gd name="connsiteX125" fmla="*/ 6463 w 9391"/>
                    <a:gd name="connsiteY125" fmla="*/ 441 h 10000"/>
                    <a:gd name="connsiteX126" fmla="*/ 6830 w 9391"/>
                    <a:gd name="connsiteY126" fmla="*/ 245 h 10000"/>
                    <a:gd name="connsiteX127" fmla="*/ 7196 w 9391"/>
                    <a:gd name="connsiteY127" fmla="*/ 97 h 10000"/>
                    <a:gd name="connsiteX128" fmla="*/ 7378 w 9391"/>
                    <a:gd name="connsiteY128" fmla="*/ 30 h 10000"/>
                    <a:gd name="connsiteX129" fmla="*/ 7561 w 9391"/>
                    <a:gd name="connsiteY129" fmla="*/ 15 h 10000"/>
                    <a:gd name="connsiteX130" fmla="*/ 7561 w 9391"/>
                    <a:gd name="connsiteY130" fmla="*/ 15 h 10000"/>
                    <a:gd name="connsiteX131" fmla="*/ 7928 w 9391"/>
                    <a:gd name="connsiteY131" fmla="*/ 0 h 10000"/>
                    <a:gd name="connsiteX132" fmla="*/ 8415 w 9391"/>
                    <a:gd name="connsiteY132" fmla="*/ 0 h 10000"/>
                    <a:gd name="connsiteX133" fmla="*/ 9391 w 9391"/>
                    <a:gd name="connsiteY133" fmla="*/ 15 h 10000"/>
                    <a:gd name="connsiteX134" fmla="*/ 9391 w 9391"/>
                    <a:gd name="connsiteY134" fmla="*/ 9985 h 10000"/>
                    <a:gd name="connsiteX135" fmla="*/ 9391 w 9391"/>
                    <a:gd name="connsiteY135" fmla="*/ 9985 h 10000"/>
                    <a:gd name="connsiteX136" fmla="*/ 9087 w 9391"/>
                    <a:gd name="connsiteY136" fmla="*/ 9968 h 10000"/>
                    <a:gd name="connsiteX137" fmla="*/ 8721 w 9391"/>
                    <a:gd name="connsiteY137" fmla="*/ 9985 h 10000"/>
                    <a:gd name="connsiteX138" fmla="*/ 8721 w 9391"/>
                    <a:gd name="connsiteY138" fmla="*/ 9985 h 10000"/>
                    <a:gd name="connsiteX139" fmla="*/ 8599 w 9391"/>
                    <a:gd name="connsiteY139" fmla="*/ 10000 h 10000"/>
                    <a:gd name="connsiteX140" fmla="*/ 8356 w 9391"/>
                    <a:gd name="connsiteY140" fmla="*/ 9985 h 10000"/>
                    <a:gd name="connsiteX141" fmla="*/ 7988 w 9391"/>
                    <a:gd name="connsiteY141" fmla="*/ 9935 h 10000"/>
                    <a:gd name="connsiteX142" fmla="*/ 7683 w 9391"/>
                    <a:gd name="connsiteY142" fmla="*/ 9806 h 10000"/>
                    <a:gd name="connsiteX143" fmla="*/ 7683 w 9391"/>
                    <a:gd name="connsiteY143" fmla="*/ 9806 h 10000"/>
                    <a:gd name="connsiteX144" fmla="*/ 7318 w 9391"/>
                    <a:gd name="connsiteY144" fmla="*/ 9593 h 10000"/>
                    <a:gd name="connsiteX145" fmla="*/ 6953 w 9391"/>
                    <a:gd name="connsiteY145" fmla="*/ 9511 h 10000"/>
                    <a:gd name="connsiteX146" fmla="*/ 6709 w 9391"/>
                    <a:gd name="connsiteY146" fmla="*/ 9495 h 10000"/>
                    <a:gd name="connsiteX147" fmla="*/ 6098 w 9391"/>
                    <a:gd name="connsiteY147" fmla="*/ 9460 h 10000"/>
                    <a:gd name="connsiteX148" fmla="*/ 5611 w 9391"/>
                    <a:gd name="connsiteY148" fmla="*/ 9479 h 10000"/>
                    <a:gd name="connsiteX149" fmla="*/ 5244 w 9391"/>
                    <a:gd name="connsiteY149" fmla="*/ 9479 h 10000"/>
                    <a:gd name="connsiteX150" fmla="*/ 5123 w 9391"/>
                    <a:gd name="connsiteY150" fmla="*/ 9460 h 10000"/>
                    <a:gd name="connsiteX151" fmla="*/ 5061 w 9391"/>
                    <a:gd name="connsiteY151" fmla="*/ 9153 h 10000"/>
                    <a:gd name="connsiteX152" fmla="*/ 5061 w 9391"/>
                    <a:gd name="connsiteY152" fmla="*/ 9087 h 10000"/>
                    <a:gd name="connsiteX153" fmla="*/ 4939 w 9391"/>
                    <a:gd name="connsiteY153" fmla="*/ 9006 h 10000"/>
                    <a:gd name="connsiteX154" fmla="*/ 4879 w 9391"/>
                    <a:gd name="connsiteY154" fmla="*/ 8991 h 10000"/>
                    <a:gd name="connsiteX155" fmla="*/ 4635 w 9391"/>
                    <a:gd name="connsiteY155" fmla="*/ 8973 h 10000"/>
                    <a:gd name="connsiteX156" fmla="*/ 3781 w 9391"/>
                    <a:gd name="connsiteY156" fmla="*/ 9104 h 10000"/>
                    <a:gd name="connsiteX157" fmla="*/ 3477 w 9391"/>
                    <a:gd name="connsiteY157" fmla="*/ 9133 h 10000"/>
                    <a:gd name="connsiteX158" fmla="*/ 3355 w 9391"/>
                    <a:gd name="connsiteY158" fmla="*/ 9133 h 10000"/>
                    <a:gd name="connsiteX159" fmla="*/ 3049 w 9391"/>
                    <a:gd name="connsiteY159" fmla="*/ 8973 h 10000"/>
                    <a:gd name="connsiteX160" fmla="*/ 3049 w 9391"/>
                    <a:gd name="connsiteY160" fmla="*/ 8973 h 10000"/>
                    <a:gd name="connsiteX161" fmla="*/ 2927 w 9391"/>
                    <a:gd name="connsiteY161" fmla="*/ 8891 h 10000"/>
                    <a:gd name="connsiteX162" fmla="*/ 2927 w 9391"/>
                    <a:gd name="connsiteY162" fmla="*/ 8794 h 10000"/>
                    <a:gd name="connsiteX163" fmla="*/ 2927 w 9391"/>
                    <a:gd name="connsiteY163" fmla="*/ 8794 h 10000"/>
                    <a:gd name="connsiteX164" fmla="*/ 3110 w 9391"/>
                    <a:gd name="connsiteY164" fmla="*/ 8743 h 10000"/>
                    <a:gd name="connsiteX165" fmla="*/ 3233 w 9391"/>
                    <a:gd name="connsiteY165" fmla="*/ 8727 h 10000"/>
                    <a:gd name="connsiteX166" fmla="*/ 3233 w 9391"/>
                    <a:gd name="connsiteY166" fmla="*/ 8727 h 10000"/>
                    <a:gd name="connsiteX167" fmla="*/ 2499 w 9391"/>
                    <a:gd name="connsiteY167" fmla="*/ 8743 h 10000"/>
                    <a:gd name="connsiteX168" fmla="*/ 2378 w 9391"/>
                    <a:gd name="connsiteY168" fmla="*/ 8760 h 10000"/>
                    <a:gd name="connsiteX169" fmla="*/ 2318 w 9391"/>
                    <a:gd name="connsiteY169" fmla="*/ 8776 h 10000"/>
                    <a:gd name="connsiteX170" fmla="*/ 2318 w 9391"/>
                    <a:gd name="connsiteY170" fmla="*/ 8776 h 10000"/>
                    <a:gd name="connsiteX171" fmla="*/ 2195 w 9391"/>
                    <a:gd name="connsiteY171" fmla="*/ 8842 h 10000"/>
                    <a:gd name="connsiteX172" fmla="*/ 2012 w 9391"/>
                    <a:gd name="connsiteY172" fmla="*/ 8940 h 10000"/>
                    <a:gd name="connsiteX173" fmla="*/ 1343 w 9391"/>
                    <a:gd name="connsiteY173" fmla="*/ 9133 h 10000"/>
                    <a:gd name="connsiteX174" fmla="*/ 9391 w 9391"/>
                    <a:gd name="connsiteY174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2468 w 10000"/>
                    <a:gd name="connsiteY170" fmla="*/ 8776 h 10000"/>
                    <a:gd name="connsiteX171" fmla="*/ 2337 w 10000"/>
                    <a:gd name="connsiteY171" fmla="*/ 8842 h 10000"/>
                    <a:gd name="connsiteX172" fmla="*/ 2142 w 10000"/>
                    <a:gd name="connsiteY172" fmla="*/ 8940 h 10000"/>
                    <a:gd name="connsiteX173" fmla="*/ 1430 w 10000"/>
                    <a:gd name="connsiteY173" fmla="*/ 9133 h 10000"/>
                    <a:gd name="connsiteX174" fmla="*/ 1864 w 10000"/>
                    <a:gd name="connsiteY174" fmla="*/ 9105 h 10000"/>
                    <a:gd name="connsiteX175" fmla="*/ 10000 w 10000"/>
                    <a:gd name="connsiteY175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2468 w 10000"/>
                    <a:gd name="connsiteY170" fmla="*/ 8776 h 10000"/>
                    <a:gd name="connsiteX171" fmla="*/ 2337 w 10000"/>
                    <a:gd name="connsiteY171" fmla="*/ 8842 h 10000"/>
                    <a:gd name="connsiteX172" fmla="*/ 2142 w 10000"/>
                    <a:gd name="connsiteY172" fmla="*/ 8940 h 10000"/>
                    <a:gd name="connsiteX173" fmla="*/ 1430 w 10000"/>
                    <a:gd name="connsiteY173" fmla="*/ 9133 h 10000"/>
                    <a:gd name="connsiteX174" fmla="*/ 10000 w 10000"/>
                    <a:gd name="connsiteY174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2468 w 10000"/>
                    <a:gd name="connsiteY170" fmla="*/ 8776 h 10000"/>
                    <a:gd name="connsiteX171" fmla="*/ 2337 w 10000"/>
                    <a:gd name="connsiteY171" fmla="*/ 8842 h 10000"/>
                    <a:gd name="connsiteX172" fmla="*/ 2142 w 10000"/>
                    <a:gd name="connsiteY172" fmla="*/ 8940 h 10000"/>
                    <a:gd name="connsiteX173" fmla="*/ 10000 w 10000"/>
                    <a:gd name="connsiteY173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2468 w 10000"/>
                    <a:gd name="connsiteY170" fmla="*/ 8776 h 10000"/>
                    <a:gd name="connsiteX171" fmla="*/ 2337 w 10000"/>
                    <a:gd name="connsiteY171" fmla="*/ 8842 h 10000"/>
                    <a:gd name="connsiteX172" fmla="*/ 10000 w 10000"/>
                    <a:gd name="connsiteY172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2468 w 10000"/>
                    <a:gd name="connsiteY170" fmla="*/ 8776 h 10000"/>
                    <a:gd name="connsiteX171" fmla="*/ 10000 w 10000"/>
                    <a:gd name="connsiteY171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573 w 10000"/>
                    <a:gd name="connsiteY158" fmla="*/ 9133 h 10000"/>
                    <a:gd name="connsiteX159" fmla="*/ 3247 w 10000"/>
                    <a:gd name="connsiteY159" fmla="*/ 8973 h 10000"/>
                    <a:gd name="connsiteX160" fmla="*/ 3247 w 10000"/>
                    <a:gd name="connsiteY160" fmla="*/ 8973 h 10000"/>
                    <a:gd name="connsiteX161" fmla="*/ 3117 w 10000"/>
                    <a:gd name="connsiteY161" fmla="*/ 8891 h 10000"/>
                    <a:gd name="connsiteX162" fmla="*/ 3117 w 10000"/>
                    <a:gd name="connsiteY162" fmla="*/ 8794 h 10000"/>
                    <a:gd name="connsiteX163" fmla="*/ 3117 w 10000"/>
                    <a:gd name="connsiteY163" fmla="*/ 8794 h 10000"/>
                    <a:gd name="connsiteX164" fmla="*/ 3312 w 10000"/>
                    <a:gd name="connsiteY164" fmla="*/ 8743 h 10000"/>
                    <a:gd name="connsiteX165" fmla="*/ 3443 w 10000"/>
                    <a:gd name="connsiteY165" fmla="*/ 8727 h 10000"/>
                    <a:gd name="connsiteX166" fmla="*/ 3443 w 10000"/>
                    <a:gd name="connsiteY166" fmla="*/ 8727 h 10000"/>
                    <a:gd name="connsiteX167" fmla="*/ 2661 w 10000"/>
                    <a:gd name="connsiteY167" fmla="*/ 8743 h 10000"/>
                    <a:gd name="connsiteX168" fmla="*/ 2532 w 10000"/>
                    <a:gd name="connsiteY168" fmla="*/ 8760 h 10000"/>
                    <a:gd name="connsiteX169" fmla="*/ 2468 w 10000"/>
                    <a:gd name="connsiteY169" fmla="*/ 8776 h 10000"/>
                    <a:gd name="connsiteX170" fmla="*/ 10000 w 10000"/>
                    <a:gd name="connsiteY170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247 w 10000"/>
                    <a:gd name="connsiteY158" fmla="*/ 8973 h 10000"/>
                    <a:gd name="connsiteX159" fmla="*/ 3247 w 10000"/>
                    <a:gd name="connsiteY159" fmla="*/ 8973 h 10000"/>
                    <a:gd name="connsiteX160" fmla="*/ 3117 w 10000"/>
                    <a:gd name="connsiteY160" fmla="*/ 8891 h 10000"/>
                    <a:gd name="connsiteX161" fmla="*/ 3117 w 10000"/>
                    <a:gd name="connsiteY161" fmla="*/ 8794 h 10000"/>
                    <a:gd name="connsiteX162" fmla="*/ 3117 w 10000"/>
                    <a:gd name="connsiteY162" fmla="*/ 8794 h 10000"/>
                    <a:gd name="connsiteX163" fmla="*/ 3312 w 10000"/>
                    <a:gd name="connsiteY163" fmla="*/ 8743 h 10000"/>
                    <a:gd name="connsiteX164" fmla="*/ 3443 w 10000"/>
                    <a:gd name="connsiteY164" fmla="*/ 8727 h 10000"/>
                    <a:gd name="connsiteX165" fmla="*/ 3443 w 10000"/>
                    <a:gd name="connsiteY165" fmla="*/ 8727 h 10000"/>
                    <a:gd name="connsiteX166" fmla="*/ 2661 w 10000"/>
                    <a:gd name="connsiteY166" fmla="*/ 8743 h 10000"/>
                    <a:gd name="connsiteX167" fmla="*/ 2532 w 10000"/>
                    <a:gd name="connsiteY167" fmla="*/ 8760 h 10000"/>
                    <a:gd name="connsiteX168" fmla="*/ 2468 w 10000"/>
                    <a:gd name="connsiteY168" fmla="*/ 8776 h 10000"/>
                    <a:gd name="connsiteX169" fmla="*/ 10000 w 10000"/>
                    <a:gd name="connsiteY169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247 w 10000"/>
                    <a:gd name="connsiteY158" fmla="*/ 8973 h 10000"/>
                    <a:gd name="connsiteX159" fmla="*/ 3247 w 10000"/>
                    <a:gd name="connsiteY159" fmla="*/ 8973 h 10000"/>
                    <a:gd name="connsiteX160" fmla="*/ 3117 w 10000"/>
                    <a:gd name="connsiteY160" fmla="*/ 8891 h 10000"/>
                    <a:gd name="connsiteX161" fmla="*/ 3117 w 10000"/>
                    <a:gd name="connsiteY161" fmla="*/ 8794 h 10000"/>
                    <a:gd name="connsiteX162" fmla="*/ 3117 w 10000"/>
                    <a:gd name="connsiteY162" fmla="*/ 8794 h 10000"/>
                    <a:gd name="connsiteX163" fmla="*/ 3312 w 10000"/>
                    <a:gd name="connsiteY163" fmla="*/ 8743 h 10000"/>
                    <a:gd name="connsiteX164" fmla="*/ 3443 w 10000"/>
                    <a:gd name="connsiteY164" fmla="*/ 8727 h 10000"/>
                    <a:gd name="connsiteX165" fmla="*/ 2661 w 10000"/>
                    <a:gd name="connsiteY165" fmla="*/ 8743 h 10000"/>
                    <a:gd name="connsiteX166" fmla="*/ 2532 w 10000"/>
                    <a:gd name="connsiteY166" fmla="*/ 8760 h 10000"/>
                    <a:gd name="connsiteX167" fmla="*/ 2468 w 10000"/>
                    <a:gd name="connsiteY167" fmla="*/ 8776 h 10000"/>
                    <a:gd name="connsiteX168" fmla="*/ 10000 w 10000"/>
                    <a:gd name="connsiteY168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247 w 10000"/>
                    <a:gd name="connsiteY158" fmla="*/ 8973 h 10000"/>
                    <a:gd name="connsiteX159" fmla="*/ 3247 w 10000"/>
                    <a:gd name="connsiteY159" fmla="*/ 8973 h 10000"/>
                    <a:gd name="connsiteX160" fmla="*/ 3117 w 10000"/>
                    <a:gd name="connsiteY160" fmla="*/ 8891 h 10000"/>
                    <a:gd name="connsiteX161" fmla="*/ 3117 w 10000"/>
                    <a:gd name="connsiteY161" fmla="*/ 8794 h 10000"/>
                    <a:gd name="connsiteX162" fmla="*/ 3117 w 10000"/>
                    <a:gd name="connsiteY162" fmla="*/ 8794 h 10000"/>
                    <a:gd name="connsiteX163" fmla="*/ 3312 w 10000"/>
                    <a:gd name="connsiteY163" fmla="*/ 8743 h 10000"/>
                    <a:gd name="connsiteX164" fmla="*/ 3443 w 10000"/>
                    <a:gd name="connsiteY164" fmla="*/ 8727 h 10000"/>
                    <a:gd name="connsiteX165" fmla="*/ 2661 w 10000"/>
                    <a:gd name="connsiteY165" fmla="*/ 8743 h 10000"/>
                    <a:gd name="connsiteX166" fmla="*/ 2532 w 10000"/>
                    <a:gd name="connsiteY166" fmla="*/ 8760 h 10000"/>
                    <a:gd name="connsiteX167" fmla="*/ 10000 w 10000"/>
                    <a:gd name="connsiteY167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247 w 10000"/>
                    <a:gd name="connsiteY158" fmla="*/ 8973 h 10000"/>
                    <a:gd name="connsiteX159" fmla="*/ 3247 w 10000"/>
                    <a:gd name="connsiteY159" fmla="*/ 8973 h 10000"/>
                    <a:gd name="connsiteX160" fmla="*/ 3117 w 10000"/>
                    <a:gd name="connsiteY160" fmla="*/ 8794 h 10000"/>
                    <a:gd name="connsiteX161" fmla="*/ 3117 w 10000"/>
                    <a:gd name="connsiteY161" fmla="*/ 8794 h 10000"/>
                    <a:gd name="connsiteX162" fmla="*/ 3312 w 10000"/>
                    <a:gd name="connsiteY162" fmla="*/ 8743 h 10000"/>
                    <a:gd name="connsiteX163" fmla="*/ 3443 w 10000"/>
                    <a:gd name="connsiteY163" fmla="*/ 8727 h 10000"/>
                    <a:gd name="connsiteX164" fmla="*/ 2661 w 10000"/>
                    <a:gd name="connsiteY164" fmla="*/ 8743 h 10000"/>
                    <a:gd name="connsiteX165" fmla="*/ 2532 w 10000"/>
                    <a:gd name="connsiteY165" fmla="*/ 8760 h 10000"/>
                    <a:gd name="connsiteX166" fmla="*/ 10000 w 10000"/>
                    <a:gd name="connsiteY166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936 w 10000"/>
                    <a:gd name="connsiteY155" fmla="*/ 8973 h 10000"/>
                    <a:gd name="connsiteX156" fmla="*/ 4026 w 10000"/>
                    <a:gd name="connsiteY156" fmla="*/ 9104 h 10000"/>
                    <a:gd name="connsiteX157" fmla="*/ 3702 w 10000"/>
                    <a:gd name="connsiteY157" fmla="*/ 9133 h 10000"/>
                    <a:gd name="connsiteX158" fmla="*/ 3247 w 10000"/>
                    <a:gd name="connsiteY158" fmla="*/ 8973 h 10000"/>
                    <a:gd name="connsiteX159" fmla="*/ 3247 w 10000"/>
                    <a:gd name="connsiteY159" fmla="*/ 8973 h 10000"/>
                    <a:gd name="connsiteX160" fmla="*/ 3117 w 10000"/>
                    <a:gd name="connsiteY160" fmla="*/ 8794 h 10000"/>
                    <a:gd name="connsiteX161" fmla="*/ 3117 w 10000"/>
                    <a:gd name="connsiteY161" fmla="*/ 8794 h 10000"/>
                    <a:gd name="connsiteX162" fmla="*/ 3312 w 10000"/>
                    <a:gd name="connsiteY162" fmla="*/ 8743 h 10000"/>
                    <a:gd name="connsiteX163" fmla="*/ 3443 w 10000"/>
                    <a:gd name="connsiteY163" fmla="*/ 8727 h 10000"/>
                    <a:gd name="connsiteX164" fmla="*/ 2661 w 10000"/>
                    <a:gd name="connsiteY164" fmla="*/ 8743 h 10000"/>
                    <a:gd name="connsiteX165" fmla="*/ 10000 w 10000"/>
                    <a:gd name="connsiteY165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455 w 10000"/>
                    <a:gd name="connsiteY150" fmla="*/ 9460 h 10000"/>
                    <a:gd name="connsiteX151" fmla="*/ 5389 w 10000"/>
                    <a:gd name="connsiteY151" fmla="*/ 9153 h 10000"/>
                    <a:gd name="connsiteX152" fmla="*/ 5389 w 10000"/>
                    <a:gd name="connsiteY152" fmla="*/ 9087 h 10000"/>
                    <a:gd name="connsiteX153" fmla="*/ 5259 w 10000"/>
                    <a:gd name="connsiteY153" fmla="*/ 9006 h 10000"/>
                    <a:gd name="connsiteX154" fmla="*/ 5195 w 10000"/>
                    <a:gd name="connsiteY154" fmla="*/ 8991 h 10000"/>
                    <a:gd name="connsiteX155" fmla="*/ 4026 w 10000"/>
                    <a:gd name="connsiteY155" fmla="*/ 9104 h 10000"/>
                    <a:gd name="connsiteX156" fmla="*/ 3702 w 10000"/>
                    <a:gd name="connsiteY156" fmla="*/ 9133 h 10000"/>
                    <a:gd name="connsiteX157" fmla="*/ 3247 w 10000"/>
                    <a:gd name="connsiteY157" fmla="*/ 8973 h 10000"/>
                    <a:gd name="connsiteX158" fmla="*/ 3247 w 10000"/>
                    <a:gd name="connsiteY158" fmla="*/ 8973 h 10000"/>
                    <a:gd name="connsiteX159" fmla="*/ 3117 w 10000"/>
                    <a:gd name="connsiteY159" fmla="*/ 8794 h 10000"/>
                    <a:gd name="connsiteX160" fmla="*/ 3117 w 10000"/>
                    <a:gd name="connsiteY160" fmla="*/ 8794 h 10000"/>
                    <a:gd name="connsiteX161" fmla="*/ 3312 w 10000"/>
                    <a:gd name="connsiteY161" fmla="*/ 8743 h 10000"/>
                    <a:gd name="connsiteX162" fmla="*/ 3443 w 10000"/>
                    <a:gd name="connsiteY162" fmla="*/ 8727 h 10000"/>
                    <a:gd name="connsiteX163" fmla="*/ 2661 w 10000"/>
                    <a:gd name="connsiteY163" fmla="*/ 8743 h 10000"/>
                    <a:gd name="connsiteX164" fmla="*/ 10000 w 10000"/>
                    <a:gd name="connsiteY164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975 w 10000"/>
                    <a:gd name="connsiteY148" fmla="*/ 9479 h 10000"/>
                    <a:gd name="connsiteX149" fmla="*/ 5584 w 10000"/>
                    <a:gd name="connsiteY149" fmla="*/ 9479 h 10000"/>
                    <a:gd name="connsiteX150" fmla="*/ 5389 w 10000"/>
                    <a:gd name="connsiteY150" fmla="*/ 9153 h 10000"/>
                    <a:gd name="connsiteX151" fmla="*/ 5389 w 10000"/>
                    <a:gd name="connsiteY151" fmla="*/ 9087 h 10000"/>
                    <a:gd name="connsiteX152" fmla="*/ 5259 w 10000"/>
                    <a:gd name="connsiteY152" fmla="*/ 9006 h 10000"/>
                    <a:gd name="connsiteX153" fmla="*/ 5195 w 10000"/>
                    <a:gd name="connsiteY153" fmla="*/ 8991 h 10000"/>
                    <a:gd name="connsiteX154" fmla="*/ 4026 w 10000"/>
                    <a:gd name="connsiteY154" fmla="*/ 9104 h 10000"/>
                    <a:gd name="connsiteX155" fmla="*/ 3702 w 10000"/>
                    <a:gd name="connsiteY155" fmla="*/ 9133 h 10000"/>
                    <a:gd name="connsiteX156" fmla="*/ 3247 w 10000"/>
                    <a:gd name="connsiteY156" fmla="*/ 8973 h 10000"/>
                    <a:gd name="connsiteX157" fmla="*/ 3247 w 10000"/>
                    <a:gd name="connsiteY157" fmla="*/ 8973 h 10000"/>
                    <a:gd name="connsiteX158" fmla="*/ 3117 w 10000"/>
                    <a:gd name="connsiteY158" fmla="*/ 8794 h 10000"/>
                    <a:gd name="connsiteX159" fmla="*/ 3117 w 10000"/>
                    <a:gd name="connsiteY159" fmla="*/ 8794 h 10000"/>
                    <a:gd name="connsiteX160" fmla="*/ 3312 w 10000"/>
                    <a:gd name="connsiteY160" fmla="*/ 8743 h 10000"/>
                    <a:gd name="connsiteX161" fmla="*/ 3443 w 10000"/>
                    <a:gd name="connsiteY161" fmla="*/ 8727 h 10000"/>
                    <a:gd name="connsiteX162" fmla="*/ 2661 w 10000"/>
                    <a:gd name="connsiteY162" fmla="*/ 8743 h 10000"/>
                    <a:gd name="connsiteX163" fmla="*/ 10000 w 10000"/>
                    <a:gd name="connsiteY163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6493 w 10000"/>
                    <a:gd name="connsiteY147" fmla="*/ 9460 h 10000"/>
                    <a:gd name="connsiteX148" fmla="*/ 5584 w 10000"/>
                    <a:gd name="connsiteY148" fmla="*/ 9479 h 10000"/>
                    <a:gd name="connsiteX149" fmla="*/ 5389 w 10000"/>
                    <a:gd name="connsiteY149" fmla="*/ 9153 h 10000"/>
                    <a:gd name="connsiteX150" fmla="*/ 5389 w 10000"/>
                    <a:gd name="connsiteY150" fmla="*/ 9087 h 10000"/>
                    <a:gd name="connsiteX151" fmla="*/ 5259 w 10000"/>
                    <a:gd name="connsiteY151" fmla="*/ 9006 h 10000"/>
                    <a:gd name="connsiteX152" fmla="*/ 5195 w 10000"/>
                    <a:gd name="connsiteY152" fmla="*/ 8991 h 10000"/>
                    <a:gd name="connsiteX153" fmla="*/ 4026 w 10000"/>
                    <a:gd name="connsiteY153" fmla="*/ 9104 h 10000"/>
                    <a:gd name="connsiteX154" fmla="*/ 3702 w 10000"/>
                    <a:gd name="connsiteY154" fmla="*/ 9133 h 10000"/>
                    <a:gd name="connsiteX155" fmla="*/ 3247 w 10000"/>
                    <a:gd name="connsiteY155" fmla="*/ 8973 h 10000"/>
                    <a:gd name="connsiteX156" fmla="*/ 3247 w 10000"/>
                    <a:gd name="connsiteY156" fmla="*/ 8973 h 10000"/>
                    <a:gd name="connsiteX157" fmla="*/ 3117 w 10000"/>
                    <a:gd name="connsiteY157" fmla="*/ 8794 h 10000"/>
                    <a:gd name="connsiteX158" fmla="*/ 3117 w 10000"/>
                    <a:gd name="connsiteY158" fmla="*/ 8794 h 10000"/>
                    <a:gd name="connsiteX159" fmla="*/ 3312 w 10000"/>
                    <a:gd name="connsiteY159" fmla="*/ 8743 h 10000"/>
                    <a:gd name="connsiteX160" fmla="*/ 3443 w 10000"/>
                    <a:gd name="connsiteY160" fmla="*/ 8727 h 10000"/>
                    <a:gd name="connsiteX161" fmla="*/ 2661 w 10000"/>
                    <a:gd name="connsiteY161" fmla="*/ 8743 h 10000"/>
                    <a:gd name="connsiteX162" fmla="*/ 10000 w 10000"/>
                    <a:gd name="connsiteY162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7144 w 10000"/>
                    <a:gd name="connsiteY146" fmla="*/ 9495 h 10000"/>
                    <a:gd name="connsiteX147" fmla="*/ 5584 w 10000"/>
                    <a:gd name="connsiteY147" fmla="*/ 9479 h 10000"/>
                    <a:gd name="connsiteX148" fmla="*/ 5389 w 10000"/>
                    <a:gd name="connsiteY148" fmla="*/ 9153 h 10000"/>
                    <a:gd name="connsiteX149" fmla="*/ 5389 w 10000"/>
                    <a:gd name="connsiteY149" fmla="*/ 9087 h 10000"/>
                    <a:gd name="connsiteX150" fmla="*/ 5259 w 10000"/>
                    <a:gd name="connsiteY150" fmla="*/ 9006 h 10000"/>
                    <a:gd name="connsiteX151" fmla="*/ 5195 w 10000"/>
                    <a:gd name="connsiteY151" fmla="*/ 8991 h 10000"/>
                    <a:gd name="connsiteX152" fmla="*/ 4026 w 10000"/>
                    <a:gd name="connsiteY152" fmla="*/ 9104 h 10000"/>
                    <a:gd name="connsiteX153" fmla="*/ 3702 w 10000"/>
                    <a:gd name="connsiteY153" fmla="*/ 9133 h 10000"/>
                    <a:gd name="connsiteX154" fmla="*/ 3247 w 10000"/>
                    <a:gd name="connsiteY154" fmla="*/ 8973 h 10000"/>
                    <a:gd name="connsiteX155" fmla="*/ 3247 w 10000"/>
                    <a:gd name="connsiteY155" fmla="*/ 8973 h 10000"/>
                    <a:gd name="connsiteX156" fmla="*/ 3117 w 10000"/>
                    <a:gd name="connsiteY156" fmla="*/ 8794 h 10000"/>
                    <a:gd name="connsiteX157" fmla="*/ 3117 w 10000"/>
                    <a:gd name="connsiteY157" fmla="*/ 8794 h 10000"/>
                    <a:gd name="connsiteX158" fmla="*/ 3312 w 10000"/>
                    <a:gd name="connsiteY158" fmla="*/ 8743 h 10000"/>
                    <a:gd name="connsiteX159" fmla="*/ 3443 w 10000"/>
                    <a:gd name="connsiteY159" fmla="*/ 8727 h 10000"/>
                    <a:gd name="connsiteX160" fmla="*/ 2661 w 10000"/>
                    <a:gd name="connsiteY160" fmla="*/ 8743 h 10000"/>
                    <a:gd name="connsiteX161" fmla="*/ 10000 w 10000"/>
                    <a:gd name="connsiteY161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793 w 10000"/>
                    <a:gd name="connsiteY144" fmla="*/ 9593 h 10000"/>
                    <a:gd name="connsiteX145" fmla="*/ 7404 w 10000"/>
                    <a:gd name="connsiteY145" fmla="*/ 9511 h 10000"/>
                    <a:gd name="connsiteX146" fmla="*/ 5584 w 10000"/>
                    <a:gd name="connsiteY146" fmla="*/ 9479 h 10000"/>
                    <a:gd name="connsiteX147" fmla="*/ 5389 w 10000"/>
                    <a:gd name="connsiteY147" fmla="*/ 9153 h 10000"/>
                    <a:gd name="connsiteX148" fmla="*/ 5389 w 10000"/>
                    <a:gd name="connsiteY148" fmla="*/ 9087 h 10000"/>
                    <a:gd name="connsiteX149" fmla="*/ 5259 w 10000"/>
                    <a:gd name="connsiteY149" fmla="*/ 9006 h 10000"/>
                    <a:gd name="connsiteX150" fmla="*/ 5195 w 10000"/>
                    <a:gd name="connsiteY150" fmla="*/ 8991 h 10000"/>
                    <a:gd name="connsiteX151" fmla="*/ 4026 w 10000"/>
                    <a:gd name="connsiteY151" fmla="*/ 9104 h 10000"/>
                    <a:gd name="connsiteX152" fmla="*/ 3702 w 10000"/>
                    <a:gd name="connsiteY152" fmla="*/ 9133 h 10000"/>
                    <a:gd name="connsiteX153" fmla="*/ 3247 w 10000"/>
                    <a:gd name="connsiteY153" fmla="*/ 8973 h 10000"/>
                    <a:gd name="connsiteX154" fmla="*/ 3247 w 10000"/>
                    <a:gd name="connsiteY154" fmla="*/ 8973 h 10000"/>
                    <a:gd name="connsiteX155" fmla="*/ 3117 w 10000"/>
                    <a:gd name="connsiteY155" fmla="*/ 8794 h 10000"/>
                    <a:gd name="connsiteX156" fmla="*/ 3117 w 10000"/>
                    <a:gd name="connsiteY156" fmla="*/ 8794 h 10000"/>
                    <a:gd name="connsiteX157" fmla="*/ 3312 w 10000"/>
                    <a:gd name="connsiteY157" fmla="*/ 8743 h 10000"/>
                    <a:gd name="connsiteX158" fmla="*/ 3443 w 10000"/>
                    <a:gd name="connsiteY158" fmla="*/ 8727 h 10000"/>
                    <a:gd name="connsiteX159" fmla="*/ 2661 w 10000"/>
                    <a:gd name="connsiteY159" fmla="*/ 8743 h 10000"/>
                    <a:gd name="connsiteX160" fmla="*/ 10000 w 10000"/>
                    <a:gd name="connsiteY160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8181 w 10000"/>
                    <a:gd name="connsiteY143" fmla="*/ 9806 h 10000"/>
                    <a:gd name="connsiteX144" fmla="*/ 7404 w 10000"/>
                    <a:gd name="connsiteY144" fmla="*/ 9511 h 10000"/>
                    <a:gd name="connsiteX145" fmla="*/ 5584 w 10000"/>
                    <a:gd name="connsiteY145" fmla="*/ 9479 h 10000"/>
                    <a:gd name="connsiteX146" fmla="*/ 5389 w 10000"/>
                    <a:gd name="connsiteY146" fmla="*/ 9153 h 10000"/>
                    <a:gd name="connsiteX147" fmla="*/ 5389 w 10000"/>
                    <a:gd name="connsiteY147" fmla="*/ 9087 h 10000"/>
                    <a:gd name="connsiteX148" fmla="*/ 5259 w 10000"/>
                    <a:gd name="connsiteY148" fmla="*/ 9006 h 10000"/>
                    <a:gd name="connsiteX149" fmla="*/ 5195 w 10000"/>
                    <a:gd name="connsiteY149" fmla="*/ 8991 h 10000"/>
                    <a:gd name="connsiteX150" fmla="*/ 4026 w 10000"/>
                    <a:gd name="connsiteY150" fmla="*/ 9104 h 10000"/>
                    <a:gd name="connsiteX151" fmla="*/ 3702 w 10000"/>
                    <a:gd name="connsiteY151" fmla="*/ 9133 h 10000"/>
                    <a:gd name="connsiteX152" fmla="*/ 3247 w 10000"/>
                    <a:gd name="connsiteY152" fmla="*/ 8973 h 10000"/>
                    <a:gd name="connsiteX153" fmla="*/ 3247 w 10000"/>
                    <a:gd name="connsiteY153" fmla="*/ 8973 h 10000"/>
                    <a:gd name="connsiteX154" fmla="*/ 3117 w 10000"/>
                    <a:gd name="connsiteY154" fmla="*/ 8794 h 10000"/>
                    <a:gd name="connsiteX155" fmla="*/ 3117 w 10000"/>
                    <a:gd name="connsiteY155" fmla="*/ 8794 h 10000"/>
                    <a:gd name="connsiteX156" fmla="*/ 3312 w 10000"/>
                    <a:gd name="connsiteY156" fmla="*/ 8743 h 10000"/>
                    <a:gd name="connsiteX157" fmla="*/ 3443 w 10000"/>
                    <a:gd name="connsiteY157" fmla="*/ 8727 h 10000"/>
                    <a:gd name="connsiteX158" fmla="*/ 2661 w 10000"/>
                    <a:gd name="connsiteY158" fmla="*/ 8743 h 10000"/>
                    <a:gd name="connsiteX159" fmla="*/ 10000 w 10000"/>
                    <a:gd name="connsiteY159" fmla="*/ 9968 h 10000"/>
                    <a:gd name="connsiteX0" fmla="*/ 10000 w 10000"/>
                    <a:gd name="connsiteY0" fmla="*/ 9968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7404 w 10000"/>
                    <a:gd name="connsiteY143" fmla="*/ 9511 h 10000"/>
                    <a:gd name="connsiteX144" fmla="*/ 5584 w 10000"/>
                    <a:gd name="connsiteY144" fmla="*/ 9479 h 10000"/>
                    <a:gd name="connsiteX145" fmla="*/ 5389 w 10000"/>
                    <a:gd name="connsiteY145" fmla="*/ 9153 h 10000"/>
                    <a:gd name="connsiteX146" fmla="*/ 5389 w 10000"/>
                    <a:gd name="connsiteY146" fmla="*/ 9087 h 10000"/>
                    <a:gd name="connsiteX147" fmla="*/ 5259 w 10000"/>
                    <a:gd name="connsiteY147" fmla="*/ 9006 h 10000"/>
                    <a:gd name="connsiteX148" fmla="*/ 5195 w 10000"/>
                    <a:gd name="connsiteY148" fmla="*/ 8991 h 10000"/>
                    <a:gd name="connsiteX149" fmla="*/ 4026 w 10000"/>
                    <a:gd name="connsiteY149" fmla="*/ 9104 h 10000"/>
                    <a:gd name="connsiteX150" fmla="*/ 3702 w 10000"/>
                    <a:gd name="connsiteY150" fmla="*/ 9133 h 10000"/>
                    <a:gd name="connsiteX151" fmla="*/ 3247 w 10000"/>
                    <a:gd name="connsiteY151" fmla="*/ 8973 h 10000"/>
                    <a:gd name="connsiteX152" fmla="*/ 3247 w 10000"/>
                    <a:gd name="connsiteY152" fmla="*/ 8973 h 10000"/>
                    <a:gd name="connsiteX153" fmla="*/ 3117 w 10000"/>
                    <a:gd name="connsiteY153" fmla="*/ 8794 h 10000"/>
                    <a:gd name="connsiteX154" fmla="*/ 3117 w 10000"/>
                    <a:gd name="connsiteY154" fmla="*/ 8794 h 10000"/>
                    <a:gd name="connsiteX155" fmla="*/ 3312 w 10000"/>
                    <a:gd name="connsiteY155" fmla="*/ 8743 h 10000"/>
                    <a:gd name="connsiteX156" fmla="*/ 3443 w 10000"/>
                    <a:gd name="connsiteY156" fmla="*/ 8727 h 10000"/>
                    <a:gd name="connsiteX157" fmla="*/ 2661 w 10000"/>
                    <a:gd name="connsiteY157" fmla="*/ 8743 h 10000"/>
                    <a:gd name="connsiteX158" fmla="*/ 10000 w 10000"/>
                    <a:gd name="connsiteY158" fmla="*/ 9968 h 10000"/>
                    <a:gd name="connsiteX0" fmla="*/ 2661 w 10000"/>
                    <a:gd name="connsiteY0" fmla="*/ 8743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10000 w 10000"/>
                    <a:gd name="connsiteY135" fmla="*/ 9985 h 10000"/>
                    <a:gd name="connsiteX136" fmla="*/ 9676 w 10000"/>
                    <a:gd name="connsiteY136" fmla="*/ 9968 h 10000"/>
                    <a:gd name="connsiteX137" fmla="*/ 9287 w 10000"/>
                    <a:gd name="connsiteY137" fmla="*/ 9985 h 10000"/>
                    <a:gd name="connsiteX138" fmla="*/ 9287 w 10000"/>
                    <a:gd name="connsiteY138" fmla="*/ 9985 h 10000"/>
                    <a:gd name="connsiteX139" fmla="*/ 9157 w 10000"/>
                    <a:gd name="connsiteY139" fmla="*/ 10000 h 10000"/>
                    <a:gd name="connsiteX140" fmla="*/ 8898 w 10000"/>
                    <a:gd name="connsiteY140" fmla="*/ 9985 h 10000"/>
                    <a:gd name="connsiteX141" fmla="*/ 8506 w 10000"/>
                    <a:gd name="connsiteY141" fmla="*/ 9935 h 10000"/>
                    <a:gd name="connsiteX142" fmla="*/ 8181 w 10000"/>
                    <a:gd name="connsiteY142" fmla="*/ 9806 h 10000"/>
                    <a:gd name="connsiteX143" fmla="*/ 7404 w 10000"/>
                    <a:gd name="connsiteY143" fmla="*/ 9511 h 10000"/>
                    <a:gd name="connsiteX144" fmla="*/ 5584 w 10000"/>
                    <a:gd name="connsiteY144" fmla="*/ 9479 h 10000"/>
                    <a:gd name="connsiteX145" fmla="*/ 5389 w 10000"/>
                    <a:gd name="connsiteY145" fmla="*/ 9153 h 10000"/>
                    <a:gd name="connsiteX146" fmla="*/ 5389 w 10000"/>
                    <a:gd name="connsiteY146" fmla="*/ 9087 h 10000"/>
                    <a:gd name="connsiteX147" fmla="*/ 5259 w 10000"/>
                    <a:gd name="connsiteY147" fmla="*/ 9006 h 10000"/>
                    <a:gd name="connsiteX148" fmla="*/ 5195 w 10000"/>
                    <a:gd name="connsiteY148" fmla="*/ 8991 h 10000"/>
                    <a:gd name="connsiteX149" fmla="*/ 4026 w 10000"/>
                    <a:gd name="connsiteY149" fmla="*/ 9104 h 10000"/>
                    <a:gd name="connsiteX150" fmla="*/ 3702 w 10000"/>
                    <a:gd name="connsiteY150" fmla="*/ 9133 h 10000"/>
                    <a:gd name="connsiteX151" fmla="*/ 3247 w 10000"/>
                    <a:gd name="connsiteY151" fmla="*/ 8973 h 10000"/>
                    <a:gd name="connsiteX152" fmla="*/ 3247 w 10000"/>
                    <a:gd name="connsiteY152" fmla="*/ 8973 h 10000"/>
                    <a:gd name="connsiteX153" fmla="*/ 3117 w 10000"/>
                    <a:gd name="connsiteY153" fmla="*/ 8794 h 10000"/>
                    <a:gd name="connsiteX154" fmla="*/ 3117 w 10000"/>
                    <a:gd name="connsiteY154" fmla="*/ 8794 h 10000"/>
                    <a:gd name="connsiteX155" fmla="*/ 3312 w 10000"/>
                    <a:gd name="connsiteY155" fmla="*/ 8743 h 10000"/>
                    <a:gd name="connsiteX156" fmla="*/ 3443 w 10000"/>
                    <a:gd name="connsiteY156" fmla="*/ 8727 h 10000"/>
                    <a:gd name="connsiteX157" fmla="*/ 2661 w 10000"/>
                    <a:gd name="connsiteY157" fmla="*/ 8743 h 10000"/>
                    <a:gd name="connsiteX0" fmla="*/ 2661 w 10000"/>
                    <a:gd name="connsiteY0" fmla="*/ 8743 h 10000"/>
                    <a:gd name="connsiteX1" fmla="*/ 10000 w 10000"/>
                    <a:gd name="connsiteY1" fmla="*/ 9968 h 10000"/>
                    <a:gd name="connsiteX2" fmla="*/ 9091 w 10000"/>
                    <a:gd name="connsiteY2" fmla="*/ 9985 h 10000"/>
                    <a:gd name="connsiteX3" fmla="*/ 8765 w 10000"/>
                    <a:gd name="connsiteY3" fmla="*/ 9985 h 10000"/>
                    <a:gd name="connsiteX4" fmla="*/ 8636 w 10000"/>
                    <a:gd name="connsiteY4" fmla="*/ 9968 h 10000"/>
                    <a:gd name="connsiteX5" fmla="*/ 8571 w 10000"/>
                    <a:gd name="connsiteY5" fmla="*/ 9950 h 10000"/>
                    <a:gd name="connsiteX6" fmla="*/ 8571 w 10000"/>
                    <a:gd name="connsiteY6" fmla="*/ 9950 h 10000"/>
                    <a:gd name="connsiteX7" fmla="*/ 8181 w 10000"/>
                    <a:gd name="connsiteY7" fmla="*/ 9756 h 10000"/>
                    <a:gd name="connsiteX8" fmla="*/ 7856 w 10000"/>
                    <a:gd name="connsiteY8" fmla="*/ 9577 h 10000"/>
                    <a:gd name="connsiteX9" fmla="*/ 7856 w 10000"/>
                    <a:gd name="connsiteY9" fmla="*/ 9577 h 10000"/>
                    <a:gd name="connsiteX10" fmla="*/ 7729 w 10000"/>
                    <a:gd name="connsiteY10" fmla="*/ 9545 h 10000"/>
                    <a:gd name="connsiteX11" fmla="*/ 7533 w 10000"/>
                    <a:gd name="connsiteY11" fmla="*/ 9511 h 10000"/>
                    <a:gd name="connsiteX12" fmla="*/ 7013 w 10000"/>
                    <a:gd name="connsiteY12" fmla="*/ 9495 h 10000"/>
                    <a:gd name="connsiteX13" fmla="*/ 6364 w 10000"/>
                    <a:gd name="connsiteY13" fmla="*/ 9479 h 10000"/>
                    <a:gd name="connsiteX14" fmla="*/ 5779 w 10000"/>
                    <a:gd name="connsiteY14" fmla="*/ 9479 h 10000"/>
                    <a:gd name="connsiteX15" fmla="*/ 5779 w 10000"/>
                    <a:gd name="connsiteY15" fmla="*/ 9479 h 10000"/>
                    <a:gd name="connsiteX16" fmla="*/ 5519 w 10000"/>
                    <a:gd name="connsiteY16" fmla="*/ 9460 h 10000"/>
                    <a:gd name="connsiteX17" fmla="*/ 5389 w 10000"/>
                    <a:gd name="connsiteY17" fmla="*/ 9430 h 10000"/>
                    <a:gd name="connsiteX18" fmla="*/ 5324 w 10000"/>
                    <a:gd name="connsiteY18" fmla="*/ 9395 h 10000"/>
                    <a:gd name="connsiteX19" fmla="*/ 5389 w 10000"/>
                    <a:gd name="connsiteY19" fmla="*/ 9200 h 10000"/>
                    <a:gd name="connsiteX20" fmla="*/ 5455 w 10000"/>
                    <a:gd name="connsiteY20" fmla="*/ 9133 h 10000"/>
                    <a:gd name="connsiteX21" fmla="*/ 5389 w 10000"/>
                    <a:gd name="connsiteY21" fmla="*/ 9055 h 10000"/>
                    <a:gd name="connsiteX22" fmla="*/ 5389 w 10000"/>
                    <a:gd name="connsiteY22" fmla="*/ 9055 h 10000"/>
                    <a:gd name="connsiteX23" fmla="*/ 5324 w 10000"/>
                    <a:gd name="connsiteY23" fmla="*/ 9006 h 10000"/>
                    <a:gd name="connsiteX24" fmla="*/ 5259 w 10000"/>
                    <a:gd name="connsiteY24" fmla="*/ 8973 h 10000"/>
                    <a:gd name="connsiteX25" fmla="*/ 5128 w 10000"/>
                    <a:gd name="connsiteY25" fmla="*/ 8973 h 10000"/>
                    <a:gd name="connsiteX26" fmla="*/ 4936 w 10000"/>
                    <a:gd name="connsiteY26" fmla="*/ 8991 h 10000"/>
                    <a:gd name="connsiteX27" fmla="*/ 4545 w 10000"/>
                    <a:gd name="connsiteY27" fmla="*/ 9038 h 10000"/>
                    <a:gd name="connsiteX28" fmla="*/ 4026 w 10000"/>
                    <a:gd name="connsiteY28" fmla="*/ 9119 h 10000"/>
                    <a:gd name="connsiteX29" fmla="*/ 4026 w 10000"/>
                    <a:gd name="connsiteY29" fmla="*/ 9119 h 10000"/>
                    <a:gd name="connsiteX30" fmla="*/ 3702 w 10000"/>
                    <a:gd name="connsiteY30" fmla="*/ 9133 h 10000"/>
                    <a:gd name="connsiteX31" fmla="*/ 3573 w 10000"/>
                    <a:gd name="connsiteY31" fmla="*/ 9133 h 10000"/>
                    <a:gd name="connsiteX32" fmla="*/ 3507 w 10000"/>
                    <a:gd name="connsiteY32" fmla="*/ 9119 h 10000"/>
                    <a:gd name="connsiteX33" fmla="*/ 3247 w 10000"/>
                    <a:gd name="connsiteY33" fmla="*/ 8973 h 10000"/>
                    <a:gd name="connsiteX34" fmla="*/ 3247 w 10000"/>
                    <a:gd name="connsiteY34" fmla="*/ 8973 h 10000"/>
                    <a:gd name="connsiteX35" fmla="*/ 3117 w 10000"/>
                    <a:gd name="connsiteY35" fmla="*/ 8925 h 10000"/>
                    <a:gd name="connsiteX36" fmla="*/ 3117 w 10000"/>
                    <a:gd name="connsiteY36" fmla="*/ 8875 h 10000"/>
                    <a:gd name="connsiteX37" fmla="*/ 3117 w 10000"/>
                    <a:gd name="connsiteY37" fmla="*/ 8842 h 10000"/>
                    <a:gd name="connsiteX38" fmla="*/ 3184 w 10000"/>
                    <a:gd name="connsiteY38" fmla="*/ 8809 h 10000"/>
                    <a:gd name="connsiteX39" fmla="*/ 3312 w 10000"/>
                    <a:gd name="connsiteY39" fmla="*/ 8743 h 10000"/>
                    <a:gd name="connsiteX40" fmla="*/ 3443 w 10000"/>
                    <a:gd name="connsiteY40" fmla="*/ 8727 h 10000"/>
                    <a:gd name="connsiteX41" fmla="*/ 3443 w 10000"/>
                    <a:gd name="connsiteY41" fmla="*/ 8727 h 10000"/>
                    <a:gd name="connsiteX42" fmla="*/ 3443 w 10000"/>
                    <a:gd name="connsiteY42" fmla="*/ 8712 h 10000"/>
                    <a:gd name="connsiteX43" fmla="*/ 3507 w 10000"/>
                    <a:gd name="connsiteY43" fmla="*/ 8695 h 10000"/>
                    <a:gd name="connsiteX44" fmla="*/ 7646 w 10000"/>
                    <a:gd name="connsiteY44" fmla="*/ 8443 h 10000"/>
                    <a:gd name="connsiteX45" fmla="*/ 8116 w 10000"/>
                    <a:gd name="connsiteY45" fmla="*/ 8451 h 10000"/>
                    <a:gd name="connsiteX46" fmla="*/ 8116 w 10000"/>
                    <a:gd name="connsiteY46" fmla="*/ 8451 h 10000"/>
                    <a:gd name="connsiteX47" fmla="*/ 8442 w 10000"/>
                    <a:gd name="connsiteY47" fmla="*/ 8418 h 10000"/>
                    <a:gd name="connsiteX48" fmla="*/ 8702 w 10000"/>
                    <a:gd name="connsiteY48" fmla="*/ 8337 h 10000"/>
                    <a:gd name="connsiteX49" fmla="*/ 8636 w 10000"/>
                    <a:gd name="connsiteY49" fmla="*/ 8304 h 10000"/>
                    <a:gd name="connsiteX50" fmla="*/ 8636 w 10000"/>
                    <a:gd name="connsiteY50" fmla="*/ 8273 h 10000"/>
                    <a:gd name="connsiteX51" fmla="*/ 8312 w 10000"/>
                    <a:gd name="connsiteY51" fmla="*/ 8190 h 10000"/>
                    <a:gd name="connsiteX52" fmla="*/ 5975 w 10000"/>
                    <a:gd name="connsiteY52" fmla="*/ 7895 h 10000"/>
                    <a:gd name="connsiteX53" fmla="*/ 5975 w 10000"/>
                    <a:gd name="connsiteY53" fmla="*/ 7895 h 10000"/>
                    <a:gd name="connsiteX54" fmla="*/ 5714 w 10000"/>
                    <a:gd name="connsiteY54" fmla="*/ 7848 h 10000"/>
                    <a:gd name="connsiteX55" fmla="*/ 5519 w 10000"/>
                    <a:gd name="connsiteY55" fmla="*/ 7798 h 10000"/>
                    <a:gd name="connsiteX56" fmla="*/ 5389 w 10000"/>
                    <a:gd name="connsiteY56" fmla="*/ 7749 h 10000"/>
                    <a:gd name="connsiteX57" fmla="*/ 5389 w 10000"/>
                    <a:gd name="connsiteY57" fmla="*/ 7749 h 10000"/>
                    <a:gd name="connsiteX58" fmla="*/ 7729 w 10000"/>
                    <a:gd name="connsiteY58" fmla="*/ 7732 h 10000"/>
                    <a:gd name="connsiteX59" fmla="*/ 10000 w 10000"/>
                    <a:gd name="connsiteY59" fmla="*/ 7895 h 10000"/>
                    <a:gd name="connsiteX60" fmla="*/ 10000 w 10000"/>
                    <a:gd name="connsiteY60" fmla="*/ 6412 h 10000"/>
                    <a:gd name="connsiteX61" fmla="*/ 10000 w 10000"/>
                    <a:gd name="connsiteY61" fmla="*/ 6412 h 10000"/>
                    <a:gd name="connsiteX62" fmla="*/ 7404 w 10000"/>
                    <a:gd name="connsiteY62" fmla="*/ 6068 h 10000"/>
                    <a:gd name="connsiteX63" fmla="*/ 5975 w 10000"/>
                    <a:gd name="connsiteY63" fmla="*/ 5873 h 10000"/>
                    <a:gd name="connsiteX64" fmla="*/ 5975 w 10000"/>
                    <a:gd name="connsiteY64" fmla="*/ 5873 h 10000"/>
                    <a:gd name="connsiteX65" fmla="*/ 5975 w 10000"/>
                    <a:gd name="connsiteY65" fmla="*/ 5857 h 10000"/>
                    <a:gd name="connsiteX66" fmla="*/ 5975 w 10000"/>
                    <a:gd name="connsiteY66" fmla="*/ 5759 h 10000"/>
                    <a:gd name="connsiteX67" fmla="*/ 5975 w 10000"/>
                    <a:gd name="connsiteY67" fmla="*/ 5759 h 10000"/>
                    <a:gd name="connsiteX68" fmla="*/ 5779 w 10000"/>
                    <a:gd name="connsiteY68" fmla="*/ 5643 h 10000"/>
                    <a:gd name="connsiteX69" fmla="*/ 5389 w 10000"/>
                    <a:gd name="connsiteY69" fmla="*/ 5465 h 10000"/>
                    <a:gd name="connsiteX70" fmla="*/ 4545 w 10000"/>
                    <a:gd name="connsiteY70" fmla="*/ 5122 h 10000"/>
                    <a:gd name="connsiteX71" fmla="*/ 4545 w 10000"/>
                    <a:gd name="connsiteY71" fmla="*/ 5122 h 10000"/>
                    <a:gd name="connsiteX72" fmla="*/ 4352 w 10000"/>
                    <a:gd name="connsiteY72" fmla="*/ 5073 h 10000"/>
                    <a:gd name="connsiteX73" fmla="*/ 4026 w 10000"/>
                    <a:gd name="connsiteY73" fmla="*/ 5008 h 10000"/>
                    <a:gd name="connsiteX74" fmla="*/ 3052 w 10000"/>
                    <a:gd name="connsiteY74" fmla="*/ 4861 h 10000"/>
                    <a:gd name="connsiteX75" fmla="*/ 1689 w 10000"/>
                    <a:gd name="connsiteY75" fmla="*/ 4683 h 10000"/>
                    <a:gd name="connsiteX76" fmla="*/ 1689 w 10000"/>
                    <a:gd name="connsiteY76" fmla="*/ 4683 h 10000"/>
                    <a:gd name="connsiteX77" fmla="*/ 1103 w 10000"/>
                    <a:gd name="connsiteY77" fmla="*/ 4665 h 10000"/>
                    <a:gd name="connsiteX78" fmla="*/ 650 w 10000"/>
                    <a:gd name="connsiteY78" fmla="*/ 4648 h 10000"/>
                    <a:gd name="connsiteX79" fmla="*/ 521 w 10000"/>
                    <a:gd name="connsiteY79" fmla="*/ 4632 h 10000"/>
                    <a:gd name="connsiteX80" fmla="*/ 390 w 10000"/>
                    <a:gd name="connsiteY80" fmla="*/ 4617 h 10000"/>
                    <a:gd name="connsiteX81" fmla="*/ 390 w 10000"/>
                    <a:gd name="connsiteY81" fmla="*/ 4617 h 10000"/>
                    <a:gd name="connsiteX82" fmla="*/ 261 w 10000"/>
                    <a:gd name="connsiteY82" fmla="*/ 4550 h 10000"/>
                    <a:gd name="connsiteX83" fmla="*/ 65 w 10000"/>
                    <a:gd name="connsiteY83" fmla="*/ 4438 h 10000"/>
                    <a:gd name="connsiteX84" fmla="*/ 0 w 10000"/>
                    <a:gd name="connsiteY84" fmla="*/ 4372 h 10000"/>
                    <a:gd name="connsiteX85" fmla="*/ 0 w 10000"/>
                    <a:gd name="connsiteY85" fmla="*/ 4306 h 10000"/>
                    <a:gd name="connsiteX86" fmla="*/ 0 w 10000"/>
                    <a:gd name="connsiteY86" fmla="*/ 4258 h 10000"/>
                    <a:gd name="connsiteX87" fmla="*/ 131 w 10000"/>
                    <a:gd name="connsiteY87" fmla="*/ 4208 h 10000"/>
                    <a:gd name="connsiteX88" fmla="*/ 131 w 10000"/>
                    <a:gd name="connsiteY88" fmla="*/ 4208 h 10000"/>
                    <a:gd name="connsiteX89" fmla="*/ 455 w 10000"/>
                    <a:gd name="connsiteY89" fmla="*/ 4127 h 10000"/>
                    <a:gd name="connsiteX90" fmla="*/ 779 w 10000"/>
                    <a:gd name="connsiteY90" fmla="*/ 4047 h 10000"/>
                    <a:gd name="connsiteX91" fmla="*/ 975 w 10000"/>
                    <a:gd name="connsiteY91" fmla="*/ 3998 h 10000"/>
                    <a:gd name="connsiteX92" fmla="*/ 1103 w 10000"/>
                    <a:gd name="connsiteY92" fmla="*/ 3948 h 10000"/>
                    <a:gd name="connsiteX93" fmla="*/ 1103 w 10000"/>
                    <a:gd name="connsiteY93" fmla="*/ 3882 h 10000"/>
                    <a:gd name="connsiteX94" fmla="*/ 1103 w 10000"/>
                    <a:gd name="connsiteY94" fmla="*/ 3801 h 10000"/>
                    <a:gd name="connsiteX95" fmla="*/ 1103 w 10000"/>
                    <a:gd name="connsiteY95" fmla="*/ 3801 h 10000"/>
                    <a:gd name="connsiteX96" fmla="*/ 845 w 10000"/>
                    <a:gd name="connsiteY96" fmla="*/ 3572 h 10000"/>
                    <a:gd name="connsiteX97" fmla="*/ 521 w 10000"/>
                    <a:gd name="connsiteY97" fmla="*/ 3263 h 10000"/>
                    <a:gd name="connsiteX98" fmla="*/ 261 w 10000"/>
                    <a:gd name="connsiteY98" fmla="*/ 2985 h 10000"/>
                    <a:gd name="connsiteX99" fmla="*/ 195 w 10000"/>
                    <a:gd name="connsiteY99" fmla="*/ 2904 h 10000"/>
                    <a:gd name="connsiteX100" fmla="*/ 195 w 10000"/>
                    <a:gd name="connsiteY100" fmla="*/ 2871 h 10000"/>
                    <a:gd name="connsiteX101" fmla="*/ 261 w 10000"/>
                    <a:gd name="connsiteY101" fmla="*/ 2854 h 10000"/>
                    <a:gd name="connsiteX102" fmla="*/ 261 w 10000"/>
                    <a:gd name="connsiteY102" fmla="*/ 2854 h 10000"/>
                    <a:gd name="connsiteX103" fmla="*/ 650 w 10000"/>
                    <a:gd name="connsiteY103" fmla="*/ 2839 h 10000"/>
                    <a:gd name="connsiteX104" fmla="*/ 908 w 10000"/>
                    <a:gd name="connsiteY104" fmla="*/ 2839 h 10000"/>
                    <a:gd name="connsiteX105" fmla="*/ 1103 w 10000"/>
                    <a:gd name="connsiteY105" fmla="*/ 2854 h 10000"/>
                    <a:gd name="connsiteX106" fmla="*/ 1103 w 10000"/>
                    <a:gd name="connsiteY106" fmla="*/ 2854 h 10000"/>
                    <a:gd name="connsiteX107" fmla="*/ 1168 w 10000"/>
                    <a:gd name="connsiteY107" fmla="*/ 2854 h 10000"/>
                    <a:gd name="connsiteX108" fmla="*/ 1235 w 10000"/>
                    <a:gd name="connsiteY108" fmla="*/ 2823 h 10000"/>
                    <a:gd name="connsiteX109" fmla="*/ 1559 w 10000"/>
                    <a:gd name="connsiteY109" fmla="*/ 2725 h 10000"/>
                    <a:gd name="connsiteX110" fmla="*/ 2402 w 10000"/>
                    <a:gd name="connsiteY110" fmla="*/ 2397 h 10000"/>
                    <a:gd name="connsiteX111" fmla="*/ 3507 w 10000"/>
                    <a:gd name="connsiteY111" fmla="*/ 1927 h 10000"/>
                    <a:gd name="connsiteX112" fmla="*/ 3507 w 10000"/>
                    <a:gd name="connsiteY112" fmla="*/ 1927 h 10000"/>
                    <a:gd name="connsiteX113" fmla="*/ 3507 w 10000"/>
                    <a:gd name="connsiteY113" fmla="*/ 1860 h 10000"/>
                    <a:gd name="connsiteX114" fmla="*/ 3507 w 10000"/>
                    <a:gd name="connsiteY114" fmla="*/ 1710 h 10000"/>
                    <a:gd name="connsiteX115" fmla="*/ 3573 w 10000"/>
                    <a:gd name="connsiteY115" fmla="*/ 1615 h 10000"/>
                    <a:gd name="connsiteX116" fmla="*/ 3702 w 10000"/>
                    <a:gd name="connsiteY116" fmla="*/ 1533 h 10000"/>
                    <a:gd name="connsiteX117" fmla="*/ 3896 w 10000"/>
                    <a:gd name="connsiteY117" fmla="*/ 1436 h 10000"/>
                    <a:gd name="connsiteX118" fmla="*/ 4156 w 10000"/>
                    <a:gd name="connsiteY118" fmla="*/ 1355 h 10000"/>
                    <a:gd name="connsiteX119" fmla="*/ 4156 w 10000"/>
                    <a:gd name="connsiteY119" fmla="*/ 1355 h 10000"/>
                    <a:gd name="connsiteX120" fmla="*/ 4806 w 10000"/>
                    <a:gd name="connsiteY120" fmla="*/ 1192 h 10000"/>
                    <a:gd name="connsiteX121" fmla="*/ 5455 w 10000"/>
                    <a:gd name="connsiteY121" fmla="*/ 978 h 10000"/>
                    <a:gd name="connsiteX122" fmla="*/ 6104 w 10000"/>
                    <a:gd name="connsiteY122" fmla="*/ 783 h 10000"/>
                    <a:gd name="connsiteX123" fmla="*/ 6559 w 10000"/>
                    <a:gd name="connsiteY123" fmla="*/ 605 h 10000"/>
                    <a:gd name="connsiteX124" fmla="*/ 6559 w 10000"/>
                    <a:gd name="connsiteY124" fmla="*/ 605 h 10000"/>
                    <a:gd name="connsiteX125" fmla="*/ 6882 w 10000"/>
                    <a:gd name="connsiteY125" fmla="*/ 441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985 h 10000"/>
                    <a:gd name="connsiteX135" fmla="*/ 9676 w 10000"/>
                    <a:gd name="connsiteY135" fmla="*/ 9968 h 10000"/>
                    <a:gd name="connsiteX136" fmla="*/ 9287 w 10000"/>
                    <a:gd name="connsiteY136" fmla="*/ 9985 h 10000"/>
                    <a:gd name="connsiteX137" fmla="*/ 9287 w 10000"/>
                    <a:gd name="connsiteY137" fmla="*/ 9985 h 10000"/>
                    <a:gd name="connsiteX138" fmla="*/ 9157 w 10000"/>
                    <a:gd name="connsiteY138" fmla="*/ 10000 h 10000"/>
                    <a:gd name="connsiteX139" fmla="*/ 8898 w 10000"/>
                    <a:gd name="connsiteY139" fmla="*/ 9985 h 10000"/>
                    <a:gd name="connsiteX140" fmla="*/ 8506 w 10000"/>
                    <a:gd name="connsiteY140" fmla="*/ 9935 h 10000"/>
                    <a:gd name="connsiteX141" fmla="*/ 8181 w 10000"/>
                    <a:gd name="connsiteY141" fmla="*/ 9806 h 10000"/>
                    <a:gd name="connsiteX142" fmla="*/ 7404 w 10000"/>
                    <a:gd name="connsiteY142" fmla="*/ 9511 h 10000"/>
                    <a:gd name="connsiteX143" fmla="*/ 5584 w 10000"/>
                    <a:gd name="connsiteY143" fmla="*/ 9479 h 10000"/>
                    <a:gd name="connsiteX144" fmla="*/ 5389 w 10000"/>
                    <a:gd name="connsiteY144" fmla="*/ 9153 h 10000"/>
                    <a:gd name="connsiteX145" fmla="*/ 5389 w 10000"/>
                    <a:gd name="connsiteY145" fmla="*/ 9087 h 10000"/>
                    <a:gd name="connsiteX146" fmla="*/ 5259 w 10000"/>
                    <a:gd name="connsiteY146" fmla="*/ 9006 h 10000"/>
                    <a:gd name="connsiteX147" fmla="*/ 5195 w 10000"/>
                    <a:gd name="connsiteY147" fmla="*/ 8991 h 10000"/>
                    <a:gd name="connsiteX148" fmla="*/ 4026 w 10000"/>
                    <a:gd name="connsiteY148" fmla="*/ 9104 h 10000"/>
                    <a:gd name="connsiteX149" fmla="*/ 3702 w 10000"/>
                    <a:gd name="connsiteY149" fmla="*/ 9133 h 10000"/>
                    <a:gd name="connsiteX150" fmla="*/ 3247 w 10000"/>
                    <a:gd name="connsiteY150" fmla="*/ 8973 h 10000"/>
                    <a:gd name="connsiteX151" fmla="*/ 3247 w 10000"/>
                    <a:gd name="connsiteY151" fmla="*/ 8973 h 10000"/>
                    <a:gd name="connsiteX152" fmla="*/ 3117 w 10000"/>
                    <a:gd name="connsiteY152" fmla="*/ 8794 h 10000"/>
                    <a:gd name="connsiteX153" fmla="*/ 3117 w 10000"/>
                    <a:gd name="connsiteY153" fmla="*/ 8794 h 10000"/>
                    <a:gd name="connsiteX154" fmla="*/ 3312 w 10000"/>
                    <a:gd name="connsiteY154" fmla="*/ 8743 h 10000"/>
                    <a:gd name="connsiteX155" fmla="*/ 3443 w 10000"/>
                    <a:gd name="connsiteY155" fmla="*/ 8727 h 10000"/>
                    <a:gd name="connsiteX156" fmla="*/ 2661 w 10000"/>
                    <a:gd name="connsiteY156" fmla="*/ 8743 h 10000"/>
                    <a:gd name="connsiteX0" fmla="*/ 2661 w 10000"/>
                    <a:gd name="connsiteY0" fmla="*/ 8743 h 9985"/>
                    <a:gd name="connsiteX1" fmla="*/ 10000 w 10000"/>
                    <a:gd name="connsiteY1" fmla="*/ 9968 h 9985"/>
                    <a:gd name="connsiteX2" fmla="*/ 9091 w 10000"/>
                    <a:gd name="connsiteY2" fmla="*/ 9985 h 9985"/>
                    <a:gd name="connsiteX3" fmla="*/ 8765 w 10000"/>
                    <a:gd name="connsiteY3" fmla="*/ 9985 h 9985"/>
                    <a:gd name="connsiteX4" fmla="*/ 8636 w 10000"/>
                    <a:gd name="connsiteY4" fmla="*/ 9968 h 9985"/>
                    <a:gd name="connsiteX5" fmla="*/ 8571 w 10000"/>
                    <a:gd name="connsiteY5" fmla="*/ 9950 h 9985"/>
                    <a:gd name="connsiteX6" fmla="*/ 8571 w 10000"/>
                    <a:gd name="connsiteY6" fmla="*/ 9950 h 9985"/>
                    <a:gd name="connsiteX7" fmla="*/ 8181 w 10000"/>
                    <a:gd name="connsiteY7" fmla="*/ 9756 h 9985"/>
                    <a:gd name="connsiteX8" fmla="*/ 7856 w 10000"/>
                    <a:gd name="connsiteY8" fmla="*/ 9577 h 9985"/>
                    <a:gd name="connsiteX9" fmla="*/ 7856 w 10000"/>
                    <a:gd name="connsiteY9" fmla="*/ 9577 h 9985"/>
                    <a:gd name="connsiteX10" fmla="*/ 7729 w 10000"/>
                    <a:gd name="connsiteY10" fmla="*/ 9545 h 9985"/>
                    <a:gd name="connsiteX11" fmla="*/ 7533 w 10000"/>
                    <a:gd name="connsiteY11" fmla="*/ 9511 h 9985"/>
                    <a:gd name="connsiteX12" fmla="*/ 7013 w 10000"/>
                    <a:gd name="connsiteY12" fmla="*/ 9495 h 9985"/>
                    <a:gd name="connsiteX13" fmla="*/ 6364 w 10000"/>
                    <a:gd name="connsiteY13" fmla="*/ 9479 h 9985"/>
                    <a:gd name="connsiteX14" fmla="*/ 5779 w 10000"/>
                    <a:gd name="connsiteY14" fmla="*/ 9479 h 9985"/>
                    <a:gd name="connsiteX15" fmla="*/ 5779 w 10000"/>
                    <a:gd name="connsiteY15" fmla="*/ 9479 h 9985"/>
                    <a:gd name="connsiteX16" fmla="*/ 5519 w 10000"/>
                    <a:gd name="connsiteY16" fmla="*/ 9460 h 9985"/>
                    <a:gd name="connsiteX17" fmla="*/ 5389 w 10000"/>
                    <a:gd name="connsiteY17" fmla="*/ 9430 h 9985"/>
                    <a:gd name="connsiteX18" fmla="*/ 5324 w 10000"/>
                    <a:gd name="connsiteY18" fmla="*/ 9395 h 9985"/>
                    <a:gd name="connsiteX19" fmla="*/ 5389 w 10000"/>
                    <a:gd name="connsiteY19" fmla="*/ 9200 h 9985"/>
                    <a:gd name="connsiteX20" fmla="*/ 5455 w 10000"/>
                    <a:gd name="connsiteY20" fmla="*/ 9133 h 9985"/>
                    <a:gd name="connsiteX21" fmla="*/ 5389 w 10000"/>
                    <a:gd name="connsiteY21" fmla="*/ 9055 h 9985"/>
                    <a:gd name="connsiteX22" fmla="*/ 5389 w 10000"/>
                    <a:gd name="connsiteY22" fmla="*/ 9055 h 9985"/>
                    <a:gd name="connsiteX23" fmla="*/ 5324 w 10000"/>
                    <a:gd name="connsiteY23" fmla="*/ 9006 h 9985"/>
                    <a:gd name="connsiteX24" fmla="*/ 5259 w 10000"/>
                    <a:gd name="connsiteY24" fmla="*/ 8973 h 9985"/>
                    <a:gd name="connsiteX25" fmla="*/ 5128 w 10000"/>
                    <a:gd name="connsiteY25" fmla="*/ 8973 h 9985"/>
                    <a:gd name="connsiteX26" fmla="*/ 4936 w 10000"/>
                    <a:gd name="connsiteY26" fmla="*/ 8991 h 9985"/>
                    <a:gd name="connsiteX27" fmla="*/ 4545 w 10000"/>
                    <a:gd name="connsiteY27" fmla="*/ 9038 h 9985"/>
                    <a:gd name="connsiteX28" fmla="*/ 4026 w 10000"/>
                    <a:gd name="connsiteY28" fmla="*/ 9119 h 9985"/>
                    <a:gd name="connsiteX29" fmla="*/ 4026 w 10000"/>
                    <a:gd name="connsiteY29" fmla="*/ 9119 h 9985"/>
                    <a:gd name="connsiteX30" fmla="*/ 3702 w 10000"/>
                    <a:gd name="connsiteY30" fmla="*/ 9133 h 9985"/>
                    <a:gd name="connsiteX31" fmla="*/ 3573 w 10000"/>
                    <a:gd name="connsiteY31" fmla="*/ 9133 h 9985"/>
                    <a:gd name="connsiteX32" fmla="*/ 3507 w 10000"/>
                    <a:gd name="connsiteY32" fmla="*/ 9119 h 9985"/>
                    <a:gd name="connsiteX33" fmla="*/ 3247 w 10000"/>
                    <a:gd name="connsiteY33" fmla="*/ 8973 h 9985"/>
                    <a:gd name="connsiteX34" fmla="*/ 3247 w 10000"/>
                    <a:gd name="connsiteY34" fmla="*/ 8973 h 9985"/>
                    <a:gd name="connsiteX35" fmla="*/ 3117 w 10000"/>
                    <a:gd name="connsiteY35" fmla="*/ 8925 h 9985"/>
                    <a:gd name="connsiteX36" fmla="*/ 3117 w 10000"/>
                    <a:gd name="connsiteY36" fmla="*/ 8875 h 9985"/>
                    <a:gd name="connsiteX37" fmla="*/ 3117 w 10000"/>
                    <a:gd name="connsiteY37" fmla="*/ 8842 h 9985"/>
                    <a:gd name="connsiteX38" fmla="*/ 3184 w 10000"/>
                    <a:gd name="connsiteY38" fmla="*/ 8809 h 9985"/>
                    <a:gd name="connsiteX39" fmla="*/ 3312 w 10000"/>
                    <a:gd name="connsiteY39" fmla="*/ 8743 h 9985"/>
                    <a:gd name="connsiteX40" fmla="*/ 3443 w 10000"/>
                    <a:gd name="connsiteY40" fmla="*/ 8727 h 9985"/>
                    <a:gd name="connsiteX41" fmla="*/ 3443 w 10000"/>
                    <a:gd name="connsiteY41" fmla="*/ 8727 h 9985"/>
                    <a:gd name="connsiteX42" fmla="*/ 3443 w 10000"/>
                    <a:gd name="connsiteY42" fmla="*/ 8712 h 9985"/>
                    <a:gd name="connsiteX43" fmla="*/ 3507 w 10000"/>
                    <a:gd name="connsiteY43" fmla="*/ 8695 h 9985"/>
                    <a:gd name="connsiteX44" fmla="*/ 7646 w 10000"/>
                    <a:gd name="connsiteY44" fmla="*/ 8443 h 9985"/>
                    <a:gd name="connsiteX45" fmla="*/ 8116 w 10000"/>
                    <a:gd name="connsiteY45" fmla="*/ 8451 h 9985"/>
                    <a:gd name="connsiteX46" fmla="*/ 8116 w 10000"/>
                    <a:gd name="connsiteY46" fmla="*/ 8451 h 9985"/>
                    <a:gd name="connsiteX47" fmla="*/ 8442 w 10000"/>
                    <a:gd name="connsiteY47" fmla="*/ 8418 h 9985"/>
                    <a:gd name="connsiteX48" fmla="*/ 8702 w 10000"/>
                    <a:gd name="connsiteY48" fmla="*/ 8337 h 9985"/>
                    <a:gd name="connsiteX49" fmla="*/ 8636 w 10000"/>
                    <a:gd name="connsiteY49" fmla="*/ 8304 h 9985"/>
                    <a:gd name="connsiteX50" fmla="*/ 8636 w 10000"/>
                    <a:gd name="connsiteY50" fmla="*/ 8273 h 9985"/>
                    <a:gd name="connsiteX51" fmla="*/ 8312 w 10000"/>
                    <a:gd name="connsiteY51" fmla="*/ 8190 h 9985"/>
                    <a:gd name="connsiteX52" fmla="*/ 5975 w 10000"/>
                    <a:gd name="connsiteY52" fmla="*/ 7895 h 9985"/>
                    <a:gd name="connsiteX53" fmla="*/ 5975 w 10000"/>
                    <a:gd name="connsiteY53" fmla="*/ 7895 h 9985"/>
                    <a:gd name="connsiteX54" fmla="*/ 5714 w 10000"/>
                    <a:gd name="connsiteY54" fmla="*/ 7848 h 9985"/>
                    <a:gd name="connsiteX55" fmla="*/ 5519 w 10000"/>
                    <a:gd name="connsiteY55" fmla="*/ 7798 h 9985"/>
                    <a:gd name="connsiteX56" fmla="*/ 5389 w 10000"/>
                    <a:gd name="connsiteY56" fmla="*/ 7749 h 9985"/>
                    <a:gd name="connsiteX57" fmla="*/ 5389 w 10000"/>
                    <a:gd name="connsiteY57" fmla="*/ 7749 h 9985"/>
                    <a:gd name="connsiteX58" fmla="*/ 7729 w 10000"/>
                    <a:gd name="connsiteY58" fmla="*/ 7732 h 9985"/>
                    <a:gd name="connsiteX59" fmla="*/ 10000 w 10000"/>
                    <a:gd name="connsiteY59" fmla="*/ 7895 h 9985"/>
                    <a:gd name="connsiteX60" fmla="*/ 10000 w 10000"/>
                    <a:gd name="connsiteY60" fmla="*/ 6412 h 9985"/>
                    <a:gd name="connsiteX61" fmla="*/ 10000 w 10000"/>
                    <a:gd name="connsiteY61" fmla="*/ 6412 h 9985"/>
                    <a:gd name="connsiteX62" fmla="*/ 7404 w 10000"/>
                    <a:gd name="connsiteY62" fmla="*/ 6068 h 9985"/>
                    <a:gd name="connsiteX63" fmla="*/ 5975 w 10000"/>
                    <a:gd name="connsiteY63" fmla="*/ 5873 h 9985"/>
                    <a:gd name="connsiteX64" fmla="*/ 5975 w 10000"/>
                    <a:gd name="connsiteY64" fmla="*/ 5873 h 9985"/>
                    <a:gd name="connsiteX65" fmla="*/ 5975 w 10000"/>
                    <a:gd name="connsiteY65" fmla="*/ 5857 h 9985"/>
                    <a:gd name="connsiteX66" fmla="*/ 5975 w 10000"/>
                    <a:gd name="connsiteY66" fmla="*/ 5759 h 9985"/>
                    <a:gd name="connsiteX67" fmla="*/ 5975 w 10000"/>
                    <a:gd name="connsiteY67" fmla="*/ 5759 h 9985"/>
                    <a:gd name="connsiteX68" fmla="*/ 5779 w 10000"/>
                    <a:gd name="connsiteY68" fmla="*/ 5643 h 9985"/>
                    <a:gd name="connsiteX69" fmla="*/ 5389 w 10000"/>
                    <a:gd name="connsiteY69" fmla="*/ 5465 h 9985"/>
                    <a:gd name="connsiteX70" fmla="*/ 4545 w 10000"/>
                    <a:gd name="connsiteY70" fmla="*/ 5122 h 9985"/>
                    <a:gd name="connsiteX71" fmla="*/ 4545 w 10000"/>
                    <a:gd name="connsiteY71" fmla="*/ 5122 h 9985"/>
                    <a:gd name="connsiteX72" fmla="*/ 4352 w 10000"/>
                    <a:gd name="connsiteY72" fmla="*/ 5073 h 9985"/>
                    <a:gd name="connsiteX73" fmla="*/ 4026 w 10000"/>
                    <a:gd name="connsiteY73" fmla="*/ 5008 h 9985"/>
                    <a:gd name="connsiteX74" fmla="*/ 3052 w 10000"/>
                    <a:gd name="connsiteY74" fmla="*/ 4861 h 9985"/>
                    <a:gd name="connsiteX75" fmla="*/ 1689 w 10000"/>
                    <a:gd name="connsiteY75" fmla="*/ 4683 h 9985"/>
                    <a:gd name="connsiteX76" fmla="*/ 1689 w 10000"/>
                    <a:gd name="connsiteY76" fmla="*/ 4683 h 9985"/>
                    <a:gd name="connsiteX77" fmla="*/ 1103 w 10000"/>
                    <a:gd name="connsiteY77" fmla="*/ 4665 h 9985"/>
                    <a:gd name="connsiteX78" fmla="*/ 650 w 10000"/>
                    <a:gd name="connsiteY78" fmla="*/ 4648 h 9985"/>
                    <a:gd name="connsiteX79" fmla="*/ 521 w 10000"/>
                    <a:gd name="connsiteY79" fmla="*/ 4632 h 9985"/>
                    <a:gd name="connsiteX80" fmla="*/ 390 w 10000"/>
                    <a:gd name="connsiteY80" fmla="*/ 4617 h 9985"/>
                    <a:gd name="connsiteX81" fmla="*/ 390 w 10000"/>
                    <a:gd name="connsiteY81" fmla="*/ 4617 h 9985"/>
                    <a:gd name="connsiteX82" fmla="*/ 261 w 10000"/>
                    <a:gd name="connsiteY82" fmla="*/ 4550 h 9985"/>
                    <a:gd name="connsiteX83" fmla="*/ 65 w 10000"/>
                    <a:gd name="connsiteY83" fmla="*/ 4438 h 9985"/>
                    <a:gd name="connsiteX84" fmla="*/ 0 w 10000"/>
                    <a:gd name="connsiteY84" fmla="*/ 4372 h 9985"/>
                    <a:gd name="connsiteX85" fmla="*/ 0 w 10000"/>
                    <a:gd name="connsiteY85" fmla="*/ 4306 h 9985"/>
                    <a:gd name="connsiteX86" fmla="*/ 0 w 10000"/>
                    <a:gd name="connsiteY86" fmla="*/ 4258 h 9985"/>
                    <a:gd name="connsiteX87" fmla="*/ 131 w 10000"/>
                    <a:gd name="connsiteY87" fmla="*/ 4208 h 9985"/>
                    <a:gd name="connsiteX88" fmla="*/ 131 w 10000"/>
                    <a:gd name="connsiteY88" fmla="*/ 4208 h 9985"/>
                    <a:gd name="connsiteX89" fmla="*/ 455 w 10000"/>
                    <a:gd name="connsiteY89" fmla="*/ 4127 h 9985"/>
                    <a:gd name="connsiteX90" fmla="*/ 779 w 10000"/>
                    <a:gd name="connsiteY90" fmla="*/ 4047 h 9985"/>
                    <a:gd name="connsiteX91" fmla="*/ 975 w 10000"/>
                    <a:gd name="connsiteY91" fmla="*/ 3998 h 9985"/>
                    <a:gd name="connsiteX92" fmla="*/ 1103 w 10000"/>
                    <a:gd name="connsiteY92" fmla="*/ 3948 h 9985"/>
                    <a:gd name="connsiteX93" fmla="*/ 1103 w 10000"/>
                    <a:gd name="connsiteY93" fmla="*/ 3882 h 9985"/>
                    <a:gd name="connsiteX94" fmla="*/ 1103 w 10000"/>
                    <a:gd name="connsiteY94" fmla="*/ 3801 h 9985"/>
                    <a:gd name="connsiteX95" fmla="*/ 1103 w 10000"/>
                    <a:gd name="connsiteY95" fmla="*/ 3801 h 9985"/>
                    <a:gd name="connsiteX96" fmla="*/ 845 w 10000"/>
                    <a:gd name="connsiteY96" fmla="*/ 3572 h 9985"/>
                    <a:gd name="connsiteX97" fmla="*/ 521 w 10000"/>
                    <a:gd name="connsiteY97" fmla="*/ 3263 h 9985"/>
                    <a:gd name="connsiteX98" fmla="*/ 261 w 10000"/>
                    <a:gd name="connsiteY98" fmla="*/ 2985 h 9985"/>
                    <a:gd name="connsiteX99" fmla="*/ 195 w 10000"/>
                    <a:gd name="connsiteY99" fmla="*/ 2904 h 9985"/>
                    <a:gd name="connsiteX100" fmla="*/ 195 w 10000"/>
                    <a:gd name="connsiteY100" fmla="*/ 2871 h 9985"/>
                    <a:gd name="connsiteX101" fmla="*/ 261 w 10000"/>
                    <a:gd name="connsiteY101" fmla="*/ 2854 h 9985"/>
                    <a:gd name="connsiteX102" fmla="*/ 261 w 10000"/>
                    <a:gd name="connsiteY102" fmla="*/ 2854 h 9985"/>
                    <a:gd name="connsiteX103" fmla="*/ 650 w 10000"/>
                    <a:gd name="connsiteY103" fmla="*/ 2839 h 9985"/>
                    <a:gd name="connsiteX104" fmla="*/ 908 w 10000"/>
                    <a:gd name="connsiteY104" fmla="*/ 2839 h 9985"/>
                    <a:gd name="connsiteX105" fmla="*/ 1103 w 10000"/>
                    <a:gd name="connsiteY105" fmla="*/ 2854 h 9985"/>
                    <a:gd name="connsiteX106" fmla="*/ 1103 w 10000"/>
                    <a:gd name="connsiteY106" fmla="*/ 2854 h 9985"/>
                    <a:gd name="connsiteX107" fmla="*/ 1168 w 10000"/>
                    <a:gd name="connsiteY107" fmla="*/ 2854 h 9985"/>
                    <a:gd name="connsiteX108" fmla="*/ 1235 w 10000"/>
                    <a:gd name="connsiteY108" fmla="*/ 2823 h 9985"/>
                    <a:gd name="connsiteX109" fmla="*/ 1559 w 10000"/>
                    <a:gd name="connsiteY109" fmla="*/ 2725 h 9985"/>
                    <a:gd name="connsiteX110" fmla="*/ 2402 w 10000"/>
                    <a:gd name="connsiteY110" fmla="*/ 2397 h 9985"/>
                    <a:gd name="connsiteX111" fmla="*/ 3507 w 10000"/>
                    <a:gd name="connsiteY111" fmla="*/ 1927 h 9985"/>
                    <a:gd name="connsiteX112" fmla="*/ 3507 w 10000"/>
                    <a:gd name="connsiteY112" fmla="*/ 1927 h 9985"/>
                    <a:gd name="connsiteX113" fmla="*/ 3507 w 10000"/>
                    <a:gd name="connsiteY113" fmla="*/ 1860 h 9985"/>
                    <a:gd name="connsiteX114" fmla="*/ 3507 w 10000"/>
                    <a:gd name="connsiteY114" fmla="*/ 1710 h 9985"/>
                    <a:gd name="connsiteX115" fmla="*/ 3573 w 10000"/>
                    <a:gd name="connsiteY115" fmla="*/ 1615 h 9985"/>
                    <a:gd name="connsiteX116" fmla="*/ 3702 w 10000"/>
                    <a:gd name="connsiteY116" fmla="*/ 1533 h 9985"/>
                    <a:gd name="connsiteX117" fmla="*/ 3896 w 10000"/>
                    <a:gd name="connsiteY117" fmla="*/ 1436 h 9985"/>
                    <a:gd name="connsiteX118" fmla="*/ 4156 w 10000"/>
                    <a:gd name="connsiteY118" fmla="*/ 1355 h 9985"/>
                    <a:gd name="connsiteX119" fmla="*/ 4156 w 10000"/>
                    <a:gd name="connsiteY119" fmla="*/ 1355 h 9985"/>
                    <a:gd name="connsiteX120" fmla="*/ 4806 w 10000"/>
                    <a:gd name="connsiteY120" fmla="*/ 1192 h 9985"/>
                    <a:gd name="connsiteX121" fmla="*/ 5455 w 10000"/>
                    <a:gd name="connsiteY121" fmla="*/ 978 h 9985"/>
                    <a:gd name="connsiteX122" fmla="*/ 6104 w 10000"/>
                    <a:gd name="connsiteY122" fmla="*/ 783 h 9985"/>
                    <a:gd name="connsiteX123" fmla="*/ 6559 w 10000"/>
                    <a:gd name="connsiteY123" fmla="*/ 605 h 9985"/>
                    <a:gd name="connsiteX124" fmla="*/ 6559 w 10000"/>
                    <a:gd name="connsiteY124" fmla="*/ 605 h 9985"/>
                    <a:gd name="connsiteX125" fmla="*/ 6882 w 10000"/>
                    <a:gd name="connsiteY125" fmla="*/ 441 h 9985"/>
                    <a:gd name="connsiteX126" fmla="*/ 7273 w 10000"/>
                    <a:gd name="connsiteY126" fmla="*/ 245 h 9985"/>
                    <a:gd name="connsiteX127" fmla="*/ 7663 w 10000"/>
                    <a:gd name="connsiteY127" fmla="*/ 97 h 9985"/>
                    <a:gd name="connsiteX128" fmla="*/ 7856 w 10000"/>
                    <a:gd name="connsiteY128" fmla="*/ 30 h 9985"/>
                    <a:gd name="connsiteX129" fmla="*/ 8051 w 10000"/>
                    <a:gd name="connsiteY129" fmla="*/ 15 h 9985"/>
                    <a:gd name="connsiteX130" fmla="*/ 8051 w 10000"/>
                    <a:gd name="connsiteY130" fmla="*/ 15 h 9985"/>
                    <a:gd name="connsiteX131" fmla="*/ 8442 w 10000"/>
                    <a:gd name="connsiteY131" fmla="*/ 0 h 9985"/>
                    <a:gd name="connsiteX132" fmla="*/ 8961 w 10000"/>
                    <a:gd name="connsiteY132" fmla="*/ 0 h 9985"/>
                    <a:gd name="connsiteX133" fmla="*/ 10000 w 10000"/>
                    <a:gd name="connsiteY133" fmla="*/ 15 h 9985"/>
                    <a:gd name="connsiteX134" fmla="*/ 10000 w 10000"/>
                    <a:gd name="connsiteY134" fmla="*/ 9985 h 9985"/>
                    <a:gd name="connsiteX135" fmla="*/ 9676 w 10000"/>
                    <a:gd name="connsiteY135" fmla="*/ 9968 h 9985"/>
                    <a:gd name="connsiteX136" fmla="*/ 9287 w 10000"/>
                    <a:gd name="connsiteY136" fmla="*/ 9985 h 9985"/>
                    <a:gd name="connsiteX137" fmla="*/ 9287 w 10000"/>
                    <a:gd name="connsiteY137" fmla="*/ 9985 h 9985"/>
                    <a:gd name="connsiteX138" fmla="*/ 8898 w 10000"/>
                    <a:gd name="connsiteY138" fmla="*/ 9985 h 9985"/>
                    <a:gd name="connsiteX139" fmla="*/ 8506 w 10000"/>
                    <a:gd name="connsiteY139" fmla="*/ 9935 h 9985"/>
                    <a:gd name="connsiteX140" fmla="*/ 8181 w 10000"/>
                    <a:gd name="connsiteY140" fmla="*/ 9806 h 9985"/>
                    <a:gd name="connsiteX141" fmla="*/ 7404 w 10000"/>
                    <a:gd name="connsiteY141" fmla="*/ 9511 h 9985"/>
                    <a:gd name="connsiteX142" fmla="*/ 5584 w 10000"/>
                    <a:gd name="connsiteY142" fmla="*/ 9479 h 9985"/>
                    <a:gd name="connsiteX143" fmla="*/ 5389 w 10000"/>
                    <a:gd name="connsiteY143" fmla="*/ 9153 h 9985"/>
                    <a:gd name="connsiteX144" fmla="*/ 5389 w 10000"/>
                    <a:gd name="connsiteY144" fmla="*/ 9087 h 9985"/>
                    <a:gd name="connsiteX145" fmla="*/ 5259 w 10000"/>
                    <a:gd name="connsiteY145" fmla="*/ 9006 h 9985"/>
                    <a:gd name="connsiteX146" fmla="*/ 5195 w 10000"/>
                    <a:gd name="connsiteY146" fmla="*/ 8991 h 9985"/>
                    <a:gd name="connsiteX147" fmla="*/ 4026 w 10000"/>
                    <a:gd name="connsiteY147" fmla="*/ 9104 h 9985"/>
                    <a:gd name="connsiteX148" fmla="*/ 3702 w 10000"/>
                    <a:gd name="connsiteY148" fmla="*/ 9133 h 9985"/>
                    <a:gd name="connsiteX149" fmla="*/ 3247 w 10000"/>
                    <a:gd name="connsiteY149" fmla="*/ 8973 h 9985"/>
                    <a:gd name="connsiteX150" fmla="*/ 3247 w 10000"/>
                    <a:gd name="connsiteY150" fmla="*/ 8973 h 9985"/>
                    <a:gd name="connsiteX151" fmla="*/ 3117 w 10000"/>
                    <a:gd name="connsiteY151" fmla="*/ 8794 h 9985"/>
                    <a:gd name="connsiteX152" fmla="*/ 3117 w 10000"/>
                    <a:gd name="connsiteY152" fmla="*/ 8794 h 9985"/>
                    <a:gd name="connsiteX153" fmla="*/ 3312 w 10000"/>
                    <a:gd name="connsiteY153" fmla="*/ 8743 h 9985"/>
                    <a:gd name="connsiteX154" fmla="*/ 3443 w 10000"/>
                    <a:gd name="connsiteY154" fmla="*/ 8727 h 9985"/>
                    <a:gd name="connsiteX155" fmla="*/ 2661 w 10000"/>
                    <a:gd name="connsiteY155" fmla="*/ 8743 h 9985"/>
                    <a:gd name="connsiteX0" fmla="*/ 2661 w 10000"/>
                    <a:gd name="connsiteY0" fmla="*/ 8756 h 10000"/>
                    <a:gd name="connsiteX1" fmla="*/ 10000 w 10000"/>
                    <a:gd name="connsiteY1" fmla="*/ 9983 h 10000"/>
                    <a:gd name="connsiteX2" fmla="*/ 9091 w 10000"/>
                    <a:gd name="connsiteY2" fmla="*/ 10000 h 10000"/>
                    <a:gd name="connsiteX3" fmla="*/ 8765 w 10000"/>
                    <a:gd name="connsiteY3" fmla="*/ 10000 h 10000"/>
                    <a:gd name="connsiteX4" fmla="*/ 8636 w 10000"/>
                    <a:gd name="connsiteY4" fmla="*/ 9983 h 10000"/>
                    <a:gd name="connsiteX5" fmla="*/ 8571 w 10000"/>
                    <a:gd name="connsiteY5" fmla="*/ 9965 h 10000"/>
                    <a:gd name="connsiteX6" fmla="*/ 8571 w 10000"/>
                    <a:gd name="connsiteY6" fmla="*/ 9965 h 10000"/>
                    <a:gd name="connsiteX7" fmla="*/ 8181 w 10000"/>
                    <a:gd name="connsiteY7" fmla="*/ 9771 h 10000"/>
                    <a:gd name="connsiteX8" fmla="*/ 7856 w 10000"/>
                    <a:gd name="connsiteY8" fmla="*/ 9591 h 10000"/>
                    <a:gd name="connsiteX9" fmla="*/ 7856 w 10000"/>
                    <a:gd name="connsiteY9" fmla="*/ 9591 h 10000"/>
                    <a:gd name="connsiteX10" fmla="*/ 7729 w 10000"/>
                    <a:gd name="connsiteY10" fmla="*/ 9559 h 10000"/>
                    <a:gd name="connsiteX11" fmla="*/ 7533 w 10000"/>
                    <a:gd name="connsiteY11" fmla="*/ 9525 h 10000"/>
                    <a:gd name="connsiteX12" fmla="*/ 7013 w 10000"/>
                    <a:gd name="connsiteY12" fmla="*/ 9509 h 10000"/>
                    <a:gd name="connsiteX13" fmla="*/ 6364 w 10000"/>
                    <a:gd name="connsiteY13" fmla="*/ 9493 h 10000"/>
                    <a:gd name="connsiteX14" fmla="*/ 5779 w 10000"/>
                    <a:gd name="connsiteY14" fmla="*/ 9493 h 10000"/>
                    <a:gd name="connsiteX15" fmla="*/ 5779 w 10000"/>
                    <a:gd name="connsiteY15" fmla="*/ 9493 h 10000"/>
                    <a:gd name="connsiteX16" fmla="*/ 5519 w 10000"/>
                    <a:gd name="connsiteY16" fmla="*/ 9474 h 10000"/>
                    <a:gd name="connsiteX17" fmla="*/ 5389 w 10000"/>
                    <a:gd name="connsiteY17" fmla="*/ 9444 h 10000"/>
                    <a:gd name="connsiteX18" fmla="*/ 5324 w 10000"/>
                    <a:gd name="connsiteY18" fmla="*/ 9409 h 10000"/>
                    <a:gd name="connsiteX19" fmla="*/ 5389 w 10000"/>
                    <a:gd name="connsiteY19" fmla="*/ 9214 h 10000"/>
                    <a:gd name="connsiteX20" fmla="*/ 5455 w 10000"/>
                    <a:gd name="connsiteY20" fmla="*/ 9147 h 10000"/>
                    <a:gd name="connsiteX21" fmla="*/ 5389 w 10000"/>
                    <a:gd name="connsiteY21" fmla="*/ 9069 h 10000"/>
                    <a:gd name="connsiteX22" fmla="*/ 5389 w 10000"/>
                    <a:gd name="connsiteY22" fmla="*/ 9069 h 10000"/>
                    <a:gd name="connsiteX23" fmla="*/ 5324 w 10000"/>
                    <a:gd name="connsiteY23" fmla="*/ 9020 h 10000"/>
                    <a:gd name="connsiteX24" fmla="*/ 5259 w 10000"/>
                    <a:gd name="connsiteY24" fmla="*/ 8986 h 10000"/>
                    <a:gd name="connsiteX25" fmla="*/ 5128 w 10000"/>
                    <a:gd name="connsiteY25" fmla="*/ 8986 h 10000"/>
                    <a:gd name="connsiteX26" fmla="*/ 4936 w 10000"/>
                    <a:gd name="connsiteY26" fmla="*/ 9005 h 10000"/>
                    <a:gd name="connsiteX27" fmla="*/ 4545 w 10000"/>
                    <a:gd name="connsiteY27" fmla="*/ 9052 h 10000"/>
                    <a:gd name="connsiteX28" fmla="*/ 4026 w 10000"/>
                    <a:gd name="connsiteY28" fmla="*/ 9133 h 10000"/>
                    <a:gd name="connsiteX29" fmla="*/ 4026 w 10000"/>
                    <a:gd name="connsiteY29" fmla="*/ 9133 h 10000"/>
                    <a:gd name="connsiteX30" fmla="*/ 3702 w 10000"/>
                    <a:gd name="connsiteY30" fmla="*/ 9147 h 10000"/>
                    <a:gd name="connsiteX31" fmla="*/ 3573 w 10000"/>
                    <a:gd name="connsiteY31" fmla="*/ 9147 h 10000"/>
                    <a:gd name="connsiteX32" fmla="*/ 3507 w 10000"/>
                    <a:gd name="connsiteY32" fmla="*/ 9133 h 10000"/>
                    <a:gd name="connsiteX33" fmla="*/ 3247 w 10000"/>
                    <a:gd name="connsiteY33" fmla="*/ 8986 h 10000"/>
                    <a:gd name="connsiteX34" fmla="*/ 3247 w 10000"/>
                    <a:gd name="connsiteY34" fmla="*/ 8986 h 10000"/>
                    <a:gd name="connsiteX35" fmla="*/ 3117 w 10000"/>
                    <a:gd name="connsiteY35" fmla="*/ 8938 h 10000"/>
                    <a:gd name="connsiteX36" fmla="*/ 3117 w 10000"/>
                    <a:gd name="connsiteY36" fmla="*/ 8888 h 10000"/>
                    <a:gd name="connsiteX37" fmla="*/ 3117 w 10000"/>
                    <a:gd name="connsiteY37" fmla="*/ 8855 h 10000"/>
                    <a:gd name="connsiteX38" fmla="*/ 3184 w 10000"/>
                    <a:gd name="connsiteY38" fmla="*/ 8822 h 10000"/>
                    <a:gd name="connsiteX39" fmla="*/ 3312 w 10000"/>
                    <a:gd name="connsiteY39" fmla="*/ 8756 h 10000"/>
                    <a:gd name="connsiteX40" fmla="*/ 3443 w 10000"/>
                    <a:gd name="connsiteY40" fmla="*/ 8740 h 10000"/>
                    <a:gd name="connsiteX41" fmla="*/ 3443 w 10000"/>
                    <a:gd name="connsiteY41" fmla="*/ 8740 h 10000"/>
                    <a:gd name="connsiteX42" fmla="*/ 3443 w 10000"/>
                    <a:gd name="connsiteY42" fmla="*/ 8725 h 10000"/>
                    <a:gd name="connsiteX43" fmla="*/ 3507 w 10000"/>
                    <a:gd name="connsiteY43" fmla="*/ 8708 h 10000"/>
                    <a:gd name="connsiteX44" fmla="*/ 7646 w 10000"/>
                    <a:gd name="connsiteY44" fmla="*/ 8456 h 10000"/>
                    <a:gd name="connsiteX45" fmla="*/ 8116 w 10000"/>
                    <a:gd name="connsiteY45" fmla="*/ 8464 h 10000"/>
                    <a:gd name="connsiteX46" fmla="*/ 8116 w 10000"/>
                    <a:gd name="connsiteY46" fmla="*/ 8464 h 10000"/>
                    <a:gd name="connsiteX47" fmla="*/ 8442 w 10000"/>
                    <a:gd name="connsiteY47" fmla="*/ 8431 h 10000"/>
                    <a:gd name="connsiteX48" fmla="*/ 8702 w 10000"/>
                    <a:gd name="connsiteY48" fmla="*/ 8350 h 10000"/>
                    <a:gd name="connsiteX49" fmla="*/ 8636 w 10000"/>
                    <a:gd name="connsiteY49" fmla="*/ 8316 h 10000"/>
                    <a:gd name="connsiteX50" fmla="*/ 8636 w 10000"/>
                    <a:gd name="connsiteY50" fmla="*/ 8285 h 10000"/>
                    <a:gd name="connsiteX51" fmla="*/ 8312 w 10000"/>
                    <a:gd name="connsiteY51" fmla="*/ 8202 h 10000"/>
                    <a:gd name="connsiteX52" fmla="*/ 5975 w 10000"/>
                    <a:gd name="connsiteY52" fmla="*/ 7907 h 10000"/>
                    <a:gd name="connsiteX53" fmla="*/ 5975 w 10000"/>
                    <a:gd name="connsiteY53" fmla="*/ 7907 h 10000"/>
                    <a:gd name="connsiteX54" fmla="*/ 5714 w 10000"/>
                    <a:gd name="connsiteY54" fmla="*/ 7860 h 10000"/>
                    <a:gd name="connsiteX55" fmla="*/ 5519 w 10000"/>
                    <a:gd name="connsiteY55" fmla="*/ 7810 h 10000"/>
                    <a:gd name="connsiteX56" fmla="*/ 5389 w 10000"/>
                    <a:gd name="connsiteY56" fmla="*/ 7761 h 10000"/>
                    <a:gd name="connsiteX57" fmla="*/ 5389 w 10000"/>
                    <a:gd name="connsiteY57" fmla="*/ 7761 h 10000"/>
                    <a:gd name="connsiteX58" fmla="*/ 7729 w 10000"/>
                    <a:gd name="connsiteY58" fmla="*/ 7744 h 10000"/>
                    <a:gd name="connsiteX59" fmla="*/ 10000 w 10000"/>
                    <a:gd name="connsiteY59" fmla="*/ 7907 h 10000"/>
                    <a:gd name="connsiteX60" fmla="*/ 10000 w 10000"/>
                    <a:gd name="connsiteY60" fmla="*/ 6422 h 10000"/>
                    <a:gd name="connsiteX61" fmla="*/ 10000 w 10000"/>
                    <a:gd name="connsiteY61" fmla="*/ 6422 h 10000"/>
                    <a:gd name="connsiteX62" fmla="*/ 7404 w 10000"/>
                    <a:gd name="connsiteY62" fmla="*/ 6077 h 10000"/>
                    <a:gd name="connsiteX63" fmla="*/ 5975 w 10000"/>
                    <a:gd name="connsiteY63" fmla="*/ 5882 h 10000"/>
                    <a:gd name="connsiteX64" fmla="*/ 5975 w 10000"/>
                    <a:gd name="connsiteY64" fmla="*/ 5882 h 10000"/>
                    <a:gd name="connsiteX65" fmla="*/ 5975 w 10000"/>
                    <a:gd name="connsiteY65" fmla="*/ 5866 h 10000"/>
                    <a:gd name="connsiteX66" fmla="*/ 5975 w 10000"/>
                    <a:gd name="connsiteY66" fmla="*/ 5768 h 10000"/>
                    <a:gd name="connsiteX67" fmla="*/ 5975 w 10000"/>
                    <a:gd name="connsiteY67" fmla="*/ 5768 h 10000"/>
                    <a:gd name="connsiteX68" fmla="*/ 5779 w 10000"/>
                    <a:gd name="connsiteY68" fmla="*/ 5651 h 10000"/>
                    <a:gd name="connsiteX69" fmla="*/ 5389 w 10000"/>
                    <a:gd name="connsiteY69" fmla="*/ 5473 h 10000"/>
                    <a:gd name="connsiteX70" fmla="*/ 4545 w 10000"/>
                    <a:gd name="connsiteY70" fmla="*/ 5130 h 10000"/>
                    <a:gd name="connsiteX71" fmla="*/ 4545 w 10000"/>
                    <a:gd name="connsiteY71" fmla="*/ 5130 h 10000"/>
                    <a:gd name="connsiteX72" fmla="*/ 4352 w 10000"/>
                    <a:gd name="connsiteY72" fmla="*/ 5081 h 10000"/>
                    <a:gd name="connsiteX73" fmla="*/ 4026 w 10000"/>
                    <a:gd name="connsiteY73" fmla="*/ 5016 h 10000"/>
                    <a:gd name="connsiteX74" fmla="*/ 3052 w 10000"/>
                    <a:gd name="connsiteY74" fmla="*/ 4868 h 10000"/>
                    <a:gd name="connsiteX75" fmla="*/ 1689 w 10000"/>
                    <a:gd name="connsiteY75" fmla="*/ 4690 h 10000"/>
                    <a:gd name="connsiteX76" fmla="*/ 1689 w 10000"/>
                    <a:gd name="connsiteY76" fmla="*/ 4690 h 10000"/>
                    <a:gd name="connsiteX77" fmla="*/ 1103 w 10000"/>
                    <a:gd name="connsiteY77" fmla="*/ 4672 h 10000"/>
                    <a:gd name="connsiteX78" fmla="*/ 650 w 10000"/>
                    <a:gd name="connsiteY78" fmla="*/ 4655 h 10000"/>
                    <a:gd name="connsiteX79" fmla="*/ 521 w 10000"/>
                    <a:gd name="connsiteY79" fmla="*/ 4639 h 10000"/>
                    <a:gd name="connsiteX80" fmla="*/ 390 w 10000"/>
                    <a:gd name="connsiteY80" fmla="*/ 4624 h 10000"/>
                    <a:gd name="connsiteX81" fmla="*/ 390 w 10000"/>
                    <a:gd name="connsiteY81" fmla="*/ 4624 h 10000"/>
                    <a:gd name="connsiteX82" fmla="*/ 261 w 10000"/>
                    <a:gd name="connsiteY82" fmla="*/ 4557 h 10000"/>
                    <a:gd name="connsiteX83" fmla="*/ 65 w 10000"/>
                    <a:gd name="connsiteY83" fmla="*/ 4445 h 10000"/>
                    <a:gd name="connsiteX84" fmla="*/ 0 w 10000"/>
                    <a:gd name="connsiteY84" fmla="*/ 4379 h 10000"/>
                    <a:gd name="connsiteX85" fmla="*/ 0 w 10000"/>
                    <a:gd name="connsiteY85" fmla="*/ 4312 h 10000"/>
                    <a:gd name="connsiteX86" fmla="*/ 0 w 10000"/>
                    <a:gd name="connsiteY86" fmla="*/ 4264 h 10000"/>
                    <a:gd name="connsiteX87" fmla="*/ 131 w 10000"/>
                    <a:gd name="connsiteY87" fmla="*/ 4214 h 10000"/>
                    <a:gd name="connsiteX88" fmla="*/ 131 w 10000"/>
                    <a:gd name="connsiteY88" fmla="*/ 4214 h 10000"/>
                    <a:gd name="connsiteX89" fmla="*/ 455 w 10000"/>
                    <a:gd name="connsiteY89" fmla="*/ 4133 h 10000"/>
                    <a:gd name="connsiteX90" fmla="*/ 779 w 10000"/>
                    <a:gd name="connsiteY90" fmla="*/ 4053 h 10000"/>
                    <a:gd name="connsiteX91" fmla="*/ 975 w 10000"/>
                    <a:gd name="connsiteY91" fmla="*/ 4004 h 10000"/>
                    <a:gd name="connsiteX92" fmla="*/ 1103 w 10000"/>
                    <a:gd name="connsiteY92" fmla="*/ 3954 h 10000"/>
                    <a:gd name="connsiteX93" fmla="*/ 1103 w 10000"/>
                    <a:gd name="connsiteY93" fmla="*/ 3888 h 10000"/>
                    <a:gd name="connsiteX94" fmla="*/ 1103 w 10000"/>
                    <a:gd name="connsiteY94" fmla="*/ 3807 h 10000"/>
                    <a:gd name="connsiteX95" fmla="*/ 1103 w 10000"/>
                    <a:gd name="connsiteY95" fmla="*/ 3807 h 10000"/>
                    <a:gd name="connsiteX96" fmla="*/ 845 w 10000"/>
                    <a:gd name="connsiteY96" fmla="*/ 3577 h 10000"/>
                    <a:gd name="connsiteX97" fmla="*/ 521 w 10000"/>
                    <a:gd name="connsiteY97" fmla="*/ 3268 h 10000"/>
                    <a:gd name="connsiteX98" fmla="*/ 261 w 10000"/>
                    <a:gd name="connsiteY98" fmla="*/ 2989 h 10000"/>
                    <a:gd name="connsiteX99" fmla="*/ 195 w 10000"/>
                    <a:gd name="connsiteY99" fmla="*/ 2908 h 10000"/>
                    <a:gd name="connsiteX100" fmla="*/ 195 w 10000"/>
                    <a:gd name="connsiteY100" fmla="*/ 2875 h 10000"/>
                    <a:gd name="connsiteX101" fmla="*/ 261 w 10000"/>
                    <a:gd name="connsiteY101" fmla="*/ 2858 h 10000"/>
                    <a:gd name="connsiteX102" fmla="*/ 261 w 10000"/>
                    <a:gd name="connsiteY102" fmla="*/ 2858 h 10000"/>
                    <a:gd name="connsiteX103" fmla="*/ 650 w 10000"/>
                    <a:gd name="connsiteY103" fmla="*/ 2843 h 10000"/>
                    <a:gd name="connsiteX104" fmla="*/ 908 w 10000"/>
                    <a:gd name="connsiteY104" fmla="*/ 2843 h 10000"/>
                    <a:gd name="connsiteX105" fmla="*/ 1103 w 10000"/>
                    <a:gd name="connsiteY105" fmla="*/ 2858 h 10000"/>
                    <a:gd name="connsiteX106" fmla="*/ 1103 w 10000"/>
                    <a:gd name="connsiteY106" fmla="*/ 2858 h 10000"/>
                    <a:gd name="connsiteX107" fmla="*/ 1168 w 10000"/>
                    <a:gd name="connsiteY107" fmla="*/ 2858 h 10000"/>
                    <a:gd name="connsiteX108" fmla="*/ 1235 w 10000"/>
                    <a:gd name="connsiteY108" fmla="*/ 2827 h 10000"/>
                    <a:gd name="connsiteX109" fmla="*/ 1559 w 10000"/>
                    <a:gd name="connsiteY109" fmla="*/ 2729 h 10000"/>
                    <a:gd name="connsiteX110" fmla="*/ 2402 w 10000"/>
                    <a:gd name="connsiteY110" fmla="*/ 2401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930 h 10000"/>
                    <a:gd name="connsiteX113" fmla="*/ 3507 w 10000"/>
                    <a:gd name="connsiteY113" fmla="*/ 1863 h 10000"/>
                    <a:gd name="connsiteX114" fmla="*/ 3507 w 10000"/>
                    <a:gd name="connsiteY114" fmla="*/ 1713 h 10000"/>
                    <a:gd name="connsiteX115" fmla="*/ 3573 w 10000"/>
                    <a:gd name="connsiteY115" fmla="*/ 1617 h 10000"/>
                    <a:gd name="connsiteX116" fmla="*/ 3702 w 10000"/>
                    <a:gd name="connsiteY116" fmla="*/ 1535 h 10000"/>
                    <a:gd name="connsiteX117" fmla="*/ 3896 w 10000"/>
                    <a:gd name="connsiteY117" fmla="*/ 1438 h 10000"/>
                    <a:gd name="connsiteX118" fmla="*/ 4156 w 10000"/>
                    <a:gd name="connsiteY118" fmla="*/ 1357 h 10000"/>
                    <a:gd name="connsiteX119" fmla="*/ 4156 w 10000"/>
                    <a:gd name="connsiteY119" fmla="*/ 1357 h 10000"/>
                    <a:gd name="connsiteX120" fmla="*/ 4806 w 10000"/>
                    <a:gd name="connsiteY120" fmla="*/ 1194 h 10000"/>
                    <a:gd name="connsiteX121" fmla="*/ 5455 w 10000"/>
                    <a:gd name="connsiteY121" fmla="*/ 979 h 10000"/>
                    <a:gd name="connsiteX122" fmla="*/ 6104 w 10000"/>
                    <a:gd name="connsiteY122" fmla="*/ 784 h 10000"/>
                    <a:gd name="connsiteX123" fmla="*/ 6559 w 10000"/>
                    <a:gd name="connsiteY123" fmla="*/ 606 h 10000"/>
                    <a:gd name="connsiteX124" fmla="*/ 6559 w 10000"/>
                    <a:gd name="connsiteY124" fmla="*/ 606 h 10000"/>
                    <a:gd name="connsiteX125" fmla="*/ 6882 w 10000"/>
                    <a:gd name="connsiteY125" fmla="*/ 442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10000 h 10000"/>
                    <a:gd name="connsiteX135" fmla="*/ 9676 w 10000"/>
                    <a:gd name="connsiteY135" fmla="*/ 9983 h 10000"/>
                    <a:gd name="connsiteX136" fmla="*/ 9287 w 10000"/>
                    <a:gd name="connsiteY136" fmla="*/ 10000 h 10000"/>
                    <a:gd name="connsiteX137" fmla="*/ 9287 w 10000"/>
                    <a:gd name="connsiteY137" fmla="*/ 10000 h 10000"/>
                    <a:gd name="connsiteX138" fmla="*/ 8506 w 10000"/>
                    <a:gd name="connsiteY138" fmla="*/ 9950 h 10000"/>
                    <a:gd name="connsiteX139" fmla="*/ 8181 w 10000"/>
                    <a:gd name="connsiteY139" fmla="*/ 9821 h 10000"/>
                    <a:gd name="connsiteX140" fmla="*/ 7404 w 10000"/>
                    <a:gd name="connsiteY140" fmla="*/ 9525 h 10000"/>
                    <a:gd name="connsiteX141" fmla="*/ 5584 w 10000"/>
                    <a:gd name="connsiteY141" fmla="*/ 9493 h 10000"/>
                    <a:gd name="connsiteX142" fmla="*/ 5389 w 10000"/>
                    <a:gd name="connsiteY142" fmla="*/ 9167 h 10000"/>
                    <a:gd name="connsiteX143" fmla="*/ 5389 w 10000"/>
                    <a:gd name="connsiteY143" fmla="*/ 9101 h 10000"/>
                    <a:gd name="connsiteX144" fmla="*/ 5259 w 10000"/>
                    <a:gd name="connsiteY144" fmla="*/ 9020 h 10000"/>
                    <a:gd name="connsiteX145" fmla="*/ 5195 w 10000"/>
                    <a:gd name="connsiteY145" fmla="*/ 9005 h 10000"/>
                    <a:gd name="connsiteX146" fmla="*/ 4026 w 10000"/>
                    <a:gd name="connsiteY146" fmla="*/ 9118 h 10000"/>
                    <a:gd name="connsiteX147" fmla="*/ 3702 w 10000"/>
                    <a:gd name="connsiteY147" fmla="*/ 9147 h 10000"/>
                    <a:gd name="connsiteX148" fmla="*/ 3247 w 10000"/>
                    <a:gd name="connsiteY148" fmla="*/ 8986 h 10000"/>
                    <a:gd name="connsiteX149" fmla="*/ 3247 w 10000"/>
                    <a:gd name="connsiteY149" fmla="*/ 8986 h 10000"/>
                    <a:gd name="connsiteX150" fmla="*/ 3117 w 10000"/>
                    <a:gd name="connsiteY150" fmla="*/ 8807 h 10000"/>
                    <a:gd name="connsiteX151" fmla="*/ 3117 w 10000"/>
                    <a:gd name="connsiteY151" fmla="*/ 8807 h 10000"/>
                    <a:gd name="connsiteX152" fmla="*/ 3312 w 10000"/>
                    <a:gd name="connsiteY152" fmla="*/ 8756 h 10000"/>
                    <a:gd name="connsiteX153" fmla="*/ 3443 w 10000"/>
                    <a:gd name="connsiteY153" fmla="*/ 8740 h 10000"/>
                    <a:gd name="connsiteX154" fmla="*/ 2661 w 10000"/>
                    <a:gd name="connsiteY154" fmla="*/ 8756 h 10000"/>
                    <a:gd name="connsiteX0" fmla="*/ 2661 w 10000"/>
                    <a:gd name="connsiteY0" fmla="*/ 8756 h 10000"/>
                    <a:gd name="connsiteX1" fmla="*/ 10000 w 10000"/>
                    <a:gd name="connsiteY1" fmla="*/ 9983 h 10000"/>
                    <a:gd name="connsiteX2" fmla="*/ 9091 w 10000"/>
                    <a:gd name="connsiteY2" fmla="*/ 10000 h 10000"/>
                    <a:gd name="connsiteX3" fmla="*/ 8765 w 10000"/>
                    <a:gd name="connsiteY3" fmla="*/ 10000 h 10000"/>
                    <a:gd name="connsiteX4" fmla="*/ 8636 w 10000"/>
                    <a:gd name="connsiteY4" fmla="*/ 9983 h 10000"/>
                    <a:gd name="connsiteX5" fmla="*/ 8571 w 10000"/>
                    <a:gd name="connsiteY5" fmla="*/ 9965 h 10000"/>
                    <a:gd name="connsiteX6" fmla="*/ 8571 w 10000"/>
                    <a:gd name="connsiteY6" fmla="*/ 9965 h 10000"/>
                    <a:gd name="connsiteX7" fmla="*/ 8181 w 10000"/>
                    <a:gd name="connsiteY7" fmla="*/ 9771 h 10000"/>
                    <a:gd name="connsiteX8" fmla="*/ 7856 w 10000"/>
                    <a:gd name="connsiteY8" fmla="*/ 9591 h 10000"/>
                    <a:gd name="connsiteX9" fmla="*/ 7856 w 10000"/>
                    <a:gd name="connsiteY9" fmla="*/ 9591 h 10000"/>
                    <a:gd name="connsiteX10" fmla="*/ 7729 w 10000"/>
                    <a:gd name="connsiteY10" fmla="*/ 9559 h 10000"/>
                    <a:gd name="connsiteX11" fmla="*/ 7533 w 10000"/>
                    <a:gd name="connsiteY11" fmla="*/ 9525 h 10000"/>
                    <a:gd name="connsiteX12" fmla="*/ 7013 w 10000"/>
                    <a:gd name="connsiteY12" fmla="*/ 9509 h 10000"/>
                    <a:gd name="connsiteX13" fmla="*/ 6364 w 10000"/>
                    <a:gd name="connsiteY13" fmla="*/ 9493 h 10000"/>
                    <a:gd name="connsiteX14" fmla="*/ 5779 w 10000"/>
                    <a:gd name="connsiteY14" fmla="*/ 9493 h 10000"/>
                    <a:gd name="connsiteX15" fmla="*/ 5779 w 10000"/>
                    <a:gd name="connsiteY15" fmla="*/ 9493 h 10000"/>
                    <a:gd name="connsiteX16" fmla="*/ 5519 w 10000"/>
                    <a:gd name="connsiteY16" fmla="*/ 9474 h 10000"/>
                    <a:gd name="connsiteX17" fmla="*/ 5389 w 10000"/>
                    <a:gd name="connsiteY17" fmla="*/ 9444 h 10000"/>
                    <a:gd name="connsiteX18" fmla="*/ 5324 w 10000"/>
                    <a:gd name="connsiteY18" fmla="*/ 9409 h 10000"/>
                    <a:gd name="connsiteX19" fmla="*/ 5389 w 10000"/>
                    <a:gd name="connsiteY19" fmla="*/ 9214 h 10000"/>
                    <a:gd name="connsiteX20" fmla="*/ 5455 w 10000"/>
                    <a:gd name="connsiteY20" fmla="*/ 9147 h 10000"/>
                    <a:gd name="connsiteX21" fmla="*/ 5389 w 10000"/>
                    <a:gd name="connsiteY21" fmla="*/ 9069 h 10000"/>
                    <a:gd name="connsiteX22" fmla="*/ 5389 w 10000"/>
                    <a:gd name="connsiteY22" fmla="*/ 9069 h 10000"/>
                    <a:gd name="connsiteX23" fmla="*/ 5324 w 10000"/>
                    <a:gd name="connsiteY23" fmla="*/ 9020 h 10000"/>
                    <a:gd name="connsiteX24" fmla="*/ 5259 w 10000"/>
                    <a:gd name="connsiteY24" fmla="*/ 8986 h 10000"/>
                    <a:gd name="connsiteX25" fmla="*/ 5128 w 10000"/>
                    <a:gd name="connsiteY25" fmla="*/ 8986 h 10000"/>
                    <a:gd name="connsiteX26" fmla="*/ 4936 w 10000"/>
                    <a:gd name="connsiteY26" fmla="*/ 9005 h 10000"/>
                    <a:gd name="connsiteX27" fmla="*/ 4545 w 10000"/>
                    <a:gd name="connsiteY27" fmla="*/ 9052 h 10000"/>
                    <a:gd name="connsiteX28" fmla="*/ 4026 w 10000"/>
                    <a:gd name="connsiteY28" fmla="*/ 9133 h 10000"/>
                    <a:gd name="connsiteX29" fmla="*/ 4026 w 10000"/>
                    <a:gd name="connsiteY29" fmla="*/ 9133 h 10000"/>
                    <a:gd name="connsiteX30" fmla="*/ 3702 w 10000"/>
                    <a:gd name="connsiteY30" fmla="*/ 9147 h 10000"/>
                    <a:gd name="connsiteX31" fmla="*/ 3573 w 10000"/>
                    <a:gd name="connsiteY31" fmla="*/ 9147 h 10000"/>
                    <a:gd name="connsiteX32" fmla="*/ 3507 w 10000"/>
                    <a:gd name="connsiteY32" fmla="*/ 9133 h 10000"/>
                    <a:gd name="connsiteX33" fmla="*/ 3247 w 10000"/>
                    <a:gd name="connsiteY33" fmla="*/ 8986 h 10000"/>
                    <a:gd name="connsiteX34" fmla="*/ 3247 w 10000"/>
                    <a:gd name="connsiteY34" fmla="*/ 8986 h 10000"/>
                    <a:gd name="connsiteX35" fmla="*/ 3117 w 10000"/>
                    <a:gd name="connsiteY35" fmla="*/ 8938 h 10000"/>
                    <a:gd name="connsiteX36" fmla="*/ 3117 w 10000"/>
                    <a:gd name="connsiteY36" fmla="*/ 8888 h 10000"/>
                    <a:gd name="connsiteX37" fmla="*/ 3117 w 10000"/>
                    <a:gd name="connsiteY37" fmla="*/ 8855 h 10000"/>
                    <a:gd name="connsiteX38" fmla="*/ 3184 w 10000"/>
                    <a:gd name="connsiteY38" fmla="*/ 8822 h 10000"/>
                    <a:gd name="connsiteX39" fmla="*/ 3312 w 10000"/>
                    <a:gd name="connsiteY39" fmla="*/ 8756 h 10000"/>
                    <a:gd name="connsiteX40" fmla="*/ 3443 w 10000"/>
                    <a:gd name="connsiteY40" fmla="*/ 8740 h 10000"/>
                    <a:gd name="connsiteX41" fmla="*/ 3443 w 10000"/>
                    <a:gd name="connsiteY41" fmla="*/ 8740 h 10000"/>
                    <a:gd name="connsiteX42" fmla="*/ 3443 w 10000"/>
                    <a:gd name="connsiteY42" fmla="*/ 8725 h 10000"/>
                    <a:gd name="connsiteX43" fmla="*/ 3507 w 10000"/>
                    <a:gd name="connsiteY43" fmla="*/ 8708 h 10000"/>
                    <a:gd name="connsiteX44" fmla="*/ 7646 w 10000"/>
                    <a:gd name="connsiteY44" fmla="*/ 8456 h 10000"/>
                    <a:gd name="connsiteX45" fmla="*/ 8116 w 10000"/>
                    <a:gd name="connsiteY45" fmla="*/ 8464 h 10000"/>
                    <a:gd name="connsiteX46" fmla="*/ 8116 w 10000"/>
                    <a:gd name="connsiteY46" fmla="*/ 8464 h 10000"/>
                    <a:gd name="connsiteX47" fmla="*/ 8442 w 10000"/>
                    <a:gd name="connsiteY47" fmla="*/ 8431 h 10000"/>
                    <a:gd name="connsiteX48" fmla="*/ 8702 w 10000"/>
                    <a:gd name="connsiteY48" fmla="*/ 8350 h 10000"/>
                    <a:gd name="connsiteX49" fmla="*/ 8636 w 10000"/>
                    <a:gd name="connsiteY49" fmla="*/ 8316 h 10000"/>
                    <a:gd name="connsiteX50" fmla="*/ 8636 w 10000"/>
                    <a:gd name="connsiteY50" fmla="*/ 8285 h 10000"/>
                    <a:gd name="connsiteX51" fmla="*/ 8312 w 10000"/>
                    <a:gd name="connsiteY51" fmla="*/ 8202 h 10000"/>
                    <a:gd name="connsiteX52" fmla="*/ 5975 w 10000"/>
                    <a:gd name="connsiteY52" fmla="*/ 7907 h 10000"/>
                    <a:gd name="connsiteX53" fmla="*/ 5975 w 10000"/>
                    <a:gd name="connsiteY53" fmla="*/ 7907 h 10000"/>
                    <a:gd name="connsiteX54" fmla="*/ 5714 w 10000"/>
                    <a:gd name="connsiteY54" fmla="*/ 7860 h 10000"/>
                    <a:gd name="connsiteX55" fmla="*/ 5519 w 10000"/>
                    <a:gd name="connsiteY55" fmla="*/ 7810 h 10000"/>
                    <a:gd name="connsiteX56" fmla="*/ 5389 w 10000"/>
                    <a:gd name="connsiteY56" fmla="*/ 7761 h 10000"/>
                    <a:gd name="connsiteX57" fmla="*/ 5389 w 10000"/>
                    <a:gd name="connsiteY57" fmla="*/ 7761 h 10000"/>
                    <a:gd name="connsiteX58" fmla="*/ 7729 w 10000"/>
                    <a:gd name="connsiteY58" fmla="*/ 7744 h 10000"/>
                    <a:gd name="connsiteX59" fmla="*/ 10000 w 10000"/>
                    <a:gd name="connsiteY59" fmla="*/ 7907 h 10000"/>
                    <a:gd name="connsiteX60" fmla="*/ 10000 w 10000"/>
                    <a:gd name="connsiteY60" fmla="*/ 6422 h 10000"/>
                    <a:gd name="connsiteX61" fmla="*/ 10000 w 10000"/>
                    <a:gd name="connsiteY61" fmla="*/ 6422 h 10000"/>
                    <a:gd name="connsiteX62" fmla="*/ 7404 w 10000"/>
                    <a:gd name="connsiteY62" fmla="*/ 6077 h 10000"/>
                    <a:gd name="connsiteX63" fmla="*/ 5975 w 10000"/>
                    <a:gd name="connsiteY63" fmla="*/ 5882 h 10000"/>
                    <a:gd name="connsiteX64" fmla="*/ 5975 w 10000"/>
                    <a:gd name="connsiteY64" fmla="*/ 5882 h 10000"/>
                    <a:gd name="connsiteX65" fmla="*/ 5975 w 10000"/>
                    <a:gd name="connsiteY65" fmla="*/ 5866 h 10000"/>
                    <a:gd name="connsiteX66" fmla="*/ 5975 w 10000"/>
                    <a:gd name="connsiteY66" fmla="*/ 5768 h 10000"/>
                    <a:gd name="connsiteX67" fmla="*/ 5975 w 10000"/>
                    <a:gd name="connsiteY67" fmla="*/ 5768 h 10000"/>
                    <a:gd name="connsiteX68" fmla="*/ 5779 w 10000"/>
                    <a:gd name="connsiteY68" fmla="*/ 5651 h 10000"/>
                    <a:gd name="connsiteX69" fmla="*/ 5389 w 10000"/>
                    <a:gd name="connsiteY69" fmla="*/ 5473 h 10000"/>
                    <a:gd name="connsiteX70" fmla="*/ 4545 w 10000"/>
                    <a:gd name="connsiteY70" fmla="*/ 5130 h 10000"/>
                    <a:gd name="connsiteX71" fmla="*/ 4545 w 10000"/>
                    <a:gd name="connsiteY71" fmla="*/ 5130 h 10000"/>
                    <a:gd name="connsiteX72" fmla="*/ 4352 w 10000"/>
                    <a:gd name="connsiteY72" fmla="*/ 5081 h 10000"/>
                    <a:gd name="connsiteX73" fmla="*/ 4026 w 10000"/>
                    <a:gd name="connsiteY73" fmla="*/ 5016 h 10000"/>
                    <a:gd name="connsiteX74" fmla="*/ 3052 w 10000"/>
                    <a:gd name="connsiteY74" fmla="*/ 4868 h 10000"/>
                    <a:gd name="connsiteX75" fmla="*/ 1689 w 10000"/>
                    <a:gd name="connsiteY75" fmla="*/ 4690 h 10000"/>
                    <a:gd name="connsiteX76" fmla="*/ 1689 w 10000"/>
                    <a:gd name="connsiteY76" fmla="*/ 4690 h 10000"/>
                    <a:gd name="connsiteX77" fmla="*/ 1103 w 10000"/>
                    <a:gd name="connsiteY77" fmla="*/ 4672 h 10000"/>
                    <a:gd name="connsiteX78" fmla="*/ 650 w 10000"/>
                    <a:gd name="connsiteY78" fmla="*/ 4655 h 10000"/>
                    <a:gd name="connsiteX79" fmla="*/ 521 w 10000"/>
                    <a:gd name="connsiteY79" fmla="*/ 4639 h 10000"/>
                    <a:gd name="connsiteX80" fmla="*/ 390 w 10000"/>
                    <a:gd name="connsiteY80" fmla="*/ 4624 h 10000"/>
                    <a:gd name="connsiteX81" fmla="*/ 390 w 10000"/>
                    <a:gd name="connsiteY81" fmla="*/ 4624 h 10000"/>
                    <a:gd name="connsiteX82" fmla="*/ 261 w 10000"/>
                    <a:gd name="connsiteY82" fmla="*/ 4557 h 10000"/>
                    <a:gd name="connsiteX83" fmla="*/ 65 w 10000"/>
                    <a:gd name="connsiteY83" fmla="*/ 4445 h 10000"/>
                    <a:gd name="connsiteX84" fmla="*/ 0 w 10000"/>
                    <a:gd name="connsiteY84" fmla="*/ 4379 h 10000"/>
                    <a:gd name="connsiteX85" fmla="*/ 0 w 10000"/>
                    <a:gd name="connsiteY85" fmla="*/ 4312 h 10000"/>
                    <a:gd name="connsiteX86" fmla="*/ 0 w 10000"/>
                    <a:gd name="connsiteY86" fmla="*/ 4264 h 10000"/>
                    <a:gd name="connsiteX87" fmla="*/ 131 w 10000"/>
                    <a:gd name="connsiteY87" fmla="*/ 4214 h 10000"/>
                    <a:gd name="connsiteX88" fmla="*/ 131 w 10000"/>
                    <a:gd name="connsiteY88" fmla="*/ 4214 h 10000"/>
                    <a:gd name="connsiteX89" fmla="*/ 455 w 10000"/>
                    <a:gd name="connsiteY89" fmla="*/ 4133 h 10000"/>
                    <a:gd name="connsiteX90" fmla="*/ 779 w 10000"/>
                    <a:gd name="connsiteY90" fmla="*/ 4053 h 10000"/>
                    <a:gd name="connsiteX91" fmla="*/ 975 w 10000"/>
                    <a:gd name="connsiteY91" fmla="*/ 4004 h 10000"/>
                    <a:gd name="connsiteX92" fmla="*/ 1103 w 10000"/>
                    <a:gd name="connsiteY92" fmla="*/ 3954 h 10000"/>
                    <a:gd name="connsiteX93" fmla="*/ 1103 w 10000"/>
                    <a:gd name="connsiteY93" fmla="*/ 3888 h 10000"/>
                    <a:gd name="connsiteX94" fmla="*/ 1103 w 10000"/>
                    <a:gd name="connsiteY94" fmla="*/ 3807 h 10000"/>
                    <a:gd name="connsiteX95" fmla="*/ 1103 w 10000"/>
                    <a:gd name="connsiteY95" fmla="*/ 3807 h 10000"/>
                    <a:gd name="connsiteX96" fmla="*/ 845 w 10000"/>
                    <a:gd name="connsiteY96" fmla="*/ 3577 h 10000"/>
                    <a:gd name="connsiteX97" fmla="*/ 521 w 10000"/>
                    <a:gd name="connsiteY97" fmla="*/ 3268 h 10000"/>
                    <a:gd name="connsiteX98" fmla="*/ 261 w 10000"/>
                    <a:gd name="connsiteY98" fmla="*/ 2989 h 10000"/>
                    <a:gd name="connsiteX99" fmla="*/ 195 w 10000"/>
                    <a:gd name="connsiteY99" fmla="*/ 2908 h 10000"/>
                    <a:gd name="connsiteX100" fmla="*/ 195 w 10000"/>
                    <a:gd name="connsiteY100" fmla="*/ 2875 h 10000"/>
                    <a:gd name="connsiteX101" fmla="*/ 261 w 10000"/>
                    <a:gd name="connsiteY101" fmla="*/ 2858 h 10000"/>
                    <a:gd name="connsiteX102" fmla="*/ 261 w 10000"/>
                    <a:gd name="connsiteY102" fmla="*/ 2858 h 10000"/>
                    <a:gd name="connsiteX103" fmla="*/ 650 w 10000"/>
                    <a:gd name="connsiteY103" fmla="*/ 2843 h 10000"/>
                    <a:gd name="connsiteX104" fmla="*/ 908 w 10000"/>
                    <a:gd name="connsiteY104" fmla="*/ 2843 h 10000"/>
                    <a:gd name="connsiteX105" fmla="*/ 1103 w 10000"/>
                    <a:gd name="connsiteY105" fmla="*/ 2858 h 10000"/>
                    <a:gd name="connsiteX106" fmla="*/ 1103 w 10000"/>
                    <a:gd name="connsiteY106" fmla="*/ 2858 h 10000"/>
                    <a:gd name="connsiteX107" fmla="*/ 1168 w 10000"/>
                    <a:gd name="connsiteY107" fmla="*/ 2858 h 10000"/>
                    <a:gd name="connsiteX108" fmla="*/ 1235 w 10000"/>
                    <a:gd name="connsiteY108" fmla="*/ 2827 h 10000"/>
                    <a:gd name="connsiteX109" fmla="*/ 1559 w 10000"/>
                    <a:gd name="connsiteY109" fmla="*/ 2729 h 10000"/>
                    <a:gd name="connsiteX110" fmla="*/ 2402 w 10000"/>
                    <a:gd name="connsiteY110" fmla="*/ 2401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930 h 10000"/>
                    <a:gd name="connsiteX113" fmla="*/ 3507 w 10000"/>
                    <a:gd name="connsiteY113" fmla="*/ 1863 h 10000"/>
                    <a:gd name="connsiteX114" fmla="*/ 3507 w 10000"/>
                    <a:gd name="connsiteY114" fmla="*/ 1713 h 10000"/>
                    <a:gd name="connsiteX115" fmla="*/ 3573 w 10000"/>
                    <a:gd name="connsiteY115" fmla="*/ 1617 h 10000"/>
                    <a:gd name="connsiteX116" fmla="*/ 3702 w 10000"/>
                    <a:gd name="connsiteY116" fmla="*/ 1535 h 10000"/>
                    <a:gd name="connsiteX117" fmla="*/ 3896 w 10000"/>
                    <a:gd name="connsiteY117" fmla="*/ 1438 h 10000"/>
                    <a:gd name="connsiteX118" fmla="*/ 4156 w 10000"/>
                    <a:gd name="connsiteY118" fmla="*/ 1357 h 10000"/>
                    <a:gd name="connsiteX119" fmla="*/ 4156 w 10000"/>
                    <a:gd name="connsiteY119" fmla="*/ 1357 h 10000"/>
                    <a:gd name="connsiteX120" fmla="*/ 4806 w 10000"/>
                    <a:gd name="connsiteY120" fmla="*/ 1194 h 10000"/>
                    <a:gd name="connsiteX121" fmla="*/ 5455 w 10000"/>
                    <a:gd name="connsiteY121" fmla="*/ 979 h 10000"/>
                    <a:gd name="connsiteX122" fmla="*/ 6104 w 10000"/>
                    <a:gd name="connsiteY122" fmla="*/ 784 h 10000"/>
                    <a:gd name="connsiteX123" fmla="*/ 6559 w 10000"/>
                    <a:gd name="connsiteY123" fmla="*/ 606 h 10000"/>
                    <a:gd name="connsiteX124" fmla="*/ 6559 w 10000"/>
                    <a:gd name="connsiteY124" fmla="*/ 606 h 10000"/>
                    <a:gd name="connsiteX125" fmla="*/ 6882 w 10000"/>
                    <a:gd name="connsiteY125" fmla="*/ 442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10000 h 10000"/>
                    <a:gd name="connsiteX135" fmla="*/ 9676 w 10000"/>
                    <a:gd name="connsiteY135" fmla="*/ 9983 h 10000"/>
                    <a:gd name="connsiteX136" fmla="*/ 9287 w 10000"/>
                    <a:gd name="connsiteY136" fmla="*/ 10000 h 10000"/>
                    <a:gd name="connsiteX137" fmla="*/ 8506 w 10000"/>
                    <a:gd name="connsiteY137" fmla="*/ 9950 h 10000"/>
                    <a:gd name="connsiteX138" fmla="*/ 8181 w 10000"/>
                    <a:gd name="connsiteY138" fmla="*/ 9821 h 10000"/>
                    <a:gd name="connsiteX139" fmla="*/ 7404 w 10000"/>
                    <a:gd name="connsiteY139" fmla="*/ 9525 h 10000"/>
                    <a:gd name="connsiteX140" fmla="*/ 5584 w 10000"/>
                    <a:gd name="connsiteY140" fmla="*/ 9493 h 10000"/>
                    <a:gd name="connsiteX141" fmla="*/ 5389 w 10000"/>
                    <a:gd name="connsiteY141" fmla="*/ 9167 h 10000"/>
                    <a:gd name="connsiteX142" fmla="*/ 5389 w 10000"/>
                    <a:gd name="connsiteY142" fmla="*/ 9101 h 10000"/>
                    <a:gd name="connsiteX143" fmla="*/ 5259 w 10000"/>
                    <a:gd name="connsiteY143" fmla="*/ 9020 h 10000"/>
                    <a:gd name="connsiteX144" fmla="*/ 5195 w 10000"/>
                    <a:gd name="connsiteY144" fmla="*/ 9005 h 10000"/>
                    <a:gd name="connsiteX145" fmla="*/ 4026 w 10000"/>
                    <a:gd name="connsiteY145" fmla="*/ 9118 h 10000"/>
                    <a:gd name="connsiteX146" fmla="*/ 3702 w 10000"/>
                    <a:gd name="connsiteY146" fmla="*/ 9147 h 10000"/>
                    <a:gd name="connsiteX147" fmla="*/ 3247 w 10000"/>
                    <a:gd name="connsiteY147" fmla="*/ 8986 h 10000"/>
                    <a:gd name="connsiteX148" fmla="*/ 3247 w 10000"/>
                    <a:gd name="connsiteY148" fmla="*/ 8986 h 10000"/>
                    <a:gd name="connsiteX149" fmla="*/ 3117 w 10000"/>
                    <a:gd name="connsiteY149" fmla="*/ 8807 h 10000"/>
                    <a:gd name="connsiteX150" fmla="*/ 3117 w 10000"/>
                    <a:gd name="connsiteY150" fmla="*/ 8807 h 10000"/>
                    <a:gd name="connsiteX151" fmla="*/ 3312 w 10000"/>
                    <a:gd name="connsiteY151" fmla="*/ 8756 h 10000"/>
                    <a:gd name="connsiteX152" fmla="*/ 3443 w 10000"/>
                    <a:gd name="connsiteY152" fmla="*/ 8740 h 10000"/>
                    <a:gd name="connsiteX153" fmla="*/ 2661 w 10000"/>
                    <a:gd name="connsiteY153" fmla="*/ 8756 h 10000"/>
                    <a:gd name="connsiteX0" fmla="*/ 2661 w 10000"/>
                    <a:gd name="connsiteY0" fmla="*/ 8756 h 10000"/>
                    <a:gd name="connsiteX1" fmla="*/ 10000 w 10000"/>
                    <a:gd name="connsiteY1" fmla="*/ 9983 h 10000"/>
                    <a:gd name="connsiteX2" fmla="*/ 9091 w 10000"/>
                    <a:gd name="connsiteY2" fmla="*/ 10000 h 10000"/>
                    <a:gd name="connsiteX3" fmla="*/ 8765 w 10000"/>
                    <a:gd name="connsiteY3" fmla="*/ 10000 h 10000"/>
                    <a:gd name="connsiteX4" fmla="*/ 8636 w 10000"/>
                    <a:gd name="connsiteY4" fmla="*/ 9983 h 10000"/>
                    <a:gd name="connsiteX5" fmla="*/ 8571 w 10000"/>
                    <a:gd name="connsiteY5" fmla="*/ 9965 h 10000"/>
                    <a:gd name="connsiteX6" fmla="*/ 8571 w 10000"/>
                    <a:gd name="connsiteY6" fmla="*/ 9965 h 10000"/>
                    <a:gd name="connsiteX7" fmla="*/ 8181 w 10000"/>
                    <a:gd name="connsiteY7" fmla="*/ 9771 h 10000"/>
                    <a:gd name="connsiteX8" fmla="*/ 7856 w 10000"/>
                    <a:gd name="connsiteY8" fmla="*/ 9591 h 10000"/>
                    <a:gd name="connsiteX9" fmla="*/ 7856 w 10000"/>
                    <a:gd name="connsiteY9" fmla="*/ 9591 h 10000"/>
                    <a:gd name="connsiteX10" fmla="*/ 7729 w 10000"/>
                    <a:gd name="connsiteY10" fmla="*/ 9559 h 10000"/>
                    <a:gd name="connsiteX11" fmla="*/ 7533 w 10000"/>
                    <a:gd name="connsiteY11" fmla="*/ 9525 h 10000"/>
                    <a:gd name="connsiteX12" fmla="*/ 7013 w 10000"/>
                    <a:gd name="connsiteY12" fmla="*/ 9509 h 10000"/>
                    <a:gd name="connsiteX13" fmla="*/ 6364 w 10000"/>
                    <a:gd name="connsiteY13" fmla="*/ 9493 h 10000"/>
                    <a:gd name="connsiteX14" fmla="*/ 5779 w 10000"/>
                    <a:gd name="connsiteY14" fmla="*/ 9493 h 10000"/>
                    <a:gd name="connsiteX15" fmla="*/ 5779 w 10000"/>
                    <a:gd name="connsiteY15" fmla="*/ 9493 h 10000"/>
                    <a:gd name="connsiteX16" fmla="*/ 5519 w 10000"/>
                    <a:gd name="connsiteY16" fmla="*/ 9474 h 10000"/>
                    <a:gd name="connsiteX17" fmla="*/ 5389 w 10000"/>
                    <a:gd name="connsiteY17" fmla="*/ 9444 h 10000"/>
                    <a:gd name="connsiteX18" fmla="*/ 5324 w 10000"/>
                    <a:gd name="connsiteY18" fmla="*/ 9409 h 10000"/>
                    <a:gd name="connsiteX19" fmla="*/ 5389 w 10000"/>
                    <a:gd name="connsiteY19" fmla="*/ 9214 h 10000"/>
                    <a:gd name="connsiteX20" fmla="*/ 5455 w 10000"/>
                    <a:gd name="connsiteY20" fmla="*/ 9147 h 10000"/>
                    <a:gd name="connsiteX21" fmla="*/ 5389 w 10000"/>
                    <a:gd name="connsiteY21" fmla="*/ 9069 h 10000"/>
                    <a:gd name="connsiteX22" fmla="*/ 5389 w 10000"/>
                    <a:gd name="connsiteY22" fmla="*/ 9069 h 10000"/>
                    <a:gd name="connsiteX23" fmla="*/ 5324 w 10000"/>
                    <a:gd name="connsiteY23" fmla="*/ 9020 h 10000"/>
                    <a:gd name="connsiteX24" fmla="*/ 5259 w 10000"/>
                    <a:gd name="connsiteY24" fmla="*/ 8986 h 10000"/>
                    <a:gd name="connsiteX25" fmla="*/ 5128 w 10000"/>
                    <a:gd name="connsiteY25" fmla="*/ 8986 h 10000"/>
                    <a:gd name="connsiteX26" fmla="*/ 4936 w 10000"/>
                    <a:gd name="connsiteY26" fmla="*/ 9005 h 10000"/>
                    <a:gd name="connsiteX27" fmla="*/ 4545 w 10000"/>
                    <a:gd name="connsiteY27" fmla="*/ 9052 h 10000"/>
                    <a:gd name="connsiteX28" fmla="*/ 4026 w 10000"/>
                    <a:gd name="connsiteY28" fmla="*/ 9133 h 10000"/>
                    <a:gd name="connsiteX29" fmla="*/ 4026 w 10000"/>
                    <a:gd name="connsiteY29" fmla="*/ 9133 h 10000"/>
                    <a:gd name="connsiteX30" fmla="*/ 3702 w 10000"/>
                    <a:gd name="connsiteY30" fmla="*/ 9147 h 10000"/>
                    <a:gd name="connsiteX31" fmla="*/ 3573 w 10000"/>
                    <a:gd name="connsiteY31" fmla="*/ 9147 h 10000"/>
                    <a:gd name="connsiteX32" fmla="*/ 3507 w 10000"/>
                    <a:gd name="connsiteY32" fmla="*/ 9133 h 10000"/>
                    <a:gd name="connsiteX33" fmla="*/ 3247 w 10000"/>
                    <a:gd name="connsiteY33" fmla="*/ 8986 h 10000"/>
                    <a:gd name="connsiteX34" fmla="*/ 3247 w 10000"/>
                    <a:gd name="connsiteY34" fmla="*/ 8986 h 10000"/>
                    <a:gd name="connsiteX35" fmla="*/ 3117 w 10000"/>
                    <a:gd name="connsiteY35" fmla="*/ 8938 h 10000"/>
                    <a:gd name="connsiteX36" fmla="*/ 3117 w 10000"/>
                    <a:gd name="connsiteY36" fmla="*/ 8888 h 10000"/>
                    <a:gd name="connsiteX37" fmla="*/ 3117 w 10000"/>
                    <a:gd name="connsiteY37" fmla="*/ 8855 h 10000"/>
                    <a:gd name="connsiteX38" fmla="*/ 3184 w 10000"/>
                    <a:gd name="connsiteY38" fmla="*/ 8822 h 10000"/>
                    <a:gd name="connsiteX39" fmla="*/ 3312 w 10000"/>
                    <a:gd name="connsiteY39" fmla="*/ 8756 h 10000"/>
                    <a:gd name="connsiteX40" fmla="*/ 3443 w 10000"/>
                    <a:gd name="connsiteY40" fmla="*/ 8740 h 10000"/>
                    <a:gd name="connsiteX41" fmla="*/ 3443 w 10000"/>
                    <a:gd name="connsiteY41" fmla="*/ 8740 h 10000"/>
                    <a:gd name="connsiteX42" fmla="*/ 3443 w 10000"/>
                    <a:gd name="connsiteY42" fmla="*/ 8725 h 10000"/>
                    <a:gd name="connsiteX43" fmla="*/ 3507 w 10000"/>
                    <a:gd name="connsiteY43" fmla="*/ 8708 h 10000"/>
                    <a:gd name="connsiteX44" fmla="*/ 7646 w 10000"/>
                    <a:gd name="connsiteY44" fmla="*/ 8456 h 10000"/>
                    <a:gd name="connsiteX45" fmla="*/ 8116 w 10000"/>
                    <a:gd name="connsiteY45" fmla="*/ 8464 h 10000"/>
                    <a:gd name="connsiteX46" fmla="*/ 8116 w 10000"/>
                    <a:gd name="connsiteY46" fmla="*/ 8464 h 10000"/>
                    <a:gd name="connsiteX47" fmla="*/ 8442 w 10000"/>
                    <a:gd name="connsiteY47" fmla="*/ 8431 h 10000"/>
                    <a:gd name="connsiteX48" fmla="*/ 8702 w 10000"/>
                    <a:gd name="connsiteY48" fmla="*/ 8350 h 10000"/>
                    <a:gd name="connsiteX49" fmla="*/ 8636 w 10000"/>
                    <a:gd name="connsiteY49" fmla="*/ 8316 h 10000"/>
                    <a:gd name="connsiteX50" fmla="*/ 8636 w 10000"/>
                    <a:gd name="connsiteY50" fmla="*/ 8285 h 10000"/>
                    <a:gd name="connsiteX51" fmla="*/ 8312 w 10000"/>
                    <a:gd name="connsiteY51" fmla="*/ 8202 h 10000"/>
                    <a:gd name="connsiteX52" fmla="*/ 5975 w 10000"/>
                    <a:gd name="connsiteY52" fmla="*/ 7907 h 10000"/>
                    <a:gd name="connsiteX53" fmla="*/ 5975 w 10000"/>
                    <a:gd name="connsiteY53" fmla="*/ 7907 h 10000"/>
                    <a:gd name="connsiteX54" fmla="*/ 5714 w 10000"/>
                    <a:gd name="connsiteY54" fmla="*/ 7860 h 10000"/>
                    <a:gd name="connsiteX55" fmla="*/ 5519 w 10000"/>
                    <a:gd name="connsiteY55" fmla="*/ 7810 h 10000"/>
                    <a:gd name="connsiteX56" fmla="*/ 5389 w 10000"/>
                    <a:gd name="connsiteY56" fmla="*/ 7761 h 10000"/>
                    <a:gd name="connsiteX57" fmla="*/ 5389 w 10000"/>
                    <a:gd name="connsiteY57" fmla="*/ 7761 h 10000"/>
                    <a:gd name="connsiteX58" fmla="*/ 7729 w 10000"/>
                    <a:gd name="connsiteY58" fmla="*/ 7744 h 10000"/>
                    <a:gd name="connsiteX59" fmla="*/ 10000 w 10000"/>
                    <a:gd name="connsiteY59" fmla="*/ 7907 h 10000"/>
                    <a:gd name="connsiteX60" fmla="*/ 10000 w 10000"/>
                    <a:gd name="connsiteY60" fmla="*/ 6422 h 10000"/>
                    <a:gd name="connsiteX61" fmla="*/ 10000 w 10000"/>
                    <a:gd name="connsiteY61" fmla="*/ 6422 h 10000"/>
                    <a:gd name="connsiteX62" fmla="*/ 7404 w 10000"/>
                    <a:gd name="connsiteY62" fmla="*/ 6077 h 10000"/>
                    <a:gd name="connsiteX63" fmla="*/ 5975 w 10000"/>
                    <a:gd name="connsiteY63" fmla="*/ 5882 h 10000"/>
                    <a:gd name="connsiteX64" fmla="*/ 5975 w 10000"/>
                    <a:gd name="connsiteY64" fmla="*/ 5882 h 10000"/>
                    <a:gd name="connsiteX65" fmla="*/ 5975 w 10000"/>
                    <a:gd name="connsiteY65" fmla="*/ 5866 h 10000"/>
                    <a:gd name="connsiteX66" fmla="*/ 5975 w 10000"/>
                    <a:gd name="connsiteY66" fmla="*/ 5768 h 10000"/>
                    <a:gd name="connsiteX67" fmla="*/ 5975 w 10000"/>
                    <a:gd name="connsiteY67" fmla="*/ 5768 h 10000"/>
                    <a:gd name="connsiteX68" fmla="*/ 5779 w 10000"/>
                    <a:gd name="connsiteY68" fmla="*/ 5651 h 10000"/>
                    <a:gd name="connsiteX69" fmla="*/ 5389 w 10000"/>
                    <a:gd name="connsiteY69" fmla="*/ 5473 h 10000"/>
                    <a:gd name="connsiteX70" fmla="*/ 4545 w 10000"/>
                    <a:gd name="connsiteY70" fmla="*/ 5130 h 10000"/>
                    <a:gd name="connsiteX71" fmla="*/ 4545 w 10000"/>
                    <a:gd name="connsiteY71" fmla="*/ 5130 h 10000"/>
                    <a:gd name="connsiteX72" fmla="*/ 4352 w 10000"/>
                    <a:gd name="connsiteY72" fmla="*/ 5081 h 10000"/>
                    <a:gd name="connsiteX73" fmla="*/ 4026 w 10000"/>
                    <a:gd name="connsiteY73" fmla="*/ 5016 h 10000"/>
                    <a:gd name="connsiteX74" fmla="*/ 3052 w 10000"/>
                    <a:gd name="connsiteY74" fmla="*/ 4868 h 10000"/>
                    <a:gd name="connsiteX75" fmla="*/ 1689 w 10000"/>
                    <a:gd name="connsiteY75" fmla="*/ 4690 h 10000"/>
                    <a:gd name="connsiteX76" fmla="*/ 1689 w 10000"/>
                    <a:gd name="connsiteY76" fmla="*/ 4690 h 10000"/>
                    <a:gd name="connsiteX77" fmla="*/ 1103 w 10000"/>
                    <a:gd name="connsiteY77" fmla="*/ 4672 h 10000"/>
                    <a:gd name="connsiteX78" fmla="*/ 650 w 10000"/>
                    <a:gd name="connsiteY78" fmla="*/ 4655 h 10000"/>
                    <a:gd name="connsiteX79" fmla="*/ 521 w 10000"/>
                    <a:gd name="connsiteY79" fmla="*/ 4639 h 10000"/>
                    <a:gd name="connsiteX80" fmla="*/ 390 w 10000"/>
                    <a:gd name="connsiteY80" fmla="*/ 4624 h 10000"/>
                    <a:gd name="connsiteX81" fmla="*/ 390 w 10000"/>
                    <a:gd name="connsiteY81" fmla="*/ 4624 h 10000"/>
                    <a:gd name="connsiteX82" fmla="*/ 261 w 10000"/>
                    <a:gd name="connsiteY82" fmla="*/ 4557 h 10000"/>
                    <a:gd name="connsiteX83" fmla="*/ 65 w 10000"/>
                    <a:gd name="connsiteY83" fmla="*/ 4445 h 10000"/>
                    <a:gd name="connsiteX84" fmla="*/ 0 w 10000"/>
                    <a:gd name="connsiteY84" fmla="*/ 4379 h 10000"/>
                    <a:gd name="connsiteX85" fmla="*/ 0 w 10000"/>
                    <a:gd name="connsiteY85" fmla="*/ 4312 h 10000"/>
                    <a:gd name="connsiteX86" fmla="*/ 0 w 10000"/>
                    <a:gd name="connsiteY86" fmla="*/ 4264 h 10000"/>
                    <a:gd name="connsiteX87" fmla="*/ 131 w 10000"/>
                    <a:gd name="connsiteY87" fmla="*/ 4214 h 10000"/>
                    <a:gd name="connsiteX88" fmla="*/ 131 w 10000"/>
                    <a:gd name="connsiteY88" fmla="*/ 4214 h 10000"/>
                    <a:gd name="connsiteX89" fmla="*/ 455 w 10000"/>
                    <a:gd name="connsiteY89" fmla="*/ 4133 h 10000"/>
                    <a:gd name="connsiteX90" fmla="*/ 779 w 10000"/>
                    <a:gd name="connsiteY90" fmla="*/ 4053 h 10000"/>
                    <a:gd name="connsiteX91" fmla="*/ 975 w 10000"/>
                    <a:gd name="connsiteY91" fmla="*/ 4004 h 10000"/>
                    <a:gd name="connsiteX92" fmla="*/ 1103 w 10000"/>
                    <a:gd name="connsiteY92" fmla="*/ 3954 h 10000"/>
                    <a:gd name="connsiteX93" fmla="*/ 1103 w 10000"/>
                    <a:gd name="connsiteY93" fmla="*/ 3888 h 10000"/>
                    <a:gd name="connsiteX94" fmla="*/ 1103 w 10000"/>
                    <a:gd name="connsiteY94" fmla="*/ 3807 h 10000"/>
                    <a:gd name="connsiteX95" fmla="*/ 1103 w 10000"/>
                    <a:gd name="connsiteY95" fmla="*/ 3807 h 10000"/>
                    <a:gd name="connsiteX96" fmla="*/ 845 w 10000"/>
                    <a:gd name="connsiteY96" fmla="*/ 3577 h 10000"/>
                    <a:gd name="connsiteX97" fmla="*/ 521 w 10000"/>
                    <a:gd name="connsiteY97" fmla="*/ 3268 h 10000"/>
                    <a:gd name="connsiteX98" fmla="*/ 261 w 10000"/>
                    <a:gd name="connsiteY98" fmla="*/ 2989 h 10000"/>
                    <a:gd name="connsiteX99" fmla="*/ 195 w 10000"/>
                    <a:gd name="connsiteY99" fmla="*/ 2908 h 10000"/>
                    <a:gd name="connsiteX100" fmla="*/ 195 w 10000"/>
                    <a:gd name="connsiteY100" fmla="*/ 2875 h 10000"/>
                    <a:gd name="connsiteX101" fmla="*/ 261 w 10000"/>
                    <a:gd name="connsiteY101" fmla="*/ 2858 h 10000"/>
                    <a:gd name="connsiteX102" fmla="*/ 261 w 10000"/>
                    <a:gd name="connsiteY102" fmla="*/ 2858 h 10000"/>
                    <a:gd name="connsiteX103" fmla="*/ 650 w 10000"/>
                    <a:gd name="connsiteY103" fmla="*/ 2843 h 10000"/>
                    <a:gd name="connsiteX104" fmla="*/ 908 w 10000"/>
                    <a:gd name="connsiteY104" fmla="*/ 2843 h 10000"/>
                    <a:gd name="connsiteX105" fmla="*/ 1103 w 10000"/>
                    <a:gd name="connsiteY105" fmla="*/ 2858 h 10000"/>
                    <a:gd name="connsiteX106" fmla="*/ 1103 w 10000"/>
                    <a:gd name="connsiteY106" fmla="*/ 2858 h 10000"/>
                    <a:gd name="connsiteX107" fmla="*/ 1168 w 10000"/>
                    <a:gd name="connsiteY107" fmla="*/ 2858 h 10000"/>
                    <a:gd name="connsiteX108" fmla="*/ 1235 w 10000"/>
                    <a:gd name="connsiteY108" fmla="*/ 2827 h 10000"/>
                    <a:gd name="connsiteX109" fmla="*/ 1559 w 10000"/>
                    <a:gd name="connsiteY109" fmla="*/ 2729 h 10000"/>
                    <a:gd name="connsiteX110" fmla="*/ 2402 w 10000"/>
                    <a:gd name="connsiteY110" fmla="*/ 2401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930 h 10000"/>
                    <a:gd name="connsiteX113" fmla="*/ 3507 w 10000"/>
                    <a:gd name="connsiteY113" fmla="*/ 1863 h 10000"/>
                    <a:gd name="connsiteX114" fmla="*/ 3507 w 10000"/>
                    <a:gd name="connsiteY114" fmla="*/ 1713 h 10000"/>
                    <a:gd name="connsiteX115" fmla="*/ 3573 w 10000"/>
                    <a:gd name="connsiteY115" fmla="*/ 1617 h 10000"/>
                    <a:gd name="connsiteX116" fmla="*/ 3702 w 10000"/>
                    <a:gd name="connsiteY116" fmla="*/ 1535 h 10000"/>
                    <a:gd name="connsiteX117" fmla="*/ 3896 w 10000"/>
                    <a:gd name="connsiteY117" fmla="*/ 1438 h 10000"/>
                    <a:gd name="connsiteX118" fmla="*/ 4156 w 10000"/>
                    <a:gd name="connsiteY118" fmla="*/ 1357 h 10000"/>
                    <a:gd name="connsiteX119" fmla="*/ 4156 w 10000"/>
                    <a:gd name="connsiteY119" fmla="*/ 1357 h 10000"/>
                    <a:gd name="connsiteX120" fmla="*/ 4806 w 10000"/>
                    <a:gd name="connsiteY120" fmla="*/ 1194 h 10000"/>
                    <a:gd name="connsiteX121" fmla="*/ 5455 w 10000"/>
                    <a:gd name="connsiteY121" fmla="*/ 979 h 10000"/>
                    <a:gd name="connsiteX122" fmla="*/ 6104 w 10000"/>
                    <a:gd name="connsiteY122" fmla="*/ 784 h 10000"/>
                    <a:gd name="connsiteX123" fmla="*/ 6559 w 10000"/>
                    <a:gd name="connsiteY123" fmla="*/ 606 h 10000"/>
                    <a:gd name="connsiteX124" fmla="*/ 6559 w 10000"/>
                    <a:gd name="connsiteY124" fmla="*/ 606 h 10000"/>
                    <a:gd name="connsiteX125" fmla="*/ 6882 w 10000"/>
                    <a:gd name="connsiteY125" fmla="*/ 442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10000 h 10000"/>
                    <a:gd name="connsiteX135" fmla="*/ 9676 w 10000"/>
                    <a:gd name="connsiteY135" fmla="*/ 9983 h 10000"/>
                    <a:gd name="connsiteX136" fmla="*/ 8506 w 10000"/>
                    <a:gd name="connsiteY136" fmla="*/ 9950 h 10000"/>
                    <a:gd name="connsiteX137" fmla="*/ 8181 w 10000"/>
                    <a:gd name="connsiteY137" fmla="*/ 9821 h 10000"/>
                    <a:gd name="connsiteX138" fmla="*/ 7404 w 10000"/>
                    <a:gd name="connsiteY138" fmla="*/ 9525 h 10000"/>
                    <a:gd name="connsiteX139" fmla="*/ 5584 w 10000"/>
                    <a:gd name="connsiteY139" fmla="*/ 9493 h 10000"/>
                    <a:gd name="connsiteX140" fmla="*/ 5389 w 10000"/>
                    <a:gd name="connsiteY140" fmla="*/ 9167 h 10000"/>
                    <a:gd name="connsiteX141" fmla="*/ 5389 w 10000"/>
                    <a:gd name="connsiteY141" fmla="*/ 9101 h 10000"/>
                    <a:gd name="connsiteX142" fmla="*/ 5259 w 10000"/>
                    <a:gd name="connsiteY142" fmla="*/ 9020 h 10000"/>
                    <a:gd name="connsiteX143" fmla="*/ 5195 w 10000"/>
                    <a:gd name="connsiteY143" fmla="*/ 9005 h 10000"/>
                    <a:gd name="connsiteX144" fmla="*/ 4026 w 10000"/>
                    <a:gd name="connsiteY144" fmla="*/ 9118 h 10000"/>
                    <a:gd name="connsiteX145" fmla="*/ 3702 w 10000"/>
                    <a:gd name="connsiteY145" fmla="*/ 9147 h 10000"/>
                    <a:gd name="connsiteX146" fmla="*/ 3247 w 10000"/>
                    <a:gd name="connsiteY146" fmla="*/ 8986 h 10000"/>
                    <a:gd name="connsiteX147" fmla="*/ 3247 w 10000"/>
                    <a:gd name="connsiteY147" fmla="*/ 8986 h 10000"/>
                    <a:gd name="connsiteX148" fmla="*/ 3117 w 10000"/>
                    <a:gd name="connsiteY148" fmla="*/ 8807 h 10000"/>
                    <a:gd name="connsiteX149" fmla="*/ 3117 w 10000"/>
                    <a:gd name="connsiteY149" fmla="*/ 8807 h 10000"/>
                    <a:gd name="connsiteX150" fmla="*/ 3312 w 10000"/>
                    <a:gd name="connsiteY150" fmla="*/ 8756 h 10000"/>
                    <a:gd name="connsiteX151" fmla="*/ 3443 w 10000"/>
                    <a:gd name="connsiteY151" fmla="*/ 8740 h 10000"/>
                    <a:gd name="connsiteX152" fmla="*/ 2661 w 10000"/>
                    <a:gd name="connsiteY152" fmla="*/ 8756 h 10000"/>
                    <a:gd name="connsiteX0" fmla="*/ 2661 w 10000"/>
                    <a:gd name="connsiteY0" fmla="*/ 8756 h 10000"/>
                    <a:gd name="connsiteX1" fmla="*/ 10000 w 10000"/>
                    <a:gd name="connsiteY1" fmla="*/ 9983 h 10000"/>
                    <a:gd name="connsiteX2" fmla="*/ 9091 w 10000"/>
                    <a:gd name="connsiteY2" fmla="*/ 10000 h 10000"/>
                    <a:gd name="connsiteX3" fmla="*/ 8765 w 10000"/>
                    <a:gd name="connsiteY3" fmla="*/ 10000 h 10000"/>
                    <a:gd name="connsiteX4" fmla="*/ 8636 w 10000"/>
                    <a:gd name="connsiteY4" fmla="*/ 9983 h 10000"/>
                    <a:gd name="connsiteX5" fmla="*/ 8571 w 10000"/>
                    <a:gd name="connsiteY5" fmla="*/ 9965 h 10000"/>
                    <a:gd name="connsiteX6" fmla="*/ 8571 w 10000"/>
                    <a:gd name="connsiteY6" fmla="*/ 9965 h 10000"/>
                    <a:gd name="connsiteX7" fmla="*/ 8181 w 10000"/>
                    <a:gd name="connsiteY7" fmla="*/ 9771 h 10000"/>
                    <a:gd name="connsiteX8" fmla="*/ 7856 w 10000"/>
                    <a:gd name="connsiteY8" fmla="*/ 9591 h 10000"/>
                    <a:gd name="connsiteX9" fmla="*/ 7856 w 10000"/>
                    <a:gd name="connsiteY9" fmla="*/ 9591 h 10000"/>
                    <a:gd name="connsiteX10" fmla="*/ 7729 w 10000"/>
                    <a:gd name="connsiteY10" fmla="*/ 9559 h 10000"/>
                    <a:gd name="connsiteX11" fmla="*/ 7533 w 10000"/>
                    <a:gd name="connsiteY11" fmla="*/ 9525 h 10000"/>
                    <a:gd name="connsiteX12" fmla="*/ 7013 w 10000"/>
                    <a:gd name="connsiteY12" fmla="*/ 9509 h 10000"/>
                    <a:gd name="connsiteX13" fmla="*/ 6364 w 10000"/>
                    <a:gd name="connsiteY13" fmla="*/ 9493 h 10000"/>
                    <a:gd name="connsiteX14" fmla="*/ 5779 w 10000"/>
                    <a:gd name="connsiteY14" fmla="*/ 9493 h 10000"/>
                    <a:gd name="connsiteX15" fmla="*/ 5779 w 10000"/>
                    <a:gd name="connsiteY15" fmla="*/ 9493 h 10000"/>
                    <a:gd name="connsiteX16" fmla="*/ 5519 w 10000"/>
                    <a:gd name="connsiteY16" fmla="*/ 9474 h 10000"/>
                    <a:gd name="connsiteX17" fmla="*/ 5389 w 10000"/>
                    <a:gd name="connsiteY17" fmla="*/ 9444 h 10000"/>
                    <a:gd name="connsiteX18" fmla="*/ 5324 w 10000"/>
                    <a:gd name="connsiteY18" fmla="*/ 9409 h 10000"/>
                    <a:gd name="connsiteX19" fmla="*/ 5389 w 10000"/>
                    <a:gd name="connsiteY19" fmla="*/ 9214 h 10000"/>
                    <a:gd name="connsiteX20" fmla="*/ 5455 w 10000"/>
                    <a:gd name="connsiteY20" fmla="*/ 9147 h 10000"/>
                    <a:gd name="connsiteX21" fmla="*/ 5389 w 10000"/>
                    <a:gd name="connsiteY21" fmla="*/ 9069 h 10000"/>
                    <a:gd name="connsiteX22" fmla="*/ 5389 w 10000"/>
                    <a:gd name="connsiteY22" fmla="*/ 9069 h 10000"/>
                    <a:gd name="connsiteX23" fmla="*/ 5324 w 10000"/>
                    <a:gd name="connsiteY23" fmla="*/ 9020 h 10000"/>
                    <a:gd name="connsiteX24" fmla="*/ 5259 w 10000"/>
                    <a:gd name="connsiteY24" fmla="*/ 8986 h 10000"/>
                    <a:gd name="connsiteX25" fmla="*/ 5128 w 10000"/>
                    <a:gd name="connsiteY25" fmla="*/ 8986 h 10000"/>
                    <a:gd name="connsiteX26" fmla="*/ 4936 w 10000"/>
                    <a:gd name="connsiteY26" fmla="*/ 9005 h 10000"/>
                    <a:gd name="connsiteX27" fmla="*/ 4545 w 10000"/>
                    <a:gd name="connsiteY27" fmla="*/ 9052 h 10000"/>
                    <a:gd name="connsiteX28" fmla="*/ 4026 w 10000"/>
                    <a:gd name="connsiteY28" fmla="*/ 9133 h 10000"/>
                    <a:gd name="connsiteX29" fmla="*/ 4026 w 10000"/>
                    <a:gd name="connsiteY29" fmla="*/ 9133 h 10000"/>
                    <a:gd name="connsiteX30" fmla="*/ 3702 w 10000"/>
                    <a:gd name="connsiteY30" fmla="*/ 9147 h 10000"/>
                    <a:gd name="connsiteX31" fmla="*/ 3573 w 10000"/>
                    <a:gd name="connsiteY31" fmla="*/ 9147 h 10000"/>
                    <a:gd name="connsiteX32" fmla="*/ 3507 w 10000"/>
                    <a:gd name="connsiteY32" fmla="*/ 9133 h 10000"/>
                    <a:gd name="connsiteX33" fmla="*/ 3247 w 10000"/>
                    <a:gd name="connsiteY33" fmla="*/ 8986 h 10000"/>
                    <a:gd name="connsiteX34" fmla="*/ 3247 w 10000"/>
                    <a:gd name="connsiteY34" fmla="*/ 8986 h 10000"/>
                    <a:gd name="connsiteX35" fmla="*/ 3117 w 10000"/>
                    <a:gd name="connsiteY35" fmla="*/ 8938 h 10000"/>
                    <a:gd name="connsiteX36" fmla="*/ 3117 w 10000"/>
                    <a:gd name="connsiteY36" fmla="*/ 8888 h 10000"/>
                    <a:gd name="connsiteX37" fmla="*/ 3117 w 10000"/>
                    <a:gd name="connsiteY37" fmla="*/ 8855 h 10000"/>
                    <a:gd name="connsiteX38" fmla="*/ 3184 w 10000"/>
                    <a:gd name="connsiteY38" fmla="*/ 8822 h 10000"/>
                    <a:gd name="connsiteX39" fmla="*/ 3312 w 10000"/>
                    <a:gd name="connsiteY39" fmla="*/ 8756 h 10000"/>
                    <a:gd name="connsiteX40" fmla="*/ 3443 w 10000"/>
                    <a:gd name="connsiteY40" fmla="*/ 8740 h 10000"/>
                    <a:gd name="connsiteX41" fmla="*/ 3443 w 10000"/>
                    <a:gd name="connsiteY41" fmla="*/ 8740 h 10000"/>
                    <a:gd name="connsiteX42" fmla="*/ 3443 w 10000"/>
                    <a:gd name="connsiteY42" fmla="*/ 8725 h 10000"/>
                    <a:gd name="connsiteX43" fmla="*/ 3507 w 10000"/>
                    <a:gd name="connsiteY43" fmla="*/ 8708 h 10000"/>
                    <a:gd name="connsiteX44" fmla="*/ 7646 w 10000"/>
                    <a:gd name="connsiteY44" fmla="*/ 8456 h 10000"/>
                    <a:gd name="connsiteX45" fmla="*/ 8116 w 10000"/>
                    <a:gd name="connsiteY45" fmla="*/ 8464 h 10000"/>
                    <a:gd name="connsiteX46" fmla="*/ 8116 w 10000"/>
                    <a:gd name="connsiteY46" fmla="*/ 8464 h 10000"/>
                    <a:gd name="connsiteX47" fmla="*/ 8442 w 10000"/>
                    <a:gd name="connsiteY47" fmla="*/ 8431 h 10000"/>
                    <a:gd name="connsiteX48" fmla="*/ 8702 w 10000"/>
                    <a:gd name="connsiteY48" fmla="*/ 8350 h 10000"/>
                    <a:gd name="connsiteX49" fmla="*/ 8636 w 10000"/>
                    <a:gd name="connsiteY49" fmla="*/ 8316 h 10000"/>
                    <a:gd name="connsiteX50" fmla="*/ 8636 w 10000"/>
                    <a:gd name="connsiteY50" fmla="*/ 8285 h 10000"/>
                    <a:gd name="connsiteX51" fmla="*/ 8312 w 10000"/>
                    <a:gd name="connsiteY51" fmla="*/ 8202 h 10000"/>
                    <a:gd name="connsiteX52" fmla="*/ 5975 w 10000"/>
                    <a:gd name="connsiteY52" fmla="*/ 7907 h 10000"/>
                    <a:gd name="connsiteX53" fmla="*/ 5975 w 10000"/>
                    <a:gd name="connsiteY53" fmla="*/ 7907 h 10000"/>
                    <a:gd name="connsiteX54" fmla="*/ 5714 w 10000"/>
                    <a:gd name="connsiteY54" fmla="*/ 7860 h 10000"/>
                    <a:gd name="connsiteX55" fmla="*/ 5519 w 10000"/>
                    <a:gd name="connsiteY55" fmla="*/ 7810 h 10000"/>
                    <a:gd name="connsiteX56" fmla="*/ 5389 w 10000"/>
                    <a:gd name="connsiteY56" fmla="*/ 7761 h 10000"/>
                    <a:gd name="connsiteX57" fmla="*/ 5389 w 10000"/>
                    <a:gd name="connsiteY57" fmla="*/ 7761 h 10000"/>
                    <a:gd name="connsiteX58" fmla="*/ 7729 w 10000"/>
                    <a:gd name="connsiteY58" fmla="*/ 7744 h 10000"/>
                    <a:gd name="connsiteX59" fmla="*/ 10000 w 10000"/>
                    <a:gd name="connsiteY59" fmla="*/ 7907 h 10000"/>
                    <a:gd name="connsiteX60" fmla="*/ 10000 w 10000"/>
                    <a:gd name="connsiteY60" fmla="*/ 6422 h 10000"/>
                    <a:gd name="connsiteX61" fmla="*/ 10000 w 10000"/>
                    <a:gd name="connsiteY61" fmla="*/ 6422 h 10000"/>
                    <a:gd name="connsiteX62" fmla="*/ 7404 w 10000"/>
                    <a:gd name="connsiteY62" fmla="*/ 6077 h 10000"/>
                    <a:gd name="connsiteX63" fmla="*/ 5975 w 10000"/>
                    <a:gd name="connsiteY63" fmla="*/ 5882 h 10000"/>
                    <a:gd name="connsiteX64" fmla="*/ 5975 w 10000"/>
                    <a:gd name="connsiteY64" fmla="*/ 5882 h 10000"/>
                    <a:gd name="connsiteX65" fmla="*/ 5975 w 10000"/>
                    <a:gd name="connsiteY65" fmla="*/ 5866 h 10000"/>
                    <a:gd name="connsiteX66" fmla="*/ 5975 w 10000"/>
                    <a:gd name="connsiteY66" fmla="*/ 5768 h 10000"/>
                    <a:gd name="connsiteX67" fmla="*/ 5975 w 10000"/>
                    <a:gd name="connsiteY67" fmla="*/ 5768 h 10000"/>
                    <a:gd name="connsiteX68" fmla="*/ 5779 w 10000"/>
                    <a:gd name="connsiteY68" fmla="*/ 5651 h 10000"/>
                    <a:gd name="connsiteX69" fmla="*/ 5389 w 10000"/>
                    <a:gd name="connsiteY69" fmla="*/ 5473 h 10000"/>
                    <a:gd name="connsiteX70" fmla="*/ 4545 w 10000"/>
                    <a:gd name="connsiteY70" fmla="*/ 5130 h 10000"/>
                    <a:gd name="connsiteX71" fmla="*/ 4545 w 10000"/>
                    <a:gd name="connsiteY71" fmla="*/ 5130 h 10000"/>
                    <a:gd name="connsiteX72" fmla="*/ 4352 w 10000"/>
                    <a:gd name="connsiteY72" fmla="*/ 5081 h 10000"/>
                    <a:gd name="connsiteX73" fmla="*/ 4026 w 10000"/>
                    <a:gd name="connsiteY73" fmla="*/ 5016 h 10000"/>
                    <a:gd name="connsiteX74" fmla="*/ 3052 w 10000"/>
                    <a:gd name="connsiteY74" fmla="*/ 4868 h 10000"/>
                    <a:gd name="connsiteX75" fmla="*/ 1689 w 10000"/>
                    <a:gd name="connsiteY75" fmla="*/ 4690 h 10000"/>
                    <a:gd name="connsiteX76" fmla="*/ 1689 w 10000"/>
                    <a:gd name="connsiteY76" fmla="*/ 4690 h 10000"/>
                    <a:gd name="connsiteX77" fmla="*/ 1103 w 10000"/>
                    <a:gd name="connsiteY77" fmla="*/ 4672 h 10000"/>
                    <a:gd name="connsiteX78" fmla="*/ 650 w 10000"/>
                    <a:gd name="connsiteY78" fmla="*/ 4655 h 10000"/>
                    <a:gd name="connsiteX79" fmla="*/ 521 w 10000"/>
                    <a:gd name="connsiteY79" fmla="*/ 4639 h 10000"/>
                    <a:gd name="connsiteX80" fmla="*/ 390 w 10000"/>
                    <a:gd name="connsiteY80" fmla="*/ 4624 h 10000"/>
                    <a:gd name="connsiteX81" fmla="*/ 390 w 10000"/>
                    <a:gd name="connsiteY81" fmla="*/ 4624 h 10000"/>
                    <a:gd name="connsiteX82" fmla="*/ 261 w 10000"/>
                    <a:gd name="connsiteY82" fmla="*/ 4557 h 10000"/>
                    <a:gd name="connsiteX83" fmla="*/ 65 w 10000"/>
                    <a:gd name="connsiteY83" fmla="*/ 4445 h 10000"/>
                    <a:gd name="connsiteX84" fmla="*/ 0 w 10000"/>
                    <a:gd name="connsiteY84" fmla="*/ 4379 h 10000"/>
                    <a:gd name="connsiteX85" fmla="*/ 0 w 10000"/>
                    <a:gd name="connsiteY85" fmla="*/ 4312 h 10000"/>
                    <a:gd name="connsiteX86" fmla="*/ 0 w 10000"/>
                    <a:gd name="connsiteY86" fmla="*/ 4264 h 10000"/>
                    <a:gd name="connsiteX87" fmla="*/ 131 w 10000"/>
                    <a:gd name="connsiteY87" fmla="*/ 4214 h 10000"/>
                    <a:gd name="connsiteX88" fmla="*/ 131 w 10000"/>
                    <a:gd name="connsiteY88" fmla="*/ 4214 h 10000"/>
                    <a:gd name="connsiteX89" fmla="*/ 455 w 10000"/>
                    <a:gd name="connsiteY89" fmla="*/ 4133 h 10000"/>
                    <a:gd name="connsiteX90" fmla="*/ 779 w 10000"/>
                    <a:gd name="connsiteY90" fmla="*/ 4053 h 10000"/>
                    <a:gd name="connsiteX91" fmla="*/ 975 w 10000"/>
                    <a:gd name="connsiteY91" fmla="*/ 4004 h 10000"/>
                    <a:gd name="connsiteX92" fmla="*/ 1103 w 10000"/>
                    <a:gd name="connsiteY92" fmla="*/ 3954 h 10000"/>
                    <a:gd name="connsiteX93" fmla="*/ 1103 w 10000"/>
                    <a:gd name="connsiteY93" fmla="*/ 3888 h 10000"/>
                    <a:gd name="connsiteX94" fmla="*/ 1103 w 10000"/>
                    <a:gd name="connsiteY94" fmla="*/ 3807 h 10000"/>
                    <a:gd name="connsiteX95" fmla="*/ 1103 w 10000"/>
                    <a:gd name="connsiteY95" fmla="*/ 3807 h 10000"/>
                    <a:gd name="connsiteX96" fmla="*/ 845 w 10000"/>
                    <a:gd name="connsiteY96" fmla="*/ 3577 h 10000"/>
                    <a:gd name="connsiteX97" fmla="*/ 521 w 10000"/>
                    <a:gd name="connsiteY97" fmla="*/ 3268 h 10000"/>
                    <a:gd name="connsiteX98" fmla="*/ 261 w 10000"/>
                    <a:gd name="connsiteY98" fmla="*/ 2989 h 10000"/>
                    <a:gd name="connsiteX99" fmla="*/ 195 w 10000"/>
                    <a:gd name="connsiteY99" fmla="*/ 2908 h 10000"/>
                    <a:gd name="connsiteX100" fmla="*/ 195 w 10000"/>
                    <a:gd name="connsiteY100" fmla="*/ 2875 h 10000"/>
                    <a:gd name="connsiteX101" fmla="*/ 261 w 10000"/>
                    <a:gd name="connsiteY101" fmla="*/ 2858 h 10000"/>
                    <a:gd name="connsiteX102" fmla="*/ 261 w 10000"/>
                    <a:gd name="connsiteY102" fmla="*/ 2858 h 10000"/>
                    <a:gd name="connsiteX103" fmla="*/ 650 w 10000"/>
                    <a:gd name="connsiteY103" fmla="*/ 2843 h 10000"/>
                    <a:gd name="connsiteX104" fmla="*/ 908 w 10000"/>
                    <a:gd name="connsiteY104" fmla="*/ 2843 h 10000"/>
                    <a:gd name="connsiteX105" fmla="*/ 1103 w 10000"/>
                    <a:gd name="connsiteY105" fmla="*/ 2858 h 10000"/>
                    <a:gd name="connsiteX106" fmla="*/ 1103 w 10000"/>
                    <a:gd name="connsiteY106" fmla="*/ 2858 h 10000"/>
                    <a:gd name="connsiteX107" fmla="*/ 1168 w 10000"/>
                    <a:gd name="connsiteY107" fmla="*/ 2858 h 10000"/>
                    <a:gd name="connsiteX108" fmla="*/ 1235 w 10000"/>
                    <a:gd name="connsiteY108" fmla="*/ 2827 h 10000"/>
                    <a:gd name="connsiteX109" fmla="*/ 1559 w 10000"/>
                    <a:gd name="connsiteY109" fmla="*/ 2729 h 10000"/>
                    <a:gd name="connsiteX110" fmla="*/ 2402 w 10000"/>
                    <a:gd name="connsiteY110" fmla="*/ 2401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930 h 10000"/>
                    <a:gd name="connsiteX113" fmla="*/ 3507 w 10000"/>
                    <a:gd name="connsiteY113" fmla="*/ 1863 h 10000"/>
                    <a:gd name="connsiteX114" fmla="*/ 3507 w 10000"/>
                    <a:gd name="connsiteY114" fmla="*/ 1713 h 10000"/>
                    <a:gd name="connsiteX115" fmla="*/ 3573 w 10000"/>
                    <a:gd name="connsiteY115" fmla="*/ 1617 h 10000"/>
                    <a:gd name="connsiteX116" fmla="*/ 3702 w 10000"/>
                    <a:gd name="connsiteY116" fmla="*/ 1535 h 10000"/>
                    <a:gd name="connsiteX117" fmla="*/ 3896 w 10000"/>
                    <a:gd name="connsiteY117" fmla="*/ 1438 h 10000"/>
                    <a:gd name="connsiteX118" fmla="*/ 4156 w 10000"/>
                    <a:gd name="connsiteY118" fmla="*/ 1357 h 10000"/>
                    <a:gd name="connsiteX119" fmla="*/ 4156 w 10000"/>
                    <a:gd name="connsiteY119" fmla="*/ 1357 h 10000"/>
                    <a:gd name="connsiteX120" fmla="*/ 4806 w 10000"/>
                    <a:gd name="connsiteY120" fmla="*/ 1194 h 10000"/>
                    <a:gd name="connsiteX121" fmla="*/ 5455 w 10000"/>
                    <a:gd name="connsiteY121" fmla="*/ 979 h 10000"/>
                    <a:gd name="connsiteX122" fmla="*/ 6104 w 10000"/>
                    <a:gd name="connsiteY122" fmla="*/ 784 h 10000"/>
                    <a:gd name="connsiteX123" fmla="*/ 6559 w 10000"/>
                    <a:gd name="connsiteY123" fmla="*/ 606 h 10000"/>
                    <a:gd name="connsiteX124" fmla="*/ 6559 w 10000"/>
                    <a:gd name="connsiteY124" fmla="*/ 606 h 10000"/>
                    <a:gd name="connsiteX125" fmla="*/ 6882 w 10000"/>
                    <a:gd name="connsiteY125" fmla="*/ 442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10000 h 10000"/>
                    <a:gd name="connsiteX135" fmla="*/ 8506 w 10000"/>
                    <a:gd name="connsiteY135" fmla="*/ 9950 h 10000"/>
                    <a:gd name="connsiteX136" fmla="*/ 8181 w 10000"/>
                    <a:gd name="connsiteY136" fmla="*/ 9821 h 10000"/>
                    <a:gd name="connsiteX137" fmla="*/ 7404 w 10000"/>
                    <a:gd name="connsiteY137" fmla="*/ 9525 h 10000"/>
                    <a:gd name="connsiteX138" fmla="*/ 5584 w 10000"/>
                    <a:gd name="connsiteY138" fmla="*/ 9493 h 10000"/>
                    <a:gd name="connsiteX139" fmla="*/ 5389 w 10000"/>
                    <a:gd name="connsiteY139" fmla="*/ 9167 h 10000"/>
                    <a:gd name="connsiteX140" fmla="*/ 5389 w 10000"/>
                    <a:gd name="connsiteY140" fmla="*/ 9101 h 10000"/>
                    <a:gd name="connsiteX141" fmla="*/ 5259 w 10000"/>
                    <a:gd name="connsiteY141" fmla="*/ 9020 h 10000"/>
                    <a:gd name="connsiteX142" fmla="*/ 5195 w 10000"/>
                    <a:gd name="connsiteY142" fmla="*/ 9005 h 10000"/>
                    <a:gd name="connsiteX143" fmla="*/ 4026 w 10000"/>
                    <a:gd name="connsiteY143" fmla="*/ 9118 h 10000"/>
                    <a:gd name="connsiteX144" fmla="*/ 3702 w 10000"/>
                    <a:gd name="connsiteY144" fmla="*/ 9147 h 10000"/>
                    <a:gd name="connsiteX145" fmla="*/ 3247 w 10000"/>
                    <a:gd name="connsiteY145" fmla="*/ 8986 h 10000"/>
                    <a:gd name="connsiteX146" fmla="*/ 3247 w 10000"/>
                    <a:gd name="connsiteY146" fmla="*/ 8986 h 10000"/>
                    <a:gd name="connsiteX147" fmla="*/ 3117 w 10000"/>
                    <a:gd name="connsiteY147" fmla="*/ 8807 h 10000"/>
                    <a:gd name="connsiteX148" fmla="*/ 3117 w 10000"/>
                    <a:gd name="connsiteY148" fmla="*/ 8807 h 10000"/>
                    <a:gd name="connsiteX149" fmla="*/ 3312 w 10000"/>
                    <a:gd name="connsiteY149" fmla="*/ 8756 h 10000"/>
                    <a:gd name="connsiteX150" fmla="*/ 3443 w 10000"/>
                    <a:gd name="connsiteY150" fmla="*/ 8740 h 10000"/>
                    <a:gd name="connsiteX151" fmla="*/ 2661 w 10000"/>
                    <a:gd name="connsiteY151" fmla="*/ 8756 h 10000"/>
                    <a:gd name="connsiteX0" fmla="*/ 2661 w 10000"/>
                    <a:gd name="connsiteY0" fmla="*/ 8756 h 10000"/>
                    <a:gd name="connsiteX1" fmla="*/ 10000 w 10000"/>
                    <a:gd name="connsiteY1" fmla="*/ 9983 h 10000"/>
                    <a:gd name="connsiteX2" fmla="*/ 9091 w 10000"/>
                    <a:gd name="connsiteY2" fmla="*/ 10000 h 10000"/>
                    <a:gd name="connsiteX3" fmla="*/ 8765 w 10000"/>
                    <a:gd name="connsiteY3" fmla="*/ 10000 h 10000"/>
                    <a:gd name="connsiteX4" fmla="*/ 8636 w 10000"/>
                    <a:gd name="connsiteY4" fmla="*/ 9983 h 10000"/>
                    <a:gd name="connsiteX5" fmla="*/ 8571 w 10000"/>
                    <a:gd name="connsiteY5" fmla="*/ 9965 h 10000"/>
                    <a:gd name="connsiteX6" fmla="*/ 8571 w 10000"/>
                    <a:gd name="connsiteY6" fmla="*/ 9965 h 10000"/>
                    <a:gd name="connsiteX7" fmla="*/ 8181 w 10000"/>
                    <a:gd name="connsiteY7" fmla="*/ 9771 h 10000"/>
                    <a:gd name="connsiteX8" fmla="*/ 7856 w 10000"/>
                    <a:gd name="connsiteY8" fmla="*/ 9591 h 10000"/>
                    <a:gd name="connsiteX9" fmla="*/ 7856 w 10000"/>
                    <a:gd name="connsiteY9" fmla="*/ 9591 h 10000"/>
                    <a:gd name="connsiteX10" fmla="*/ 7729 w 10000"/>
                    <a:gd name="connsiteY10" fmla="*/ 9559 h 10000"/>
                    <a:gd name="connsiteX11" fmla="*/ 7533 w 10000"/>
                    <a:gd name="connsiteY11" fmla="*/ 9525 h 10000"/>
                    <a:gd name="connsiteX12" fmla="*/ 7013 w 10000"/>
                    <a:gd name="connsiteY12" fmla="*/ 9509 h 10000"/>
                    <a:gd name="connsiteX13" fmla="*/ 6364 w 10000"/>
                    <a:gd name="connsiteY13" fmla="*/ 9493 h 10000"/>
                    <a:gd name="connsiteX14" fmla="*/ 5779 w 10000"/>
                    <a:gd name="connsiteY14" fmla="*/ 9493 h 10000"/>
                    <a:gd name="connsiteX15" fmla="*/ 5779 w 10000"/>
                    <a:gd name="connsiteY15" fmla="*/ 9493 h 10000"/>
                    <a:gd name="connsiteX16" fmla="*/ 5519 w 10000"/>
                    <a:gd name="connsiteY16" fmla="*/ 9474 h 10000"/>
                    <a:gd name="connsiteX17" fmla="*/ 5389 w 10000"/>
                    <a:gd name="connsiteY17" fmla="*/ 9444 h 10000"/>
                    <a:gd name="connsiteX18" fmla="*/ 5324 w 10000"/>
                    <a:gd name="connsiteY18" fmla="*/ 9409 h 10000"/>
                    <a:gd name="connsiteX19" fmla="*/ 5389 w 10000"/>
                    <a:gd name="connsiteY19" fmla="*/ 9214 h 10000"/>
                    <a:gd name="connsiteX20" fmla="*/ 5455 w 10000"/>
                    <a:gd name="connsiteY20" fmla="*/ 9147 h 10000"/>
                    <a:gd name="connsiteX21" fmla="*/ 5389 w 10000"/>
                    <a:gd name="connsiteY21" fmla="*/ 9069 h 10000"/>
                    <a:gd name="connsiteX22" fmla="*/ 5389 w 10000"/>
                    <a:gd name="connsiteY22" fmla="*/ 9069 h 10000"/>
                    <a:gd name="connsiteX23" fmla="*/ 5324 w 10000"/>
                    <a:gd name="connsiteY23" fmla="*/ 9020 h 10000"/>
                    <a:gd name="connsiteX24" fmla="*/ 5259 w 10000"/>
                    <a:gd name="connsiteY24" fmla="*/ 8986 h 10000"/>
                    <a:gd name="connsiteX25" fmla="*/ 5128 w 10000"/>
                    <a:gd name="connsiteY25" fmla="*/ 8986 h 10000"/>
                    <a:gd name="connsiteX26" fmla="*/ 4936 w 10000"/>
                    <a:gd name="connsiteY26" fmla="*/ 9005 h 10000"/>
                    <a:gd name="connsiteX27" fmla="*/ 4545 w 10000"/>
                    <a:gd name="connsiteY27" fmla="*/ 9052 h 10000"/>
                    <a:gd name="connsiteX28" fmla="*/ 4026 w 10000"/>
                    <a:gd name="connsiteY28" fmla="*/ 9133 h 10000"/>
                    <a:gd name="connsiteX29" fmla="*/ 4026 w 10000"/>
                    <a:gd name="connsiteY29" fmla="*/ 9133 h 10000"/>
                    <a:gd name="connsiteX30" fmla="*/ 3702 w 10000"/>
                    <a:gd name="connsiteY30" fmla="*/ 9147 h 10000"/>
                    <a:gd name="connsiteX31" fmla="*/ 3573 w 10000"/>
                    <a:gd name="connsiteY31" fmla="*/ 9147 h 10000"/>
                    <a:gd name="connsiteX32" fmla="*/ 3507 w 10000"/>
                    <a:gd name="connsiteY32" fmla="*/ 9133 h 10000"/>
                    <a:gd name="connsiteX33" fmla="*/ 3247 w 10000"/>
                    <a:gd name="connsiteY33" fmla="*/ 8986 h 10000"/>
                    <a:gd name="connsiteX34" fmla="*/ 3247 w 10000"/>
                    <a:gd name="connsiteY34" fmla="*/ 8986 h 10000"/>
                    <a:gd name="connsiteX35" fmla="*/ 3117 w 10000"/>
                    <a:gd name="connsiteY35" fmla="*/ 8938 h 10000"/>
                    <a:gd name="connsiteX36" fmla="*/ 3117 w 10000"/>
                    <a:gd name="connsiteY36" fmla="*/ 8888 h 10000"/>
                    <a:gd name="connsiteX37" fmla="*/ 3117 w 10000"/>
                    <a:gd name="connsiteY37" fmla="*/ 8855 h 10000"/>
                    <a:gd name="connsiteX38" fmla="*/ 3184 w 10000"/>
                    <a:gd name="connsiteY38" fmla="*/ 8822 h 10000"/>
                    <a:gd name="connsiteX39" fmla="*/ 3312 w 10000"/>
                    <a:gd name="connsiteY39" fmla="*/ 8756 h 10000"/>
                    <a:gd name="connsiteX40" fmla="*/ 3443 w 10000"/>
                    <a:gd name="connsiteY40" fmla="*/ 8740 h 10000"/>
                    <a:gd name="connsiteX41" fmla="*/ 3443 w 10000"/>
                    <a:gd name="connsiteY41" fmla="*/ 8740 h 10000"/>
                    <a:gd name="connsiteX42" fmla="*/ 3443 w 10000"/>
                    <a:gd name="connsiteY42" fmla="*/ 8725 h 10000"/>
                    <a:gd name="connsiteX43" fmla="*/ 3507 w 10000"/>
                    <a:gd name="connsiteY43" fmla="*/ 8708 h 10000"/>
                    <a:gd name="connsiteX44" fmla="*/ 7646 w 10000"/>
                    <a:gd name="connsiteY44" fmla="*/ 8456 h 10000"/>
                    <a:gd name="connsiteX45" fmla="*/ 8116 w 10000"/>
                    <a:gd name="connsiteY45" fmla="*/ 8464 h 10000"/>
                    <a:gd name="connsiteX46" fmla="*/ 8116 w 10000"/>
                    <a:gd name="connsiteY46" fmla="*/ 8464 h 10000"/>
                    <a:gd name="connsiteX47" fmla="*/ 8442 w 10000"/>
                    <a:gd name="connsiteY47" fmla="*/ 8431 h 10000"/>
                    <a:gd name="connsiteX48" fmla="*/ 8702 w 10000"/>
                    <a:gd name="connsiteY48" fmla="*/ 8350 h 10000"/>
                    <a:gd name="connsiteX49" fmla="*/ 8636 w 10000"/>
                    <a:gd name="connsiteY49" fmla="*/ 8316 h 10000"/>
                    <a:gd name="connsiteX50" fmla="*/ 8636 w 10000"/>
                    <a:gd name="connsiteY50" fmla="*/ 8285 h 10000"/>
                    <a:gd name="connsiteX51" fmla="*/ 8312 w 10000"/>
                    <a:gd name="connsiteY51" fmla="*/ 8202 h 10000"/>
                    <a:gd name="connsiteX52" fmla="*/ 5975 w 10000"/>
                    <a:gd name="connsiteY52" fmla="*/ 7907 h 10000"/>
                    <a:gd name="connsiteX53" fmla="*/ 5975 w 10000"/>
                    <a:gd name="connsiteY53" fmla="*/ 7907 h 10000"/>
                    <a:gd name="connsiteX54" fmla="*/ 5714 w 10000"/>
                    <a:gd name="connsiteY54" fmla="*/ 7860 h 10000"/>
                    <a:gd name="connsiteX55" fmla="*/ 5519 w 10000"/>
                    <a:gd name="connsiteY55" fmla="*/ 7810 h 10000"/>
                    <a:gd name="connsiteX56" fmla="*/ 5389 w 10000"/>
                    <a:gd name="connsiteY56" fmla="*/ 7761 h 10000"/>
                    <a:gd name="connsiteX57" fmla="*/ 5389 w 10000"/>
                    <a:gd name="connsiteY57" fmla="*/ 7761 h 10000"/>
                    <a:gd name="connsiteX58" fmla="*/ 7729 w 10000"/>
                    <a:gd name="connsiteY58" fmla="*/ 7744 h 10000"/>
                    <a:gd name="connsiteX59" fmla="*/ 10000 w 10000"/>
                    <a:gd name="connsiteY59" fmla="*/ 7907 h 10000"/>
                    <a:gd name="connsiteX60" fmla="*/ 10000 w 10000"/>
                    <a:gd name="connsiteY60" fmla="*/ 6422 h 10000"/>
                    <a:gd name="connsiteX61" fmla="*/ 10000 w 10000"/>
                    <a:gd name="connsiteY61" fmla="*/ 6422 h 10000"/>
                    <a:gd name="connsiteX62" fmla="*/ 7404 w 10000"/>
                    <a:gd name="connsiteY62" fmla="*/ 6077 h 10000"/>
                    <a:gd name="connsiteX63" fmla="*/ 5975 w 10000"/>
                    <a:gd name="connsiteY63" fmla="*/ 5882 h 10000"/>
                    <a:gd name="connsiteX64" fmla="*/ 5975 w 10000"/>
                    <a:gd name="connsiteY64" fmla="*/ 5882 h 10000"/>
                    <a:gd name="connsiteX65" fmla="*/ 5975 w 10000"/>
                    <a:gd name="connsiteY65" fmla="*/ 5866 h 10000"/>
                    <a:gd name="connsiteX66" fmla="*/ 5975 w 10000"/>
                    <a:gd name="connsiteY66" fmla="*/ 5768 h 10000"/>
                    <a:gd name="connsiteX67" fmla="*/ 5975 w 10000"/>
                    <a:gd name="connsiteY67" fmla="*/ 5768 h 10000"/>
                    <a:gd name="connsiteX68" fmla="*/ 5779 w 10000"/>
                    <a:gd name="connsiteY68" fmla="*/ 5651 h 10000"/>
                    <a:gd name="connsiteX69" fmla="*/ 5389 w 10000"/>
                    <a:gd name="connsiteY69" fmla="*/ 5473 h 10000"/>
                    <a:gd name="connsiteX70" fmla="*/ 4545 w 10000"/>
                    <a:gd name="connsiteY70" fmla="*/ 5130 h 10000"/>
                    <a:gd name="connsiteX71" fmla="*/ 4545 w 10000"/>
                    <a:gd name="connsiteY71" fmla="*/ 5130 h 10000"/>
                    <a:gd name="connsiteX72" fmla="*/ 4352 w 10000"/>
                    <a:gd name="connsiteY72" fmla="*/ 5081 h 10000"/>
                    <a:gd name="connsiteX73" fmla="*/ 4026 w 10000"/>
                    <a:gd name="connsiteY73" fmla="*/ 5016 h 10000"/>
                    <a:gd name="connsiteX74" fmla="*/ 3052 w 10000"/>
                    <a:gd name="connsiteY74" fmla="*/ 4868 h 10000"/>
                    <a:gd name="connsiteX75" fmla="*/ 1689 w 10000"/>
                    <a:gd name="connsiteY75" fmla="*/ 4690 h 10000"/>
                    <a:gd name="connsiteX76" fmla="*/ 1689 w 10000"/>
                    <a:gd name="connsiteY76" fmla="*/ 4690 h 10000"/>
                    <a:gd name="connsiteX77" fmla="*/ 1103 w 10000"/>
                    <a:gd name="connsiteY77" fmla="*/ 4672 h 10000"/>
                    <a:gd name="connsiteX78" fmla="*/ 650 w 10000"/>
                    <a:gd name="connsiteY78" fmla="*/ 4655 h 10000"/>
                    <a:gd name="connsiteX79" fmla="*/ 521 w 10000"/>
                    <a:gd name="connsiteY79" fmla="*/ 4639 h 10000"/>
                    <a:gd name="connsiteX80" fmla="*/ 390 w 10000"/>
                    <a:gd name="connsiteY80" fmla="*/ 4624 h 10000"/>
                    <a:gd name="connsiteX81" fmla="*/ 390 w 10000"/>
                    <a:gd name="connsiteY81" fmla="*/ 4624 h 10000"/>
                    <a:gd name="connsiteX82" fmla="*/ 261 w 10000"/>
                    <a:gd name="connsiteY82" fmla="*/ 4557 h 10000"/>
                    <a:gd name="connsiteX83" fmla="*/ 65 w 10000"/>
                    <a:gd name="connsiteY83" fmla="*/ 4445 h 10000"/>
                    <a:gd name="connsiteX84" fmla="*/ 0 w 10000"/>
                    <a:gd name="connsiteY84" fmla="*/ 4379 h 10000"/>
                    <a:gd name="connsiteX85" fmla="*/ 0 w 10000"/>
                    <a:gd name="connsiteY85" fmla="*/ 4312 h 10000"/>
                    <a:gd name="connsiteX86" fmla="*/ 0 w 10000"/>
                    <a:gd name="connsiteY86" fmla="*/ 4264 h 10000"/>
                    <a:gd name="connsiteX87" fmla="*/ 131 w 10000"/>
                    <a:gd name="connsiteY87" fmla="*/ 4214 h 10000"/>
                    <a:gd name="connsiteX88" fmla="*/ 131 w 10000"/>
                    <a:gd name="connsiteY88" fmla="*/ 4214 h 10000"/>
                    <a:gd name="connsiteX89" fmla="*/ 455 w 10000"/>
                    <a:gd name="connsiteY89" fmla="*/ 4133 h 10000"/>
                    <a:gd name="connsiteX90" fmla="*/ 779 w 10000"/>
                    <a:gd name="connsiteY90" fmla="*/ 4053 h 10000"/>
                    <a:gd name="connsiteX91" fmla="*/ 975 w 10000"/>
                    <a:gd name="connsiteY91" fmla="*/ 4004 h 10000"/>
                    <a:gd name="connsiteX92" fmla="*/ 1103 w 10000"/>
                    <a:gd name="connsiteY92" fmla="*/ 3954 h 10000"/>
                    <a:gd name="connsiteX93" fmla="*/ 1103 w 10000"/>
                    <a:gd name="connsiteY93" fmla="*/ 3888 h 10000"/>
                    <a:gd name="connsiteX94" fmla="*/ 1103 w 10000"/>
                    <a:gd name="connsiteY94" fmla="*/ 3807 h 10000"/>
                    <a:gd name="connsiteX95" fmla="*/ 1103 w 10000"/>
                    <a:gd name="connsiteY95" fmla="*/ 3807 h 10000"/>
                    <a:gd name="connsiteX96" fmla="*/ 845 w 10000"/>
                    <a:gd name="connsiteY96" fmla="*/ 3577 h 10000"/>
                    <a:gd name="connsiteX97" fmla="*/ 521 w 10000"/>
                    <a:gd name="connsiteY97" fmla="*/ 3268 h 10000"/>
                    <a:gd name="connsiteX98" fmla="*/ 261 w 10000"/>
                    <a:gd name="connsiteY98" fmla="*/ 2989 h 10000"/>
                    <a:gd name="connsiteX99" fmla="*/ 195 w 10000"/>
                    <a:gd name="connsiteY99" fmla="*/ 2908 h 10000"/>
                    <a:gd name="connsiteX100" fmla="*/ 195 w 10000"/>
                    <a:gd name="connsiteY100" fmla="*/ 2875 h 10000"/>
                    <a:gd name="connsiteX101" fmla="*/ 261 w 10000"/>
                    <a:gd name="connsiteY101" fmla="*/ 2858 h 10000"/>
                    <a:gd name="connsiteX102" fmla="*/ 261 w 10000"/>
                    <a:gd name="connsiteY102" fmla="*/ 2858 h 10000"/>
                    <a:gd name="connsiteX103" fmla="*/ 650 w 10000"/>
                    <a:gd name="connsiteY103" fmla="*/ 2843 h 10000"/>
                    <a:gd name="connsiteX104" fmla="*/ 908 w 10000"/>
                    <a:gd name="connsiteY104" fmla="*/ 2843 h 10000"/>
                    <a:gd name="connsiteX105" fmla="*/ 1103 w 10000"/>
                    <a:gd name="connsiteY105" fmla="*/ 2858 h 10000"/>
                    <a:gd name="connsiteX106" fmla="*/ 1103 w 10000"/>
                    <a:gd name="connsiteY106" fmla="*/ 2858 h 10000"/>
                    <a:gd name="connsiteX107" fmla="*/ 1168 w 10000"/>
                    <a:gd name="connsiteY107" fmla="*/ 2858 h 10000"/>
                    <a:gd name="connsiteX108" fmla="*/ 1235 w 10000"/>
                    <a:gd name="connsiteY108" fmla="*/ 2827 h 10000"/>
                    <a:gd name="connsiteX109" fmla="*/ 1559 w 10000"/>
                    <a:gd name="connsiteY109" fmla="*/ 2729 h 10000"/>
                    <a:gd name="connsiteX110" fmla="*/ 2402 w 10000"/>
                    <a:gd name="connsiteY110" fmla="*/ 2401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930 h 10000"/>
                    <a:gd name="connsiteX113" fmla="*/ 3507 w 10000"/>
                    <a:gd name="connsiteY113" fmla="*/ 1863 h 10000"/>
                    <a:gd name="connsiteX114" fmla="*/ 3507 w 10000"/>
                    <a:gd name="connsiteY114" fmla="*/ 1713 h 10000"/>
                    <a:gd name="connsiteX115" fmla="*/ 3573 w 10000"/>
                    <a:gd name="connsiteY115" fmla="*/ 1617 h 10000"/>
                    <a:gd name="connsiteX116" fmla="*/ 3702 w 10000"/>
                    <a:gd name="connsiteY116" fmla="*/ 1535 h 10000"/>
                    <a:gd name="connsiteX117" fmla="*/ 3896 w 10000"/>
                    <a:gd name="connsiteY117" fmla="*/ 1438 h 10000"/>
                    <a:gd name="connsiteX118" fmla="*/ 4156 w 10000"/>
                    <a:gd name="connsiteY118" fmla="*/ 1357 h 10000"/>
                    <a:gd name="connsiteX119" fmla="*/ 4156 w 10000"/>
                    <a:gd name="connsiteY119" fmla="*/ 1357 h 10000"/>
                    <a:gd name="connsiteX120" fmla="*/ 4806 w 10000"/>
                    <a:gd name="connsiteY120" fmla="*/ 1194 h 10000"/>
                    <a:gd name="connsiteX121" fmla="*/ 5455 w 10000"/>
                    <a:gd name="connsiteY121" fmla="*/ 979 h 10000"/>
                    <a:gd name="connsiteX122" fmla="*/ 6104 w 10000"/>
                    <a:gd name="connsiteY122" fmla="*/ 784 h 10000"/>
                    <a:gd name="connsiteX123" fmla="*/ 6559 w 10000"/>
                    <a:gd name="connsiteY123" fmla="*/ 606 h 10000"/>
                    <a:gd name="connsiteX124" fmla="*/ 6559 w 10000"/>
                    <a:gd name="connsiteY124" fmla="*/ 606 h 10000"/>
                    <a:gd name="connsiteX125" fmla="*/ 6882 w 10000"/>
                    <a:gd name="connsiteY125" fmla="*/ 442 h 10000"/>
                    <a:gd name="connsiteX126" fmla="*/ 7273 w 10000"/>
                    <a:gd name="connsiteY126" fmla="*/ 245 h 10000"/>
                    <a:gd name="connsiteX127" fmla="*/ 7663 w 10000"/>
                    <a:gd name="connsiteY127" fmla="*/ 97 h 10000"/>
                    <a:gd name="connsiteX128" fmla="*/ 7856 w 10000"/>
                    <a:gd name="connsiteY128" fmla="*/ 30 h 10000"/>
                    <a:gd name="connsiteX129" fmla="*/ 8051 w 10000"/>
                    <a:gd name="connsiteY129" fmla="*/ 15 h 10000"/>
                    <a:gd name="connsiteX130" fmla="*/ 8051 w 10000"/>
                    <a:gd name="connsiteY130" fmla="*/ 15 h 10000"/>
                    <a:gd name="connsiteX131" fmla="*/ 8442 w 10000"/>
                    <a:gd name="connsiteY131" fmla="*/ 0 h 10000"/>
                    <a:gd name="connsiteX132" fmla="*/ 8961 w 10000"/>
                    <a:gd name="connsiteY132" fmla="*/ 0 h 10000"/>
                    <a:gd name="connsiteX133" fmla="*/ 10000 w 10000"/>
                    <a:gd name="connsiteY133" fmla="*/ 15 h 10000"/>
                    <a:gd name="connsiteX134" fmla="*/ 8506 w 10000"/>
                    <a:gd name="connsiteY134" fmla="*/ 9950 h 10000"/>
                    <a:gd name="connsiteX135" fmla="*/ 8181 w 10000"/>
                    <a:gd name="connsiteY135" fmla="*/ 9821 h 10000"/>
                    <a:gd name="connsiteX136" fmla="*/ 7404 w 10000"/>
                    <a:gd name="connsiteY136" fmla="*/ 9525 h 10000"/>
                    <a:gd name="connsiteX137" fmla="*/ 5584 w 10000"/>
                    <a:gd name="connsiteY137" fmla="*/ 9493 h 10000"/>
                    <a:gd name="connsiteX138" fmla="*/ 5389 w 10000"/>
                    <a:gd name="connsiteY138" fmla="*/ 9167 h 10000"/>
                    <a:gd name="connsiteX139" fmla="*/ 5389 w 10000"/>
                    <a:gd name="connsiteY139" fmla="*/ 9101 h 10000"/>
                    <a:gd name="connsiteX140" fmla="*/ 5259 w 10000"/>
                    <a:gd name="connsiteY140" fmla="*/ 9020 h 10000"/>
                    <a:gd name="connsiteX141" fmla="*/ 5195 w 10000"/>
                    <a:gd name="connsiteY141" fmla="*/ 9005 h 10000"/>
                    <a:gd name="connsiteX142" fmla="*/ 4026 w 10000"/>
                    <a:gd name="connsiteY142" fmla="*/ 9118 h 10000"/>
                    <a:gd name="connsiteX143" fmla="*/ 3702 w 10000"/>
                    <a:gd name="connsiteY143" fmla="*/ 9147 h 10000"/>
                    <a:gd name="connsiteX144" fmla="*/ 3247 w 10000"/>
                    <a:gd name="connsiteY144" fmla="*/ 8986 h 10000"/>
                    <a:gd name="connsiteX145" fmla="*/ 3247 w 10000"/>
                    <a:gd name="connsiteY145" fmla="*/ 8986 h 10000"/>
                    <a:gd name="connsiteX146" fmla="*/ 3117 w 10000"/>
                    <a:gd name="connsiteY146" fmla="*/ 8807 h 10000"/>
                    <a:gd name="connsiteX147" fmla="*/ 3117 w 10000"/>
                    <a:gd name="connsiteY147" fmla="*/ 8807 h 10000"/>
                    <a:gd name="connsiteX148" fmla="*/ 3312 w 10000"/>
                    <a:gd name="connsiteY148" fmla="*/ 8756 h 10000"/>
                    <a:gd name="connsiteX149" fmla="*/ 3443 w 10000"/>
                    <a:gd name="connsiteY149" fmla="*/ 8740 h 10000"/>
                    <a:gd name="connsiteX150" fmla="*/ 2661 w 10000"/>
                    <a:gd name="connsiteY150" fmla="*/ 8756 h 10000"/>
                    <a:gd name="connsiteX0" fmla="*/ 2661 w 10000"/>
                    <a:gd name="connsiteY0" fmla="*/ 8756 h 10000"/>
                    <a:gd name="connsiteX1" fmla="*/ 9091 w 10000"/>
                    <a:gd name="connsiteY1" fmla="*/ 10000 h 10000"/>
                    <a:gd name="connsiteX2" fmla="*/ 8765 w 10000"/>
                    <a:gd name="connsiteY2" fmla="*/ 10000 h 10000"/>
                    <a:gd name="connsiteX3" fmla="*/ 8636 w 10000"/>
                    <a:gd name="connsiteY3" fmla="*/ 9983 h 10000"/>
                    <a:gd name="connsiteX4" fmla="*/ 8571 w 10000"/>
                    <a:gd name="connsiteY4" fmla="*/ 9965 h 10000"/>
                    <a:gd name="connsiteX5" fmla="*/ 8571 w 10000"/>
                    <a:gd name="connsiteY5" fmla="*/ 9965 h 10000"/>
                    <a:gd name="connsiteX6" fmla="*/ 8181 w 10000"/>
                    <a:gd name="connsiteY6" fmla="*/ 9771 h 10000"/>
                    <a:gd name="connsiteX7" fmla="*/ 7856 w 10000"/>
                    <a:gd name="connsiteY7" fmla="*/ 9591 h 10000"/>
                    <a:gd name="connsiteX8" fmla="*/ 7856 w 10000"/>
                    <a:gd name="connsiteY8" fmla="*/ 9591 h 10000"/>
                    <a:gd name="connsiteX9" fmla="*/ 7729 w 10000"/>
                    <a:gd name="connsiteY9" fmla="*/ 9559 h 10000"/>
                    <a:gd name="connsiteX10" fmla="*/ 7533 w 10000"/>
                    <a:gd name="connsiteY10" fmla="*/ 9525 h 10000"/>
                    <a:gd name="connsiteX11" fmla="*/ 7013 w 10000"/>
                    <a:gd name="connsiteY11" fmla="*/ 9509 h 10000"/>
                    <a:gd name="connsiteX12" fmla="*/ 6364 w 10000"/>
                    <a:gd name="connsiteY12" fmla="*/ 9493 h 10000"/>
                    <a:gd name="connsiteX13" fmla="*/ 5779 w 10000"/>
                    <a:gd name="connsiteY13" fmla="*/ 9493 h 10000"/>
                    <a:gd name="connsiteX14" fmla="*/ 5779 w 10000"/>
                    <a:gd name="connsiteY14" fmla="*/ 9493 h 10000"/>
                    <a:gd name="connsiteX15" fmla="*/ 5519 w 10000"/>
                    <a:gd name="connsiteY15" fmla="*/ 9474 h 10000"/>
                    <a:gd name="connsiteX16" fmla="*/ 5389 w 10000"/>
                    <a:gd name="connsiteY16" fmla="*/ 9444 h 10000"/>
                    <a:gd name="connsiteX17" fmla="*/ 5324 w 10000"/>
                    <a:gd name="connsiteY17" fmla="*/ 9409 h 10000"/>
                    <a:gd name="connsiteX18" fmla="*/ 5389 w 10000"/>
                    <a:gd name="connsiteY18" fmla="*/ 9214 h 10000"/>
                    <a:gd name="connsiteX19" fmla="*/ 5455 w 10000"/>
                    <a:gd name="connsiteY19" fmla="*/ 9147 h 10000"/>
                    <a:gd name="connsiteX20" fmla="*/ 5389 w 10000"/>
                    <a:gd name="connsiteY20" fmla="*/ 9069 h 10000"/>
                    <a:gd name="connsiteX21" fmla="*/ 5389 w 10000"/>
                    <a:gd name="connsiteY21" fmla="*/ 9069 h 10000"/>
                    <a:gd name="connsiteX22" fmla="*/ 5324 w 10000"/>
                    <a:gd name="connsiteY22" fmla="*/ 9020 h 10000"/>
                    <a:gd name="connsiteX23" fmla="*/ 5259 w 10000"/>
                    <a:gd name="connsiteY23" fmla="*/ 8986 h 10000"/>
                    <a:gd name="connsiteX24" fmla="*/ 5128 w 10000"/>
                    <a:gd name="connsiteY24" fmla="*/ 8986 h 10000"/>
                    <a:gd name="connsiteX25" fmla="*/ 4936 w 10000"/>
                    <a:gd name="connsiteY25" fmla="*/ 9005 h 10000"/>
                    <a:gd name="connsiteX26" fmla="*/ 4545 w 10000"/>
                    <a:gd name="connsiteY26" fmla="*/ 9052 h 10000"/>
                    <a:gd name="connsiteX27" fmla="*/ 4026 w 10000"/>
                    <a:gd name="connsiteY27" fmla="*/ 9133 h 10000"/>
                    <a:gd name="connsiteX28" fmla="*/ 4026 w 10000"/>
                    <a:gd name="connsiteY28" fmla="*/ 9133 h 10000"/>
                    <a:gd name="connsiteX29" fmla="*/ 3702 w 10000"/>
                    <a:gd name="connsiteY29" fmla="*/ 9147 h 10000"/>
                    <a:gd name="connsiteX30" fmla="*/ 3573 w 10000"/>
                    <a:gd name="connsiteY30" fmla="*/ 9147 h 10000"/>
                    <a:gd name="connsiteX31" fmla="*/ 3507 w 10000"/>
                    <a:gd name="connsiteY31" fmla="*/ 9133 h 10000"/>
                    <a:gd name="connsiteX32" fmla="*/ 3247 w 10000"/>
                    <a:gd name="connsiteY32" fmla="*/ 8986 h 10000"/>
                    <a:gd name="connsiteX33" fmla="*/ 3247 w 10000"/>
                    <a:gd name="connsiteY33" fmla="*/ 8986 h 10000"/>
                    <a:gd name="connsiteX34" fmla="*/ 3117 w 10000"/>
                    <a:gd name="connsiteY34" fmla="*/ 8938 h 10000"/>
                    <a:gd name="connsiteX35" fmla="*/ 3117 w 10000"/>
                    <a:gd name="connsiteY35" fmla="*/ 8888 h 10000"/>
                    <a:gd name="connsiteX36" fmla="*/ 3117 w 10000"/>
                    <a:gd name="connsiteY36" fmla="*/ 8855 h 10000"/>
                    <a:gd name="connsiteX37" fmla="*/ 3184 w 10000"/>
                    <a:gd name="connsiteY37" fmla="*/ 8822 h 10000"/>
                    <a:gd name="connsiteX38" fmla="*/ 3312 w 10000"/>
                    <a:gd name="connsiteY38" fmla="*/ 8756 h 10000"/>
                    <a:gd name="connsiteX39" fmla="*/ 3443 w 10000"/>
                    <a:gd name="connsiteY39" fmla="*/ 8740 h 10000"/>
                    <a:gd name="connsiteX40" fmla="*/ 3443 w 10000"/>
                    <a:gd name="connsiteY40" fmla="*/ 8740 h 10000"/>
                    <a:gd name="connsiteX41" fmla="*/ 3443 w 10000"/>
                    <a:gd name="connsiteY41" fmla="*/ 8725 h 10000"/>
                    <a:gd name="connsiteX42" fmla="*/ 3507 w 10000"/>
                    <a:gd name="connsiteY42" fmla="*/ 8708 h 10000"/>
                    <a:gd name="connsiteX43" fmla="*/ 7646 w 10000"/>
                    <a:gd name="connsiteY43" fmla="*/ 8456 h 10000"/>
                    <a:gd name="connsiteX44" fmla="*/ 8116 w 10000"/>
                    <a:gd name="connsiteY44" fmla="*/ 8464 h 10000"/>
                    <a:gd name="connsiteX45" fmla="*/ 8116 w 10000"/>
                    <a:gd name="connsiteY45" fmla="*/ 8464 h 10000"/>
                    <a:gd name="connsiteX46" fmla="*/ 8442 w 10000"/>
                    <a:gd name="connsiteY46" fmla="*/ 8431 h 10000"/>
                    <a:gd name="connsiteX47" fmla="*/ 8702 w 10000"/>
                    <a:gd name="connsiteY47" fmla="*/ 8350 h 10000"/>
                    <a:gd name="connsiteX48" fmla="*/ 8636 w 10000"/>
                    <a:gd name="connsiteY48" fmla="*/ 8316 h 10000"/>
                    <a:gd name="connsiteX49" fmla="*/ 8636 w 10000"/>
                    <a:gd name="connsiteY49" fmla="*/ 8285 h 10000"/>
                    <a:gd name="connsiteX50" fmla="*/ 8312 w 10000"/>
                    <a:gd name="connsiteY50" fmla="*/ 8202 h 10000"/>
                    <a:gd name="connsiteX51" fmla="*/ 5975 w 10000"/>
                    <a:gd name="connsiteY51" fmla="*/ 7907 h 10000"/>
                    <a:gd name="connsiteX52" fmla="*/ 5975 w 10000"/>
                    <a:gd name="connsiteY52" fmla="*/ 7907 h 10000"/>
                    <a:gd name="connsiteX53" fmla="*/ 5714 w 10000"/>
                    <a:gd name="connsiteY53" fmla="*/ 7860 h 10000"/>
                    <a:gd name="connsiteX54" fmla="*/ 5519 w 10000"/>
                    <a:gd name="connsiteY54" fmla="*/ 7810 h 10000"/>
                    <a:gd name="connsiteX55" fmla="*/ 5389 w 10000"/>
                    <a:gd name="connsiteY55" fmla="*/ 7761 h 10000"/>
                    <a:gd name="connsiteX56" fmla="*/ 5389 w 10000"/>
                    <a:gd name="connsiteY56" fmla="*/ 7761 h 10000"/>
                    <a:gd name="connsiteX57" fmla="*/ 7729 w 10000"/>
                    <a:gd name="connsiteY57" fmla="*/ 7744 h 10000"/>
                    <a:gd name="connsiteX58" fmla="*/ 10000 w 10000"/>
                    <a:gd name="connsiteY58" fmla="*/ 7907 h 10000"/>
                    <a:gd name="connsiteX59" fmla="*/ 10000 w 10000"/>
                    <a:gd name="connsiteY59" fmla="*/ 6422 h 10000"/>
                    <a:gd name="connsiteX60" fmla="*/ 10000 w 10000"/>
                    <a:gd name="connsiteY60" fmla="*/ 6422 h 10000"/>
                    <a:gd name="connsiteX61" fmla="*/ 7404 w 10000"/>
                    <a:gd name="connsiteY61" fmla="*/ 6077 h 10000"/>
                    <a:gd name="connsiteX62" fmla="*/ 5975 w 10000"/>
                    <a:gd name="connsiteY62" fmla="*/ 5882 h 10000"/>
                    <a:gd name="connsiteX63" fmla="*/ 5975 w 10000"/>
                    <a:gd name="connsiteY63" fmla="*/ 5882 h 10000"/>
                    <a:gd name="connsiteX64" fmla="*/ 5975 w 10000"/>
                    <a:gd name="connsiteY64" fmla="*/ 5866 h 10000"/>
                    <a:gd name="connsiteX65" fmla="*/ 5975 w 10000"/>
                    <a:gd name="connsiteY65" fmla="*/ 5768 h 10000"/>
                    <a:gd name="connsiteX66" fmla="*/ 5975 w 10000"/>
                    <a:gd name="connsiteY66" fmla="*/ 5768 h 10000"/>
                    <a:gd name="connsiteX67" fmla="*/ 5779 w 10000"/>
                    <a:gd name="connsiteY67" fmla="*/ 5651 h 10000"/>
                    <a:gd name="connsiteX68" fmla="*/ 5389 w 10000"/>
                    <a:gd name="connsiteY68" fmla="*/ 5473 h 10000"/>
                    <a:gd name="connsiteX69" fmla="*/ 4545 w 10000"/>
                    <a:gd name="connsiteY69" fmla="*/ 5130 h 10000"/>
                    <a:gd name="connsiteX70" fmla="*/ 4545 w 10000"/>
                    <a:gd name="connsiteY70" fmla="*/ 5130 h 10000"/>
                    <a:gd name="connsiteX71" fmla="*/ 4352 w 10000"/>
                    <a:gd name="connsiteY71" fmla="*/ 5081 h 10000"/>
                    <a:gd name="connsiteX72" fmla="*/ 4026 w 10000"/>
                    <a:gd name="connsiteY72" fmla="*/ 5016 h 10000"/>
                    <a:gd name="connsiteX73" fmla="*/ 3052 w 10000"/>
                    <a:gd name="connsiteY73" fmla="*/ 4868 h 10000"/>
                    <a:gd name="connsiteX74" fmla="*/ 1689 w 10000"/>
                    <a:gd name="connsiteY74" fmla="*/ 4690 h 10000"/>
                    <a:gd name="connsiteX75" fmla="*/ 1689 w 10000"/>
                    <a:gd name="connsiteY75" fmla="*/ 4690 h 10000"/>
                    <a:gd name="connsiteX76" fmla="*/ 1103 w 10000"/>
                    <a:gd name="connsiteY76" fmla="*/ 4672 h 10000"/>
                    <a:gd name="connsiteX77" fmla="*/ 650 w 10000"/>
                    <a:gd name="connsiteY77" fmla="*/ 4655 h 10000"/>
                    <a:gd name="connsiteX78" fmla="*/ 521 w 10000"/>
                    <a:gd name="connsiteY78" fmla="*/ 4639 h 10000"/>
                    <a:gd name="connsiteX79" fmla="*/ 390 w 10000"/>
                    <a:gd name="connsiteY79" fmla="*/ 4624 h 10000"/>
                    <a:gd name="connsiteX80" fmla="*/ 390 w 10000"/>
                    <a:gd name="connsiteY80" fmla="*/ 4624 h 10000"/>
                    <a:gd name="connsiteX81" fmla="*/ 261 w 10000"/>
                    <a:gd name="connsiteY81" fmla="*/ 4557 h 10000"/>
                    <a:gd name="connsiteX82" fmla="*/ 65 w 10000"/>
                    <a:gd name="connsiteY82" fmla="*/ 4445 h 10000"/>
                    <a:gd name="connsiteX83" fmla="*/ 0 w 10000"/>
                    <a:gd name="connsiteY83" fmla="*/ 4379 h 10000"/>
                    <a:gd name="connsiteX84" fmla="*/ 0 w 10000"/>
                    <a:gd name="connsiteY84" fmla="*/ 4312 h 10000"/>
                    <a:gd name="connsiteX85" fmla="*/ 0 w 10000"/>
                    <a:gd name="connsiteY85" fmla="*/ 4264 h 10000"/>
                    <a:gd name="connsiteX86" fmla="*/ 131 w 10000"/>
                    <a:gd name="connsiteY86" fmla="*/ 4214 h 10000"/>
                    <a:gd name="connsiteX87" fmla="*/ 131 w 10000"/>
                    <a:gd name="connsiteY87" fmla="*/ 4214 h 10000"/>
                    <a:gd name="connsiteX88" fmla="*/ 455 w 10000"/>
                    <a:gd name="connsiteY88" fmla="*/ 4133 h 10000"/>
                    <a:gd name="connsiteX89" fmla="*/ 779 w 10000"/>
                    <a:gd name="connsiteY89" fmla="*/ 4053 h 10000"/>
                    <a:gd name="connsiteX90" fmla="*/ 975 w 10000"/>
                    <a:gd name="connsiteY90" fmla="*/ 4004 h 10000"/>
                    <a:gd name="connsiteX91" fmla="*/ 1103 w 10000"/>
                    <a:gd name="connsiteY91" fmla="*/ 3954 h 10000"/>
                    <a:gd name="connsiteX92" fmla="*/ 1103 w 10000"/>
                    <a:gd name="connsiteY92" fmla="*/ 3888 h 10000"/>
                    <a:gd name="connsiteX93" fmla="*/ 1103 w 10000"/>
                    <a:gd name="connsiteY93" fmla="*/ 3807 h 10000"/>
                    <a:gd name="connsiteX94" fmla="*/ 1103 w 10000"/>
                    <a:gd name="connsiteY94" fmla="*/ 3807 h 10000"/>
                    <a:gd name="connsiteX95" fmla="*/ 845 w 10000"/>
                    <a:gd name="connsiteY95" fmla="*/ 3577 h 10000"/>
                    <a:gd name="connsiteX96" fmla="*/ 521 w 10000"/>
                    <a:gd name="connsiteY96" fmla="*/ 3268 h 10000"/>
                    <a:gd name="connsiteX97" fmla="*/ 261 w 10000"/>
                    <a:gd name="connsiteY97" fmla="*/ 2989 h 10000"/>
                    <a:gd name="connsiteX98" fmla="*/ 195 w 10000"/>
                    <a:gd name="connsiteY98" fmla="*/ 2908 h 10000"/>
                    <a:gd name="connsiteX99" fmla="*/ 195 w 10000"/>
                    <a:gd name="connsiteY99" fmla="*/ 2875 h 10000"/>
                    <a:gd name="connsiteX100" fmla="*/ 261 w 10000"/>
                    <a:gd name="connsiteY100" fmla="*/ 2858 h 10000"/>
                    <a:gd name="connsiteX101" fmla="*/ 261 w 10000"/>
                    <a:gd name="connsiteY101" fmla="*/ 2858 h 10000"/>
                    <a:gd name="connsiteX102" fmla="*/ 650 w 10000"/>
                    <a:gd name="connsiteY102" fmla="*/ 2843 h 10000"/>
                    <a:gd name="connsiteX103" fmla="*/ 908 w 10000"/>
                    <a:gd name="connsiteY103" fmla="*/ 2843 h 10000"/>
                    <a:gd name="connsiteX104" fmla="*/ 1103 w 10000"/>
                    <a:gd name="connsiteY104" fmla="*/ 2858 h 10000"/>
                    <a:gd name="connsiteX105" fmla="*/ 1103 w 10000"/>
                    <a:gd name="connsiteY105" fmla="*/ 2858 h 10000"/>
                    <a:gd name="connsiteX106" fmla="*/ 1168 w 10000"/>
                    <a:gd name="connsiteY106" fmla="*/ 2858 h 10000"/>
                    <a:gd name="connsiteX107" fmla="*/ 1235 w 10000"/>
                    <a:gd name="connsiteY107" fmla="*/ 2827 h 10000"/>
                    <a:gd name="connsiteX108" fmla="*/ 1559 w 10000"/>
                    <a:gd name="connsiteY108" fmla="*/ 2729 h 10000"/>
                    <a:gd name="connsiteX109" fmla="*/ 2402 w 10000"/>
                    <a:gd name="connsiteY109" fmla="*/ 2401 h 10000"/>
                    <a:gd name="connsiteX110" fmla="*/ 3507 w 10000"/>
                    <a:gd name="connsiteY110" fmla="*/ 1930 h 10000"/>
                    <a:gd name="connsiteX111" fmla="*/ 3507 w 10000"/>
                    <a:gd name="connsiteY111" fmla="*/ 1930 h 10000"/>
                    <a:gd name="connsiteX112" fmla="*/ 3507 w 10000"/>
                    <a:gd name="connsiteY112" fmla="*/ 1863 h 10000"/>
                    <a:gd name="connsiteX113" fmla="*/ 3507 w 10000"/>
                    <a:gd name="connsiteY113" fmla="*/ 1713 h 10000"/>
                    <a:gd name="connsiteX114" fmla="*/ 3573 w 10000"/>
                    <a:gd name="connsiteY114" fmla="*/ 1617 h 10000"/>
                    <a:gd name="connsiteX115" fmla="*/ 3702 w 10000"/>
                    <a:gd name="connsiteY115" fmla="*/ 1535 h 10000"/>
                    <a:gd name="connsiteX116" fmla="*/ 3896 w 10000"/>
                    <a:gd name="connsiteY116" fmla="*/ 1438 h 10000"/>
                    <a:gd name="connsiteX117" fmla="*/ 4156 w 10000"/>
                    <a:gd name="connsiteY117" fmla="*/ 1357 h 10000"/>
                    <a:gd name="connsiteX118" fmla="*/ 4156 w 10000"/>
                    <a:gd name="connsiteY118" fmla="*/ 1357 h 10000"/>
                    <a:gd name="connsiteX119" fmla="*/ 4806 w 10000"/>
                    <a:gd name="connsiteY119" fmla="*/ 1194 h 10000"/>
                    <a:gd name="connsiteX120" fmla="*/ 5455 w 10000"/>
                    <a:gd name="connsiteY120" fmla="*/ 979 h 10000"/>
                    <a:gd name="connsiteX121" fmla="*/ 6104 w 10000"/>
                    <a:gd name="connsiteY121" fmla="*/ 784 h 10000"/>
                    <a:gd name="connsiteX122" fmla="*/ 6559 w 10000"/>
                    <a:gd name="connsiteY122" fmla="*/ 606 h 10000"/>
                    <a:gd name="connsiteX123" fmla="*/ 6559 w 10000"/>
                    <a:gd name="connsiteY123" fmla="*/ 606 h 10000"/>
                    <a:gd name="connsiteX124" fmla="*/ 6882 w 10000"/>
                    <a:gd name="connsiteY124" fmla="*/ 442 h 10000"/>
                    <a:gd name="connsiteX125" fmla="*/ 7273 w 10000"/>
                    <a:gd name="connsiteY125" fmla="*/ 245 h 10000"/>
                    <a:gd name="connsiteX126" fmla="*/ 7663 w 10000"/>
                    <a:gd name="connsiteY126" fmla="*/ 97 h 10000"/>
                    <a:gd name="connsiteX127" fmla="*/ 7856 w 10000"/>
                    <a:gd name="connsiteY127" fmla="*/ 30 h 10000"/>
                    <a:gd name="connsiteX128" fmla="*/ 8051 w 10000"/>
                    <a:gd name="connsiteY128" fmla="*/ 15 h 10000"/>
                    <a:gd name="connsiteX129" fmla="*/ 8051 w 10000"/>
                    <a:gd name="connsiteY129" fmla="*/ 15 h 10000"/>
                    <a:gd name="connsiteX130" fmla="*/ 8442 w 10000"/>
                    <a:gd name="connsiteY130" fmla="*/ 0 h 10000"/>
                    <a:gd name="connsiteX131" fmla="*/ 8961 w 10000"/>
                    <a:gd name="connsiteY131" fmla="*/ 0 h 10000"/>
                    <a:gd name="connsiteX132" fmla="*/ 10000 w 10000"/>
                    <a:gd name="connsiteY132" fmla="*/ 15 h 10000"/>
                    <a:gd name="connsiteX133" fmla="*/ 8506 w 10000"/>
                    <a:gd name="connsiteY133" fmla="*/ 9950 h 10000"/>
                    <a:gd name="connsiteX134" fmla="*/ 8181 w 10000"/>
                    <a:gd name="connsiteY134" fmla="*/ 9821 h 10000"/>
                    <a:gd name="connsiteX135" fmla="*/ 7404 w 10000"/>
                    <a:gd name="connsiteY135" fmla="*/ 9525 h 10000"/>
                    <a:gd name="connsiteX136" fmla="*/ 5584 w 10000"/>
                    <a:gd name="connsiteY136" fmla="*/ 9493 h 10000"/>
                    <a:gd name="connsiteX137" fmla="*/ 5389 w 10000"/>
                    <a:gd name="connsiteY137" fmla="*/ 9167 h 10000"/>
                    <a:gd name="connsiteX138" fmla="*/ 5389 w 10000"/>
                    <a:gd name="connsiteY138" fmla="*/ 9101 h 10000"/>
                    <a:gd name="connsiteX139" fmla="*/ 5259 w 10000"/>
                    <a:gd name="connsiteY139" fmla="*/ 9020 h 10000"/>
                    <a:gd name="connsiteX140" fmla="*/ 5195 w 10000"/>
                    <a:gd name="connsiteY140" fmla="*/ 9005 h 10000"/>
                    <a:gd name="connsiteX141" fmla="*/ 4026 w 10000"/>
                    <a:gd name="connsiteY141" fmla="*/ 9118 h 10000"/>
                    <a:gd name="connsiteX142" fmla="*/ 3702 w 10000"/>
                    <a:gd name="connsiteY142" fmla="*/ 9147 h 10000"/>
                    <a:gd name="connsiteX143" fmla="*/ 3247 w 10000"/>
                    <a:gd name="connsiteY143" fmla="*/ 8986 h 10000"/>
                    <a:gd name="connsiteX144" fmla="*/ 3247 w 10000"/>
                    <a:gd name="connsiteY144" fmla="*/ 8986 h 10000"/>
                    <a:gd name="connsiteX145" fmla="*/ 3117 w 10000"/>
                    <a:gd name="connsiteY145" fmla="*/ 8807 h 10000"/>
                    <a:gd name="connsiteX146" fmla="*/ 3117 w 10000"/>
                    <a:gd name="connsiteY146" fmla="*/ 8807 h 10000"/>
                    <a:gd name="connsiteX147" fmla="*/ 3312 w 10000"/>
                    <a:gd name="connsiteY147" fmla="*/ 8756 h 10000"/>
                    <a:gd name="connsiteX148" fmla="*/ 3443 w 10000"/>
                    <a:gd name="connsiteY148" fmla="*/ 8740 h 10000"/>
                    <a:gd name="connsiteX149" fmla="*/ 2661 w 10000"/>
                    <a:gd name="connsiteY149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8571 w 10000"/>
                    <a:gd name="connsiteY3" fmla="*/ 9965 h 10000"/>
                    <a:gd name="connsiteX4" fmla="*/ 8571 w 10000"/>
                    <a:gd name="connsiteY4" fmla="*/ 9965 h 10000"/>
                    <a:gd name="connsiteX5" fmla="*/ 8181 w 10000"/>
                    <a:gd name="connsiteY5" fmla="*/ 9771 h 10000"/>
                    <a:gd name="connsiteX6" fmla="*/ 7856 w 10000"/>
                    <a:gd name="connsiteY6" fmla="*/ 9591 h 10000"/>
                    <a:gd name="connsiteX7" fmla="*/ 7856 w 10000"/>
                    <a:gd name="connsiteY7" fmla="*/ 9591 h 10000"/>
                    <a:gd name="connsiteX8" fmla="*/ 7729 w 10000"/>
                    <a:gd name="connsiteY8" fmla="*/ 9559 h 10000"/>
                    <a:gd name="connsiteX9" fmla="*/ 7533 w 10000"/>
                    <a:gd name="connsiteY9" fmla="*/ 9525 h 10000"/>
                    <a:gd name="connsiteX10" fmla="*/ 7013 w 10000"/>
                    <a:gd name="connsiteY10" fmla="*/ 9509 h 10000"/>
                    <a:gd name="connsiteX11" fmla="*/ 6364 w 10000"/>
                    <a:gd name="connsiteY11" fmla="*/ 9493 h 10000"/>
                    <a:gd name="connsiteX12" fmla="*/ 5779 w 10000"/>
                    <a:gd name="connsiteY12" fmla="*/ 9493 h 10000"/>
                    <a:gd name="connsiteX13" fmla="*/ 5779 w 10000"/>
                    <a:gd name="connsiteY13" fmla="*/ 9493 h 10000"/>
                    <a:gd name="connsiteX14" fmla="*/ 5519 w 10000"/>
                    <a:gd name="connsiteY14" fmla="*/ 9474 h 10000"/>
                    <a:gd name="connsiteX15" fmla="*/ 5389 w 10000"/>
                    <a:gd name="connsiteY15" fmla="*/ 9444 h 10000"/>
                    <a:gd name="connsiteX16" fmla="*/ 5324 w 10000"/>
                    <a:gd name="connsiteY16" fmla="*/ 9409 h 10000"/>
                    <a:gd name="connsiteX17" fmla="*/ 5389 w 10000"/>
                    <a:gd name="connsiteY17" fmla="*/ 9214 h 10000"/>
                    <a:gd name="connsiteX18" fmla="*/ 5455 w 10000"/>
                    <a:gd name="connsiteY18" fmla="*/ 9147 h 10000"/>
                    <a:gd name="connsiteX19" fmla="*/ 5389 w 10000"/>
                    <a:gd name="connsiteY19" fmla="*/ 9069 h 10000"/>
                    <a:gd name="connsiteX20" fmla="*/ 5389 w 10000"/>
                    <a:gd name="connsiteY20" fmla="*/ 9069 h 10000"/>
                    <a:gd name="connsiteX21" fmla="*/ 5324 w 10000"/>
                    <a:gd name="connsiteY21" fmla="*/ 9020 h 10000"/>
                    <a:gd name="connsiteX22" fmla="*/ 5259 w 10000"/>
                    <a:gd name="connsiteY22" fmla="*/ 8986 h 10000"/>
                    <a:gd name="connsiteX23" fmla="*/ 5128 w 10000"/>
                    <a:gd name="connsiteY23" fmla="*/ 8986 h 10000"/>
                    <a:gd name="connsiteX24" fmla="*/ 4936 w 10000"/>
                    <a:gd name="connsiteY24" fmla="*/ 9005 h 10000"/>
                    <a:gd name="connsiteX25" fmla="*/ 4545 w 10000"/>
                    <a:gd name="connsiteY25" fmla="*/ 9052 h 10000"/>
                    <a:gd name="connsiteX26" fmla="*/ 4026 w 10000"/>
                    <a:gd name="connsiteY26" fmla="*/ 9133 h 10000"/>
                    <a:gd name="connsiteX27" fmla="*/ 4026 w 10000"/>
                    <a:gd name="connsiteY27" fmla="*/ 9133 h 10000"/>
                    <a:gd name="connsiteX28" fmla="*/ 3702 w 10000"/>
                    <a:gd name="connsiteY28" fmla="*/ 9147 h 10000"/>
                    <a:gd name="connsiteX29" fmla="*/ 3573 w 10000"/>
                    <a:gd name="connsiteY29" fmla="*/ 9147 h 10000"/>
                    <a:gd name="connsiteX30" fmla="*/ 3507 w 10000"/>
                    <a:gd name="connsiteY30" fmla="*/ 9133 h 10000"/>
                    <a:gd name="connsiteX31" fmla="*/ 3247 w 10000"/>
                    <a:gd name="connsiteY31" fmla="*/ 8986 h 10000"/>
                    <a:gd name="connsiteX32" fmla="*/ 3247 w 10000"/>
                    <a:gd name="connsiteY32" fmla="*/ 8986 h 10000"/>
                    <a:gd name="connsiteX33" fmla="*/ 3117 w 10000"/>
                    <a:gd name="connsiteY33" fmla="*/ 8938 h 10000"/>
                    <a:gd name="connsiteX34" fmla="*/ 3117 w 10000"/>
                    <a:gd name="connsiteY34" fmla="*/ 8888 h 10000"/>
                    <a:gd name="connsiteX35" fmla="*/ 3117 w 10000"/>
                    <a:gd name="connsiteY35" fmla="*/ 8855 h 10000"/>
                    <a:gd name="connsiteX36" fmla="*/ 3184 w 10000"/>
                    <a:gd name="connsiteY36" fmla="*/ 8822 h 10000"/>
                    <a:gd name="connsiteX37" fmla="*/ 3312 w 10000"/>
                    <a:gd name="connsiteY37" fmla="*/ 8756 h 10000"/>
                    <a:gd name="connsiteX38" fmla="*/ 3443 w 10000"/>
                    <a:gd name="connsiteY38" fmla="*/ 8740 h 10000"/>
                    <a:gd name="connsiteX39" fmla="*/ 3443 w 10000"/>
                    <a:gd name="connsiteY39" fmla="*/ 8740 h 10000"/>
                    <a:gd name="connsiteX40" fmla="*/ 3443 w 10000"/>
                    <a:gd name="connsiteY40" fmla="*/ 8725 h 10000"/>
                    <a:gd name="connsiteX41" fmla="*/ 3507 w 10000"/>
                    <a:gd name="connsiteY41" fmla="*/ 8708 h 10000"/>
                    <a:gd name="connsiteX42" fmla="*/ 7646 w 10000"/>
                    <a:gd name="connsiteY42" fmla="*/ 8456 h 10000"/>
                    <a:gd name="connsiteX43" fmla="*/ 8116 w 10000"/>
                    <a:gd name="connsiteY43" fmla="*/ 8464 h 10000"/>
                    <a:gd name="connsiteX44" fmla="*/ 8116 w 10000"/>
                    <a:gd name="connsiteY44" fmla="*/ 8464 h 10000"/>
                    <a:gd name="connsiteX45" fmla="*/ 8442 w 10000"/>
                    <a:gd name="connsiteY45" fmla="*/ 8431 h 10000"/>
                    <a:gd name="connsiteX46" fmla="*/ 8702 w 10000"/>
                    <a:gd name="connsiteY46" fmla="*/ 8350 h 10000"/>
                    <a:gd name="connsiteX47" fmla="*/ 8636 w 10000"/>
                    <a:gd name="connsiteY47" fmla="*/ 8316 h 10000"/>
                    <a:gd name="connsiteX48" fmla="*/ 8636 w 10000"/>
                    <a:gd name="connsiteY48" fmla="*/ 8285 h 10000"/>
                    <a:gd name="connsiteX49" fmla="*/ 8312 w 10000"/>
                    <a:gd name="connsiteY49" fmla="*/ 8202 h 10000"/>
                    <a:gd name="connsiteX50" fmla="*/ 5975 w 10000"/>
                    <a:gd name="connsiteY50" fmla="*/ 7907 h 10000"/>
                    <a:gd name="connsiteX51" fmla="*/ 5975 w 10000"/>
                    <a:gd name="connsiteY51" fmla="*/ 7907 h 10000"/>
                    <a:gd name="connsiteX52" fmla="*/ 5714 w 10000"/>
                    <a:gd name="connsiteY52" fmla="*/ 7860 h 10000"/>
                    <a:gd name="connsiteX53" fmla="*/ 5519 w 10000"/>
                    <a:gd name="connsiteY53" fmla="*/ 7810 h 10000"/>
                    <a:gd name="connsiteX54" fmla="*/ 5389 w 10000"/>
                    <a:gd name="connsiteY54" fmla="*/ 7761 h 10000"/>
                    <a:gd name="connsiteX55" fmla="*/ 5389 w 10000"/>
                    <a:gd name="connsiteY55" fmla="*/ 7761 h 10000"/>
                    <a:gd name="connsiteX56" fmla="*/ 7729 w 10000"/>
                    <a:gd name="connsiteY56" fmla="*/ 7744 h 10000"/>
                    <a:gd name="connsiteX57" fmla="*/ 10000 w 10000"/>
                    <a:gd name="connsiteY57" fmla="*/ 7907 h 10000"/>
                    <a:gd name="connsiteX58" fmla="*/ 10000 w 10000"/>
                    <a:gd name="connsiteY58" fmla="*/ 6422 h 10000"/>
                    <a:gd name="connsiteX59" fmla="*/ 10000 w 10000"/>
                    <a:gd name="connsiteY59" fmla="*/ 6422 h 10000"/>
                    <a:gd name="connsiteX60" fmla="*/ 7404 w 10000"/>
                    <a:gd name="connsiteY60" fmla="*/ 6077 h 10000"/>
                    <a:gd name="connsiteX61" fmla="*/ 5975 w 10000"/>
                    <a:gd name="connsiteY61" fmla="*/ 5882 h 10000"/>
                    <a:gd name="connsiteX62" fmla="*/ 5975 w 10000"/>
                    <a:gd name="connsiteY62" fmla="*/ 5882 h 10000"/>
                    <a:gd name="connsiteX63" fmla="*/ 5975 w 10000"/>
                    <a:gd name="connsiteY63" fmla="*/ 5866 h 10000"/>
                    <a:gd name="connsiteX64" fmla="*/ 5975 w 10000"/>
                    <a:gd name="connsiteY64" fmla="*/ 5768 h 10000"/>
                    <a:gd name="connsiteX65" fmla="*/ 5975 w 10000"/>
                    <a:gd name="connsiteY65" fmla="*/ 5768 h 10000"/>
                    <a:gd name="connsiteX66" fmla="*/ 5779 w 10000"/>
                    <a:gd name="connsiteY66" fmla="*/ 5651 h 10000"/>
                    <a:gd name="connsiteX67" fmla="*/ 5389 w 10000"/>
                    <a:gd name="connsiteY67" fmla="*/ 5473 h 10000"/>
                    <a:gd name="connsiteX68" fmla="*/ 4545 w 10000"/>
                    <a:gd name="connsiteY68" fmla="*/ 5130 h 10000"/>
                    <a:gd name="connsiteX69" fmla="*/ 4545 w 10000"/>
                    <a:gd name="connsiteY69" fmla="*/ 5130 h 10000"/>
                    <a:gd name="connsiteX70" fmla="*/ 4352 w 10000"/>
                    <a:gd name="connsiteY70" fmla="*/ 5081 h 10000"/>
                    <a:gd name="connsiteX71" fmla="*/ 4026 w 10000"/>
                    <a:gd name="connsiteY71" fmla="*/ 5016 h 10000"/>
                    <a:gd name="connsiteX72" fmla="*/ 3052 w 10000"/>
                    <a:gd name="connsiteY72" fmla="*/ 4868 h 10000"/>
                    <a:gd name="connsiteX73" fmla="*/ 1689 w 10000"/>
                    <a:gd name="connsiteY73" fmla="*/ 4690 h 10000"/>
                    <a:gd name="connsiteX74" fmla="*/ 1689 w 10000"/>
                    <a:gd name="connsiteY74" fmla="*/ 4690 h 10000"/>
                    <a:gd name="connsiteX75" fmla="*/ 1103 w 10000"/>
                    <a:gd name="connsiteY75" fmla="*/ 4672 h 10000"/>
                    <a:gd name="connsiteX76" fmla="*/ 650 w 10000"/>
                    <a:gd name="connsiteY76" fmla="*/ 4655 h 10000"/>
                    <a:gd name="connsiteX77" fmla="*/ 521 w 10000"/>
                    <a:gd name="connsiteY77" fmla="*/ 4639 h 10000"/>
                    <a:gd name="connsiteX78" fmla="*/ 390 w 10000"/>
                    <a:gd name="connsiteY78" fmla="*/ 4624 h 10000"/>
                    <a:gd name="connsiteX79" fmla="*/ 390 w 10000"/>
                    <a:gd name="connsiteY79" fmla="*/ 4624 h 10000"/>
                    <a:gd name="connsiteX80" fmla="*/ 261 w 10000"/>
                    <a:gd name="connsiteY80" fmla="*/ 4557 h 10000"/>
                    <a:gd name="connsiteX81" fmla="*/ 65 w 10000"/>
                    <a:gd name="connsiteY81" fmla="*/ 4445 h 10000"/>
                    <a:gd name="connsiteX82" fmla="*/ 0 w 10000"/>
                    <a:gd name="connsiteY82" fmla="*/ 4379 h 10000"/>
                    <a:gd name="connsiteX83" fmla="*/ 0 w 10000"/>
                    <a:gd name="connsiteY83" fmla="*/ 4312 h 10000"/>
                    <a:gd name="connsiteX84" fmla="*/ 0 w 10000"/>
                    <a:gd name="connsiteY84" fmla="*/ 4264 h 10000"/>
                    <a:gd name="connsiteX85" fmla="*/ 131 w 10000"/>
                    <a:gd name="connsiteY85" fmla="*/ 4214 h 10000"/>
                    <a:gd name="connsiteX86" fmla="*/ 131 w 10000"/>
                    <a:gd name="connsiteY86" fmla="*/ 4214 h 10000"/>
                    <a:gd name="connsiteX87" fmla="*/ 455 w 10000"/>
                    <a:gd name="connsiteY87" fmla="*/ 4133 h 10000"/>
                    <a:gd name="connsiteX88" fmla="*/ 779 w 10000"/>
                    <a:gd name="connsiteY88" fmla="*/ 4053 h 10000"/>
                    <a:gd name="connsiteX89" fmla="*/ 975 w 10000"/>
                    <a:gd name="connsiteY89" fmla="*/ 4004 h 10000"/>
                    <a:gd name="connsiteX90" fmla="*/ 1103 w 10000"/>
                    <a:gd name="connsiteY90" fmla="*/ 3954 h 10000"/>
                    <a:gd name="connsiteX91" fmla="*/ 1103 w 10000"/>
                    <a:gd name="connsiteY91" fmla="*/ 3888 h 10000"/>
                    <a:gd name="connsiteX92" fmla="*/ 1103 w 10000"/>
                    <a:gd name="connsiteY92" fmla="*/ 3807 h 10000"/>
                    <a:gd name="connsiteX93" fmla="*/ 1103 w 10000"/>
                    <a:gd name="connsiteY93" fmla="*/ 3807 h 10000"/>
                    <a:gd name="connsiteX94" fmla="*/ 845 w 10000"/>
                    <a:gd name="connsiteY94" fmla="*/ 3577 h 10000"/>
                    <a:gd name="connsiteX95" fmla="*/ 521 w 10000"/>
                    <a:gd name="connsiteY95" fmla="*/ 3268 h 10000"/>
                    <a:gd name="connsiteX96" fmla="*/ 261 w 10000"/>
                    <a:gd name="connsiteY96" fmla="*/ 2989 h 10000"/>
                    <a:gd name="connsiteX97" fmla="*/ 195 w 10000"/>
                    <a:gd name="connsiteY97" fmla="*/ 2908 h 10000"/>
                    <a:gd name="connsiteX98" fmla="*/ 195 w 10000"/>
                    <a:gd name="connsiteY98" fmla="*/ 2875 h 10000"/>
                    <a:gd name="connsiteX99" fmla="*/ 261 w 10000"/>
                    <a:gd name="connsiteY99" fmla="*/ 2858 h 10000"/>
                    <a:gd name="connsiteX100" fmla="*/ 261 w 10000"/>
                    <a:gd name="connsiteY100" fmla="*/ 2858 h 10000"/>
                    <a:gd name="connsiteX101" fmla="*/ 650 w 10000"/>
                    <a:gd name="connsiteY101" fmla="*/ 2843 h 10000"/>
                    <a:gd name="connsiteX102" fmla="*/ 908 w 10000"/>
                    <a:gd name="connsiteY102" fmla="*/ 2843 h 10000"/>
                    <a:gd name="connsiteX103" fmla="*/ 1103 w 10000"/>
                    <a:gd name="connsiteY103" fmla="*/ 2858 h 10000"/>
                    <a:gd name="connsiteX104" fmla="*/ 1103 w 10000"/>
                    <a:gd name="connsiteY104" fmla="*/ 2858 h 10000"/>
                    <a:gd name="connsiteX105" fmla="*/ 1168 w 10000"/>
                    <a:gd name="connsiteY105" fmla="*/ 2858 h 10000"/>
                    <a:gd name="connsiteX106" fmla="*/ 1235 w 10000"/>
                    <a:gd name="connsiteY106" fmla="*/ 2827 h 10000"/>
                    <a:gd name="connsiteX107" fmla="*/ 1559 w 10000"/>
                    <a:gd name="connsiteY107" fmla="*/ 2729 h 10000"/>
                    <a:gd name="connsiteX108" fmla="*/ 2402 w 10000"/>
                    <a:gd name="connsiteY108" fmla="*/ 2401 h 10000"/>
                    <a:gd name="connsiteX109" fmla="*/ 3507 w 10000"/>
                    <a:gd name="connsiteY109" fmla="*/ 1930 h 10000"/>
                    <a:gd name="connsiteX110" fmla="*/ 3507 w 10000"/>
                    <a:gd name="connsiteY110" fmla="*/ 1930 h 10000"/>
                    <a:gd name="connsiteX111" fmla="*/ 3507 w 10000"/>
                    <a:gd name="connsiteY111" fmla="*/ 1863 h 10000"/>
                    <a:gd name="connsiteX112" fmla="*/ 3507 w 10000"/>
                    <a:gd name="connsiteY112" fmla="*/ 1713 h 10000"/>
                    <a:gd name="connsiteX113" fmla="*/ 3573 w 10000"/>
                    <a:gd name="connsiteY113" fmla="*/ 1617 h 10000"/>
                    <a:gd name="connsiteX114" fmla="*/ 3702 w 10000"/>
                    <a:gd name="connsiteY114" fmla="*/ 1535 h 10000"/>
                    <a:gd name="connsiteX115" fmla="*/ 3896 w 10000"/>
                    <a:gd name="connsiteY115" fmla="*/ 1438 h 10000"/>
                    <a:gd name="connsiteX116" fmla="*/ 4156 w 10000"/>
                    <a:gd name="connsiteY116" fmla="*/ 1357 h 10000"/>
                    <a:gd name="connsiteX117" fmla="*/ 4156 w 10000"/>
                    <a:gd name="connsiteY117" fmla="*/ 1357 h 10000"/>
                    <a:gd name="connsiteX118" fmla="*/ 4806 w 10000"/>
                    <a:gd name="connsiteY118" fmla="*/ 1194 h 10000"/>
                    <a:gd name="connsiteX119" fmla="*/ 5455 w 10000"/>
                    <a:gd name="connsiteY119" fmla="*/ 979 h 10000"/>
                    <a:gd name="connsiteX120" fmla="*/ 6104 w 10000"/>
                    <a:gd name="connsiteY120" fmla="*/ 784 h 10000"/>
                    <a:gd name="connsiteX121" fmla="*/ 6559 w 10000"/>
                    <a:gd name="connsiteY121" fmla="*/ 606 h 10000"/>
                    <a:gd name="connsiteX122" fmla="*/ 6559 w 10000"/>
                    <a:gd name="connsiteY122" fmla="*/ 606 h 10000"/>
                    <a:gd name="connsiteX123" fmla="*/ 6882 w 10000"/>
                    <a:gd name="connsiteY123" fmla="*/ 442 h 10000"/>
                    <a:gd name="connsiteX124" fmla="*/ 7273 w 10000"/>
                    <a:gd name="connsiteY124" fmla="*/ 245 h 10000"/>
                    <a:gd name="connsiteX125" fmla="*/ 7663 w 10000"/>
                    <a:gd name="connsiteY125" fmla="*/ 97 h 10000"/>
                    <a:gd name="connsiteX126" fmla="*/ 7856 w 10000"/>
                    <a:gd name="connsiteY126" fmla="*/ 30 h 10000"/>
                    <a:gd name="connsiteX127" fmla="*/ 8051 w 10000"/>
                    <a:gd name="connsiteY127" fmla="*/ 15 h 10000"/>
                    <a:gd name="connsiteX128" fmla="*/ 8051 w 10000"/>
                    <a:gd name="connsiteY128" fmla="*/ 15 h 10000"/>
                    <a:gd name="connsiteX129" fmla="*/ 8442 w 10000"/>
                    <a:gd name="connsiteY129" fmla="*/ 0 h 10000"/>
                    <a:gd name="connsiteX130" fmla="*/ 8961 w 10000"/>
                    <a:gd name="connsiteY130" fmla="*/ 0 h 10000"/>
                    <a:gd name="connsiteX131" fmla="*/ 10000 w 10000"/>
                    <a:gd name="connsiteY131" fmla="*/ 15 h 10000"/>
                    <a:gd name="connsiteX132" fmla="*/ 8506 w 10000"/>
                    <a:gd name="connsiteY132" fmla="*/ 9950 h 10000"/>
                    <a:gd name="connsiteX133" fmla="*/ 8181 w 10000"/>
                    <a:gd name="connsiteY133" fmla="*/ 9821 h 10000"/>
                    <a:gd name="connsiteX134" fmla="*/ 7404 w 10000"/>
                    <a:gd name="connsiteY134" fmla="*/ 9525 h 10000"/>
                    <a:gd name="connsiteX135" fmla="*/ 5584 w 10000"/>
                    <a:gd name="connsiteY135" fmla="*/ 9493 h 10000"/>
                    <a:gd name="connsiteX136" fmla="*/ 5389 w 10000"/>
                    <a:gd name="connsiteY136" fmla="*/ 9167 h 10000"/>
                    <a:gd name="connsiteX137" fmla="*/ 5389 w 10000"/>
                    <a:gd name="connsiteY137" fmla="*/ 9101 h 10000"/>
                    <a:gd name="connsiteX138" fmla="*/ 5259 w 10000"/>
                    <a:gd name="connsiteY138" fmla="*/ 9020 h 10000"/>
                    <a:gd name="connsiteX139" fmla="*/ 5195 w 10000"/>
                    <a:gd name="connsiteY139" fmla="*/ 9005 h 10000"/>
                    <a:gd name="connsiteX140" fmla="*/ 4026 w 10000"/>
                    <a:gd name="connsiteY140" fmla="*/ 9118 h 10000"/>
                    <a:gd name="connsiteX141" fmla="*/ 3702 w 10000"/>
                    <a:gd name="connsiteY141" fmla="*/ 9147 h 10000"/>
                    <a:gd name="connsiteX142" fmla="*/ 3247 w 10000"/>
                    <a:gd name="connsiteY142" fmla="*/ 8986 h 10000"/>
                    <a:gd name="connsiteX143" fmla="*/ 3247 w 10000"/>
                    <a:gd name="connsiteY143" fmla="*/ 8986 h 10000"/>
                    <a:gd name="connsiteX144" fmla="*/ 3117 w 10000"/>
                    <a:gd name="connsiteY144" fmla="*/ 8807 h 10000"/>
                    <a:gd name="connsiteX145" fmla="*/ 3117 w 10000"/>
                    <a:gd name="connsiteY145" fmla="*/ 8807 h 10000"/>
                    <a:gd name="connsiteX146" fmla="*/ 3312 w 10000"/>
                    <a:gd name="connsiteY146" fmla="*/ 8756 h 10000"/>
                    <a:gd name="connsiteX147" fmla="*/ 3443 w 10000"/>
                    <a:gd name="connsiteY147" fmla="*/ 8740 h 10000"/>
                    <a:gd name="connsiteX148" fmla="*/ 2661 w 10000"/>
                    <a:gd name="connsiteY148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8571 w 10000"/>
                    <a:gd name="connsiteY3" fmla="*/ 9965 h 10000"/>
                    <a:gd name="connsiteX4" fmla="*/ 8571 w 10000"/>
                    <a:gd name="connsiteY4" fmla="*/ 9965 h 10000"/>
                    <a:gd name="connsiteX5" fmla="*/ 8181 w 10000"/>
                    <a:gd name="connsiteY5" fmla="*/ 9771 h 10000"/>
                    <a:gd name="connsiteX6" fmla="*/ 7856 w 10000"/>
                    <a:gd name="connsiteY6" fmla="*/ 9591 h 10000"/>
                    <a:gd name="connsiteX7" fmla="*/ 7856 w 10000"/>
                    <a:gd name="connsiteY7" fmla="*/ 9591 h 10000"/>
                    <a:gd name="connsiteX8" fmla="*/ 7729 w 10000"/>
                    <a:gd name="connsiteY8" fmla="*/ 9559 h 10000"/>
                    <a:gd name="connsiteX9" fmla="*/ 7533 w 10000"/>
                    <a:gd name="connsiteY9" fmla="*/ 9525 h 10000"/>
                    <a:gd name="connsiteX10" fmla="*/ 7013 w 10000"/>
                    <a:gd name="connsiteY10" fmla="*/ 9509 h 10000"/>
                    <a:gd name="connsiteX11" fmla="*/ 6364 w 10000"/>
                    <a:gd name="connsiteY11" fmla="*/ 9493 h 10000"/>
                    <a:gd name="connsiteX12" fmla="*/ 5779 w 10000"/>
                    <a:gd name="connsiteY12" fmla="*/ 9493 h 10000"/>
                    <a:gd name="connsiteX13" fmla="*/ 5779 w 10000"/>
                    <a:gd name="connsiteY13" fmla="*/ 9493 h 10000"/>
                    <a:gd name="connsiteX14" fmla="*/ 5519 w 10000"/>
                    <a:gd name="connsiteY14" fmla="*/ 9474 h 10000"/>
                    <a:gd name="connsiteX15" fmla="*/ 5389 w 10000"/>
                    <a:gd name="connsiteY15" fmla="*/ 9444 h 10000"/>
                    <a:gd name="connsiteX16" fmla="*/ 5324 w 10000"/>
                    <a:gd name="connsiteY16" fmla="*/ 9409 h 10000"/>
                    <a:gd name="connsiteX17" fmla="*/ 5389 w 10000"/>
                    <a:gd name="connsiteY17" fmla="*/ 9214 h 10000"/>
                    <a:gd name="connsiteX18" fmla="*/ 5455 w 10000"/>
                    <a:gd name="connsiteY18" fmla="*/ 9147 h 10000"/>
                    <a:gd name="connsiteX19" fmla="*/ 5389 w 10000"/>
                    <a:gd name="connsiteY19" fmla="*/ 9069 h 10000"/>
                    <a:gd name="connsiteX20" fmla="*/ 5389 w 10000"/>
                    <a:gd name="connsiteY20" fmla="*/ 9069 h 10000"/>
                    <a:gd name="connsiteX21" fmla="*/ 5324 w 10000"/>
                    <a:gd name="connsiteY21" fmla="*/ 9020 h 10000"/>
                    <a:gd name="connsiteX22" fmla="*/ 5259 w 10000"/>
                    <a:gd name="connsiteY22" fmla="*/ 8986 h 10000"/>
                    <a:gd name="connsiteX23" fmla="*/ 5128 w 10000"/>
                    <a:gd name="connsiteY23" fmla="*/ 8986 h 10000"/>
                    <a:gd name="connsiteX24" fmla="*/ 4936 w 10000"/>
                    <a:gd name="connsiteY24" fmla="*/ 9005 h 10000"/>
                    <a:gd name="connsiteX25" fmla="*/ 4545 w 10000"/>
                    <a:gd name="connsiteY25" fmla="*/ 9052 h 10000"/>
                    <a:gd name="connsiteX26" fmla="*/ 4026 w 10000"/>
                    <a:gd name="connsiteY26" fmla="*/ 9133 h 10000"/>
                    <a:gd name="connsiteX27" fmla="*/ 4026 w 10000"/>
                    <a:gd name="connsiteY27" fmla="*/ 9133 h 10000"/>
                    <a:gd name="connsiteX28" fmla="*/ 3702 w 10000"/>
                    <a:gd name="connsiteY28" fmla="*/ 9147 h 10000"/>
                    <a:gd name="connsiteX29" fmla="*/ 3573 w 10000"/>
                    <a:gd name="connsiteY29" fmla="*/ 9147 h 10000"/>
                    <a:gd name="connsiteX30" fmla="*/ 3507 w 10000"/>
                    <a:gd name="connsiteY30" fmla="*/ 9133 h 10000"/>
                    <a:gd name="connsiteX31" fmla="*/ 3247 w 10000"/>
                    <a:gd name="connsiteY31" fmla="*/ 8986 h 10000"/>
                    <a:gd name="connsiteX32" fmla="*/ 3247 w 10000"/>
                    <a:gd name="connsiteY32" fmla="*/ 8986 h 10000"/>
                    <a:gd name="connsiteX33" fmla="*/ 3117 w 10000"/>
                    <a:gd name="connsiteY33" fmla="*/ 8938 h 10000"/>
                    <a:gd name="connsiteX34" fmla="*/ 3117 w 10000"/>
                    <a:gd name="connsiteY34" fmla="*/ 8888 h 10000"/>
                    <a:gd name="connsiteX35" fmla="*/ 3117 w 10000"/>
                    <a:gd name="connsiteY35" fmla="*/ 8855 h 10000"/>
                    <a:gd name="connsiteX36" fmla="*/ 3184 w 10000"/>
                    <a:gd name="connsiteY36" fmla="*/ 8822 h 10000"/>
                    <a:gd name="connsiteX37" fmla="*/ 3312 w 10000"/>
                    <a:gd name="connsiteY37" fmla="*/ 8756 h 10000"/>
                    <a:gd name="connsiteX38" fmla="*/ 3443 w 10000"/>
                    <a:gd name="connsiteY38" fmla="*/ 8740 h 10000"/>
                    <a:gd name="connsiteX39" fmla="*/ 3443 w 10000"/>
                    <a:gd name="connsiteY39" fmla="*/ 8740 h 10000"/>
                    <a:gd name="connsiteX40" fmla="*/ 3443 w 10000"/>
                    <a:gd name="connsiteY40" fmla="*/ 8725 h 10000"/>
                    <a:gd name="connsiteX41" fmla="*/ 3507 w 10000"/>
                    <a:gd name="connsiteY41" fmla="*/ 8708 h 10000"/>
                    <a:gd name="connsiteX42" fmla="*/ 7646 w 10000"/>
                    <a:gd name="connsiteY42" fmla="*/ 8456 h 10000"/>
                    <a:gd name="connsiteX43" fmla="*/ 8116 w 10000"/>
                    <a:gd name="connsiteY43" fmla="*/ 8464 h 10000"/>
                    <a:gd name="connsiteX44" fmla="*/ 8116 w 10000"/>
                    <a:gd name="connsiteY44" fmla="*/ 8464 h 10000"/>
                    <a:gd name="connsiteX45" fmla="*/ 8442 w 10000"/>
                    <a:gd name="connsiteY45" fmla="*/ 8431 h 10000"/>
                    <a:gd name="connsiteX46" fmla="*/ 8702 w 10000"/>
                    <a:gd name="connsiteY46" fmla="*/ 8350 h 10000"/>
                    <a:gd name="connsiteX47" fmla="*/ 8636 w 10000"/>
                    <a:gd name="connsiteY47" fmla="*/ 8316 h 10000"/>
                    <a:gd name="connsiteX48" fmla="*/ 8636 w 10000"/>
                    <a:gd name="connsiteY48" fmla="*/ 8285 h 10000"/>
                    <a:gd name="connsiteX49" fmla="*/ 8312 w 10000"/>
                    <a:gd name="connsiteY49" fmla="*/ 8202 h 10000"/>
                    <a:gd name="connsiteX50" fmla="*/ 5975 w 10000"/>
                    <a:gd name="connsiteY50" fmla="*/ 7907 h 10000"/>
                    <a:gd name="connsiteX51" fmla="*/ 5975 w 10000"/>
                    <a:gd name="connsiteY51" fmla="*/ 7907 h 10000"/>
                    <a:gd name="connsiteX52" fmla="*/ 5714 w 10000"/>
                    <a:gd name="connsiteY52" fmla="*/ 7860 h 10000"/>
                    <a:gd name="connsiteX53" fmla="*/ 5519 w 10000"/>
                    <a:gd name="connsiteY53" fmla="*/ 7810 h 10000"/>
                    <a:gd name="connsiteX54" fmla="*/ 5389 w 10000"/>
                    <a:gd name="connsiteY54" fmla="*/ 7761 h 10000"/>
                    <a:gd name="connsiteX55" fmla="*/ 5389 w 10000"/>
                    <a:gd name="connsiteY55" fmla="*/ 7761 h 10000"/>
                    <a:gd name="connsiteX56" fmla="*/ 7729 w 10000"/>
                    <a:gd name="connsiteY56" fmla="*/ 7744 h 10000"/>
                    <a:gd name="connsiteX57" fmla="*/ 10000 w 10000"/>
                    <a:gd name="connsiteY57" fmla="*/ 7907 h 10000"/>
                    <a:gd name="connsiteX58" fmla="*/ 10000 w 10000"/>
                    <a:gd name="connsiteY58" fmla="*/ 6422 h 10000"/>
                    <a:gd name="connsiteX59" fmla="*/ 10000 w 10000"/>
                    <a:gd name="connsiteY59" fmla="*/ 6422 h 10000"/>
                    <a:gd name="connsiteX60" fmla="*/ 7404 w 10000"/>
                    <a:gd name="connsiteY60" fmla="*/ 6077 h 10000"/>
                    <a:gd name="connsiteX61" fmla="*/ 5975 w 10000"/>
                    <a:gd name="connsiteY61" fmla="*/ 5882 h 10000"/>
                    <a:gd name="connsiteX62" fmla="*/ 5975 w 10000"/>
                    <a:gd name="connsiteY62" fmla="*/ 5882 h 10000"/>
                    <a:gd name="connsiteX63" fmla="*/ 5975 w 10000"/>
                    <a:gd name="connsiteY63" fmla="*/ 5866 h 10000"/>
                    <a:gd name="connsiteX64" fmla="*/ 5975 w 10000"/>
                    <a:gd name="connsiteY64" fmla="*/ 5768 h 10000"/>
                    <a:gd name="connsiteX65" fmla="*/ 5975 w 10000"/>
                    <a:gd name="connsiteY65" fmla="*/ 5768 h 10000"/>
                    <a:gd name="connsiteX66" fmla="*/ 5779 w 10000"/>
                    <a:gd name="connsiteY66" fmla="*/ 5651 h 10000"/>
                    <a:gd name="connsiteX67" fmla="*/ 5389 w 10000"/>
                    <a:gd name="connsiteY67" fmla="*/ 5473 h 10000"/>
                    <a:gd name="connsiteX68" fmla="*/ 4545 w 10000"/>
                    <a:gd name="connsiteY68" fmla="*/ 5130 h 10000"/>
                    <a:gd name="connsiteX69" fmla="*/ 4545 w 10000"/>
                    <a:gd name="connsiteY69" fmla="*/ 5130 h 10000"/>
                    <a:gd name="connsiteX70" fmla="*/ 4352 w 10000"/>
                    <a:gd name="connsiteY70" fmla="*/ 5081 h 10000"/>
                    <a:gd name="connsiteX71" fmla="*/ 4026 w 10000"/>
                    <a:gd name="connsiteY71" fmla="*/ 5016 h 10000"/>
                    <a:gd name="connsiteX72" fmla="*/ 3052 w 10000"/>
                    <a:gd name="connsiteY72" fmla="*/ 4868 h 10000"/>
                    <a:gd name="connsiteX73" fmla="*/ 1689 w 10000"/>
                    <a:gd name="connsiteY73" fmla="*/ 4690 h 10000"/>
                    <a:gd name="connsiteX74" fmla="*/ 1689 w 10000"/>
                    <a:gd name="connsiteY74" fmla="*/ 4690 h 10000"/>
                    <a:gd name="connsiteX75" fmla="*/ 1103 w 10000"/>
                    <a:gd name="connsiteY75" fmla="*/ 4672 h 10000"/>
                    <a:gd name="connsiteX76" fmla="*/ 650 w 10000"/>
                    <a:gd name="connsiteY76" fmla="*/ 4655 h 10000"/>
                    <a:gd name="connsiteX77" fmla="*/ 521 w 10000"/>
                    <a:gd name="connsiteY77" fmla="*/ 4639 h 10000"/>
                    <a:gd name="connsiteX78" fmla="*/ 390 w 10000"/>
                    <a:gd name="connsiteY78" fmla="*/ 4624 h 10000"/>
                    <a:gd name="connsiteX79" fmla="*/ 390 w 10000"/>
                    <a:gd name="connsiteY79" fmla="*/ 4624 h 10000"/>
                    <a:gd name="connsiteX80" fmla="*/ 261 w 10000"/>
                    <a:gd name="connsiteY80" fmla="*/ 4557 h 10000"/>
                    <a:gd name="connsiteX81" fmla="*/ 65 w 10000"/>
                    <a:gd name="connsiteY81" fmla="*/ 4445 h 10000"/>
                    <a:gd name="connsiteX82" fmla="*/ 0 w 10000"/>
                    <a:gd name="connsiteY82" fmla="*/ 4379 h 10000"/>
                    <a:gd name="connsiteX83" fmla="*/ 0 w 10000"/>
                    <a:gd name="connsiteY83" fmla="*/ 4312 h 10000"/>
                    <a:gd name="connsiteX84" fmla="*/ 0 w 10000"/>
                    <a:gd name="connsiteY84" fmla="*/ 4264 h 10000"/>
                    <a:gd name="connsiteX85" fmla="*/ 131 w 10000"/>
                    <a:gd name="connsiteY85" fmla="*/ 4214 h 10000"/>
                    <a:gd name="connsiteX86" fmla="*/ 131 w 10000"/>
                    <a:gd name="connsiteY86" fmla="*/ 4214 h 10000"/>
                    <a:gd name="connsiteX87" fmla="*/ 455 w 10000"/>
                    <a:gd name="connsiteY87" fmla="*/ 4133 h 10000"/>
                    <a:gd name="connsiteX88" fmla="*/ 779 w 10000"/>
                    <a:gd name="connsiteY88" fmla="*/ 4053 h 10000"/>
                    <a:gd name="connsiteX89" fmla="*/ 975 w 10000"/>
                    <a:gd name="connsiteY89" fmla="*/ 4004 h 10000"/>
                    <a:gd name="connsiteX90" fmla="*/ 1103 w 10000"/>
                    <a:gd name="connsiteY90" fmla="*/ 3954 h 10000"/>
                    <a:gd name="connsiteX91" fmla="*/ 1103 w 10000"/>
                    <a:gd name="connsiteY91" fmla="*/ 3888 h 10000"/>
                    <a:gd name="connsiteX92" fmla="*/ 1103 w 10000"/>
                    <a:gd name="connsiteY92" fmla="*/ 3807 h 10000"/>
                    <a:gd name="connsiteX93" fmla="*/ 1103 w 10000"/>
                    <a:gd name="connsiteY93" fmla="*/ 3807 h 10000"/>
                    <a:gd name="connsiteX94" fmla="*/ 845 w 10000"/>
                    <a:gd name="connsiteY94" fmla="*/ 3577 h 10000"/>
                    <a:gd name="connsiteX95" fmla="*/ 521 w 10000"/>
                    <a:gd name="connsiteY95" fmla="*/ 3268 h 10000"/>
                    <a:gd name="connsiteX96" fmla="*/ 261 w 10000"/>
                    <a:gd name="connsiteY96" fmla="*/ 2989 h 10000"/>
                    <a:gd name="connsiteX97" fmla="*/ 195 w 10000"/>
                    <a:gd name="connsiteY97" fmla="*/ 2908 h 10000"/>
                    <a:gd name="connsiteX98" fmla="*/ 195 w 10000"/>
                    <a:gd name="connsiteY98" fmla="*/ 2875 h 10000"/>
                    <a:gd name="connsiteX99" fmla="*/ 261 w 10000"/>
                    <a:gd name="connsiteY99" fmla="*/ 2858 h 10000"/>
                    <a:gd name="connsiteX100" fmla="*/ 261 w 10000"/>
                    <a:gd name="connsiteY100" fmla="*/ 2858 h 10000"/>
                    <a:gd name="connsiteX101" fmla="*/ 650 w 10000"/>
                    <a:gd name="connsiteY101" fmla="*/ 2843 h 10000"/>
                    <a:gd name="connsiteX102" fmla="*/ 908 w 10000"/>
                    <a:gd name="connsiteY102" fmla="*/ 2843 h 10000"/>
                    <a:gd name="connsiteX103" fmla="*/ 1103 w 10000"/>
                    <a:gd name="connsiteY103" fmla="*/ 2858 h 10000"/>
                    <a:gd name="connsiteX104" fmla="*/ 1103 w 10000"/>
                    <a:gd name="connsiteY104" fmla="*/ 2858 h 10000"/>
                    <a:gd name="connsiteX105" fmla="*/ 1168 w 10000"/>
                    <a:gd name="connsiteY105" fmla="*/ 2858 h 10000"/>
                    <a:gd name="connsiteX106" fmla="*/ 1235 w 10000"/>
                    <a:gd name="connsiteY106" fmla="*/ 2827 h 10000"/>
                    <a:gd name="connsiteX107" fmla="*/ 1559 w 10000"/>
                    <a:gd name="connsiteY107" fmla="*/ 2729 h 10000"/>
                    <a:gd name="connsiteX108" fmla="*/ 2402 w 10000"/>
                    <a:gd name="connsiteY108" fmla="*/ 2401 h 10000"/>
                    <a:gd name="connsiteX109" fmla="*/ 3507 w 10000"/>
                    <a:gd name="connsiteY109" fmla="*/ 1930 h 10000"/>
                    <a:gd name="connsiteX110" fmla="*/ 3507 w 10000"/>
                    <a:gd name="connsiteY110" fmla="*/ 1930 h 10000"/>
                    <a:gd name="connsiteX111" fmla="*/ 3507 w 10000"/>
                    <a:gd name="connsiteY111" fmla="*/ 1863 h 10000"/>
                    <a:gd name="connsiteX112" fmla="*/ 3507 w 10000"/>
                    <a:gd name="connsiteY112" fmla="*/ 1713 h 10000"/>
                    <a:gd name="connsiteX113" fmla="*/ 3573 w 10000"/>
                    <a:gd name="connsiteY113" fmla="*/ 1617 h 10000"/>
                    <a:gd name="connsiteX114" fmla="*/ 3702 w 10000"/>
                    <a:gd name="connsiteY114" fmla="*/ 1535 h 10000"/>
                    <a:gd name="connsiteX115" fmla="*/ 3896 w 10000"/>
                    <a:gd name="connsiteY115" fmla="*/ 1438 h 10000"/>
                    <a:gd name="connsiteX116" fmla="*/ 4156 w 10000"/>
                    <a:gd name="connsiteY116" fmla="*/ 1357 h 10000"/>
                    <a:gd name="connsiteX117" fmla="*/ 4156 w 10000"/>
                    <a:gd name="connsiteY117" fmla="*/ 1357 h 10000"/>
                    <a:gd name="connsiteX118" fmla="*/ 4806 w 10000"/>
                    <a:gd name="connsiteY118" fmla="*/ 1194 h 10000"/>
                    <a:gd name="connsiteX119" fmla="*/ 5455 w 10000"/>
                    <a:gd name="connsiteY119" fmla="*/ 979 h 10000"/>
                    <a:gd name="connsiteX120" fmla="*/ 6104 w 10000"/>
                    <a:gd name="connsiteY120" fmla="*/ 784 h 10000"/>
                    <a:gd name="connsiteX121" fmla="*/ 6559 w 10000"/>
                    <a:gd name="connsiteY121" fmla="*/ 606 h 10000"/>
                    <a:gd name="connsiteX122" fmla="*/ 6559 w 10000"/>
                    <a:gd name="connsiteY122" fmla="*/ 606 h 10000"/>
                    <a:gd name="connsiteX123" fmla="*/ 6882 w 10000"/>
                    <a:gd name="connsiteY123" fmla="*/ 442 h 10000"/>
                    <a:gd name="connsiteX124" fmla="*/ 7273 w 10000"/>
                    <a:gd name="connsiteY124" fmla="*/ 245 h 10000"/>
                    <a:gd name="connsiteX125" fmla="*/ 7663 w 10000"/>
                    <a:gd name="connsiteY125" fmla="*/ 97 h 10000"/>
                    <a:gd name="connsiteX126" fmla="*/ 7856 w 10000"/>
                    <a:gd name="connsiteY126" fmla="*/ 30 h 10000"/>
                    <a:gd name="connsiteX127" fmla="*/ 8051 w 10000"/>
                    <a:gd name="connsiteY127" fmla="*/ 15 h 10000"/>
                    <a:gd name="connsiteX128" fmla="*/ 8051 w 10000"/>
                    <a:gd name="connsiteY128" fmla="*/ 15 h 10000"/>
                    <a:gd name="connsiteX129" fmla="*/ 8442 w 10000"/>
                    <a:gd name="connsiteY129" fmla="*/ 0 h 10000"/>
                    <a:gd name="connsiteX130" fmla="*/ 8961 w 10000"/>
                    <a:gd name="connsiteY130" fmla="*/ 0 h 10000"/>
                    <a:gd name="connsiteX131" fmla="*/ 10000 w 10000"/>
                    <a:gd name="connsiteY131" fmla="*/ 15 h 10000"/>
                    <a:gd name="connsiteX132" fmla="*/ 8181 w 10000"/>
                    <a:gd name="connsiteY132" fmla="*/ 9821 h 10000"/>
                    <a:gd name="connsiteX133" fmla="*/ 7404 w 10000"/>
                    <a:gd name="connsiteY133" fmla="*/ 9525 h 10000"/>
                    <a:gd name="connsiteX134" fmla="*/ 5584 w 10000"/>
                    <a:gd name="connsiteY134" fmla="*/ 9493 h 10000"/>
                    <a:gd name="connsiteX135" fmla="*/ 5389 w 10000"/>
                    <a:gd name="connsiteY135" fmla="*/ 9167 h 10000"/>
                    <a:gd name="connsiteX136" fmla="*/ 5389 w 10000"/>
                    <a:gd name="connsiteY136" fmla="*/ 9101 h 10000"/>
                    <a:gd name="connsiteX137" fmla="*/ 5259 w 10000"/>
                    <a:gd name="connsiteY137" fmla="*/ 9020 h 10000"/>
                    <a:gd name="connsiteX138" fmla="*/ 5195 w 10000"/>
                    <a:gd name="connsiteY138" fmla="*/ 9005 h 10000"/>
                    <a:gd name="connsiteX139" fmla="*/ 4026 w 10000"/>
                    <a:gd name="connsiteY139" fmla="*/ 9118 h 10000"/>
                    <a:gd name="connsiteX140" fmla="*/ 3702 w 10000"/>
                    <a:gd name="connsiteY140" fmla="*/ 9147 h 10000"/>
                    <a:gd name="connsiteX141" fmla="*/ 3247 w 10000"/>
                    <a:gd name="connsiteY141" fmla="*/ 8986 h 10000"/>
                    <a:gd name="connsiteX142" fmla="*/ 3247 w 10000"/>
                    <a:gd name="connsiteY142" fmla="*/ 8986 h 10000"/>
                    <a:gd name="connsiteX143" fmla="*/ 3117 w 10000"/>
                    <a:gd name="connsiteY143" fmla="*/ 8807 h 10000"/>
                    <a:gd name="connsiteX144" fmla="*/ 3117 w 10000"/>
                    <a:gd name="connsiteY144" fmla="*/ 8807 h 10000"/>
                    <a:gd name="connsiteX145" fmla="*/ 3312 w 10000"/>
                    <a:gd name="connsiteY145" fmla="*/ 8756 h 10000"/>
                    <a:gd name="connsiteX146" fmla="*/ 3443 w 10000"/>
                    <a:gd name="connsiteY146" fmla="*/ 8740 h 10000"/>
                    <a:gd name="connsiteX147" fmla="*/ 2661 w 10000"/>
                    <a:gd name="connsiteY147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8571 w 10000"/>
                    <a:gd name="connsiteY3" fmla="*/ 9965 h 10000"/>
                    <a:gd name="connsiteX4" fmla="*/ 8181 w 10000"/>
                    <a:gd name="connsiteY4" fmla="*/ 9771 h 10000"/>
                    <a:gd name="connsiteX5" fmla="*/ 7856 w 10000"/>
                    <a:gd name="connsiteY5" fmla="*/ 9591 h 10000"/>
                    <a:gd name="connsiteX6" fmla="*/ 7856 w 10000"/>
                    <a:gd name="connsiteY6" fmla="*/ 9591 h 10000"/>
                    <a:gd name="connsiteX7" fmla="*/ 7729 w 10000"/>
                    <a:gd name="connsiteY7" fmla="*/ 9559 h 10000"/>
                    <a:gd name="connsiteX8" fmla="*/ 7533 w 10000"/>
                    <a:gd name="connsiteY8" fmla="*/ 9525 h 10000"/>
                    <a:gd name="connsiteX9" fmla="*/ 7013 w 10000"/>
                    <a:gd name="connsiteY9" fmla="*/ 9509 h 10000"/>
                    <a:gd name="connsiteX10" fmla="*/ 6364 w 10000"/>
                    <a:gd name="connsiteY10" fmla="*/ 9493 h 10000"/>
                    <a:gd name="connsiteX11" fmla="*/ 5779 w 10000"/>
                    <a:gd name="connsiteY11" fmla="*/ 9493 h 10000"/>
                    <a:gd name="connsiteX12" fmla="*/ 5779 w 10000"/>
                    <a:gd name="connsiteY12" fmla="*/ 9493 h 10000"/>
                    <a:gd name="connsiteX13" fmla="*/ 5519 w 10000"/>
                    <a:gd name="connsiteY13" fmla="*/ 9474 h 10000"/>
                    <a:gd name="connsiteX14" fmla="*/ 5389 w 10000"/>
                    <a:gd name="connsiteY14" fmla="*/ 9444 h 10000"/>
                    <a:gd name="connsiteX15" fmla="*/ 5324 w 10000"/>
                    <a:gd name="connsiteY15" fmla="*/ 9409 h 10000"/>
                    <a:gd name="connsiteX16" fmla="*/ 5389 w 10000"/>
                    <a:gd name="connsiteY16" fmla="*/ 9214 h 10000"/>
                    <a:gd name="connsiteX17" fmla="*/ 5455 w 10000"/>
                    <a:gd name="connsiteY17" fmla="*/ 9147 h 10000"/>
                    <a:gd name="connsiteX18" fmla="*/ 5389 w 10000"/>
                    <a:gd name="connsiteY18" fmla="*/ 9069 h 10000"/>
                    <a:gd name="connsiteX19" fmla="*/ 5389 w 10000"/>
                    <a:gd name="connsiteY19" fmla="*/ 9069 h 10000"/>
                    <a:gd name="connsiteX20" fmla="*/ 5324 w 10000"/>
                    <a:gd name="connsiteY20" fmla="*/ 9020 h 10000"/>
                    <a:gd name="connsiteX21" fmla="*/ 5259 w 10000"/>
                    <a:gd name="connsiteY21" fmla="*/ 8986 h 10000"/>
                    <a:gd name="connsiteX22" fmla="*/ 5128 w 10000"/>
                    <a:gd name="connsiteY22" fmla="*/ 8986 h 10000"/>
                    <a:gd name="connsiteX23" fmla="*/ 4936 w 10000"/>
                    <a:gd name="connsiteY23" fmla="*/ 9005 h 10000"/>
                    <a:gd name="connsiteX24" fmla="*/ 4545 w 10000"/>
                    <a:gd name="connsiteY24" fmla="*/ 9052 h 10000"/>
                    <a:gd name="connsiteX25" fmla="*/ 4026 w 10000"/>
                    <a:gd name="connsiteY25" fmla="*/ 9133 h 10000"/>
                    <a:gd name="connsiteX26" fmla="*/ 4026 w 10000"/>
                    <a:gd name="connsiteY26" fmla="*/ 9133 h 10000"/>
                    <a:gd name="connsiteX27" fmla="*/ 3702 w 10000"/>
                    <a:gd name="connsiteY27" fmla="*/ 9147 h 10000"/>
                    <a:gd name="connsiteX28" fmla="*/ 3573 w 10000"/>
                    <a:gd name="connsiteY28" fmla="*/ 9147 h 10000"/>
                    <a:gd name="connsiteX29" fmla="*/ 3507 w 10000"/>
                    <a:gd name="connsiteY29" fmla="*/ 9133 h 10000"/>
                    <a:gd name="connsiteX30" fmla="*/ 3247 w 10000"/>
                    <a:gd name="connsiteY30" fmla="*/ 8986 h 10000"/>
                    <a:gd name="connsiteX31" fmla="*/ 3247 w 10000"/>
                    <a:gd name="connsiteY31" fmla="*/ 8986 h 10000"/>
                    <a:gd name="connsiteX32" fmla="*/ 3117 w 10000"/>
                    <a:gd name="connsiteY32" fmla="*/ 8938 h 10000"/>
                    <a:gd name="connsiteX33" fmla="*/ 3117 w 10000"/>
                    <a:gd name="connsiteY33" fmla="*/ 8888 h 10000"/>
                    <a:gd name="connsiteX34" fmla="*/ 3117 w 10000"/>
                    <a:gd name="connsiteY34" fmla="*/ 8855 h 10000"/>
                    <a:gd name="connsiteX35" fmla="*/ 3184 w 10000"/>
                    <a:gd name="connsiteY35" fmla="*/ 8822 h 10000"/>
                    <a:gd name="connsiteX36" fmla="*/ 3312 w 10000"/>
                    <a:gd name="connsiteY36" fmla="*/ 8756 h 10000"/>
                    <a:gd name="connsiteX37" fmla="*/ 3443 w 10000"/>
                    <a:gd name="connsiteY37" fmla="*/ 8740 h 10000"/>
                    <a:gd name="connsiteX38" fmla="*/ 3443 w 10000"/>
                    <a:gd name="connsiteY38" fmla="*/ 8740 h 10000"/>
                    <a:gd name="connsiteX39" fmla="*/ 3443 w 10000"/>
                    <a:gd name="connsiteY39" fmla="*/ 8725 h 10000"/>
                    <a:gd name="connsiteX40" fmla="*/ 3507 w 10000"/>
                    <a:gd name="connsiteY40" fmla="*/ 8708 h 10000"/>
                    <a:gd name="connsiteX41" fmla="*/ 7646 w 10000"/>
                    <a:gd name="connsiteY41" fmla="*/ 8456 h 10000"/>
                    <a:gd name="connsiteX42" fmla="*/ 8116 w 10000"/>
                    <a:gd name="connsiteY42" fmla="*/ 8464 h 10000"/>
                    <a:gd name="connsiteX43" fmla="*/ 8116 w 10000"/>
                    <a:gd name="connsiteY43" fmla="*/ 8464 h 10000"/>
                    <a:gd name="connsiteX44" fmla="*/ 8442 w 10000"/>
                    <a:gd name="connsiteY44" fmla="*/ 8431 h 10000"/>
                    <a:gd name="connsiteX45" fmla="*/ 8702 w 10000"/>
                    <a:gd name="connsiteY45" fmla="*/ 8350 h 10000"/>
                    <a:gd name="connsiteX46" fmla="*/ 8636 w 10000"/>
                    <a:gd name="connsiteY46" fmla="*/ 8316 h 10000"/>
                    <a:gd name="connsiteX47" fmla="*/ 8636 w 10000"/>
                    <a:gd name="connsiteY47" fmla="*/ 8285 h 10000"/>
                    <a:gd name="connsiteX48" fmla="*/ 8312 w 10000"/>
                    <a:gd name="connsiteY48" fmla="*/ 8202 h 10000"/>
                    <a:gd name="connsiteX49" fmla="*/ 5975 w 10000"/>
                    <a:gd name="connsiteY49" fmla="*/ 7907 h 10000"/>
                    <a:gd name="connsiteX50" fmla="*/ 5975 w 10000"/>
                    <a:gd name="connsiteY50" fmla="*/ 7907 h 10000"/>
                    <a:gd name="connsiteX51" fmla="*/ 5714 w 10000"/>
                    <a:gd name="connsiteY51" fmla="*/ 7860 h 10000"/>
                    <a:gd name="connsiteX52" fmla="*/ 5519 w 10000"/>
                    <a:gd name="connsiteY52" fmla="*/ 7810 h 10000"/>
                    <a:gd name="connsiteX53" fmla="*/ 5389 w 10000"/>
                    <a:gd name="connsiteY53" fmla="*/ 7761 h 10000"/>
                    <a:gd name="connsiteX54" fmla="*/ 5389 w 10000"/>
                    <a:gd name="connsiteY54" fmla="*/ 7761 h 10000"/>
                    <a:gd name="connsiteX55" fmla="*/ 7729 w 10000"/>
                    <a:gd name="connsiteY55" fmla="*/ 7744 h 10000"/>
                    <a:gd name="connsiteX56" fmla="*/ 10000 w 10000"/>
                    <a:gd name="connsiteY56" fmla="*/ 7907 h 10000"/>
                    <a:gd name="connsiteX57" fmla="*/ 10000 w 10000"/>
                    <a:gd name="connsiteY57" fmla="*/ 6422 h 10000"/>
                    <a:gd name="connsiteX58" fmla="*/ 10000 w 10000"/>
                    <a:gd name="connsiteY58" fmla="*/ 6422 h 10000"/>
                    <a:gd name="connsiteX59" fmla="*/ 7404 w 10000"/>
                    <a:gd name="connsiteY59" fmla="*/ 6077 h 10000"/>
                    <a:gd name="connsiteX60" fmla="*/ 5975 w 10000"/>
                    <a:gd name="connsiteY60" fmla="*/ 5882 h 10000"/>
                    <a:gd name="connsiteX61" fmla="*/ 5975 w 10000"/>
                    <a:gd name="connsiteY61" fmla="*/ 5882 h 10000"/>
                    <a:gd name="connsiteX62" fmla="*/ 5975 w 10000"/>
                    <a:gd name="connsiteY62" fmla="*/ 5866 h 10000"/>
                    <a:gd name="connsiteX63" fmla="*/ 5975 w 10000"/>
                    <a:gd name="connsiteY63" fmla="*/ 5768 h 10000"/>
                    <a:gd name="connsiteX64" fmla="*/ 5975 w 10000"/>
                    <a:gd name="connsiteY64" fmla="*/ 5768 h 10000"/>
                    <a:gd name="connsiteX65" fmla="*/ 5779 w 10000"/>
                    <a:gd name="connsiteY65" fmla="*/ 5651 h 10000"/>
                    <a:gd name="connsiteX66" fmla="*/ 5389 w 10000"/>
                    <a:gd name="connsiteY66" fmla="*/ 5473 h 10000"/>
                    <a:gd name="connsiteX67" fmla="*/ 4545 w 10000"/>
                    <a:gd name="connsiteY67" fmla="*/ 5130 h 10000"/>
                    <a:gd name="connsiteX68" fmla="*/ 4545 w 10000"/>
                    <a:gd name="connsiteY68" fmla="*/ 5130 h 10000"/>
                    <a:gd name="connsiteX69" fmla="*/ 4352 w 10000"/>
                    <a:gd name="connsiteY69" fmla="*/ 5081 h 10000"/>
                    <a:gd name="connsiteX70" fmla="*/ 4026 w 10000"/>
                    <a:gd name="connsiteY70" fmla="*/ 5016 h 10000"/>
                    <a:gd name="connsiteX71" fmla="*/ 3052 w 10000"/>
                    <a:gd name="connsiteY71" fmla="*/ 4868 h 10000"/>
                    <a:gd name="connsiteX72" fmla="*/ 1689 w 10000"/>
                    <a:gd name="connsiteY72" fmla="*/ 4690 h 10000"/>
                    <a:gd name="connsiteX73" fmla="*/ 1689 w 10000"/>
                    <a:gd name="connsiteY73" fmla="*/ 4690 h 10000"/>
                    <a:gd name="connsiteX74" fmla="*/ 1103 w 10000"/>
                    <a:gd name="connsiteY74" fmla="*/ 4672 h 10000"/>
                    <a:gd name="connsiteX75" fmla="*/ 650 w 10000"/>
                    <a:gd name="connsiteY75" fmla="*/ 4655 h 10000"/>
                    <a:gd name="connsiteX76" fmla="*/ 521 w 10000"/>
                    <a:gd name="connsiteY76" fmla="*/ 4639 h 10000"/>
                    <a:gd name="connsiteX77" fmla="*/ 390 w 10000"/>
                    <a:gd name="connsiteY77" fmla="*/ 4624 h 10000"/>
                    <a:gd name="connsiteX78" fmla="*/ 390 w 10000"/>
                    <a:gd name="connsiteY78" fmla="*/ 4624 h 10000"/>
                    <a:gd name="connsiteX79" fmla="*/ 261 w 10000"/>
                    <a:gd name="connsiteY79" fmla="*/ 4557 h 10000"/>
                    <a:gd name="connsiteX80" fmla="*/ 65 w 10000"/>
                    <a:gd name="connsiteY80" fmla="*/ 4445 h 10000"/>
                    <a:gd name="connsiteX81" fmla="*/ 0 w 10000"/>
                    <a:gd name="connsiteY81" fmla="*/ 4379 h 10000"/>
                    <a:gd name="connsiteX82" fmla="*/ 0 w 10000"/>
                    <a:gd name="connsiteY82" fmla="*/ 4312 h 10000"/>
                    <a:gd name="connsiteX83" fmla="*/ 0 w 10000"/>
                    <a:gd name="connsiteY83" fmla="*/ 4264 h 10000"/>
                    <a:gd name="connsiteX84" fmla="*/ 131 w 10000"/>
                    <a:gd name="connsiteY84" fmla="*/ 4214 h 10000"/>
                    <a:gd name="connsiteX85" fmla="*/ 131 w 10000"/>
                    <a:gd name="connsiteY85" fmla="*/ 4214 h 10000"/>
                    <a:gd name="connsiteX86" fmla="*/ 455 w 10000"/>
                    <a:gd name="connsiteY86" fmla="*/ 4133 h 10000"/>
                    <a:gd name="connsiteX87" fmla="*/ 779 w 10000"/>
                    <a:gd name="connsiteY87" fmla="*/ 4053 h 10000"/>
                    <a:gd name="connsiteX88" fmla="*/ 975 w 10000"/>
                    <a:gd name="connsiteY88" fmla="*/ 4004 h 10000"/>
                    <a:gd name="connsiteX89" fmla="*/ 1103 w 10000"/>
                    <a:gd name="connsiteY89" fmla="*/ 3954 h 10000"/>
                    <a:gd name="connsiteX90" fmla="*/ 1103 w 10000"/>
                    <a:gd name="connsiteY90" fmla="*/ 3888 h 10000"/>
                    <a:gd name="connsiteX91" fmla="*/ 1103 w 10000"/>
                    <a:gd name="connsiteY91" fmla="*/ 3807 h 10000"/>
                    <a:gd name="connsiteX92" fmla="*/ 1103 w 10000"/>
                    <a:gd name="connsiteY92" fmla="*/ 3807 h 10000"/>
                    <a:gd name="connsiteX93" fmla="*/ 845 w 10000"/>
                    <a:gd name="connsiteY93" fmla="*/ 3577 h 10000"/>
                    <a:gd name="connsiteX94" fmla="*/ 521 w 10000"/>
                    <a:gd name="connsiteY94" fmla="*/ 3268 h 10000"/>
                    <a:gd name="connsiteX95" fmla="*/ 261 w 10000"/>
                    <a:gd name="connsiteY95" fmla="*/ 2989 h 10000"/>
                    <a:gd name="connsiteX96" fmla="*/ 195 w 10000"/>
                    <a:gd name="connsiteY96" fmla="*/ 2908 h 10000"/>
                    <a:gd name="connsiteX97" fmla="*/ 195 w 10000"/>
                    <a:gd name="connsiteY97" fmla="*/ 2875 h 10000"/>
                    <a:gd name="connsiteX98" fmla="*/ 261 w 10000"/>
                    <a:gd name="connsiteY98" fmla="*/ 2858 h 10000"/>
                    <a:gd name="connsiteX99" fmla="*/ 261 w 10000"/>
                    <a:gd name="connsiteY99" fmla="*/ 2858 h 10000"/>
                    <a:gd name="connsiteX100" fmla="*/ 650 w 10000"/>
                    <a:gd name="connsiteY100" fmla="*/ 2843 h 10000"/>
                    <a:gd name="connsiteX101" fmla="*/ 908 w 10000"/>
                    <a:gd name="connsiteY101" fmla="*/ 2843 h 10000"/>
                    <a:gd name="connsiteX102" fmla="*/ 1103 w 10000"/>
                    <a:gd name="connsiteY102" fmla="*/ 2858 h 10000"/>
                    <a:gd name="connsiteX103" fmla="*/ 1103 w 10000"/>
                    <a:gd name="connsiteY103" fmla="*/ 2858 h 10000"/>
                    <a:gd name="connsiteX104" fmla="*/ 1168 w 10000"/>
                    <a:gd name="connsiteY104" fmla="*/ 2858 h 10000"/>
                    <a:gd name="connsiteX105" fmla="*/ 1235 w 10000"/>
                    <a:gd name="connsiteY105" fmla="*/ 2827 h 10000"/>
                    <a:gd name="connsiteX106" fmla="*/ 1559 w 10000"/>
                    <a:gd name="connsiteY106" fmla="*/ 2729 h 10000"/>
                    <a:gd name="connsiteX107" fmla="*/ 2402 w 10000"/>
                    <a:gd name="connsiteY107" fmla="*/ 2401 h 10000"/>
                    <a:gd name="connsiteX108" fmla="*/ 3507 w 10000"/>
                    <a:gd name="connsiteY108" fmla="*/ 1930 h 10000"/>
                    <a:gd name="connsiteX109" fmla="*/ 3507 w 10000"/>
                    <a:gd name="connsiteY109" fmla="*/ 1930 h 10000"/>
                    <a:gd name="connsiteX110" fmla="*/ 3507 w 10000"/>
                    <a:gd name="connsiteY110" fmla="*/ 1863 h 10000"/>
                    <a:gd name="connsiteX111" fmla="*/ 3507 w 10000"/>
                    <a:gd name="connsiteY111" fmla="*/ 1713 h 10000"/>
                    <a:gd name="connsiteX112" fmla="*/ 3573 w 10000"/>
                    <a:gd name="connsiteY112" fmla="*/ 1617 h 10000"/>
                    <a:gd name="connsiteX113" fmla="*/ 3702 w 10000"/>
                    <a:gd name="connsiteY113" fmla="*/ 1535 h 10000"/>
                    <a:gd name="connsiteX114" fmla="*/ 3896 w 10000"/>
                    <a:gd name="connsiteY114" fmla="*/ 1438 h 10000"/>
                    <a:gd name="connsiteX115" fmla="*/ 4156 w 10000"/>
                    <a:gd name="connsiteY115" fmla="*/ 1357 h 10000"/>
                    <a:gd name="connsiteX116" fmla="*/ 4156 w 10000"/>
                    <a:gd name="connsiteY116" fmla="*/ 1357 h 10000"/>
                    <a:gd name="connsiteX117" fmla="*/ 4806 w 10000"/>
                    <a:gd name="connsiteY117" fmla="*/ 1194 h 10000"/>
                    <a:gd name="connsiteX118" fmla="*/ 5455 w 10000"/>
                    <a:gd name="connsiteY118" fmla="*/ 979 h 10000"/>
                    <a:gd name="connsiteX119" fmla="*/ 6104 w 10000"/>
                    <a:gd name="connsiteY119" fmla="*/ 784 h 10000"/>
                    <a:gd name="connsiteX120" fmla="*/ 6559 w 10000"/>
                    <a:gd name="connsiteY120" fmla="*/ 606 h 10000"/>
                    <a:gd name="connsiteX121" fmla="*/ 6559 w 10000"/>
                    <a:gd name="connsiteY121" fmla="*/ 606 h 10000"/>
                    <a:gd name="connsiteX122" fmla="*/ 6882 w 10000"/>
                    <a:gd name="connsiteY122" fmla="*/ 442 h 10000"/>
                    <a:gd name="connsiteX123" fmla="*/ 7273 w 10000"/>
                    <a:gd name="connsiteY123" fmla="*/ 245 h 10000"/>
                    <a:gd name="connsiteX124" fmla="*/ 7663 w 10000"/>
                    <a:gd name="connsiteY124" fmla="*/ 97 h 10000"/>
                    <a:gd name="connsiteX125" fmla="*/ 7856 w 10000"/>
                    <a:gd name="connsiteY125" fmla="*/ 30 h 10000"/>
                    <a:gd name="connsiteX126" fmla="*/ 8051 w 10000"/>
                    <a:gd name="connsiteY126" fmla="*/ 15 h 10000"/>
                    <a:gd name="connsiteX127" fmla="*/ 8051 w 10000"/>
                    <a:gd name="connsiteY127" fmla="*/ 15 h 10000"/>
                    <a:gd name="connsiteX128" fmla="*/ 8442 w 10000"/>
                    <a:gd name="connsiteY128" fmla="*/ 0 h 10000"/>
                    <a:gd name="connsiteX129" fmla="*/ 8961 w 10000"/>
                    <a:gd name="connsiteY129" fmla="*/ 0 h 10000"/>
                    <a:gd name="connsiteX130" fmla="*/ 10000 w 10000"/>
                    <a:gd name="connsiteY130" fmla="*/ 15 h 10000"/>
                    <a:gd name="connsiteX131" fmla="*/ 8181 w 10000"/>
                    <a:gd name="connsiteY131" fmla="*/ 9821 h 10000"/>
                    <a:gd name="connsiteX132" fmla="*/ 7404 w 10000"/>
                    <a:gd name="connsiteY132" fmla="*/ 9525 h 10000"/>
                    <a:gd name="connsiteX133" fmla="*/ 5584 w 10000"/>
                    <a:gd name="connsiteY133" fmla="*/ 9493 h 10000"/>
                    <a:gd name="connsiteX134" fmla="*/ 5389 w 10000"/>
                    <a:gd name="connsiteY134" fmla="*/ 9167 h 10000"/>
                    <a:gd name="connsiteX135" fmla="*/ 5389 w 10000"/>
                    <a:gd name="connsiteY135" fmla="*/ 9101 h 10000"/>
                    <a:gd name="connsiteX136" fmla="*/ 5259 w 10000"/>
                    <a:gd name="connsiteY136" fmla="*/ 9020 h 10000"/>
                    <a:gd name="connsiteX137" fmla="*/ 5195 w 10000"/>
                    <a:gd name="connsiteY137" fmla="*/ 9005 h 10000"/>
                    <a:gd name="connsiteX138" fmla="*/ 4026 w 10000"/>
                    <a:gd name="connsiteY138" fmla="*/ 9118 h 10000"/>
                    <a:gd name="connsiteX139" fmla="*/ 3702 w 10000"/>
                    <a:gd name="connsiteY139" fmla="*/ 9147 h 10000"/>
                    <a:gd name="connsiteX140" fmla="*/ 3247 w 10000"/>
                    <a:gd name="connsiteY140" fmla="*/ 8986 h 10000"/>
                    <a:gd name="connsiteX141" fmla="*/ 3247 w 10000"/>
                    <a:gd name="connsiteY141" fmla="*/ 8986 h 10000"/>
                    <a:gd name="connsiteX142" fmla="*/ 3117 w 10000"/>
                    <a:gd name="connsiteY142" fmla="*/ 8807 h 10000"/>
                    <a:gd name="connsiteX143" fmla="*/ 3117 w 10000"/>
                    <a:gd name="connsiteY143" fmla="*/ 8807 h 10000"/>
                    <a:gd name="connsiteX144" fmla="*/ 3312 w 10000"/>
                    <a:gd name="connsiteY144" fmla="*/ 8756 h 10000"/>
                    <a:gd name="connsiteX145" fmla="*/ 3443 w 10000"/>
                    <a:gd name="connsiteY145" fmla="*/ 8740 h 10000"/>
                    <a:gd name="connsiteX146" fmla="*/ 2661 w 10000"/>
                    <a:gd name="connsiteY146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8571 w 10000"/>
                    <a:gd name="connsiteY3" fmla="*/ 9965 h 10000"/>
                    <a:gd name="connsiteX4" fmla="*/ 8181 w 10000"/>
                    <a:gd name="connsiteY4" fmla="*/ 9771 h 10000"/>
                    <a:gd name="connsiteX5" fmla="*/ 7856 w 10000"/>
                    <a:gd name="connsiteY5" fmla="*/ 9591 h 10000"/>
                    <a:gd name="connsiteX6" fmla="*/ 7856 w 10000"/>
                    <a:gd name="connsiteY6" fmla="*/ 9591 h 10000"/>
                    <a:gd name="connsiteX7" fmla="*/ 7729 w 10000"/>
                    <a:gd name="connsiteY7" fmla="*/ 9559 h 10000"/>
                    <a:gd name="connsiteX8" fmla="*/ 7533 w 10000"/>
                    <a:gd name="connsiteY8" fmla="*/ 9525 h 10000"/>
                    <a:gd name="connsiteX9" fmla="*/ 7013 w 10000"/>
                    <a:gd name="connsiteY9" fmla="*/ 9509 h 10000"/>
                    <a:gd name="connsiteX10" fmla="*/ 6364 w 10000"/>
                    <a:gd name="connsiteY10" fmla="*/ 9493 h 10000"/>
                    <a:gd name="connsiteX11" fmla="*/ 5779 w 10000"/>
                    <a:gd name="connsiteY11" fmla="*/ 9493 h 10000"/>
                    <a:gd name="connsiteX12" fmla="*/ 5779 w 10000"/>
                    <a:gd name="connsiteY12" fmla="*/ 9493 h 10000"/>
                    <a:gd name="connsiteX13" fmla="*/ 5519 w 10000"/>
                    <a:gd name="connsiteY13" fmla="*/ 9474 h 10000"/>
                    <a:gd name="connsiteX14" fmla="*/ 5389 w 10000"/>
                    <a:gd name="connsiteY14" fmla="*/ 9444 h 10000"/>
                    <a:gd name="connsiteX15" fmla="*/ 5324 w 10000"/>
                    <a:gd name="connsiteY15" fmla="*/ 9409 h 10000"/>
                    <a:gd name="connsiteX16" fmla="*/ 5389 w 10000"/>
                    <a:gd name="connsiteY16" fmla="*/ 9214 h 10000"/>
                    <a:gd name="connsiteX17" fmla="*/ 5455 w 10000"/>
                    <a:gd name="connsiteY17" fmla="*/ 9147 h 10000"/>
                    <a:gd name="connsiteX18" fmla="*/ 5389 w 10000"/>
                    <a:gd name="connsiteY18" fmla="*/ 9069 h 10000"/>
                    <a:gd name="connsiteX19" fmla="*/ 5389 w 10000"/>
                    <a:gd name="connsiteY19" fmla="*/ 9069 h 10000"/>
                    <a:gd name="connsiteX20" fmla="*/ 5324 w 10000"/>
                    <a:gd name="connsiteY20" fmla="*/ 9020 h 10000"/>
                    <a:gd name="connsiteX21" fmla="*/ 5259 w 10000"/>
                    <a:gd name="connsiteY21" fmla="*/ 8986 h 10000"/>
                    <a:gd name="connsiteX22" fmla="*/ 5128 w 10000"/>
                    <a:gd name="connsiteY22" fmla="*/ 8986 h 10000"/>
                    <a:gd name="connsiteX23" fmla="*/ 4936 w 10000"/>
                    <a:gd name="connsiteY23" fmla="*/ 9005 h 10000"/>
                    <a:gd name="connsiteX24" fmla="*/ 4545 w 10000"/>
                    <a:gd name="connsiteY24" fmla="*/ 9052 h 10000"/>
                    <a:gd name="connsiteX25" fmla="*/ 4026 w 10000"/>
                    <a:gd name="connsiteY25" fmla="*/ 9133 h 10000"/>
                    <a:gd name="connsiteX26" fmla="*/ 4026 w 10000"/>
                    <a:gd name="connsiteY26" fmla="*/ 9133 h 10000"/>
                    <a:gd name="connsiteX27" fmla="*/ 3702 w 10000"/>
                    <a:gd name="connsiteY27" fmla="*/ 9147 h 10000"/>
                    <a:gd name="connsiteX28" fmla="*/ 3573 w 10000"/>
                    <a:gd name="connsiteY28" fmla="*/ 9147 h 10000"/>
                    <a:gd name="connsiteX29" fmla="*/ 3507 w 10000"/>
                    <a:gd name="connsiteY29" fmla="*/ 9133 h 10000"/>
                    <a:gd name="connsiteX30" fmla="*/ 3247 w 10000"/>
                    <a:gd name="connsiteY30" fmla="*/ 8986 h 10000"/>
                    <a:gd name="connsiteX31" fmla="*/ 3247 w 10000"/>
                    <a:gd name="connsiteY31" fmla="*/ 8986 h 10000"/>
                    <a:gd name="connsiteX32" fmla="*/ 3117 w 10000"/>
                    <a:gd name="connsiteY32" fmla="*/ 8938 h 10000"/>
                    <a:gd name="connsiteX33" fmla="*/ 3117 w 10000"/>
                    <a:gd name="connsiteY33" fmla="*/ 8888 h 10000"/>
                    <a:gd name="connsiteX34" fmla="*/ 3117 w 10000"/>
                    <a:gd name="connsiteY34" fmla="*/ 8855 h 10000"/>
                    <a:gd name="connsiteX35" fmla="*/ 3184 w 10000"/>
                    <a:gd name="connsiteY35" fmla="*/ 8822 h 10000"/>
                    <a:gd name="connsiteX36" fmla="*/ 3312 w 10000"/>
                    <a:gd name="connsiteY36" fmla="*/ 8756 h 10000"/>
                    <a:gd name="connsiteX37" fmla="*/ 3443 w 10000"/>
                    <a:gd name="connsiteY37" fmla="*/ 8740 h 10000"/>
                    <a:gd name="connsiteX38" fmla="*/ 3443 w 10000"/>
                    <a:gd name="connsiteY38" fmla="*/ 8740 h 10000"/>
                    <a:gd name="connsiteX39" fmla="*/ 3443 w 10000"/>
                    <a:gd name="connsiteY39" fmla="*/ 8725 h 10000"/>
                    <a:gd name="connsiteX40" fmla="*/ 3507 w 10000"/>
                    <a:gd name="connsiteY40" fmla="*/ 8708 h 10000"/>
                    <a:gd name="connsiteX41" fmla="*/ 7646 w 10000"/>
                    <a:gd name="connsiteY41" fmla="*/ 8456 h 10000"/>
                    <a:gd name="connsiteX42" fmla="*/ 8116 w 10000"/>
                    <a:gd name="connsiteY42" fmla="*/ 8464 h 10000"/>
                    <a:gd name="connsiteX43" fmla="*/ 8116 w 10000"/>
                    <a:gd name="connsiteY43" fmla="*/ 8464 h 10000"/>
                    <a:gd name="connsiteX44" fmla="*/ 8442 w 10000"/>
                    <a:gd name="connsiteY44" fmla="*/ 8431 h 10000"/>
                    <a:gd name="connsiteX45" fmla="*/ 8702 w 10000"/>
                    <a:gd name="connsiteY45" fmla="*/ 8350 h 10000"/>
                    <a:gd name="connsiteX46" fmla="*/ 8636 w 10000"/>
                    <a:gd name="connsiteY46" fmla="*/ 8316 h 10000"/>
                    <a:gd name="connsiteX47" fmla="*/ 8636 w 10000"/>
                    <a:gd name="connsiteY47" fmla="*/ 8285 h 10000"/>
                    <a:gd name="connsiteX48" fmla="*/ 8312 w 10000"/>
                    <a:gd name="connsiteY48" fmla="*/ 8202 h 10000"/>
                    <a:gd name="connsiteX49" fmla="*/ 5975 w 10000"/>
                    <a:gd name="connsiteY49" fmla="*/ 7907 h 10000"/>
                    <a:gd name="connsiteX50" fmla="*/ 5975 w 10000"/>
                    <a:gd name="connsiteY50" fmla="*/ 7907 h 10000"/>
                    <a:gd name="connsiteX51" fmla="*/ 5714 w 10000"/>
                    <a:gd name="connsiteY51" fmla="*/ 7860 h 10000"/>
                    <a:gd name="connsiteX52" fmla="*/ 5519 w 10000"/>
                    <a:gd name="connsiteY52" fmla="*/ 7810 h 10000"/>
                    <a:gd name="connsiteX53" fmla="*/ 5389 w 10000"/>
                    <a:gd name="connsiteY53" fmla="*/ 7761 h 10000"/>
                    <a:gd name="connsiteX54" fmla="*/ 5389 w 10000"/>
                    <a:gd name="connsiteY54" fmla="*/ 7761 h 10000"/>
                    <a:gd name="connsiteX55" fmla="*/ 7729 w 10000"/>
                    <a:gd name="connsiteY55" fmla="*/ 7744 h 10000"/>
                    <a:gd name="connsiteX56" fmla="*/ 10000 w 10000"/>
                    <a:gd name="connsiteY56" fmla="*/ 7907 h 10000"/>
                    <a:gd name="connsiteX57" fmla="*/ 10000 w 10000"/>
                    <a:gd name="connsiteY57" fmla="*/ 6422 h 10000"/>
                    <a:gd name="connsiteX58" fmla="*/ 10000 w 10000"/>
                    <a:gd name="connsiteY58" fmla="*/ 6422 h 10000"/>
                    <a:gd name="connsiteX59" fmla="*/ 7404 w 10000"/>
                    <a:gd name="connsiteY59" fmla="*/ 6077 h 10000"/>
                    <a:gd name="connsiteX60" fmla="*/ 5975 w 10000"/>
                    <a:gd name="connsiteY60" fmla="*/ 5882 h 10000"/>
                    <a:gd name="connsiteX61" fmla="*/ 5975 w 10000"/>
                    <a:gd name="connsiteY61" fmla="*/ 5882 h 10000"/>
                    <a:gd name="connsiteX62" fmla="*/ 5975 w 10000"/>
                    <a:gd name="connsiteY62" fmla="*/ 5866 h 10000"/>
                    <a:gd name="connsiteX63" fmla="*/ 5975 w 10000"/>
                    <a:gd name="connsiteY63" fmla="*/ 5768 h 10000"/>
                    <a:gd name="connsiteX64" fmla="*/ 5975 w 10000"/>
                    <a:gd name="connsiteY64" fmla="*/ 5768 h 10000"/>
                    <a:gd name="connsiteX65" fmla="*/ 5779 w 10000"/>
                    <a:gd name="connsiteY65" fmla="*/ 5651 h 10000"/>
                    <a:gd name="connsiteX66" fmla="*/ 5389 w 10000"/>
                    <a:gd name="connsiteY66" fmla="*/ 5473 h 10000"/>
                    <a:gd name="connsiteX67" fmla="*/ 4545 w 10000"/>
                    <a:gd name="connsiteY67" fmla="*/ 5130 h 10000"/>
                    <a:gd name="connsiteX68" fmla="*/ 4545 w 10000"/>
                    <a:gd name="connsiteY68" fmla="*/ 5130 h 10000"/>
                    <a:gd name="connsiteX69" fmla="*/ 4352 w 10000"/>
                    <a:gd name="connsiteY69" fmla="*/ 5081 h 10000"/>
                    <a:gd name="connsiteX70" fmla="*/ 4026 w 10000"/>
                    <a:gd name="connsiteY70" fmla="*/ 5016 h 10000"/>
                    <a:gd name="connsiteX71" fmla="*/ 3052 w 10000"/>
                    <a:gd name="connsiteY71" fmla="*/ 4868 h 10000"/>
                    <a:gd name="connsiteX72" fmla="*/ 1689 w 10000"/>
                    <a:gd name="connsiteY72" fmla="*/ 4690 h 10000"/>
                    <a:gd name="connsiteX73" fmla="*/ 1689 w 10000"/>
                    <a:gd name="connsiteY73" fmla="*/ 4690 h 10000"/>
                    <a:gd name="connsiteX74" fmla="*/ 1103 w 10000"/>
                    <a:gd name="connsiteY74" fmla="*/ 4672 h 10000"/>
                    <a:gd name="connsiteX75" fmla="*/ 650 w 10000"/>
                    <a:gd name="connsiteY75" fmla="*/ 4655 h 10000"/>
                    <a:gd name="connsiteX76" fmla="*/ 521 w 10000"/>
                    <a:gd name="connsiteY76" fmla="*/ 4639 h 10000"/>
                    <a:gd name="connsiteX77" fmla="*/ 390 w 10000"/>
                    <a:gd name="connsiteY77" fmla="*/ 4624 h 10000"/>
                    <a:gd name="connsiteX78" fmla="*/ 390 w 10000"/>
                    <a:gd name="connsiteY78" fmla="*/ 4624 h 10000"/>
                    <a:gd name="connsiteX79" fmla="*/ 261 w 10000"/>
                    <a:gd name="connsiteY79" fmla="*/ 4557 h 10000"/>
                    <a:gd name="connsiteX80" fmla="*/ 65 w 10000"/>
                    <a:gd name="connsiteY80" fmla="*/ 4445 h 10000"/>
                    <a:gd name="connsiteX81" fmla="*/ 0 w 10000"/>
                    <a:gd name="connsiteY81" fmla="*/ 4379 h 10000"/>
                    <a:gd name="connsiteX82" fmla="*/ 0 w 10000"/>
                    <a:gd name="connsiteY82" fmla="*/ 4312 h 10000"/>
                    <a:gd name="connsiteX83" fmla="*/ 0 w 10000"/>
                    <a:gd name="connsiteY83" fmla="*/ 4264 h 10000"/>
                    <a:gd name="connsiteX84" fmla="*/ 131 w 10000"/>
                    <a:gd name="connsiteY84" fmla="*/ 4214 h 10000"/>
                    <a:gd name="connsiteX85" fmla="*/ 131 w 10000"/>
                    <a:gd name="connsiteY85" fmla="*/ 4214 h 10000"/>
                    <a:gd name="connsiteX86" fmla="*/ 455 w 10000"/>
                    <a:gd name="connsiteY86" fmla="*/ 4133 h 10000"/>
                    <a:gd name="connsiteX87" fmla="*/ 779 w 10000"/>
                    <a:gd name="connsiteY87" fmla="*/ 4053 h 10000"/>
                    <a:gd name="connsiteX88" fmla="*/ 975 w 10000"/>
                    <a:gd name="connsiteY88" fmla="*/ 4004 h 10000"/>
                    <a:gd name="connsiteX89" fmla="*/ 1103 w 10000"/>
                    <a:gd name="connsiteY89" fmla="*/ 3954 h 10000"/>
                    <a:gd name="connsiteX90" fmla="*/ 1103 w 10000"/>
                    <a:gd name="connsiteY90" fmla="*/ 3888 h 10000"/>
                    <a:gd name="connsiteX91" fmla="*/ 1103 w 10000"/>
                    <a:gd name="connsiteY91" fmla="*/ 3807 h 10000"/>
                    <a:gd name="connsiteX92" fmla="*/ 1103 w 10000"/>
                    <a:gd name="connsiteY92" fmla="*/ 3807 h 10000"/>
                    <a:gd name="connsiteX93" fmla="*/ 845 w 10000"/>
                    <a:gd name="connsiteY93" fmla="*/ 3577 h 10000"/>
                    <a:gd name="connsiteX94" fmla="*/ 521 w 10000"/>
                    <a:gd name="connsiteY94" fmla="*/ 3268 h 10000"/>
                    <a:gd name="connsiteX95" fmla="*/ 261 w 10000"/>
                    <a:gd name="connsiteY95" fmla="*/ 2989 h 10000"/>
                    <a:gd name="connsiteX96" fmla="*/ 195 w 10000"/>
                    <a:gd name="connsiteY96" fmla="*/ 2908 h 10000"/>
                    <a:gd name="connsiteX97" fmla="*/ 195 w 10000"/>
                    <a:gd name="connsiteY97" fmla="*/ 2875 h 10000"/>
                    <a:gd name="connsiteX98" fmla="*/ 261 w 10000"/>
                    <a:gd name="connsiteY98" fmla="*/ 2858 h 10000"/>
                    <a:gd name="connsiteX99" fmla="*/ 261 w 10000"/>
                    <a:gd name="connsiteY99" fmla="*/ 2858 h 10000"/>
                    <a:gd name="connsiteX100" fmla="*/ 650 w 10000"/>
                    <a:gd name="connsiteY100" fmla="*/ 2843 h 10000"/>
                    <a:gd name="connsiteX101" fmla="*/ 908 w 10000"/>
                    <a:gd name="connsiteY101" fmla="*/ 2843 h 10000"/>
                    <a:gd name="connsiteX102" fmla="*/ 1103 w 10000"/>
                    <a:gd name="connsiteY102" fmla="*/ 2858 h 10000"/>
                    <a:gd name="connsiteX103" fmla="*/ 1103 w 10000"/>
                    <a:gd name="connsiteY103" fmla="*/ 2858 h 10000"/>
                    <a:gd name="connsiteX104" fmla="*/ 1168 w 10000"/>
                    <a:gd name="connsiteY104" fmla="*/ 2858 h 10000"/>
                    <a:gd name="connsiteX105" fmla="*/ 1235 w 10000"/>
                    <a:gd name="connsiteY105" fmla="*/ 2827 h 10000"/>
                    <a:gd name="connsiteX106" fmla="*/ 1559 w 10000"/>
                    <a:gd name="connsiteY106" fmla="*/ 2729 h 10000"/>
                    <a:gd name="connsiteX107" fmla="*/ 2402 w 10000"/>
                    <a:gd name="connsiteY107" fmla="*/ 2401 h 10000"/>
                    <a:gd name="connsiteX108" fmla="*/ 3507 w 10000"/>
                    <a:gd name="connsiteY108" fmla="*/ 1930 h 10000"/>
                    <a:gd name="connsiteX109" fmla="*/ 3507 w 10000"/>
                    <a:gd name="connsiteY109" fmla="*/ 1930 h 10000"/>
                    <a:gd name="connsiteX110" fmla="*/ 3507 w 10000"/>
                    <a:gd name="connsiteY110" fmla="*/ 1863 h 10000"/>
                    <a:gd name="connsiteX111" fmla="*/ 3507 w 10000"/>
                    <a:gd name="connsiteY111" fmla="*/ 1713 h 10000"/>
                    <a:gd name="connsiteX112" fmla="*/ 3573 w 10000"/>
                    <a:gd name="connsiteY112" fmla="*/ 1617 h 10000"/>
                    <a:gd name="connsiteX113" fmla="*/ 3702 w 10000"/>
                    <a:gd name="connsiteY113" fmla="*/ 1535 h 10000"/>
                    <a:gd name="connsiteX114" fmla="*/ 3896 w 10000"/>
                    <a:gd name="connsiteY114" fmla="*/ 1438 h 10000"/>
                    <a:gd name="connsiteX115" fmla="*/ 4156 w 10000"/>
                    <a:gd name="connsiteY115" fmla="*/ 1357 h 10000"/>
                    <a:gd name="connsiteX116" fmla="*/ 4156 w 10000"/>
                    <a:gd name="connsiteY116" fmla="*/ 1357 h 10000"/>
                    <a:gd name="connsiteX117" fmla="*/ 4806 w 10000"/>
                    <a:gd name="connsiteY117" fmla="*/ 1194 h 10000"/>
                    <a:gd name="connsiteX118" fmla="*/ 5455 w 10000"/>
                    <a:gd name="connsiteY118" fmla="*/ 979 h 10000"/>
                    <a:gd name="connsiteX119" fmla="*/ 6104 w 10000"/>
                    <a:gd name="connsiteY119" fmla="*/ 784 h 10000"/>
                    <a:gd name="connsiteX120" fmla="*/ 6559 w 10000"/>
                    <a:gd name="connsiteY120" fmla="*/ 606 h 10000"/>
                    <a:gd name="connsiteX121" fmla="*/ 6559 w 10000"/>
                    <a:gd name="connsiteY121" fmla="*/ 606 h 10000"/>
                    <a:gd name="connsiteX122" fmla="*/ 6882 w 10000"/>
                    <a:gd name="connsiteY122" fmla="*/ 442 h 10000"/>
                    <a:gd name="connsiteX123" fmla="*/ 7273 w 10000"/>
                    <a:gd name="connsiteY123" fmla="*/ 245 h 10000"/>
                    <a:gd name="connsiteX124" fmla="*/ 7663 w 10000"/>
                    <a:gd name="connsiteY124" fmla="*/ 97 h 10000"/>
                    <a:gd name="connsiteX125" fmla="*/ 7856 w 10000"/>
                    <a:gd name="connsiteY125" fmla="*/ 30 h 10000"/>
                    <a:gd name="connsiteX126" fmla="*/ 8051 w 10000"/>
                    <a:gd name="connsiteY126" fmla="*/ 15 h 10000"/>
                    <a:gd name="connsiteX127" fmla="*/ 8051 w 10000"/>
                    <a:gd name="connsiteY127" fmla="*/ 15 h 10000"/>
                    <a:gd name="connsiteX128" fmla="*/ 8442 w 10000"/>
                    <a:gd name="connsiteY128" fmla="*/ 0 h 10000"/>
                    <a:gd name="connsiteX129" fmla="*/ 8961 w 10000"/>
                    <a:gd name="connsiteY129" fmla="*/ 0 h 10000"/>
                    <a:gd name="connsiteX130" fmla="*/ 10000 w 10000"/>
                    <a:gd name="connsiteY130" fmla="*/ 15 h 10000"/>
                    <a:gd name="connsiteX131" fmla="*/ 7404 w 10000"/>
                    <a:gd name="connsiteY131" fmla="*/ 9525 h 10000"/>
                    <a:gd name="connsiteX132" fmla="*/ 5584 w 10000"/>
                    <a:gd name="connsiteY132" fmla="*/ 9493 h 10000"/>
                    <a:gd name="connsiteX133" fmla="*/ 5389 w 10000"/>
                    <a:gd name="connsiteY133" fmla="*/ 9167 h 10000"/>
                    <a:gd name="connsiteX134" fmla="*/ 5389 w 10000"/>
                    <a:gd name="connsiteY134" fmla="*/ 9101 h 10000"/>
                    <a:gd name="connsiteX135" fmla="*/ 5259 w 10000"/>
                    <a:gd name="connsiteY135" fmla="*/ 9020 h 10000"/>
                    <a:gd name="connsiteX136" fmla="*/ 5195 w 10000"/>
                    <a:gd name="connsiteY136" fmla="*/ 9005 h 10000"/>
                    <a:gd name="connsiteX137" fmla="*/ 4026 w 10000"/>
                    <a:gd name="connsiteY137" fmla="*/ 9118 h 10000"/>
                    <a:gd name="connsiteX138" fmla="*/ 3702 w 10000"/>
                    <a:gd name="connsiteY138" fmla="*/ 9147 h 10000"/>
                    <a:gd name="connsiteX139" fmla="*/ 3247 w 10000"/>
                    <a:gd name="connsiteY139" fmla="*/ 8986 h 10000"/>
                    <a:gd name="connsiteX140" fmla="*/ 3247 w 10000"/>
                    <a:gd name="connsiteY140" fmla="*/ 8986 h 10000"/>
                    <a:gd name="connsiteX141" fmla="*/ 3117 w 10000"/>
                    <a:gd name="connsiteY141" fmla="*/ 8807 h 10000"/>
                    <a:gd name="connsiteX142" fmla="*/ 3117 w 10000"/>
                    <a:gd name="connsiteY142" fmla="*/ 8807 h 10000"/>
                    <a:gd name="connsiteX143" fmla="*/ 3312 w 10000"/>
                    <a:gd name="connsiteY143" fmla="*/ 8756 h 10000"/>
                    <a:gd name="connsiteX144" fmla="*/ 3443 w 10000"/>
                    <a:gd name="connsiteY144" fmla="*/ 8740 h 10000"/>
                    <a:gd name="connsiteX145" fmla="*/ 2661 w 10000"/>
                    <a:gd name="connsiteY145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8181 w 10000"/>
                    <a:gd name="connsiteY3" fmla="*/ 9771 h 10000"/>
                    <a:gd name="connsiteX4" fmla="*/ 7856 w 10000"/>
                    <a:gd name="connsiteY4" fmla="*/ 9591 h 10000"/>
                    <a:gd name="connsiteX5" fmla="*/ 7856 w 10000"/>
                    <a:gd name="connsiteY5" fmla="*/ 9591 h 10000"/>
                    <a:gd name="connsiteX6" fmla="*/ 7729 w 10000"/>
                    <a:gd name="connsiteY6" fmla="*/ 9559 h 10000"/>
                    <a:gd name="connsiteX7" fmla="*/ 7533 w 10000"/>
                    <a:gd name="connsiteY7" fmla="*/ 9525 h 10000"/>
                    <a:gd name="connsiteX8" fmla="*/ 7013 w 10000"/>
                    <a:gd name="connsiteY8" fmla="*/ 9509 h 10000"/>
                    <a:gd name="connsiteX9" fmla="*/ 6364 w 10000"/>
                    <a:gd name="connsiteY9" fmla="*/ 9493 h 10000"/>
                    <a:gd name="connsiteX10" fmla="*/ 5779 w 10000"/>
                    <a:gd name="connsiteY10" fmla="*/ 9493 h 10000"/>
                    <a:gd name="connsiteX11" fmla="*/ 5779 w 10000"/>
                    <a:gd name="connsiteY11" fmla="*/ 9493 h 10000"/>
                    <a:gd name="connsiteX12" fmla="*/ 5519 w 10000"/>
                    <a:gd name="connsiteY12" fmla="*/ 9474 h 10000"/>
                    <a:gd name="connsiteX13" fmla="*/ 5389 w 10000"/>
                    <a:gd name="connsiteY13" fmla="*/ 9444 h 10000"/>
                    <a:gd name="connsiteX14" fmla="*/ 5324 w 10000"/>
                    <a:gd name="connsiteY14" fmla="*/ 9409 h 10000"/>
                    <a:gd name="connsiteX15" fmla="*/ 5389 w 10000"/>
                    <a:gd name="connsiteY15" fmla="*/ 9214 h 10000"/>
                    <a:gd name="connsiteX16" fmla="*/ 5455 w 10000"/>
                    <a:gd name="connsiteY16" fmla="*/ 9147 h 10000"/>
                    <a:gd name="connsiteX17" fmla="*/ 5389 w 10000"/>
                    <a:gd name="connsiteY17" fmla="*/ 9069 h 10000"/>
                    <a:gd name="connsiteX18" fmla="*/ 5389 w 10000"/>
                    <a:gd name="connsiteY18" fmla="*/ 9069 h 10000"/>
                    <a:gd name="connsiteX19" fmla="*/ 5324 w 10000"/>
                    <a:gd name="connsiteY19" fmla="*/ 9020 h 10000"/>
                    <a:gd name="connsiteX20" fmla="*/ 5259 w 10000"/>
                    <a:gd name="connsiteY20" fmla="*/ 8986 h 10000"/>
                    <a:gd name="connsiteX21" fmla="*/ 5128 w 10000"/>
                    <a:gd name="connsiteY21" fmla="*/ 8986 h 10000"/>
                    <a:gd name="connsiteX22" fmla="*/ 4936 w 10000"/>
                    <a:gd name="connsiteY22" fmla="*/ 9005 h 10000"/>
                    <a:gd name="connsiteX23" fmla="*/ 4545 w 10000"/>
                    <a:gd name="connsiteY23" fmla="*/ 9052 h 10000"/>
                    <a:gd name="connsiteX24" fmla="*/ 4026 w 10000"/>
                    <a:gd name="connsiteY24" fmla="*/ 9133 h 10000"/>
                    <a:gd name="connsiteX25" fmla="*/ 4026 w 10000"/>
                    <a:gd name="connsiteY25" fmla="*/ 9133 h 10000"/>
                    <a:gd name="connsiteX26" fmla="*/ 3702 w 10000"/>
                    <a:gd name="connsiteY26" fmla="*/ 9147 h 10000"/>
                    <a:gd name="connsiteX27" fmla="*/ 3573 w 10000"/>
                    <a:gd name="connsiteY27" fmla="*/ 9147 h 10000"/>
                    <a:gd name="connsiteX28" fmla="*/ 3507 w 10000"/>
                    <a:gd name="connsiteY28" fmla="*/ 9133 h 10000"/>
                    <a:gd name="connsiteX29" fmla="*/ 3247 w 10000"/>
                    <a:gd name="connsiteY29" fmla="*/ 8986 h 10000"/>
                    <a:gd name="connsiteX30" fmla="*/ 3247 w 10000"/>
                    <a:gd name="connsiteY30" fmla="*/ 8986 h 10000"/>
                    <a:gd name="connsiteX31" fmla="*/ 3117 w 10000"/>
                    <a:gd name="connsiteY31" fmla="*/ 8938 h 10000"/>
                    <a:gd name="connsiteX32" fmla="*/ 3117 w 10000"/>
                    <a:gd name="connsiteY32" fmla="*/ 8888 h 10000"/>
                    <a:gd name="connsiteX33" fmla="*/ 3117 w 10000"/>
                    <a:gd name="connsiteY33" fmla="*/ 8855 h 10000"/>
                    <a:gd name="connsiteX34" fmla="*/ 3184 w 10000"/>
                    <a:gd name="connsiteY34" fmla="*/ 8822 h 10000"/>
                    <a:gd name="connsiteX35" fmla="*/ 3312 w 10000"/>
                    <a:gd name="connsiteY35" fmla="*/ 8756 h 10000"/>
                    <a:gd name="connsiteX36" fmla="*/ 3443 w 10000"/>
                    <a:gd name="connsiteY36" fmla="*/ 8740 h 10000"/>
                    <a:gd name="connsiteX37" fmla="*/ 3443 w 10000"/>
                    <a:gd name="connsiteY37" fmla="*/ 8740 h 10000"/>
                    <a:gd name="connsiteX38" fmla="*/ 3443 w 10000"/>
                    <a:gd name="connsiteY38" fmla="*/ 8725 h 10000"/>
                    <a:gd name="connsiteX39" fmla="*/ 3507 w 10000"/>
                    <a:gd name="connsiteY39" fmla="*/ 8708 h 10000"/>
                    <a:gd name="connsiteX40" fmla="*/ 7646 w 10000"/>
                    <a:gd name="connsiteY40" fmla="*/ 8456 h 10000"/>
                    <a:gd name="connsiteX41" fmla="*/ 8116 w 10000"/>
                    <a:gd name="connsiteY41" fmla="*/ 8464 h 10000"/>
                    <a:gd name="connsiteX42" fmla="*/ 8116 w 10000"/>
                    <a:gd name="connsiteY42" fmla="*/ 8464 h 10000"/>
                    <a:gd name="connsiteX43" fmla="*/ 8442 w 10000"/>
                    <a:gd name="connsiteY43" fmla="*/ 8431 h 10000"/>
                    <a:gd name="connsiteX44" fmla="*/ 8702 w 10000"/>
                    <a:gd name="connsiteY44" fmla="*/ 8350 h 10000"/>
                    <a:gd name="connsiteX45" fmla="*/ 8636 w 10000"/>
                    <a:gd name="connsiteY45" fmla="*/ 8316 h 10000"/>
                    <a:gd name="connsiteX46" fmla="*/ 8636 w 10000"/>
                    <a:gd name="connsiteY46" fmla="*/ 8285 h 10000"/>
                    <a:gd name="connsiteX47" fmla="*/ 8312 w 10000"/>
                    <a:gd name="connsiteY47" fmla="*/ 8202 h 10000"/>
                    <a:gd name="connsiteX48" fmla="*/ 5975 w 10000"/>
                    <a:gd name="connsiteY48" fmla="*/ 7907 h 10000"/>
                    <a:gd name="connsiteX49" fmla="*/ 5975 w 10000"/>
                    <a:gd name="connsiteY49" fmla="*/ 7907 h 10000"/>
                    <a:gd name="connsiteX50" fmla="*/ 5714 w 10000"/>
                    <a:gd name="connsiteY50" fmla="*/ 7860 h 10000"/>
                    <a:gd name="connsiteX51" fmla="*/ 5519 w 10000"/>
                    <a:gd name="connsiteY51" fmla="*/ 7810 h 10000"/>
                    <a:gd name="connsiteX52" fmla="*/ 5389 w 10000"/>
                    <a:gd name="connsiteY52" fmla="*/ 7761 h 10000"/>
                    <a:gd name="connsiteX53" fmla="*/ 5389 w 10000"/>
                    <a:gd name="connsiteY53" fmla="*/ 7761 h 10000"/>
                    <a:gd name="connsiteX54" fmla="*/ 7729 w 10000"/>
                    <a:gd name="connsiteY54" fmla="*/ 7744 h 10000"/>
                    <a:gd name="connsiteX55" fmla="*/ 10000 w 10000"/>
                    <a:gd name="connsiteY55" fmla="*/ 7907 h 10000"/>
                    <a:gd name="connsiteX56" fmla="*/ 10000 w 10000"/>
                    <a:gd name="connsiteY56" fmla="*/ 6422 h 10000"/>
                    <a:gd name="connsiteX57" fmla="*/ 10000 w 10000"/>
                    <a:gd name="connsiteY57" fmla="*/ 6422 h 10000"/>
                    <a:gd name="connsiteX58" fmla="*/ 7404 w 10000"/>
                    <a:gd name="connsiteY58" fmla="*/ 6077 h 10000"/>
                    <a:gd name="connsiteX59" fmla="*/ 5975 w 10000"/>
                    <a:gd name="connsiteY59" fmla="*/ 5882 h 10000"/>
                    <a:gd name="connsiteX60" fmla="*/ 5975 w 10000"/>
                    <a:gd name="connsiteY60" fmla="*/ 5882 h 10000"/>
                    <a:gd name="connsiteX61" fmla="*/ 5975 w 10000"/>
                    <a:gd name="connsiteY61" fmla="*/ 5866 h 10000"/>
                    <a:gd name="connsiteX62" fmla="*/ 5975 w 10000"/>
                    <a:gd name="connsiteY62" fmla="*/ 5768 h 10000"/>
                    <a:gd name="connsiteX63" fmla="*/ 5975 w 10000"/>
                    <a:gd name="connsiteY63" fmla="*/ 5768 h 10000"/>
                    <a:gd name="connsiteX64" fmla="*/ 5779 w 10000"/>
                    <a:gd name="connsiteY64" fmla="*/ 5651 h 10000"/>
                    <a:gd name="connsiteX65" fmla="*/ 5389 w 10000"/>
                    <a:gd name="connsiteY65" fmla="*/ 5473 h 10000"/>
                    <a:gd name="connsiteX66" fmla="*/ 4545 w 10000"/>
                    <a:gd name="connsiteY66" fmla="*/ 5130 h 10000"/>
                    <a:gd name="connsiteX67" fmla="*/ 4545 w 10000"/>
                    <a:gd name="connsiteY67" fmla="*/ 5130 h 10000"/>
                    <a:gd name="connsiteX68" fmla="*/ 4352 w 10000"/>
                    <a:gd name="connsiteY68" fmla="*/ 5081 h 10000"/>
                    <a:gd name="connsiteX69" fmla="*/ 4026 w 10000"/>
                    <a:gd name="connsiteY69" fmla="*/ 5016 h 10000"/>
                    <a:gd name="connsiteX70" fmla="*/ 3052 w 10000"/>
                    <a:gd name="connsiteY70" fmla="*/ 4868 h 10000"/>
                    <a:gd name="connsiteX71" fmla="*/ 1689 w 10000"/>
                    <a:gd name="connsiteY71" fmla="*/ 4690 h 10000"/>
                    <a:gd name="connsiteX72" fmla="*/ 1689 w 10000"/>
                    <a:gd name="connsiteY72" fmla="*/ 4690 h 10000"/>
                    <a:gd name="connsiteX73" fmla="*/ 1103 w 10000"/>
                    <a:gd name="connsiteY73" fmla="*/ 4672 h 10000"/>
                    <a:gd name="connsiteX74" fmla="*/ 650 w 10000"/>
                    <a:gd name="connsiteY74" fmla="*/ 4655 h 10000"/>
                    <a:gd name="connsiteX75" fmla="*/ 521 w 10000"/>
                    <a:gd name="connsiteY75" fmla="*/ 4639 h 10000"/>
                    <a:gd name="connsiteX76" fmla="*/ 390 w 10000"/>
                    <a:gd name="connsiteY76" fmla="*/ 4624 h 10000"/>
                    <a:gd name="connsiteX77" fmla="*/ 390 w 10000"/>
                    <a:gd name="connsiteY77" fmla="*/ 4624 h 10000"/>
                    <a:gd name="connsiteX78" fmla="*/ 261 w 10000"/>
                    <a:gd name="connsiteY78" fmla="*/ 4557 h 10000"/>
                    <a:gd name="connsiteX79" fmla="*/ 65 w 10000"/>
                    <a:gd name="connsiteY79" fmla="*/ 4445 h 10000"/>
                    <a:gd name="connsiteX80" fmla="*/ 0 w 10000"/>
                    <a:gd name="connsiteY80" fmla="*/ 4379 h 10000"/>
                    <a:gd name="connsiteX81" fmla="*/ 0 w 10000"/>
                    <a:gd name="connsiteY81" fmla="*/ 4312 h 10000"/>
                    <a:gd name="connsiteX82" fmla="*/ 0 w 10000"/>
                    <a:gd name="connsiteY82" fmla="*/ 4264 h 10000"/>
                    <a:gd name="connsiteX83" fmla="*/ 131 w 10000"/>
                    <a:gd name="connsiteY83" fmla="*/ 4214 h 10000"/>
                    <a:gd name="connsiteX84" fmla="*/ 131 w 10000"/>
                    <a:gd name="connsiteY84" fmla="*/ 4214 h 10000"/>
                    <a:gd name="connsiteX85" fmla="*/ 455 w 10000"/>
                    <a:gd name="connsiteY85" fmla="*/ 4133 h 10000"/>
                    <a:gd name="connsiteX86" fmla="*/ 779 w 10000"/>
                    <a:gd name="connsiteY86" fmla="*/ 4053 h 10000"/>
                    <a:gd name="connsiteX87" fmla="*/ 975 w 10000"/>
                    <a:gd name="connsiteY87" fmla="*/ 4004 h 10000"/>
                    <a:gd name="connsiteX88" fmla="*/ 1103 w 10000"/>
                    <a:gd name="connsiteY88" fmla="*/ 3954 h 10000"/>
                    <a:gd name="connsiteX89" fmla="*/ 1103 w 10000"/>
                    <a:gd name="connsiteY89" fmla="*/ 3888 h 10000"/>
                    <a:gd name="connsiteX90" fmla="*/ 1103 w 10000"/>
                    <a:gd name="connsiteY90" fmla="*/ 3807 h 10000"/>
                    <a:gd name="connsiteX91" fmla="*/ 1103 w 10000"/>
                    <a:gd name="connsiteY91" fmla="*/ 3807 h 10000"/>
                    <a:gd name="connsiteX92" fmla="*/ 845 w 10000"/>
                    <a:gd name="connsiteY92" fmla="*/ 3577 h 10000"/>
                    <a:gd name="connsiteX93" fmla="*/ 521 w 10000"/>
                    <a:gd name="connsiteY93" fmla="*/ 3268 h 10000"/>
                    <a:gd name="connsiteX94" fmla="*/ 261 w 10000"/>
                    <a:gd name="connsiteY94" fmla="*/ 2989 h 10000"/>
                    <a:gd name="connsiteX95" fmla="*/ 195 w 10000"/>
                    <a:gd name="connsiteY95" fmla="*/ 2908 h 10000"/>
                    <a:gd name="connsiteX96" fmla="*/ 195 w 10000"/>
                    <a:gd name="connsiteY96" fmla="*/ 2875 h 10000"/>
                    <a:gd name="connsiteX97" fmla="*/ 261 w 10000"/>
                    <a:gd name="connsiteY97" fmla="*/ 2858 h 10000"/>
                    <a:gd name="connsiteX98" fmla="*/ 261 w 10000"/>
                    <a:gd name="connsiteY98" fmla="*/ 2858 h 10000"/>
                    <a:gd name="connsiteX99" fmla="*/ 650 w 10000"/>
                    <a:gd name="connsiteY99" fmla="*/ 2843 h 10000"/>
                    <a:gd name="connsiteX100" fmla="*/ 908 w 10000"/>
                    <a:gd name="connsiteY100" fmla="*/ 2843 h 10000"/>
                    <a:gd name="connsiteX101" fmla="*/ 1103 w 10000"/>
                    <a:gd name="connsiteY101" fmla="*/ 2858 h 10000"/>
                    <a:gd name="connsiteX102" fmla="*/ 1103 w 10000"/>
                    <a:gd name="connsiteY102" fmla="*/ 2858 h 10000"/>
                    <a:gd name="connsiteX103" fmla="*/ 1168 w 10000"/>
                    <a:gd name="connsiteY103" fmla="*/ 2858 h 10000"/>
                    <a:gd name="connsiteX104" fmla="*/ 1235 w 10000"/>
                    <a:gd name="connsiteY104" fmla="*/ 2827 h 10000"/>
                    <a:gd name="connsiteX105" fmla="*/ 1559 w 10000"/>
                    <a:gd name="connsiteY105" fmla="*/ 2729 h 10000"/>
                    <a:gd name="connsiteX106" fmla="*/ 2402 w 10000"/>
                    <a:gd name="connsiteY106" fmla="*/ 2401 h 10000"/>
                    <a:gd name="connsiteX107" fmla="*/ 3507 w 10000"/>
                    <a:gd name="connsiteY107" fmla="*/ 1930 h 10000"/>
                    <a:gd name="connsiteX108" fmla="*/ 3507 w 10000"/>
                    <a:gd name="connsiteY108" fmla="*/ 1930 h 10000"/>
                    <a:gd name="connsiteX109" fmla="*/ 3507 w 10000"/>
                    <a:gd name="connsiteY109" fmla="*/ 1863 h 10000"/>
                    <a:gd name="connsiteX110" fmla="*/ 3507 w 10000"/>
                    <a:gd name="connsiteY110" fmla="*/ 1713 h 10000"/>
                    <a:gd name="connsiteX111" fmla="*/ 3573 w 10000"/>
                    <a:gd name="connsiteY111" fmla="*/ 1617 h 10000"/>
                    <a:gd name="connsiteX112" fmla="*/ 3702 w 10000"/>
                    <a:gd name="connsiteY112" fmla="*/ 1535 h 10000"/>
                    <a:gd name="connsiteX113" fmla="*/ 3896 w 10000"/>
                    <a:gd name="connsiteY113" fmla="*/ 1438 h 10000"/>
                    <a:gd name="connsiteX114" fmla="*/ 4156 w 10000"/>
                    <a:gd name="connsiteY114" fmla="*/ 1357 h 10000"/>
                    <a:gd name="connsiteX115" fmla="*/ 4156 w 10000"/>
                    <a:gd name="connsiteY115" fmla="*/ 1357 h 10000"/>
                    <a:gd name="connsiteX116" fmla="*/ 4806 w 10000"/>
                    <a:gd name="connsiteY116" fmla="*/ 1194 h 10000"/>
                    <a:gd name="connsiteX117" fmla="*/ 5455 w 10000"/>
                    <a:gd name="connsiteY117" fmla="*/ 979 h 10000"/>
                    <a:gd name="connsiteX118" fmla="*/ 6104 w 10000"/>
                    <a:gd name="connsiteY118" fmla="*/ 784 h 10000"/>
                    <a:gd name="connsiteX119" fmla="*/ 6559 w 10000"/>
                    <a:gd name="connsiteY119" fmla="*/ 606 h 10000"/>
                    <a:gd name="connsiteX120" fmla="*/ 6559 w 10000"/>
                    <a:gd name="connsiteY120" fmla="*/ 606 h 10000"/>
                    <a:gd name="connsiteX121" fmla="*/ 6882 w 10000"/>
                    <a:gd name="connsiteY121" fmla="*/ 442 h 10000"/>
                    <a:gd name="connsiteX122" fmla="*/ 7273 w 10000"/>
                    <a:gd name="connsiteY122" fmla="*/ 245 h 10000"/>
                    <a:gd name="connsiteX123" fmla="*/ 7663 w 10000"/>
                    <a:gd name="connsiteY123" fmla="*/ 97 h 10000"/>
                    <a:gd name="connsiteX124" fmla="*/ 7856 w 10000"/>
                    <a:gd name="connsiteY124" fmla="*/ 30 h 10000"/>
                    <a:gd name="connsiteX125" fmla="*/ 8051 w 10000"/>
                    <a:gd name="connsiteY125" fmla="*/ 15 h 10000"/>
                    <a:gd name="connsiteX126" fmla="*/ 8051 w 10000"/>
                    <a:gd name="connsiteY126" fmla="*/ 15 h 10000"/>
                    <a:gd name="connsiteX127" fmla="*/ 8442 w 10000"/>
                    <a:gd name="connsiteY127" fmla="*/ 0 h 10000"/>
                    <a:gd name="connsiteX128" fmla="*/ 8961 w 10000"/>
                    <a:gd name="connsiteY128" fmla="*/ 0 h 10000"/>
                    <a:gd name="connsiteX129" fmla="*/ 10000 w 10000"/>
                    <a:gd name="connsiteY129" fmla="*/ 15 h 10000"/>
                    <a:gd name="connsiteX130" fmla="*/ 7404 w 10000"/>
                    <a:gd name="connsiteY130" fmla="*/ 9525 h 10000"/>
                    <a:gd name="connsiteX131" fmla="*/ 5584 w 10000"/>
                    <a:gd name="connsiteY131" fmla="*/ 9493 h 10000"/>
                    <a:gd name="connsiteX132" fmla="*/ 5389 w 10000"/>
                    <a:gd name="connsiteY132" fmla="*/ 9167 h 10000"/>
                    <a:gd name="connsiteX133" fmla="*/ 5389 w 10000"/>
                    <a:gd name="connsiteY133" fmla="*/ 9101 h 10000"/>
                    <a:gd name="connsiteX134" fmla="*/ 5259 w 10000"/>
                    <a:gd name="connsiteY134" fmla="*/ 9020 h 10000"/>
                    <a:gd name="connsiteX135" fmla="*/ 5195 w 10000"/>
                    <a:gd name="connsiteY135" fmla="*/ 9005 h 10000"/>
                    <a:gd name="connsiteX136" fmla="*/ 4026 w 10000"/>
                    <a:gd name="connsiteY136" fmla="*/ 9118 h 10000"/>
                    <a:gd name="connsiteX137" fmla="*/ 3702 w 10000"/>
                    <a:gd name="connsiteY137" fmla="*/ 9147 h 10000"/>
                    <a:gd name="connsiteX138" fmla="*/ 3247 w 10000"/>
                    <a:gd name="connsiteY138" fmla="*/ 8986 h 10000"/>
                    <a:gd name="connsiteX139" fmla="*/ 3247 w 10000"/>
                    <a:gd name="connsiteY139" fmla="*/ 8986 h 10000"/>
                    <a:gd name="connsiteX140" fmla="*/ 3117 w 10000"/>
                    <a:gd name="connsiteY140" fmla="*/ 8807 h 10000"/>
                    <a:gd name="connsiteX141" fmla="*/ 3117 w 10000"/>
                    <a:gd name="connsiteY141" fmla="*/ 8807 h 10000"/>
                    <a:gd name="connsiteX142" fmla="*/ 3312 w 10000"/>
                    <a:gd name="connsiteY142" fmla="*/ 8756 h 10000"/>
                    <a:gd name="connsiteX143" fmla="*/ 3443 w 10000"/>
                    <a:gd name="connsiteY143" fmla="*/ 8740 h 10000"/>
                    <a:gd name="connsiteX144" fmla="*/ 2661 w 10000"/>
                    <a:gd name="connsiteY144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8636 w 10000"/>
                    <a:gd name="connsiteY2" fmla="*/ 9983 h 10000"/>
                    <a:gd name="connsiteX3" fmla="*/ 7856 w 10000"/>
                    <a:gd name="connsiteY3" fmla="*/ 9591 h 10000"/>
                    <a:gd name="connsiteX4" fmla="*/ 7856 w 10000"/>
                    <a:gd name="connsiteY4" fmla="*/ 9591 h 10000"/>
                    <a:gd name="connsiteX5" fmla="*/ 7729 w 10000"/>
                    <a:gd name="connsiteY5" fmla="*/ 9559 h 10000"/>
                    <a:gd name="connsiteX6" fmla="*/ 7533 w 10000"/>
                    <a:gd name="connsiteY6" fmla="*/ 9525 h 10000"/>
                    <a:gd name="connsiteX7" fmla="*/ 7013 w 10000"/>
                    <a:gd name="connsiteY7" fmla="*/ 9509 h 10000"/>
                    <a:gd name="connsiteX8" fmla="*/ 6364 w 10000"/>
                    <a:gd name="connsiteY8" fmla="*/ 9493 h 10000"/>
                    <a:gd name="connsiteX9" fmla="*/ 5779 w 10000"/>
                    <a:gd name="connsiteY9" fmla="*/ 9493 h 10000"/>
                    <a:gd name="connsiteX10" fmla="*/ 5779 w 10000"/>
                    <a:gd name="connsiteY10" fmla="*/ 9493 h 10000"/>
                    <a:gd name="connsiteX11" fmla="*/ 5519 w 10000"/>
                    <a:gd name="connsiteY11" fmla="*/ 9474 h 10000"/>
                    <a:gd name="connsiteX12" fmla="*/ 5389 w 10000"/>
                    <a:gd name="connsiteY12" fmla="*/ 9444 h 10000"/>
                    <a:gd name="connsiteX13" fmla="*/ 5324 w 10000"/>
                    <a:gd name="connsiteY13" fmla="*/ 9409 h 10000"/>
                    <a:gd name="connsiteX14" fmla="*/ 5389 w 10000"/>
                    <a:gd name="connsiteY14" fmla="*/ 9214 h 10000"/>
                    <a:gd name="connsiteX15" fmla="*/ 5455 w 10000"/>
                    <a:gd name="connsiteY15" fmla="*/ 9147 h 10000"/>
                    <a:gd name="connsiteX16" fmla="*/ 5389 w 10000"/>
                    <a:gd name="connsiteY16" fmla="*/ 9069 h 10000"/>
                    <a:gd name="connsiteX17" fmla="*/ 5389 w 10000"/>
                    <a:gd name="connsiteY17" fmla="*/ 9069 h 10000"/>
                    <a:gd name="connsiteX18" fmla="*/ 5324 w 10000"/>
                    <a:gd name="connsiteY18" fmla="*/ 9020 h 10000"/>
                    <a:gd name="connsiteX19" fmla="*/ 5259 w 10000"/>
                    <a:gd name="connsiteY19" fmla="*/ 8986 h 10000"/>
                    <a:gd name="connsiteX20" fmla="*/ 5128 w 10000"/>
                    <a:gd name="connsiteY20" fmla="*/ 8986 h 10000"/>
                    <a:gd name="connsiteX21" fmla="*/ 4936 w 10000"/>
                    <a:gd name="connsiteY21" fmla="*/ 9005 h 10000"/>
                    <a:gd name="connsiteX22" fmla="*/ 4545 w 10000"/>
                    <a:gd name="connsiteY22" fmla="*/ 9052 h 10000"/>
                    <a:gd name="connsiteX23" fmla="*/ 4026 w 10000"/>
                    <a:gd name="connsiteY23" fmla="*/ 9133 h 10000"/>
                    <a:gd name="connsiteX24" fmla="*/ 4026 w 10000"/>
                    <a:gd name="connsiteY24" fmla="*/ 9133 h 10000"/>
                    <a:gd name="connsiteX25" fmla="*/ 3702 w 10000"/>
                    <a:gd name="connsiteY25" fmla="*/ 9147 h 10000"/>
                    <a:gd name="connsiteX26" fmla="*/ 3573 w 10000"/>
                    <a:gd name="connsiteY26" fmla="*/ 9147 h 10000"/>
                    <a:gd name="connsiteX27" fmla="*/ 3507 w 10000"/>
                    <a:gd name="connsiteY27" fmla="*/ 9133 h 10000"/>
                    <a:gd name="connsiteX28" fmla="*/ 3247 w 10000"/>
                    <a:gd name="connsiteY28" fmla="*/ 8986 h 10000"/>
                    <a:gd name="connsiteX29" fmla="*/ 3247 w 10000"/>
                    <a:gd name="connsiteY29" fmla="*/ 8986 h 10000"/>
                    <a:gd name="connsiteX30" fmla="*/ 3117 w 10000"/>
                    <a:gd name="connsiteY30" fmla="*/ 8938 h 10000"/>
                    <a:gd name="connsiteX31" fmla="*/ 3117 w 10000"/>
                    <a:gd name="connsiteY31" fmla="*/ 8888 h 10000"/>
                    <a:gd name="connsiteX32" fmla="*/ 3117 w 10000"/>
                    <a:gd name="connsiteY32" fmla="*/ 8855 h 10000"/>
                    <a:gd name="connsiteX33" fmla="*/ 3184 w 10000"/>
                    <a:gd name="connsiteY33" fmla="*/ 8822 h 10000"/>
                    <a:gd name="connsiteX34" fmla="*/ 3312 w 10000"/>
                    <a:gd name="connsiteY34" fmla="*/ 8756 h 10000"/>
                    <a:gd name="connsiteX35" fmla="*/ 3443 w 10000"/>
                    <a:gd name="connsiteY35" fmla="*/ 8740 h 10000"/>
                    <a:gd name="connsiteX36" fmla="*/ 3443 w 10000"/>
                    <a:gd name="connsiteY36" fmla="*/ 8740 h 10000"/>
                    <a:gd name="connsiteX37" fmla="*/ 3443 w 10000"/>
                    <a:gd name="connsiteY37" fmla="*/ 8725 h 10000"/>
                    <a:gd name="connsiteX38" fmla="*/ 3507 w 10000"/>
                    <a:gd name="connsiteY38" fmla="*/ 8708 h 10000"/>
                    <a:gd name="connsiteX39" fmla="*/ 7646 w 10000"/>
                    <a:gd name="connsiteY39" fmla="*/ 8456 h 10000"/>
                    <a:gd name="connsiteX40" fmla="*/ 8116 w 10000"/>
                    <a:gd name="connsiteY40" fmla="*/ 8464 h 10000"/>
                    <a:gd name="connsiteX41" fmla="*/ 8116 w 10000"/>
                    <a:gd name="connsiteY41" fmla="*/ 8464 h 10000"/>
                    <a:gd name="connsiteX42" fmla="*/ 8442 w 10000"/>
                    <a:gd name="connsiteY42" fmla="*/ 8431 h 10000"/>
                    <a:gd name="connsiteX43" fmla="*/ 8702 w 10000"/>
                    <a:gd name="connsiteY43" fmla="*/ 8350 h 10000"/>
                    <a:gd name="connsiteX44" fmla="*/ 8636 w 10000"/>
                    <a:gd name="connsiteY44" fmla="*/ 8316 h 10000"/>
                    <a:gd name="connsiteX45" fmla="*/ 8636 w 10000"/>
                    <a:gd name="connsiteY45" fmla="*/ 8285 h 10000"/>
                    <a:gd name="connsiteX46" fmla="*/ 8312 w 10000"/>
                    <a:gd name="connsiteY46" fmla="*/ 8202 h 10000"/>
                    <a:gd name="connsiteX47" fmla="*/ 5975 w 10000"/>
                    <a:gd name="connsiteY47" fmla="*/ 7907 h 10000"/>
                    <a:gd name="connsiteX48" fmla="*/ 5975 w 10000"/>
                    <a:gd name="connsiteY48" fmla="*/ 7907 h 10000"/>
                    <a:gd name="connsiteX49" fmla="*/ 5714 w 10000"/>
                    <a:gd name="connsiteY49" fmla="*/ 7860 h 10000"/>
                    <a:gd name="connsiteX50" fmla="*/ 5519 w 10000"/>
                    <a:gd name="connsiteY50" fmla="*/ 7810 h 10000"/>
                    <a:gd name="connsiteX51" fmla="*/ 5389 w 10000"/>
                    <a:gd name="connsiteY51" fmla="*/ 7761 h 10000"/>
                    <a:gd name="connsiteX52" fmla="*/ 5389 w 10000"/>
                    <a:gd name="connsiteY52" fmla="*/ 7761 h 10000"/>
                    <a:gd name="connsiteX53" fmla="*/ 7729 w 10000"/>
                    <a:gd name="connsiteY53" fmla="*/ 7744 h 10000"/>
                    <a:gd name="connsiteX54" fmla="*/ 10000 w 10000"/>
                    <a:gd name="connsiteY54" fmla="*/ 7907 h 10000"/>
                    <a:gd name="connsiteX55" fmla="*/ 10000 w 10000"/>
                    <a:gd name="connsiteY55" fmla="*/ 6422 h 10000"/>
                    <a:gd name="connsiteX56" fmla="*/ 10000 w 10000"/>
                    <a:gd name="connsiteY56" fmla="*/ 6422 h 10000"/>
                    <a:gd name="connsiteX57" fmla="*/ 7404 w 10000"/>
                    <a:gd name="connsiteY57" fmla="*/ 6077 h 10000"/>
                    <a:gd name="connsiteX58" fmla="*/ 5975 w 10000"/>
                    <a:gd name="connsiteY58" fmla="*/ 5882 h 10000"/>
                    <a:gd name="connsiteX59" fmla="*/ 5975 w 10000"/>
                    <a:gd name="connsiteY59" fmla="*/ 5882 h 10000"/>
                    <a:gd name="connsiteX60" fmla="*/ 5975 w 10000"/>
                    <a:gd name="connsiteY60" fmla="*/ 5866 h 10000"/>
                    <a:gd name="connsiteX61" fmla="*/ 5975 w 10000"/>
                    <a:gd name="connsiteY61" fmla="*/ 5768 h 10000"/>
                    <a:gd name="connsiteX62" fmla="*/ 5975 w 10000"/>
                    <a:gd name="connsiteY62" fmla="*/ 5768 h 10000"/>
                    <a:gd name="connsiteX63" fmla="*/ 5779 w 10000"/>
                    <a:gd name="connsiteY63" fmla="*/ 5651 h 10000"/>
                    <a:gd name="connsiteX64" fmla="*/ 5389 w 10000"/>
                    <a:gd name="connsiteY64" fmla="*/ 5473 h 10000"/>
                    <a:gd name="connsiteX65" fmla="*/ 4545 w 10000"/>
                    <a:gd name="connsiteY65" fmla="*/ 5130 h 10000"/>
                    <a:gd name="connsiteX66" fmla="*/ 4545 w 10000"/>
                    <a:gd name="connsiteY66" fmla="*/ 5130 h 10000"/>
                    <a:gd name="connsiteX67" fmla="*/ 4352 w 10000"/>
                    <a:gd name="connsiteY67" fmla="*/ 5081 h 10000"/>
                    <a:gd name="connsiteX68" fmla="*/ 4026 w 10000"/>
                    <a:gd name="connsiteY68" fmla="*/ 5016 h 10000"/>
                    <a:gd name="connsiteX69" fmla="*/ 3052 w 10000"/>
                    <a:gd name="connsiteY69" fmla="*/ 4868 h 10000"/>
                    <a:gd name="connsiteX70" fmla="*/ 1689 w 10000"/>
                    <a:gd name="connsiteY70" fmla="*/ 4690 h 10000"/>
                    <a:gd name="connsiteX71" fmla="*/ 1689 w 10000"/>
                    <a:gd name="connsiteY71" fmla="*/ 4690 h 10000"/>
                    <a:gd name="connsiteX72" fmla="*/ 1103 w 10000"/>
                    <a:gd name="connsiteY72" fmla="*/ 4672 h 10000"/>
                    <a:gd name="connsiteX73" fmla="*/ 650 w 10000"/>
                    <a:gd name="connsiteY73" fmla="*/ 4655 h 10000"/>
                    <a:gd name="connsiteX74" fmla="*/ 521 w 10000"/>
                    <a:gd name="connsiteY74" fmla="*/ 4639 h 10000"/>
                    <a:gd name="connsiteX75" fmla="*/ 390 w 10000"/>
                    <a:gd name="connsiteY75" fmla="*/ 4624 h 10000"/>
                    <a:gd name="connsiteX76" fmla="*/ 390 w 10000"/>
                    <a:gd name="connsiteY76" fmla="*/ 4624 h 10000"/>
                    <a:gd name="connsiteX77" fmla="*/ 261 w 10000"/>
                    <a:gd name="connsiteY77" fmla="*/ 4557 h 10000"/>
                    <a:gd name="connsiteX78" fmla="*/ 65 w 10000"/>
                    <a:gd name="connsiteY78" fmla="*/ 4445 h 10000"/>
                    <a:gd name="connsiteX79" fmla="*/ 0 w 10000"/>
                    <a:gd name="connsiteY79" fmla="*/ 4379 h 10000"/>
                    <a:gd name="connsiteX80" fmla="*/ 0 w 10000"/>
                    <a:gd name="connsiteY80" fmla="*/ 4312 h 10000"/>
                    <a:gd name="connsiteX81" fmla="*/ 0 w 10000"/>
                    <a:gd name="connsiteY81" fmla="*/ 4264 h 10000"/>
                    <a:gd name="connsiteX82" fmla="*/ 131 w 10000"/>
                    <a:gd name="connsiteY82" fmla="*/ 4214 h 10000"/>
                    <a:gd name="connsiteX83" fmla="*/ 131 w 10000"/>
                    <a:gd name="connsiteY83" fmla="*/ 4214 h 10000"/>
                    <a:gd name="connsiteX84" fmla="*/ 455 w 10000"/>
                    <a:gd name="connsiteY84" fmla="*/ 4133 h 10000"/>
                    <a:gd name="connsiteX85" fmla="*/ 779 w 10000"/>
                    <a:gd name="connsiteY85" fmla="*/ 4053 h 10000"/>
                    <a:gd name="connsiteX86" fmla="*/ 975 w 10000"/>
                    <a:gd name="connsiteY86" fmla="*/ 4004 h 10000"/>
                    <a:gd name="connsiteX87" fmla="*/ 1103 w 10000"/>
                    <a:gd name="connsiteY87" fmla="*/ 3954 h 10000"/>
                    <a:gd name="connsiteX88" fmla="*/ 1103 w 10000"/>
                    <a:gd name="connsiteY88" fmla="*/ 3888 h 10000"/>
                    <a:gd name="connsiteX89" fmla="*/ 1103 w 10000"/>
                    <a:gd name="connsiteY89" fmla="*/ 3807 h 10000"/>
                    <a:gd name="connsiteX90" fmla="*/ 1103 w 10000"/>
                    <a:gd name="connsiteY90" fmla="*/ 3807 h 10000"/>
                    <a:gd name="connsiteX91" fmla="*/ 845 w 10000"/>
                    <a:gd name="connsiteY91" fmla="*/ 3577 h 10000"/>
                    <a:gd name="connsiteX92" fmla="*/ 521 w 10000"/>
                    <a:gd name="connsiteY92" fmla="*/ 3268 h 10000"/>
                    <a:gd name="connsiteX93" fmla="*/ 261 w 10000"/>
                    <a:gd name="connsiteY93" fmla="*/ 2989 h 10000"/>
                    <a:gd name="connsiteX94" fmla="*/ 195 w 10000"/>
                    <a:gd name="connsiteY94" fmla="*/ 2908 h 10000"/>
                    <a:gd name="connsiteX95" fmla="*/ 195 w 10000"/>
                    <a:gd name="connsiteY95" fmla="*/ 2875 h 10000"/>
                    <a:gd name="connsiteX96" fmla="*/ 261 w 10000"/>
                    <a:gd name="connsiteY96" fmla="*/ 2858 h 10000"/>
                    <a:gd name="connsiteX97" fmla="*/ 261 w 10000"/>
                    <a:gd name="connsiteY97" fmla="*/ 2858 h 10000"/>
                    <a:gd name="connsiteX98" fmla="*/ 650 w 10000"/>
                    <a:gd name="connsiteY98" fmla="*/ 2843 h 10000"/>
                    <a:gd name="connsiteX99" fmla="*/ 908 w 10000"/>
                    <a:gd name="connsiteY99" fmla="*/ 2843 h 10000"/>
                    <a:gd name="connsiteX100" fmla="*/ 1103 w 10000"/>
                    <a:gd name="connsiteY100" fmla="*/ 2858 h 10000"/>
                    <a:gd name="connsiteX101" fmla="*/ 1103 w 10000"/>
                    <a:gd name="connsiteY101" fmla="*/ 2858 h 10000"/>
                    <a:gd name="connsiteX102" fmla="*/ 1168 w 10000"/>
                    <a:gd name="connsiteY102" fmla="*/ 2858 h 10000"/>
                    <a:gd name="connsiteX103" fmla="*/ 1235 w 10000"/>
                    <a:gd name="connsiteY103" fmla="*/ 2827 h 10000"/>
                    <a:gd name="connsiteX104" fmla="*/ 1559 w 10000"/>
                    <a:gd name="connsiteY104" fmla="*/ 2729 h 10000"/>
                    <a:gd name="connsiteX105" fmla="*/ 2402 w 10000"/>
                    <a:gd name="connsiteY105" fmla="*/ 2401 h 10000"/>
                    <a:gd name="connsiteX106" fmla="*/ 3507 w 10000"/>
                    <a:gd name="connsiteY106" fmla="*/ 1930 h 10000"/>
                    <a:gd name="connsiteX107" fmla="*/ 3507 w 10000"/>
                    <a:gd name="connsiteY107" fmla="*/ 1930 h 10000"/>
                    <a:gd name="connsiteX108" fmla="*/ 3507 w 10000"/>
                    <a:gd name="connsiteY108" fmla="*/ 1863 h 10000"/>
                    <a:gd name="connsiteX109" fmla="*/ 3507 w 10000"/>
                    <a:gd name="connsiteY109" fmla="*/ 1713 h 10000"/>
                    <a:gd name="connsiteX110" fmla="*/ 3573 w 10000"/>
                    <a:gd name="connsiteY110" fmla="*/ 1617 h 10000"/>
                    <a:gd name="connsiteX111" fmla="*/ 3702 w 10000"/>
                    <a:gd name="connsiteY111" fmla="*/ 1535 h 10000"/>
                    <a:gd name="connsiteX112" fmla="*/ 3896 w 10000"/>
                    <a:gd name="connsiteY112" fmla="*/ 1438 h 10000"/>
                    <a:gd name="connsiteX113" fmla="*/ 4156 w 10000"/>
                    <a:gd name="connsiteY113" fmla="*/ 1357 h 10000"/>
                    <a:gd name="connsiteX114" fmla="*/ 4156 w 10000"/>
                    <a:gd name="connsiteY114" fmla="*/ 1357 h 10000"/>
                    <a:gd name="connsiteX115" fmla="*/ 4806 w 10000"/>
                    <a:gd name="connsiteY115" fmla="*/ 1194 h 10000"/>
                    <a:gd name="connsiteX116" fmla="*/ 5455 w 10000"/>
                    <a:gd name="connsiteY116" fmla="*/ 979 h 10000"/>
                    <a:gd name="connsiteX117" fmla="*/ 6104 w 10000"/>
                    <a:gd name="connsiteY117" fmla="*/ 784 h 10000"/>
                    <a:gd name="connsiteX118" fmla="*/ 6559 w 10000"/>
                    <a:gd name="connsiteY118" fmla="*/ 606 h 10000"/>
                    <a:gd name="connsiteX119" fmla="*/ 6559 w 10000"/>
                    <a:gd name="connsiteY119" fmla="*/ 606 h 10000"/>
                    <a:gd name="connsiteX120" fmla="*/ 6882 w 10000"/>
                    <a:gd name="connsiteY120" fmla="*/ 442 h 10000"/>
                    <a:gd name="connsiteX121" fmla="*/ 7273 w 10000"/>
                    <a:gd name="connsiteY121" fmla="*/ 245 h 10000"/>
                    <a:gd name="connsiteX122" fmla="*/ 7663 w 10000"/>
                    <a:gd name="connsiteY122" fmla="*/ 97 h 10000"/>
                    <a:gd name="connsiteX123" fmla="*/ 7856 w 10000"/>
                    <a:gd name="connsiteY123" fmla="*/ 30 h 10000"/>
                    <a:gd name="connsiteX124" fmla="*/ 8051 w 10000"/>
                    <a:gd name="connsiteY124" fmla="*/ 15 h 10000"/>
                    <a:gd name="connsiteX125" fmla="*/ 8051 w 10000"/>
                    <a:gd name="connsiteY125" fmla="*/ 15 h 10000"/>
                    <a:gd name="connsiteX126" fmla="*/ 8442 w 10000"/>
                    <a:gd name="connsiteY126" fmla="*/ 0 h 10000"/>
                    <a:gd name="connsiteX127" fmla="*/ 8961 w 10000"/>
                    <a:gd name="connsiteY127" fmla="*/ 0 h 10000"/>
                    <a:gd name="connsiteX128" fmla="*/ 10000 w 10000"/>
                    <a:gd name="connsiteY128" fmla="*/ 15 h 10000"/>
                    <a:gd name="connsiteX129" fmla="*/ 7404 w 10000"/>
                    <a:gd name="connsiteY129" fmla="*/ 9525 h 10000"/>
                    <a:gd name="connsiteX130" fmla="*/ 5584 w 10000"/>
                    <a:gd name="connsiteY130" fmla="*/ 9493 h 10000"/>
                    <a:gd name="connsiteX131" fmla="*/ 5389 w 10000"/>
                    <a:gd name="connsiteY131" fmla="*/ 9167 h 10000"/>
                    <a:gd name="connsiteX132" fmla="*/ 5389 w 10000"/>
                    <a:gd name="connsiteY132" fmla="*/ 9101 h 10000"/>
                    <a:gd name="connsiteX133" fmla="*/ 5259 w 10000"/>
                    <a:gd name="connsiteY133" fmla="*/ 9020 h 10000"/>
                    <a:gd name="connsiteX134" fmla="*/ 5195 w 10000"/>
                    <a:gd name="connsiteY134" fmla="*/ 9005 h 10000"/>
                    <a:gd name="connsiteX135" fmla="*/ 4026 w 10000"/>
                    <a:gd name="connsiteY135" fmla="*/ 9118 h 10000"/>
                    <a:gd name="connsiteX136" fmla="*/ 3702 w 10000"/>
                    <a:gd name="connsiteY136" fmla="*/ 9147 h 10000"/>
                    <a:gd name="connsiteX137" fmla="*/ 3247 w 10000"/>
                    <a:gd name="connsiteY137" fmla="*/ 8986 h 10000"/>
                    <a:gd name="connsiteX138" fmla="*/ 3247 w 10000"/>
                    <a:gd name="connsiteY138" fmla="*/ 8986 h 10000"/>
                    <a:gd name="connsiteX139" fmla="*/ 3117 w 10000"/>
                    <a:gd name="connsiteY139" fmla="*/ 8807 h 10000"/>
                    <a:gd name="connsiteX140" fmla="*/ 3117 w 10000"/>
                    <a:gd name="connsiteY140" fmla="*/ 8807 h 10000"/>
                    <a:gd name="connsiteX141" fmla="*/ 3312 w 10000"/>
                    <a:gd name="connsiteY141" fmla="*/ 8756 h 10000"/>
                    <a:gd name="connsiteX142" fmla="*/ 3443 w 10000"/>
                    <a:gd name="connsiteY142" fmla="*/ 8740 h 10000"/>
                    <a:gd name="connsiteX143" fmla="*/ 2661 w 10000"/>
                    <a:gd name="connsiteY143" fmla="*/ 8756 h 10000"/>
                    <a:gd name="connsiteX0" fmla="*/ 2661 w 10000"/>
                    <a:gd name="connsiteY0" fmla="*/ 8756 h 10000"/>
                    <a:gd name="connsiteX1" fmla="*/ 8765 w 10000"/>
                    <a:gd name="connsiteY1" fmla="*/ 10000 h 10000"/>
                    <a:gd name="connsiteX2" fmla="*/ 7856 w 10000"/>
                    <a:gd name="connsiteY2" fmla="*/ 9591 h 10000"/>
                    <a:gd name="connsiteX3" fmla="*/ 7856 w 10000"/>
                    <a:gd name="connsiteY3" fmla="*/ 9591 h 10000"/>
                    <a:gd name="connsiteX4" fmla="*/ 7729 w 10000"/>
                    <a:gd name="connsiteY4" fmla="*/ 9559 h 10000"/>
                    <a:gd name="connsiteX5" fmla="*/ 7533 w 10000"/>
                    <a:gd name="connsiteY5" fmla="*/ 9525 h 10000"/>
                    <a:gd name="connsiteX6" fmla="*/ 7013 w 10000"/>
                    <a:gd name="connsiteY6" fmla="*/ 9509 h 10000"/>
                    <a:gd name="connsiteX7" fmla="*/ 6364 w 10000"/>
                    <a:gd name="connsiteY7" fmla="*/ 9493 h 10000"/>
                    <a:gd name="connsiteX8" fmla="*/ 5779 w 10000"/>
                    <a:gd name="connsiteY8" fmla="*/ 9493 h 10000"/>
                    <a:gd name="connsiteX9" fmla="*/ 5779 w 10000"/>
                    <a:gd name="connsiteY9" fmla="*/ 9493 h 10000"/>
                    <a:gd name="connsiteX10" fmla="*/ 5519 w 10000"/>
                    <a:gd name="connsiteY10" fmla="*/ 9474 h 10000"/>
                    <a:gd name="connsiteX11" fmla="*/ 5389 w 10000"/>
                    <a:gd name="connsiteY11" fmla="*/ 9444 h 10000"/>
                    <a:gd name="connsiteX12" fmla="*/ 5324 w 10000"/>
                    <a:gd name="connsiteY12" fmla="*/ 9409 h 10000"/>
                    <a:gd name="connsiteX13" fmla="*/ 5389 w 10000"/>
                    <a:gd name="connsiteY13" fmla="*/ 9214 h 10000"/>
                    <a:gd name="connsiteX14" fmla="*/ 5455 w 10000"/>
                    <a:gd name="connsiteY14" fmla="*/ 9147 h 10000"/>
                    <a:gd name="connsiteX15" fmla="*/ 5389 w 10000"/>
                    <a:gd name="connsiteY15" fmla="*/ 9069 h 10000"/>
                    <a:gd name="connsiteX16" fmla="*/ 5389 w 10000"/>
                    <a:gd name="connsiteY16" fmla="*/ 9069 h 10000"/>
                    <a:gd name="connsiteX17" fmla="*/ 5324 w 10000"/>
                    <a:gd name="connsiteY17" fmla="*/ 9020 h 10000"/>
                    <a:gd name="connsiteX18" fmla="*/ 5259 w 10000"/>
                    <a:gd name="connsiteY18" fmla="*/ 8986 h 10000"/>
                    <a:gd name="connsiteX19" fmla="*/ 5128 w 10000"/>
                    <a:gd name="connsiteY19" fmla="*/ 8986 h 10000"/>
                    <a:gd name="connsiteX20" fmla="*/ 4936 w 10000"/>
                    <a:gd name="connsiteY20" fmla="*/ 9005 h 10000"/>
                    <a:gd name="connsiteX21" fmla="*/ 4545 w 10000"/>
                    <a:gd name="connsiteY21" fmla="*/ 9052 h 10000"/>
                    <a:gd name="connsiteX22" fmla="*/ 4026 w 10000"/>
                    <a:gd name="connsiteY22" fmla="*/ 9133 h 10000"/>
                    <a:gd name="connsiteX23" fmla="*/ 4026 w 10000"/>
                    <a:gd name="connsiteY23" fmla="*/ 9133 h 10000"/>
                    <a:gd name="connsiteX24" fmla="*/ 3702 w 10000"/>
                    <a:gd name="connsiteY24" fmla="*/ 9147 h 10000"/>
                    <a:gd name="connsiteX25" fmla="*/ 3573 w 10000"/>
                    <a:gd name="connsiteY25" fmla="*/ 9147 h 10000"/>
                    <a:gd name="connsiteX26" fmla="*/ 3507 w 10000"/>
                    <a:gd name="connsiteY26" fmla="*/ 9133 h 10000"/>
                    <a:gd name="connsiteX27" fmla="*/ 3247 w 10000"/>
                    <a:gd name="connsiteY27" fmla="*/ 8986 h 10000"/>
                    <a:gd name="connsiteX28" fmla="*/ 3247 w 10000"/>
                    <a:gd name="connsiteY28" fmla="*/ 8986 h 10000"/>
                    <a:gd name="connsiteX29" fmla="*/ 3117 w 10000"/>
                    <a:gd name="connsiteY29" fmla="*/ 8938 h 10000"/>
                    <a:gd name="connsiteX30" fmla="*/ 3117 w 10000"/>
                    <a:gd name="connsiteY30" fmla="*/ 8888 h 10000"/>
                    <a:gd name="connsiteX31" fmla="*/ 3117 w 10000"/>
                    <a:gd name="connsiteY31" fmla="*/ 8855 h 10000"/>
                    <a:gd name="connsiteX32" fmla="*/ 3184 w 10000"/>
                    <a:gd name="connsiteY32" fmla="*/ 8822 h 10000"/>
                    <a:gd name="connsiteX33" fmla="*/ 3312 w 10000"/>
                    <a:gd name="connsiteY33" fmla="*/ 8756 h 10000"/>
                    <a:gd name="connsiteX34" fmla="*/ 3443 w 10000"/>
                    <a:gd name="connsiteY34" fmla="*/ 8740 h 10000"/>
                    <a:gd name="connsiteX35" fmla="*/ 3443 w 10000"/>
                    <a:gd name="connsiteY35" fmla="*/ 8740 h 10000"/>
                    <a:gd name="connsiteX36" fmla="*/ 3443 w 10000"/>
                    <a:gd name="connsiteY36" fmla="*/ 8725 h 10000"/>
                    <a:gd name="connsiteX37" fmla="*/ 3507 w 10000"/>
                    <a:gd name="connsiteY37" fmla="*/ 8708 h 10000"/>
                    <a:gd name="connsiteX38" fmla="*/ 7646 w 10000"/>
                    <a:gd name="connsiteY38" fmla="*/ 8456 h 10000"/>
                    <a:gd name="connsiteX39" fmla="*/ 8116 w 10000"/>
                    <a:gd name="connsiteY39" fmla="*/ 8464 h 10000"/>
                    <a:gd name="connsiteX40" fmla="*/ 8116 w 10000"/>
                    <a:gd name="connsiteY40" fmla="*/ 8464 h 10000"/>
                    <a:gd name="connsiteX41" fmla="*/ 8442 w 10000"/>
                    <a:gd name="connsiteY41" fmla="*/ 8431 h 10000"/>
                    <a:gd name="connsiteX42" fmla="*/ 8702 w 10000"/>
                    <a:gd name="connsiteY42" fmla="*/ 8350 h 10000"/>
                    <a:gd name="connsiteX43" fmla="*/ 8636 w 10000"/>
                    <a:gd name="connsiteY43" fmla="*/ 8316 h 10000"/>
                    <a:gd name="connsiteX44" fmla="*/ 8636 w 10000"/>
                    <a:gd name="connsiteY44" fmla="*/ 8285 h 10000"/>
                    <a:gd name="connsiteX45" fmla="*/ 8312 w 10000"/>
                    <a:gd name="connsiteY45" fmla="*/ 8202 h 10000"/>
                    <a:gd name="connsiteX46" fmla="*/ 5975 w 10000"/>
                    <a:gd name="connsiteY46" fmla="*/ 7907 h 10000"/>
                    <a:gd name="connsiteX47" fmla="*/ 5975 w 10000"/>
                    <a:gd name="connsiteY47" fmla="*/ 7907 h 10000"/>
                    <a:gd name="connsiteX48" fmla="*/ 5714 w 10000"/>
                    <a:gd name="connsiteY48" fmla="*/ 7860 h 10000"/>
                    <a:gd name="connsiteX49" fmla="*/ 5519 w 10000"/>
                    <a:gd name="connsiteY49" fmla="*/ 7810 h 10000"/>
                    <a:gd name="connsiteX50" fmla="*/ 5389 w 10000"/>
                    <a:gd name="connsiteY50" fmla="*/ 7761 h 10000"/>
                    <a:gd name="connsiteX51" fmla="*/ 5389 w 10000"/>
                    <a:gd name="connsiteY51" fmla="*/ 7761 h 10000"/>
                    <a:gd name="connsiteX52" fmla="*/ 7729 w 10000"/>
                    <a:gd name="connsiteY52" fmla="*/ 7744 h 10000"/>
                    <a:gd name="connsiteX53" fmla="*/ 10000 w 10000"/>
                    <a:gd name="connsiteY53" fmla="*/ 7907 h 10000"/>
                    <a:gd name="connsiteX54" fmla="*/ 10000 w 10000"/>
                    <a:gd name="connsiteY54" fmla="*/ 6422 h 10000"/>
                    <a:gd name="connsiteX55" fmla="*/ 10000 w 10000"/>
                    <a:gd name="connsiteY55" fmla="*/ 6422 h 10000"/>
                    <a:gd name="connsiteX56" fmla="*/ 7404 w 10000"/>
                    <a:gd name="connsiteY56" fmla="*/ 6077 h 10000"/>
                    <a:gd name="connsiteX57" fmla="*/ 5975 w 10000"/>
                    <a:gd name="connsiteY57" fmla="*/ 5882 h 10000"/>
                    <a:gd name="connsiteX58" fmla="*/ 5975 w 10000"/>
                    <a:gd name="connsiteY58" fmla="*/ 5882 h 10000"/>
                    <a:gd name="connsiteX59" fmla="*/ 5975 w 10000"/>
                    <a:gd name="connsiteY59" fmla="*/ 5866 h 10000"/>
                    <a:gd name="connsiteX60" fmla="*/ 5975 w 10000"/>
                    <a:gd name="connsiteY60" fmla="*/ 5768 h 10000"/>
                    <a:gd name="connsiteX61" fmla="*/ 5975 w 10000"/>
                    <a:gd name="connsiteY61" fmla="*/ 5768 h 10000"/>
                    <a:gd name="connsiteX62" fmla="*/ 5779 w 10000"/>
                    <a:gd name="connsiteY62" fmla="*/ 5651 h 10000"/>
                    <a:gd name="connsiteX63" fmla="*/ 5389 w 10000"/>
                    <a:gd name="connsiteY63" fmla="*/ 5473 h 10000"/>
                    <a:gd name="connsiteX64" fmla="*/ 4545 w 10000"/>
                    <a:gd name="connsiteY64" fmla="*/ 5130 h 10000"/>
                    <a:gd name="connsiteX65" fmla="*/ 4545 w 10000"/>
                    <a:gd name="connsiteY65" fmla="*/ 5130 h 10000"/>
                    <a:gd name="connsiteX66" fmla="*/ 4352 w 10000"/>
                    <a:gd name="connsiteY66" fmla="*/ 5081 h 10000"/>
                    <a:gd name="connsiteX67" fmla="*/ 4026 w 10000"/>
                    <a:gd name="connsiteY67" fmla="*/ 5016 h 10000"/>
                    <a:gd name="connsiteX68" fmla="*/ 3052 w 10000"/>
                    <a:gd name="connsiteY68" fmla="*/ 4868 h 10000"/>
                    <a:gd name="connsiteX69" fmla="*/ 1689 w 10000"/>
                    <a:gd name="connsiteY69" fmla="*/ 4690 h 10000"/>
                    <a:gd name="connsiteX70" fmla="*/ 1689 w 10000"/>
                    <a:gd name="connsiteY70" fmla="*/ 4690 h 10000"/>
                    <a:gd name="connsiteX71" fmla="*/ 1103 w 10000"/>
                    <a:gd name="connsiteY71" fmla="*/ 4672 h 10000"/>
                    <a:gd name="connsiteX72" fmla="*/ 650 w 10000"/>
                    <a:gd name="connsiteY72" fmla="*/ 4655 h 10000"/>
                    <a:gd name="connsiteX73" fmla="*/ 521 w 10000"/>
                    <a:gd name="connsiteY73" fmla="*/ 4639 h 10000"/>
                    <a:gd name="connsiteX74" fmla="*/ 390 w 10000"/>
                    <a:gd name="connsiteY74" fmla="*/ 4624 h 10000"/>
                    <a:gd name="connsiteX75" fmla="*/ 390 w 10000"/>
                    <a:gd name="connsiteY75" fmla="*/ 4624 h 10000"/>
                    <a:gd name="connsiteX76" fmla="*/ 261 w 10000"/>
                    <a:gd name="connsiteY76" fmla="*/ 4557 h 10000"/>
                    <a:gd name="connsiteX77" fmla="*/ 65 w 10000"/>
                    <a:gd name="connsiteY77" fmla="*/ 4445 h 10000"/>
                    <a:gd name="connsiteX78" fmla="*/ 0 w 10000"/>
                    <a:gd name="connsiteY78" fmla="*/ 4379 h 10000"/>
                    <a:gd name="connsiteX79" fmla="*/ 0 w 10000"/>
                    <a:gd name="connsiteY79" fmla="*/ 4312 h 10000"/>
                    <a:gd name="connsiteX80" fmla="*/ 0 w 10000"/>
                    <a:gd name="connsiteY80" fmla="*/ 4264 h 10000"/>
                    <a:gd name="connsiteX81" fmla="*/ 131 w 10000"/>
                    <a:gd name="connsiteY81" fmla="*/ 4214 h 10000"/>
                    <a:gd name="connsiteX82" fmla="*/ 131 w 10000"/>
                    <a:gd name="connsiteY82" fmla="*/ 4214 h 10000"/>
                    <a:gd name="connsiteX83" fmla="*/ 455 w 10000"/>
                    <a:gd name="connsiteY83" fmla="*/ 4133 h 10000"/>
                    <a:gd name="connsiteX84" fmla="*/ 779 w 10000"/>
                    <a:gd name="connsiteY84" fmla="*/ 4053 h 10000"/>
                    <a:gd name="connsiteX85" fmla="*/ 975 w 10000"/>
                    <a:gd name="connsiteY85" fmla="*/ 4004 h 10000"/>
                    <a:gd name="connsiteX86" fmla="*/ 1103 w 10000"/>
                    <a:gd name="connsiteY86" fmla="*/ 3954 h 10000"/>
                    <a:gd name="connsiteX87" fmla="*/ 1103 w 10000"/>
                    <a:gd name="connsiteY87" fmla="*/ 3888 h 10000"/>
                    <a:gd name="connsiteX88" fmla="*/ 1103 w 10000"/>
                    <a:gd name="connsiteY88" fmla="*/ 3807 h 10000"/>
                    <a:gd name="connsiteX89" fmla="*/ 1103 w 10000"/>
                    <a:gd name="connsiteY89" fmla="*/ 3807 h 10000"/>
                    <a:gd name="connsiteX90" fmla="*/ 845 w 10000"/>
                    <a:gd name="connsiteY90" fmla="*/ 3577 h 10000"/>
                    <a:gd name="connsiteX91" fmla="*/ 521 w 10000"/>
                    <a:gd name="connsiteY91" fmla="*/ 3268 h 10000"/>
                    <a:gd name="connsiteX92" fmla="*/ 261 w 10000"/>
                    <a:gd name="connsiteY92" fmla="*/ 2989 h 10000"/>
                    <a:gd name="connsiteX93" fmla="*/ 195 w 10000"/>
                    <a:gd name="connsiteY93" fmla="*/ 2908 h 10000"/>
                    <a:gd name="connsiteX94" fmla="*/ 195 w 10000"/>
                    <a:gd name="connsiteY94" fmla="*/ 2875 h 10000"/>
                    <a:gd name="connsiteX95" fmla="*/ 261 w 10000"/>
                    <a:gd name="connsiteY95" fmla="*/ 2858 h 10000"/>
                    <a:gd name="connsiteX96" fmla="*/ 261 w 10000"/>
                    <a:gd name="connsiteY96" fmla="*/ 2858 h 10000"/>
                    <a:gd name="connsiteX97" fmla="*/ 650 w 10000"/>
                    <a:gd name="connsiteY97" fmla="*/ 2843 h 10000"/>
                    <a:gd name="connsiteX98" fmla="*/ 908 w 10000"/>
                    <a:gd name="connsiteY98" fmla="*/ 2843 h 10000"/>
                    <a:gd name="connsiteX99" fmla="*/ 1103 w 10000"/>
                    <a:gd name="connsiteY99" fmla="*/ 2858 h 10000"/>
                    <a:gd name="connsiteX100" fmla="*/ 1103 w 10000"/>
                    <a:gd name="connsiteY100" fmla="*/ 2858 h 10000"/>
                    <a:gd name="connsiteX101" fmla="*/ 1168 w 10000"/>
                    <a:gd name="connsiteY101" fmla="*/ 2858 h 10000"/>
                    <a:gd name="connsiteX102" fmla="*/ 1235 w 10000"/>
                    <a:gd name="connsiteY102" fmla="*/ 2827 h 10000"/>
                    <a:gd name="connsiteX103" fmla="*/ 1559 w 10000"/>
                    <a:gd name="connsiteY103" fmla="*/ 2729 h 10000"/>
                    <a:gd name="connsiteX104" fmla="*/ 2402 w 10000"/>
                    <a:gd name="connsiteY104" fmla="*/ 2401 h 10000"/>
                    <a:gd name="connsiteX105" fmla="*/ 3507 w 10000"/>
                    <a:gd name="connsiteY105" fmla="*/ 1930 h 10000"/>
                    <a:gd name="connsiteX106" fmla="*/ 3507 w 10000"/>
                    <a:gd name="connsiteY106" fmla="*/ 1930 h 10000"/>
                    <a:gd name="connsiteX107" fmla="*/ 3507 w 10000"/>
                    <a:gd name="connsiteY107" fmla="*/ 1863 h 10000"/>
                    <a:gd name="connsiteX108" fmla="*/ 3507 w 10000"/>
                    <a:gd name="connsiteY108" fmla="*/ 1713 h 10000"/>
                    <a:gd name="connsiteX109" fmla="*/ 3573 w 10000"/>
                    <a:gd name="connsiteY109" fmla="*/ 1617 h 10000"/>
                    <a:gd name="connsiteX110" fmla="*/ 3702 w 10000"/>
                    <a:gd name="connsiteY110" fmla="*/ 1535 h 10000"/>
                    <a:gd name="connsiteX111" fmla="*/ 3896 w 10000"/>
                    <a:gd name="connsiteY111" fmla="*/ 1438 h 10000"/>
                    <a:gd name="connsiteX112" fmla="*/ 4156 w 10000"/>
                    <a:gd name="connsiteY112" fmla="*/ 1357 h 10000"/>
                    <a:gd name="connsiteX113" fmla="*/ 4156 w 10000"/>
                    <a:gd name="connsiteY113" fmla="*/ 1357 h 10000"/>
                    <a:gd name="connsiteX114" fmla="*/ 4806 w 10000"/>
                    <a:gd name="connsiteY114" fmla="*/ 1194 h 10000"/>
                    <a:gd name="connsiteX115" fmla="*/ 5455 w 10000"/>
                    <a:gd name="connsiteY115" fmla="*/ 979 h 10000"/>
                    <a:gd name="connsiteX116" fmla="*/ 6104 w 10000"/>
                    <a:gd name="connsiteY116" fmla="*/ 784 h 10000"/>
                    <a:gd name="connsiteX117" fmla="*/ 6559 w 10000"/>
                    <a:gd name="connsiteY117" fmla="*/ 606 h 10000"/>
                    <a:gd name="connsiteX118" fmla="*/ 6559 w 10000"/>
                    <a:gd name="connsiteY118" fmla="*/ 606 h 10000"/>
                    <a:gd name="connsiteX119" fmla="*/ 6882 w 10000"/>
                    <a:gd name="connsiteY119" fmla="*/ 442 h 10000"/>
                    <a:gd name="connsiteX120" fmla="*/ 7273 w 10000"/>
                    <a:gd name="connsiteY120" fmla="*/ 245 h 10000"/>
                    <a:gd name="connsiteX121" fmla="*/ 7663 w 10000"/>
                    <a:gd name="connsiteY121" fmla="*/ 97 h 10000"/>
                    <a:gd name="connsiteX122" fmla="*/ 7856 w 10000"/>
                    <a:gd name="connsiteY122" fmla="*/ 30 h 10000"/>
                    <a:gd name="connsiteX123" fmla="*/ 8051 w 10000"/>
                    <a:gd name="connsiteY123" fmla="*/ 15 h 10000"/>
                    <a:gd name="connsiteX124" fmla="*/ 8051 w 10000"/>
                    <a:gd name="connsiteY124" fmla="*/ 15 h 10000"/>
                    <a:gd name="connsiteX125" fmla="*/ 8442 w 10000"/>
                    <a:gd name="connsiteY125" fmla="*/ 0 h 10000"/>
                    <a:gd name="connsiteX126" fmla="*/ 8961 w 10000"/>
                    <a:gd name="connsiteY126" fmla="*/ 0 h 10000"/>
                    <a:gd name="connsiteX127" fmla="*/ 10000 w 10000"/>
                    <a:gd name="connsiteY127" fmla="*/ 15 h 10000"/>
                    <a:gd name="connsiteX128" fmla="*/ 7404 w 10000"/>
                    <a:gd name="connsiteY128" fmla="*/ 9525 h 10000"/>
                    <a:gd name="connsiteX129" fmla="*/ 5584 w 10000"/>
                    <a:gd name="connsiteY129" fmla="*/ 9493 h 10000"/>
                    <a:gd name="connsiteX130" fmla="*/ 5389 w 10000"/>
                    <a:gd name="connsiteY130" fmla="*/ 9167 h 10000"/>
                    <a:gd name="connsiteX131" fmla="*/ 5389 w 10000"/>
                    <a:gd name="connsiteY131" fmla="*/ 9101 h 10000"/>
                    <a:gd name="connsiteX132" fmla="*/ 5259 w 10000"/>
                    <a:gd name="connsiteY132" fmla="*/ 9020 h 10000"/>
                    <a:gd name="connsiteX133" fmla="*/ 5195 w 10000"/>
                    <a:gd name="connsiteY133" fmla="*/ 9005 h 10000"/>
                    <a:gd name="connsiteX134" fmla="*/ 4026 w 10000"/>
                    <a:gd name="connsiteY134" fmla="*/ 9118 h 10000"/>
                    <a:gd name="connsiteX135" fmla="*/ 3702 w 10000"/>
                    <a:gd name="connsiteY135" fmla="*/ 9147 h 10000"/>
                    <a:gd name="connsiteX136" fmla="*/ 3247 w 10000"/>
                    <a:gd name="connsiteY136" fmla="*/ 8986 h 10000"/>
                    <a:gd name="connsiteX137" fmla="*/ 3247 w 10000"/>
                    <a:gd name="connsiteY137" fmla="*/ 8986 h 10000"/>
                    <a:gd name="connsiteX138" fmla="*/ 3117 w 10000"/>
                    <a:gd name="connsiteY138" fmla="*/ 8807 h 10000"/>
                    <a:gd name="connsiteX139" fmla="*/ 3117 w 10000"/>
                    <a:gd name="connsiteY139" fmla="*/ 8807 h 10000"/>
                    <a:gd name="connsiteX140" fmla="*/ 3312 w 10000"/>
                    <a:gd name="connsiteY140" fmla="*/ 8756 h 10000"/>
                    <a:gd name="connsiteX141" fmla="*/ 3443 w 10000"/>
                    <a:gd name="connsiteY141" fmla="*/ 8740 h 10000"/>
                    <a:gd name="connsiteX142" fmla="*/ 2661 w 10000"/>
                    <a:gd name="connsiteY142" fmla="*/ 8756 h 10000"/>
                    <a:gd name="connsiteX0" fmla="*/ 2661 w 10000"/>
                    <a:gd name="connsiteY0" fmla="*/ 8756 h 9591"/>
                    <a:gd name="connsiteX1" fmla="*/ 7856 w 10000"/>
                    <a:gd name="connsiteY1" fmla="*/ 9591 h 9591"/>
                    <a:gd name="connsiteX2" fmla="*/ 7856 w 10000"/>
                    <a:gd name="connsiteY2" fmla="*/ 9591 h 9591"/>
                    <a:gd name="connsiteX3" fmla="*/ 7729 w 10000"/>
                    <a:gd name="connsiteY3" fmla="*/ 9559 h 9591"/>
                    <a:gd name="connsiteX4" fmla="*/ 7533 w 10000"/>
                    <a:gd name="connsiteY4" fmla="*/ 9525 h 9591"/>
                    <a:gd name="connsiteX5" fmla="*/ 7013 w 10000"/>
                    <a:gd name="connsiteY5" fmla="*/ 9509 h 9591"/>
                    <a:gd name="connsiteX6" fmla="*/ 6364 w 10000"/>
                    <a:gd name="connsiteY6" fmla="*/ 9493 h 9591"/>
                    <a:gd name="connsiteX7" fmla="*/ 5779 w 10000"/>
                    <a:gd name="connsiteY7" fmla="*/ 9493 h 9591"/>
                    <a:gd name="connsiteX8" fmla="*/ 5779 w 10000"/>
                    <a:gd name="connsiteY8" fmla="*/ 9493 h 9591"/>
                    <a:gd name="connsiteX9" fmla="*/ 5519 w 10000"/>
                    <a:gd name="connsiteY9" fmla="*/ 9474 h 9591"/>
                    <a:gd name="connsiteX10" fmla="*/ 5389 w 10000"/>
                    <a:gd name="connsiteY10" fmla="*/ 9444 h 9591"/>
                    <a:gd name="connsiteX11" fmla="*/ 5324 w 10000"/>
                    <a:gd name="connsiteY11" fmla="*/ 9409 h 9591"/>
                    <a:gd name="connsiteX12" fmla="*/ 5389 w 10000"/>
                    <a:gd name="connsiteY12" fmla="*/ 9214 h 9591"/>
                    <a:gd name="connsiteX13" fmla="*/ 5455 w 10000"/>
                    <a:gd name="connsiteY13" fmla="*/ 9147 h 9591"/>
                    <a:gd name="connsiteX14" fmla="*/ 5389 w 10000"/>
                    <a:gd name="connsiteY14" fmla="*/ 9069 h 9591"/>
                    <a:gd name="connsiteX15" fmla="*/ 5389 w 10000"/>
                    <a:gd name="connsiteY15" fmla="*/ 9069 h 9591"/>
                    <a:gd name="connsiteX16" fmla="*/ 5324 w 10000"/>
                    <a:gd name="connsiteY16" fmla="*/ 9020 h 9591"/>
                    <a:gd name="connsiteX17" fmla="*/ 5259 w 10000"/>
                    <a:gd name="connsiteY17" fmla="*/ 8986 h 9591"/>
                    <a:gd name="connsiteX18" fmla="*/ 5128 w 10000"/>
                    <a:gd name="connsiteY18" fmla="*/ 8986 h 9591"/>
                    <a:gd name="connsiteX19" fmla="*/ 4936 w 10000"/>
                    <a:gd name="connsiteY19" fmla="*/ 9005 h 9591"/>
                    <a:gd name="connsiteX20" fmla="*/ 4545 w 10000"/>
                    <a:gd name="connsiteY20" fmla="*/ 9052 h 9591"/>
                    <a:gd name="connsiteX21" fmla="*/ 4026 w 10000"/>
                    <a:gd name="connsiteY21" fmla="*/ 9133 h 9591"/>
                    <a:gd name="connsiteX22" fmla="*/ 4026 w 10000"/>
                    <a:gd name="connsiteY22" fmla="*/ 9133 h 9591"/>
                    <a:gd name="connsiteX23" fmla="*/ 3702 w 10000"/>
                    <a:gd name="connsiteY23" fmla="*/ 9147 h 9591"/>
                    <a:gd name="connsiteX24" fmla="*/ 3573 w 10000"/>
                    <a:gd name="connsiteY24" fmla="*/ 9147 h 9591"/>
                    <a:gd name="connsiteX25" fmla="*/ 3507 w 10000"/>
                    <a:gd name="connsiteY25" fmla="*/ 9133 h 9591"/>
                    <a:gd name="connsiteX26" fmla="*/ 3247 w 10000"/>
                    <a:gd name="connsiteY26" fmla="*/ 8986 h 9591"/>
                    <a:gd name="connsiteX27" fmla="*/ 3247 w 10000"/>
                    <a:gd name="connsiteY27" fmla="*/ 8986 h 9591"/>
                    <a:gd name="connsiteX28" fmla="*/ 3117 w 10000"/>
                    <a:gd name="connsiteY28" fmla="*/ 8938 h 9591"/>
                    <a:gd name="connsiteX29" fmla="*/ 3117 w 10000"/>
                    <a:gd name="connsiteY29" fmla="*/ 8888 h 9591"/>
                    <a:gd name="connsiteX30" fmla="*/ 3117 w 10000"/>
                    <a:gd name="connsiteY30" fmla="*/ 8855 h 9591"/>
                    <a:gd name="connsiteX31" fmla="*/ 3184 w 10000"/>
                    <a:gd name="connsiteY31" fmla="*/ 8822 h 9591"/>
                    <a:gd name="connsiteX32" fmla="*/ 3312 w 10000"/>
                    <a:gd name="connsiteY32" fmla="*/ 8756 h 9591"/>
                    <a:gd name="connsiteX33" fmla="*/ 3443 w 10000"/>
                    <a:gd name="connsiteY33" fmla="*/ 8740 h 9591"/>
                    <a:gd name="connsiteX34" fmla="*/ 3443 w 10000"/>
                    <a:gd name="connsiteY34" fmla="*/ 8740 h 9591"/>
                    <a:gd name="connsiteX35" fmla="*/ 3443 w 10000"/>
                    <a:gd name="connsiteY35" fmla="*/ 8725 h 9591"/>
                    <a:gd name="connsiteX36" fmla="*/ 3507 w 10000"/>
                    <a:gd name="connsiteY36" fmla="*/ 8708 h 9591"/>
                    <a:gd name="connsiteX37" fmla="*/ 7646 w 10000"/>
                    <a:gd name="connsiteY37" fmla="*/ 8456 h 9591"/>
                    <a:gd name="connsiteX38" fmla="*/ 8116 w 10000"/>
                    <a:gd name="connsiteY38" fmla="*/ 8464 h 9591"/>
                    <a:gd name="connsiteX39" fmla="*/ 8116 w 10000"/>
                    <a:gd name="connsiteY39" fmla="*/ 8464 h 9591"/>
                    <a:gd name="connsiteX40" fmla="*/ 8442 w 10000"/>
                    <a:gd name="connsiteY40" fmla="*/ 8431 h 9591"/>
                    <a:gd name="connsiteX41" fmla="*/ 8702 w 10000"/>
                    <a:gd name="connsiteY41" fmla="*/ 8350 h 9591"/>
                    <a:gd name="connsiteX42" fmla="*/ 8636 w 10000"/>
                    <a:gd name="connsiteY42" fmla="*/ 8316 h 9591"/>
                    <a:gd name="connsiteX43" fmla="*/ 8636 w 10000"/>
                    <a:gd name="connsiteY43" fmla="*/ 8285 h 9591"/>
                    <a:gd name="connsiteX44" fmla="*/ 8312 w 10000"/>
                    <a:gd name="connsiteY44" fmla="*/ 8202 h 9591"/>
                    <a:gd name="connsiteX45" fmla="*/ 5975 w 10000"/>
                    <a:gd name="connsiteY45" fmla="*/ 7907 h 9591"/>
                    <a:gd name="connsiteX46" fmla="*/ 5975 w 10000"/>
                    <a:gd name="connsiteY46" fmla="*/ 7907 h 9591"/>
                    <a:gd name="connsiteX47" fmla="*/ 5714 w 10000"/>
                    <a:gd name="connsiteY47" fmla="*/ 7860 h 9591"/>
                    <a:gd name="connsiteX48" fmla="*/ 5519 w 10000"/>
                    <a:gd name="connsiteY48" fmla="*/ 7810 h 9591"/>
                    <a:gd name="connsiteX49" fmla="*/ 5389 w 10000"/>
                    <a:gd name="connsiteY49" fmla="*/ 7761 h 9591"/>
                    <a:gd name="connsiteX50" fmla="*/ 5389 w 10000"/>
                    <a:gd name="connsiteY50" fmla="*/ 7761 h 9591"/>
                    <a:gd name="connsiteX51" fmla="*/ 7729 w 10000"/>
                    <a:gd name="connsiteY51" fmla="*/ 7744 h 9591"/>
                    <a:gd name="connsiteX52" fmla="*/ 10000 w 10000"/>
                    <a:gd name="connsiteY52" fmla="*/ 7907 h 9591"/>
                    <a:gd name="connsiteX53" fmla="*/ 10000 w 10000"/>
                    <a:gd name="connsiteY53" fmla="*/ 6422 h 9591"/>
                    <a:gd name="connsiteX54" fmla="*/ 10000 w 10000"/>
                    <a:gd name="connsiteY54" fmla="*/ 6422 h 9591"/>
                    <a:gd name="connsiteX55" fmla="*/ 7404 w 10000"/>
                    <a:gd name="connsiteY55" fmla="*/ 6077 h 9591"/>
                    <a:gd name="connsiteX56" fmla="*/ 5975 w 10000"/>
                    <a:gd name="connsiteY56" fmla="*/ 5882 h 9591"/>
                    <a:gd name="connsiteX57" fmla="*/ 5975 w 10000"/>
                    <a:gd name="connsiteY57" fmla="*/ 5882 h 9591"/>
                    <a:gd name="connsiteX58" fmla="*/ 5975 w 10000"/>
                    <a:gd name="connsiteY58" fmla="*/ 5866 h 9591"/>
                    <a:gd name="connsiteX59" fmla="*/ 5975 w 10000"/>
                    <a:gd name="connsiteY59" fmla="*/ 5768 h 9591"/>
                    <a:gd name="connsiteX60" fmla="*/ 5975 w 10000"/>
                    <a:gd name="connsiteY60" fmla="*/ 5768 h 9591"/>
                    <a:gd name="connsiteX61" fmla="*/ 5779 w 10000"/>
                    <a:gd name="connsiteY61" fmla="*/ 5651 h 9591"/>
                    <a:gd name="connsiteX62" fmla="*/ 5389 w 10000"/>
                    <a:gd name="connsiteY62" fmla="*/ 5473 h 9591"/>
                    <a:gd name="connsiteX63" fmla="*/ 4545 w 10000"/>
                    <a:gd name="connsiteY63" fmla="*/ 5130 h 9591"/>
                    <a:gd name="connsiteX64" fmla="*/ 4545 w 10000"/>
                    <a:gd name="connsiteY64" fmla="*/ 5130 h 9591"/>
                    <a:gd name="connsiteX65" fmla="*/ 4352 w 10000"/>
                    <a:gd name="connsiteY65" fmla="*/ 5081 h 9591"/>
                    <a:gd name="connsiteX66" fmla="*/ 4026 w 10000"/>
                    <a:gd name="connsiteY66" fmla="*/ 5016 h 9591"/>
                    <a:gd name="connsiteX67" fmla="*/ 3052 w 10000"/>
                    <a:gd name="connsiteY67" fmla="*/ 4868 h 9591"/>
                    <a:gd name="connsiteX68" fmla="*/ 1689 w 10000"/>
                    <a:gd name="connsiteY68" fmla="*/ 4690 h 9591"/>
                    <a:gd name="connsiteX69" fmla="*/ 1689 w 10000"/>
                    <a:gd name="connsiteY69" fmla="*/ 4690 h 9591"/>
                    <a:gd name="connsiteX70" fmla="*/ 1103 w 10000"/>
                    <a:gd name="connsiteY70" fmla="*/ 4672 h 9591"/>
                    <a:gd name="connsiteX71" fmla="*/ 650 w 10000"/>
                    <a:gd name="connsiteY71" fmla="*/ 4655 h 9591"/>
                    <a:gd name="connsiteX72" fmla="*/ 521 w 10000"/>
                    <a:gd name="connsiteY72" fmla="*/ 4639 h 9591"/>
                    <a:gd name="connsiteX73" fmla="*/ 390 w 10000"/>
                    <a:gd name="connsiteY73" fmla="*/ 4624 h 9591"/>
                    <a:gd name="connsiteX74" fmla="*/ 390 w 10000"/>
                    <a:gd name="connsiteY74" fmla="*/ 4624 h 9591"/>
                    <a:gd name="connsiteX75" fmla="*/ 261 w 10000"/>
                    <a:gd name="connsiteY75" fmla="*/ 4557 h 9591"/>
                    <a:gd name="connsiteX76" fmla="*/ 65 w 10000"/>
                    <a:gd name="connsiteY76" fmla="*/ 4445 h 9591"/>
                    <a:gd name="connsiteX77" fmla="*/ 0 w 10000"/>
                    <a:gd name="connsiteY77" fmla="*/ 4379 h 9591"/>
                    <a:gd name="connsiteX78" fmla="*/ 0 w 10000"/>
                    <a:gd name="connsiteY78" fmla="*/ 4312 h 9591"/>
                    <a:gd name="connsiteX79" fmla="*/ 0 w 10000"/>
                    <a:gd name="connsiteY79" fmla="*/ 4264 h 9591"/>
                    <a:gd name="connsiteX80" fmla="*/ 131 w 10000"/>
                    <a:gd name="connsiteY80" fmla="*/ 4214 h 9591"/>
                    <a:gd name="connsiteX81" fmla="*/ 131 w 10000"/>
                    <a:gd name="connsiteY81" fmla="*/ 4214 h 9591"/>
                    <a:gd name="connsiteX82" fmla="*/ 455 w 10000"/>
                    <a:gd name="connsiteY82" fmla="*/ 4133 h 9591"/>
                    <a:gd name="connsiteX83" fmla="*/ 779 w 10000"/>
                    <a:gd name="connsiteY83" fmla="*/ 4053 h 9591"/>
                    <a:gd name="connsiteX84" fmla="*/ 975 w 10000"/>
                    <a:gd name="connsiteY84" fmla="*/ 4004 h 9591"/>
                    <a:gd name="connsiteX85" fmla="*/ 1103 w 10000"/>
                    <a:gd name="connsiteY85" fmla="*/ 3954 h 9591"/>
                    <a:gd name="connsiteX86" fmla="*/ 1103 w 10000"/>
                    <a:gd name="connsiteY86" fmla="*/ 3888 h 9591"/>
                    <a:gd name="connsiteX87" fmla="*/ 1103 w 10000"/>
                    <a:gd name="connsiteY87" fmla="*/ 3807 h 9591"/>
                    <a:gd name="connsiteX88" fmla="*/ 1103 w 10000"/>
                    <a:gd name="connsiteY88" fmla="*/ 3807 h 9591"/>
                    <a:gd name="connsiteX89" fmla="*/ 845 w 10000"/>
                    <a:gd name="connsiteY89" fmla="*/ 3577 h 9591"/>
                    <a:gd name="connsiteX90" fmla="*/ 521 w 10000"/>
                    <a:gd name="connsiteY90" fmla="*/ 3268 h 9591"/>
                    <a:gd name="connsiteX91" fmla="*/ 261 w 10000"/>
                    <a:gd name="connsiteY91" fmla="*/ 2989 h 9591"/>
                    <a:gd name="connsiteX92" fmla="*/ 195 w 10000"/>
                    <a:gd name="connsiteY92" fmla="*/ 2908 h 9591"/>
                    <a:gd name="connsiteX93" fmla="*/ 195 w 10000"/>
                    <a:gd name="connsiteY93" fmla="*/ 2875 h 9591"/>
                    <a:gd name="connsiteX94" fmla="*/ 261 w 10000"/>
                    <a:gd name="connsiteY94" fmla="*/ 2858 h 9591"/>
                    <a:gd name="connsiteX95" fmla="*/ 261 w 10000"/>
                    <a:gd name="connsiteY95" fmla="*/ 2858 h 9591"/>
                    <a:gd name="connsiteX96" fmla="*/ 650 w 10000"/>
                    <a:gd name="connsiteY96" fmla="*/ 2843 h 9591"/>
                    <a:gd name="connsiteX97" fmla="*/ 908 w 10000"/>
                    <a:gd name="connsiteY97" fmla="*/ 2843 h 9591"/>
                    <a:gd name="connsiteX98" fmla="*/ 1103 w 10000"/>
                    <a:gd name="connsiteY98" fmla="*/ 2858 h 9591"/>
                    <a:gd name="connsiteX99" fmla="*/ 1103 w 10000"/>
                    <a:gd name="connsiteY99" fmla="*/ 2858 h 9591"/>
                    <a:gd name="connsiteX100" fmla="*/ 1168 w 10000"/>
                    <a:gd name="connsiteY100" fmla="*/ 2858 h 9591"/>
                    <a:gd name="connsiteX101" fmla="*/ 1235 w 10000"/>
                    <a:gd name="connsiteY101" fmla="*/ 2827 h 9591"/>
                    <a:gd name="connsiteX102" fmla="*/ 1559 w 10000"/>
                    <a:gd name="connsiteY102" fmla="*/ 2729 h 9591"/>
                    <a:gd name="connsiteX103" fmla="*/ 2402 w 10000"/>
                    <a:gd name="connsiteY103" fmla="*/ 2401 h 9591"/>
                    <a:gd name="connsiteX104" fmla="*/ 3507 w 10000"/>
                    <a:gd name="connsiteY104" fmla="*/ 1930 h 9591"/>
                    <a:gd name="connsiteX105" fmla="*/ 3507 w 10000"/>
                    <a:gd name="connsiteY105" fmla="*/ 1930 h 9591"/>
                    <a:gd name="connsiteX106" fmla="*/ 3507 w 10000"/>
                    <a:gd name="connsiteY106" fmla="*/ 1863 h 9591"/>
                    <a:gd name="connsiteX107" fmla="*/ 3507 w 10000"/>
                    <a:gd name="connsiteY107" fmla="*/ 1713 h 9591"/>
                    <a:gd name="connsiteX108" fmla="*/ 3573 w 10000"/>
                    <a:gd name="connsiteY108" fmla="*/ 1617 h 9591"/>
                    <a:gd name="connsiteX109" fmla="*/ 3702 w 10000"/>
                    <a:gd name="connsiteY109" fmla="*/ 1535 h 9591"/>
                    <a:gd name="connsiteX110" fmla="*/ 3896 w 10000"/>
                    <a:gd name="connsiteY110" fmla="*/ 1438 h 9591"/>
                    <a:gd name="connsiteX111" fmla="*/ 4156 w 10000"/>
                    <a:gd name="connsiteY111" fmla="*/ 1357 h 9591"/>
                    <a:gd name="connsiteX112" fmla="*/ 4156 w 10000"/>
                    <a:gd name="connsiteY112" fmla="*/ 1357 h 9591"/>
                    <a:gd name="connsiteX113" fmla="*/ 4806 w 10000"/>
                    <a:gd name="connsiteY113" fmla="*/ 1194 h 9591"/>
                    <a:gd name="connsiteX114" fmla="*/ 5455 w 10000"/>
                    <a:gd name="connsiteY114" fmla="*/ 979 h 9591"/>
                    <a:gd name="connsiteX115" fmla="*/ 6104 w 10000"/>
                    <a:gd name="connsiteY115" fmla="*/ 784 h 9591"/>
                    <a:gd name="connsiteX116" fmla="*/ 6559 w 10000"/>
                    <a:gd name="connsiteY116" fmla="*/ 606 h 9591"/>
                    <a:gd name="connsiteX117" fmla="*/ 6559 w 10000"/>
                    <a:gd name="connsiteY117" fmla="*/ 606 h 9591"/>
                    <a:gd name="connsiteX118" fmla="*/ 6882 w 10000"/>
                    <a:gd name="connsiteY118" fmla="*/ 442 h 9591"/>
                    <a:gd name="connsiteX119" fmla="*/ 7273 w 10000"/>
                    <a:gd name="connsiteY119" fmla="*/ 245 h 9591"/>
                    <a:gd name="connsiteX120" fmla="*/ 7663 w 10000"/>
                    <a:gd name="connsiteY120" fmla="*/ 97 h 9591"/>
                    <a:gd name="connsiteX121" fmla="*/ 7856 w 10000"/>
                    <a:gd name="connsiteY121" fmla="*/ 30 h 9591"/>
                    <a:gd name="connsiteX122" fmla="*/ 8051 w 10000"/>
                    <a:gd name="connsiteY122" fmla="*/ 15 h 9591"/>
                    <a:gd name="connsiteX123" fmla="*/ 8051 w 10000"/>
                    <a:gd name="connsiteY123" fmla="*/ 15 h 9591"/>
                    <a:gd name="connsiteX124" fmla="*/ 8442 w 10000"/>
                    <a:gd name="connsiteY124" fmla="*/ 0 h 9591"/>
                    <a:gd name="connsiteX125" fmla="*/ 8961 w 10000"/>
                    <a:gd name="connsiteY125" fmla="*/ 0 h 9591"/>
                    <a:gd name="connsiteX126" fmla="*/ 10000 w 10000"/>
                    <a:gd name="connsiteY126" fmla="*/ 15 h 9591"/>
                    <a:gd name="connsiteX127" fmla="*/ 7404 w 10000"/>
                    <a:gd name="connsiteY127" fmla="*/ 9525 h 9591"/>
                    <a:gd name="connsiteX128" fmla="*/ 5584 w 10000"/>
                    <a:gd name="connsiteY128" fmla="*/ 9493 h 9591"/>
                    <a:gd name="connsiteX129" fmla="*/ 5389 w 10000"/>
                    <a:gd name="connsiteY129" fmla="*/ 9167 h 9591"/>
                    <a:gd name="connsiteX130" fmla="*/ 5389 w 10000"/>
                    <a:gd name="connsiteY130" fmla="*/ 9101 h 9591"/>
                    <a:gd name="connsiteX131" fmla="*/ 5259 w 10000"/>
                    <a:gd name="connsiteY131" fmla="*/ 9020 h 9591"/>
                    <a:gd name="connsiteX132" fmla="*/ 5195 w 10000"/>
                    <a:gd name="connsiteY132" fmla="*/ 9005 h 9591"/>
                    <a:gd name="connsiteX133" fmla="*/ 4026 w 10000"/>
                    <a:gd name="connsiteY133" fmla="*/ 9118 h 9591"/>
                    <a:gd name="connsiteX134" fmla="*/ 3702 w 10000"/>
                    <a:gd name="connsiteY134" fmla="*/ 9147 h 9591"/>
                    <a:gd name="connsiteX135" fmla="*/ 3247 w 10000"/>
                    <a:gd name="connsiteY135" fmla="*/ 8986 h 9591"/>
                    <a:gd name="connsiteX136" fmla="*/ 3247 w 10000"/>
                    <a:gd name="connsiteY136" fmla="*/ 8986 h 9591"/>
                    <a:gd name="connsiteX137" fmla="*/ 3117 w 10000"/>
                    <a:gd name="connsiteY137" fmla="*/ 8807 h 9591"/>
                    <a:gd name="connsiteX138" fmla="*/ 3117 w 10000"/>
                    <a:gd name="connsiteY138" fmla="*/ 8807 h 9591"/>
                    <a:gd name="connsiteX139" fmla="*/ 3312 w 10000"/>
                    <a:gd name="connsiteY139" fmla="*/ 8756 h 9591"/>
                    <a:gd name="connsiteX140" fmla="*/ 3443 w 10000"/>
                    <a:gd name="connsiteY140" fmla="*/ 8740 h 9591"/>
                    <a:gd name="connsiteX141" fmla="*/ 2661 w 10000"/>
                    <a:gd name="connsiteY141" fmla="*/ 8756 h 9591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7856 w 10000"/>
                    <a:gd name="connsiteY2" fmla="*/ 10000 h 10000"/>
                    <a:gd name="connsiteX3" fmla="*/ 7533 w 10000"/>
                    <a:gd name="connsiteY3" fmla="*/ 9931 h 10000"/>
                    <a:gd name="connsiteX4" fmla="*/ 7013 w 10000"/>
                    <a:gd name="connsiteY4" fmla="*/ 9915 h 10000"/>
                    <a:gd name="connsiteX5" fmla="*/ 6364 w 10000"/>
                    <a:gd name="connsiteY5" fmla="*/ 9898 h 10000"/>
                    <a:gd name="connsiteX6" fmla="*/ 5779 w 10000"/>
                    <a:gd name="connsiteY6" fmla="*/ 9898 h 10000"/>
                    <a:gd name="connsiteX7" fmla="*/ 5779 w 10000"/>
                    <a:gd name="connsiteY7" fmla="*/ 9898 h 10000"/>
                    <a:gd name="connsiteX8" fmla="*/ 5519 w 10000"/>
                    <a:gd name="connsiteY8" fmla="*/ 9878 h 10000"/>
                    <a:gd name="connsiteX9" fmla="*/ 5389 w 10000"/>
                    <a:gd name="connsiteY9" fmla="*/ 9847 h 10000"/>
                    <a:gd name="connsiteX10" fmla="*/ 5324 w 10000"/>
                    <a:gd name="connsiteY10" fmla="*/ 9810 h 10000"/>
                    <a:gd name="connsiteX11" fmla="*/ 5389 w 10000"/>
                    <a:gd name="connsiteY11" fmla="*/ 9607 h 10000"/>
                    <a:gd name="connsiteX12" fmla="*/ 5455 w 10000"/>
                    <a:gd name="connsiteY12" fmla="*/ 9537 h 10000"/>
                    <a:gd name="connsiteX13" fmla="*/ 5389 w 10000"/>
                    <a:gd name="connsiteY13" fmla="*/ 9456 h 10000"/>
                    <a:gd name="connsiteX14" fmla="*/ 5389 w 10000"/>
                    <a:gd name="connsiteY14" fmla="*/ 9456 h 10000"/>
                    <a:gd name="connsiteX15" fmla="*/ 5324 w 10000"/>
                    <a:gd name="connsiteY15" fmla="*/ 9405 h 10000"/>
                    <a:gd name="connsiteX16" fmla="*/ 5259 w 10000"/>
                    <a:gd name="connsiteY16" fmla="*/ 9369 h 10000"/>
                    <a:gd name="connsiteX17" fmla="*/ 5128 w 10000"/>
                    <a:gd name="connsiteY17" fmla="*/ 9369 h 10000"/>
                    <a:gd name="connsiteX18" fmla="*/ 4936 w 10000"/>
                    <a:gd name="connsiteY18" fmla="*/ 9389 h 10000"/>
                    <a:gd name="connsiteX19" fmla="*/ 4545 w 10000"/>
                    <a:gd name="connsiteY19" fmla="*/ 9438 h 10000"/>
                    <a:gd name="connsiteX20" fmla="*/ 4026 w 10000"/>
                    <a:gd name="connsiteY20" fmla="*/ 9522 h 10000"/>
                    <a:gd name="connsiteX21" fmla="*/ 4026 w 10000"/>
                    <a:gd name="connsiteY21" fmla="*/ 9522 h 10000"/>
                    <a:gd name="connsiteX22" fmla="*/ 3702 w 10000"/>
                    <a:gd name="connsiteY22" fmla="*/ 9537 h 10000"/>
                    <a:gd name="connsiteX23" fmla="*/ 3573 w 10000"/>
                    <a:gd name="connsiteY23" fmla="*/ 9537 h 10000"/>
                    <a:gd name="connsiteX24" fmla="*/ 3507 w 10000"/>
                    <a:gd name="connsiteY24" fmla="*/ 9522 h 10000"/>
                    <a:gd name="connsiteX25" fmla="*/ 3247 w 10000"/>
                    <a:gd name="connsiteY25" fmla="*/ 9369 h 10000"/>
                    <a:gd name="connsiteX26" fmla="*/ 3247 w 10000"/>
                    <a:gd name="connsiteY26" fmla="*/ 9369 h 10000"/>
                    <a:gd name="connsiteX27" fmla="*/ 3117 w 10000"/>
                    <a:gd name="connsiteY27" fmla="*/ 9319 h 10000"/>
                    <a:gd name="connsiteX28" fmla="*/ 3117 w 10000"/>
                    <a:gd name="connsiteY28" fmla="*/ 9267 h 10000"/>
                    <a:gd name="connsiteX29" fmla="*/ 3117 w 10000"/>
                    <a:gd name="connsiteY29" fmla="*/ 9233 h 10000"/>
                    <a:gd name="connsiteX30" fmla="*/ 3184 w 10000"/>
                    <a:gd name="connsiteY30" fmla="*/ 9198 h 10000"/>
                    <a:gd name="connsiteX31" fmla="*/ 3312 w 10000"/>
                    <a:gd name="connsiteY31" fmla="*/ 9129 h 10000"/>
                    <a:gd name="connsiteX32" fmla="*/ 3443 w 10000"/>
                    <a:gd name="connsiteY32" fmla="*/ 9113 h 10000"/>
                    <a:gd name="connsiteX33" fmla="*/ 3443 w 10000"/>
                    <a:gd name="connsiteY33" fmla="*/ 9113 h 10000"/>
                    <a:gd name="connsiteX34" fmla="*/ 3443 w 10000"/>
                    <a:gd name="connsiteY34" fmla="*/ 9097 h 10000"/>
                    <a:gd name="connsiteX35" fmla="*/ 3507 w 10000"/>
                    <a:gd name="connsiteY35" fmla="*/ 9079 h 10000"/>
                    <a:gd name="connsiteX36" fmla="*/ 7646 w 10000"/>
                    <a:gd name="connsiteY36" fmla="*/ 8817 h 10000"/>
                    <a:gd name="connsiteX37" fmla="*/ 8116 w 10000"/>
                    <a:gd name="connsiteY37" fmla="*/ 8825 h 10000"/>
                    <a:gd name="connsiteX38" fmla="*/ 8116 w 10000"/>
                    <a:gd name="connsiteY38" fmla="*/ 8825 h 10000"/>
                    <a:gd name="connsiteX39" fmla="*/ 8442 w 10000"/>
                    <a:gd name="connsiteY39" fmla="*/ 8791 h 10000"/>
                    <a:gd name="connsiteX40" fmla="*/ 8702 w 10000"/>
                    <a:gd name="connsiteY40" fmla="*/ 8706 h 10000"/>
                    <a:gd name="connsiteX41" fmla="*/ 8636 w 10000"/>
                    <a:gd name="connsiteY41" fmla="*/ 8671 h 10000"/>
                    <a:gd name="connsiteX42" fmla="*/ 8636 w 10000"/>
                    <a:gd name="connsiteY42" fmla="*/ 8638 h 10000"/>
                    <a:gd name="connsiteX43" fmla="*/ 8312 w 10000"/>
                    <a:gd name="connsiteY43" fmla="*/ 8552 h 10000"/>
                    <a:gd name="connsiteX44" fmla="*/ 5975 w 10000"/>
                    <a:gd name="connsiteY44" fmla="*/ 8244 h 10000"/>
                    <a:gd name="connsiteX45" fmla="*/ 5975 w 10000"/>
                    <a:gd name="connsiteY45" fmla="*/ 8244 h 10000"/>
                    <a:gd name="connsiteX46" fmla="*/ 5714 w 10000"/>
                    <a:gd name="connsiteY46" fmla="*/ 8195 h 10000"/>
                    <a:gd name="connsiteX47" fmla="*/ 5519 w 10000"/>
                    <a:gd name="connsiteY47" fmla="*/ 8143 h 10000"/>
                    <a:gd name="connsiteX48" fmla="*/ 5389 w 10000"/>
                    <a:gd name="connsiteY48" fmla="*/ 8092 h 10000"/>
                    <a:gd name="connsiteX49" fmla="*/ 5389 w 10000"/>
                    <a:gd name="connsiteY49" fmla="*/ 8092 h 10000"/>
                    <a:gd name="connsiteX50" fmla="*/ 7729 w 10000"/>
                    <a:gd name="connsiteY50" fmla="*/ 8074 h 10000"/>
                    <a:gd name="connsiteX51" fmla="*/ 10000 w 10000"/>
                    <a:gd name="connsiteY51" fmla="*/ 8244 h 10000"/>
                    <a:gd name="connsiteX52" fmla="*/ 10000 w 10000"/>
                    <a:gd name="connsiteY52" fmla="*/ 6696 h 10000"/>
                    <a:gd name="connsiteX53" fmla="*/ 10000 w 10000"/>
                    <a:gd name="connsiteY53" fmla="*/ 6696 h 10000"/>
                    <a:gd name="connsiteX54" fmla="*/ 7404 w 10000"/>
                    <a:gd name="connsiteY54" fmla="*/ 6336 h 10000"/>
                    <a:gd name="connsiteX55" fmla="*/ 5975 w 10000"/>
                    <a:gd name="connsiteY55" fmla="*/ 6133 h 10000"/>
                    <a:gd name="connsiteX56" fmla="*/ 5975 w 10000"/>
                    <a:gd name="connsiteY56" fmla="*/ 6133 h 10000"/>
                    <a:gd name="connsiteX57" fmla="*/ 5975 w 10000"/>
                    <a:gd name="connsiteY57" fmla="*/ 6116 h 10000"/>
                    <a:gd name="connsiteX58" fmla="*/ 5975 w 10000"/>
                    <a:gd name="connsiteY58" fmla="*/ 6014 h 10000"/>
                    <a:gd name="connsiteX59" fmla="*/ 5975 w 10000"/>
                    <a:gd name="connsiteY59" fmla="*/ 6014 h 10000"/>
                    <a:gd name="connsiteX60" fmla="*/ 5779 w 10000"/>
                    <a:gd name="connsiteY60" fmla="*/ 5892 h 10000"/>
                    <a:gd name="connsiteX61" fmla="*/ 5389 w 10000"/>
                    <a:gd name="connsiteY61" fmla="*/ 5706 h 10000"/>
                    <a:gd name="connsiteX62" fmla="*/ 4545 w 10000"/>
                    <a:gd name="connsiteY62" fmla="*/ 5349 h 10000"/>
                    <a:gd name="connsiteX63" fmla="*/ 4545 w 10000"/>
                    <a:gd name="connsiteY63" fmla="*/ 5349 h 10000"/>
                    <a:gd name="connsiteX64" fmla="*/ 4352 w 10000"/>
                    <a:gd name="connsiteY64" fmla="*/ 5298 h 10000"/>
                    <a:gd name="connsiteX65" fmla="*/ 4026 w 10000"/>
                    <a:gd name="connsiteY65" fmla="*/ 5230 h 10000"/>
                    <a:gd name="connsiteX66" fmla="*/ 3052 w 10000"/>
                    <a:gd name="connsiteY66" fmla="*/ 5076 h 10000"/>
                    <a:gd name="connsiteX67" fmla="*/ 1689 w 10000"/>
                    <a:gd name="connsiteY67" fmla="*/ 4890 h 10000"/>
                    <a:gd name="connsiteX68" fmla="*/ 1689 w 10000"/>
                    <a:gd name="connsiteY68" fmla="*/ 4890 h 10000"/>
                    <a:gd name="connsiteX69" fmla="*/ 1103 w 10000"/>
                    <a:gd name="connsiteY69" fmla="*/ 4871 h 10000"/>
                    <a:gd name="connsiteX70" fmla="*/ 650 w 10000"/>
                    <a:gd name="connsiteY70" fmla="*/ 4854 h 10000"/>
                    <a:gd name="connsiteX71" fmla="*/ 521 w 10000"/>
                    <a:gd name="connsiteY71" fmla="*/ 4837 h 10000"/>
                    <a:gd name="connsiteX72" fmla="*/ 390 w 10000"/>
                    <a:gd name="connsiteY72" fmla="*/ 4821 h 10000"/>
                    <a:gd name="connsiteX73" fmla="*/ 390 w 10000"/>
                    <a:gd name="connsiteY73" fmla="*/ 4821 h 10000"/>
                    <a:gd name="connsiteX74" fmla="*/ 261 w 10000"/>
                    <a:gd name="connsiteY74" fmla="*/ 4751 h 10000"/>
                    <a:gd name="connsiteX75" fmla="*/ 65 w 10000"/>
                    <a:gd name="connsiteY75" fmla="*/ 4635 h 10000"/>
                    <a:gd name="connsiteX76" fmla="*/ 0 w 10000"/>
                    <a:gd name="connsiteY76" fmla="*/ 4566 h 10000"/>
                    <a:gd name="connsiteX77" fmla="*/ 0 w 10000"/>
                    <a:gd name="connsiteY77" fmla="*/ 4496 h 10000"/>
                    <a:gd name="connsiteX78" fmla="*/ 0 w 10000"/>
                    <a:gd name="connsiteY78" fmla="*/ 4446 h 10000"/>
                    <a:gd name="connsiteX79" fmla="*/ 131 w 10000"/>
                    <a:gd name="connsiteY79" fmla="*/ 4394 h 10000"/>
                    <a:gd name="connsiteX80" fmla="*/ 131 w 10000"/>
                    <a:gd name="connsiteY80" fmla="*/ 4394 h 10000"/>
                    <a:gd name="connsiteX81" fmla="*/ 455 w 10000"/>
                    <a:gd name="connsiteY81" fmla="*/ 4309 h 10000"/>
                    <a:gd name="connsiteX82" fmla="*/ 779 w 10000"/>
                    <a:gd name="connsiteY82" fmla="*/ 4226 h 10000"/>
                    <a:gd name="connsiteX83" fmla="*/ 975 w 10000"/>
                    <a:gd name="connsiteY83" fmla="*/ 4175 h 10000"/>
                    <a:gd name="connsiteX84" fmla="*/ 1103 w 10000"/>
                    <a:gd name="connsiteY84" fmla="*/ 4123 h 10000"/>
                    <a:gd name="connsiteX85" fmla="*/ 1103 w 10000"/>
                    <a:gd name="connsiteY85" fmla="*/ 4054 h 10000"/>
                    <a:gd name="connsiteX86" fmla="*/ 1103 w 10000"/>
                    <a:gd name="connsiteY86" fmla="*/ 3969 h 10000"/>
                    <a:gd name="connsiteX87" fmla="*/ 1103 w 10000"/>
                    <a:gd name="connsiteY87" fmla="*/ 3969 h 10000"/>
                    <a:gd name="connsiteX88" fmla="*/ 845 w 10000"/>
                    <a:gd name="connsiteY88" fmla="*/ 3730 h 10000"/>
                    <a:gd name="connsiteX89" fmla="*/ 521 w 10000"/>
                    <a:gd name="connsiteY89" fmla="*/ 3407 h 10000"/>
                    <a:gd name="connsiteX90" fmla="*/ 261 w 10000"/>
                    <a:gd name="connsiteY90" fmla="*/ 3116 h 10000"/>
                    <a:gd name="connsiteX91" fmla="*/ 195 w 10000"/>
                    <a:gd name="connsiteY91" fmla="*/ 3032 h 10000"/>
                    <a:gd name="connsiteX92" fmla="*/ 195 w 10000"/>
                    <a:gd name="connsiteY92" fmla="*/ 2998 h 10000"/>
                    <a:gd name="connsiteX93" fmla="*/ 261 w 10000"/>
                    <a:gd name="connsiteY93" fmla="*/ 2980 h 10000"/>
                    <a:gd name="connsiteX94" fmla="*/ 261 w 10000"/>
                    <a:gd name="connsiteY94" fmla="*/ 2980 h 10000"/>
                    <a:gd name="connsiteX95" fmla="*/ 650 w 10000"/>
                    <a:gd name="connsiteY95" fmla="*/ 2964 h 10000"/>
                    <a:gd name="connsiteX96" fmla="*/ 908 w 10000"/>
                    <a:gd name="connsiteY96" fmla="*/ 2964 h 10000"/>
                    <a:gd name="connsiteX97" fmla="*/ 1103 w 10000"/>
                    <a:gd name="connsiteY97" fmla="*/ 2980 h 10000"/>
                    <a:gd name="connsiteX98" fmla="*/ 1103 w 10000"/>
                    <a:gd name="connsiteY98" fmla="*/ 2980 h 10000"/>
                    <a:gd name="connsiteX99" fmla="*/ 1168 w 10000"/>
                    <a:gd name="connsiteY99" fmla="*/ 2980 h 10000"/>
                    <a:gd name="connsiteX100" fmla="*/ 1235 w 10000"/>
                    <a:gd name="connsiteY100" fmla="*/ 2948 h 10000"/>
                    <a:gd name="connsiteX101" fmla="*/ 1559 w 10000"/>
                    <a:gd name="connsiteY101" fmla="*/ 2845 h 10000"/>
                    <a:gd name="connsiteX102" fmla="*/ 2402 w 10000"/>
                    <a:gd name="connsiteY102" fmla="*/ 2503 h 10000"/>
                    <a:gd name="connsiteX103" fmla="*/ 3507 w 10000"/>
                    <a:gd name="connsiteY103" fmla="*/ 2012 h 10000"/>
                    <a:gd name="connsiteX104" fmla="*/ 3507 w 10000"/>
                    <a:gd name="connsiteY104" fmla="*/ 2012 h 10000"/>
                    <a:gd name="connsiteX105" fmla="*/ 3507 w 10000"/>
                    <a:gd name="connsiteY105" fmla="*/ 1942 h 10000"/>
                    <a:gd name="connsiteX106" fmla="*/ 3507 w 10000"/>
                    <a:gd name="connsiteY106" fmla="*/ 1786 h 10000"/>
                    <a:gd name="connsiteX107" fmla="*/ 3573 w 10000"/>
                    <a:gd name="connsiteY107" fmla="*/ 1686 h 10000"/>
                    <a:gd name="connsiteX108" fmla="*/ 3702 w 10000"/>
                    <a:gd name="connsiteY108" fmla="*/ 1600 h 10000"/>
                    <a:gd name="connsiteX109" fmla="*/ 3896 w 10000"/>
                    <a:gd name="connsiteY109" fmla="*/ 1499 h 10000"/>
                    <a:gd name="connsiteX110" fmla="*/ 4156 w 10000"/>
                    <a:gd name="connsiteY110" fmla="*/ 1415 h 10000"/>
                    <a:gd name="connsiteX111" fmla="*/ 4156 w 10000"/>
                    <a:gd name="connsiteY111" fmla="*/ 1415 h 10000"/>
                    <a:gd name="connsiteX112" fmla="*/ 4806 w 10000"/>
                    <a:gd name="connsiteY112" fmla="*/ 1245 h 10000"/>
                    <a:gd name="connsiteX113" fmla="*/ 5455 w 10000"/>
                    <a:gd name="connsiteY113" fmla="*/ 1021 h 10000"/>
                    <a:gd name="connsiteX114" fmla="*/ 6104 w 10000"/>
                    <a:gd name="connsiteY114" fmla="*/ 817 h 10000"/>
                    <a:gd name="connsiteX115" fmla="*/ 6559 w 10000"/>
                    <a:gd name="connsiteY115" fmla="*/ 632 h 10000"/>
                    <a:gd name="connsiteX116" fmla="*/ 6559 w 10000"/>
                    <a:gd name="connsiteY116" fmla="*/ 632 h 10000"/>
                    <a:gd name="connsiteX117" fmla="*/ 6882 w 10000"/>
                    <a:gd name="connsiteY117" fmla="*/ 461 h 10000"/>
                    <a:gd name="connsiteX118" fmla="*/ 7273 w 10000"/>
                    <a:gd name="connsiteY118" fmla="*/ 255 h 10000"/>
                    <a:gd name="connsiteX119" fmla="*/ 7663 w 10000"/>
                    <a:gd name="connsiteY119" fmla="*/ 101 h 10000"/>
                    <a:gd name="connsiteX120" fmla="*/ 7856 w 10000"/>
                    <a:gd name="connsiteY120" fmla="*/ 31 h 10000"/>
                    <a:gd name="connsiteX121" fmla="*/ 8051 w 10000"/>
                    <a:gd name="connsiteY121" fmla="*/ 16 h 10000"/>
                    <a:gd name="connsiteX122" fmla="*/ 8051 w 10000"/>
                    <a:gd name="connsiteY122" fmla="*/ 16 h 10000"/>
                    <a:gd name="connsiteX123" fmla="*/ 8442 w 10000"/>
                    <a:gd name="connsiteY123" fmla="*/ 0 h 10000"/>
                    <a:gd name="connsiteX124" fmla="*/ 8961 w 10000"/>
                    <a:gd name="connsiteY124" fmla="*/ 0 h 10000"/>
                    <a:gd name="connsiteX125" fmla="*/ 10000 w 10000"/>
                    <a:gd name="connsiteY125" fmla="*/ 16 h 10000"/>
                    <a:gd name="connsiteX126" fmla="*/ 7404 w 10000"/>
                    <a:gd name="connsiteY126" fmla="*/ 9931 h 10000"/>
                    <a:gd name="connsiteX127" fmla="*/ 5584 w 10000"/>
                    <a:gd name="connsiteY127" fmla="*/ 9898 h 10000"/>
                    <a:gd name="connsiteX128" fmla="*/ 5389 w 10000"/>
                    <a:gd name="connsiteY128" fmla="*/ 9558 h 10000"/>
                    <a:gd name="connsiteX129" fmla="*/ 5389 w 10000"/>
                    <a:gd name="connsiteY129" fmla="*/ 9489 h 10000"/>
                    <a:gd name="connsiteX130" fmla="*/ 5259 w 10000"/>
                    <a:gd name="connsiteY130" fmla="*/ 9405 h 10000"/>
                    <a:gd name="connsiteX131" fmla="*/ 5195 w 10000"/>
                    <a:gd name="connsiteY131" fmla="*/ 9389 h 10000"/>
                    <a:gd name="connsiteX132" fmla="*/ 4026 w 10000"/>
                    <a:gd name="connsiteY132" fmla="*/ 9507 h 10000"/>
                    <a:gd name="connsiteX133" fmla="*/ 3702 w 10000"/>
                    <a:gd name="connsiteY133" fmla="*/ 9537 h 10000"/>
                    <a:gd name="connsiteX134" fmla="*/ 3247 w 10000"/>
                    <a:gd name="connsiteY134" fmla="*/ 9369 h 10000"/>
                    <a:gd name="connsiteX135" fmla="*/ 3247 w 10000"/>
                    <a:gd name="connsiteY135" fmla="*/ 9369 h 10000"/>
                    <a:gd name="connsiteX136" fmla="*/ 3117 w 10000"/>
                    <a:gd name="connsiteY136" fmla="*/ 9183 h 10000"/>
                    <a:gd name="connsiteX137" fmla="*/ 3117 w 10000"/>
                    <a:gd name="connsiteY137" fmla="*/ 9183 h 10000"/>
                    <a:gd name="connsiteX138" fmla="*/ 3312 w 10000"/>
                    <a:gd name="connsiteY138" fmla="*/ 9129 h 10000"/>
                    <a:gd name="connsiteX139" fmla="*/ 3443 w 10000"/>
                    <a:gd name="connsiteY139" fmla="*/ 9113 h 10000"/>
                    <a:gd name="connsiteX140" fmla="*/ 2661 w 10000"/>
                    <a:gd name="connsiteY140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7856 w 10000"/>
                    <a:gd name="connsiteY2" fmla="*/ 10000 h 10000"/>
                    <a:gd name="connsiteX3" fmla="*/ 7533 w 10000"/>
                    <a:gd name="connsiteY3" fmla="*/ 9931 h 10000"/>
                    <a:gd name="connsiteX4" fmla="*/ 7013 w 10000"/>
                    <a:gd name="connsiteY4" fmla="*/ 9915 h 10000"/>
                    <a:gd name="connsiteX5" fmla="*/ 5779 w 10000"/>
                    <a:gd name="connsiteY5" fmla="*/ 9898 h 10000"/>
                    <a:gd name="connsiteX6" fmla="*/ 5779 w 10000"/>
                    <a:gd name="connsiteY6" fmla="*/ 9898 h 10000"/>
                    <a:gd name="connsiteX7" fmla="*/ 5519 w 10000"/>
                    <a:gd name="connsiteY7" fmla="*/ 9878 h 10000"/>
                    <a:gd name="connsiteX8" fmla="*/ 5389 w 10000"/>
                    <a:gd name="connsiteY8" fmla="*/ 9847 h 10000"/>
                    <a:gd name="connsiteX9" fmla="*/ 5324 w 10000"/>
                    <a:gd name="connsiteY9" fmla="*/ 9810 h 10000"/>
                    <a:gd name="connsiteX10" fmla="*/ 5389 w 10000"/>
                    <a:gd name="connsiteY10" fmla="*/ 9607 h 10000"/>
                    <a:gd name="connsiteX11" fmla="*/ 5455 w 10000"/>
                    <a:gd name="connsiteY11" fmla="*/ 9537 h 10000"/>
                    <a:gd name="connsiteX12" fmla="*/ 5389 w 10000"/>
                    <a:gd name="connsiteY12" fmla="*/ 9456 h 10000"/>
                    <a:gd name="connsiteX13" fmla="*/ 5389 w 10000"/>
                    <a:gd name="connsiteY13" fmla="*/ 9456 h 10000"/>
                    <a:gd name="connsiteX14" fmla="*/ 5324 w 10000"/>
                    <a:gd name="connsiteY14" fmla="*/ 9405 h 10000"/>
                    <a:gd name="connsiteX15" fmla="*/ 5259 w 10000"/>
                    <a:gd name="connsiteY15" fmla="*/ 9369 h 10000"/>
                    <a:gd name="connsiteX16" fmla="*/ 5128 w 10000"/>
                    <a:gd name="connsiteY16" fmla="*/ 9369 h 10000"/>
                    <a:gd name="connsiteX17" fmla="*/ 4936 w 10000"/>
                    <a:gd name="connsiteY17" fmla="*/ 9389 h 10000"/>
                    <a:gd name="connsiteX18" fmla="*/ 4545 w 10000"/>
                    <a:gd name="connsiteY18" fmla="*/ 9438 h 10000"/>
                    <a:gd name="connsiteX19" fmla="*/ 4026 w 10000"/>
                    <a:gd name="connsiteY19" fmla="*/ 9522 h 10000"/>
                    <a:gd name="connsiteX20" fmla="*/ 4026 w 10000"/>
                    <a:gd name="connsiteY20" fmla="*/ 9522 h 10000"/>
                    <a:gd name="connsiteX21" fmla="*/ 3702 w 10000"/>
                    <a:gd name="connsiteY21" fmla="*/ 9537 h 10000"/>
                    <a:gd name="connsiteX22" fmla="*/ 3573 w 10000"/>
                    <a:gd name="connsiteY22" fmla="*/ 9537 h 10000"/>
                    <a:gd name="connsiteX23" fmla="*/ 3507 w 10000"/>
                    <a:gd name="connsiteY23" fmla="*/ 9522 h 10000"/>
                    <a:gd name="connsiteX24" fmla="*/ 3247 w 10000"/>
                    <a:gd name="connsiteY24" fmla="*/ 9369 h 10000"/>
                    <a:gd name="connsiteX25" fmla="*/ 3247 w 10000"/>
                    <a:gd name="connsiteY25" fmla="*/ 9369 h 10000"/>
                    <a:gd name="connsiteX26" fmla="*/ 3117 w 10000"/>
                    <a:gd name="connsiteY26" fmla="*/ 9319 h 10000"/>
                    <a:gd name="connsiteX27" fmla="*/ 3117 w 10000"/>
                    <a:gd name="connsiteY27" fmla="*/ 9267 h 10000"/>
                    <a:gd name="connsiteX28" fmla="*/ 3117 w 10000"/>
                    <a:gd name="connsiteY28" fmla="*/ 9233 h 10000"/>
                    <a:gd name="connsiteX29" fmla="*/ 3184 w 10000"/>
                    <a:gd name="connsiteY29" fmla="*/ 9198 h 10000"/>
                    <a:gd name="connsiteX30" fmla="*/ 3312 w 10000"/>
                    <a:gd name="connsiteY30" fmla="*/ 9129 h 10000"/>
                    <a:gd name="connsiteX31" fmla="*/ 3443 w 10000"/>
                    <a:gd name="connsiteY31" fmla="*/ 9113 h 10000"/>
                    <a:gd name="connsiteX32" fmla="*/ 3443 w 10000"/>
                    <a:gd name="connsiteY32" fmla="*/ 9113 h 10000"/>
                    <a:gd name="connsiteX33" fmla="*/ 3443 w 10000"/>
                    <a:gd name="connsiteY33" fmla="*/ 9097 h 10000"/>
                    <a:gd name="connsiteX34" fmla="*/ 3507 w 10000"/>
                    <a:gd name="connsiteY34" fmla="*/ 9079 h 10000"/>
                    <a:gd name="connsiteX35" fmla="*/ 7646 w 10000"/>
                    <a:gd name="connsiteY35" fmla="*/ 8817 h 10000"/>
                    <a:gd name="connsiteX36" fmla="*/ 8116 w 10000"/>
                    <a:gd name="connsiteY36" fmla="*/ 8825 h 10000"/>
                    <a:gd name="connsiteX37" fmla="*/ 8116 w 10000"/>
                    <a:gd name="connsiteY37" fmla="*/ 8825 h 10000"/>
                    <a:gd name="connsiteX38" fmla="*/ 8442 w 10000"/>
                    <a:gd name="connsiteY38" fmla="*/ 8791 h 10000"/>
                    <a:gd name="connsiteX39" fmla="*/ 8702 w 10000"/>
                    <a:gd name="connsiteY39" fmla="*/ 8706 h 10000"/>
                    <a:gd name="connsiteX40" fmla="*/ 8636 w 10000"/>
                    <a:gd name="connsiteY40" fmla="*/ 8671 h 10000"/>
                    <a:gd name="connsiteX41" fmla="*/ 8636 w 10000"/>
                    <a:gd name="connsiteY41" fmla="*/ 8638 h 10000"/>
                    <a:gd name="connsiteX42" fmla="*/ 8312 w 10000"/>
                    <a:gd name="connsiteY42" fmla="*/ 8552 h 10000"/>
                    <a:gd name="connsiteX43" fmla="*/ 5975 w 10000"/>
                    <a:gd name="connsiteY43" fmla="*/ 8244 h 10000"/>
                    <a:gd name="connsiteX44" fmla="*/ 5975 w 10000"/>
                    <a:gd name="connsiteY44" fmla="*/ 8244 h 10000"/>
                    <a:gd name="connsiteX45" fmla="*/ 5714 w 10000"/>
                    <a:gd name="connsiteY45" fmla="*/ 8195 h 10000"/>
                    <a:gd name="connsiteX46" fmla="*/ 5519 w 10000"/>
                    <a:gd name="connsiteY46" fmla="*/ 8143 h 10000"/>
                    <a:gd name="connsiteX47" fmla="*/ 5389 w 10000"/>
                    <a:gd name="connsiteY47" fmla="*/ 8092 h 10000"/>
                    <a:gd name="connsiteX48" fmla="*/ 5389 w 10000"/>
                    <a:gd name="connsiteY48" fmla="*/ 8092 h 10000"/>
                    <a:gd name="connsiteX49" fmla="*/ 7729 w 10000"/>
                    <a:gd name="connsiteY49" fmla="*/ 8074 h 10000"/>
                    <a:gd name="connsiteX50" fmla="*/ 10000 w 10000"/>
                    <a:gd name="connsiteY50" fmla="*/ 8244 h 10000"/>
                    <a:gd name="connsiteX51" fmla="*/ 10000 w 10000"/>
                    <a:gd name="connsiteY51" fmla="*/ 6696 h 10000"/>
                    <a:gd name="connsiteX52" fmla="*/ 10000 w 10000"/>
                    <a:gd name="connsiteY52" fmla="*/ 6696 h 10000"/>
                    <a:gd name="connsiteX53" fmla="*/ 7404 w 10000"/>
                    <a:gd name="connsiteY53" fmla="*/ 6336 h 10000"/>
                    <a:gd name="connsiteX54" fmla="*/ 5975 w 10000"/>
                    <a:gd name="connsiteY54" fmla="*/ 6133 h 10000"/>
                    <a:gd name="connsiteX55" fmla="*/ 5975 w 10000"/>
                    <a:gd name="connsiteY55" fmla="*/ 6133 h 10000"/>
                    <a:gd name="connsiteX56" fmla="*/ 5975 w 10000"/>
                    <a:gd name="connsiteY56" fmla="*/ 6116 h 10000"/>
                    <a:gd name="connsiteX57" fmla="*/ 5975 w 10000"/>
                    <a:gd name="connsiteY57" fmla="*/ 6014 h 10000"/>
                    <a:gd name="connsiteX58" fmla="*/ 5975 w 10000"/>
                    <a:gd name="connsiteY58" fmla="*/ 6014 h 10000"/>
                    <a:gd name="connsiteX59" fmla="*/ 5779 w 10000"/>
                    <a:gd name="connsiteY59" fmla="*/ 5892 h 10000"/>
                    <a:gd name="connsiteX60" fmla="*/ 5389 w 10000"/>
                    <a:gd name="connsiteY60" fmla="*/ 5706 h 10000"/>
                    <a:gd name="connsiteX61" fmla="*/ 4545 w 10000"/>
                    <a:gd name="connsiteY61" fmla="*/ 5349 h 10000"/>
                    <a:gd name="connsiteX62" fmla="*/ 4545 w 10000"/>
                    <a:gd name="connsiteY62" fmla="*/ 5349 h 10000"/>
                    <a:gd name="connsiteX63" fmla="*/ 4352 w 10000"/>
                    <a:gd name="connsiteY63" fmla="*/ 5298 h 10000"/>
                    <a:gd name="connsiteX64" fmla="*/ 4026 w 10000"/>
                    <a:gd name="connsiteY64" fmla="*/ 5230 h 10000"/>
                    <a:gd name="connsiteX65" fmla="*/ 3052 w 10000"/>
                    <a:gd name="connsiteY65" fmla="*/ 5076 h 10000"/>
                    <a:gd name="connsiteX66" fmla="*/ 1689 w 10000"/>
                    <a:gd name="connsiteY66" fmla="*/ 4890 h 10000"/>
                    <a:gd name="connsiteX67" fmla="*/ 1689 w 10000"/>
                    <a:gd name="connsiteY67" fmla="*/ 4890 h 10000"/>
                    <a:gd name="connsiteX68" fmla="*/ 1103 w 10000"/>
                    <a:gd name="connsiteY68" fmla="*/ 4871 h 10000"/>
                    <a:gd name="connsiteX69" fmla="*/ 650 w 10000"/>
                    <a:gd name="connsiteY69" fmla="*/ 4854 h 10000"/>
                    <a:gd name="connsiteX70" fmla="*/ 521 w 10000"/>
                    <a:gd name="connsiteY70" fmla="*/ 4837 h 10000"/>
                    <a:gd name="connsiteX71" fmla="*/ 390 w 10000"/>
                    <a:gd name="connsiteY71" fmla="*/ 4821 h 10000"/>
                    <a:gd name="connsiteX72" fmla="*/ 390 w 10000"/>
                    <a:gd name="connsiteY72" fmla="*/ 4821 h 10000"/>
                    <a:gd name="connsiteX73" fmla="*/ 261 w 10000"/>
                    <a:gd name="connsiteY73" fmla="*/ 4751 h 10000"/>
                    <a:gd name="connsiteX74" fmla="*/ 65 w 10000"/>
                    <a:gd name="connsiteY74" fmla="*/ 4635 h 10000"/>
                    <a:gd name="connsiteX75" fmla="*/ 0 w 10000"/>
                    <a:gd name="connsiteY75" fmla="*/ 4566 h 10000"/>
                    <a:gd name="connsiteX76" fmla="*/ 0 w 10000"/>
                    <a:gd name="connsiteY76" fmla="*/ 4496 h 10000"/>
                    <a:gd name="connsiteX77" fmla="*/ 0 w 10000"/>
                    <a:gd name="connsiteY77" fmla="*/ 4446 h 10000"/>
                    <a:gd name="connsiteX78" fmla="*/ 131 w 10000"/>
                    <a:gd name="connsiteY78" fmla="*/ 4394 h 10000"/>
                    <a:gd name="connsiteX79" fmla="*/ 131 w 10000"/>
                    <a:gd name="connsiteY79" fmla="*/ 4394 h 10000"/>
                    <a:gd name="connsiteX80" fmla="*/ 455 w 10000"/>
                    <a:gd name="connsiteY80" fmla="*/ 4309 h 10000"/>
                    <a:gd name="connsiteX81" fmla="*/ 779 w 10000"/>
                    <a:gd name="connsiteY81" fmla="*/ 4226 h 10000"/>
                    <a:gd name="connsiteX82" fmla="*/ 975 w 10000"/>
                    <a:gd name="connsiteY82" fmla="*/ 4175 h 10000"/>
                    <a:gd name="connsiteX83" fmla="*/ 1103 w 10000"/>
                    <a:gd name="connsiteY83" fmla="*/ 4123 h 10000"/>
                    <a:gd name="connsiteX84" fmla="*/ 1103 w 10000"/>
                    <a:gd name="connsiteY84" fmla="*/ 4054 h 10000"/>
                    <a:gd name="connsiteX85" fmla="*/ 1103 w 10000"/>
                    <a:gd name="connsiteY85" fmla="*/ 3969 h 10000"/>
                    <a:gd name="connsiteX86" fmla="*/ 1103 w 10000"/>
                    <a:gd name="connsiteY86" fmla="*/ 3969 h 10000"/>
                    <a:gd name="connsiteX87" fmla="*/ 845 w 10000"/>
                    <a:gd name="connsiteY87" fmla="*/ 3730 h 10000"/>
                    <a:gd name="connsiteX88" fmla="*/ 521 w 10000"/>
                    <a:gd name="connsiteY88" fmla="*/ 3407 h 10000"/>
                    <a:gd name="connsiteX89" fmla="*/ 261 w 10000"/>
                    <a:gd name="connsiteY89" fmla="*/ 3116 h 10000"/>
                    <a:gd name="connsiteX90" fmla="*/ 195 w 10000"/>
                    <a:gd name="connsiteY90" fmla="*/ 3032 h 10000"/>
                    <a:gd name="connsiteX91" fmla="*/ 195 w 10000"/>
                    <a:gd name="connsiteY91" fmla="*/ 2998 h 10000"/>
                    <a:gd name="connsiteX92" fmla="*/ 261 w 10000"/>
                    <a:gd name="connsiteY92" fmla="*/ 2980 h 10000"/>
                    <a:gd name="connsiteX93" fmla="*/ 261 w 10000"/>
                    <a:gd name="connsiteY93" fmla="*/ 2980 h 10000"/>
                    <a:gd name="connsiteX94" fmla="*/ 650 w 10000"/>
                    <a:gd name="connsiteY94" fmla="*/ 2964 h 10000"/>
                    <a:gd name="connsiteX95" fmla="*/ 908 w 10000"/>
                    <a:gd name="connsiteY95" fmla="*/ 2964 h 10000"/>
                    <a:gd name="connsiteX96" fmla="*/ 1103 w 10000"/>
                    <a:gd name="connsiteY96" fmla="*/ 2980 h 10000"/>
                    <a:gd name="connsiteX97" fmla="*/ 1103 w 10000"/>
                    <a:gd name="connsiteY97" fmla="*/ 2980 h 10000"/>
                    <a:gd name="connsiteX98" fmla="*/ 1168 w 10000"/>
                    <a:gd name="connsiteY98" fmla="*/ 2980 h 10000"/>
                    <a:gd name="connsiteX99" fmla="*/ 1235 w 10000"/>
                    <a:gd name="connsiteY99" fmla="*/ 2948 h 10000"/>
                    <a:gd name="connsiteX100" fmla="*/ 1559 w 10000"/>
                    <a:gd name="connsiteY100" fmla="*/ 2845 h 10000"/>
                    <a:gd name="connsiteX101" fmla="*/ 2402 w 10000"/>
                    <a:gd name="connsiteY101" fmla="*/ 2503 h 10000"/>
                    <a:gd name="connsiteX102" fmla="*/ 3507 w 10000"/>
                    <a:gd name="connsiteY102" fmla="*/ 2012 h 10000"/>
                    <a:gd name="connsiteX103" fmla="*/ 3507 w 10000"/>
                    <a:gd name="connsiteY103" fmla="*/ 2012 h 10000"/>
                    <a:gd name="connsiteX104" fmla="*/ 3507 w 10000"/>
                    <a:gd name="connsiteY104" fmla="*/ 1942 h 10000"/>
                    <a:gd name="connsiteX105" fmla="*/ 3507 w 10000"/>
                    <a:gd name="connsiteY105" fmla="*/ 1786 h 10000"/>
                    <a:gd name="connsiteX106" fmla="*/ 3573 w 10000"/>
                    <a:gd name="connsiteY106" fmla="*/ 1686 h 10000"/>
                    <a:gd name="connsiteX107" fmla="*/ 3702 w 10000"/>
                    <a:gd name="connsiteY107" fmla="*/ 1600 h 10000"/>
                    <a:gd name="connsiteX108" fmla="*/ 3896 w 10000"/>
                    <a:gd name="connsiteY108" fmla="*/ 1499 h 10000"/>
                    <a:gd name="connsiteX109" fmla="*/ 4156 w 10000"/>
                    <a:gd name="connsiteY109" fmla="*/ 1415 h 10000"/>
                    <a:gd name="connsiteX110" fmla="*/ 4156 w 10000"/>
                    <a:gd name="connsiteY110" fmla="*/ 1415 h 10000"/>
                    <a:gd name="connsiteX111" fmla="*/ 4806 w 10000"/>
                    <a:gd name="connsiteY111" fmla="*/ 1245 h 10000"/>
                    <a:gd name="connsiteX112" fmla="*/ 5455 w 10000"/>
                    <a:gd name="connsiteY112" fmla="*/ 1021 h 10000"/>
                    <a:gd name="connsiteX113" fmla="*/ 6104 w 10000"/>
                    <a:gd name="connsiteY113" fmla="*/ 817 h 10000"/>
                    <a:gd name="connsiteX114" fmla="*/ 6559 w 10000"/>
                    <a:gd name="connsiteY114" fmla="*/ 632 h 10000"/>
                    <a:gd name="connsiteX115" fmla="*/ 6559 w 10000"/>
                    <a:gd name="connsiteY115" fmla="*/ 632 h 10000"/>
                    <a:gd name="connsiteX116" fmla="*/ 6882 w 10000"/>
                    <a:gd name="connsiteY116" fmla="*/ 461 h 10000"/>
                    <a:gd name="connsiteX117" fmla="*/ 7273 w 10000"/>
                    <a:gd name="connsiteY117" fmla="*/ 255 h 10000"/>
                    <a:gd name="connsiteX118" fmla="*/ 7663 w 10000"/>
                    <a:gd name="connsiteY118" fmla="*/ 101 h 10000"/>
                    <a:gd name="connsiteX119" fmla="*/ 7856 w 10000"/>
                    <a:gd name="connsiteY119" fmla="*/ 31 h 10000"/>
                    <a:gd name="connsiteX120" fmla="*/ 8051 w 10000"/>
                    <a:gd name="connsiteY120" fmla="*/ 16 h 10000"/>
                    <a:gd name="connsiteX121" fmla="*/ 8051 w 10000"/>
                    <a:gd name="connsiteY121" fmla="*/ 16 h 10000"/>
                    <a:gd name="connsiteX122" fmla="*/ 8442 w 10000"/>
                    <a:gd name="connsiteY122" fmla="*/ 0 h 10000"/>
                    <a:gd name="connsiteX123" fmla="*/ 8961 w 10000"/>
                    <a:gd name="connsiteY123" fmla="*/ 0 h 10000"/>
                    <a:gd name="connsiteX124" fmla="*/ 10000 w 10000"/>
                    <a:gd name="connsiteY124" fmla="*/ 16 h 10000"/>
                    <a:gd name="connsiteX125" fmla="*/ 7404 w 10000"/>
                    <a:gd name="connsiteY125" fmla="*/ 9931 h 10000"/>
                    <a:gd name="connsiteX126" fmla="*/ 5584 w 10000"/>
                    <a:gd name="connsiteY126" fmla="*/ 9898 h 10000"/>
                    <a:gd name="connsiteX127" fmla="*/ 5389 w 10000"/>
                    <a:gd name="connsiteY127" fmla="*/ 9558 h 10000"/>
                    <a:gd name="connsiteX128" fmla="*/ 5389 w 10000"/>
                    <a:gd name="connsiteY128" fmla="*/ 9489 h 10000"/>
                    <a:gd name="connsiteX129" fmla="*/ 5259 w 10000"/>
                    <a:gd name="connsiteY129" fmla="*/ 9405 h 10000"/>
                    <a:gd name="connsiteX130" fmla="*/ 5195 w 10000"/>
                    <a:gd name="connsiteY130" fmla="*/ 9389 h 10000"/>
                    <a:gd name="connsiteX131" fmla="*/ 4026 w 10000"/>
                    <a:gd name="connsiteY131" fmla="*/ 9507 h 10000"/>
                    <a:gd name="connsiteX132" fmla="*/ 3702 w 10000"/>
                    <a:gd name="connsiteY132" fmla="*/ 9537 h 10000"/>
                    <a:gd name="connsiteX133" fmla="*/ 3247 w 10000"/>
                    <a:gd name="connsiteY133" fmla="*/ 9369 h 10000"/>
                    <a:gd name="connsiteX134" fmla="*/ 3247 w 10000"/>
                    <a:gd name="connsiteY134" fmla="*/ 9369 h 10000"/>
                    <a:gd name="connsiteX135" fmla="*/ 3117 w 10000"/>
                    <a:gd name="connsiteY135" fmla="*/ 9183 h 10000"/>
                    <a:gd name="connsiteX136" fmla="*/ 3117 w 10000"/>
                    <a:gd name="connsiteY136" fmla="*/ 9183 h 10000"/>
                    <a:gd name="connsiteX137" fmla="*/ 3312 w 10000"/>
                    <a:gd name="connsiteY137" fmla="*/ 9129 h 10000"/>
                    <a:gd name="connsiteX138" fmla="*/ 3443 w 10000"/>
                    <a:gd name="connsiteY138" fmla="*/ 9113 h 10000"/>
                    <a:gd name="connsiteX139" fmla="*/ 2661 w 10000"/>
                    <a:gd name="connsiteY139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7856 w 10000"/>
                    <a:gd name="connsiteY2" fmla="*/ 10000 h 10000"/>
                    <a:gd name="connsiteX3" fmla="*/ 7533 w 10000"/>
                    <a:gd name="connsiteY3" fmla="*/ 9931 h 10000"/>
                    <a:gd name="connsiteX4" fmla="*/ 7013 w 10000"/>
                    <a:gd name="connsiteY4" fmla="*/ 9915 h 10000"/>
                    <a:gd name="connsiteX5" fmla="*/ 5779 w 10000"/>
                    <a:gd name="connsiteY5" fmla="*/ 9898 h 10000"/>
                    <a:gd name="connsiteX6" fmla="*/ 5779 w 10000"/>
                    <a:gd name="connsiteY6" fmla="*/ 9898 h 10000"/>
                    <a:gd name="connsiteX7" fmla="*/ 5519 w 10000"/>
                    <a:gd name="connsiteY7" fmla="*/ 9878 h 10000"/>
                    <a:gd name="connsiteX8" fmla="*/ 5389 w 10000"/>
                    <a:gd name="connsiteY8" fmla="*/ 9847 h 10000"/>
                    <a:gd name="connsiteX9" fmla="*/ 5324 w 10000"/>
                    <a:gd name="connsiteY9" fmla="*/ 9810 h 10000"/>
                    <a:gd name="connsiteX10" fmla="*/ 5389 w 10000"/>
                    <a:gd name="connsiteY10" fmla="*/ 9607 h 10000"/>
                    <a:gd name="connsiteX11" fmla="*/ 5455 w 10000"/>
                    <a:gd name="connsiteY11" fmla="*/ 9537 h 10000"/>
                    <a:gd name="connsiteX12" fmla="*/ 5389 w 10000"/>
                    <a:gd name="connsiteY12" fmla="*/ 9456 h 10000"/>
                    <a:gd name="connsiteX13" fmla="*/ 5389 w 10000"/>
                    <a:gd name="connsiteY13" fmla="*/ 9456 h 10000"/>
                    <a:gd name="connsiteX14" fmla="*/ 5324 w 10000"/>
                    <a:gd name="connsiteY14" fmla="*/ 9405 h 10000"/>
                    <a:gd name="connsiteX15" fmla="*/ 5259 w 10000"/>
                    <a:gd name="connsiteY15" fmla="*/ 9369 h 10000"/>
                    <a:gd name="connsiteX16" fmla="*/ 5128 w 10000"/>
                    <a:gd name="connsiteY16" fmla="*/ 9369 h 10000"/>
                    <a:gd name="connsiteX17" fmla="*/ 4936 w 10000"/>
                    <a:gd name="connsiteY17" fmla="*/ 9389 h 10000"/>
                    <a:gd name="connsiteX18" fmla="*/ 4545 w 10000"/>
                    <a:gd name="connsiteY18" fmla="*/ 9438 h 10000"/>
                    <a:gd name="connsiteX19" fmla="*/ 4026 w 10000"/>
                    <a:gd name="connsiteY19" fmla="*/ 9522 h 10000"/>
                    <a:gd name="connsiteX20" fmla="*/ 4026 w 10000"/>
                    <a:gd name="connsiteY20" fmla="*/ 9522 h 10000"/>
                    <a:gd name="connsiteX21" fmla="*/ 3702 w 10000"/>
                    <a:gd name="connsiteY21" fmla="*/ 9537 h 10000"/>
                    <a:gd name="connsiteX22" fmla="*/ 3573 w 10000"/>
                    <a:gd name="connsiteY22" fmla="*/ 9537 h 10000"/>
                    <a:gd name="connsiteX23" fmla="*/ 3507 w 10000"/>
                    <a:gd name="connsiteY23" fmla="*/ 9522 h 10000"/>
                    <a:gd name="connsiteX24" fmla="*/ 3247 w 10000"/>
                    <a:gd name="connsiteY24" fmla="*/ 9369 h 10000"/>
                    <a:gd name="connsiteX25" fmla="*/ 3247 w 10000"/>
                    <a:gd name="connsiteY25" fmla="*/ 9369 h 10000"/>
                    <a:gd name="connsiteX26" fmla="*/ 3117 w 10000"/>
                    <a:gd name="connsiteY26" fmla="*/ 9319 h 10000"/>
                    <a:gd name="connsiteX27" fmla="*/ 3117 w 10000"/>
                    <a:gd name="connsiteY27" fmla="*/ 9267 h 10000"/>
                    <a:gd name="connsiteX28" fmla="*/ 3117 w 10000"/>
                    <a:gd name="connsiteY28" fmla="*/ 9233 h 10000"/>
                    <a:gd name="connsiteX29" fmla="*/ 3184 w 10000"/>
                    <a:gd name="connsiteY29" fmla="*/ 9198 h 10000"/>
                    <a:gd name="connsiteX30" fmla="*/ 3312 w 10000"/>
                    <a:gd name="connsiteY30" fmla="*/ 9129 h 10000"/>
                    <a:gd name="connsiteX31" fmla="*/ 3443 w 10000"/>
                    <a:gd name="connsiteY31" fmla="*/ 9113 h 10000"/>
                    <a:gd name="connsiteX32" fmla="*/ 3443 w 10000"/>
                    <a:gd name="connsiteY32" fmla="*/ 9113 h 10000"/>
                    <a:gd name="connsiteX33" fmla="*/ 3443 w 10000"/>
                    <a:gd name="connsiteY33" fmla="*/ 9097 h 10000"/>
                    <a:gd name="connsiteX34" fmla="*/ 3507 w 10000"/>
                    <a:gd name="connsiteY34" fmla="*/ 9079 h 10000"/>
                    <a:gd name="connsiteX35" fmla="*/ 7646 w 10000"/>
                    <a:gd name="connsiteY35" fmla="*/ 8817 h 10000"/>
                    <a:gd name="connsiteX36" fmla="*/ 8116 w 10000"/>
                    <a:gd name="connsiteY36" fmla="*/ 8825 h 10000"/>
                    <a:gd name="connsiteX37" fmla="*/ 8116 w 10000"/>
                    <a:gd name="connsiteY37" fmla="*/ 8825 h 10000"/>
                    <a:gd name="connsiteX38" fmla="*/ 8442 w 10000"/>
                    <a:gd name="connsiteY38" fmla="*/ 8791 h 10000"/>
                    <a:gd name="connsiteX39" fmla="*/ 8702 w 10000"/>
                    <a:gd name="connsiteY39" fmla="*/ 8706 h 10000"/>
                    <a:gd name="connsiteX40" fmla="*/ 8636 w 10000"/>
                    <a:gd name="connsiteY40" fmla="*/ 8671 h 10000"/>
                    <a:gd name="connsiteX41" fmla="*/ 8636 w 10000"/>
                    <a:gd name="connsiteY41" fmla="*/ 8638 h 10000"/>
                    <a:gd name="connsiteX42" fmla="*/ 8312 w 10000"/>
                    <a:gd name="connsiteY42" fmla="*/ 8552 h 10000"/>
                    <a:gd name="connsiteX43" fmla="*/ 5975 w 10000"/>
                    <a:gd name="connsiteY43" fmla="*/ 8244 h 10000"/>
                    <a:gd name="connsiteX44" fmla="*/ 5975 w 10000"/>
                    <a:gd name="connsiteY44" fmla="*/ 8244 h 10000"/>
                    <a:gd name="connsiteX45" fmla="*/ 5714 w 10000"/>
                    <a:gd name="connsiteY45" fmla="*/ 8195 h 10000"/>
                    <a:gd name="connsiteX46" fmla="*/ 5519 w 10000"/>
                    <a:gd name="connsiteY46" fmla="*/ 8143 h 10000"/>
                    <a:gd name="connsiteX47" fmla="*/ 5389 w 10000"/>
                    <a:gd name="connsiteY47" fmla="*/ 8092 h 10000"/>
                    <a:gd name="connsiteX48" fmla="*/ 5389 w 10000"/>
                    <a:gd name="connsiteY48" fmla="*/ 8092 h 10000"/>
                    <a:gd name="connsiteX49" fmla="*/ 7729 w 10000"/>
                    <a:gd name="connsiteY49" fmla="*/ 8074 h 10000"/>
                    <a:gd name="connsiteX50" fmla="*/ 10000 w 10000"/>
                    <a:gd name="connsiteY50" fmla="*/ 8244 h 10000"/>
                    <a:gd name="connsiteX51" fmla="*/ 10000 w 10000"/>
                    <a:gd name="connsiteY51" fmla="*/ 6696 h 10000"/>
                    <a:gd name="connsiteX52" fmla="*/ 10000 w 10000"/>
                    <a:gd name="connsiteY52" fmla="*/ 6696 h 10000"/>
                    <a:gd name="connsiteX53" fmla="*/ 7404 w 10000"/>
                    <a:gd name="connsiteY53" fmla="*/ 6336 h 10000"/>
                    <a:gd name="connsiteX54" fmla="*/ 5975 w 10000"/>
                    <a:gd name="connsiteY54" fmla="*/ 6133 h 10000"/>
                    <a:gd name="connsiteX55" fmla="*/ 5975 w 10000"/>
                    <a:gd name="connsiteY55" fmla="*/ 6133 h 10000"/>
                    <a:gd name="connsiteX56" fmla="*/ 5975 w 10000"/>
                    <a:gd name="connsiteY56" fmla="*/ 6116 h 10000"/>
                    <a:gd name="connsiteX57" fmla="*/ 5975 w 10000"/>
                    <a:gd name="connsiteY57" fmla="*/ 6014 h 10000"/>
                    <a:gd name="connsiteX58" fmla="*/ 5975 w 10000"/>
                    <a:gd name="connsiteY58" fmla="*/ 6014 h 10000"/>
                    <a:gd name="connsiteX59" fmla="*/ 5779 w 10000"/>
                    <a:gd name="connsiteY59" fmla="*/ 5892 h 10000"/>
                    <a:gd name="connsiteX60" fmla="*/ 5389 w 10000"/>
                    <a:gd name="connsiteY60" fmla="*/ 5706 h 10000"/>
                    <a:gd name="connsiteX61" fmla="*/ 4545 w 10000"/>
                    <a:gd name="connsiteY61" fmla="*/ 5349 h 10000"/>
                    <a:gd name="connsiteX62" fmla="*/ 4545 w 10000"/>
                    <a:gd name="connsiteY62" fmla="*/ 5349 h 10000"/>
                    <a:gd name="connsiteX63" fmla="*/ 4352 w 10000"/>
                    <a:gd name="connsiteY63" fmla="*/ 5298 h 10000"/>
                    <a:gd name="connsiteX64" fmla="*/ 4026 w 10000"/>
                    <a:gd name="connsiteY64" fmla="*/ 5230 h 10000"/>
                    <a:gd name="connsiteX65" fmla="*/ 3052 w 10000"/>
                    <a:gd name="connsiteY65" fmla="*/ 5076 h 10000"/>
                    <a:gd name="connsiteX66" fmla="*/ 1689 w 10000"/>
                    <a:gd name="connsiteY66" fmla="*/ 4890 h 10000"/>
                    <a:gd name="connsiteX67" fmla="*/ 1689 w 10000"/>
                    <a:gd name="connsiteY67" fmla="*/ 4890 h 10000"/>
                    <a:gd name="connsiteX68" fmla="*/ 1103 w 10000"/>
                    <a:gd name="connsiteY68" fmla="*/ 4871 h 10000"/>
                    <a:gd name="connsiteX69" fmla="*/ 650 w 10000"/>
                    <a:gd name="connsiteY69" fmla="*/ 4854 h 10000"/>
                    <a:gd name="connsiteX70" fmla="*/ 521 w 10000"/>
                    <a:gd name="connsiteY70" fmla="*/ 4837 h 10000"/>
                    <a:gd name="connsiteX71" fmla="*/ 390 w 10000"/>
                    <a:gd name="connsiteY71" fmla="*/ 4821 h 10000"/>
                    <a:gd name="connsiteX72" fmla="*/ 390 w 10000"/>
                    <a:gd name="connsiteY72" fmla="*/ 4821 h 10000"/>
                    <a:gd name="connsiteX73" fmla="*/ 261 w 10000"/>
                    <a:gd name="connsiteY73" fmla="*/ 4751 h 10000"/>
                    <a:gd name="connsiteX74" fmla="*/ 65 w 10000"/>
                    <a:gd name="connsiteY74" fmla="*/ 4635 h 10000"/>
                    <a:gd name="connsiteX75" fmla="*/ 0 w 10000"/>
                    <a:gd name="connsiteY75" fmla="*/ 4566 h 10000"/>
                    <a:gd name="connsiteX76" fmla="*/ 0 w 10000"/>
                    <a:gd name="connsiteY76" fmla="*/ 4496 h 10000"/>
                    <a:gd name="connsiteX77" fmla="*/ 0 w 10000"/>
                    <a:gd name="connsiteY77" fmla="*/ 4446 h 10000"/>
                    <a:gd name="connsiteX78" fmla="*/ 131 w 10000"/>
                    <a:gd name="connsiteY78" fmla="*/ 4394 h 10000"/>
                    <a:gd name="connsiteX79" fmla="*/ 131 w 10000"/>
                    <a:gd name="connsiteY79" fmla="*/ 4394 h 10000"/>
                    <a:gd name="connsiteX80" fmla="*/ 455 w 10000"/>
                    <a:gd name="connsiteY80" fmla="*/ 4309 h 10000"/>
                    <a:gd name="connsiteX81" fmla="*/ 779 w 10000"/>
                    <a:gd name="connsiteY81" fmla="*/ 4226 h 10000"/>
                    <a:gd name="connsiteX82" fmla="*/ 975 w 10000"/>
                    <a:gd name="connsiteY82" fmla="*/ 4175 h 10000"/>
                    <a:gd name="connsiteX83" fmla="*/ 1103 w 10000"/>
                    <a:gd name="connsiteY83" fmla="*/ 4123 h 10000"/>
                    <a:gd name="connsiteX84" fmla="*/ 1103 w 10000"/>
                    <a:gd name="connsiteY84" fmla="*/ 4054 h 10000"/>
                    <a:gd name="connsiteX85" fmla="*/ 1103 w 10000"/>
                    <a:gd name="connsiteY85" fmla="*/ 3969 h 10000"/>
                    <a:gd name="connsiteX86" fmla="*/ 1103 w 10000"/>
                    <a:gd name="connsiteY86" fmla="*/ 3969 h 10000"/>
                    <a:gd name="connsiteX87" fmla="*/ 845 w 10000"/>
                    <a:gd name="connsiteY87" fmla="*/ 3730 h 10000"/>
                    <a:gd name="connsiteX88" fmla="*/ 521 w 10000"/>
                    <a:gd name="connsiteY88" fmla="*/ 3407 h 10000"/>
                    <a:gd name="connsiteX89" fmla="*/ 261 w 10000"/>
                    <a:gd name="connsiteY89" fmla="*/ 3116 h 10000"/>
                    <a:gd name="connsiteX90" fmla="*/ 195 w 10000"/>
                    <a:gd name="connsiteY90" fmla="*/ 3032 h 10000"/>
                    <a:gd name="connsiteX91" fmla="*/ 195 w 10000"/>
                    <a:gd name="connsiteY91" fmla="*/ 2998 h 10000"/>
                    <a:gd name="connsiteX92" fmla="*/ 261 w 10000"/>
                    <a:gd name="connsiteY92" fmla="*/ 2980 h 10000"/>
                    <a:gd name="connsiteX93" fmla="*/ 261 w 10000"/>
                    <a:gd name="connsiteY93" fmla="*/ 2980 h 10000"/>
                    <a:gd name="connsiteX94" fmla="*/ 650 w 10000"/>
                    <a:gd name="connsiteY94" fmla="*/ 2964 h 10000"/>
                    <a:gd name="connsiteX95" fmla="*/ 908 w 10000"/>
                    <a:gd name="connsiteY95" fmla="*/ 2964 h 10000"/>
                    <a:gd name="connsiteX96" fmla="*/ 1103 w 10000"/>
                    <a:gd name="connsiteY96" fmla="*/ 2980 h 10000"/>
                    <a:gd name="connsiteX97" fmla="*/ 1103 w 10000"/>
                    <a:gd name="connsiteY97" fmla="*/ 2980 h 10000"/>
                    <a:gd name="connsiteX98" fmla="*/ 1168 w 10000"/>
                    <a:gd name="connsiteY98" fmla="*/ 2980 h 10000"/>
                    <a:gd name="connsiteX99" fmla="*/ 1235 w 10000"/>
                    <a:gd name="connsiteY99" fmla="*/ 2948 h 10000"/>
                    <a:gd name="connsiteX100" fmla="*/ 1559 w 10000"/>
                    <a:gd name="connsiteY100" fmla="*/ 2845 h 10000"/>
                    <a:gd name="connsiteX101" fmla="*/ 2402 w 10000"/>
                    <a:gd name="connsiteY101" fmla="*/ 2503 h 10000"/>
                    <a:gd name="connsiteX102" fmla="*/ 3507 w 10000"/>
                    <a:gd name="connsiteY102" fmla="*/ 2012 h 10000"/>
                    <a:gd name="connsiteX103" fmla="*/ 3507 w 10000"/>
                    <a:gd name="connsiteY103" fmla="*/ 2012 h 10000"/>
                    <a:gd name="connsiteX104" fmla="*/ 3507 w 10000"/>
                    <a:gd name="connsiteY104" fmla="*/ 1942 h 10000"/>
                    <a:gd name="connsiteX105" fmla="*/ 3507 w 10000"/>
                    <a:gd name="connsiteY105" fmla="*/ 1786 h 10000"/>
                    <a:gd name="connsiteX106" fmla="*/ 3573 w 10000"/>
                    <a:gd name="connsiteY106" fmla="*/ 1686 h 10000"/>
                    <a:gd name="connsiteX107" fmla="*/ 3702 w 10000"/>
                    <a:gd name="connsiteY107" fmla="*/ 1600 h 10000"/>
                    <a:gd name="connsiteX108" fmla="*/ 3896 w 10000"/>
                    <a:gd name="connsiteY108" fmla="*/ 1499 h 10000"/>
                    <a:gd name="connsiteX109" fmla="*/ 4156 w 10000"/>
                    <a:gd name="connsiteY109" fmla="*/ 1415 h 10000"/>
                    <a:gd name="connsiteX110" fmla="*/ 4156 w 10000"/>
                    <a:gd name="connsiteY110" fmla="*/ 1415 h 10000"/>
                    <a:gd name="connsiteX111" fmla="*/ 4806 w 10000"/>
                    <a:gd name="connsiteY111" fmla="*/ 1245 h 10000"/>
                    <a:gd name="connsiteX112" fmla="*/ 5455 w 10000"/>
                    <a:gd name="connsiteY112" fmla="*/ 1021 h 10000"/>
                    <a:gd name="connsiteX113" fmla="*/ 6104 w 10000"/>
                    <a:gd name="connsiteY113" fmla="*/ 817 h 10000"/>
                    <a:gd name="connsiteX114" fmla="*/ 6559 w 10000"/>
                    <a:gd name="connsiteY114" fmla="*/ 632 h 10000"/>
                    <a:gd name="connsiteX115" fmla="*/ 6559 w 10000"/>
                    <a:gd name="connsiteY115" fmla="*/ 632 h 10000"/>
                    <a:gd name="connsiteX116" fmla="*/ 6882 w 10000"/>
                    <a:gd name="connsiteY116" fmla="*/ 461 h 10000"/>
                    <a:gd name="connsiteX117" fmla="*/ 7273 w 10000"/>
                    <a:gd name="connsiteY117" fmla="*/ 255 h 10000"/>
                    <a:gd name="connsiteX118" fmla="*/ 7663 w 10000"/>
                    <a:gd name="connsiteY118" fmla="*/ 101 h 10000"/>
                    <a:gd name="connsiteX119" fmla="*/ 7856 w 10000"/>
                    <a:gd name="connsiteY119" fmla="*/ 31 h 10000"/>
                    <a:gd name="connsiteX120" fmla="*/ 8051 w 10000"/>
                    <a:gd name="connsiteY120" fmla="*/ 16 h 10000"/>
                    <a:gd name="connsiteX121" fmla="*/ 8051 w 10000"/>
                    <a:gd name="connsiteY121" fmla="*/ 16 h 10000"/>
                    <a:gd name="connsiteX122" fmla="*/ 8442 w 10000"/>
                    <a:gd name="connsiteY122" fmla="*/ 0 h 10000"/>
                    <a:gd name="connsiteX123" fmla="*/ 8961 w 10000"/>
                    <a:gd name="connsiteY123" fmla="*/ 0 h 10000"/>
                    <a:gd name="connsiteX124" fmla="*/ 10000 w 10000"/>
                    <a:gd name="connsiteY124" fmla="*/ 16 h 10000"/>
                    <a:gd name="connsiteX125" fmla="*/ 5584 w 10000"/>
                    <a:gd name="connsiteY125" fmla="*/ 9898 h 10000"/>
                    <a:gd name="connsiteX126" fmla="*/ 5389 w 10000"/>
                    <a:gd name="connsiteY126" fmla="*/ 9558 h 10000"/>
                    <a:gd name="connsiteX127" fmla="*/ 5389 w 10000"/>
                    <a:gd name="connsiteY127" fmla="*/ 9489 h 10000"/>
                    <a:gd name="connsiteX128" fmla="*/ 5259 w 10000"/>
                    <a:gd name="connsiteY128" fmla="*/ 9405 h 10000"/>
                    <a:gd name="connsiteX129" fmla="*/ 5195 w 10000"/>
                    <a:gd name="connsiteY129" fmla="*/ 9389 h 10000"/>
                    <a:gd name="connsiteX130" fmla="*/ 4026 w 10000"/>
                    <a:gd name="connsiteY130" fmla="*/ 9507 h 10000"/>
                    <a:gd name="connsiteX131" fmla="*/ 3702 w 10000"/>
                    <a:gd name="connsiteY131" fmla="*/ 9537 h 10000"/>
                    <a:gd name="connsiteX132" fmla="*/ 3247 w 10000"/>
                    <a:gd name="connsiteY132" fmla="*/ 9369 h 10000"/>
                    <a:gd name="connsiteX133" fmla="*/ 3247 w 10000"/>
                    <a:gd name="connsiteY133" fmla="*/ 9369 h 10000"/>
                    <a:gd name="connsiteX134" fmla="*/ 3117 w 10000"/>
                    <a:gd name="connsiteY134" fmla="*/ 9183 h 10000"/>
                    <a:gd name="connsiteX135" fmla="*/ 3117 w 10000"/>
                    <a:gd name="connsiteY135" fmla="*/ 9183 h 10000"/>
                    <a:gd name="connsiteX136" fmla="*/ 3312 w 10000"/>
                    <a:gd name="connsiteY136" fmla="*/ 9129 h 10000"/>
                    <a:gd name="connsiteX137" fmla="*/ 3443 w 10000"/>
                    <a:gd name="connsiteY137" fmla="*/ 9113 h 10000"/>
                    <a:gd name="connsiteX138" fmla="*/ 2661 w 10000"/>
                    <a:gd name="connsiteY138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7856 w 10000"/>
                    <a:gd name="connsiteY2" fmla="*/ 10000 h 10000"/>
                    <a:gd name="connsiteX3" fmla="*/ 7013 w 10000"/>
                    <a:gd name="connsiteY3" fmla="*/ 9915 h 10000"/>
                    <a:gd name="connsiteX4" fmla="*/ 5779 w 10000"/>
                    <a:gd name="connsiteY4" fmla="*/ 9898 h 10000"/>
                    <a:gd name="connsiteX5" fmla="*/ 5779 w 10000"/>
                    <a:gd name="connsiteY5" fmla="*/ 9898 h 10000"/>
                    <a:gd name="connsiteX6" fmla="*/ 5519 w 10000"/>
                    <a:gd name="connsiteY6" fmla="*/ 9878 h 10000"/>
                    <a:gd name="connsiteX7" fmla="*/ 5389 w 10000"/>
                    <a:gd name="connsiteY7" fmla="*/ 9847 h 10000"/>
                    <a:gd name="connsiteX8" fmla="*/ 5324 w 10000"/>
                    <a:gd name="connsiteY8" fmla="*/ 9810 h 10000"/>
                    <a:gd name="connsiteX9" fmla="*/ 5389 w 10000"/>
                    <a:gd name="connsiteY9" fmla="*/ 9607 h 10000"/>
                    <a:gd name="connsiteX10" fmla="*/ 5455 w 10000"/>
                    <a:gd name="connsiteY10" fmla="*/ 9537 h 10000"/>
                    <a:gd name="connsiteX11" fmla="*/ 5389 w 10000"/>
                    <a:gd name="connsiteY11" fmla="*/ 9456 h 10000"/>
                    <a:gd name="connsiteX12" fmla="*/ 5389 w 10000"/>
                    <a:gd name="connsiteY12" fmla="*/ 9456 h 10000"/>
                    <a:gd name="connsiteX13" fmla="*/ 5324 w 10000"/>
                    <a:gd name="connsiteY13" fmla="*/ 9405 h 10000"/>
                    <a:gd name="connsiteX14" fmla="*/ 5259 w 10000"/>
                    <a:gd name="connsiteY14" fmla="*/ 9369 h 10000"/>
                    <a:gd name="connsiteX15" fmla="*/ 5128 w 10000"/>
                    <a:gd name="connsiteY15" fmla="*/ 9369 h 10000"/>
                    <a:gd name="connsiteX16" fmla="*/ 4936 w 10000"/>
                    <a:gd name="connsiteY16" fmla="*/ 9389 h 10000"/>
                    <a:gd name="connsiteX17" fmla="*/ 4545 w 10000"/>
                    <a:gd name="connsiteY17" fmla="*/ 9438 h 10000"/>
                    <a:gd name="connsiteX18" fmla="*/ 4026 w 10000"/>
                    <a:gd name="connsiteY18" fmla="*/ 9522 h 10000"/>
                    <a:gd name="connsiteX19" fmla="*/ 4026 w 10000"/>
                    <a:gd name="connsiteY19" fmla="*/ 9522 h 10000"/>
                    <a:gd name="connsiteX20" fmla="*/ 3702 w 10000"/>
                    <a:gd name="connsiteY20" fmla="*/ 9537 h 10000"/>
                    <a:gd name="connsiteX21" fmla="*/ 3573 w 10000"/>
                    <a:gd name="connsiteY21" fmla="*/ 9537 h 10000"/>
                    <a:gd name="connsiteX22" fmla="*/ 3507 w 10000"/>
                    <a:gd name="connsiteY22" fmla="*/ 9522 h 10000"/>
                    <a:gd name="connsiteX23" fmla="*/ 3247 w 10000"/>
                    <a:gd name="connsiteY23" fmla="*/ 9369 h 10000"/>
                    <a:gd name="connsiteX24" fmla="*/ 3247 w 10000"/>
                    <a:gd name="connsiteY24" fmla="*/ 9369 h 10000"/>
                    <a:gd name="connsiteX25" fmla="*/ 3117 w 10000"/>
                    <a:gd name="connsiteY25" fmla="*/ 9319 h 10000"/>
                    <a:gd name="connsiteX26" fmla="*/ 3117 w 10000"/>
                    <a:gd name="connsiteY26" fmla="*/ 9267 h 10000"/>
                    <a:gd name="connsiteX27" fmla="*/ 3117 w 10000"/>
                    <a:gd name="connsiteY27" fmla="*/ 9233 h 10000"/>
                    <a:gd name="connsiteX28" fmla="*/ 3184 w 10000"/>
                    <a:gd name="connsiteY28" fmla="*/ 9198 h 10000"/>
                    <a:gd name="connsiteX29" fmla="*/ 3312 w 10000"/>
                    <a:gd name="connsiteY29" fmla="*/ 9129 h 10000"/>
                    <a:gd name="connsiteX30" fmla="*/ 3443 w 10000"/>
                    <a:gd name="connsiteY30" fmla="*/ 9113 h 10000"/>
                    <a:gd name="connsiteX31" fmla="*/ 3443 w 10000"/>
                    <a:gd name="connsiteY31" fmla="*/ 9113 h 10000"/>
                    <a:gd name="connsiteX32" fmla="*/ 3443 w 10000"/>
                    <a:gd name="connsiteY32" fmla="*/ 9097 h 10000"/>
                    <a:gd name="connsiteX33" fmla="*/ 3507 w 10000"/>
                    <a:gd name="connsiteY33" fmla="*/ 9079 h 10000"/>
                    <a:gd name="connsiteX34" fmla="*/ 7646 w 10000"/>
                    <a:gd name="connsiteY34" fmla="*/ 8817 h 10000"/>
                    <a:gd name="connsiteX35" fmla="*/ 8116 w 10000"/>
                    <a:gd name="connsiteY35" fmla="*/ 8825 h 10000"/>
                    <a:gd name="connsiteX36" fmla="*/ 8116 w 10000"/>
                    <a:gd name="connsiteY36" fmla="*/ 8825 h 10000"/>
                    <a:gd name="connsiteX37" fmla="*/ 8442 w 10000"/>
                    <a:gd name="connsiteY37" fmla="*/ 8791 h 10000"/>
                    <a:gd name="connsiteX38" fmla="*/ 8702 w 10000"/>
                    <a:gd name="connsiteY38" fmla="*/ 8706 h 10000"/>
                    <a:gd name="connsiteX39" fmla="*/ 8636 w 10000"/>
                    <a:gd name="connsiteY39" fmla="*/ 8671 h 10000"/>
                    <a:gd name="connsiteX40" fmla="*/ 8636 w 10000"/>
                    <a:gd name="connsiteY40" fmla="*/ 8638 h 10000"/>
                    <a:gd name="connsiteX41" fmla="*/ 8312 w 10000"/>
                    <a:gd name="connsiteY41" fmla="*/ 8552 h 10000"/>
                    <a:gd name="connsiteX42" fmla="*/ 5975 w 10000"/>
                    <a:gd name="connsiteY42" fmla="*/ 8244 h 10000"/>
                    <a:gd name="connsiteX43" fmla="*/ 5975 w 10000"/>
                    <a:gd name="connsiteY43" fmla="*/ 8244 h 10000"/>
                    <a:gd name="connsiteX44" fmla="*/ 5714 w 10000"/>
                    <a:gd name="connsiteY44" fmla="*/ 8195 h 10000"/>
                    <a:gd name="connsiteX45" fmla="*/ 5519 w 10000"/>
                    <a:gd name="connsiteY45" fmla="*/ 8143 h 10000"/>
                    <a:gd name="connsiteX46" fmla="*/ 5389 w 10000"/>
                    <a:gd name="connsiteY46" fmla="*/ 8092 h 10000"/>
                    <a:gd name="connsiteX47" fmla="*/ 5389 w 10000"/>
                    <a:gd name="connsiteY47" fmla="*/ 8092 h 10000"/>
                    <a:gd name="connsiteX48" fmla="*/ 7729 w 10000"/>
                    <a:gd name="connsiteY48" fmla="*/ 8074 h 10000"/>
                    <a:gd name="connsiteX49" fmla="*/ 10000 w 10000"/>
                    <a:gd name="connsiteY49" fmla="*/ 8244 h 10000"/>
                    <a:gd name="connsiteX50" fmla="*/ 10000 w 10000"/>
                    <a:gd name="connsiteY50" fmla="*/ 6696 h 10000"/>
                    <a:gd name="connsiteX51" fmla="*/ 10000 w 10000"/>
                    <a:gd name="connsiteY51" fmla="*/ 6696 h 10000"/>
                    <a:gd name="connsiteX52" fmla="*/ 7404 w 10000"/>
                    <a:gd name="connsiteY52" fmla="*/ 6336 h 10000"/>
                    <a:gd name="connsiteX53" fmla="*/ 5975 w 10000"/>
                    <a:gd name="connsiteY53" fmla="*/ 6133 h 10000"/>
                    <a:gd name="connsiteX54" fmla="*/ 5975 w 10000"/>
                    <a:gd name="connsiteY54" fmla="*/ 6133 h 10000"/>
                    <a:gd name="connsiteX55" fmla="*/ 5975 w 10000"/>
                    <a:gd name="connsiteY55" fmla="*/ 6116 h 10000"/>
                    <a:gd name="connsiteX56" fmla="*/ 5975 w 10000"/>
                    <a:gd name="connsiteY56" fmla="*/ 6014 h 10000"/>
                    <a:gd name="connsiteX57" fmla="*/ 5975 w 10000"/>
                    <a:gd name="connsiteY57" fmla="*/ 6014 h 10000"/>
                    <a:gd name="connsiteX58" fmla="*/ 5779 w 10000"/>
                    <a:gd name="connsiteY58" fmla="*/ 5892 h 10000"/>
                    <a:gd name="connsiteX59" fmla="*/ 5389 w 10000"/>
                    <a:gd name="connsiteY59" fmla="*/ 5706 h 10000"/>
                    <a:gd name="connsiteX60" fmla="*/ 4545 w 10000"/>
                    <a:gd name="connsiteY60" fmla="*/ 5349 h 10000"/>
                    <a:gd name="connsiteX61" fmla="*/ 4545 w 10000"/>
                    <a:gd name="connsiteY61" fmla="*/ 5349 h 10000"/>
                    <a:gd name="connsiteX62" fmla="*/ 4352 w 10000"/>
                    <a:gd name="connsiteY62" fmla="*/ 5298 h 10000"/>
                    <a:gd name="connsiteX63" fmla="*/ 4026 w 10000"/>
                    <a:gd name="connsiteY63" fmla="*/ 5230 h 10000"/>
                    <a:gd name="connsiteX64" fmla="*/ 3052 w 10000"/>
                    <a:gd name="connsiteY64" fmla="*/ 5076 h 10000"/>
                    <a:gd name="connsiteX65" fmla="*/ 1689 w 10000"/>
                    <a:gd name="connsiteY65" fmla="*/ 4890 h 10000"/>
                    <a:gd name="connsiteX66" fmla="*/ 1689 w 10000"/>
                    <a:gd name="connsiteY66" fmla="*/ 4890 h 10000"/>
                    <a:gd name="connsiteX67" fmla="*/ 1103 w 10000"/>
                    <a:gd name="connsiteY67" fmla="*/ 4871 h 10000"/>
                    <a:gd name="connsiteX68" fmla="*/ 650 w 10000"/>
                    <a:gd name="connsiteY68" fmla="*/ 4854 h 10000"/>
                    <a:gd name="connsiteX69" fmla="*/ 521 w 10000"/>
                    <a:gd name="connsiteY69" fmla="*/ 4837 h 10000"/>
                    <a:gd name="connsiteX70" fmla="*/ 390 w 10000"/>
                    <a:gd name="connsiteY70" fmla="*/ 4821 h 10000"/>
                    <a:gd name="connsiteX71" fmla="*/ 390 w 10000"/>
                    <a:gd name="connsiteY71" fmla="*/ 4821 h 10000"/>
                    <a:gd name="connsiteX72" fmla="*/ 261 w 10000"/>
                    <a:gd name="connsiteY72" fmla="*/ 4751 h 10000"/>
                    <a:gd name="connsiteX73" fmla="*/ 65 w 10000"/>
                    <a:gd name="connsiteY73" fmla="*/ 4635 h 10000"/>
                    <a:gd name="connsiteX74" fmla="*/ 0 w 10000"/>
                    <a:gd name="connsiteY74" fmla="*/ 4566 h 10000"/>
                    <a:gd name="connsiteX75" fmla="*/ 0 w 10000"/>
                    <a:gd name="connsiteY75" fmla="*/ 4496 h 10000"/>
                    <a:gd name="connsiteX76" fmla="*/ 0 w 10000"/>
                    <a:gd name="connsiteY76" fmla="*/ 4446 h 10000"/>
                    <a:gd name="connsiteX77" fmla="*/ 131 w 10000"/>
                    <a:gd name="connsiteY77" fmla="*/ 4394 h 10000"/>
                    <a:gd name="connsiteX78" fmla="*/ 131 w 10000"/>
                    <a:gd name="connsiteY78" fmla="*/ 4394 h 10000"/>
                    <a:gd name="connsiteX79" fmla="*/ 455 w 10000"/>
                    <a:gd name="connsiteY79" fmla="*/ 4309 h 10000"/>
                    <a:gd name="connsiteX80" fmla="*/ 779 w 10000"/>
                    <a:gd name="connsiteY80" fmla="*/ 4226 h 10000"/>
                    <a:gd name="connsiteX81" fmla="*/ 975 w 10000"/>
                    <a:gd name="connsiteY81" fmla="*/ 4175 h 10000"/>
                    <a:gd name="connsiteX82" fmla="*/ 1103 w 10000"/>
                    <a:gd name="connsiteY82" fmla="*/ 4123 h 10000"/>
                    <a:gd name="connsiteX83" fmla="*/ 1103 w 10000"/>
                    <a:gd name="connsiteY83" fmla="*/ 4054 h 10000"/>
                    <a:gd name="connsiteX84" fmla="*/ 1103 w 10000"/>
                    <a:gd name="connsiteY84" fmla="*/ 3969 h 10000"/>
                    <a:gd name="connsiteX85" fmla="*/ 1103 w 10000"/>
                    <a:gd name="connsiteY85" fmla="*/ 3969 h 10000"/>
                    <a:gd name="connsiteX86" fmla="*/ 845 w 10000"/>
                    <a:gd name="connsiteY86" fmla="*/ 3730 h 10000"/>
                    <a:gd name="connsiteX87" fmla="*/ 521 w 10000"/>
                    <a:gd name="connsiteY87" fmla="*/ 3407 h 10000"/>
                    <a:gd name="connsiteX88" fmla="*/ 261 w 10000"/>
                    <a:gd name="connsiteY88" fmla="*/ 3116 h 10000"/>
                    <a:gd name="connsiteX89" fmla="*/ 195 w 10000"/>
                    <a:gd name="connsiteY89" fmla="*/ 3032 h 10000"/>
                    <a:gd name="connsiteX90" fmla="*/ 195 w 10000"/>
                    <a:gd name="connsiteY90" fmla="*/ 2998 h 10000"/>
                    <a:gd name="connsiteX91" fmla="*/ 261 w 10000"/>
                    <a:gd name="connsiteY91" fmla="*/ 2980 h 10000"/>
                    <a:gd name="connsiteX92" fmla="*/ 261 w 10000"/>
                    <a:gd name="connsiteY92" fmla="*/ 2980 h 10000"/>
                    <a:gd name="connsiteX93" fmla="*/ 650 w 10000"/>
                    <a:gd name="connsiteY93" fmla="*/ 2964 h 10000"/>
                    <a:gd name="connsiteX94" fmla="*/ 908 w 10000"/>
                    <a:gd name="connsiteY94" fmla="*/ 2964 h 10000"/>
                    <a:gd name="connsiteX95" fmla="*/ 1103 w 10000"/>
                    <a:gd name="connsiteY95" fmla="*/ 2980 h 10000"/>
                    <a:gd name="connsiteX96" fmla="*/ 1103 w 10000"/>
                    <a:gd name="connsiteY96" fmla="*/ 2980 h 10000"/>
                    <a:gd name="connsiteX97" fmla="*/ 1168 w 10000"/>
                    <a:gd name="connsiteY97" fmla="*/ 2980 h 10000"/>
                    <a:gd name="connsiteX98" fmla="*/ 1235 w 10000"/>
                    <a:gd name="connsiteY98" fmla="*/ 2948 h 10000"/>
                    <a:gd name="connsiteX99" fmla="*/ 1559 w 10000"/>
                    <a:gd name="connsiteY99" fmla="*/ 2845 h 10000"/>
                    <a:gd name="connsiteX100" fmla="*/ 2402 w 10000"/>
                    <a:gd name="connsiteY100" fmla="*/ 2503 h 10000"/>
                    <a:gd name="connsiteX101" fmla="*/ 3507 w 10000"/>
                    <a:gd name="connsiteY101" fmla="*/ 2012 h 10000"/>
                    <a:gd name="connsiteX102" fmla="*/ 3507 w 10000"/>
                    <a:gd name="connsiteY102" fmla="*/ 2012 h 10000"/>
                    <a:gd name="connsiteX103" fmla="*/ 3507 w 10000"/>
                    <a:gd name="connsiteY103" fmla="*/ 1942 h 10000"/>
                    <a:gd name="connsiteX104" fmla="*/ 3507 w 10000"/>
                    <a:gd name="connsiteY104" fmla="*/ 1786 h 10000"/>
                    <a:gd name="connsiteX105" fmla="*/ 3573 w 10000"/>
                    <a:gd name="connsiteY105" fmla="*/ 1686 h 10000"/>
                    <a:gd name="connsiteX106" fmla="*/ 3702 w 10000"/>
                    <a:gd name="connsiteY106" fmla="*/ 1600 h 10000"/>
                    <a:gd name="connsiteX107" fmla="*/ 3896 w 10000"/>
                    <a:gd name="connsiteY107" fmla="*/ 1499 h 10000"/>
                    <a:gd name="connsiteX108" fmla="*/ 4156 w 10000"/>
                    <a:gd name="connsiteY108" fmla="*/ 1415 h 10000"/>
                    <a:gd name="connsiteX109" fmla="*/ 4156 w 10000"/>
                    <a:gd name="connsiteY109" fmla="*/ 1415 h 10000"/>
                    <a:gd name="connsiteX110" fmla="*/ 4806 w 10000"/>
                    <a:gd name="connsiteY110" fmla="*/ 1245 h 10000"/>
                    <a:gd name="connsiteX111" fmla="*/ 5455 w 10000"/>
                    <a:gd name="connsiteY111" fmla="*/ 1021 h 10000"/>
                    <a:gd name="connsiteX112" fmla="*/ 6104 w 10000"/>
                    <a:gd name="connsiteY112" fmla="*/ 817 h 10000"/>
                    <a:gd name="connsiteX113" fmla="*/ 6559 w 10000"/>
                    <a:gd name="connsiteY113" fmla="*/ 632 h 10000"/>
                    <a:gd name="connsiteX114" fmla="*/ 6559 w 10000"/>
                    <a:gd name="connsiteY114" fmla="*/ 632 h 10000"/>
                    <a:gd name="connsiteX115" fmla="*/ 6882 w 10000"/>
                    <a:gd name="connsiteY115" fmla="*/ 461 h 10000"/>
                    <a:gd name="connsiteX116" fmla="*/ 7273 w 10000"/>
                    <a:gd name="connsiteY116" fmla="*/ 255 h 10000"/>
                    <a:gd name="connsiteX117" fmla="*/ 7663 w 10000"/>
                    <a:gd name="connsiteY117" fmla="*/ 101 h 10000"/>
                    <a:gd name="connsiteX118" fmla="*/ 7856 w 10000"/>
                    <a:gd name="connsiteY118" fmla="*/ 31 h 10000"/>
                    <a:gd name="connsiteX119" fmla="*/ 8051 w 10000"/>
                    <a:gd name="connsiteY119" fmla="*/ 16 h 10000"/>
                    <a:gd name="connsiteX120" fmla="*/ 8051 w 10000"/>
                    <a:gd name="connsiteY120" fmla="*/ 16 h 10000"/>
                    <a:gd name="connsiteX121" fmla="*/ 8442 w 10000"/>
                    <a:gd name="connsiteY121" fmla="*/ 0 h 10000"/>
                    <a:gd name="connsiteX122" fmla="*/ 8961 w 10000"/>
                    <a:gd name="connsiteY122" fmla="*/ 0 h 10000"/>
                    <a:gd name="connsiteX123" fmla="*/ 10000 w 10000"/>
                    <a:gd name="connsiteY123" fmla="*/ 16 h 10000"/>
                    <a:gd name="connsiteX124" fmla="*/ 5584 w 10000"/>
                    <a:gd name="connsiteY124" fmla="*/ 9898 h 10000"/>
                    <a:gd name="connsiteX125" fmla="*/ 5389 w 10000"/>
                    <a:gd name="connsiteY125" fmla="*/ 9558 h 10000"/>
                    <a:gd name="connsiteX126" fmla="*/ 5389 w 10000"/>
                    <a:gd name="connsiteY126" fmla="*/ 9489 h 10000"/>
                    <a:gd name="connsiteX127" fmla="*/ 5259 w 10000"/>
                    <a:gd name="connsiteY127" fmla="*/ 9405 h 10000"/>
                    <a:gd name="connsiteX128" fmla="*/ 5195 w 10000"/>
                    <a:gd name="connsiteY128" fmla="*/ 9389 h 10000"/>
                    <a:gd name="connsiteX129" fmla="*/ 4026 w 10000"/>
                    <a:gd name="connsiteY129" fmla="*/ 9507 h 10000"/>
                    <a:gd name="connsiteX130" fmla="*/ 3702 w 10000"/>
                    <a:gd name="connsiteY130" fmla="*/ 9537 h 10000"/>
                    <a:gd name="connsiteX131" fmla="*/ 3247 w 10000"/>
                    <a:gd name="connsiteY131" fmla="*/ 9369 h 10000"/>
                    <a:gd name="connsiteX132" fmla="*/ 3247 w 10000"/>
                    <a:gd name="connsiteY132" fmla="*/ 9369 h 10000"/>
                    <a:gd name="connsiteX133" fmla="*/ 3117 w 10000"/>
                    <a:gd name="connsiteY133" fmla="*/ 9183 h 10000"/>
                    <a:gd name="connsiteX134" fmla="*/ 3117 w 10000"/>
                    <a:gd name="connsiteY134" fmla="*/ 9183 h 10000"/>
                    <a:gd name="connsiteX135" fmla="*/ 3312 w 10000"/>
                    <a:gd name="connsiteY135" fmla="*/ 9129 h 10000"/>
                    <a:gd name="connsiteX136" fmla="*/ 3443 w 10000"/>
                    <a:gd name="connsiteY136" fmla="*/ 9113 h 10000"/>
                    <a:gd name="connsiteX137" fmla="*/ 2661 w 10000"/>
                    <a:gd name="connsiteY137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7856 w 10000"/>
                    <a:gd name="connsiteY2" fmla="*/ 10000 h 10000"/>
                    <a:gd name="connsiteX3" fmla="*/ 5779 w 10000"/>
                    <a:gd name="connsiteY3" fmla="*/ 9898 h 10000"/>
                    <a:gd name="connsiteX4" fmla="*/ 5779 w 10000"/>
                    <a:gd name="connsiteY4" fmla="*/ 9898 h 10000"/>
                    <a:gd name="connsiteX5" fmla="*/ 5519 w 10000"/>
                    <a:gd name="connsiteY5" fmla="*/ 9878 h 10000"/>
                    <a:gd name="connsiteX6" fmla="*/ 5389 w 10000"/>
                    <a:gd name="connsiteY6" fmla="*/ 9847 h 10000"/>
                    <a:gd name="connsiteX7" fmla="*/ 5324 w 10000"/>
                    <a:gd name="connsiteY7" fmla="*/ 9810 h 10000"/>
                    <a:gd name="connsiteX8" fmla="*/ 5389 w 10000"/>
                    <a:gd name="connsiteY8" fmla="*/ 9607 h 10000"/>
                    <a:gd name="connsiteX9" fmla="*/ 5455 w 10000"/>
                    <a:gd name="connsiteY9" fmla="*/ 9537 h 10000"/>
                    <a:gd name="connsiteX10" fmla="*/ 5389 w 10000"/>
                    <a:gd name="connsiteY10" fmla="*/ 9456 h 10000"/>
                    <a:gd name="connsiteX11" fmla="*/ 5389 w 10000"/>
                    <a:gd name="connsiteY11" fmla="*/ 9456 h 10000"/>
                    <a:gd name="connsiteX12" fmla="*/ 5324 w 10000"/>
                    <a:gd name="connsiteY12" fmla="*/ 9405 h 10000"/>
                    <a:gd name="connsiteX13" fmla="*/ 5259 w 10000"/>
                    <a:gd name="connsiteY13" fmla="*/ 9369 h 10000"/>
                    <a:gd name="connsiteX14" fmla="*/ 5128 w 10000"/>
                    <a:gd name="connsiteY14" fmla="*/ 9369 h 10000"/>
                    <a:gd name="connsiteX15" fmla="*/ 4936 w 10000"/>
                    <a:gd name="connsiteY15" fmla="*/ 9389 h 10000"/>
                    <a:gd name="connsiteX16" fmla="*/ 4545 w 10000"/>
                    <a:gd name="connsiteY16" fmla="*/ 9438 h 10000"/>
                    <a:gd name="connsiteX17" fmla="*/ 4026 w 10000"/>
                    <a:gd name="connsiteY17" fmla="*/ 9522 h 10000"/>
                    <a:gd name="connsiteX18" fmla="*/ 4026 w 10000"/>
                    <a:gd name="connsiteY18" fmla="*/ 9522 h 10000"/>
                    <a:gd name="connsiteX19" fmla="*/ 3702 w 10000"/>
                    <a:gd name="connsiteY19" fmla="*/ 9537 h 10000"/>
                    <a:gd name="connsiteX20" fmla="*/ 3573 w 10000"/>
                    <a:gd name="connsiteY20" fmla="*/ 9537 h 10000"/>
                    <a:gd name="connsiteX21" fmla="*/ 3507 w 10000"/>
                    <a:gd name="connsiteY21" fmla="*/ 9522 h 10000"/>
                    <a:gd name="connsiteX22" fmla="*/ 3247 w 10000"/>
                    <a:gd name="connsiteY22" fmla="*/ 9369 h 10000"/>
                    <a:gd name="connsiteX23" fmla="*/ 3247 w 10000"/>
                    <a:gd name="connsiteY23" fmla="*/ 9369 h 10000"/>
                    <a:gd name="connsiteX24" fmla="*/ 3117 w 10000"/>
                    <a:gd name="connsiteY24" fmla="*/ 9319 h 10000"/>
                    <a:gd name="connsiteX25" fmla="*/ 3117 w 10000"/>
                    <a:gd name="connsiteY25" fmla="*/ 9267 h 10000"/>
                    <a:gd name="connsiteX26" fmla="*/ 3117 w 10000"/>
                    <a:gd name="connsiteY26" fmla="*/ 9233 h 10000"/>
                    <a:gd name="connsiteX27" fmla="*/ 3184 w 10000"/>
                    <a:gd name="connsiteY27" fmla="*/ 9198 h 10000"/>
                    <a:gd name="connsiteX28" fmla="*/ 3312 w 10000"/>
                    <a:gd name="connsiteY28" fmla="*/ 9129 h 10000"/>
                    <a:gd name="connsiteX29" fmla="*/ 3443 w 10000"/>
                    <a:gd name="connsiteY29" fmla="*/ 9113 h 10000"/>
                    <a:gd name="connsiteX30" fmla="*/ 3443 w 10000"/>
                    <a:gd name="connsiteY30" fmla="*/ 9113 h 10000"/>
                    <a:gd name="connsiteX31" fmla="*/ 3443 w 10000"/>
                    <a:gd name="connsiteY31" fmla="*/ 9097 h 10000"/>
                    <a:gd name="connsiteX32" fmla="*/ 3507 w 10000"/>
                    <a:gd name="connsiteY32" fmla="*/ 9079 h 10000"/>
                    <a:gd name="connsiteX33" fmla="*/ 7646 w 10000"/>
                    <a:gd name="connsiteY33" fmla="*/ 8817 h 10000"/>
                    <a:gd name="connsiteX34" fmla="*/ 8116 w 10000"/>
                    <a:gd name="connsiteY34" fmla="*/ 8825 h 10000"/>
                    <a:gd name="connsiteX35" fmla="*/ 8116 w 10000"/>
                    <a:gd name="connsiteY35" fmla="*/ 8825 h 10000"/>
                    <a:gd name="connsiteX36" fmla="*/ 8442 w 10000"/>
                    <a:gd name="connsiteY36" fmla="*/ 8791 h 10000"/>
                    <a:gd name="connsiteX37" fmla="*/ 8702 w 10000"/>
                    <a:gd name="connsiteY37" fmla="*/ 8706 h 10000"/>
                    <a:gd name="connsiteX38" fmla="*/ 8636 w 10000"/>
                    <a:gd name="connsiteY38" fmla="*/ 8671 h 10000"/>
                    <a:gd name="connsiteX39" fmla="*/ 8636 w 10000"/>
                    <a:gd name="connsiteY39" fmla="*/ 8638 h 10000"/>
                    <a:gd name="connsiteX40" fmla="*/ 8312 w 10000"/>
                    <a:gd name="connsiteY40" fmla="*/ 8552 h 10000"/>
                    <a:gd name="connsiteX41" fmla="*/ 5975 w 10000"/>
                    <a:gd name="connsiteY41" fmla="*/ 8244 h 10000"/>
                    <a:gd name="connsiteX42" fmla="*/ 5975 w 10000"/>
                    <a:gd name="connsiteY42" fmla="*/ 8244 h 10000"/>
                    <a:gd name="connsiteX43" fmla="*/ 5714 w 10000"/>
                    <a:gd name="connsiteY43" fmla="*/ 8195 h 10000"/>
                    <a:gd name="connsiteX44" fmla="*/ 5519 w 10000"/>
                    <a:gd name="connsiteY44" fmla="*/ 8143 h 10000"/>
                    <a:gd name="connsiteX45" fmla="*/ 5389 w 10000"/>
                    <a:gd name="connsiteY45" fmla="*/ 8092 h 10000"/>
                    <a:gd name="connsiteX46" fmla="*/ 5389 w 10000"/>
                    <a:gd name="connsiteY46" fmla="*/ 8092 h 10000"/>
                    <a:gd name="connsiteX47" fmla="*/ 7729 w 10000"/>
                    <a:gd name="connsiteY47" fmla="*/ 8074 h 10000"/>
                    <a:gd name="connsiteX48" fmla="*/ 10000 w 10000"/>
                    <a:gd name="connsiteY48" fmla="*/ 8244 h 10000"/>
                    <a:gd name="connsiteX49" fmla="*/ 10000 w 10000"/>
                    <a:gd name="connsiteY49" fmla="*/ 6696 h 10000"/>
                    <a:gd name="connsiteX50" fmla="*/ 10000 w 10000"/>
                    <a:gd name="connsiteY50" fmla="*/ 6696 h 10000"/>
                    <a:gd name="connsiteX51" fmla="*/ 7404 w 10000"/>
                    <a:gd name="connsiteY51" fmla="*/ 6336 h 10000"/>
                    <a:gd name="connsiteX52" fmla="*/ 5975 w 10000"/>
                    <a:gd name="connsiteY52" fmla="*/ 6133 h 10000"/>
                    <a:gd name="connsiteX53" fmla="*/ 5975 w 10000"/>
                    <a:gd name="connsiteY53" fmla="*/ 6133 h 10000"/>
                    <a:gd name="connsiteX54" fmla="*/ 5975 w 10000"/>
                    <a:gd name="connsiteY54" fmla="*/ 6116 h 10000"/>
                    <a:gd name="connsiteX55" fmla="*/ 5975 w 10000"/>
                    <a:gd name="connsiteY55" fmla="*/ 6014 h 10000"/>
                    <a:gd name="connsiteX56" fmla="*/ 5975 w 10000"/>
                    <a:gd name="connsiteY56" fmla="*/ 6014 h 10000"/>
                    <a:gd name="connsiteX57" fmla="*/ 5779 w 10000"/>
                    <a:gd name="connsiteY57" fmla="*/ 5892 h 10000"/>
                    <a:gd name="connsiteX58" fmla="*/ 5389 w 10000"/>
                    <a:gd name="connsiteY58" fmla="*/ 5706 h 10000"/>
                    <a:gd name="connsiteX59" fmla="*/ 4545 w 10000"/>
                    <a:gd name="connsiteY59" fmla="*/ 5349 h 10000"/>
                    <a:gd name="connsiteX60" fmla="*/ 4545 w 10000"/>
                    <a:gd name="connsiteY60" fmla="*/ 5349 h 10000"/>
                    <a:gd name="connsiteX61" fmla="*/ 4352 w 10000"/>
                    <a:gd name="connsiteY61" fmla="*/ 5298 h 10000"/>
                    <a:gd name="connsiteX62" fmla="*/ 4026 w 10000"/>
                    <a:gd name="connsiteY62" fmla="*/ 5230 h 10000"/>
                    <a:gd name="connsiteX63" fmla="*/ 3052 w 10000"/>
                    <a:gd name="connsiteY63" fmla="*/ 5076 h 10000"/>
                    <a:gd name="connsiteX64" fmla="*/ 1689 w 10000"/>
                    <a:gd name="connsiteY64" fmla="*/ 4890 h 10000"/>
                    <a:gd name="connsiteX65" fmla="*/ 1689 w 10000"/>
                    <a:gd name="connsiteY65" fmla="*/ 4890 h 10000"/>
                    <a:gd name="connsiteX66" fmla="*/ 1103 w 10000"/>
                    <a:gd name="connsiteY66" fmla="*/ 4871 h 10000"/>
                    <a:gd name="connsiteX67" fmla="*/ 650 w 10000"/>
                    <a:gd name="connsiteY67" fmla="*/ 4854 h 10000"/>
                    <a:gd name="connsiteX68" fmla="*/ 521 w 10000"/>
                    <a:gd name="connsiteY68" fmla="*/ 4837 h 10000"/>
                    <a:gd name="connsiteX69" fmla="*/ 390 w 10000"/>
                    <a:gd name="connsiteY69" fmla="*/ 4821 h 10000"/>
                    <a:gd name="connsiteX70" fmla="*/ 390 w 10000"/>
                    <a:gd name="connsiteY70" fmla="*/ 4821 h 10000"/>
                    <a:gd name="connsiteX71" fmla="*/ 261 w 10000"/>
                    <a:gd name="connsiteY71" fmla="*/ 4751 h 10000"/>
                    <a:gd name="connsiteX72" fmla="*/ 65 w 10000"/>
                    <a:gd name="connsiteY72" fmla="*/ 4635 h 10000"/>
                    <a:gd name="connsiteX73" fmla="*/ 0 w 10000"/>
                    <a:gd name="connsiteY73" fmla="*/ 4566 h 10000"/>
                    <a:gd name="connsiteX74" fmla="*/ 0 w 10000"/>
                    <a:gd name="connsiteY74" fmla="*/ 4496 h 10000"/>
                    <a:gd name="connsiteX75" fmla="*/ 0 w 10000"/>
                    <a:gd name="connsiteY75" fmla="*/ 4446 h 10000"/>
                    <a:gd name="connsiteX76" fmla="*/ 131 w 10000"/>
                    <a:gd name="connsiteY76" fmla="*/ 4394 h 10000"/>
                    <a:gd name="connsiteX77" fmla="*/ 131 w 10000"/>
                    <a:gd name="connsiteY77" fmla="*/ 4394 h 10000"/>
                    <a:gd name="connsiteX78" fmla="*/ 455 w 10000"/>
                    <a:gd name="connsiteY78" fmla="*/ 4309 h 10000"/>
                    <a:gd name="connsiteX79" fmla="*/ 779 w 10000"/>
                    <a:gd name="connsiteY79" fmla="*/ 4226 h 10000"/>
                    <a:gd name="connsiteX80" fmla="*/ 975 w 10000"/>
                    <a:gd name="connsiteY80" fmla="*/ 4175 h 10000"/>
                    <a:gd name="connsiteX81" fmla="*/ 1103 w 10000"/>
                    <a:gd name="connsiteY81" fmla="*/ 4123 h 10000"/>
                    <a:gd name="connsiteX82" fmla="*/ 1103 w 10000"/>
                    <a:gd name="connsiteY82" fmla="*/ 4054 h 10000"/>
                    <a:gd name="connsiteX83" fmla="*/ 1103 w 10000"/>
                    <a:gd name="connsiteY83" fmla="*/ 3969 h 10000"/>
                    <a:gd name="connsiteX84" fmla="*/ 1103 w 10000"/>
                    <a:gd name="connsiteY84" fmla="*/ 3969 h 10000"/>
                    <a:gd name="connsiteX85" fmla="*/ 845 w 10000"/>
                    <a:gd name="connsiteY85" fmla="*/ 3730 h 10000"/>
                    <a:gd name="connsiteX86" fmla="*/ 521 w 10000"/>
                    <a:gd name="connsiteY86" fmla="*/ 3407 h 10000"/>
                    <a:gd name="connsiteX87" fmla="*/ 261 w 10000"/>
                    <a:gd name="connsiteY87" fmla="*/ 3116 h 10000"/>
                    <a:gd name="connsiteX88" fmla="*/ 195 w 10000"/>
                    <a:gd name="connsiteY88" fmla="*/ 3032 h 10000"/>
                    <a:gd name="connsiteX89" fmla="*/ 195 w 10000"/>
                    <a:gd name="connsiteY89" fmla="*/ 2998 h 10000"/>
                    <a:gd name="connsiteX90" fmla="*/ 261 w 10000"/>
                    <a:gd name="connsiteY90" fmla="*/ 2980 h 10000"/>
                    <a:gd name="connsiteX91" fmla="*/ 261 w 10000"/>
                    <a:gd name="connsiteY91" fmla="*/ 2980 h 10000"/>
                    <a:gd name="connsiteX92" fmla="*/ 650 w 10000"/>
                    <a:gd name="connsiteY92" fmla="*/ 2964 h 10000"/>
                    <a:gd name="connsiteX93" fmla="*/ 908 w 10000"/>
                    <a:gd name="connsiteY93" fmla="*/ 2964 h 10000"/>
                    <a:gd name="connsiteX94" fmla="*/ 1103 w 10000"/>
                    <a:gd name="connsiteY94" fmla="*/ 2980 h 10000"/>
                    <a:gd name="connsiteX95" fmla="*/ 1103 w 10000"/>
                    <a:gd name="connsiteY95" fmla="*/ 2980 h 10000"/>
                    <a:gd name="connsiteX96" fmla="*/ 1168 w 10000"/>
                    <a:gd name="connsiteY96" fmla="*/ 2980 h 10000"/>
                    <a:gd name="connsiteX97" fmla="*/ 1235 w 10000"/>
                    <a:gd name="connsiteY97" fmla="*/ 2948 h 10000"/>
                    <a:gd name="connsiteX98" fmla="*/ 1559 w 10000"/>
                    <a:gd name="connsiteY98" fmla="*/ 2845 h 10000"/>
                    <a:gd name="connsiteX99" fmla="*/ 2402 w 10000"/>
                    <a:gd name="connsiteY99" fmla="*/ 2503 h 10000"/>
                    <a:gd name="connsiteX100" fmla="*/ 3507 w 10000"/>
                    <a:gd name="connsiteY100" fmla="*/ 2012 h 10000"/>
                    <a:gd name="connsiteX101" fmla="*/ 3507 w 10000"/>
                    <a:gd name="connsiteY101" fmla="*/ 2012 h 10000"/>
                    <a:gd name="connsiteX102" fmla="*/ 3507 w 10000"/>
                    <a:gd name="connsiteY102" fmla="*/ 1942 h 10000"/>
                    <a:gd name="connsiteX103" fmla="*/ 3507 w 10000"/>
                    <a:gd name="connsiteY103" fmla="*/ 1786 h 10000"/>
                    <a:gd name="connsiteX104" fmla="*/ 3573 w 10000"/>
                    <a:gd name="connsiteY104" fmla="*/ 1686 h 10000"/>
                    <a:gd name="connsiteX105" fmla="*/ 3702 w 10000"/>
                    <a:gd name="connsiteY105" fmla="*/ 1600 h 10000"/>
                    <a:gd name="connsiteX106" fmla="*/ 3896 w 10000"/>
                    <a:gd name="connsiteY106" fmla="*/ 1499 h 10000"/>
                    <a:gd name="connsiteX107" fmla="*/ 4156 w 10000"/>
                    <a:gd name="connsiteY107" fmla="*/ 1415 h 10000"/>
                    <a:gd name="connsiteX108" fmla="*/ 4156 w 10000"/>
                    <a:gd name="connsiteY108" fmla="*/ 1415 h 10000"/>
                    <a:gd name="connsiteX109" fmla="*/ 4806 w 10000"/>
                    <a:gd name="connsiteY109" fmla="*/ 1245 h 10000"/>
                    <a:gd name="connsiteX110" fmla="*/ 5455 w 10000"/>
                    <a:gd name="connsiteY110" fmla="*/ 1021 h 10000"/>
                    <a:gd name="connsiteX111" fmla="*/ 6104 w 10000"/>
                    <a:gd name="connsiteY111" fmla="*/ 817 h 10000"/>
                    <a:gd name="connsiteX112" fmla="*/ 6559 w 10000"/>
                    <a:gd name="connsiteY112" fmla="*/ 632 h 10000"/>
                    <a:gd name="connsiteX113" fmla="*/ 6559 w 10000"/>
                    <a:gd name="connsiteY113" fmla="*/ 632 h 10000"/>
                    <a:gd name="connsiteX114" fmla="*/ 6882 w 10000"/>
                    <a:gd name="connsiteY114" fmla="*/ 461 h 10000"/>
                    <a:gd name="connsiteX115" fmla="*/ 7273 w 10000"/>
                    <a:gd name="connsiteY115" fmla="*/ 255 h 10000"/>
                    <a:gd name="connsiteX116" fmla="*/ 7663 w 10000"/>
                    <a:gd name="connsiteY116" fmla="*/ 101 h 10000"/>
                    <a:gd name="connsiteX117" fmla="*/ 7856 w 10000"/>
                    <a:gd name="connsiteY117" fmla="*/ 31 h 10000"/>
                    <a:gd name="connsiteX118" fmla="*/ 8051 w 10000"/>
                    <a:gd name="connsiteY118" fmla="*/ 16 h 10000"/>
                    <a:gd name="connsiteX119" fmla="*/ 8051 w 10000"/>
                    <a:gd name="connsiteY119" fmla="*/ 16 h 10000"/>
                    <a:gd name="connsiteX120" fmla="*/ 8442 w 10000"/>
                    <a:gd name="connsiteY120" fmla="*/ 0 h 10000"/>
                    <a:gd name="connsiteX121" fmla="*/ 8961 w 10000"/>
                    <a:gd name="connsiteY121" fmla="*/ 0 h 10000"/>
                    <a:gd name="connsiteX122" fmla="*/ 10000 w 10000"/>
                    <a:gd name="connsiteY122" fmla="*/ 16 h 10000"/>
                    <a:gd name="connsiteX123" fmla="*/ 5584 w 10000"/>
                    <a:gd name="connsiteY123" fmla="*/ 9898 h 10000"/>
                    <a:gd name="connsiteX124" fmla="*/ 5389 w 10000"/>
                    <a:gd name="connsiteY124" fmla="*/ 9558 h 10000"/>
                    <a:gd name="connsiteX125" fmla="*/ 5389 w 10000"/>
                    <a:gd name="connsiteY125" fmla="*/ 9489 h 10000"/>
                    <a:gd name="connsiteX126" fmla="*/ 5259 w 10000"/>
                    <a:gd name="connsiteY126" fmla="*/ 9405 h 10000"/>
                    <a:gd name="connsiteX127" fmla="*/ 5195 w 10000"/>
                    <a:gd name="connsiteY127" fmla="*/ 9389 h 10000"/>
                    <a:gd name="connsiteX128" fmla="*/ 4026 w 10000"/>
                    <a:gd name="connsiteY128" fmla="*/ 9507 h 10000"/>
                    <a:gd name="connsiteX129" fmla="*/ 3702 w 10000"/>
                    <a:gd name="connsiteY129" fmla="*/ 9537 h 10000"/>
                    <a:gd name="connsiteX130" fmla="*/ 3247 w 10000"/>
                    <a:gd name="connsiteY130" fmla="*/ 9369 h 10000"/>
                    <a:gd name="connsiteX131" fmla="*/ 3247 w 10000"/>
                    <a:gd name="connsiteY131" fmla="*/ 9369 h 10000"/>
                    <a:gd name="connsiteX132" fmla="*/ 3117 w 10000"/>
                    <a:gd name="connsiteY132" fmla="*/ 9183 h 10000"/>
                    <a:gd name="connsiteX133" fmla="*/ 3117 w 10000"/>
                    <a:gd name="connsiteY133" fmla="*/ 9183 h 10000"/>
                    <a:gd name="connsiteX134" fmla="*/ 3312 w 10000"/>
                    <a:gd name="connsiteY134" fmla="*/ 9129 h 10000"/>
                    <a:gd name="connsiteX135" fmla="*/ 3443 w 10000"/>
                    <a:gd name="connsiteY135" fmla="*/ 9113 h 10000"/>
                    <a:gd name="connsiteX136" fmla="*/ 2661 w 10000"/>
                    <a:gd name="connsiteY136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779 w 10000"/>
                    <a:gd name="connsiteY3" fmla="*/ 9898 h 10000"/>
                    <a:gd name="connsiteX4" fmla="*/ 5519 w 10000"/>
                    <a:gd name="connsiteY4" fmla="*/ 9878 h 10000"/>
                    <a:gd name="connsiteX5" fmla="*/ 5389 w 10000"/>
                    <a:gd name="connsiteY5" fmla="*/ 9847 h 10000"/>
                    <a:gd name="connsiteX6" fmla="*/ 5324 w 10000"/>
                    <a:gd name="connsiteY6" fmla="*/ 9810 h 10000"/>
                    <a:gd name="connsiteX7" fmla="*/ 5389 w 10000"/>
                    <a:gd name="connsiteY7" fmla="*/ 9607 h 10000"/>
                    <a:gd name="connsiteX8" fmla="*/ 5455 w 10000"/>
                    <a:gd name="connsiteY8" fmla="*/ 9537 h 10000"/>
                    <a:gd name="connsiteX9" fmla="*/ 5389 w 10000"/>
                    <a:gd name="connsiteY9" fmla="*/ 9456 h 10000"/>
                    <a:gd name="connsiteX10" fmla="*/ 5389 w 10000"/>
                    <a:gd name="connsiteY10" fmla="*/ 9456 h 10000"/>
                    <a:gd name="connsiteX11" fmla="*/ 5324 w 10000"/>
                    <a:gd name="connsiteY11" fmla="*/ 9405 h 10000"/>
                    <a:gd name="connsiteX12" fmla="*/ 5259 w 10000"/>
                    <a:gd name="connsiteY12" fmla="*/ 9369 h 10000"/>
                    <a:gd name="connsiteX13" fmla="*/ 5128 w 10000"/>
                    <a:gd name="connsiteY13" fmla="*/ 9369 h 10000"/>
                    <a:gd name="connsiteX14" fmla="*/ 4936 w 10000"/>
                    <a:gd name="connsiteY14" fmla="*/ 9389 h 10000"/>
                    <a:gd name="connsiteX15" fmla="*/ 4545 w 10000"/>
                    <a:gd name="connsiteY15" fmla="*/ 9438 h 10000"/>
                    <a:gd name="connsiteX16" fmla="*/ 4026 w 10000"/>
                    <a:gd name="connsiteY16" fmla="*/ 9522 h 10000"/>
                    <a:gd name="connsiteX17" fmla="*/ 4026 w 10000"/>
                    <a:gd name="connsiteY17" fmla="*/ 9522 h 10000"/>
                    <a:gd name="connsiteX18" fmla="*/ 3702 w 10000"/>
                    <a:gd name="connsiteY18" fmla="*/ 9537 h 10000"/>
                    <a:gd name="connsiteX19" fmla="*/ 3573 w 10000"/>
                    <a:gd name="connsiteY19" fmla="*/ 9537 h 10000"/>
                    <a:gd name="connsiteX20" fmla="*/ 3507 w 10000"/>
                    <a:gd name="connsiteY20" fmla="*/ 9522 h 10000"/>
                    <a:gd name="connsiteX21" fmla="*/ 3247 w 10000"/>
                    <a:gd name="connsiteY21" fmla="*/ 9369 h 10000"/>
                    <a:gd name="connsiteX22" fmla="*/ 3247 w 10000"/>
                    <a:gd name="connsiteY22" fmla="*/ 9369 h 10000"/>
                    <a:gd name="connsiteX23" fmla="*/ 3117 w 10000"/>
                    <a:gd name="connsiteY23" fmla="*/ 9319 h 10000"/>
                    <a:gd name="connsiteX24" fmla="*/ 3117 w 10000"/>
                    <a:gd name="connsiteY24" fmla="*/ 9267 h 10000"/>
                    <a:gd name="connsiteX25" fmla="*/ 3117 w 10000"/>
                    <a:gd name="connsiteY25" fmla="*/ 9233 h 10000"/>
                    <a:gd name="connsiteX26" fmla="*/ 3184 w 10000"/>
                    <a:gd name="connsiteY26" fmla="*/ 9198 h 10000"/>
                    <a:gd name="connsiteX27" fmla="*/ 3312 w 10000"/>
                    <a:gd name="connsiteY27" fmla="*/ 9129 h 10000"/>
                    <a:gd name="connsiteX28" fmla="*/ 3443 w 10000"/>
                    <a:gd name="connsiteY28" fmla="*/ 9113 h 10000"/>
                    <a:gd name="connsiteX29" fmla="*/ 3443 w 10000"/>
                    <a:gd name="connsiteY29" fmla="*/ 9113 h 10000"/>
                    <a:gd name="connsiteX30" fmla="*/ 3443 w 10000"/>
                    <a:gd name="connsiteY30" fmla="*/ 9097 h 10000"/>
                    <a:gd name="connsiteX31" fmla="*/ 3507 w 10000"/>
                    <a:gd name="connsiteY31" fmla="*/ 9079 h 10000"/>
                    <a:gd name="connsiteX32" fmla="*/ 7646 w 10000"/>
                    <a:gd name="connsiteY32" fmla="*/ 8817 h 10000"/>
                    <a:gd name="connsiteX33" fmla="*/ 8116 w 10000"/>
                    <a:gd name="connsiteY33" fmla="*/ 8825 h 10000"/>
                    <a:gd name="connsiteX34" fmla="*/ 8116 w 10000"/>
                    <a:gd name="connsiteY34" fmla="*/ 8825 h 10000"/>
                    <a:gd name="connsiteX35" fmla="*/ 8442 w 10000"/>
                    <a:gd name="connsiteY35" fmla="*/ 8791 h 10000"/>
                    <a:gd name="connsiteX36" fmla="*/ 8702 w 10000"/>
                    <a:gd name="connsiteY36" fmla="*/ 8706 h 10000"/>
                    <a:gd name="connsiteX37" fmla="*/ 8636 w 10000"/>
                    <a:gd name="connsiteY37" fmla="*/ 8671 h 10000"/>
                    <a:gd name="connsiteX38" fmla="*/ 8636 w 10000"/>
                    <a:gd name="connsiteY38" fmla="*/ 8638 h 10000"/>
                    <a:gd name="connsiteX39" fmla="*/ 8312 w 10000"/>
                    <a:gd name="connsiteY39" fmla="*/ 8552 h 10000"/>
                    <a:gd name="connsiteX40" fmla="*/ 5975 w 10000"/>
                    <a:gd name="connsiteY40" fmla="*/ 8244 h 10000"/>
                    <a:gd name="connsiteX41" fmla="*/ 5975 w 10000"/>
                    <a:gd name="connsiteY41" fmla="*/ 8244 h 10000"/>
                    <a:gd name="connsiteX42" fmla="*/ 5714 w 10000"/>
                    <a:gd name="connsiteY42" fmla="*/ 8195 h 10000"/>
                    <a:gd name="connsiteX43" fmla="*/ 5519 w 10000"/>
                    <a:gd name="connsiteY43" fmla="*/ 8143 h 10000"/>
                    <a:gd name="connsiteX44" fmla="*/ 5389 w 10000"/>
                    <a:gd name="connsiteY44" fmla="*/ 8092 h 10000"/>
                    <a:gd name="connsiteX45" fmla="*/ 5389 w 10000"/>
                    <a:gd name="connsiteY45" fmla="*/ 8092 h 10000"/>
                    <a:gd name="connsiteX46" fmla="*/ 7729 w 10000"/>
                    <a:gd name="connsiteY46" fmla="*/ 8074 h 10000"/>
                    <a:gd name="connsiteX47" fmla="*/ 10000 w 10000"/>
                    <a:gd name="connsiteY47" fmla="*/ 8244 h 10000"/>
                    <a:gd name="connsiteX48" fmla="*/ 10000 w 10000"/>
                    <a:gd name="connsiteY48" fmla="*/ 6696 h 10000"/>
                    <a:gd name="connsiteX49" fmla="*/ 10000 w 10000"/>
                    <a:gd name="connsiteY49" fmla="*/ 6696 h 10000"/>
                    <a:gd name="connsiteX50" fmla="*/ 7404 w 10000"/>
                    <a:gd name="connsiteY50" fmla="*/ 6336 h 10000"/>
                    <a:gd name="connsiteX51" fmla="*/ 5975 w 10000"/>
                    <a:gd name="connsiteY51" fmla="*/ 6133 h 10000"/>
                    <a:gd name="connsiteX52" fmla="*/ 5975 w 10000"/>
                    <a:gd name="connsiteY52" fmla="*/ 6133 h 10000"/>
                    <a:gd name="connsiteX53" fmla="*/ 5975 w 10000"/>
                    <a:gd name="connsiteY53" fmla="*/ 6116 h 10000"/>
                    <a:gd name="connsiteX54" fmla="*/ 5975 w 10000"/>
                    <a:gd name="connsiteY54" fmla="*/ 6014 h 10000"/>
                    <a:gd name="connsiteX55" fmla="*/ 5975 w 10000"/>
                    <a:gd name="connsiteY55" fmla="*/ 6014 h 10000"/>
                    <a:gd name="connsiteX56" fmla="*/ 5779 w 10000"/>
                    <a:gd name="connsiteY56" fmla="*/ 5892 h 10000"/>
                    <a:gd name="connsiteX57" fmla="*/ 5389 w 10000"/>
                    <a:gd name="connsiteY57" fmla="*/ 5706 h 10000"/>
                    <a:gd name="connsiteX58" fmla="*/ 4545 w 10000"/>
                    <a:gd name="connsiteY58" fmla="*/ 5349 h 10000"/>
                    <a:gd name="connsiteX59" fmla="*/ 4545 w 10000"/>
                    <a:gd name="connsiteY59" fmla="*/ 5349 h 10000"/>
                    <a:gd name="connsiteX60" fmla="*/ 4352 w 10000"/>
                    <a:gd name="connsiteY60" fmla="*/ 5298 h 10000"/>
                    <a:gd name="connsiteX61" fmla="*/ 4026 w 10000"/>
                    <a:gd name="connsiteY61" fmla="*/ 5230 h 10000"/>
                    <a:gd name="connsiteX62" fmla="*/ 3052 w 10000"/>
                    <a:gd name="connsiteY62" fmla="*/ 5076 h 10000"/>
                    <a:gd name="connsiteX63" fmla="*/ 1689 w 10000"/>
                    <a:gd name="connsiteY63" fmla="*/ 4890 h 10000"/>
                    <a:gd name="connsiteX64" fmla="*/ 1689 w 10000"/>
                    <a:gd name="connsiteY64" fmla="*/ 4890 h 10000"/>
                    <a:gd name="connsiteX65" fmla="*/ 1103 w 10000"/>
                    <a:gd name="connsiteY65" fmla="*/ 4871 h 10000"/>
                    <a:gd name="connsiteX66" fmla="*/ 650 w 10000"/>
                    <a:gd name="connsiteY66" fmla="*/ 4854 h 10000"/>
                    <a:gd name="connsiteX67" fmla="*/ 521 w 10000"/>
                    <a:gd name="connsiteY67" fmla="*/ 4837 h 10000"/>
                    <a:gd name="connsiteX68" fmla="*/ 390 w 10000"/>
                    <a:gd name="connsiteY68" fmla="*/ 4821 h 10000"/>
                    <a:gd name="connsiteX69" fmla="*/ 390 w 10000"/>
                    <a:gd name="connsiteY69" fmla="*/ 4821 h 10000"/>
                    <a:gd name="connsiteX70" fmla="*/ 261 w 10000"/>
                    <a:gd name="connsiteY70" fmla="*/ 4751 h 10000"/>
                    <a:gd name="connsiteX71" fmla="*/ 65 w 10000"/>
                    <a:gd name="connsiteY71" fmla="*/ 4635 h 10000"/>
                    <a:gd name="connsiteX72" fmla="*/ 0 w 10000"/>
                    <a:gd name="connsiteY72" fmla="*/ 4566 h 10000"/>
                    <a:gd name="connsiteX73" fmla="*/ 0 w 10000"/>
                    <a:gd name="connsiteY73" fmla="*/ 4496 h 10000"/>
                    <a:gd name="connsiteX74" fmla="*/ 0 w 10000"/>
                    <a:gd name="connsiteY74" fmla="*/ 4446 h 10000"/>
                    <a:gd name="connsiteX75" fmla="*/ 131 w 10000"/>
                    <a:gd name="connsiteY75" fmla="*/ 4394 h 10000"/>
                    <a:gd name="connsiteX76" fmla="*/ 131 w 10000"/>
                    <a:gd name="connsiteY76" fmla="*/ 4394 h 10000"/>
                    <a:gd name="connsiteX77" fmla="*/ 455 w 10000"/>
                    <a:gd name="connsiteY77" fmla="*/ 4309 h 10000"/>
                    <a:gd name="connsiteX78" fmla="*/ 779 w 10000"/>
                    <a:gd name="connsiteY78" fmla="*/ 4226 h 10000"/>
                    <a:gd name="connsiteX79" fmla="*/ 975 w 10000"/>
                    <a:gd name="connsiteY79" fmla="*/ 4175 h 10000"/>
                    <a:gd name="connsiteX80" fmla="*/ 1103 w 10000"/>
                    <a:gd name="connsiteY80" fmla="*/ 4123 h 10000"/>
                    <a:gd name="connsiteX81" fmla="*/ 1103 w 10000"/>
                    <a:gd name="connsiteY81" fmla="*/ 4054 h 10000"/>
                    <a:gd name="connsiteX82" fmla="*/ 1103 w 10000"/>
                    <a:gd name="connsiteY82" fmla="*/ 3969 h 10000"/>
                    <a:gd name="connsiteX83" fmla="*/ 1103 w 10000"/>
                    <a:gd name="connsiteY83" fmla="*/ 3969 h 10000"/>
                    <a:gd name="connsiteX84" fmla="*/ 845 w 10000"/>
                    <a:gd name="connsiteY84" fmla="*/ 3730 h 10000"/>
                    <a:gd name="connsiteX85" fmla="*/ 521 w 10000"/>
                    <a:gd name="connsiteY85" fmla="*/ 3407 h 10000"/>
                    <a:gd name="connsiteX86" fmla="*/ 261 w 10000"/>
                    <a:gd name="connsiteY86" fmla="*/ 3116 h 10000"/>
                    <a:gd name="connsiteX87" fmla="*/ 195 w 10000"/>
                    <a:gd name="connsiteY87" fmla="*/ 3032 h 10000"/>
                    <a:gd name="connsiteX88" fmla="*/ 195 w 10000"/>
                    <a:gd name="connsiteY88" fmla="*/ 2998 h 10000"/>
                    <a:gd name="connsiteX89" fmla="*/ 261 w 10000"/>
                    <a:gd name="connsiteY89" fmla="*/ 2980 h 10000"/>
                    <a:gd name="connsiteX90" fmla="*/ 261 w 10000"/>
                    <a:gd name="connsiteY90" fmla="*/ 2980 h 10000"/>
                    <a:gd name="connsiteX91" fmla="*/ 650 w 10000"/>
                    <a:gd name="connsiteY91" fmla="*/ 2964 h 10000"/>
                    <a:gd name="connsiteX92" fmla="*/ 908 w 10000"/>
                    <a:gd name="connsiteY92" fmla="*/ 2964 h 10000"/>
                    <a:gd name="connsiteX93" fmla="*/ 1103 w 10000"/>
                    <a:gd name="connsiteY93" fmla="*/ 2980 h 10000"/>
                    <a:gd name="connsiteX94" fmla="*/ 1103 w 10000"/>
                    <a:gd name="connsiteY94" fmla="*/ 2980 h 10000"/>
                    <a:gd name="connsiteX95" fmla="*/ 1168 w 10000"/>
                    <a:gd name="connsiteY95" fmla="*/ 2980 h 10000"/>
                    <a:gd name="connsiteX96" fmla="*/ 1235 w 10000"/>
                    <a:gd name="connsiteY96" fmla="*/ 2948 h 10000"/>
                    <a:gd name="connsiteX97" fmla="*/ 1559 w 10000"/>
                    <a:gd name="connsiteY97" fmla="*/ 2845 h 10000"/>
                    <a:gd name="connsiteX98" fmla="*/ 2402 w 10000"/>
                    <a:gd name="connsiteY98" fmla="*/ 2503 h 10000"/>
                    <a:gd name="connsiteX99" fmla="*/ 3507 w 10000"/>
                    <a:gd name="connsiteY99" fmla="*/ 2012 h 10000"/>
                    <a:gd name="connsiteX100" fmla="*/ 3507 w 10000"/>
                    <a:gd name="connsiteY100" fmla="*/ 2012 h 10000"/>
                    <a:gd name="connsiteX101" fmla="*/ 3507 w 10000"/>
                    <a:gd name="connsiteY101" fmla="*/ 1942 h 10000"/>
                    <a:gd name="connsiteX102" fmla="*/ 3507 w 10000"/>
                    <a:gd name="connsiteY102" fmla="*/ 1786 h 10000"/>
                    <a:gd name="connsiteX103" fmla="*/ 3573 w 10000"/>
                    <a:gd name="connsiteY103" fmla="*/ 1686 h 10000"/>
                    <a:gd name="connsiteX104" fmla="*/ 3702 w 10000"/>
                    <a:gd name="connsiteY104" fmla="*/ 1600 h 10000"/>
                    <a:gd name="connsiteX105" fmla="*/ 3896 w 10000"/>
                    <a:gd name="connsiteY105" fmla="*/ 1499 h 10000"/>
                    <a:gd name="connsiteX106" fmla="*/ 4156 w 10000"/>
                    <a:gd name="connsiteY106" fmla="*/ 1415 h 10000"/>
                    <a:gd name="connsiteX107" fmla="*/ 4156 w 10000"/>
                    <a:gd name="connsiteY107" fmla="*/ 1415 h 10000"/>
                    <a:gd name="connsiteX108" fmla="*/ 4806 w 10000"/>
                    <a:gd name="connsiteY108" fmla="*/ 1245 h 10000"/>
                    <a:gd name="connsiteX109" fmla="*/ 5455 w 10000"/>
                    <a:gd name="connsiteY109" fmla="*/ 1021 h 10000"/>
                    <a:gd name="connsiteX110" fmla="*/ 6104 w 10000"/>
                    <a:gd name="connsiteY110" fmla="*/ 817 h 10000"/>
                    <a:gd name="connsiteX111" fmla="*/ 6559 w 10000"/>
                    <a:gd name="connsiteY111" fmla="*/ 632 h 10000"/>
                    <a:gd name="connsiteX112" fmla="*/ 6559 w 10000"/>
                    <a:gd name="connsiteY112" fmla="*/ 632 h 10000"/>
                    <a:gd name="connsiteX113" fmla="*/ 6882 w 10000"/>
                    <a:gd name="connsiteY113" fmla="*/ 461 h 10000"/>
                    <a:gd name="connsiteX114" fmla="*/ 7273 w 10000"/>
                    <a:gd name="connsiteY114" fmla="*/ 255 h 10000"/>
                    <a:gd name="connsiteX115" fmla="*/ 7663 w 10000"/>
                    <a:gd name="connsiteY115" fmla="*/ 101 h 10000"/>
                    <a:gd name="connsiteX116" fmla="*/ 7856 w 10000"/>
                    <a:gd name="connsiteY116" fmla="*/ 31 h 10000"/>
                    <a:gd name="connsiteX117" fmla="*/ 8051 w 10000"/>
                    <a:gd name="connsiteY117" fmla="*/ 16 h 10000"/>
                    <a:gd name="connsiteX118" fmla="*/ 8051 w 10000"/>
                    <a:gd name="connsiteY118" fmla="*/ 16 h 10000"/>
                    <a:gd name="connsiteX119" fmla="*/ 8442 w 10000"/>
                    <a:gd name="connsiteY119" fmla="*/ 0 h 10000"/>
                    <a:gd name="connsiteX120" fmla="*/ 8961 w 10000"/>
                    <a:gd name="connsiteY120" fmla="*/ 0 h 10000"/>
                    <a:gd name="connsiteX121" fmla="*/ 10000 w 10000"/>
                    <a:gd name="connsiteY121" fmla="*/ 16 h 10000"/>
                    <a:gd name="connsiteX122" fmla="*/ 5584 w 10000"/>
                    <a:gd name="connsiteY122" fmla="*/ 9898 h 10000"/>
                    <a:gd name="connsiteX123" fmla="*/ 5389 w 10000"/>
                    <a:gd name="connsiteY123" fmla="*/ 9558 h 10000"/>
                    <a:gd name="connsiteX124" fmla="*/ 5389 w 10000"/>
                    <a:gd name="connsiteY124" fmla="*/ 9489 h 10000"/>
                    <a:gd name="connsiteX125" fmla="*/ 5259 w 10000"/>
                    <a:gd name="connsiteY125" fmla="*/ 9405 h 10000"/>
                    <a:gd name="connsiteX126" fmla="*/ 5195 w 10000"/>
                    <a:gd name="connsiteY126" fmla="*/ 9389 h 10000"/>
                    <a:gd name="connsiteX127" fmla="*/ 4026 w 10000"/>
                    <a:gd name="connsiteY127" fmla="*/ 9507 h 10000"/>
                    <a:gd name="connsiteX128" fmla="*/ 3702 w 10000"/>
                    <a:gd name="connsiteY128" fmla="*/ 9537 h 10000"/>
                    <a:gd name="connsiteX129" fmla="*/ 3247 w 10000"/>
                    <a:gd name="connsiteY129" fmla="*/ 9369 h 10000"/>
                    <a:gd name="connsiteX130" fmla="*/ 3247 w 10000"/>
                    <a:gd name="connsiteY130" fmla="*/ 9369 h 10000"/>
                    <a:gd name="connsiteX131" fmla="*/ 3117 w 10000"/>
                    <a:gd name="connsiteY131" fmla="*/ 9183 h 10000"/>
                    <a:gd name="connsiteX132" fmla="*/ 3117 w 10000"/>
                    <a:gd name="connsiteY132" fmla="*/ 9183 h 10000"/>
                    <a:gd name="connsiteX133" fmla="*/ 3312 w 10000"/>
                    <a:gd name="connsiteY133" fmla="*/ 9129 h 10000"/>
                    <a:gd name="connsiteX134" fmla="*/ 3443 w 10000"/>
                    <a:gd name="connsiteY134" fmla="*/ 9113 h 10000"/>
                    <a:gd name="connsiteX135" fmla="*/ 2661 w 10000"/>
                    <a:gd name="connsiteY135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779 w 10000"/>
                    <a:gd name="connsiteY3" fmla="*/ 9898 h 10000"/>
                    <a:gd name="connsiteX4" fmla="*/ 5519 w 10000"/>
                    <a:gd name="connsiteY4" fmla="*/ 9878 h 10000"/>
                    <a:gd name="connsiteX5" fmla="*/ 5389 w 10000"/>
                    <a:gd name="connsiteY5" fmla="*/ 9847 h 10000"/>
                    <a:gd name="connsiteX6" fmla="*/ 5324 w 10000"/>
                    <a:gd name="connsiteY6" fmla="*/ 9810 h 10000"/>
                    <a:gd name="connsiteX7" fmla="*/ 5389 w 10000"/>
                    <a:gd name="connsiteY7" fmla="*/ 9607 h 10000"/>
                    <a:gd name="connsiteX8" fmla="*/ 5455 w 10000"/>
                    <a:gd name="connsiteY8" fmla="*/ 9537 h 10000"/>
                    <a:gd name="connsiteX9" fmla="*/ 5389 w 10000"/>
                    <a:gd name="connsiteY9" fmla="*/ 9456 h 10000"/>
                    <a:gd name="connsiteX10" fmla="*/ 5389 w 10000"/>
                    <a:gd name="connsiteY10" fmla="*/ 9456 h 10000"/>
                    <a:gd name="connsiteX11" fmla="*/ 5324 w 10000"/>
                    <a:gd name="connsiteY11" fmla="*/ 9405 h 10000"/>
                    <a:gd name="connsiteX12" fmla="*/ 5259 w 10000"/>
                    <a:gd name="connsiteY12" fmla="*/ 9369 h 10000"/>
                    <a:gd name="connsiteX13" fmla="*/ 5128 w 10000"/>
                    <a:gd name="connsiteY13" fmla="*/ 9369 h 10000"/>
                    <a:gd name="connsiteX14" fmla="*/ 4936 w 10000"/>
                    <a:gd name="connsiteY14" fmla="*/ 9389 h 10000"/>
                    <a:gd name="connsiteX15" fmla="*/ 4545 w 10000"/>
                    <a:gd name="connsiteY15" fmla="*/ 9438 h 10000"/>
                    <a:gd name="connsiteX16" fmla="*/ 4026 w 10000"/>
                    <a:gd name="connsiteY16" fmla="*/ 9522 h 10000"/>
                    <a:gd name="connsiteX17" fmla="*/ 4026 w 10000"/>
                    <a:gd name="connsiteY17" fmla="*/ 9522 h 10000"/>
                    <a:gd name="connsiteX18" fmla="*/ 3702 w 10000"/>
                    <a:gd name="connsiteY18" fmla="*/ 9537 h 10000"/>
                    <a:gd name="connsiteX19" fmla="*/ 3573 w 10000"/>
                    <a:gd name="connsiteY19" fmla="*/ 9537 h 10000"/>
                    <a:gd name="connsiteX20" fmla="*/ 3507 w 10000"/>
                    <a:gd name="connsiteY20" fmla="*/ 9522 h 10000"/>
                    <a:gd name="connsiteX21" fmla="*/ 3247 w 10000"/>
                    <a:gd name="connsiteY21" fmla="*/ 9369 h 10000"/>
                    <a:gd name="connsiteX22" fmla="*/ 3247 w 10000"/>
                    <a:gd name="connsiteY22" fmla="*/ 9369 h 10000"/>
                    <a:gd name="connsiteX23" fmla="*/ 3117 w 10000"/>
                    <a:gd name="connsiteY23" fmla="*/ 9319 h 10000"/>
                    <a:gd name="connsiteX24" fmla="*/ 3117 w 10000"/>
                    <a:gd name="connsiteY24" fmla="*/ 9267 h 10000"/>
                    <a:gd name="connsiteX25" fmla="*/ 3117 w 10000"/>
                    <a:gd name="connsiteY25" fmla="*/ 9233 h 10000"/>
                    <a:gd name="connsiteX26" fmla="*/ 3184 w 10000"/>
                    <a:gd name="connsiteY26" fmla="*/ 9198 h 10000"/>
                    <a:gd name="connsiteX27" fmla="*/ 3312 w 10000"/>
                    <a:gd name="connsiteY27" fmla="*/ 9129 h 10000"/>
                    <a:gd name="connsiteX28" fmla="*/ 3443 w 10000"/>
                    <a:gd name="connsiteY28" fmla="*/ 9113 h 10000"/>
                    <a:gd name="connsiteX29" fmla="*/ 3443 w 10000"/>
                    <a:gd name="connsiteY29" fmla="*/ 9113 h 10000"/>
                    <a:gd name="connsiteX30" fmla="*/ 3443 w 10000"/>
                    <a:gd name="connsiteY30" fmla="*/ 9097 h 10000"/>
                    <a:gd name="connsiteX31" fmla="*/ 3507 w 10000"/>
                    <a:gd name="connsiteY31" fmla="*/ 9079 h 10000"/>
                    <a:gd name="connsiteX32" fmla="*/ 7646 w 10000"/>
                    <a:gd name="connsiteY32" fmla="*/ 8817 h 10000"/>
                    <a:gd name="connsiteX33" fmla="*/ 8116 w 10000"/>
                    <a:gd name="connsiteY33" fmla="*/ 8825 h 10000"/>
                    <a:gd name="connsiteX34" fmla="*/ 8116 w 10000"/>
                    <a:gd name="connsiteY34" fmla="*/ 8825 h 10000"/>
                    <a:gd name="connsiteX35" fmla="*/ 8442 w 10000"/>
                    <a:gd name="connsiteY35" fmla="*/ 8791 h 10000"/>
                    <a:gd name="connsiteX36" fmla="*/ 8702 w 10000"/>
                    <a:gd name="connsiteY36" fmla="*/ 8706 h 10000"/>
                    <a:gd name="connsiteX37" fmla="*/ 8636 w 10000"/>
                    <a:gd name="connsiteY37" fmla="*/ 8671 h 10000"/>
                    <a:gd name="connsiteX38" fmla="*/ 8636 w 10000"/>
                    <a:gd name="connsiteY38" fmla="*/ 8638 h 10000"/>
                    <a:gd name="connsiteX39" fmla="*/ 8312 w 10000"/>
                    <a:gd name="connsiteY39" fmla="*/ 8552 h 10000"/>
                    <a:gd name="connsiteX40" fmla="*/ 5975 w 10000"/>
                    <a:gd name="connsiteY40" fmla="*/ 8244 h 10000"/>
                    <a:gd name="connsiteX41" fmla="*/ 5975 w 10000"/>
                    <a:gd name="connsiteY41" fmla="*/ 8244 h 10000"/>
                    <a:gd name="connsiteX42" fmla="*/ 5714 w 10000"/>
                    <a:gd name="connsiteY42" fmla="*/ 8195 h 10000"/>
                    <a:gd name="connsiteX43" fmla="*/ 5519 w 10000"/>
                    <a:gd name="connsiteY43" fmla="*/ 8143 h 10000"/>
                    <a:gd name="connsiteX44" fmla="*/ 5389 w 10000"/>
                    <a:gd name="connsiteY44" fmla="*/ 8092 h 10000"/>
                    <a:gd name="connsiteX45" fmla="*/ 5389 w 10000"/>
                    <a:gd name="connsiteY45" fmla="*/ 8092 h 10000"/>
                    <a:gd name="connsiteX46" fmla="*/ 7729 w 10000"/>
                    <a:gd name="connsiteY46" fmla="*/ 8074 h 10000"/>
                    <a:gd name="connsiteX47" fmla="*/ 10000 w 10000"/>
                    <a:gd name="connsiteY47" fmla="*/ 8244 h 10000"/>
                    <a:gd name="connsiteX48" fmla="*/ 10000 w 10000"/>
                    <a:gd name="connsiteY48" fmla="*/ 6696 h 10000"/>
                    <a:gd name="connsiteX49" fmla="*/ 10000 w 10000"/>
                    <a:gd name="connsiteY49" fmla="*/ 6696 h 10000"/>
                    <a:gd name="connsiteX50" fmla="*/ 7404 w 10000"/>
                    <a:gd name="connsiteY50" fmla="*/ 6336 h 10000"/>
                    <a:gd name="connsiteX51" fmla="*/ 5975 w 10000"/>
                    <a:gd name="connsiteY51" fmla="*/ 6133 h 10000"/>
                    <a:gd name="connsiteX52" fmla="*/ 5975 w 10000"/>
                    <a:gd name="connsiteY52" fmla="*/ 6133 h 10000"/>
                    <a:gd name="connsiteX53" fmla="*/ 5975 w 10000"/>
                    <a:gd name="connsiteY53" fmla="*/ 6116 h 10000"/>
                    <a:gd name="connsiteX54" fmla="*/ 5975 w 10000"/>
                    <a:gd name="connsiteY54" fmla="*/ 6014 h 10000"/>
                    <a:gd name="connsiteX55" fmla="*/ 5975 w 10000"/>
                    <a:gd name="connsiteY55" fmla="*/ 6014 h 10000"/>
                    <a:gd name="connsiteX56" fmla="*/ 5779 w 10000"/>
                    <a:gd name="connsiteY56" fmla="*/ 5892 h 10000"/>
                    <a:gd name="connsiteX57" fmla="*/ 5389 w 10000"/>
                    <a:gd name="connsiteY57" fmla="*/ 5706 h 10000"/>
                    <a:gd name="connsiteX58" fmla="*/ 4545 w 10000"/>
                    <a:gd name="connsiteY58" fmla="*/ 5349 h 10000"/>
                    <a:gd name="connsiteX59" fmla="*/ 4545 w 10000"/>
                    <a:gd name="connsiteY59" fmla="*/ 5349 h 10000"/>
                    <a:gd name="connsiteX60" fmla="*/ 4352 w 10000"/>
                    <a:gd name="connsiteY60" fmla="*/ 5298 h 10000"/>
                    <a:gd name="connsiteX61" fmla="*/ 4026 w 10000"/>
                    <a:gd name="connsiteY61" fmla="*/ 5230 h 10000"/>
                    <a:gd name="connsiteX62" fmla="*/ 3052 w 10000"/>
                    <a:gd name="connsiteY62" fmla="*/ 5076 h 10000"/>
                    <a:gd name="connsiteX63" fmla="*/ 1689 w 10000"/>
                    <a:gd name="connsiteY63" fmla="*/ 4890 h 10000"/>
                    <a:gd name="connsiteX64" fmla="*/ 1689 w 10000"/>
                    <a:gd name="connsiteY64" fmla="*/ 4890 h 10000"/>
                    <a:gd name="connsiteX65" fmla="*/ 1103 w 10000"/>
                    <a:gd name="connsiteY65" fmla="*/ 4871 h 10000"/>
                    <a:gd name="connsiteX66" fmla="*/ 650 w 10000"/>
                    <a:gd name="connsiteY66" fmla="*/ 4854 h 10000"/>
                    <a:gd name="connsiteX67" fmla="*/ 521 w 10000"/>
                    <a:gd name="connsiteY67" fmla="*/ 4837 h 10000"/>
                    <a:gd name="connsiteX68" fmla="*/ 390 w 10000"/>
                    <a:gd name="connsiteY68" fmla="*/ 4821 h 10000"/>
                    <a:gd name="connsiteX69" fmla="*/ 390 w 10000"/>
                    <a:gd name="connsiteY69" fmla="*/ 4821 h 10000"/>
                    <a:gd name="connsiteX70" fmla="*/ 261 w 10000"/>
                    <a:gd name="connsiteY70" fmla="*/ 4751 h 10000"/>
                    <a:gd name="connsiteX71" fmla="*/ 65 w 10000"/>
                    <a:gd name="connsiteY71" fmla="*/ 4635 h 10000"/>
                    <a:gd name="connsiteX72" fmla="*/ 0 w 10000"/>
                    <a:gd name="connsiteY72" fmla="*/ 4566 h 10000"/>
                    <a:gd name="connsiteX73" fmla="*/ 0 w 10000"/>
                    <a:gd name="connsiteY73" fmla="*/ 4496 h 10000"/>
                    <a:gd name="connsiteX74" fmla="*/ 0 w 10000"/>
                    <a:gd name="connsiteY74" fmla="*/ 4446 h 10000"/>
                    <a:gd name="connsiteX75" fmla="*/ 131 w 10000"/>
                    <a:gd name="connsiteY75" fmla="*/ 4394 h 10000"/>
                    <a:gd name="connsiteX76" fmla="*/ 131 w 10000"/>
                    <a:gd name="connsiteY76" fmla="*/ 4394 h 10000"/>
                    <a:gd name="connsiteX77" fmla="*/ 455 w 10000"/>
                    <a:gd name="connsiteY77" fmla="*/ 4309 h 10000"/>
                    <a:gd name="connsiteX78" fmla="*/ 779 w 10000"/>
                    <a:gd name="connsiteY78" fmla="*/ 4226 h 10000"/>
                    <a:gd name="connsiteX79" fmla="*/ 975 w 10000"/>
                    <a:gd name="connsiteY79" fmla="*/ 4175 h 10000"/>
                    <a:gd name="connsiteX80" fmla="*/ 1103 w 10000"/>
                    <a:gd name="connsiteY80" fmla="*/ 4123 h 10000"/>
                    <a:gd name="connsiteX81" fmla="*/ 1103 w 10000"/>
                    <a:gd name="connsiteY81" fmla="*/ 4054 h 10000"/>
                    <a:gd name="connsiteX82" fmla="*/ 1103 w 10000"/>
                    <a:gd name="connsiteY82" fmla="*/ 3969 h 10000"/>
                    <a:gd name="connsiteX83" fmla="*/ 1103 w 10000"/>
                    <a:gd name="connsiteY83" fmla="*/ 3969 h 10000"/>
                    <a:gd name="connsiteX84" fmla="*/ 845 w 10000"/>
                    <a:gd name="connsiteY84" fmla="*/ 3730 h 10000"/>
                    <a:gd name="connsiteX85" fmla="*/ 521 w 10000"/>
                    <a:gd name="connsiteY85" fmla="*/ 3407 h 10000"/>
                    <a:gd name="connsiteX86" fmla="*/ 261 w 10000"/>
                    <a:gd name="connsiteY86" fmla="*/ 3116 h 10000"/>
                    <a:gd name="connsiteX87" fmla="*/ 195 w 10000"/>
                    <a:gd name="connsiteY87" fmla="*/ 3032 h 10000"/>
                    <a:gd name="connsiteX88" fmla="*/ 195 w 10000"/>
                    <a:gd name="connsiteY88" fmla="*/ 2998 h 10000"/>
                    <a:gd name="connsiteX89" fmla="*/ 261 w 10000"/>
                    <a:gd name="connsiteY89" fmla="*/ 2980 h 10000"/>
                    <a:gd name="connsiteX90" fmla="*/ 261 w 10000"/>
                    <a:gd name="connsiteY90" fmla="*/ 2980 h 10000"/>
                    <a:gd name="connsiteX91" fmla="*/ 650 w 10000"/>
                    <a:gd name="connsiteY91" fmla="*/ 2964 h 10000"/>
                    <a:gd name="connsiteX92" fmla="*/ 908 w 10000"/>
                    <a:gd name="connsiteY92" fmla="*/ 2964 h 10000"/>
                    <a:gd name="connsiteX93" fmla="*/ 1103 w 10000"/>
                    <a:gd name="connsiteY93" fmla="*/ 2980 h 10000"/>
                    <a:gd name="connsiteX94" fmla="*/ 1103 w 10000"/>
                    <a:gd name="connsiteY94" fmla="*/ 2980 h 10000"/>
                    <a:gd name="connsiteX95" fmla="*/ 1168 w 10000"/>
                    <a:gd name="connsiteY95" fmla="*/ 2980 h 10000"/>
                    <a:gd name="connsiteX96" fmla="*/ 1235 w 10000"/>
                    <a:gd name="connsiteY96" fmla="*/ 2948 h 10000"/>
                    <a:gd name="connsiteX97" fmla="*/ 1559 w 10000"/>
                    <a:gd name="connsiteY97" fmla="*/ 2845 h 10000"/>
                    <a:gd name="connsiteX98" fmla="*/ 2402 w 10000"/>
                    <a:gd name="connsiteY98" fmla="*/ 2503 h 10000"/>
                    <a:gd name="connsiteX99" fmla="*/ 3507 w 10000"/>
                    <a:gd name="connsiteY99" fmla="*/ 2012 h 10000"/>
                    <a:gd name="connsiteX100" fmla="*/ 3507 w 10000"/>
                    <a:gd name="connsiteY100" fmla="*/ 2012 h 10000"/>
                    <a:gd name="connsiteX101" fmla="*/ 3507 w 10000"/>
                    <a:gd name="connsiteY101" fmla="*/ 1942 h 10000"/>
                    <a:gd name="connsiteX102" fmla="*/ 3507 w 10000"/>
                    <a:gd name="connsiteY102" fmla="*/ 1786 h 10000"/>
                    <a:gd name="connsiteX103" fmla="*/ 3573 w 10000"/>
                    <a:gd name="connsiteY103" fmla="*/ 1686 h 10000"/>
                    <a:gd name="connsiteX104" fmla="*/ 3702 w 10000"/>
                    <a:gd name="connsiteY104" fmla="*/ 1600 h 10000"/>
                    <a:gd name="connsiteX105" fmla="*/ 3896 w 10000"/>
                    <a:gd name="connsiteY105" fmla="*/ 1499 h 10000"/>
                    <a:gd name="connsiteX106" fmla="*/ 4156 w 10000"/>
                    <a:gd name="connsiteY106" fmla="*/ 1415 h 10000"/>
                    <a:gd name="connsiteX107" fmla="*/ 4156 w 10000"/>
                    <a:gd name="connsiteY107" fmla="*/ 1415 h 10000"/>
                    <a:gd name="connsiteX108" fmla="*/ 4806 w 10000"/>
                    <a:gd name="connsiteY108" fmla="*/ 1245 h 10000"/>
                    <a:gd name="connsiteX109" fmla="*/ 5455 w 10000"/>
                    <a:gd name="connsiteY109" fmla="*/ 1021 h 10000"/>
                    <a:gd name="connsiteX110" fmla="*/ 6104 w 10000"/>
                    <a:gd name="connsiteY110" fmla="*/ 817 h 10000"/>
                    <a:gd name="connsiteX111" fmla="*/ 6559 w 10000"/>
                    <a:gd name="connsiteY111" fmla="*/ 632 h 10000"/>
                    <a:gd name="connsiteX112" fmla="*/ 6559 w 10000"/>
                    <a:gd name="connsiteY112" fmla="*/ 632 h 10000"/>
                    <a:gd name="connsiteX113" fmla="*/ 6882 w 10000"/>
                    <a:gd name="connsiteY113" fmla="*/ 461 h 10000"/>
                    <a:gd name="connsiteX114" fmla="*/ 7273 w 10000"/>
                    <a:gd name="connsiteY114" fmla="*/ 255 h 10000"/>
                    <a:gd name="connsiteX115" fmla="*/ 7663 w 10000"/>
                    <a:gd name="connsiteY115" fmla="*/ 101 h 10000"/>
                    <a:gd name="connsiteX116" fmla="*/ 7856 w 10000"/>
                    <a:gd name="connsiteY116" fmla="*/ 31 h 10000"/>
                    <a:gd name="connsiteX117" fmla="*/ 8051 w 10000"/>
                    <a:gd name="connsiteY117" fmla="*/ 16 h 10000"/>
                    <a:gd name="connsiteX118" fmla="*/ 8051 w 10000"/>
                    <a:gd name="connsiteY118" fmla="*/ 16 h 10000"/>
                    <a:gd name="connsiteX119" fmla="*/ 8442 w 10000"/>
                    <a:gd name="connsiteY119" fmla="*/ 0 h 10000"/>
                    <a:gd name="connsiteX120" fmla="*/ 8961 w 10000"/>
                    <a:gd name="connsiteY120" fmla="*/ 0 h 10000"/>
                    <a:gd name="connsiteX121" fmla="*/ 10000 w 10000"/>
                    <a:gd name="connsiteY121" fmla="*/ 16 h 10000"/>
                    <a:gd name="connsiteX122" fmla="*/ 5389 w 10000"/>
                    <a:gd name="connsiteY122" fmla="*/ 9558 h 10000"/>
                    <a:gd name="connsiteX123" fmla="*/ 5389 w 10000"/>
                    <a:gd name="connsiteY123" fmla="*/ 9489 h 10000"/>
                    <a:gd name="connsiteX124" fmla="*/ 5259 w 10000"/>
                    <a:gd name="connsiteY124" fmla="*/ 9405 h 10000"/>
                    <a:gd name="connsiteX125" fmla="*/ 5195 w 10000"/>
                    <a:gd name="connsiteY125" fmla="*/ 9389 h 10000"/>
                    <a:gd name="connsiteX126" fmla="*/ 4026 w 10000"/>
                    <a:gd name="connsiteY126" fmla="*/ 9507 h 10000"/>
                    <a:gd name="connsiteX127" fmla="*/ 3702 w 10000"/>
                    <a:gd name="connsiteY127" fmla="*/ 9537 h 10000"/>
                    <a:gd name="connsiteX128" fmla="*/ 3247 w 10000"/>
                    <a:gd name="connsiteY128" fmla="*/ 9369 h 10000"/>
                    <a:gd name="connsiteX129" fmla="*/ 3247 w 10000"/>
                    <a:gd name="connsiteY129" fmla="*/ 9369 h 10000"/>
                    <a:gd name="connsiteX130" fmla="*/ 3117 w 10000"/>
                    <a:gd name="connsiteY130" fmla="*/ 9183 h 10000"/>
                    <a:gd name="connsiteX131" fmla="*/ 3117 w 10000"/>
                    <a:gd name="connsiteY131" fmla="*/ 9183 h 10000"/>
                    <a:gd name="connsiteX132" fmla="*/ 3312 w 10000"/>
                    <a:gd name="connsiteY132" fmla="*/ 9129 h 10000"/>
                    <a:gd name="connsiteX133" fmla="*/ 3443 w 10000"/>
                    <a:gd name="connsiteY133" fmla="*/ 9113 h 10000"/>
                    <a:gd name="connsiteX134" fmla="*/ 2661 w 10000"/>
                    <a:gd name="connsiteY134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779 w 10000"/>
                    <a:gd name="connsiteY3" fmla="*/ 9898 h 10000"/>
                    <a:gd name="connsiteX4" fmla="*/ 5519 w 10000"/>
                    <a:gd name="connsiteY4" fmla="*/ 9878 h 10000"/>
                    <a:gd name="connsiteX5" fmla="*/ 5389 w 10000"/>
                    <a:gd name="connsiteY5" fmla="*/ 9847 h 10000"/>
                    <a:gd name="connsiteX6" fmla="*/ 5389 w 10000"/>
                    <a:gd name="connsiteY6" fmla="*/ 9607 h 10000"/>
                    <a:gd name="connsiteX7" fmla="*/ 5455 w 10000"/>
                    <a:gd name="connsiteY7" fmla="*/ 9537 h 10000"/>
                    <a:gd name="connsiteX8" fmla="*/ 5389 w 10000"/>
                    <a:gd name="connsiteY8" fmla="*/ 9456 h 10000"/>
                    <a:gd name="connsiteX9" fmla="*/ 5389 w 10000"/>
                    <a:gd name="connsiteY9" fmla="*/ 9456 h 10000"/>
                    <a:gd name="connsiteX10" fmla="*/ 5324 w 10000"/>
                    <a:gd name="connsiteY10" fmla="*/ 9405 h 10000"/>
                    <a:gd name="connsiteX11" fmla="*/ 5259 w 10000"/>
                    <a:gd name="connsiteY11" fmla="*/ 9369 h 10000"/>
                    <a:gd name="connsiteX12" fmla="*/ 5128 w 10000"/>
                    <a:gd name="connsiteY12" fmla="*/ 9369 h 10000"/>
                    <a:gd name="connsiteX13" fmla="*/ 4936 w 10000"/>
                    <a:gd name="connsiteY13" fmla="*/ 9389 h 10000"/>
                    <a:gd name="connsiteX14" fmla="*/ 4545 w 10000"/>
                    <a:gd name="connsiteY14" fmla="*/ 9438 h 10000"/>
                    <a:gd name="connsiteX15" fmla="*/ 4026 w 10000"/>
                    <a:gd name="connsiteY15" fmla="*/ 9522 h 10000"/>
                    <a:gd name="connsiteX16" fmla="*/ 4026 w 10000"/>
                    <a:gd name="connsiteY16" fmla="*/ 9522 h 10000"/>
                    <a:gd name="connsiteX17" fmla="*/ 3702 w 10000"/>
                    <a:gd name="connsiteY17" fmla="*/ 9537 h 10000"/>
                    <a:gd name="connsiteX18" fmla="*/ 3573 w 10000"/>
                    <a:gd name="connsiteY18" fmla="*/ 9537 h 10000"/>
                    <a:gd name="connsiteX19" fmla="*/ 3507 w 10000"/>
                    <a:gd name="connsiteY19" fmla="*/ 9522 h 10000"/>
                    <a:gd name="connsiteX20" fmla="*/ 3247 w 10000"/>
                    <a:gd name="connsiteY20" fmla="*/ 9369 h 10000"/>
                    <a:gd name="connsiteX21" fmla="*/ 3247 w 10000"/>
                    <a:gd name="connsiteY21" fmla="*/ 9369 h 10000"/>
                    <a:gd name="connsiteX22" fmla="*/ 3117 w 10000"/>
                    <a:gd name="connsiteY22" fmla="*/ 9319 h 10000"/>
                    <a:gd name="connsiteX23" fmla="*/ 3117 w 10000"/>
                    <a:gd name="connsiteY23" fmla="*/ 9267 h 10000"/>
                    <a:gd name="connsiteX24" fmla="*/ 3117 w 10000"/>
                    <a:gd name="connsiteY24" fmla="*/ 9233 h 10000"/>
                    <a:gd name="connsiteX25" fmla="*/ 3184 w 10000"/>
                    <a:gd name="connsiteY25" fmla="*/ 9198 h 10000"/>
                    <a:gd name="connsiteX26" fmla="*/ 3312 w 10000"/>
                    <a:gd name="connsiteY26" fmla="*/ 9129 h 10000"/>
                    <a:gd name="connsiteX27" fmla="*/ 3443 w 10000"/>
                    <a:gd name="connsiteY27" fmla="*/ 9113 h 10000"/>
                    <a:gd name="connsiteX28" fmla="*/ 3443 w 10000"/>
                    <a:gd name="connsiteY28" fmla="*/ 9113 h 10000"/>
                    <a:gd name="connsiteX29" fmla="*/ 3443 w 10000"/>
                    <a:gd name="connsiteY29" fmla="*/ 9097 h 10000"/>
                    <a:gd name="connsiteX30" fmla="*/ 3507 w 10000"/>
                    <a:gd name="connsiteY30" fmla="*/ 9079 h 10000"/>
                    <a:gd name="connsiteX31" fmla="*/ 7646 w 10000"/>
                    <a:gd name="connsiteY31" fmla="*/ 8817 h 10000"/>
                    <a:gd name="connsiteX32" fmla="*/ 8116 w 10000"/>
                    <a:gd name="connsiteY32" fmla="*/ 8825 h 10000"/>
                    <a:gd name="connsiteX33" fmla="*/ 8116 w 10000"/>
                    <a:gd name="connsiteY33" fmla="*/ 8825 h 10000"/>
                    <a:gd name="connsiteX34" fmla="*/ 8442 w 10000"/>
                    <a:gd name="connsiteY34" fmla="*/ 8791 h 10000"/>
                    <a:gd name="connsiteX35" fmla="*/ 8702 w 10000"/>
                    <a:gd name="connsiteY35" fmla="*/ 8706 h 10000"/>
                    <a:gd name="connsiteX36" fmla="*/ 8636 w 10000"/>
                    <a:gd name="connsiteY36" fmla="*/ 8671 h 10000"/>
                    <a:gd name="connsiteX37" fmla="*/ 8636 w 10000"/>
                    <a:gd name="connsiteY37" fmla="*/ 8638 h 10000"/>
                    <a:gd name="connsiteX38" fmla="*/ 8312 w 10000"/>
                    <a:gd name="connsiteY38" fmla="*/ 8552 h 10000"/>
                    <a:gd name="connsiteX39" fmla="*/ 5975 w 10000"/>
                    <a:gd name="connsiteY39" fmla="*/ 8244 h 10000"/>
                    <a:gd name="connsiteX40" fmla="*/ 5975 w 10000"/>
                    <a:gd name="connsiteY40" fmla="*/ 8244 h 10000"/>
                    <a:gd name="connsiteX41" fmla="*/ 5714 w 10000"/>
                    <a:gd name="connsiteY41" fmla="*/ 8195 h 10000"/>
                    <a:gd name="connsiteX42" fmla="*/ 5519 w 10000"/>
                    <a:gd name="connsiteY42" fmla="*/ 8143 h 10000"/>
                    <a:gd name="connsiteX43" fmla="*/ 5389 w 10000"/>
                    <a:gd name="connsiteY43" fmla="*/ 8092 h 10000"/>
                    <a:gd name="connsiteX44" fmla="*/ 5389 w 10000"/>
                    <a:gd name="connsiteY44" fmla="*/ 8092 h 10000"/>
                    <a:gd name="connsiteX45" fmla="*/ 7729 w 10000"/>
                    <a:gd name="connsiteY45" fmla="*/ 8074 h 10000"/>
                    <a:gd name="connsiteX46" fmla="*/ 10000 w 10000"/>
                    <a:gd name="connsiteY46" fmla="*/ 8244 h 10000"/>
                    <a:gd name="connsiteX47" fmla="*/ 10000 w 10000"/>
                    <a:gd name="connsiteY47" fmla="*/ 6696 h 10000"/>
                    <a:gd name="connsiteX48" fmla="*/ 10000 w 10000"/>
                    <a:gd name="connsiteY48" fmla="*/ 6696 h 10000"/>
                    <a:gd name="connsiteX49" fmla="*/ 7404 w 10000"/>
                    <a:gd name="connsiteY49" fmla="*/ 6336 h 10000"/>
                    <a:gd name="connsiteX50" fmla="*/ 5975 w 10000"/>
                    <a:gd name="connsiteY50" fmla="*/ 6133 h 10000"/>
                    <a:gd name="connsiteX51" fmla="*/ 5975 w 10000"/>
                    <a:gd name="connsiteY51" fmla="*/ 6133 h 10000"/>
                    <a:gd name="connsiteX52" fmla="*/ 5975 w 10000"/>
                    <a:gd name="connsiteY52" fmla="*/ 6116 h 10000"/>
                    <a:gd name="connsiteX53" fmla="*/ 5975 w 10000"/>
                    <a:gd name="connsiteY53" fmla="*/ 6014 h 10000"/>
                    <a:gd name="connsiteX54" fmla="*/ 5975 w 10000"/>
                    <a:gd name="connsiteY54" fmla="*/ 6014 h 10000"/>
                    <a:gd name="connsiteX55" fmla="*/ 5779 w 10000"/>
                    <a:gd name="connsiteY55" fmla="*/ 5892 h 10000"/>
                    <a:gd name="connsiteX56" fmla="*/ 5389 w 10000"/>
                    <a:gd name="connsiteY56" fmla="*/ 5706 h 10000"/>
                    <a:gd name="connsiteX57" fmla="*/ 4545 w 10000"/>
                    <a:gd name="connsiteY57" fmla="*/ 5349 h 10000"/>
                    <a:gd name="connsiteX58" fmla="*/ 4545 w 10000"/>
                    <a:gd name="connsiteY58" fmla="*/ 5349 h 10000"/>
                    <a:gd name="connsiteX59" fmla="*/ 4352 w 10000"/>
                    <a:gd name="connsiteY59" fmla="*/ 5298 h 10000"/>
                    <a:gd name="connsiteX60" fmla="*/ 4026 w 10000"/>
                    <a:gd name="connsiteY60" fmla="*/ 5230 h 10000"/>
                    <a:gd name="connsiteX61" fmla="*/ 3052 w 10000"/>
                    <a:gd name="connsiteY61" fmla="*/ 5076 h 10000"/>
                    <a:gd name="connsiteX62" fmla="*/ 1689 w 10000"/>
                    <a:gd name="connsiteY62" fmla="*/ 4890 h 10000"/>
                    <a:gd name="connsiteX63" fmla="*/ 1689 w 10000"/>
                    <a:gd name="connsiteY63" fmla="*/ 4890 h 10000"/>
                    <a:gd name="connsiteX64" fmla="*/ 1103 w 10000"/>
                    <a:gd name="connsiteY64" fmla="*/ 4871 h 10000"/>
                    <a:gd name="connsiteX65" fmla="*/ 650 w 10000"/>
                    <a:gd name="connsiteY65" fmla="*/ 4854 h 10000"/>
                    <a:gd name="connsiteX66" fmla="*/ 521 w 10000"/>
                    <a:gd name="connsiteY66" fmla="*/ 4837 h 10000"/>
                    <a:gd name="connsiteX67" fmla="*/ 390 w 10000"/>
                    <a:gd name="connsiteY67" fmla="*/ 4821 h 10000"/>
                    <a:gd name="connsiteX68" fmla="*/ 390 w 10000"/>
                    <a:gd name="connsiteY68" fmla="*/ 4821 h 10000"/>
                    <a:gd name="connsiteX69" fmla="*/ 261 w 10000"/>
                    <a:gd name="connsiteY69" fmla="*/ 4751 h 10000"/>
                    <a:gd name="connsiteX70" fmla="*/ 65 w 10000"/>
                    <a:gd name="connsiteY70" fmla="*/ 4635 h 10000"/>
                    <a:gd name="connsiteX71" fmla="*/ 0 w 10000"/>
                    <a:gd name="connsiteY71" fmla="*/ 4566 h 10000"/>
                    <a:gd name="connsiteX72" fmla="*/ 0 w 10000"/>
                    <a:gd name="connsiteY72" fmla="*/ 4496 h 10000"/>
                    <a:gd name="connsiteX73" fmla="*/ 0 w 10000"/>
                    <a:gd name="connsiteY73" fmla="*/ 4446 h 10000"/>
                    <a:gd name="connsiteX74" fmla="*/ 131 w 10000"/>
                    <a:gd name="connsiteY74" fmla="*/ 4394 h 10000"/>
                    <a:gd name="connsiteX75" fmla="*/ 131 w 10000"/>
                    <a:gd name="connsiteY75" fmla="*/ 4394 h 10000"/>
                    <a:gd name="connsiteX76" fmla="*/ 455 w 10000"/>
                    <a:gd name="connsiteY76" fmla="*/ 4309 h 10000"/>
                    <a:gd name="connsiteX77" fmla="*/ 779 w 10000"/>
                    <a:gd name="connsiteY77" fmla="*/ 4226 h 10000"/>
                    <a:gd name="connsiteX78" fmla="*/ 975 w 10000"/>
                    <a:gd name="connsiteY78" fmla="*/ 4175 h 10000"/>
                    <a:gd name="connsiteX79" fmla="*/ 1103 w 10000"/>
                    <a:gd name="connsiteY79" fmla="*/ 4123 h 10000"/>
                    <a:gd name="connsiteX80" fmla="*/ 1103 w 10000"/>
                    <a:gd name="connsiteY80" fmla="*/ 4054 h 10000"/>
                    <a:gd name="connsiteX81" fmla="*/ 1103 w 10000"/>
                    <a:gd name="connsiteY81" fmla="*/ 3969 h 10000"/>
                    <a:gd name="connsiteX82" fmla="*/ 1103 w 10000"/>
                    <a:gd name="connsiteY82" fmla="*/ 3969 h 10000"/>
                    <a:gd name="connsiteX83" fmla="*/ 845 w 10000"/>
                    <a:gd name="connsiteY83" fmla="*/ 3730 h 10000"/>
                    <a:gd name="connsiteX84" fmla="*/ 521 w 10000"/>
                    <a:gd name="connsiteY84" fmla="*/ 3407 h 10000"/>
                    <a:gd name="connsiteX85" fmla="*/ 261 w 10000"/>
                    <a:gd name="connsiteY85" fmla="*/ 3116 h 10000"/>
                    <a:gd name="connsiteX86" fmla="*/ 195 w 10000"/>
                    <a:gd name="connsiteY86" fmla="*/ 3032 h 10000"/>
                    <a:gd name="connsiteX87" fmla="*/ 195 w 10000"/>
                    <a:gd name="connsiteY87" fmla="*/ 2998 h 10000"/>
                    <a:gd name="connsiteX88" fmla="*/ 261 w 10000"/>
                    <a:gd name="connsiteY88" fmla="*/ 2980 h 10000"/>
                    <a:gd name="connsiteX89" fmla="*/ 261 w 10000"/>
                    <a:gd name="connsiteY89" fmla="*/ 2980 h 10000"/>
                    <a:gd name="connsiteX90" fmla="*/ 650 w 10000"/>
                    <a:gd name="connsiteY90" fmla="*/ 2964 h 10000"/>
                    <a:gd name="connsiteX91" fmla="*/ 908 w 10000"/>
                    <a:gd name="connsiteY91" fmla="*/ 2964 h 10000"/>
                    <a:gd name="connsiteX92" fmla="*/ 1103 w 10000"/>
                    <a:gd name="connsiteY92" fmla="*/ 2980 h 10000"/>
                    <a:gd name="connsiteX93" fmla="*/ 1103 w 10000"/>
                    <a:gd name="connsiteY93" fmla="*/ 2980 h 10000"/>
                    <a:gd name="connsiteX94" fmla="*/ 1168 w 10000"/>
                    <a:gd name="connsiteY94" fmla="*/ 2980 h 10000"/>
                    <a:gd name="connsiteX95" fmla="*/ 1235 w 10000"/>
                    <a:gd name="connsiteY95" fmla="*/ 2948 h 10000"/>
                    <a:gd name="connsiteX96" fmla="*/ 1559 w 10000"/>
                    <a:gd name="connsiteY96" fmla="*/ 2845 h 10000"/>
                    <a:gd name="connsiteX97" fmla="*/ 2402 w 10000"/>
                    <a:gd name="connsiteY97" fmla="*/ 2503 h 10000"/>
                    <a:gd name="connsiteX98" fmla="*/ 3507 w 10000"/>
                    <a:gd name="connsiteY98" fmla="*/ 2012 h 10000"/>
                    <a:gd name="connsiteX99" fmla="*/ 3507 w 10000"/>
                    <a:gd name="connsiteY99" fmla="*/ 2012 h 10000"/>
                    <a:gd name="connsiteX100" fmla="*/ 3507 w 10000"/>
                    <a:gd name="connsiteY100" fmla="*/ 1942 h 10000"/>
                    <a:gd name="connsiteX101" fmla="*/ 3507 w 10000"/>
                    <a:gd name="connsiteY101" fmla="*/ 1786 h 10000"/>
                    <a:gd name="connsiteX102" fmla="*/ 3573 w 10000"/>
                    <a:gd name="connsiteY102" fmla="*/ 1686 h 10000"/>
                    <a:gd name="connsiteX103" fmla="*/ 3702 w 10000"/>
                    <a:gd name="connsiteY103" fmla="*/ 1600 h 10000"/>
                    <a:gd name="connsiteX104" fmla="*/ 3896 w 10000"/>
                    <a:gd name="connsiteY104" fmla="*/ 1499 h 10000"/>
                    <a:gd name="connsiteX105" fmla="*/ 4156 w 10000"/>
                    <a:gd name="connsiteY105" fmla="*/ 1415 h 10000"/>
                    <a:gd name="connsiteX106" fmla="*/ 4156 w 10000"/>
                    <a:gd name="connsiteY106" fmla="*/ 1415 h 10000"/>
                    <a:gd name="connsiteX107" fmla="*/ 4806 w 10000"/>
                    <a:gd name="connsiteY107" fmla="*/ 1245 h 10000"/>
                    <a:gd name="connsiteX108" fmla="*/ 5455 w 10000"/>
                    <a:gd name="connsiteY108" fmla="*/ 1021 h 10000"/>
                    <a:gd name="connsiteX109" fmla="*/ 6104 w 10000"/>
                    <a:gd name="connsiteY109" fmla="*/ 817 h 10000"/>
                    <a:gd name="connsiteX110" fmla="*/ 6559 w 10000"/>
                    <a:gd name="connsiteY110" fmla="*/ 632 h 10000"/>
                    <a:gd name="connsiteX111" fmla="*/ 6559 w 10000"/>
                    <a:gd name="connsiteY111" fmla="*/ 632 h 10000"/>
                    <a:gd name="connsiteX112" fmla="*/ 6882 w 10000"/>
                    <a:gd name="connsiteY112" fmla="*/ 461 h 10000"/>
                    <a:gd name="connsiteX113" fmla="*/ 7273 w 10000"/>
                    <a:gd name="connsiteY113" fmla="*/ 255 h 10000"/>
                    <a:gd name="connsiteX114" fmla="*/ 7663 w 10000"/>
                    <a:gd name="connsiteY114" fmla="*/ 101 h 10000"/>
                    <a:gd name="connsiteX115" fmla="*/ 7856 w 10000"/>
                    <a:gd name="connsiteY115" fmla="*/ 31 h 10000"/>
                    <a:gd name="connsiteX116" fmla="*/ 8051 w 10000"/>
                    <a:gd name="connsiteY116" fmla="*/ 16 h 10000"/>
                    <a:gd name="connsiteX117" fmla="*/ 8051 w 10000"/>
                    <a:gd name="connsiteY117" fmla="*/ 16 h 10000"/>
                    <a:gd name="connsiteX118" fmla="*/ 8442 w 10000"/>
                    <a:gd name="connsiteY118" fmla="*/ 0 h 10000"/>
                    <a:gd name="connsiteX119" fmla="*/ 8961 w 10000"/>
                    <a:gd name="connsiteY119" fmla="*/ 0 h 10000"/>
                    <a:gd name="connsiteX120" fmla="*/ 10000 w 10000"/>
                    <a:gd name="connsiteY120" fmla="*/ 16 h 10000"/>
                    <a:gd name="connsiteX121" fmla="*/ 5389 w 10000"/>
                    <a:gd name="connsiteY121" fmla="*/ 9558 h 10000"/>
                    <a:gd name="connsiteX122" fmla="*/ 5389 w 10000"/>
                    <a:gd name="connsiteY122" fmla="*/ 9489 h 10000"/>
                    <a:gd name="connsiteX123" fmla="*/ 5259 w 10000"/>
                    <a:gd name="connsiteY123" fmla="*/ 9405 h 10000"/>
                    <a:gd name="connsiteX124" fmla="*/ 5195 w 10000"/>
                    <a:gd name="connsiteY124" fmla="*/ 9389 h 10000"/>
                    <a:gd name="connsiteX125" fmla="*/ 4026 w 10000"/>
                    <a:gd name="connsiteY125" fmla="*/ 9507 h 10000"/>
                    <a:gd name="connsiteX126" fmla="*/ 3702 w 10000"/>
                    <a:gd name="connsiteY126" fmla="*/ 9537 h 10000"/>
                    <a:gd name="connsiteX127" fmla="*/ 3247 w 10000"/>
                    <a:gd name="connsiteY127" fmla="*/ 9369 h 10000"/>
                    <a:gd name="connsiteX128" fmla="*/ 3247 w 10000"/>
                    <a:gd name="connsiteY128" fmla="*/ 9369 h 10000"/>
                    <a:gd name="connsiteX129" fmla="*/ 3117 w 10000"/>
                    <a:gd name="connsiteY129" fmla="*/ 9183 h 10000"/>
                    <a:gd name="connsiteX130" fmla="*/ 3117 w 10000"/>
                    <a:gd name="connsiteY130" fmla="*/ 9183 h 10000"/>
                    <a:gd name="connsiteX131" fmla="*/ 3312 w 10000"/>
                    <a:gd name="connsiteY131" fmla="*/ 9129 h 10000"/>
                    <a:gd name="connsiteX132" fmla="*/ 3443 w 10000"/>
                    <a:gd name="connsiteY132" fmla="*/ 9113 h 10000"/>
                    <a:gd name="connsiteX133" fmla="*/ 2661 w 10000"/>
                    <a:gd name="connsiteY133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779 w 10000"/>
                    <a:gd name="connsiteY3" fmla="*/ 9898 h 10000"/>
                    <a:gd name="connsiteX4" fmla="*/ 5519 w 10000"/>
                    <a:gd name="connsiteY4" fmla="*/ 9878 h 10000"/>
                    <a:gd name="connsiteX5" fmla="*/ 5389 w 10000"/>
                    <a:gd name="connsiteY5" fmla="*/ 9607 h 10000"/>
                    <a:gd name="connsiteX6" fmla="*/ 5455 w 10000"/>
                    <a:gd name="connsiteY6" fmla="*/ 9537 h 10000"/>
                    <a:gd name="connsiteX7" fmla="*/ 5389 w 10000"/>
                    <a:gd name="connsiteY7" fmla="*/ 9456 h 10000"/>
                    <a:gd name="connsiteX8" fmla="*/ 5389 w 10000"/>
                    <a:gd name="connsiteY8" fmla="*/ 9456 h 10000"/>
                    <a:gd name="connsiteX9" fmla="*/ 5324 w 10000"/>
                    <a:gd name="connsiteY9" fmla="*/ 9405 h 10000"/>
                    <a:gd name="connsiteX10" fmla="*/ 5259 w 10000"/>
                    <a:gd name="connsiteY10" fmla="*/ 9369 h 10000"/>
                    <a:gd name="connsiteX11" fmla="*/ 5128 w 10000"/>
                    <a:gd name="connsiteY11" fmla="*/ 9369 h 10000"/>
                    <a:gd name="connsiteX12" fmla="*/ 4936 w 10000"/>
                    <a:gd name="connsiteY12" fmla="*/ 9389 h 10000"/>
                    <a:gd name="connsiteX13" fmla="*/ 4545 w 10000"/>
                    <a:gd name="connsiteY13" fmla="*/ 9438 h 10000"/>
                    <a:gd name="connsiteX14" fmla="*/ 4026 w 10000"/>
                    <a:gd name="connsiteY14" fmla="*/ 9522 h 10000"/>
                    <a:gd name="connsiteX15" fmla="*/ 4026 w 10000"/>
                    <a:gd name="connsiteY15" fmla="*/ 9522 h 10000"/>
                    <a:gd name="connsiteX16" fmla="*/ 3702 w 10000"/>
                    <a:gd name="connsiteY16" fmla="*/ 9537 h 10000"/>
                    <a:gd name="connsiteX17" fmla="*/ 3573 w 10000"/>
                    <a:gd name="connsiteY17" fmla="*/ 9537 h 10000"/>
                    <a:gd name="connsiteX18" fmla="*/ 3507 w 10000"/>
                    <a:gd name="connsiteY18" fmla="*/ 9522 h 10000"/>
                    <a:gd name="connsiteX19" fmla="*/ 3247 w 10000"/>
                    <a:gd name="connsiteY19" fmla="*/ 9369 h 10000"/>
                    <a:gd name="connsiteX20" fmla="*/ 3247 w 10000"/>
                    <a:gd name="connsiteY20" fmla="*/ 9369 h 10000"/>
                    <a:gd name="connsiteX21" fmla="*/ 3117 w 10000"/>
                    <a:gd name="connsiteY21" fmla="*/ 9319 h 10000"/>
                    <a:gd name="connsiteX22" fmla="*/ 3117 w 10000"/>
                    <a:gd name="connsiteY22" fmla="*/ 9267 h 10000"/>
                    <a:gd name="connsiteX23" fmla="*/ 3117 w 10000"/>
                    <a:gd name="connsiteY23" fmla="*/ 9233 h 10000"/>
                    <a:gd name="connsiteX24" fmla="*/ 3184 w 10000"/>
                    <a:gd name="connsiteY24" fmla="*/ 9198 h 10000"/>
                    <a:gd name="connsiteX25" fmla="*/ 3312 w 10000"/>
                    <a:gd name="connsiteY25" fmla="*/ 9129 h 10000"/>
                    <a:gd name="connsiteX26" fmla="*/ 3443 w 10000"/>
                    <a:gd name="connsiteY26" fmla="*/ 9113 h 10000"/>
                    <a:gd name="connsiteX27" fmla="*/ 3443 w 10000"/>
                    <a:gd name="connsiteY27" fmla="*/ 9113 h 10000"/>
                    <a:gd name="connsiteX28" fmla="*/ 3443 w 10000"/>
                    <a:gd name="connsiteY28" fmla="*/ 9097 h 10000"/>
                    <a:gd name="connsiteX29" fmla="*/ 3507 w 10000"/>
                    <a:gd name="connsiteY29" fmla="*/ 9079 h 10000"/>
                    <a:gd name="connsiteX30" fmla="*/ 7646 w 10000"/>
                    <a:gd name="connsiteY30" fmla="*/ 8817 h 10000"/>
                    <a:gd name="connsiteX31" fmla="*/ 8116 w 10000"/>
                    <a:gd name="connsiteY31" fmla="*/ 8825 h 10000"/>
                    <a:gd name="connsiteX32" fmla="*/ 8116 w 10000"/>
                    <a:gd name="connsiteY32" fmla="*/ 8825 h 10000"/>
                    <a:gd name="connsiteX33" fmla="*/ 8442 w 10000"/>
                    <a:gd name="connsiteY33" fmla="*/ 8791 h 10000"/>
                    <a:gd name="connsiteX34" fmla="*/ 8702 w 10000"/>
                    <a:gd name="connsiteY34" fmla="*/ 8706 h 10000"/>
                    <a:gd name="connsiteX35" fmla="*/ 8636 w 10000"/>
                    <a:gd name="connsiteY35" fmla="*/ 8671 h 10000"/>
                    <a:gd name="connsiteX36" fmla="*/ 8636 w 10000"/>
                    <a:gd name="connsiteY36" fmla="*/ 8638 h 10000"/>
                    <a:gd name="connsiteX37" fmla="*/ 8312 w 10000"/>
                    <a:gd name="connsiteY37" fmla="*/ 8552 h 10000"/>
                    <a:gd name="connsiteX38" fmla="*/ 5975 w 10000"/>
                    <a:gd name="connsiteY38" fmla="*/ 8244 h 10000"/>
                    <a:gd name="connsiteX39" fmla="*/ 5975 w 10000"/>
                    <a:gd name="connsiteY39" fmla="*/ 8244 h 10000"/>
                    <a:gd name="connsiteX40" fmla="*/ 5714 w 10000"/>
                    <a:gd name="connsiteY40" fmla="*/ 8195 h 10000"/>
                    <a:gd name="connsiteX41" fmla="*/ 5519 w 10000"/>
                    <a:gd name="connsiteY41" fmla="*/ 8143 h 10000"/>
                    <a:gd name="connsiteX42" fmla="*/ 5389 w 10000"/>
                    <a:gd name="connsiteY42" fmla="*/ 8092 h 10000"/>
                    <a:gd name="connsiteX43" fmla="*/ 5389 w 10000"/>
                    <a:gd name="connsiteY43" fmla="*/ 8092 h 10000"/>
                    <a:gd name="connsiteX44" fmla="*/ 7729 w 10000"/>
                    <a:gd name="connsiteY44" fmla="*/ 8074 h 10000"/>
                    <a:gd name="connsiteX45" fmla="*/ 10000 w 10000"/>
                    <a:gd name="connsiteY45" fmla="*/ 8244 h 10000"/>
                    <a:gd name="connsiteX46" fmla="*/ 10000 w 10000"/>
                    <a:gd name="connsiteY46" fmla="*/ 6696 h 10000"/>
                    <a:gd name="connsiteX47" fmla="*/ 10000 w 10000"/>
                    <a:gd name="connsiteY47" fmla="*/ 6696 h 10000"/>
                    <a:gd name="connsiteX48" fmla="*/ 7404 w 10000"/>
                    <a:gd name="connsiteY48" fmla="*/ 6336 h 10000"/>
                    <a:gd name="connsiteX49" fmla="*/ 5975 w 10000"/>
                    <a:gd name="connsiteY49" fmla="*/ 6133 h 10000"/>
                    <a:gd name="connsiteX50" fmla="*/ 5975 w 10000"/>
                    <a:gd name="connsiteY50" fmla="*/ 6133 h 10000"/>
                    <a:gd name="connsiteX51" fmla="*/ 5975 w 10000"/>
                    <a:gd name="connsiteY51" fmla="*/ 6116 h 10000"/>
                    <a:gd name="connsiteX52" fmla="*/ 5975 w 10000"/>
                    <a:gd name="connsiteY52" fmla="*/ 6014 h 10000"/>
                    <a:gd name="connsiteX53" fmla="*/ 5975 w 10000"/>
                    <a:gd name="connsiteY53" fmla="*/ 6014 h 10000"/>
                    <a:gd name="connsiteX54" fmla="*/ 5779 w 10000"/>
                    <a:gd name="connsiteY54" fmla="*/ 5892 h 10000"/>
                    <a:gd name="connsiteX55" fmla="*/ 5389 w 10000"/>
                    <a:gd name="connsiteY55" fmla="*/ 5706 h 10000"/>
                    <a:gd name="connsiteX56" fmla="*/ 4545 w 10000"/>
                    <a:gd name="connsiteY56" fmla="*/ 5349 h 10000"/>
                    <a:gd name="connsiteX57" fmla="*/ 4545 w 10000"/>
                    <a:gd name="connsiteY57" fmla="*/ 5349 h 10000"/>
                    <a:gd name="connsiteX58" fmla="*/ 4352 w 10000"/>
                    <a:gd name="connsiteY58" fmla="*/ 5298 h 10000"/>
                    <a:gd name="connsiteX59" fmla="*/ 4026 w 10000"/>
                    <a:gd name="connsiteY59" fmla="*/ 5230 h 10000"/>
                    <a:gd name="connsiteX60" fmla="*/ 3052 w 10000"/>
                    <a:gd name="connsiteY60" fmla="*/ 5076 h 10000"/>
                    <a:gd name="connsiteX61" fmla="*/ 1689 w 10000"/>
                    <a:gd name="connsiteY61" fmla="*/ 4890 h 10000"/>
                    <a:gd name="connsiteX62" fmla="*/ 1689 w 10000"/>
                    <a:gd name="connsiteY62" fmla="*/ 4890 h 10000"/>
                    <a:gd name="connsiteX63" fmla="*/ 1103 w 10000"/>
                    <a:gd name="connsiteY63" fmla="*/ 4871 h 10000"/>
                    <a:gd name="connsiteX64" fmla="*/ 650 w 10000"/>
                    <a:gd name="connsiteY64" fmla="*/ 4854 h 10000"/>
                    <a:gd name="connsiteX65" fmla="*/ 521 w 10000"/>
                    <a:gd name="connsiteY65" fmla="*/ 4837 h 10000"/>
                    <a:gd name="connsiteX66" fmla="*/ 390 w 10000"/>
                    <a:gd name="connsiteY66" fmla="*/ 4821 h 10000"/>
                    <a:gd name="connsiteX67" fmla="*/ 390 w 10000"/>
                    <a:gd name="connsiteY67" fmla="*/ 4821 h 10000"/>
                    <a:gd name="connsiteX68" fmla="*/ 261 w 10000"/>
                    <a:gd name="connsiteY68" fmla="*/ 4751 h 10000"/>
                    <a:gd name="connsiteX69" fmla="*/ 65 w 10000"/>
                    <a:gd name="connsiteY69" fmla="*/ 4635 h 10000"/>
                    <a:gd name="connsiteX70" fmla="*/ 0 w 10000"/>
                    <a:gd name="connsiteY70" fmla="*/ 4566 h 10000"/>
                    <a:gd name="connsiteX71" fmla="*/ 0 w 10000"/>
                    <a:gd name="connsiteY71" fmla="*/ 4496 h 10000"/>
                    <a:gd name="connsiteX72" fmla="*/ 0 w 10000"/>
                    <a:gd name="connsiteY72" fmla="*/ 4446 h 10000"/>
                    <a:gd name="connsiteX73" fmla="*/ 131 w 10000"/>
                    <a:gd name="connsiteY73" fmla="*/ 4394 h 10000"/>
                    <a:gd name="connsiteX74" fmla="*/ 131 w 10000"/>
                    <a:gd name="connsiteY74" fmla="*/ 4394 h 10000"/>
                    <a:gd name="connsiteX75" fmla="*/ 455 w 10000"/>
                    <a:gd name="connsiteY75" fmla="*/ 4309 h 10000"/>
                    <a:gd name="connsiteX76" fmla="*/ 779 w 10000"/>
                    <a:gd name="connsiteY76" fmla="*/ 4226 h 10000"/>
                    <a:gd name="connsiteX77" fmla="*/ 975 w 10000"/>
                    <a:gd name="connsiteY77" fmla="*/ 4175 h 10000"/>
                    <a:gd name="connsiteX78" fmla="*/ 1103 w 10000"/>
                    <a:gd name="connsiteY78" fmla="*/ 4123 h 10000"/>
                    <a:gd name="connsiteX79" fmla="*/ 1103 w 10000"/>
                    <a:gd name="connsiteY79" fmla="*/ 4054 h 10000"/>
                    <a:gd name="connsiteX80" fmla="*/ 1103 w 10000"/>
                    <a:gd name="connsiteY80" fmla="*/ 3969 h 10000"/>
                    <a:gd name="connsiteX81" fmla="*/ 1103 w 10000"/>
                    <a:gd name="connsiteY81" fmla="*/ 3969 h 10000"/>
                    <a:gd name="connsiteX82" fmla="*/ 845 w 10000"/>
                    <a:gd name="connsiteY82" fmla="*/ 3730 h 10000"/>
                    <a:gd name="connsiteX83" fmla="*/ 521 w 10000"/>
                    <a:gd name="connsiteY83" fmla="*/ 3407 h 10000"/>
                    <a:gd name="connsiteX84" fmla="*/ 261 w 10000"/>
                    <a:gd name="connsiteY84" fmla="*/ 3116 h 10000"/>
                    <a:gd name="connsiteX85" fmla="*/ 195 w 10000"/>
                    <a:gd name="connsiteY85" fmla="*/ 3032 h 10000"/>
                    <a:gd name="connsiteX86" fmla="*/ 195 w 10000"/>
                    <a:gd name="connsiteY86" fmla="*/ 2998 h 10000"/>
                    <a:gd name="connsiteX87" fmla="*/ 261 w 10000"/>
                    <a:gd name="connsiteY87" fmla="*/ 2980 h 10000"/>
                    <a:gd name="connsiteX88" fmla="*/ 261 w 10000"/>
                    <a:gd name="connsiteY88" fmla="*/ 2980 h 10000"/>
                    <a:gd name="connsiteX89" fmla="*/ 650 w 10000"/>
                    <a:gd name="connsiteY89" fmla="*/ 2964 h 10000"/>
                    <a:gd name="connsiteX90" fmla="*/ 908 w 10000"/>
                    <a:gd name="connsiteY90" fmla="*/ 2964 h 10000"/>
                    <a:gd name="connsiteX91" fmla="*/ 1103 w 10000"/>
                    <a:gd name="connsiteY91" fmla="*/ 2980 h 10000"/>
                    <a:gd name="connsiteX92" fmla="*/ 1103 w 10000"/>
                    <a:gd name="connsiteY92" fmla="*/ 2980 h 10000"/>
                    <a:gd name="connsiteX93" fmla="*/ 1168 w 10000"/>
                    <a:gd name="connsiteY93" fmla="*/ 2980 h 10000"/>
                    <a:gd name="connsiteX94" fmla="*/ 1235 w 10000"/>
                    <a:gd name="connsiteY94" fmla="*/ 2948 h 10000"/>
                    <a:gd name="connsiteX95" fmla="*/ 1559 w 10000"/>
                    <a:gd name="connsiteY95" fmla="*/ 2845 h 10000"/>
                    <a:gd name="connsiteX96" fmla="*/ 2402 w 10000"/>
                    <a:gd name="connsiteY96" fmla="*/ 2503 h 10000"/>
                    <a:gd name="connsiteX97" fmla="*/ 3507 w 10000"/>
                    <a:gd name="connsiteY97" fmla="*/ 2012 h 10000"/>
                    <a:gd name="connsiteX98" fmla="*/ 3507 w 10000"/>
                    <a:gd name="connsiteY98" fmla="*/ 2012 h 10000"/>
                    <a:gd name="connsiteX99" fmla="*/ 3507 w 10000"/>
                    <a:gd name="connsiteY99" fmla="*/ 1942 h 10000"/>
                    <a:gd name="connsiteX100" fmla="*/ 3507 w 10000"/>
                    <a:gd name="connsiteY100" fmla="*/ 1786 h 10000"/>
                    <a:gd name="connsiteX101" fmla="*/ 3573 w 10000"/>
                    <a:gd name="connsiteY101" fmla="*/ 1686 h 10000"/>
                    <a:gd name="connsiteX102" fmla="*/ 3702 w 10000"/>
                    <a:gd name="connsiteY102" fmla="*/ 1600 h 10000"/>
                    <a:gd name="connsiteX103" fmla="*/ 3896 w 10000"/>
                    <a:gd name="connsiteY103" fmla="*/ 1499 h 10000"/>
                    <a:gd name="connsiteX104" fmla="*/ 4156 w 10000"/>
                    <a:gd name="connsiteY104" fmla="*/ 1415 h 10000"/>
                    <a:gd name="connsiteX105" fmla="*/ 4156 w 10000"/>
                    <a:gd name="connsiteY105" fmla="*/ 1415 h 10000"/>
                    <a:gd name="connsiteX106" fmla="*/ 4806 w 10000"/>
                    <a:gd name="connsiteY106" fmla="*/ 1245 h 10000"/>
                    <a:gd name="connsiteX107" fmla="*/ 5455 w 10000"/>
                    <a:gd name="connsiteY107" fmla="*/ 1021 h 10000"/>
                    <a:gd name="connsiteX108" fmla="*/ 6104 w 10000"/>
                    <a:gd name="connsiteY108" fmla="*/ 817 h 10000"/>
                    <a:gd name="connsiteX109" fmla="*/ 6559 w 10000"/>
                    <a:gd name="connsiteY109" fmla="*/ 632 h 10000"/>
                    <a:gd name="connsiteX110" fmla="*/ 6559 w 10000"/>
                    <a:gd name="connsiteY110" fmla="*/ 632 h 10000"/>
                    <a:gd name="connsiteX111" fmla="*/ 6882 w 10000"/>
                    <a:gd name="connsiteY111" fmla="*/ 461 h 10000"/>
                    <a:gd name="connsiteX112" fmla="*/ 7273 w 10000"/>
                    <a:gd name="connsiteY112" fmla="*/ 255 h 10000"/>
                    <a:gd name="connsiteX113" fmla="*/ 7663 w 10000"/>
                    <a:gd name="connsiteY113" fmla="*/ 101 h 10000"/>
                    <a:gd name="connsiteX114" fmla="*/ 7856 w 10000"/>
                    <a:gd name="connsiteY114" fmla="*/ 31 h 10000"/>
                    <a:gd name="connsiteX115" fmla="*/ 8051 w 10000"/>
                    <a:gd name="connsiteY115" fmla="*/ 16 h 10000"/>
                    <a:gd name="connsiteX116" fmla="*/ 8051 w 10000"/>
                    <a:gd name="connsiteY116" fmla="*/ 16 h 10000"/>
                    <a:gd name="connsiteX117" fmla="*/ 8442 w 10000"/>
                    <a:gd name="connsiteY117" fmla="*/ 0 h 10000"/>
                    <a:gd name="connsiteX118" fmla="*/ 8961 w 10000"/>
                    <a:gd name="connsiteY118" fmla="*/ 0 h 10000"/>
                    <a:gd name="connsiteX119" fmla="*/ 10000 w 10000"/>
                    <a:gd name="connsiteY119" fmla="*/ 16 h 10000"/>
                    <a:gd name="connsiteX120" fmla="*/ 5389 w 10000"/>
                    <a:gd name="connsiteY120" fmla="*/ 9558 h 10000"/>
                    <a:gd name="connsiteX121" fmla="*/ 5389 w 10000"/>
                    <a:gd name="connsiteY121" fmla="*/ 9489 h 10000"/>
                    <a:gd name="connsiteX122" fmla="*/ 5259 w 10000"/>
                    <a:gd name="connsiteY122" fmla="*/ 9405 h 10000"/>
                    <a:gd name="connsiteX123" fmla="*/ 5195 w 10000"/>
                    <a:gd name="connsiteY123" fmla="*/ 9389 h 10000"/>
                    <a:gd name="connsiteX124" fmla="*/ 4026 w 10000"/>
                    <a:gd name="connsiteY124" fmla="*/ 9507 h 10000"/>
                    <a:gd name="connsiteX125" fmla="*/ 3702 w 10000"/>
                    <a:gd name="connsiteY125" fmla="*/ 9537 h 10000"/>
                    <a:gd name="connsiteX126" fmla="*/ 3247 w 10000"/>
                    <a:gd name="connsiteY126" fmla="*/ 9369 h 10000"/>
                    <a:gd name="connsiteX127" fmla="*/ 3247 w 10000"/>
                    <a:gd name="connsiteY127" fmla="*/ 9369 h 10000"/>
                    <a:gd name="connsiteX128" fmla="*/ 3117 w 10000"/>
                    <a:gd name="connsiteY128" fmla="*/ 9183 h 10000"/>
                    <a:gd name="connsiteX129" fmla="*/ 3117 w 10000"/>
                    <a:gd name="connsiteY129" fmla="*/ 9183 h 10000"/>
                    <a:gd name="connsiteX130" fmla="*/ 3312 w 10000"/>
                    <a:gd name="connsiteY130" fmla="*/ 9129 h 10000"/>
                    <a:gd name="connsiteX131" fmla="*/ 3443 w 10000"/>
                    <a:gd name="connsiteY131" fmla="*/ 9113 h 10000"/>
                    <a:gd name="connsiteX132" fmla="*/ 2661 w 10000"/>
                    <a:gd name="connsiteY132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779 w 10000"/>
                    <a:gd name="connsiteY3" fmla="*/ 9898 h 10000"/>
                    <a:gd name="connsiteX4" fmla="*/ 5389 w 10000"/>
                    <a:gd name="connsiteY4" fmla="*/ 9607 h 10000"/>
                    <a:gd name="connsiteX5" fmla="*/ 5455 w 10000"/>
                    <a:gd name="connsiteY5" fmla="*/ 9537 h 10000"/>
                    <a:gd name="connsiteX6" fmla="*/ 5389 w 10000"/>
                    <a:gd name="connsiteY6" fmla="*/ 9456 h 10000"/>
                    <a:gd name="connsiteX7" fmla="*/ 5389 w 10000"/>
                    <a:gd name="connsiteY7" fmla="*/ 9456 h 10000"/>
                    <a:gd name="connsiteX8" fmla="*/ 5324 w 10000"/>
                    <a:gd name="connsiteY8" fmla="*/ 9405 h 10000"/>
                    <a:gd name="connsiteX9" fmla="*/ 5259 w 10000"/>
                    <a:gd name="connsiteY9" fmla="*/ 9369 h 10000"/>
                    <a:gd name="connsiteX10" fmla="*/ 5128 w 10000"/>
                    <a:gd name="connsiteY10" fmla="*/ 9369 h 10000"/>
                    <a:gd name="connsiteX11" fmla="*/ 4936 w 10000"/>
                    <a:gd name="connsiteY11" fmla="*/ 9389 h 10000"/>
                    <a:gd name="connsiteX12" fmla="*/ 4545 w 10000"/>
                    <a:gd name="connsiteY12" fmla="*/ 9438 h 10000"/>
                    <a:gd name="connsiteX13" fmla="*/ 4026 w 10000"/>
                    <a:gd name="connsiteY13" fmla="*/ 9522 h 10000"/>
                    <a:gd name="connsiteX14" fmla="*/ 4026 w 10000"/>
                    <a:gd name="connsiteY14" fmla="*/ 9522 h 10000"/>
                    <a:gd name="connsiteX15" fmla="*/ 3702 w 10000"/>
                    <a:gd name="connsiteY15" fmla="*/ 9537 h 10000"/>
                    <a:gd name="connsiteX16" fmla="*/ 3573 w 10000"/>
                    <a:gd name="connsiteY16" fmla="*/ 9537 h 10000"/>
                    <a:gd name="connsiteX17" fmla="*/ 3507 w 10000"/>
                    <a:gd name="connsiteY17" fmla="*/ 9522 h 10000"/>
                    <a:gd name="connsiteX18" fmla="*/ 3247 w 10000"/>
                    <a:gd name="connsiteY18" fmla="*/ 9369 h 10000"/>
                    <a:gd name="connsiteX19" fmla="*/ 3247 w 10000"/>
                    <a:gd name="connsiteY19" fmla="*/ 9369 h 10000"/>
                    <a:gd name="connsiteX20" fmla="*/ 3117 w 10000"/>
                    <a:gd name="connsiteY20" fmla="*/ 9319 h 10000"/>
                    <a:gd name="connsiteX21" fmla="*/ 3117 w 10000"/>
                    <a:gd name="connsiteY21" fmla="*/ 9267 h 10000"/>
                    <a:gd name="connsiteX22" fmla="*/ 3117 w 10000"/>
                    <a:gd name="connsiteY22" fmla="*/ 9233 h 10000"/>
                    <a:gd name="connsiteX23" fmla="*/ 3184 w 10000"/>
                    <a:gd name="connsiteY23" fmla="*/ 9198 h 10000"/>
                    <a:gd name="connsiteX24" fmla="*/ 3312 w 10000"/>
                    <a:gd name="connsiteY24" fmla="*/ 9129 h 10000"/>
                    <a:gd name="connsiteX25" fmla="*/ 3443 w 10000"/>
                    <a:gd name="connsiteY25" fmla="*/ 9113 h 10000"/>
                    <a:gd name="connsiteX26" fmla="*/ 3443 w 10000"/>
                    <a:gd name="connsiteY26" fmla="*/ 9113 h 10000"/>
                    <a:gd name="connsiteX27" fmla="*/ 3443 w 10000"/>
                    <a:gd name="connsiteY27" fmla="*/ 9097 h 10000"/>
                    <a:gd name="connsiteX28" fmla="*/ 3507 w 10000"/>
                    <a:gd name="connsiteY28" fmla="*/ 9079 h 10000"/>
                    <a:gd name="connsiteX29" fmla="*/ 7646 w 10000"/>
                    <a:gd name="connsiteY29" fmla="*/ 8817 h 10000"/>
                    <a:gd name="connsiteX30" fmla="*/ 8116 w 10000"/>
                    <a:gd name="connsiteY30" fmla="*/ 8825 h 10000"/>
                    <a:gd name="connsiteX31" fmla="*/ 8116 w 10000"/>
                    <a:gd name="connsiteY31" fmla="*/ 8825 h 10000"/>
                    <a:gd name="connsiteX32" fmla="*/ 8442 w 10000"/>
                    <a:gd name="connsiteY32" fmla="*/ 8791 h 10000"/>
                    <a:gd name="connsiteX33" fmla="*/ 8702 w 10000"/>
                    <a:gd name="connsiteY33" fmla="*/ 8706 h 10000"/>
                    <a:gd name="connsiteX34" fmla="*/ 8636 w 10000"/>
                    <a:gd name="connsiteY34" fmla="*/ 8671 h 10000"/>
                    <a:gd name="connsiteX35" fmla="*/ 8636 w 10000"/>
                    <a:gd name="connsiteY35" fmla="*/ 8638 h 10000"/>
                    <a:gd name="connsiteX36" fmla="*/ 8312 w 10000"/>
                    <a:gd name="connsiteY36" fmla="*/ 8552 h 10000"/>
                    <a:gd name="connsiteX37" fmla="*/ 5975 w 10000"/>
                    <a:gd name="connsiteY37" fmla="*/ 8244 h 10000"/>
                    <a:gd name="connsiteX38" fmla="*/ 5975 w 10000"/>
                    <a:gd name="connsiteY38" fmla="*/ 8244 h 10000"/>
                    <a:gd name="connsiteX39" fmla="*/ 5714 w 10000"/>
                    <a:gd name="connsiteY39" fmla="*/ 8195 h 10000"/>
                    <a:gd name="connsiteX40" fmla="*/ 5519 w 10000"/>
                    <a:gd name="connsiteY40" fmla="*/ 8143 h 10000"/>
                    <a:gd name="connsiteX41" fmla="*/ 5389 w 10000"/>
                    <a:gd name="connsiteY41" fmla="*/ 8092 h 10000"/>
                    <a:gd name="connsiteX42" fmla="*/ 5389 w 10000"/>
                    <a:gd name="connsiteY42" fmla="*/ 8092 h 10000"/>
                    <a:gd name="connsiteX43" fmla="*/ 7729 w 10000"/>
                    <a:gd name="connsiteY43" fmla="*/ 8074 h 10000"/>
                    <a:gd name="connsiteX44" fmla="*/ 10000 w 10000"/>
                    <a:gd name="connsiteY44" fmla="*/ 8244 h 10000"/>
                    <a:gd name="connsiteX45" fmla="*/ 10000 w 10000"/>
                    <a:gd name="connsiteY45" fmla="*/ 6696 h 10000"/>
                    <a:gd name="connsiteX46" fmla="*/ 10000 w 10000"/>
                    <a:gd name="connsiteY46" fmla="*/ 6696 h 10000"/>
                    <a:gd name="connsiteX47" fmla="*/ 7404 w 10000"/>
                    <a:gd name="connsiteY47" fmla="*/ 6336 h 10000"/>
                    <a:gd name="connsiteX48" fmla="*/ 5975 w 10000"/>
                    <a:gd name="connsiteY48" fmla="*/ 6133 h 10000"/>
                    <a:gd name="connsiteX49" fmla="*/ 5975 w 10000"/>
                    <a:gd name="connsiteY49" fmla="*/ 6133 h 10000"/>
                    <a:gd name="connsiteX50" fmla="*/ 5975 w 10000"/>
                    <a:gd name="connsiteY50" fmla="*/ 6116 h 10000"/>
                    <a:gd name="connsiteX51" fmla="*/ 5975 w 10000"/>
                    <a:gd name="connsiteY51" fmla="*/ 6014 h 10000"/>
                    <a:gd name="connsiteX52" fmla="*/ 5975 w 10000"/>
                    <a:gd name="connsiteY52" fmla="*/ 6014 h 10000"/>
                    <a:gd name="connsiteX53" fmla="*/ 5779 w 10000"/>
                    <a:gd name="connsiteY53" fmla="*/ 5892 h 10000"/>
                    <a:gd name="connsiteX54" fmla="*/ 5389 w 10000"/>
                    <a:gd name="connsiteY54" fmla="*/ 5706 h 10000"/>
                    <a:gd name="connsiteX55" fmla="*/ 4545 w 10000"/>
                    <a:gd name="connsiteY55" fmla="*/ 5349 h 10000"/>
                    <a:gd name="connsiteX56" fmla="*/ 4545 w 10000"/>
                    <a:gd name="connsiteY56" fmla="*/ 5349 h 10000"/>
                    <a:gd name="connsiteX57" fmla="*/ 4352 w 10000"/>
                    <a:gd name="connsiteY57" fmla="*/ 5298 h 10000"/>
                    <a:gd name="connsiteX58" fmla="*/ 4026 w 10000"/>
                    <a:gd name="connsiteY58" fmla="*/ 5230 h 10000"/>
                    <a:gd name="connsiteX59" fmla="*/ 3052 w 10000"/>
                    <a:gd name="connsiteY59" fmla="*/ 5076 h 10000"/>
                    <a:gd name="connsiteX60" fmla="*/ 1689 w 10000"/>
                    <a:gd name="connsiteY60" fmla="*/ 4890 h 10000"/>
                    <a:gd name="connsiteX61" fmla="*/ 1689 w 10000"/>
                    <a:gd name="connsiteY61" fmla="*/ 4890 h 10000"/>
                    <a:gd name="connsiteX62" fmla="*/ 1103 w 10000"/>
                    <a:gd name="connsiteY62" fmla="*/ 4871 h 10000"/>
                    <a:gd name="connsiteX63" fmla="*/ 650 w 10000"/>
                    <a:gd name="connsiteY63" fmla="*/ 4854 h 10000"/>
                    <a:gd name="connsiteX64" fmla="*/ 521 w 10000"/>
                    <a:gd name="connsiteY64" fmla="*/ 4837 h 10000"/>
                    <a:gd name="connsiteX65" fmla="*/ 390 w 10000"/>
                    <a:gd name="connsiteY65" fmla="*/ 4821 h 10000"/>
                    <a:gd name="connsiteX66" fmla="*/ 390 w 10000"/>
                    <a:gd name="connsiteY66" fmla="*/ 4821 h 10000"/>
                    <a:gd name="connsiteX67" fmla="*/ 261 w 10000"/>
                    <a:gd name="connsiteY67" fmla="*/ 4751 h 10000"/>
                    <a:gd name="connsiteX68" fmla="*/ 65 w 10000"/>
                    <a:gd name="connsiteY68" fmla="*/ 4635 h 10000"/>
                    <a:gd name="connsiteX69" fmla="*/ 0 w 10000"/>
                    <a:gd name="connsiteY69" fmla="*/ 4566 h 10000"/>
                    <a:gd name="connsiteX70" fmla="*/ 0 w 10000"/>
                    <a:gd name="connsiteY70" fmla="*/ 4496 h 10000"/>
                    <a:gd name="connsiteX71" fmla="*/ 0 w 10000"/>
                    <a:gd name="connsiteY71" fmla="*/ 4446 h 10000"/>
                    <a:gd name="connsiteX72" fmla="*/ 131 w 10000"/>
                    <a:gd name="connsiteY72" fmla="*/ 4394 h 10000"/>
                    <a:gd name="connsiteX73" fmla="*/ 131 w 10000"/>
                    <a:gd name="connsiteY73" fmla="*/ 4394 h 10000"/>
                    <a:gd name="connsiteX74" fmla="*/ 455 w 10000"/>
                    <a:gd name="connsiteY74" fmla="*/ 4309 h 10000"/>
                    <a:gd name="connsiteX75" fmla="*/ 779 w 10000"/>
                    <a:gd name="connsiteY75" fmla="*/ 4226 h 10000"/>
                    <a:gd name="connsiteX76" fmla="*/ 975 w 10000"/>
                    <a:gd name="connsiteY76" fmla="*/ 4175 h 10000"/>
                    <a:gd name="connsiteX77" fmla="*/ 1103 w 10000"/>
                    <a:gd name="connsiteY77" fmla="*/ 4123 h 10000"/>
                    <a:gd name="connsiteX78" fmla="*/ 1103 w 10000"/>
                    <a:gd name="connsiteY78" fmla="*/ 4054 h 10000"/>
                    <a:gd name="connsiteX79" fmla="*/ 1103 w 10000"/>
                    <a:gd name="connsiteY79" fmla="*/ 3969 h 10000"/>
                    <a:gd name="connsiteX80" fmla="*/ 1103 w 10000"/>
                    <a:gd name="connsiteY80" fmla="*/ 3969 h 10000"/>
                    <a:gd name="connsiteX81" fmla="*/ 845 w 10000"/>
                    <a:gd name="connsiteY81" fmla="*/ 3730 h 10000"/>
                    <a:gd name="connsiteX82" fmla="*/ 521 w 10000"/>
                    <a:gd name="connsiteY82" fmla="*/ 3407 h 10000"/>
                    <a:gd name="connsiteX83" fmla="*/ 261 w 10000"/>
                    <a:gd name="connsiteY83" fmla="*/ 3116 h 10000"/>
                    <a:gd name="connsiteX84" fmla="*/ 195 w 10000"/>
                    <a:gd name="connsiteY84" fmla="*/ 3032 h 10000"/>
                    <a:gd name="connsiteX85" fmla="*/ 195 w 10000"/>
                    <a:gd name="connsiteY85" fmla="*/ 2998 h 10000"/>
                    <a:gd name="connsiteX86" fmla="*/ 261 w 10000"/>
                    <a:gd name="connsiteY86" fmla="*/ 2980 h 10000"/>
                    <a:gd name="connsiteX87" fmla="*/ 261 w 10000"/>
                    <a:gd name="connsiteY87" fmla="*/ 2980 h 10000"/>
                    <a:gd name="connsiteX88" fmla="*/ 650 w 10000"/>
                    <a:gd name="connsiteY88" fmla="*/ 2964 h 10000"/>
                    <a:gd name="connsiteX89" fmla="*/ 908 w 10000"/>
                    <a:gd name="connsiteY89" fmla="*/ 2964 h 10000"/>
                    <a:gd name="connsiteX90" fmla="*/ 1103 w 10000"/>
                    <a:gd name="connsiteY90" fmla="*/ 2980 h 10000"/>
                    <a:gd name="connsiteX91" fmla="*/ 1103 w 10000"/>
                    <a:gd name="connsiteY91" fmla="*/ 2980 h 10000"/>
                    <a:gd name="connsiteX92" fmla="*/ 1168 w 10000"/>
                    <a:gd name="connsiteY92" fmla="*/ 2980 h 10000"/>
                    <a:gd name="connsiteX93" fmla="*/ 1235 w 10000"/>
                    <a:gd name="connsiteY93" fmla="*/ 2948 h 10000"/>
                    <a:gd name="connsiteX94" fmla="*/ 1559 w 10000"/>
                    <a:gd name="connsiteY94" fmla="*/ 2845 h 10000"/>
                    <a:gd name="connsiteX95" fmla="*/ 2402 w 10000"/>
                    <a:gd name="connsiteY95" fmla="*/ 2503 h 10000"/>
                    <a:gd name="connsiteX96" fmla="*/ 3507 w 10000"/>
                    <a:gd name="connsiteY96" fmla="*/ 2012 h 10000"/>
                    <a:gd name="connsiteX97" fmla="*/ 3507 w 10000"/>
                    <a:gd name="connsiteY97" fmla="*/ 2012 h 10000"/>
                    <a:gd name="connsiteX98" fmla="*/ 3507 w 10000"/>
                    <a:gd name="connsiteY98" fmla="*/ 1942 h 10000"/>
                    <a:gd name="connsiteX99" fmla="*/ 3507 w 10000"/>
                    <a:gd name="connsiteY99" fmla="*/ 1786 h 10000"/>
                    <a:gd name="connsiteX100" fmla="*/ 3573 w 10000"/>
                    <a:gd name="connsiteY100" fmla="*/ 1686 h 10000"/>
                    <a:gd name="connsiteX101" fmla="*/ 3702 w 10000"/>
                    <a:gd name="connsiteY101" fmla="*/ 1600 h 10000"/>
                    <a:gd name="connsiteX102" fmla="*/ 3896 w 10000"/>
                    <a:gd name="connsiteY102" fmla="*/ 1499 h 10000"/>
                    <a:gd name="connsiteX103" fmla="*/ 4156 w 10000"/>
                    <a:gd name="connsiteY103" fmla="*/ 1415 h 10000"/>
                    <a:gd name="connsiteX104" fmla="*/ 4156 w 10000"/>
                    <a:gd name="connsiteY104" fmla="*/ 1415 h 10000"/>
                    <a:gd name="connsiteX105" fmla="*/ 4806 w 10000"/>
                    <a:gd name="connsiteY105" fmla="*/ 1245 h 10000"/>
                    <a:gd name="connsiteX106" fmla="*/ 5455 w 10000"/>
                    <a:gd name="connsiteY106" fmla="*/ 1021 h 10000"/>
                    <a:gd name="connsiteX107" fmla="*/ 6104 w 10000"/>
                    <a:gd name="connsiteY107" fmla="*/ 817 h 10000"/>
                    <a:gd name="connsiteX108" fmla="*/ 6559 w 10000"/>
                    <a:gd name="connsiteY108" fmla="*/ 632 h 10000"/>
                    <a:gd name="connsiteX109" fmla="*/ 6559 w 10000"/>
                    <a:gd name="connsiteY109" fmla="*/ 632 h 10000"/>
                    <a:gd name="connsiteX110" fmla="*/ 6882 w 10000"/>
                    <a:gd name="connsiteY110" fmla="*/ 461 h 10000"/>
                    <a:gd name="connsiteX111" fmla="*/ 7273 w 10000"/>
                    <a:gd name="connsiteY111" fmla="*/ 255 h 10000"/>
                    <a:gd name="connsiteX112" fmla="*/ 7663 w 10000"/>
                    <a:gd name="connsiteY112" fmla="*/ 101 h 10000"/>
                    <a:gd name="connsiteX113" fmla="*/ 7856 w 10000"/>
                    <a:gd name="connsiteY113" fmla="*/ 31 h 10000"/>
                    <a:gd name="connsiteX114" fmla="*/ 8051 w 10000"/>
                    <a:gd name="connsiteY114" fmla="*/ 16 h 10000"/>
                    <a:gd name="connsiteX115" fmla="*/ 8051 w 10000"/>
                    <a:gd name="connsiteY115" fmla="*/ 16 h 10000"/>
                    <a:gd name="connsiteX116" fmla="*/ 8442 w 10000"/>
                    <a:gd name="connsiteY116" fmla="*/ 0 h 10000"/>
                    <a:gd name="connsiteX117" fmla="*/ 8961 w 10000"/>
                    <a:gd name="connsiteY117" fmla="*/ 0 h 10000"/>
                    <a:gd name="connsiteX118" fmla="*/ 10000 w 10000"/>
                    <a:gd name="connsiteY118" fmla="*/ 16 h 10000"/>
                    <a:gd name="connsiteX119" fmla="*/ 5389 w 10000"/>
                    <a:gd name="connsiteY119" fmla="*/ 9558 h 10000"/>
                    <a:gd name="connsiteX120" fmla="*/ 5389 w 10000"/>
                    <a:gd name="connsiteY120" fmla="*/ 9489 h 10000"/>
                    <a:gd name="connsiteX121" fmla="*/ 5259 w 10000"/>
                    <a:gd name="connsiteY121" fmla="*/ 9405 h 10000"/>
                    <a:gd name="connsiteX122" fmla="*/ 5195 w 10000"/>
                    <a:gd name="connsiteY122" fmla="*/ 9389 h 10000"/>
                    <a:gd name="connsiteX123" fmla="*/ 4026 w 10000"/>
                    <a:gd name="connsiteY123" fmla="*/ 9507 h 10000"/>
                    <a:gd name="connsiteX124" fmla="*/ 3702 w 10000"/>
                    <a:gd name="connsiteY124" fmla="*/ 9537 h 10000"/>
                    <a:gd name="connsiteX125" fmla="*/ 3247 w 10000"/>
                    <a:gd name="connsiteY125" fmla="*/ 9369 h 10000"/>
                    <a:gd name="connsiteX126" fmla="*/ 3247 w 10000"/>
                    <a:gd name="connsiteY126" fmla="*/ 9369 h 10000"/>
                    <a:gd name="connsiteX127" fmla="*/ 3117 w 10000"/>
                    <a:gd name="connsiteY127" fmla="*/ 9183 h 10000"/>
                    <a:gd name="connsiteX128" fmla="*/ 3117 w 10000"/>
                    <a:gd name="connsiteY128" fmla="*/ 9183 h 10000"/>
                    <a:gd name="connsiteX129" fmla="*/ 3312 w 10000"/>
                    <a:gd name="connsiteY129" fmla="*/ 9129 h 10000"/>
                    <a:gd name="connsiteX130" fmla="*/ 3443 w 10000"/>
                    <a:gd name="connsiteY130" fmla="*/ 9113 h 10000"/>
                    <a:gd name="connsiteX131" fmla="*/ 2661 w 10000"/>
                    <a:gd name="connsiteY131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779 w 10000"/>
                    <a:gd name="connsiteY2" fmla="*/ 9898 h 10000"/>
                    <a:gd name="connsiteX3" fmla="*/ 5389 w 10000"/>
                    <a:gd name="connsiteY3" fmla="*/ 9607 h 10000"/>
                    <a:gd name="connsiteX4" fmla="*/ 5455 w 10000"/>
                    <a:gd name="connsiteY4" fmla="*/ 9537 h 10000"/>
                    <a:gd name="connsiteX5" fmla="*/ 5389 w 10000"/>
                    <a:gd name="connsiteY5" fmla="*/ 9456 h 10000"/>
                    <a:gd name="connsiteX6" fmla="*/ 5389 w 10000"/>
                    <a:gd name="connsiteY6" fmla="*/ 9456 h 10000"/>
                    <a:gd name="connsiteX7" fmla="*/ 5324 w 10000"/>
                    <a:gd name="connsiteY7" fmla="*/ 9405 h 10000"/>
                    <a:gd name="connsiteX8" fmla="*/ 5259 w 10000"/>
                    <a:gd name="connsiteY8" fmla="*/ 9369 h 10000"/>
                    <a:gd name="connsiteX9" fmla="*/ 5128 w 10000"/>
                    <a:gd name="connsiteY9" fmla="*/ 9369 h 10000"/>
                    <a:gd name="connsiteX10" fmla="*/ 4936 w 10000"/>
                    <a:gd name="connsiteY10" fmla="*/ 9389 h 10000"/>
                    <a:gd name="connsiteX11" fmla="*/ 4545 w 10000"/>
                    <a:gd name="connsiteY11" fmla="*/ 9438 h 10000"/>
                    <a:gd name="connsiteX12" fmla="*/ 4026 w 10000"/>
                    <a:gd name="connsiteY12" fmla="*/ 9522 h 10000"/>
                    <a:gd name="connsiteX13" fmla="*/ 4026 w 10000"/>
                    <a:gd name="connsiteY13" fmla="*/ 9522 h 10000"/>
                    <a:gd name="connsiteX14" fmla="*/ 3702 w 10000"/>
                    <a:gd name="connsiteY14" fmla="*/ 9537 h 10000"/>
                    <a:gd name="connsiteX15" fmla="*/ 3573 w 10000"/>
                    <a:gd name="connsiteY15" fmla="*/ 9537 h 10000"/>
                    <a:gd name="connsiteX16" fmla="*/ 3507 w 10000"/>
                    <a:gd name="connsiteY16" fmla="*/ 9522 h 10000"/>
                    <a:gd name="connsiteX17" fmla="*/ 3247 w 10000"/>
                    <a:gd name="connsiteY17" fmla="*/ 9369 h 10000"/>
                    <a:gd name="connsiteX18" fmla="*/ 3247 w 10000"/>
                    <a:gd name="connsiteY18" fmla="*/ 9369 h 10000"/>
                    <a:gd name="connsiteX19" fmla="*/ 3117 w 10000"/>
                    <a:gd name="connsiteY19" fmla="*/ 9319 h 10000"/>
                    <a:gd name="connsiteX20" fmla="*/ 3117 w 10000"/>
                    <a:gd name="connsiteY20" fmla="*/ 9267 h 10000"/>
                    <a:gd name="connsiteX21" fmla="*/ 3117 w 10000"/>
                    <a:gd name="connsiteY21" fmla="*/ 9233 h 10000"/>
                    <a:gd name="connsiteX22" fmla="*/ 3184 w 10000"/>
                    <a:gd name="connsiteY22" fmla="*/ 9198 h 10000"/>
                    <a:gd name="connsiteX23" fmla="*/ 3312 w 10000"/>
                    <a:gd name="connsiteY23" fmla="*/ 9129 h 10000"/>
                    <a:gd name="connsiteX24" fmla="*/ 3443 w 10000"/>
                    <a:gd name="connsiteY24" fmla="*/ 9113 h 10000"/>
                    <a:gd name="connsiteX25" fmla="*/ 3443 w 10000"/>
                    <a:gd name="connsiteY25" fmla="*/ 9113 h 10000"/>
                    <a:gd name="connsiteX26" fmla="*/ 3443 w 10000"/>
                    <a:gd name="connsiteY26" fmla="*/ 9097 h 10000"/>
                    <a:gd name="connsiteX27" fmla="*/ 3507 w 10000"/>
                    <a:gd name="connsiteY27" fmla="*/ 9079 h 10000"/>
                    <a:gd name="connsiteX28" fmla="*/ 7646 w 10000"/>
                    <a:gd name="connsiteY28" fmla="*/ 8817 h 10000"/>
                    <a:gd name="connsiteX29" fmla="*/ 8116 w 10000"/>
                    <a:gd name="connsiteY29" fmla="*/ 8825 h 10000"/>
                    <a:gd name="connsiteX30" fmla="*/ 8116 w 10000"/>
                    <a:gd name="connsiteY30" fmla="*/ 8825 h 10000"/>
                    <a:gd name="connsiteX31" fmla="*/ 8442 w 10000"/>
                    <a:gd name="connsiteY31" fmla="*/ 8791 h 10000"/>
                    <a:gd name="connsiteX32" fmla="*/ 8702 w 10000"/>
                    <a:gd name="connsiteY32" fmla="*/ 8706 h 10000"/>
                    <a:gd name="connsiteX33" fmla="*/ 8636 w 10000"/>
                    <a:gd name="connsiteY33" fmla="*/ 8671 h 10000"/>
                    <a:gd name="connsiteX34" fmla="*/ 8636 w 10000"/>
                    <a:gd name="connsiteY34" fmla="*/ 8638 h 10000"/>
                    <a:gd name="connsiteX35" fmla="*/ 8312 w 10000"/>
                    <a:gd name="connsiteY35" fmla="*/ 8552 h 10000"/>
                    <a:gd name="connsiteX36" fmla="*/ 5975 w 10000"/>
                    <a:gd name="connsiteY36" fmla="*/ 8244 h 10000"/>
                    <a:gd name="connsiteX37" fmla="*/ 5975 w 10000"/>
                    <a:gd name="connsiteY37" fmla="*/ 8244 h 10000"/>
                    <a:gd name="connsiteX38" fmla="*/ 5714 w 10000"/>
                    <a:gd name="connsiteY38" fmla="*/ 8195 h 10000"/>
                    <a:gd name="connsiteX39" fmla="*/ 5519 w 10000"/>
                    <a:gd name="connsiteY39" fmla="*/ 8143 h 10000"/>
                    <a:gd name="connsiteX40" fmla="*/ 5389 w 10000"/>
                    <a:gd name="connsiteY40" fmla="*/ 8092 h 10000"/>
                    <a:gd name="connsiteX41" fmla="*/ 5389 w 10000"/>
                    <a:gd name="connsiteY41" fmla="*/ 8092 h 10000"/>
                    <a:gd name="connsiteX42" fmla="*/ 7729 w 10000"/>
                    <a:gd name="connsiteY42" fmla="*/ 8074 h 10000"/>
                    <a:gd name="connsiteX43" fmla="*/ 10000 w 10000"/>
                    <a:gd name="connsiteY43" fmla="*/ 8244 h 10000"/>
                    <a:gd name="connsiteX44" fmla="*/ 10000 w 10000"/>
                    <a:gd name="connsiteY44" fmla="*/ 6696 h 10000"/>
                    <a:gd name="connsiteX45" fmla="*/ 10000 w 10000"/>
                    <a:gd name="connsiteY45" fmla="*/ 6696 h 10000"/>
                    <a:gd name="connsiteX46" fmla="*/ 7404 w 10000"/>
                    <a:gd name="connsiteY46" fmla="*/ 6336 h 10000"/>
                    <a:gd name="connsiteX47" fmla="*/ 5975 w 10000"/>
                    <a:gd name="connsiteY47" fmla="*/ 6133 h 10000"/>
                    <a:gd name="connsiteX48" fmla="*/ 5975 w 10000"/>
                    <a:gd name="connsiteY48" fmla="*/ 6133 h 10000"/>
                    <a:gd name="connsiteX49" fmla="*/ 5975 w 10000"/>
                    <a:gd name="connsiteY49" fmla="*/ 6116 h 10000"/>
                    <a:gd name="connsiteX50" fmla="*/ 5975 w 10000"/>
                    <a:gd name="connsiteY50" fmla="*/ 6014 h 10000"/>
                    <a:gd name="connsiteX51" fmla="*/ 5975 w 10000"/>
                    <a:gd name="connsiteY51" fmla="*/ 6014 h 10000"/>
                    <a:gd name="connsiteX52" fmla="*/ 5779 w 10000"/>
                    <a:gd name="connsiteY52" fmla="*/ 5892 h 10000"/>
                    <a:gd name="connsiteX53" fmla="*/ 5389 w 10000"/>
                    <a:gd name="connsiteY53" fmla="*/ 5706 h 10000"/>
                    <a:gd name="connsiteX54" fmla="*/ 4545 w 10000"/>
                    <a:gd name="connsiteY54" fmla="*/ 5349 h 10000"/>
                    <a:gd name="connsiteX55" fmla="*/ 4545 w 10000"/>
                    <a:gd name="connsiteY55" fmla="*/ 5349 h 10000"/>
                    <a:gd name="connsiteX56" fmla="*/ 4352 w 10000"/>
                    <a:gd name="connsiteY56" fmla="*/ 5298 h 10000"/>
                    <a:gd name="connsiteX57" fmla="*/ 4026 w 10000"/>
                    <a:gd name="connsiteY57" fmla="*/ 5230 h 10000"/>
                    <a:gd name="connsiteX58" fmla="*/ 3052 w 10000"/>
                    <a:gd name="connsiteY58" fmla="*/ 5076 h 10000"/>
                    <a:gd name="connsiteX59" fmla="*/ 1689 w 10000"/>
                    <a:gd name="connsiteY59" fmla="*/ 4890 h 10000"/>
                    <a:gd name="connsiteX60" fmla="*/ 1689 w 10000"/>
                    <a:gd name="connsiteY60" fmla="*/ 4890 h 10000"/>
                    <a:gd name="connsiteX61" fmla="*/ 1103 w 10000"/>
                    <a:gd name="connsiteY61" fmla="*/ 4871 h 10000"/>
                    <a:gd name="connsiteX62" fmla="*/ 650 w 10000"/>
                    <a:gd name="connsiteY62" fmla="*/ 4854 h 10000"/>
                    <a:gd name="connsiteX63" fmla="*/ 521 w 10000"/>
                    <a:gd name="connsiteY63" fmla="*/ 4837 h 10000"/>
                    <a:gd name="connsiteX64" fmla="*/ 390 w 10000"/>
                    <a:gd name="connsiteY64" fmla="*/ 4821 h 10000"/>
                    <a:gd name="connsiteX65" fmla="*/ 390 w 10000"/>
                    <a:gd name="connsiteY65" fmla="*/ 4821 h 10000"/>
                    <a:gd name="connsiteX66" fmla="*/ 261 w 10000"/>
                    <a:gd name="connsiteY66" fmla="*/ 4751 h 10000"/>
                    <a:gd name="connsiteX67" fmla="*/ 65 w 10000"/>
                    <a:gd name="connsiteY67" fmla="*/ 4635 h 10000"/>
                    <a:gd name="connsiteX68" fmla="*/ 0 w 10000"/>
                    <a:gd name="connsiteY68" fmla="*/ 4566 h 10000"/>
                    <a:gd name="connsiteX69" fmla="*/ 0 w 10000"/>
                    <a:gd name="connsiteY69" fmla="*/ 4496 h 10000"/>
                    <a:gd name="connsiteX70" fmla="*/ 0 w 10000"/>
                    <a:gd name="connsiteY70" fmla="*/ 4446 h 10000"/>
                    <a:gd name="connsiteX71" fmla="*/ 131 w 10000"/>
                    <a:gd name="connsiteY71" fmla="*/ 4394 h 10000"/>
                    <a:gd name="connsiteX72" fmla="*/ 131 w 10000"/>
                    <a:gd name="connsiteY72" fmla="*/ 4394 h 10000"/>
                    <a:gd name="connsiteX73" fmla="*/ 455 w 10000"/>
                    <a:gd name="connsiteY73" fmla="*/ 4309 h 10000"/>
                    <a:gd name="connsiteX74" fmla="*/ 779 w 10000"/>
                    <a:gd name="connsiteY74" fmla="*/ 4226 h 10000"/>
                    <a:gd name="connsiteX75" fmla="*/ 975 w 10000"/>
                    <a:gd name="connsiteY75" fmla="*/ 4175 h 10000"/>
                    <a:gd name="connsiteX76" fmla="*/ 1103 w 10000"/>
                    <a:gd name="connsiteY76" fmla="*/ 4123 h 10000"/>
                    <a:gd name="connsiteX77" fmla="*/ 1103 w 10000"/>
                    <a:gd name="connsiteY77" fmla="*/ 4054 h 10000"/>
                    <a:gd name="connsiteX78" fmla="*/ 1103 w 10000"/>
                    <a:gd name="connsiteY78" fmla="*/ 3969 h 10000"/>
                    <a:gd name="connsiteX79" fmla="*/ 1103 w 10000"/>
                    <a:gd name="connsiteY79" fmla="*/ 3969 h 10000"/>
                    <a:gd name="connsiteX80" fmla="*/ 845 w 10000"/>
                    <a:gd name="connsiteY80" fmla="*/ 3730 h 10000"/>
                    <a:gd name="connsiteX81" fmla="*/ 521 w 10000"/>
                    <a:gd name="connsiteY81" fmla="*/ 3407 h 10000"/>
                    <a:gd name="connsiteX82" fmla="*/ 261 w 10000"/>
                    <a:gd name="connsiteY82" fmla="*/ 3116 h 10000"/>
                    <a:gd name="connsiteX83" fmla="*/ 195 w 10000"/>
                    <a:gd name="connsiteY83" fmla="*/ 3032 h 10000"/>
                    <a:gd name="connsiteX84" fmla="*/ 195 w 10000"/>
                    <a:gd name="connsiteY84" fmla="*/ 2998 h 10000"/>
                    <a:gd name="connsiteX85" fmla="*/ 261 w 10000"/>
                    <a:gd name="connsiteY85" fmla="*/ 2980 h 10000"/>
                    <a:gd name="connsiteX86" fmla="*/ 261 w 10000"/>
                    <a:gd name="connsiteY86" fmla="*/ 2980 h 10000"/>
                    <a:gd name="connsiteX87" fmla="*/ 650 w 10000"/>
                    <a:gd name="connsiteY87" fmla="*/ 2964 h 10000"/>
                    <a:gd name="connsiteX88" fmla="*/ 908 w 10000"/>
                    <a:gd name="connsiteY88" fmla="*/ 2964 h 10000"/>
                    <a:gd name="connsiteX89" fmla="*/ 1103 w 10000"/>
                    <a:gd name="connsiteY89" fmla="*/ 2980 h 10000"/>
                    <a:gd name="connsiteX90" fmla="*/ 1103 w 10000"/>
                    <a:gd name="connsiteY90" fmla="*/ 2980 h 10000"/>
                    <a:gd name="connsiteX91" fmla="*/ 1168 w 10000"/>
                    <a:gd name="connsiteY91" fmla="*/ 2980 h 10000"/>
                    <a:gd name="connsiteX92" fmla="*/ 1235 w 10000"/>
                    <a:gd name="connsiteY92" fmla="*/ 2948 h 10000"/>
                    <a:gd name="connsiteX93" fmla="*/ 1559 w 10000"/>
                    <a:gd name="connsiteY93" fmla="*/ 2845 h 10000"/>
                    <a:gd name="connsiteX94" fmla="*/ 2402 w 10000"/>
                    <a:gd name="connsiteY94" fmla="*/ 2503 h 10000"/>
                    <a:gd name="connsiteX95" fmla="*/ 3507 w 10000"/>
                    <a:gd name="connsiteY95" fmla="*/ 2012 h 10000"/>
                    <a:gd name="connsiteX96" fmla="*/ 3507 w 10000"/>
                    <a:gd name="connsiteY96" fmla="*/ 2012 h 10000"/>
                    <a:gd name="connsiteX97" fmla="*/ 3507 w 10000"/>
                    <a:gd name="connsiteY97" fmla="*/ 1942 h 10000"/>
                    <a:gd name="connsiteX98" fmla="*/ 3507 w 10000"/>
                    <a:gd name="connsiteY98" fmla="*/ 1786 h 10000"/>
                    <a:gd name="connsiteX99" fmla="*/ 3573 w 10000"/>
                    <a:gd name="connsiteY99" fmla="*/ 1686 h 10000"/>
                    <a:gd name="connsiteX100" fmla="*/ 3702 w 10000"/>
                    <a:gd name="connsiteY100" fmla="*/ 1600 h 10000"/>
                    <a:gd name="connsiteX101" fmla="*/ 3896 w 10000"/>
                    <a:gd name="connsiteY101" fmla="*/ 1499 h 10000"/>
                    <a:gd name="connsiteX102" fmla="*/ 4156 w 10000"/>
                    <a:gd name="connsiteY102" fmla="*/ 1415 h 10000"/>
                    <a:gd name="connsiteX103" fmla="*/ 4156 w 10000"/>
                    <a:gd name="connsiteY103" fmla="*/ 1415 h 10000"/>
                    <a:gd name="connsiteX104" fmla="*/ 4806 w 10000"/>
                    <a:gd name="connsiteY104" fmla="*/ 1245 h 10000"/>
                    <a:gd name="connsiteX105" fmla="*/ 5455 w 10000"/>
                    <a:gd name="connsiteY105" fmla="*/ 1021 h 10000"/>
                    <a:gd name="connsiteX106" fmla="*/ 6104 w 10000"/>
                    <a:gd name="connsiteY106" fmla="*/ 817 h 10000"/>
                    <a:gd name="connsiteX107" fmla="*/ 6559 w 10000"/>
                    <a:gd name="connsiteY107" fmla="*/ 632 h 10000"/>
                    <a:gd name="connsiteX108" fmla="*/ 6559 w 10000"/>
                    <a:gd name="connsiteY108" fmla="*/ 632 h 10000"/>
                    <a:gd name="connsiteX109" fmla="*/ 6882 w 10000"/>
                    <a:gd name="connsiteY109" fmla="*/ 461 h 10000"/>
                    <a:gd name="connsiteX110" fmla="*/ 7273 w 10000"/>
                    <a:gd name="connsiteY110" fmla="*/ 255 h 10000"/>
                    <a:gd name="connsiteX111" fmla="*/ 7663 w 10000"/>
                    <a:gd name="connsiteY111" fmla="*/ 101 h 10000"/>
                    <a:gd name="connsiteX112" fmla="*/ 7856 w 10000"/>
                    <a:gd name="connsiteY112" fmla="*/ 31 h 10000"/>
                    <a:gd name="connsiteX113" fmla="*/ 8051 w 10000"/>
                    <a:gd name="connsiteY113" fmla="*/ 16 h 10000"/>
                    <a:gd name="connsiteX114" fmla="*/ 8051 w 10000"/>
                    <a:gd name="connsiteY114" fmla="*/ 16 h 10000"/>
                    <a:gd name="connsiteX115" fmla="*/ 8442 w 10000"/>
                    <a:gd name="connsiteY115" fmla="*/ 0 h 10000"/>
                    <a:gd name="connsiteX116" fmla="*/ 8961 w 10000"/>
                    <a:gd name="connsiteY116" fmla="*/ 0 h 10000"/>
                    <a:gd name="connsiteX117" fmla="*/ 10000 w 10000"/>
                    <a:gd name="connsiteY117" fmla="*/ 16 h 10000"/>
                    <a:gd name="connsiteX118" fmla="*/ 5389 w 10000"/>
                    <a:gd name="connsiteY118" fmla="*/ 9558 h 10000"/>
                    <a:gd name="connsiteX119" fmla="*/ 5389 w 10000"/>
                    <a:gd name="connsiteY119" fmla="*/ 9489 h 10000"/>
                    <a:gd name="connsiteX120" fmla="*/ 5259 w 10000"/>
                    <a:gd name="connsiteY120" fmla="*/ 9405 h 10000"/>
                    <a:gd name="connsiteX121" fmla="*/ 5195 w 10000"/>
                    <a:gd name="connsiteY121" fmla="*/ 9389 h 10000"/>
                    <a:gd name="connsiteX122" fmla="*/ 4026 w 10000"/>
                    <a:gd name="connsiteY122" fmla="*/ 9507 h 10000"/>
                    <a:gd name="connsiteX123" fmla="*/ 3702 w 10000"/>
                    <a:gd name="connsiteY123" fmla="*/ 9537 h 10000"/>
                    <a:gd name="connsiteX124" fmla="*/ 3247 w 10000"/>
                    <a:gd name="connsiteY124" fmla="*/ 9369 h 10000"/>
                    <a:gd name="connsiteX125" fmla="*/ 3247 w 10000"/>
                    <a:gd name="connsiteY125" fmla="*/ 9369 h 10000"/>
                    <a:gd name="connsiteX126" fmla="*/ 3117 w 10000"/>
                    <a:gd name="connsiteY126" fmla="*/ 9183 h 10000"/>
                    <a:gd name="connsiteX127" fmla="*/ 3117 w 10000"/>
                    <a:gd name="connsiteY127" fmla="*/ 9183 h 10000"/>
                    <a:gd name="connsiteX128" fmla="*/ 3312 w 10000"/>
                    <a:gd name="connsiteY128" fmla="*/ 9129 h 10000"/>
                    <a:gd name="connsiteX129" fmla="*/ 3443 w 10000"/>
                    <a:gd name="connsiteY129" fmla="*/ 9113 h 10000"/>
                    <a:gd name="connsiteX130" fmla="*/ 2661 w 10000"/>
                    <a:gd name="connsiteY130" fmla="*/ 9129 h 10000"/>
                    <a:gd name="connsiteX0" fmla="*/ 2661 w 10000"/>
                    <a:gd name="connsiteY0" fmla="*/ 9129 h 10000"/>
                    <a:gd name="connsiteX1" fmla="*/ 7856 w 10000"/>
                    <a:gd name="connsiteY1" fmla="*/ 10000 h 10000"/>
                    <a:gd name="connsiteX2" fmla="*/ 5389 w 10000"/>
                    <a:gd name="connsiteY2" fmla="*/ 9607 h 10000"/>
                    <a:gd name="connsiteX3" fmla="*/ 5455 w 10000"/>
                    <a:gd name="connsiteY3" fmla="*/ 9537 h 10000"/>
                    <a:gd name="connsiteX4" fmla="*/ 5389 w 10000"/>
                    <a:gd name="connsiteY4" fmla="*/ 9456 h 10000"/>
                    <a:gd name="connsiteX5" fmla="*/ 5389 w 10000"/>
                    <a:gd name="connsiteY5" fmla="*/ 9456 h 10000"/>
                    <a:gd name="connsiteX6" fmla="*/ 5324 w 10000"/>
                    <a:gd name="connsiteY6" fmla="*/ 9405 h 10000"/>
                    <a:gd name="connsiteX7" fmla="*/ 5259 w 10000"/>
                    <a:gd name="connsiteY7" fmla="*/ 9369 h 10000"/>
                    <a:gd name="connsiteX8" fmla="*/ 5128 w 10000"/>
                    <a:gd name="connsiteY8" fmla="*/ 9369 h 10000"/>
                    <a:gd name="connsiteX9" fmla="*/ 4936 w 10000"/>
                    <a:gd name="connsiteY9" fmla="*/ 9389 h 10000"/>
                    <a:gd name="connsiteX10" fmla="*/ 4545 w 10000"/>
                    <a:gd name="connsiteY10" fmla="*/ 9438 h 10000"/>
                    <a:gd name="connsiteX11" fmla="*/ 4026 w 10000"/>
                    <a:gd name="connsiteY11" fmla="*/ 9522 h 10000"/>
                    <a:gd name="connsiteX12" fmla="*/ 4026 w 10000"/>
                    <a:gd name="connsiteY12" fmla="*/ 9522 h 10000"/>
                    <a:gd name="connsiteX13" fmla="*/ 3702 w 10000"/>
                    <a:gd name="connsiteY13" fmla="*/ 9537 h 10000"/>
                    <a:gd name="connsiteX14" fmla="*/ 3573 w 10000"/>
                    <a:gd name="connsiteY14" fmla="*/ 9537 h 10000"/>
                    <a:gd name="connsiteX15" fmla="*/ 3507 w 10000"/>
                    <a:gd name="connsiteY15" fmla="*/ 9522 h 10000"/>
                    <a:gd name="connsiteX16" fmla="*/ 3247 w 10000"/>
                    <a:gd name="connsiteY16" fmla="*/ 9369 h 10000"/>
                    <a:gd name="connsiteX17" fmla="*/ 3247 w 10000"/>
                    <a:gd name="connsiteY17" fmla="*/ 9369 h 10000"/>
                    <a:gd name="connsiteX18" fmla="*/ 3117 w 10000"/>
                    <a:gd name="connsiteY18" fmla="*/ 9319 h 10000"/>
                    <a:gd name="connsiteX19" fmla="*/ 3117 w 10000"/>
                    <a:gd name="connsiteY19" fmla="*/ 9267 h 10000"/>
                    <a:gd name="connsiteX20" fmla="*/ 3117 w 10000"/>
                    <a:gd name="connsiteY20" fmla="*/ 9233 h 10000"/>
                    <a:gd name="connsiteX21" fmla="*/ 3184 w 10000"/>
                    <a:gd name="connsiteY21" fmla="*/ 9198 h 10000"/>
                    <a:gd name="connsiteX22" fmla="*/ 3312 w 10000"/>
                    <a:gd name="connsiteY22" fmla="*/ 9129 h 10000"/>
                    <a:gd name="connsiteX23" fmla="*/ 3443 w 10000"/>
                    <a:gd name="connsiteY23" fmla="*/ 9113 h 10000"/>
                    <a:gd name="connsiteX24" fmla="*/ 3443 w 10000"/>
                    <a:gd name="connsiteY24" fmla="*/ 9113 h 10000"/>
                    <a:gd name="connsiteX25" fmla="*/ 3443 w 10000"/>
                    <a:gd name="connsiteY25" fmla="*/ 9097 h 10000"/>
                    <a:gd name="connsiteX26" fmla="*/ 3507 w 10000"/>
                    <a:gd name="connsiteY26" fmla="*/ 9079 h 10000"/>
                    <a:gd name="connsiteX27" fmla="*/ 7646 w 10000"/>
                    <a:gd name="connsiteY27" fmla="*/ 8817 h 10000"/>
                    <a:gd name="connsiteX28" fmla="*/ 8116 w 10000"/>
                    <a:gd name="connsiteY28" fmla="*/ 8825 h 10000"/>
                    <a:gd name="connsiteX29" fmla="*/ 8116 w 10000"/>
                    <a:gd name="connsiteY29" fmla="*/ 8825 h 10000"/>
                    <a:gd name="connsiteX30" fmla="*/ 8442 w 10000"/>
                    <a:gd name="connsiteY30" fmla="*/ 8791 h 10000"/>
                    <a:gd name="connsiteX31" fmla="*/ 8702 w 10000"/>
                    <a:gd name="connsiteY31" fmla="*/ 8706 h 10000"/>
                    <a:gd name="connsiteX32" fmla="*/ 8636 w 10000"/>
                    <a:gd name="connsiteY32" fmla="*/ 8671 h 10000"/>
                    <a:gd name="connsiteX33" fmla="*/ 8636 w 10000"/>
                    <a:gd name="connsiteY33" fmla="*/ 8638 h 10000"/>
                    <a:gd name="connsiteX34" fmla="*/ 8312 w 10000"/>
                    <a:gd name="connsiteY34" fmla="*/ 8552 h 10000"/>
                    <a:gd name="connsiteX35" fmla="*/ 5975 w 10000"/>
                    <a:gd name="connsiteY35" fmla="*/ 8244 h 10000"/>
                    <a:gd name="connsiteX36" fmla="*/ 5975 w 10000"/>
                    <a:gd name="connsiteY36" fmla="*/ 8244 h 10000"/>
                    <a:gd name="connsiteX37" fmla="*/ 5714 w 10000"/>
                    <a:gd name="connsiteY37" fmla="*/ 8195 h 10000"/>
                    <a:gd name="connsiteX38" fmla="*/ 5519 w 10000"/>
                    <a:gd name="connsiteY38" fmla="*/ 8143 h 10000"/>
                    <a:gd name="connsiteX39" fmla="*/ 5389 w 10000"/>
                    <a:gd name="connsiteY39" fmla="*/ 8092 h 10000"/>
                    <a:gd name="connsiteX40" fmla="*/ 5389 w 10000"/>
                    <a:gd name="connsiteY40" fmla="*/ 8092 h 10000"/>
                    <a:gd name="connsiteX41" fmla="*/ 7729 w 10000"/>
                    <a:gd name="connsiteY41" fmla="*/ 8074 h 10000"/>
                    <a:gd name="connsiteX42" fmla="*/ 10000 w 10000"/>
                    <a:gd name="connsiteY42" fmla="*/ 8244 h 10000"/>
                    <a:gd name="connsiteX43" fmla="*/ 10000 w 10000"/>
                    <a:gd name="connsiteY43" fmla="*/ 6696 h 10000"/>
                    <a:gd name="connsiteX44" fmla="*/ 10000 w 10000"/>
                    <a:gd name="connsiteY44" fmla="*/ 6696 h 10000"/>
                    <a:gd name="connsiteX45" fmla="*/ 7404 w 10000"/>
                    <a:gd name="connsiteY45" fmla="*/ 6336 h 10000"/>
                    <a:gd name="connsiteX46" fmla="*/ 5975 w 10000"/>
                    <a:gd name="connsiteY46" fmla="*/ 6133 h 10000"/>
                    <a:gd name="connsiteX47" fmla="*/ 5975 w 10000"/>
                    <a:gd name="connsiteY47" fmla="*/ 6133 h 10000"/>
                    <a:gd name="connsiteX48" fmla="*/ 5975 w 10000"/>
                    <a:gd name="connsiteY48" fmla="*/ 6116 h 10000"/>
                    <a:gd name="connsiteX49" fmla="*/ 5975 w 10000"/>
                    <a:gd name="connsiteY49" fmla="*/ 6014 h 10000"/>
                    <a:gd name="connsiteX50" fmla="*/ 5975 w 10000"/>
                    <a:gd name="connsiteY50" fmla="*/ 6014 h 10000"/>
                    <a:gd name="connsiteX51" fmla="*/ 5779 w 10000"/>
                    <a:gd name="connsiteY51" fmla="*/ 5892 h 10000"/>
                    <a:gd name="connsiteX52" fmla="*/ 5389 w 10000"/>
                    <a:gd name="connsiteY52" fmla="*/ 5706 h 10000"/>
                    <a:gd name="connsiteX53" fmla="*/ 4545 w 10000"/>
                    <a:gd name="connsiteY53" fmla="*/ 5349 h 10000"/>
                    <a:gd name="connsiteX54" fmla="*/ 4545 w 10000"/>
                    <a:gd name="connsiteY54" fmla="*/ 5349 h 10000"/>
                    <a:gd name="connsiteX55" fmla="*/ 4352 w 10000"/>
                    <a:gd name="connsiteY55" fmla="*/ 5298 h 10000"/>
                    <a:gd name="connsiteX56" fmla="*/ 4026 w 10000"/>
                    <a:gd name="connsiteY56" fmla="*/ 5230 h 10000"/>
                    <a:gd name="connsiteX57" fmla="*/ 3052 w 10000"/>
                    <a:gd name="connsiteY57" fmla="*/ 5076 h 10000"/>
                    <a:gd name="connsiteX58" fmla="*/ 1689 w 10000"/>
                    <a:gd name="connsiteY58" fmla="*/ 4890 h 10000"/>
                    <a:gd name="connsiteX59" fmla="*/ 1689 w 10000"/>
                    <a:gd name="connsiteY59" fmla="*/ 4890 h 10000"/>
                    <a:gd name="connsiteX60" fmla="*/ 1103 w 10000"/>
                    <a:gd name="connsiteY60" fmla="*/ 4871 h 10000"/>
                    <a:gd name="connsiteX61" fmla="*/ 650 w 10000"/>
                    <a:gd name="connsiteY61" fmla="*/ 4854 h 10000"/>
                    <a:gd name="connsiteX62" fmla="*/ 521 w 10000"/>
                    <a:gd name="connsiteY62" fmla="*/ 4837 h 10000"/>
                    <a:gd name="connsiteX63" fmla="*/ 390 w 10000"/>
                    <a:gd name="connsiteY63" fmla="*/ 4821 h 10000"/>
                    <a:gd name="connsiteX64" fmla="*/ 390 w 10000"/>
                    <a:gd name="connsiteY64" fmla="*/ 4821 h 10000"/>
                    <a:gd name="connsiteX65" fmla="*/ 261 w 10000"/>
                    <a:gd name="connsiteY65" fmla="*/ 4751 h 10000"/>
                    <a:gd name="connsiteX66" fmla="*/ 65 w 10000"/>
                    <a:gd name="connsiteY66" fmla="*/ 4635 h 10000"/>
                    <a:gd name="connsiteX67" fmla="*/ 0 w 10000"/>
                    <a:gd name="connsiteY67" fmla="*/ 4566 h 10000"/>
                    <a:gd name="connsiteX68" fmla="*/ 0 w 10000"/>
                    <a:gd name="connsiteY68" fmla="*/ 4496 h 10000"/>
                    <a:gd name="connsiteX69" fmla="*/ 0 w 10000"/>
                    <a:gd name="connsiteY69" fmla="*/ 4446 h 10000"/>
                    <a:gd name="connsiteX70" fmla="*/ 131 w 10000"/>
                    <a:gd name="connsiteY70" fmla="*/ 4394 h 10000"/>
                    <a:gd name="connsiteX71" fmla="*/ 131 w 10000"/>
                    <a:gd name="connsiteY71" fmla="*/ 4394 h 10000"/>
                    <a:gd name="connsiteX72" fmla="*/ 455 w 10000"/>
                    <a:gd name="connsiteY72" fmla="*/ 4309 h 10000"/>
                    <a:gd name="connsiteX73" fmla="*/ 779 w 10000"/>
                    <a:gd name="connsiteY73" fmla="*/ 4226 h 10000"/>
                    <a:gd name="connsiteX74" fmla="*/ 975 w 10000"/>
                    <a:gd name="connsiteY74" fmla="*/ 4175 h 10000"/>
                    <a:gd name="connsiteX75" fmla="*/ 1103 w 10000"/>
                    <a:gd name="connsiteY75" fmla="*/ 4123 h 10000"/>
                    <a:gd name="connsiteX76" fmla="*/ 1103 w 10000"/>
                    <a:gd name="connsiteY76" fmla="*/ 4054 h 10000"/>
                    <a:gd name="connsiteX77" fmla="*/ 1103 w 10000"/>
                    <a:gd name="connsiteY77" fmla="*/ 3969 h 10000"/>
                    <a:gd name="connsiteX78" fmla="*/ 1103 w 10000"/>
                    <a:gd name="connsiteY78" fmla="*/ 3969 h 10000"/>
                    <a:gd name="connsiteX79" fmla="*/ 845 w 10000"/>
                    <a:gd name="connsiteY79" fmla="*/ 3730 h 10000"/>
                    <a:gd name="connsiteX80" fmla="*/ 521 w 10000"/>
                    <a:gd name="connsiteY80" fmla="*/ 3407 h 10000"/>
                    <a:gd name="connsiteX81" fmla="*/ 261 w 10000"/>
                    <a:gd name="connsiteY81" fmla="*/ 3116 h 10000"/>
                    <a:gd name="connsiteX82" fmla="*/ 195 w 10000"/>
                    <a:gd name="connsiteY82" fmla="*/ 3032 h 10000"/>
                    <a:gd name="connsiteX83" fmla="*/ 195 w 10000"/>
                    <a:gd name="connsiteY83" fmla="*/ 2998 h 10000"/>
                    <a:gd name="connsiteX84" fmla="*/ 261 w 10000"/>
                    <a:gd name="connsiteY84" fmla="*/ 2980 h 10000"/>
                    <a:gd name="connsiteX85" fmla="*/ 261 w 10000"/>
                    <a:gd name="connsiteY85" fmla="*/ 2980 h 10000"/>
                    <a:gd name="connsiteX86" fmla="*/ 650 w 10000"/>
                    <a:gd name="connsiteY86" fmla="*/ 2964 h 10000"/>
                    <a:gd name="connsiteX87" fmla="*/ 908 w 10000"/>
                    <a:gd name="connsiteY87" fmla="*/ 2964 h 10000"/>
                    <a:gd name="connsiteX88" fmla="*/ 1103 w 10000"/>
                    <a:gd name="connsiteY88" fmla="*/ 2980 h 10000"/>
                    <a:gd name="connsiteX89" fmla="*/ 1103 w 10000"/>
                    <a:gd name="connsiteY89" fmla="*/ 2980 h 10000"/>
                    <a:gd name="connsiteX90" fmla="*/ 1168 w 10000"/>
                    <a:gd name="connsiteY90" fmla="*/ 2980 h 10000"/>
                    <a:gd name="connsiteX91" fmla="*/ 1235 w 10000"/>
                    <a:gd name="connsiteY91" fmla="*/ 2948 h 10000"/>
                    <a:gd name="connsiteX92" fmla="*/ 1559 w 10000"/>
                    <a:gd name="connsiteY92" fmla="*/ 2845 h 10000"/>
                    <a:gd name="connsiteX93" fmla="*/ 2402 w 10000"/>
                    <a:gd name="connsiteY93" fmla="*/ 2503 h 10000"/>
                    <a:gd name="connsiteX94" fmla="*/ 3507 w 10000"/>
                    <a:gd name="connsiteY94" fmla="*/ 2012 h 10000"/>
                    <a:gd name="connsiteX95" fmla="*/ 3507 w 10000"/>
                    <a:gd name="connsiteY95" fmla="*/ 2012 h 10000"/>
                    <a:gd name="connsiteX96" fmla="*/ 3507 w 10000"/>
                    <a:gd name="connsiteY96" fmla="*/ 1942 h 10000"/>
                    <a:gd name="connsiteX97" fmla="*/ 3507 w 10000"/>
                    <a:gd name="connsiteY97" fmla="*/ 1786 h 10000"/>
                    <a:gd name="connsiteX98" fmla="*/ 3573 w 10000"/>
                    <a:gd name="connsiteY98" fmla="*/ 1686 h 10000"/>
                    <a:gd name="connsiteX99" fmla="*/ 3702 w 10000"/>
                    <a:gd name="connsiteY99" fmla="*/ 1600 h 10000"/>
                    <a:gd name="connsiteX100" fmla="*/ 3896 w 10000"/>
                    <a:gd name="connsiteY100" fmla="*/ 1499 h 10000"/>
                    <a:gd name="connsiteX101" fmla="*/ 4156 w 10000"/>
                    <a:gd name="connsiteY101" fmla="*/ 1415 h 10000"/>
                    <a:gd name="connsiteX102" fmla="*/ 4156 w 10000"/>
                    <a:gd name="connsiteY102" fmla="*/ 1415 h 10000"/>
                    <a:gd name="connsiteX103" fmla="*/ 4806 w 10000"/>
                    <a:gd name="connsiteY103" fmla="*/ 1245 h 10000"/>
                    <a:gd name="connsiteX104" fmla="*/ 5455 w 10000"/>
                    <a:gd name="connsiteY104" fmla="*/ 1021 h 10000"/>
                    <a:gd name="connsiteX105" fmla="*/ 6104 w 10000"/>
                    <a:gd name="connsiteY105" fmla="*/ 817 h 10000"/>
                    <a:gd name="connsiteX106" fmla="*/ 6559 w 10000"/>
                    <a:gd name="connsiteY106" fmla="*/ 632 h 10000"/>
                    <a:gd name="connsiteX107" fmla="*/ 6559 w 10000"/>
                    <a:gd name="connsiteY107" fmla="*/ 632 h 10000"/>
                    <a:gd name="connsiteX108" fmla="*/ 6882 w 10000"/>
                    <a:gd name="connsiteY108" fmla="*/ 461 h 10000"/>
                    <a:gd name="connsiteX109" fmla="*/ 7273 w 10000"/>
                    <a:gd name="connsiteY109" fmla="*/ 255 h 10000"/>
                    <a:gd name="connsiteX110" fmla="*/ 7663 w 10000"/>
                    <a:gd name="connsiteY110" fmla="*/ 101 h 10000"/>
                    <a:gd name="connsiteX111" fmla="*/ 7856 w 10000"/>
                    <a:gd name="connsiteY111" fmla="*/ 31 h 10000"/>
                    <a:gd name="connsiteX112" fmla="*/ 8051 w 10000"/>
                    <a:gd name="connsiteY112" fmla="*/ 16 h 10000"/>
                    <a:gd name="connsiteX113" fmla="*/ 8051 w 10000"/>
                    <a:gd name="connsiteY113" fmla="*/ 16 h 10000"/>
                    <a:gd name="connsiteX114" fmla="*/ 8442 w 10000"/>
                    <a:gd name="connsiteY114" fmla="*/ 0 h 10000"/>
                    <a:gd name="connsiteX115" fmla="*/ 8961 w 10000"/>
                    <a:gd name="connsiteY115" fmla="*/ 0 h 10000"/>
                    <a:gd name="connsiteX116" fmla="*/ 10000 w 10000"/>
                    <a:gd name="connsiteY116" fmla="*/ 16 h 10000"/>
                    <a:gd name="connsiteX117" fmla="*/ 5389 w 10000"/>
                    <a:gd name="connsiteY117" fmla="*/ 9558 h 10000"/>
                    <a:gd name="connsiteX118" fmla="*/ 5389 w 10000"/>
                    <a:gd name="connsiteY118" fmla="*/ 9489 h 10000"/>
                    <a:gd name="connsiteX119" fmla="*/ 5259 w 10000"/>
                    <a:gd name="connsiteY119" fmla="*/ 9405 h 10000"/>
                    <a:gd name="connsiteX120" fmla="*/ 5195 w 10000"/>
                    <a:gd name="connsiteY120" fmla="*/ 9389 h 10000"/>
                    <a:gd name="connsiteX121" fmla="*/ 4026 w 10000"/>
                    <a:gd name="connsiteY121" fmla="*/ 9507 h 10000"/>
                    <a:gd name="connsiteX122" fmla="*/ 3702 w 10000"/>
                    <a:gd name="connsiteY122" fmla="*/ 9537 h 10000"/>
                    <a:gd name="connsiteX123" fmla="*/ 3247 w 10000"/>
                    <a:gd name="connsiteY123" fmla="*/ 9369 h 10000"/>
                    <a:gd name="connsiteX124" fmla="*/ 3247 w 10000"/>
                    <a:gd name="connsiteY124" fmla="*/ 9369 h 10000"/>
                    <a:gd name="connsiteX125" fmla="*/ 3117 w 10000"/>
                    <a:gd name="connsiteY125" fmla="*/ 9183 h 10000"/>
                    <a:gd name="connsiteX126" fmla="*/ 3117 w 10000"/>
                    <a:gd name="connsiteY126" fmla="*/ 9183 h 10000"/>
                    <a:gd name="connsiteX127" fmla="*/ 3312 w 10000"/>
                    <a:gd name="connsiteY127" fmla="*/ 9129 h 10000"/>
                    <a:gd name="connsiteX128" fmla="*/ 3443 w 10000"/>
                    <a:gd name="connsiteY128" fmla="*/ 9113 h 10000"/>
                    <a:gd name="connsiteX129" fmla="*/ 2661 w 10000"/>
                    <a:gd name="connsiteY129" fmla="*/ 9129 h 10000"/>
                    <a:gd name="connsiteX0" fmla="*/ 2661 w 10000"/>
                    <a:gd name="connsiteY0" fmla="*/ 9129 h 9607"/>
                    <a:gd name="connsiteX1" fmla="*/ 5389 w 10000"/>
                    <a:gd name="connsiteY1" fmla="*/ 9607 h 9607"/>
                    <a:gd name="connsiteX2" fmla="*/ 5455 w 10000"/>
                    <a:gd name="connsiteY2" fmla="*/ 9537 h 9607"/>
                    <a:gd name="connsiteX3" fmla="*/ 5389 w 10000"/>
                    <a:gd name="connsiteY3" fmla="*/ 9456 h 9607"/>
                    <a:gd name="connsiteX4" fmla="*/ 5389 w 10000"/>
                    <a:gd name="connsiteY4" fmla="*/ 9456 h 9607"/>
                    <a:gd name="connsiteX5" fmla="*/ 5324 w 10000"/>
                    <a:gd name="connsiteY5" fmla="*/ 9405 h 9607"/>
                    <a:gd name="connsiteX6" fmla="*/ 5259 w 10000"/>
                    <a:gd name="connsiteY6" fmla="*/ 9369 h 9607"/>
                    <a:gd name="connsiteX7" fmla="*/ 5128 w 10000"/>
                    <a:gd name="connsiteY7" fmla="*/ 9369 h 9607"/>
                    <a:gd name="connsiteX8" fmla="*/ 4936 w 10000"/>
                    <a:gd name="connsiteY8" fmla="*/ 9389 h 9607"/>
                    <a:gd name="connsiteX9" fmla="*/ 4545 w 10000"/>
                    <a:gd name="connsiteY9" fmla="*/ 9438 h 9607"/>
                    <a:gd name="connsiteX10" fmla="*/ 4026 w 10000"/>
                    <a:gd name="connsiteY10" fmla="*/ 9522 h 9607"/>
                    <a:gd name="connsiteX11" fmla="*/ 4026 w 10000"/>
                    <a:gd name="connsiteY11" fmla="*/ 9522 h 9607"/>
                    <a:gd name="connsiteX12" fmla="*/ 3702 w 10000"/>
                    <a:gd name="connsiteY12" fmla="*/ 9537 h 9607"/>
                    <a:gd name="connsiteX13" fmla="*/ 3573 w 10000"/>
                    <a:gd name="connsiteY13" fmla="*/ 9537 h 9607"/>
                    <a:gd name="connsiteX14" fmla="*/ 3507 w 10000"/>
                    <a:gd name="connsiteY14" fmla="*/ 9522 h 9607"/>
                    <a:gd name="connsiteX15" fmla="*/ 3247 w 10000"/>
                    <a:gd name="connsiteY15" fmla="*/ 9369 h 9607"/>
                    <a:gd name="connsiteX16" fmla="*/ 3247 w 10000"/>
                    <a:gd name="connsiteY16" fmla="*/ 9369 h 9607"/>
                    <a:gd name="connsiteX17" fmla="*/ 3117 w 10000"/>
                    <a:gd name="connsiteY17" fmla="*/ 9319 h 9607"/>
                    <a:gd name="connsiteX18" fmla="*/ 3117 w 10000"/>
                    <a:gd name="connsiteY18" fmla="*/ 9267 h 9607"/>
                    <a:gd name="connsiteX19" fmla="*/ 3117 w 10000"/>
                    <a:gd name="connsiteY19" fmla="*/ 9233 h 9607"/>
                    <a:gd name="connsiteX20" fmla="*/ 3184 w 10000"/>
                    <a:gd name="connsiteY20" fmla="*/ 9198 h 9607"/>
                    <a:gd name="connsiteX21" fmla="*/ 3312 w 10000"/>
                    <a:gd name="connsiteY21" fmla="*/ 9129 h 9607"/>
                    <a:gd name="connsiteX22" fmla="*/ 3443 w 10000"/>
                    <a:gd name="connsiteY22" fmla="*/ 9113 h 9607"/>
                    <a:gd name="connsiteX23" fmla="*/ 3443 w 10000"/>
                    <a:gd name="connsiteY23" fmla="*/ 9113 h 9607"/>
                    <a:gd name="connsiteX24" fmla="*/ 3443 w 10000"/>
                    <a:gd name="connsiteY24" fmla="*/ 9097 h 9607"/>
                    <a:gd name="connsiteX25" fmla="*/ 3507 w 10000"/>
                    <a:gd name="connsiteY25" fmla="*/ 9079 h 9607"/>
                    <a:gd name="connsiteX26" fmla="*/ 7646 w 10000"/>
                    <a:gd name="connsiteY26" fmla="*/ 8817 h 9607"/>
                    <a:gd name="connsiteX27" fmla="*/ 8116 w 10000"/>
                    <a:gd name="connsiteY27" fmla="*/ 8825 h 9607"/>
                    <a:gd name="connsiteX28" fmla="*/ 8116 w 10000"/>
                    <a:gd name="connsiteY28" fmla="*/ 8825 h 9607"/>
                    <a:gd name="connsiteX29" fmla="*/ 8442 w 10000"/>
                    <a:gd name="connsiteY29" fmla="*/ 8791 h 9607"/>
                    <a:gd name="connsiteX30" fmla="*/ 8702 w 10000"/>
                    <a:gd name="connsiteY30" fmla="*/ 8706 h 9607"/>
                    <a:gd name="connsiteX31" fmla="*/ 8636 w 10000"/>
                    <a:gd name="connsiteY31" fmla="*/ 8671 h 9607"/>
                    <a:gd name="connsiteX32" fmla="*/ 8636 w 10000"/>
                    <a:gd name="connsiteY32" fmla="*/ 8638 h 9607"/>
                    <a:gd name="connsiteX33" fmla="*/ 8312 w 10000"/>
                    <a:gd name="connsiteY33" fmla="*/ 8552 h 9607"/>
                    <a:gd name="connsiteX34" fmla="*/ 5975 w 10000"/>
                    <a:gd name="connsiteY34" fmla="*/ 8244 h 9607"/>
                    <a:gd name="connsiteX35" fmla="*/ 5975 w 10000"/>
                    <a:gd name="connsiteY35" fmla="*/ 8244 h 9607"/>
                    <a:gd name="connsiteX36" fmla="*/ 5714 w 10000"/>
                    <a:gd name="connsiteY36" fmla="*/ 8195 h 9607"/>
                    <a:gd name="connsiteX37" fmla="*/ 5519 w 10000"/>
                    <a:gd name="connsiteY37" fmla="*/ 8143 h 9607"/>
                    <a:gd name="connsiteX38" fmla="*/ 5389 w 10000"/>
                    <a:gd name="connsiteY38" fmla="*/ 8092 h 9607"/>
                    <a:gd name="connsiteX39" fmla="*/ 5389 w 10000"/>
                    <a:gd name="connsiteY39" fmla="*/ 8092 h 9607"/>
                    <a:gd name="connsiteX40" fmla="*/ 7729 w 10000"/>
                    <a:gd name="connsiteY40" fmla="*/ 8074 h 9607"/>
                    <a:gd name="connsiteX41" fmla="*/ 10000 w 10000"/>
                    <a:gd name="connsiteY41" fmla="*/ 8244 h 9607"/>
                    <a:gd name="connsiteX42" fmla="*/ 10000 w 10000"/>
                    <a:gd name="connsiteY42" fmla="*/ 6696 h 9607"/>
                    <a:gd name="connsiteX43" fmla="*/ 10000 w 10000"/>
                    <a:gd name="connsiteY43" fmla="*/ 6696 h 9607"/>
                    <a:gd name="connsiteX44" fmla="*/ 7404 w 10000"/>
                    <a:gd name="connsiteY44" fmla="*/ 6336 h 9607"/>
                    <a:gd name="connsiteX45" fmla="*/ 5975 w 10000"/>
                    <a:gd name="connsiteY45" fmla="*/ 6133 h 9607"/>
                    <a:gd name="connsiteX46" fmla="*/ 5975 w 10000"/>
                    <a:gd name="connsiteY46" fmla="*/ 6133 h 9607"/>
                    <a:gd name="connsiteX47" fmla="*/ 5975 w 10000"/>
                    <a:gd name="connsiteY47" fmla="*/ 6116 h 9607"/>
                    <a:gd name="connsiteX48" fmla="*/ 5975 w 10000"/>
                    <a:gd name="connsiteY48" fmla="*/ 6014 h 9607"/>
                    <a:gd name="connsiteX49" fmla="*/ 5975 w 10000"/>
                    <a:gd name="connsiteY49" fmla="*/ 6014 h 9607"/>
                    <a:gd name="connsiteX50" fmla="*/ 5779 w 10000"/>
                    <a:gd name="connsiteY50" fmla="*/ 5892 h 9607"/>
                    <a:gd name="connsiteX51" fmla="*/ 5389 w 10000"/>
                    <a:gd name="connsiteY51" fmla="*/ 5706 h 9607"/>
                    <a:gd name="connsiteX52" fmla="*/ 4545 w 10000"/>
                    <a:gd name="connsiteY52" fmla="*/ 5349 h 9607"/>
                    <a:gd name="connsiteX53" fmla="*/ 4545 w 10000"/>
                    <a:gd name="connsiteY53" fmla="*/ 5349 h 9607"/>
                    <a:gd name="connsiteX54" fmla="*/ 4352 w 10000"/>
                    <a:gd name="connsiteY54" fmla="*/ 5298 h 9607"/>
                    <a:gd name="connsiteX55" fmla="*/ 4026 w 10000"/>
                    <a:gd name="connsiteY55" fmla="*/ 5230 h 9607"/>
                    <a:gd name="connsiteX56" fmla="*/ 3052 w 10000"/>
                    <a:gd name="connsiteY56" fmla="*/ 5076 h 9607"/>
                    <a:gd name="connsiteX57" fmla="*/ 1689 w 10000"/>
                    <a:gd name="connsiteY57" fmla="*/ 4890 h 9607"/>
                    <a:gd name="connsiteX58" fmla="*/ 1689 w 10000"/>
                    <a:gd name="connsiteY58" fmla="*/ 4890 h 9607"/>
                    <a:gd name="connsiteX59" fmla="*/ 1103 w 10000"/>
                    <a:gd name="connsiteY59" fmla="*/ 4871 h 9607"/>
                    <a:gd name="connsiteX60" fmla="*/ 650 w 10000"/>
                    <a:gd name="connsiteY60" fmla="*/ 4854 h 9607"/>
                    <a:gd name="connsiteX61" fmla="*/ 521 w 10000"/>
                    <a:gd name="connsiteY61" fmla="*/ 4837 h 9607"/>
                    <a:gd name="connsiteX62" fmla="*/ 390 w 10000"/>
                    <a:gd name="connsiteY62" fmla="*/ 4821 h 9607"/>
                    <a:gd name="connsiteX63" fmla="*/ 390 w 10000"/>
                    <a:gd name="connsiteY63" fmla="*/ 4821 h 9607"/>
                    <a:gd name="connsiteX64" fmla="*/ 261 w 10000"/>
                    <a:gd name="connsiteY64" fmla="*/ 4751 h 9607"/>
                    <a:gd name="connsiteX65" fmla="*/ 65 w 10000"/>
                    <a:gd name="connsiteY65" fmla="*/ 4635 h 9607"/>
                    <a:gd name="connsiteX66" fmla="*/ 0 w 10000"/>
                    <a:gd name="connsiteY66" fmla="*/ 4566 h 9607"/>
                    <a:gd name="connsiteX67" fmla="*/ 0 w 10000"/>
                    <a:gd name="connsiteY67" fmla="*/ 4496 h 9607"/>
                    <a:gd name="connsiteX68" fmla="*/ 0 w 10000"/>
                    <a:gd name="connsiteY68" fmla="*/ 4446 h 9607"/>
                    <a:gd name="connsiteX69" fmla="*/ 131 w 10000"/>
                    <a:gd name="connsiteY69" fmla="*/ 4394 h 9607"/>
                    <a:gd name="connsiteX70" fmla="*/ 131 w 10000"/>
                    <a:gd name="connsiteY70" fmla="*/ 4394 h 9607"/>
                    <a:gd name="connsiteX71" fmla="*/ 455 w 10000"/>
                    <a:gd name="connsiteY71" fmla="*/ 4309 h 9607"/>
                    <a:gd name="connsiteX72" fmla="*/ 779 w 10000"/>
                    <a:gd name="connsiteY72" fmla="*/ 4226 h 9607"/>
                    <a:gd name="connsiteX73" fmla="*/ 975 w 10000"/>
                    <a:gd name="connsiteY73" fmla="*/ 4175 h 9607"/>
                    <a:gd name="connsiteX74" fmla="*/ 1103 w 10000"/>
                    <a:gd name="connsiteY74" fmla="*/ 4123 h 9607"/>
                    <a:gd name="connsiteX75" fmla="*/ 1103 w 10000"/>
                    <a:gd name="connsiteY75" fmla="*/ 4054 h 9607"/>
                    <a:gd name="connsiteX76" fmla="*/ 1103 w 10000"/>
                    <a:gd name="connsiteY76" fmla="*/ 3969 h 9607"/>
                    <a:gd name="connsiteX77" fmla="*/ 1103 w 10000"/>
                    <a:gd name="connsiteY77" fmla="*/ 3969 h 9607"/>
                    <a:gd name="connsiteX78" fmla="*/ 845 w 10000"/>
                    <a:gd name="connsiteY78" fmla="*/ 3730 h 9607"/>
                    <a:gd name="connsiteX79" fmla="*/ 521 w 10000"/>
                    <a:gd name="connsiteY79" fmla="*/ 3407 h 9607"/>
                    <a:gd name="connsiteX80" fmla="*/ 261 w 10000"/>
                    <a:gd name="connsiteY80" fmla="*/ 3116 h 9607"/>
                    <a:gd name="connsiteX81" fmla="*/ 195 w 10000"/>
                    <a:gd name="connsiteY81" fmla="*/ 3032 h 9607"/>
                    <a:gd name="connsiteX82" fmla="*/ 195 w 10000"/>
                    <a:gd name="connsiteY82" fmla="*/ 2998 h 9607"/>
                    <a:gd name="connsiteX83" fmla="*/ 261 w 10000"/>
                    <a:gd name="connsiteY83" fmla="*/ 2980 h 9607"/>
                    <a:gd name="connsiteX84" fmla="*/ 261 w 10000"/>
                    <a:gd name="connsiteY84" fmla="*/ 2980 h 9607"/>
                    <a:gd name="connsiteX85" fmla="*/ 650 w 10000"/>
                    <a:gd name="connsiteY85" fmla="*/ 2964 h 9607"/>
                    <a:gd name="connsiteX86" fmla="*/ 908 w 10000"/>
                    <a:gd name="connsiteY86" fmla="*/ 2964 h 9607"/>
                    <a:gd name="connsiteX87" fmla="*/ 1103 w 10000"/>
                    <a:gd name="connsiteY87" fmla="*/ 2980 h 9607"/>
                    <a:gd name="connsiteX88" fmla="*/ 1103 w 10000"/>
                    <a:gd name="connsiteY88" fmla="*/ 2980 h 9607"/>
                    <a:gd name="connsiteX89" fmla="*/ 1168 w 10000"/>
                    <a:gd name="connsiteY89" fmla="*/ 2980 h 9607"/>
                    <a:gd name="connsiteX90" fmla="*/ 1235 w 10000"/>
                    <a:gd name="connsiteY90" fmla="*/ 2948 h 9607"/>
                    <a:gd name="connsiteX91" fmla="*/ 1559 w 10000"/>
                    <a:gd name="connsiteY91" fmla="*/ 2845 h 9607"/>
                    <a:gd name="connsiteX92" fmla="*/ 2402 w 10000"/>
                    <a:gd name="connsiteY92" fmla="*/ 2503 h 9607"/>
                    <a:gd name="connsiteX93" fmla="*/ 3507 w 10000"/>
                    <a:gd name="connsiteY93" fmla="*/ 2012 h 9607"/>
                    <a:gd name="connsiteX94" fmla="*/ 3507 w 10000"/>
                    <a:gd name="connsiteY94" fmla="*/ 2012 h 9607"/>
                    <a:gd name="connsiteX95" fmla="*/ 3507 w 10000"/>
                    <a:gd name="connsiteY95" fmla="*/ 1942 h 9607"/>
                    <a:gd name="connsiteX96" fmla="*/ 3507 w 10000"/>
                    <a:gd name="connsiteY96" fmla="*/ 1786 h 9607"/>
                    <a:gd name="connsiteX97" fmla="*/ 3573 w 10000"/>
                    <a:gd name="connsiteY97" fmla="*/ 1686 h 9607"/>
                    <a:gd name="connsiteX98" fmla="*/ 3702 w 10000"/>
                    <a:gd name="connsiteY98" fmla="*/ 1600 h 9607"/>
                    <a:gd name="connsiteX99" fmla="*/ 3896 w 10000"/>
                    <a:gd name="connsiteY99" fmla="*/ 1499 h 9607"/>
                    <a:gd name="connsiteX100" fmla="*/ 4156 w 10000"/>
                    <a:gd name="connsiteY100" fmla="*/ 1415 h 9607"/>
                    <a:gd name="connsiteX101" fmla="*/ 4156 w 10000"/>
                    <a:gd name="connsiteY101" fmla="*/ 1415 h 9607"/>
                    <a:gd name="connsiteX102" fmla="*/ 4806 w 10000"/>
                    <a:gd name="connsiteY102" fmla="*/ 1245 h 9607"/>
                    <a:gd name="connsiteX103" fmla="*/ 5455 w 10000"/>
                    <a:gd name="connsiteY103" fmla="*/ 1021 h 9607"/>
                    <a:gd name="connsiteX104" fmla="*/ 6104 w 10000"/>
                    <a:gd name="connsiteY104" fmla="*/ 817 h 9607"/>
                    <a:gd name="connsiteX105" fmla="*/ 6559 w 10000"/>
                    <a:gd name="connsiteY105" fmla="*/ 632 h 9607"/>
                    <a:gd name="connsiteX106" fmla="*/ 6559 w 10000"/>
                    <a:gd name="connsiteY106" fmla="*/ 632 h 9607"/>
                    <a:gd name="connsiteX107" fmla="*/ 6882 w 10000"/>
                    <a:gd name="connsiteY107" fmla="*/ 461 h 9607"/>
                    <a:gd name="connsiteX108" fmla="*/ 7273 w 10000"/>
                    <a:gd name="connsiteY108" fmla="*/ 255 h 9607"/>
                    <a:gd name="connsiteX109" fmla="*/ 7663 w 10000"/>
                    <a:gd name="connsiteY109" fmla="*/ 101 h 9607"/>
                    <a:gd name="connsiteX110" fmla="*/ 7856 w 10000"/>
                    <a:gd name="connsiteY110" fmla="*/ 31 h 9607"/>
                    <a:gd name="connsiteX111" fmla="*/ 8051 w 10000"/>
                    <a:gd name="connsiteY111" fmla="*/ 16 h 9607"/>
                    <a:gd name="connsiteX112" fmla="*/ 8051 w 10000"/>
                    <a:gd name="connsiteY112" fmla="*/ 16 h 9607"/>
                    <a:gd name="connsiteX113" fmla="*/ 8442 w 10000"/>
                    <a:gd name="connsiteY113" fmla="*/ 0 h 9607"/>
                    <a:gd name="connsiteX114" fmla="*/ 8961 w 10000"/>
                    <a:gd name="connsiteY114" fmla="*/ 0 h 9607"/>
                    <a:gd name="connsiteX115" fmla="*/ 10000 w 10000"/>
                    <a:gd name="connsiteY115" fmla="*/ 16 h 9607"/>
                    <a:gd name="connsiteX116" fmla="*/ 5389 w 10000"/>
                    <a:gd name="connsiteY116" fmla="*/ 9558 h 9607"/>
                    <a:gd name="connsiteX117" fmla="*/ 5389 w 10000"/>
                    <a:gd name="connsiteY117" fmla="*/ 9489 h 9607"/>
                    <a:gd name="connsiteX118" fmla="*/ 5259 w 10000"/>
                    <a:gd name="connsiteY118" fmla="*/ 9405 h 9607"/>
                    <a:gd name="connsiteX119" fmla="*/ 5195 w 10000"/>
                    <a:gd name="connsiteY119" fmla="*/ 9389 h 9607"/>
                    <a:gd name="connsiteX120" fmla="*/ 4026 w 10000"/>
                    <a:gd name="connsiteY120" fmla="*/ 9507 h 9607"/>
                    <a:gd name="connsiteX121" fmla="*/ 3702 w 10000"/>
                    <a:gd name="connsiteY121" fmla="*/ 9537 h 9607"/>
                    <a:gd name="connsiteX122" fmla="*/ 3247 w 10000"/>
                    <a:gd name="connsiteY122" fmla="*/ 9369 h 9607"/>
                    <a:gd name="connsiteX123" fmla="*/ 3247 w 10000"/>
                    <a:gd name="connsiteY123" fmla="*/ 9369 h 9607"/>
                    <a:gd name="connsiteX124" fmla="*/ 3117 w 10000"/>
                    <a:gd name="connsiteY124" fmla="*/ 9183 h 9607"/>
                    <a:gd name="connsiteX125" fmla="*/ 3117 w 10000"/>
                    <a:gd name="connsiteY125" fmla="*/ 9183 h 9607"/>
                    <a:gd name="connsiteX126" fmla="*/ 3312 w 10000"/>
                    <a:gd name="connsiteY126" fmla="*/ 9129 h 9607"/>
                    <a:gd name="connsiteX127" fmla="*/ 3443 w 10000"/>
                    <a:gd name="connsiteY127" fmla="*/ 9113 h 9607"/>
                    <a:gd name="connsiteX128" fmla="*/ 2661 w 10000"/>
                    <a:gd name="connsiteY128" fmla="*/ 9129 h 9607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702 w 10000"/>
                    <a:gd name="connsiteY12" fmla="*/ 9927 h 10000"/>
                    <a:gd name="connsiteX13" fmla="*/ 3573 w 10000"/>
                    <a:gd name="connsiteY13" fmla="*/ 9927 h 10000"/>
                    <a:gd name="connsiteX14" fmla="*/ 3507 w 10000"/>
                    <a:gd name="connsiteY14" fmla="*/ 9912 h 10000"/>
                    <a:gd name="connsiteX15" fmla="*/ 3247 w 10000"/>
                    <a:gd name="connsiteY15" fmla="*/ 9752 h 10000"/>
                    <a:gd name="connsiteX16" fmla="*/ 3247 w 10000"/>
                    <a:gd name="connsiteY16" fmla="*/ 9752 h 10000"/>
                    <a:gd name="connsiteX17" fmla="*/ 3117 w 10000"/>
                    <a:gd name="connsiteY17" fmla="*/ 9700 h 10000"/>
                    <a:gd name="connsiteX18" fmla="*/ 3117 w 10000"/>
                    <a:gd name="connsiteY18" fmla="*/ 9646 h 10000"/>
                    <a:gd name="connsiteX19" fmla="*/ 3117 w 10000"/>
                    <a:gd name="connsiteY19" fmla="*/ 9611 h 10000"/>
                    <a:gd name="connsiteX20" fmla="*/ 3184 w 10000"/>
                    <a:gd name="connsiteY20" fmla="*/ 9574 h 10000"/>
                    <a:gd name="connsiteX21" fmla="*/ 3312 w 10000"/>
                    <a:gd name="connsiteY21" fmla="*/ 9502 h 10000"/>
                    <a:gd name="connsiteX22" fmla="*/ 3443 w 10000"/>
                    <a:gd name="connsiteY22" fmla="*/ 9486 h 10000"/>
                    <a:gd name="connsiteX23" fmla="*/ 3443 w 10000"/>
                    <a:gd name="connsiteY23" fmla="*/ 9486 h 10000"/>
                    <a:gd name="connsiteX24" fmla="*/ 3443 w 10000"/>
                    <a:gd name="connsiteY24" fmla="*/ 9469 h 10000"/>
                    <a:gd name="connsiteX25" fmla="*/ 3507 w 10000"/>
                    <a:gd name="connsiteY25" fmla="*/ 9450 h 10000"/>
                    <a:gd name="connsiteX26" fmla="*/ 7646 w 10000"/>
                    <a:gd name="connsiteY26" fmla="*/ 9178 h 10000"/>
                    <a:gd name="connsiteX27" fmla="*/ 8116 w 10000"/>
                    <a:gd name="connsiteY27" fmla="*/ 9186 h 10000"/>
                    <a:gd name="connsiteX28" fmla="*/ 8116 w 10000"/>
                    <a:gd name="connsiteY28" fmla="*/ 9186 h 10000"/>
                    <a:gd name="connsiteX29" fmla="*/ 8442 w 10000"/>
                    <a:gd name="connsiteY29" fmla="*/ 9151 h 10000"/>
                    <a:gd name="connsiteX30" fmla="*/ 8702 w 10000"/>
                    <a:gd name="connsiteY30" fmla="*/ 9062 h 10000"/>
                    <a:gd name="connsiteX31" fmla="*/ 8636 w 10000"/>
                    <a:gd name="connsiteY31" fmla="*/ 9026 h 10000"/>
                    <a:gd name="connsiteX32" fmla="*/ 8636 w 10000"/>
                    <a:gd name="connsiteY32" fmla="*/ 8991 h 10000"/>
                    <a:gd name="connsiteX33" fmla="*/ 8312 w 10000"/>
                    <a:gd name="connsiteY33" fmla="*/ 8902 h 10000"/>
                    <a:gd name="connsiteX34" fmla="*/ 5975 w 10000"/>
                    <a:gd name="connsiteY34" fmla="*/ 8581 h 10000"/>
                    <a:gd name="connsiteX35" fmla="*/ 5975 w 10000"/>
                    <a:gd name="connsiteY35" fmla="*/ 8581 h 10000"/>
                    <a:gd name="connsiteX36" fmla="*/ 5714 w 10000"/>
                    <a:gd name="connsiteY36" fmla="*/ 8530 h 10000"/>
                    <a:gd name="connsiteX37" fmla="*/ 5519 w 10000"/>
                    <a:gd name="connsiteY37" fmla="*/ 8476 h 10000"/>
                    <a:gd name="connsiteX38" fmla="*/ 5389 w 10000"/>
                    <a:gd name="connsiteY38" fmla="*/ 8423 h 10000"/>
                    <a:gd name="connsiteX39" fmla="*/ 5389 w 10000"/>
                    <a:gd name="connsiteY39" fmla="*/ 8423 h 10000"/>
                    <a:gd name="connsiteX40" fmla="*/ 7729 w 10000"/>
                    <a:gd name="connsiteY40" fmla="*/ 8404 h 10000"/>
                    <a:gd name="connsiteX41" fmla="*/ 10000 w 10000"/>
                    <a:gd name="connsiteY41" fmla="*/ 8581 h 10000"/>
                    <a:gd name="connsiteX42" fmla="*/ 10000 w 10000"/>
                    <a:gd name="connsiteY42" fmla="*/ 6970 h 10000"/>
                    <a:gd name="connsiteX43" fmla="*/ 10000 w 10000"/>
                    <a:gd name="connsiteY43" fmla="*/ 6970 h 10000"/>
                    <a:gd name="connsiteX44" fmla="*/ 7404 w 10000"/>
                    <a:gd name="connsiteY44" fmla="*/ 6595 h 10000"/>
                    <a:gd name="connsiteX45" fmla="*/ 5975 w 10000"/>
                    <a:gd name="connsiteY45" fmla="*/ 6384 h 10000"/>
                    <a:gd name="connsiteX46" fmla="*/ 5975 w 10000"/>
                    <a:gd name="connsiteY46" fmla="*/ 6384 h 10000"/>
                    <a:gd name="connsiteX47" fmla="*/ 5975 w 10000"/>
                    <a:gd name="connsiteY47" fmla="*/ 6366 h 10000"/>
                    <a:gd name="connsiteX48" fmla="*/ 5975 w 10000"/>
                    <a:gd name="connsiteY48" fmla="*/ 6260 h 10000"/>
                    <a:gd name="connsiteX49" fmla="*/ 5975 w 10000"/>
                    <a:gd name="connsiteY49" fmla="*/ 6260 h 10000"/>
                    <a:gd name="connsiteX50" fmla="*/ 5779 w 10000"/>
                    <a:gd name="connsiteY50" fmla="*/ 6133 h 10000"/>
                    <a:gd name="connsiteX51" fmla="*/ 5389 w 10000"/>
                    <a:gd name="connsiteY51" fmla="*/ 5939 h 10000"/>
                    <a:gd name="connsiteX52" fmla="*/ 4545 w 10000"/>
                    <a:gd name="connsiteY52" fmla="*/ 5568 h 10000"/>
                    <a:gd name="connsiteX53" fmla="*/ 4545 w 10000"/>
                    <a:gd name="connsiteY53" fmla="*/ 5568 h 10000"/>
                    <a:gd name="connsiteX54" fmla="*/ 4352 w 10000"/>
                    <a:gd name="connsiteY54" fmla="*/ 5515 h 10000"/>
                    <a:gd name="connsiteX55" fmla="*/ 4026 w 10000"/>
                    <a:gd name="connsiteY55" fmla="*/ 5444 h 10000"/>
                    <a:gd name="connsiteX56" fmla="*/ 3052 w 10000"/>
                    <a:gd name="connsiteY56" fmla="*/ 5284 h 10000"/>
                    <a:gd name="connsiteX57" fmla="*/ 1689 w 10000"/>
                    <a:gd name="connsiteY57" fmla="*/ 5090 h 10000"/>
                    <a:gd name="connsiteX58" fmla="*/ 1689 w 10000"/>
                    <a:gd name="connsiteY58" fmla="*/ 5090 h 10000"/>
                    <a:gd name="connsiteX59" fmla="*/ 1103 w 10000"/>
                    <a:gd name="connsiteY59" fmla="*/ 5070 h 10000"/>
                    <a:gd name="connsiteX60" fmla="*/ 650 w 10000"/>
                    <a:gd name="connsiteY60" fmla="*/ 5053 h 10000"/>
                    <a:gd name="connsiteX61" fmla="*/ 521 w 10000"/>
                    <a:gd name="connsiteY61" fmla="*/ 5035 h 10000"/>
                    <a:gd name="connsiteX62" fmla="*/ 390 w 10000"/>
                    <a:gd name="connsiteY62" fmla="*/ 5018 h 10000"/>
                    <a:gd name="connsiteX63" fmla="*/ 390 w 10000"/>
                    <a:gd name="connsiteY63" fmla="*/ 5018 h 10000"/>
                    <a:gd name="connsiteX64" fmla="*/ 261 w 10000"/>
                    <a:gd name="connsiteY64" fmla="*/ 4945 h 10000"/>
                    <a:gd name="connsiteX65" fmla="*/ 65 w 10000"/>
                    <a:gd name="connsiteY65" fmla="*/ 4825 h 10000"/>
                    <a:gd name="connsiteX66" fmla="*/ 0 w 10000"/>
                    <a:gd name="connsiteY66" fmla="*/ 4753 h 10000"/>
                    <a:gd name="connsiteX67" fmla="*/ 0 w 10000"/>
                    <a:gd name="connsiteY67" fmla="*/ 4680 h 10000"/>
                    <a:gd name="connsiteX68" fmla="*/ 0 w 10000"/>
                    <a:gd name="connsiteY68" fmla="*/ 4628 h 10000"/>
                    <a:gd name="connsiteX69" fmla="*/ 131 w 10000"/>
                    <a:gd name="connsiteY69" fmla="*/ 4574 h 10000"/>
                    <a:gd name="connsiteX70" fmla="*/ 131 w 10000"/>
                    <a:gd name="connsiteY70" fmla="*/ 4574 h 10000"/>
                    <a:gd name="connsiteX71" fmla="*/ 455 w 10000"/>
                    <a:gd name="connsiteY71" fmla="*/ 4485 h 10000"/>
                    <a:gd name="connsiteX72" fmla="*/ 779 w 10000"/>
                    <a:gd name="connsiteY72" fmla="*/ 4399 h 10000"/>
                    <a:gd name="connsiteX73" fmla="*/ 975 w 10000"/>
                    <a:gd name="connsiteY73" fmla="*/ 4346 h 10000"/>
                    <a:gd name="connsiteX74" fmla="*/ 1103 w 10000"/>
                    <a:gd name="connsiteY74" fmla="*/ 4292 h 10000"/>
                    <a:gd name="connsiteX75" fmla="*/ 1103 w 10000"/>
                    <a:gd name="connsiteY75" fmla="*/ 4220 h 10000"/>
                    <a:gd name="connsiteX76" fmla="*/ 1103 w 10000"/>
                    <a:gd name="connsiteY76" fmla="*/ 4131 h 10000"/>
                    <a:gd name="connsiteX77" fmla="*/ 1103 w 10000"/>
                    <a:gd name="connsiteY77" fmla="*/ 4131 h 10000"/>
                    <a:gd name="connsiteX78" fmla="*/ 845 w 10000"/>
                    <a:gd name="connsiteY78" fmla="*/ 3883 h 10000"/>
                    <a:gd name="connsiteX79" fmla="*/ 521 w 10000"/>
                    <a:gd name="connsiteY79" fmla="*/ 3546 h 10000"/>
                    <a:gd name="connsiteX80" fmla="*/ 261 w 10000"/>
                    <a:gd name="connsiteY80" fmla="*/ 3243 h 10000"/>
                    <a:gd name="connsiteX81" fmla="*/ 195 w 10000"/>
                    <a:gd name="connsiteY81" fmla="*/ 3156 h 10000"/>
                    <a:gd name="connsiteX82" fmla="*/ 195 w 10000"/>
                    <a:gd name="connsiteY82" fmla="*/ 3121 h 10000"/>
                    <a:gd name="connsiteX83" fmla="*/ 261 w 10000"/>
                    <a:gd name="connsiteY83" fmla="*/ 3102 h 10000"/>
                    <a:gd name="connsiteX84" fmla="*/ 261 w 10000"/>
                    <a:gd name="connsiteY84" fmla="*/ 3102 h 10000"/>
                    <a:gd name="connsiteX85" fmla="*/ 650 w 10000"/>
                    <a:gd name="connsiteY85" fmla="*/ 3085 h 10000"/>
                    <a:gd name="connsiteX86" fmla="*/ 908 w 10000"/>
                    <a:gd name="connsiteY86" fmla="*/ 3085 h 10000"/>
                    <a:gd name="connsiteX87" fmla="*/ 1103 w 10000"/>
                    <a:gd name="connsiteY87" fmla="*/ 3102 h 10000"/>
                    <a:gd name="connsiteX88" fmla="*/ 1103 w 10000"/>
                    <a:gd name="connsiteY88" fmla="*/ 3102 h 10000"/>
                    <a:gd name="connsiteX89" fmla="*/ 1168 w 10000"/>
                    <a:gd name="connsiteY89" fmla="*/ 3102 h 10000"/>
                    <a:gd name="connsiteX90" fmla="*/ 1235 w 10000"/>
                    <a:gd name="connsiteY90" fmla="*/ 3069 h 10000"/>
                    <a:gd name="connsiteX91" fmla="*/ 1559 w 10000"/>
                    <a:gd name="connsiteY91" fmla="*/ 2961 h 10000"/>
                    <a:gd name="connsiteX92" fmla="*/ 2402 w 10000"/>
                    <a:gd name="connsiteY92" fmla="*/ 2605 h 10000"/>
                    <a:gd name="connsiteX93" fmla="*/ 3507 w 10000"/>
                    <a:gd name="connsiteY93" fmla="*/ 2094 h 10000"/>
                    <a:gd name="connsiteX94" fmla="*/ 3507 w 10000"/>
                    <a:gd name="connsiteY94" fmla="*/ 2094 h 10000"/>
                    <a:gd name="connsiteX95" fmla="*/ 3507 w 10000"/>
                    <a:gd name="connsiteY95" fmla="*/ 2021 h 10000"/>
                    <a:gd name="connsiteX96" fmla="*/ 3507 w 10000"/>
                    <a:gd name="connsiteY96" fmla="*/ 1859 h 10000"/>
                    <a:gd name="connsiteX97" fmla="*/ 3573 w 10000"/>
                    <a:gd name="connsiteY97" fmla="*/ 1755 h 10000"/>
                    <a:gd name="connsiteX98" fmla="*/ 3702 w 10000"/>
                    <a:gd name="connsiteY98" fmla="*/ 1665 h 10000"/>
                    <a:gd name="connsiteX99" fmla="*/ 3896 w 10000"/>
                    <a:gd name="connsiteY99" fmla="*/ 1560 h 10000"/>
                    <a:gd name="connsiteX100" fmla="*/ 4156 w 10000"/>
                    <a:gd name="connsiteY100" fmla="*/ 1473 h 10000"/>
                    <a:gd name="connsiteX101" fmla="*/ 4156 w 10000"/>
                    <a:gd name="connsiteY101" fmla="*/ 1473 h 10000"/>
                    <a:gd name="connsiteX102" fmla="*/ 4806 w 10000"/>
                    <a:gd name="connsiteY102" fmla="*/ 1296 h 10000"/>
                    <a:gd name="connsiteX103" fmla="*/ 5455 w 10000"/>
                    <a:gd name="connsiteY103" fmla="*/ 1063 h 10000"/>
                    <a:gd name="connsiteX104" fmla="*/ 6104 w 10000"/>
                    <a:gd name="connsiteY104" fmla="*/ 850 h 10000"/>
                    <a:gd name="connsiteX105" fmla="*/ 6559 w 10000"/>
                    <a:gd name="connsiteY105" fmla="*/ 658 h 10000"/>
                    <a:gd name="connsiteX106" fmla="*/ 6559 w 10000"/>
                    <a:gd name="connsiteY106" fmla="*/ 658 h 10000"/>
                    <a:gd name="connsiteX107" fmla="*/ 6882 w 10000"/>
                    <a:gd name="connsiteY107" fmla="*/ 480 h 10000"/>
                    <a:gd name="connsiteX108" fmla="*/ 7273 w 10000"/>
                    <a:gd name="connsiteY108" fmla="*/ 265 h 10000"/>
                    <a:gd name="connsiteX109" fmla="*/ 7663 w 10000"/>
                    <a:gd name="connsiteY109" fmla="*/ 105 h 10000"/>
                    <a:gd name="connsiteX110" fmla="*/ 7856 w 10000"/>
                    <a:gd name="connsiteY110" fmla="*/ 32 h 10000"/>
                    <a:gd name="connsiteX111" fmla="*/ 8051 w 10000"/>
                    <a:gd name="connsiteY111" fmla="*/ 17 h 10000"/>
                    <a:gd name="connsiteX112" fmla="*/ 8051 w 10000"/>
                    <a:gd name="connsiteY112" fmla="*/ 17 h 10000"/>
                    <a:gd name="connsiteX113" fmla="*/ 8442 w 10000"/>
                    <a:gd name="connsiteY113" fmla="*/ 0 h 10000"/>
                    <a:gd name="connsiteX114" fmla="*/ 8961 w 10000"/>
                    <a:gd name="connsiteY114" fmla="*/ 0 h 10000"/>
                    <a:gd name="connsiteX115" fmla="*/ 10000 w 10000"/>
                    <a:gd name="connsiteY115" fmla="*/ 17 h 10000"/>
                    <a:gd name="connsiteX116" fmla="*/ 5389 w 10000"/>
                    <a:gd name="connsiteY116" fmla="*/ 9949 h 10000"/>
                    <a:gd name="connsiteX117" fmla="*/ 5389 w 10000"/>
                    <a:gd name="connsiteY117" fmla="*/ 9877 h 10000"/>
                    <a:gd name="connsiteX118" fmla="*/ 5259 w 10000"/>
                    <a:gd name="connsiteY118" fmla="*/ 9790 h 10000"/>
                    <a:gd name="connsiteX119" fmla="*/ 4026 w 10000"/>
                    <a:gd name="connsiteY119" fmla="*/ 9896 h 10000"/>
                    <a:gd name="connsiteX120" fmla="*/ 3702 w 10000"/>
                    <a:gd name="connsiteY120" fmla="*/ 9927 h 10000"/>
                    <a:gd name="connsiteX121" fmla="*/ 3247 w 10000"/>
                    <a:gd name="connsiteY121" fmla="*/ 9752 h 10000"/>
                    <a:gd name="connsiteX122" fmla="*/ 3247 w 10000"/>
                    <a:gd name="connsiteY122" fmla="*/ 9752 h 10000"/>
                    <a:gd name="connsiteX123" fmla="*/ 3117 w 10000"/>
                    <a:gd name="connsiteY123" fmla="*/ 9559 h 10000"/>
                    <a:gd name="connsiteX124" fmla="*/ 3117 w 10000"/>
                    <a:gd name="connsiteY124" fmla="*/ 9559 h 10000"/>
                    <a:gd name="connsiteX125" fmla="*/ 3312 w 10000"/>
                    <a:gd name="connsiteY125" fmla="*/ 9502 h 10000"/>
                    <a:gd name="connsiteX126" fmla="*/ 3443 w 10000"/>
                    <a:gd name="connsiteY126" fmla="*/ 9486 h 10000"/>
                    <a:gd name="connsiteX127" fmla="*/ 2661 w 10000"/>
                    <a:gd name="connsiteY127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702 w 10000"/>
                    <a:gd name="connsiteY12" fmla="*/ 9927 h 10000"/>
                    <a:gd name="connsiteX13" fmla="*/ 3573 w 10000"/>
                    <a:gd name="connsiteY13" fmla="*/ 9927 h 10000"/>
                    <a:gd name="connsiteX14" fmla="*/ 3507 w 10000"/>
                    <a:gd name="connsiteY14" fmla="*/ 9912 h 10000"/>
                    <a:gd name="connsiteX15" fmla="*/ 3247 w 10000"/>
                    <a:gd name="connsiteY15" fmla="*/ 9752 h 10000"/>
                    <a:gd name="connsiteX16" fmla="*/ 3247 w 10000"/>
                    <a:gd name="connsiteY16" fmla="*/ 9752 h 10000"/>
                    <a:gd name="connsiteX17" fmla="*/ 3117 w 10000"/>
                    <a:gd name="connsiteY17" fmla="*/ 9700 h 10000"/>
                    <a:gd name="connsiteX18" fmla="*/ 3117 w 10000"/>
                    <a:gd name="connsiteY18" fmla="*/ 9646 h 10000"/>
                    <a:gd name="connsiteX19" fmla="*/ 3117 w 10000"/>
                    <a:gd name="connsiteY19" fmla="*/ 9611 h 10000"/>
                    <a:gd name="connsiteX20" fmla="*/ 3184 w 10000"/>
                    <a:gd name="connsiteY20" fmla="*/ 9574 h 10000"/>
                    <a:gd name="connsiteX21" fmla="*/ 3312 w 10000"/>
                    <a:gd name="connsiteY21" fmla="*/ 9502 h 10000"/>
                    <a:gd name="connsiteX22" fmla="*/ 3443 w 10000"/>
                    <a:gd name="connsiteY22" fmla="*/ 9486 h 10000"/>
                    <a:gd name="connsiteX23" fmla="*/ 3443 w 10000"/>
                    <a:gd name="connsiteY23" fmla="*/ 9486 h 10000"/>
                    <a:gd name="connsiteX24" fmla="*/ 3443 w 10000"/>
                    <a:gd name="connsiteY24" fmla="*/ 9469 h 10000"/>
                    <a:gd name="connsiteX25" fmla="*/ 3507 w 10000"/>
                    <a:gd name="connsiteY25" fmla="*/ 9450 h 10000"/>
                    <a:gd name="connsiteX26" fmla="*/ 7646 w 10000"/>
                    <a:gd name="connsiteY26" fmla="*/ 9178 h 10000"/>
                    <a:gd name="connsiteX27" fmla="*/ 8116 w 10000"/>
                    <a:gd name="connsiteY27" fmla="*/ 9186 h 10000"/>
                    <a:gd name="connsiteX28" fmla="*/ 8116 w 10000"/>
                    <a:gd name="connsiteY28" fmla="*/ 9186 h 10000"/>
                    <a:gd name="connsiteX29" fmla="*/ 8442 w 10000"/>
                    <a:gd name="connsiteY29" fmla="*/ 9151 h 10000"/>
                    <a:gd name="connsiteX30" fmla="*/ 8702 w 10000"/>
                    <a:gd name="connsiteY30" fmla="*/ 9062 h 10000"/>
                    <a:gd name="connsiteX31" fmla="*/ 8636 w 10000"/>
                    <a:gd name="connsiteY31" fmla="*/ 9026 h 10000"/>
                    <a:gd name="connsiteX32" fmla="*/ 8636 w 10000"/>
                    <a:gd name="connsiteY32" fmla="*/ 8991 h 10000"/>
                    <a:gd name="connsiteX33" fmla="*/ 8312 w 10000"/>
                    <a:gd name="connsiteY33" fmla="*/ 8902 h 10000"/>
                    <a:gd name="connsiteX34" fmla="*/ 5975 w 10000"/>
                    <a:gd name="connsiteY34" fmla="*/ 8581 h 10000"/>
                    <a:gd name="connsiteX35" fmla="*/ 5975 w 10000"/>
                    <a:gd name="connsiteY35" fmla="*/ 8581 h 10000"/>
                    <a:gd name="connsiteX36" fmla="*/ 5714 w 10000"/>
                    <a:gd name="connsiteY36" fmla="*/ 8530 h 10000"/>
                    <a:gd name="connsiteX37" fmla="*/ 5519 w 10000"/>
                    <a:gd name="connsiteY37" fmla="*/ 8476 h 10000"/>
                    <a:gd name="connsiteX38" fmla="*/ 5389 w 10000"/>
                    <a:gd name="connsiteY38" fmla="*/ 8423 h 10000"/>
                    <a:gd name="connsiteX39" fmla="*/ 5389 w 10000"/>
                    <a:gd name="connsiteY39" fmla="*/ 8423 h 10000"/>
                    <a:gd name="connsiteX40" fmla="*/ 7729 w 10000"/>
                    <a:gd name="connsiteY40" fmla="*/ 8404 h 10000"/>
                    <a:gd name="connsiteX41" fmla="*/ 10000 w 10000"/>
                    <a:gd name="connsiteY41" fmla="*/ 8581 h 10000"/>
                    <a:gd name="connsiteX42" fmla="*/ 10000 w 10000"/>
                    <a:gd name="connsiteY42" fmla="*/ 6970 h 10000"/>
                    <a:gd name="connsiteX43" fmla="*/ 10000 w 10000"/>
                    <a:gd name="connsiteY43" fmla="*/ 6970 h 10000"/>
                    <a:gd name="connsiteX44" fmla="*/ 7404 w 10000"/>
                    <a:gd name="connsiteY44" fmla="*/ 6595 h 10000"/>
                    <a:gd name="connsiteX45" fmla="*/ 5975 w 10000"/>
                    <a:gd name="connsiteY45" fmla="*/ 6384 h 10000"/>
                    <a:gd name="connsiteX46" fmla="*/ 5975 w 10000"/>
                    <a:gd name="connsiteY46" fmla="*/ 6384 h 10000"/>
                    <a:gd name="connsiteX47" fmla="*/ 5975 w 10000"/>
                    <a:gd name="connsiteY47" fmla="*/ 6366 h 10000"/>
                    <a:gd name="connsiteX48" fmla="*/ 5975 w 10000"/>
                    <a:gd name="connsiteY48" fmla="*/ 6260 h 10000"/>
                    <a:gd name="connsiteX49" fmla="*/ 5975 w 10000"/>
                    <a:gd name="connsiteY49" fmla="*/ 6260 h 10000"/>
                    <a:gd name="connsiteX50" fmla="*/ 5779 w 10000"/>
                    <a:gd name="connsiteY50" fmla="*/ 6133 h 10000"/>
                    <a:gd name="connsiteX51" fmla="*/ 5389 w 10000"/>
                    <a:gd name="connsiteY51" fmla="*/ 5939 h 10000"/>
                    <a:gd name="connsiteX52" fmla="*/ 4545 w 10000"/>
                    <a:gd name="connsiteY52" fmla="*/ 5568 h 10000"/>
                    <a:gd name="connsiteX53" fmla="*/ 4545 w 10000"/>
                    <a:gd name="connsiteY53" fmla="*/ 5568 h 10000"/>
                    <a:gd name="connsiteX54" fmla="*/ 4352 w 10000"/>
                    <a:gd name="connsiteY54" fmla="*/ 5515 h 10000"/>
                    <a:gd name="connsiteX55" fmla="*/ 4026 w 10000"/>
                    <a:gd name="connsiteY55" fmla="*/ 5444 h 10000"/>
                    <a:gd name="connsiteX56" fmla="*/ 3052 w 10000"/>
                    <a:gd name="connsiteY56" fmla="*/ 5284 h 10000"/>
                    <a:gd name="connsiteX57" fmla="*/ 1689 w 10000"/>
                    <a:gd name="connsiteY57" fmla="*/ 5090 h 10000"/>
                    <a:gd name="connsiteX58" fmla="*/ 1689 w 10000"/>
                    <a:gd name="connsiteY58" fmla="*/ 5090 h 10000"/>
                    <a:gd name="connsiteX59" fmla="*/ 1103 w 10000"/>
                    <a:gd name="connsiteY59" fmla="*/ 5070 h 10000"/>
                    <a:gd name="connsiteX60" fmla="*/ 650 w 10000"/>
                    <a:gd name="connsiteY60" fmla="*/ 5053 h 10000"/>
                    <a:gd name="connsiteX61" fmla="*/ 521 w 10000"/>
                    <a:gd name="connsiteY61" fmla="*/ 5035 h 10000"/>
                    <a:gd name="connsiteX62" fmla="*/ 390 w 10000"/>
                    <a:gd name="connsiteY62" fmla="*/ 5018 h 10000"/>
                    <a:gd name="connsiteX63" fmla="*/ 390 w 10000"/>
                    <a:gd name="connsiteY63" fmla="*/ 5018 h 10000"/>
                    <a:gd name="connsiteX64" fmla="*/ 261 w 10000"/>
                    <a:gd name="connsiteY64" fmla="*/ 4945 h 10000"/>
                    <a:gd name="connsiteX65" fmla="*/ 65 w 10000"/>
                    <a:gd name="connsiteY65" fmla="*/ 4825 h 10000"/>
                    <a:gd name="connsiteX66" fmla="*/ 0 w 10000"/>
                    <a:gd name="connsiteY66" fmla="*/ 4753 h 10000"/>
                    <a:gd name="connsiteX67" fmla="*/ 0 w 10000"/>
                    <a:gd name="connsiteY67" fmla="*/ 4680 h 10000"/>
                    <a:gd name="connsiteX68" fmla="*/ 0 w 10000"/>
                    <a:gd name="connsiteY68" fmla="*/ 4628 h 10000"/>
                    <a:gd name="connsiteX69" fmla="*/ 131 w 10000"/>
                    <a:gd name="connsiteY69" fmla="*/ 4574 h 10000"/>
                    <a:gd name="connsiteX70" fmla="*/ 131 w 10000"/>
                    <a:gd name="connsiteY70" fmla="*/ 4574 h 10000"/>
                    <a:gd name="connsiteX71" fmla="*/ 455 w 10000"/>
                    <a:gd name="connsiteY71" fmla="*/ 4485 h 10000"/>
                    <a:gd name="connsiteX72" fmla="*/ 779 w 10000"/>
                    <a:gd name="connsiteY72" fmla="*/ 4399 h 10000"/>
                    <a:gd name="connsiteX73" fmla="*/ 975 w 10000"/>
                    <a:gd name="connsiteY73" fmla="*/ 4346 h 10000"/>
                    <a:gd name="connsiteX74" fmla="*/ 1103 w 10000"/>
                    <a:gd name="connsiteY74" fmla="*/ 4292 h 10000"/>
                    <a:gd name="connsiteX75" fmla="*/ 1103 w 10000"/>
                    <a:gd name="connsiteY75" fmla="*/ 4220 h 10000"/>
                    <a:gd name="connsiteX76" fmla="*/ 1103 w 10000"/>
                    <a:gd name="connsiteY76" fmla="*/ 4131 h 10000"/>
                    <a:gd name="connsiteX77" fmla="*/ 1103 w 10000"/>
                    <a:gd name="connsiteY77" fmla="*/ 4131 h 10000"/>
                    <a:gd name="connsiteX78" fmla="*/ 845 w 10000"/>
                    <a:gd name="connsiteY78" fmla="*/ 3883 h 10000"/>
                    <a:gd name="connsiteX79" fmla="*/ 521 w 10000"/>
                    <a:gd name="connsiteY79" fmla="*/ 3546 h 10000"/>
                    <a:gd name="connsiteX80" fmla="*/ 261 w 10000"/>
                    <a:gd name="connsiteY80" fmla="*/ 3243 h 10000"/>
                    <a:gd name="connsiteX81" fmla="*/ 195 w 10000"/>
                    <a:gd name="connsiteY81" fmla="*/ 3156 h 10000"/>
                    <a:gd name="connsiteX82" fmla="*/ 195 w 10000"/>
                    <a:gd name="connsiteY82" fmla="*/ 3121 h 10000"/>
                    <a:gd name="connsiteX83" fmla="*/ 261 w 10000"/>
                    <a:gd name="connsiteY83" fmla="*/ 3102 h 10000"/>
                    <a:gd name="connsiteX84" fmla="*/ 261 w 10000"/>
                    <a:gd name="connsiteY84" fmla="*/ 3102 h 10000"/>
                    <a:gd name="connsiteX85" fmla="*/ 650 w 10000"/>
                    <a:gd name="connsiteY85" fmla="*/ 3085 h 10000"/>
                    <a:gd name="connsiteX86" fmla="*/ 908 w 10000"/>
                    <a:gd name="connsiteY86" fmla="*/ 3085 h 10000"/>
                    <a:gd name="connsiteX87" fmla="*/ 1103 w 10000"/>
                    <a:gd name="connsiteY87" fmla="*/ 3102 h 10000"/>
                    <a:gd name="connsiteX88" fmla="*/ 1103 w 10000"/>
                    <a:gd name="connsiteY88" fmla="*/ 3102 h 10000"/>
                    <a:gd name="connsiteX89" fmla="*/ 1168 w 10000"/>
                    <a:gd name="connsiteY89" fmla="*/ 3102 h 10000"/>
                    <a:gd name="connsiteX90" fmla="*/ 1235 w 10000"/>
                    <a:gd name="connsiteY90" fmla="*/ 3069 h 10000"/>
                    <a:gd name="connsiteX91" fmla="*/ 1559 w 10000"/>
                    <a:gd name="connsiteY91" fmla="*/ 2961 h 10000"/>
                    <a:gd name="connsiteX92" fmla="*/ 2402 w 10000"/>
                    <a:gd name="connsiteY92" fmla="*/ 2605 h 10000"/>
                    <a:gd name="connsiteX93" fmla="*/ 3507 w 10000"/>
                    <a:gd name="connsiteY93" fmla="*/ 2094 h 10000"/>
                    <a:gd name="connsiteX94" fmla="*/ 3507 w 10000"/>
                    <a:gd name="connsiteY94" fmla="*/ 2094 h 10000"/>
                    <a:gd name="connsiteX95" fmla="*/ 3507 w 10000"/>
                    <a:gd name="connsiteY95" fmla="*/ 2021 h 10000"/>
                    <a:gd name="connsiteX96" fmla="*/ 3507 w 10000"/>
                    <a:gd name="connsiteY96" fmla="*/ 1859 h 10000"/>
                    <a:gd name="connsiteX97" fmla="*/ 3573 w 10000"/>
                    <a:gd name="connsiteY97" fmla="*/ 1755 h 10000"/>
                    <a:gd name="connsiteX98" fmla="*/ 3702 w 10000"/>
                    <a:gd name="connsiteY98" fmla="*/ 1665 h 10000"/>
                    <a:gd name="connsiteX99" fmla="*/ 3896 w 10000"/>
                    <a:gd name="connsiteY99" fmla="*/ 1560 h 10000"/>
                    <a:gd name="connsiteX100" fmla="*/ 4156 w 10000"/>
                    <a:gd name="connsiteY100" fmla="*/ 1473 h 10000"/>
                    <a:gd name="connsiteX101" fmla="*/ 4156 w 10000"/>
                    <a:gd name="connsiteY101" fmla="*/ 1473 h 10000"/>
                    <a:gd name="connsiteX102" fmla="*/ 4806 w 10000"/>
                    <a:gd name="connsiteY102" fmla="*/ 1296 h 10000"/>
                    <a:gd name="connsiteX103" fmla="*/ 5455 w 10000"/>
                    <a:gd name="connsiteY103" fmla="*/ 1063 h 10000"/>
                    <a:gd name="connsiteX104" fmla="*/ 6104 w 10000"/>
                    <a:gd name="connsiteY104" fmla="*/ 850 h 10000"/>
                    <a:gd name="connsiteX105" fmla="*/ 6559 w 10000"/>
                    <a:gd name="connsiteY105" fmla="*/ 658 h 10000"/>
                    <a:gd name="connsiteX106" fmla="*/ 6559 w 10000"/>
                    <a:gd name="connsiteY106" fmla="*/ 658 h 10000"/>
                    <a:gd name="connsiteX107" fmla="*/ 6882 w 10000"/>
                    <a:gd name="connsiteY107" fmla="*/ 480 h 10000"/>
                    <a:gd name="connsiteX108" fmla="*/ 7273 w 10000"/>
                    <a:gd name="connsiteY108" fmla="*/ 265 h 10000"/>
                    <a:gd name="connsiteX109" fmla="*/ 7663 w 10000"/>
                    <a:gd name="connsiteY109" fmla="*/ 105 h 10000"/>
                    <a:gd name="connsiteX110" fmla="*/ 7856 w 10000"/>
                    <a:gd name="connsiteY110" fmla="*/ 32 h 10000"/>
                    <a:gd name="connsiteX111" fmla="*/ 8051 w 10000"/>
                    <a:gd name="connsiteY111" fmla="*/ 17 h 10000"/>
                    <a:gd name="connsiteX112" fmla="*/ 8051 w 10000"/>
                    <a:gd name="connsiteY112" fmla="*/ 17 h 10000"/>
                    <a:gd name="connsiteX113" fmla="*/ 8442 w 10000"/>
                    <a:gd name="connsiteY113" fmla="*/ 0 h 10000"/>
                    <a:gd name="connsiteX114" fmla="*/ 8961 w 10000"/>
                    <a:gd name="connsiteY114" fmla="*/ 0 h 10000"/>
                    <a:gd name="connsiteX115" fmla="*/ 10000 w 10000"/>
                    <a:gd name="connsiteY115" fmla="*/ 17 h 10000"/>
                    <a:gd name="connsiteX116" fmla="*/ 5389 w 10000"/>
                    <a:gd name="connsiteY116" fmla="*/ 9949 h 10000"/>
                    <a:gd name="connsiteX117" fmla="*/ 5389 w 10000"/>
                    <a:gd name="connsiteY117" fmla="*/ 9877 h 10000"/>
                    <a:gd name="connsiteX118" fmla="*/ 5259 w 10000"/>
                    <a:gd name="connsiteY118" fmla="*/ 9790 h 10000"/>
                    <a:gd name="connsiteX119" fmla="*/ 4026 w 10000"/>
                    <a:gd name="connsiteY119" fmla="*/ 9896 h 10000"/>
                    <a:gd name="connsiteX120" fmla="*/ 3247 w 10000"/>
                    <a:gd name="connsiteY120" fmla="*/ 9752 h 10000"/>
                    <a:gd name="connsiteX121" fmla="*/ 3247 w 10000"/>
                    <a:gd name="connsiteY121" fmla="*/ 9752 h 10000"/>
                    <a:gd name="connsiteX122" fmla="*/ 3117 w 10000"/>
                    <a:gd name="connsiteY122" fmla="*/ 9559 h 10000"/>
                    <a:gd name="connsiteX123" fmla="*/ 3117 w 10000"/>
                    <a:gd name="connsiteY123" fmla="*/ 9559 h 10000"/>
                    <a:gd name="connsiteX124" fmla="*/ 3312 w 10000"/>
                    <a:gd name="connsiteY124" fmla="*/ 9502 h 10000"/>
                    <a:gd name="connsiteX125" fmla="*/ 3443 w 10000"/>
                    <a:gd name="connsiteY125" fmla="*/ 9486 h 10000"/>
                    <a:gd name="connsiteX126" fmla="*/ 2661 w 10000"/>
                    <a:gd name="connsiteY126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702 w 10000"/>
                    <a:gd name="connsiteY12" fmla="*/ 9927 h 10000"/>
                    <a:gd name="connsiteX13" fmla="*/ 3573 w 10000"/>
                    <a:gd name="connsiteY13" fmla="*/ 9927 h 10000"/>
                    <a:gd name="connsiteX14" fmla="*/ 3247 w 10000"/>
                    <a:gd name="connsiteY14" fmla="*/ 9752 h 10000"/>
                    <a:gd name="connsiteX15" fmla="*/ 3247 w 10000"/>
                    <a:gd name="connsiteY15" fmla="*/ 9752 h 10000"/>
                    <a:gd name="connsiteX16" fmla="*/ 3117 w 10000"/>
                    <a:gd name="connsiteY16" fmla="*/ 9700 h 10000"/>
                    <a:gd name="connsiteX17" fmla="*/ 3117 w 10000"/>
                    <a:gd name="connsiteY17" fmla="*/ 9646 h 10000"/>
                    <a:gd name="connsiteX18" fmla="*/ 3117 w 10000"/>
                    <a:gd name="connsiteY18" fmla="*/ 9611 h 10000"/>
                    <a:gd name="connsiteX19" fmla="*/ 3184 w 10000"/>
                    <a:gd name="connsiteY19" fmla="*/ 9574 h 10000"/>
                    <a:gd name="connsiteX20" fmla="*/ 3312 w 10000"/>
                    <a:gd name="connsiteY20" fmla="*/ 9502 h 10000"/>
                    <a:gd name="connsiteX21" fmla="*/ 3443 w 10000"/>
                    <a:gd name="connsiteY21" fmla="*/ 9486 h 10000"/>
                    <a:gd name="connsiteX22" fmla="*/ 3443 w 10000"/>
                    <a:gd name="connsiteY22" fmla="*/ 9486 h 10000"/>
                    <a:gd name="connsiteX23" fmla="*/ 3443 w 10000"/>
                    <a:gd name="connsiteY23" fmla="*/ 9469 h 10000"/>
                    <a:gd name="connsiteX24" fmla="*/ 3507 w 10000"/>
                    <a:gd name="connsiteY24" fmla="*/ 9450 h 10000"/>
                    <a:gd name="connsiteX25" fmla="*/ 7646 w 10000"/>
                    <a:gd name="connsiteY25" fmla="*/ 9178 h 10000"/>
                    <a:gd name="connsiteX26" fmla="*/ 8116 w 10000"/>
                    <a:gd name="connsiteY26" fmla="*/ 9186 h 10000"/>
                    <a:gd name="connsiteX27" fmla="*/ 8116 w 10000"/>
                    <a:gd name="connsiteY27" fmla="*/ 9186 h 10000"/>
                    <a:gd name="connsiteX28" fmla="*/ 8442 w 10000"/>
                    <a:gd name="connsiteY28" fmla="*/ 9151 h 10000"/>
                    <a:gd name="connsiteX29" fmla="*/ 8702 w 10000"/>
                    <a:gd name="connsiteY29" fmla="*/ 9062 h 10000"/>
                    <a:gd name="connsiteX30" fmla="*/ 8636 w 10000"/>
                    <a:gd name="connsiteY30" fmla="*/ 9026 h 10000"/>
                    <a:gd name="connsiteX31" fmla="*/ 8636 w 10000"/>
                    <a:gd name="connsiteY31" fmla="*/ 8991 h 10000"/>
                    <a:gd name="connsiteX32" fmla="*/ 8312 w 10000"/>
                    <a:gd name="connsiteY32" fmla="*/ 8902 h 10000"/>
                    <a:gd name="connsiteX33" fmla="*/ 5975 w 10000"/>
                    <a:gd name="connsiteY33" fmla="*/ 8581 h 10000"/>
                    <a:gd name="connsiteX34" fmla="*/ 5975 w 10000"/>
                    <a:gd name="connsiteY34" fmla="*/ 8581 h 10000"/>
                    <a:gd name="connsiteX35" fmla="*/ 5714 w 10000"/>
                    <a:gd name="connsiteY35" fmla="*/ 8530 h 10000"/>
                    <a:gd name="connsiteX36" fmla="*/ 5519 w 10000"/>
                    <a:gd name="connsiteY36" fmla="*/ 8476 h 10000"/>
                    <a:gd name="connsiteX37" fmla="*/ 5389 w 10000"/>
                    <a:gd name="connsiteY37" fmla="*/ 8423 h 10000"/>
                    <a:gd name="connsiteX38" fmla="*/ 5389 w 10000"/>
                    <a:gd name="connsiteY38" fmla="*/ 8423 h 10000"/>
                    <a:gd name="connsiteX39" fmla="*/ 7729 w 10000"/>
                    <a:gd name="connsiteY39" fmla="*/ 8404 h 10000"/>
                    <a:gd name="connsiteX40" fmla="*/ 10000 w 10000"/>
                    <a:gd name="connsiteY40" fmla="*/ 8581 h 10000"/>
                    <a:gd name="connsiteX41" fmla="*/ 10000 w 10000"/>
                    <a:gd name="connsiteY41" fmla="*/ 6970 h 10000"/>
                    <a:gd name="connsiteX42" fmla="*/ 10000 w 10000"/>
                    <a:gd name="connsiteY42" fmla="*/ 6970 h 10000"/>
                    <a:gd name="connsiteX43" fmla="*/ 7404 w 10000"/>
                    <a:gd name="connsiteY43" fmla="*/ 6595 h 10000"/>
                    <a:gd name="connsiteX44" fmla="*/ 5975 w 10000"/>
                    <a:gd name="connsiteY44" fmla="*/ 6384 h 10000"/>
                    <a:gd name="connsiteX45" fmla="*/ 5975 w 10000"/>
                    <a:gd name="connsiteY45" fmla="*/ 6384 h 10000"/>
                    <a:gd name="connsiteX46" fmla="*/ 5975 w 10000"/>
                    <a:gd name="connsiteY46" fmla="*/ 6366 h 10000"/>
                    <a:gd name="connsiteX47" fmla="*/ 5975 w 10000"/>
                    <a:gd name="connsiteY47" fmla="*/ 6260 h 10000"/>
                    <a:gd name="connsiteX48" fmla="*/ 5975 w 10000"/>
                    <a:gd name="connsiteY48" fmla="*/ 6260 h 10000"/>
                    <a:gd name="connsiteX49" fmla="*/ 5779 w 10000"/>
                    <a:gd name="connsiteY49" fmla="*/ 6133 h 10000"/>
                    <a:gd name="connsiteX50" fmla="*/ 5389 w 10000"/>
                    <a:gd name="connsiteY50" fmla="*/ 5939 h 10000"/>
                    <a:gd name="connsiteX51" fmla="*/ 4545 w 10000"/>
                    <a:gd name="connsiteY51" fmla="*/ 5568 h 10000"/>
                    <a:gd name="connsiteX52" fmla="*/ 4545 w 10000"/>
                    <a:gd name="connsiteY52" fmla="*/ 5568 h 10000"/>
                    <a:gd name="connsiteX53" fmla="*/ 4352 w 10000"/>
                    <a:gd name="connsiteY53" fmla="*/ 5515 h 10000"/>
                    <a:gd name="connsiteX54" fmla="*/ 4026 w 10000"/>
                    <a:gd name="connsiteY54" fmla="*/ 5444 h 10000"/>
                    <a:gd name="connsiteX55" fmla="*/ 3052 w 10000"/>
                    <a:gd name="connsiteY55" fmla="*/ 5284 h 10000"/>
                    <a:gd name="connsiteX56" fmla="*/ 1689 w 10000"/>
                    <a:gd name="connsiteY56" fmla="*/ 5090 h 10000"/>
                    <a:gd name="connsiteX57" fmla="*/ 1689 w 10000"/>
                    <a:gd name="connsiteY57" fmla="*/ 5090 h 10000"/>
                    <a:gd name="connsiteX58" fmla="*/ 1103 w 10000"/>
                    <a:gd name="connsiteY58" fmla="*/ 5070 h 10000"/>
                    <a:gd name="connsiteX59" fmla="*/ 650 w 10000"/>
                    <a:gd name="connsiteY59" fmla="*/ 5053 h 10000"/>
                    <a:gd name="connsiteX60" fmla="*/ 521 w 10000"/>
                    <a:gd name="connsiteY60" fmla="*/ 5035 h 10000"/>
                    <a:gd name="connsiteX61" fmla="*/ 390 w 10000"/>
                    <a:gd name="connsiteY61" fmla="*/ 5018 h 10000"/>
                    <a:gd name="connsiteX62" fmla="*/ 390 w 10000"/>
                    <a:gd name="connsiteY62" fmla="*/ 5018 h 10000"/>
                    <a:gd name="connsiteX63" fmla="*/ 261 w 10000"/>
                    <a:gd name="connsiteY63" fmla="*/ 4945 h 10000"/>
                    <a:gd name="connsiteX64" fmla="*/ 65 w 10000"/>
                    <a:gd name="connsiteY64" fmla="*/ 4825 h 10000"/>
                    <a:gd name="connsiteX65" fmla="*/ 0 w 10000"/>
                    <a:gd name="connsiteY65" fmla="*/ 4753 h 10000"/>
                    <a:gd name="connsiteX66" fmla="*/ 0 w 10000"/>
                    <a:gd name="connsiteY66" fmla="*/ 4680 h 10000"/>
                    <a:gd name="connsiteX67" fmla="*/ 0 w 10000"/>
                    <a:gd name="connsiteY67" fmla="*/ 4628 h 10000"/>
                    <a:gd name="connsiteX68" fmla="*/ 131 w 10000"/>
                    <a:gd name="connsiteY68" fmla="*/ 4574 h 10000"/>
                    <a:gd name="connsiteX69" fmla="*/ 131 w 10000"/>
                    <a:gd name="connsiteY69" fmla="*/ 4574 h 10000"/>
                    <a:gd name="connsiteX70" fmla="*/ 455 w 10000"/>
                    <a:gd name="connsiteY70" fmla="*/ 4485 h 10000"/>
                    <a:gd name="connsiteX71" fmla="*/ 779 w 10000"/>
                    <a:gd name="connsiteY71" fmla="*/ 4399 h 10000"/>
                    <a:gd name="connsiteX72" fmla="*/ 975 w 10000"/>
                    <a:gd name="connsiteY72" fmla="*/ 4346 h 10000"/>
                    <a:gd name="connsiteX73" fmla="*/ 1103 w 10000"/>
                    <a:gd name="connsiteY73" fmla="*/ 4292 h 10000"/>
                    <a:gd name="connsiteX74" fmla="*/ 1103 w 10000"/>
                    <a:gd name="connsiteY74" fmla="*/ 4220 h 10000"/>
                    <a:gd name="connsiteX75" fmla="*/ 1103 w 10000"/>
                    <a:gd name="connsiteY75" fmla="*/ 4131 h 10000"/>
                    <a:gd name="connsiteX76" fmla="*/ 1103 w 10000"/>
                    <a:gd name="connsiteY76" fmla="*/ 4131 h 10000"/>
                    <a:gd name="connsiteX77" fmla="*/ 845 w 10000"/>
                    <a:gd name="connsiteY77" fmla="*/ 3883 h 10000"/>
                    <a:gd name="connsiteX78" fmla="*/ 521 w 10000"/>
                    <a:gd name="connsiteY78" fmla="*/ 3546 h 10000"/>
                    <a:gd name="connsiteX79" fmla="*/ 261 w 10000"/>
                    <a:gd name="connsiteY79" fmla="*/ 3243 h 10000"/>
                    <a:gd name="connsiteX80" fmla="*/ 195 w 10000"/>
                    <a:gd name="connsiteY80" fmla="*/ 3156 h 10000"/>
                    <a:gd name="connsiteX81" fmla="*/ 195 w 10000"/>
                    <a:gd name="connsiteY81" fmla="*/ 3121 h 10000"/>
                    <a:gd name="connsiteX82" fmla="*/ 261 w 10000"/>
                    <a:gd name="connsiteY82" fmla="*/ 3102 h 10000"/>
                    <a:gd name="connsiteX83" fmla="*/ 261 w 10000"/>
                    <a:gd name="connsiteY83" fmla="*/ 3102 h 10000"/>
                    <a:gd name="connsiteX84" fmla="*/ 650 w 10000"/>
                    <a:gd name="connsiteY84" fmla="*/ 3085 h 10000"/>
                    <a:gd name="connsiteX85" fmla="*/ 908 w 10000"/>
                    <a:gd name="connsiteY85" fmla="*/ 3085 h 10000"/>
                    <a:gd name="connsiteX86" fmla="*/ 1103 w 10000"/>
                    <a:gd name="connsiteY86" fmla="*/ 3102 h 10000"/>
                    <a:gd name="connsiteX87" fmla="*/ 1103 w 10000"/>
                    <a:gd name="connsiteY87" fmla="*/ 3102 h 10000"/>
                    <a:gd name="connsiteX88" fmla="*/ 1168 w 10000"/>
                    <a:gd name="connsiteY88" fmla="*/ 3102 h 10000"/>
                    <a:gd name="connsiteX89" fmla="*/ 1235 w 10000"/>
                    <a:gd name="connsiteY89" fmla="*/ 3069 h 10000"/>
                    <a:gd name="connsiteX90" fmla="*/ 1559 w 10000"/>
                    <a:gd name="connsiteY90" fmla="*/ 2961 h 10000"/>
                    <a:gd name="connsiteX91" fmla="*/ 2402 w 10000"/>
                    <a:gd name="connsiteY91" fmla="*/ 2605 h 10000"/>
                    <a:gd name="connsiteX92" fmla="*/ 3507 w 10000"/>
                    <a:gd name="connsiteY92" fmla="*/ 2094 h 10000"/>
                    <a:gd name="connsiteX93" fmla="*/ 3507 w 10000"/>
                    <a:gd name="connsiteY93" fmla="*/ 2094 h 10000"/>
                    <a:gd name="connsiteX94" fmla="*/ 3507 w 10000"/>
                    <a:gd name="connsiteY94" fmla="*/ 2021 h 10000"/>
                    <a:gd name="connsiteX95" fmla="*/ 3507 w 10000"/>
                    <a:gd name="connsiteY95" fmla="*/ 1859 h 10000"/>
                    <a:gd name="connsiteX96" fmla="*/ 3573 w 10000"/>
                    <a:gd name="connsiteY96" fmla="*/ 1755 h 10000"/>
                    <a:gd name="connsiteX97" fmla="*/ 3702 w 10000"/>
                    <a:gd name="connsiteY97" fmla="*/ 1665 h 10000"/>
                    <a:gd name="connsiteX98" fmla="*/ 3896 w 10000"/>
                    <a:gd name="connsiteY98" fmla="*/ 1560 h 10000"/>
                    <a:gd name="connsiteX99" fmla="*/ 4156 w 10000"/>
                    <a:gd name="connsiteY99" fmla="*/ 1473 h 10000"/>
                    <a:gd name="connsiteX100" fmla="*/ 4156 w 10000"/>
                    <a:gd name="connsiteY100" fmla="*/ 1473 h 10000"/>
                    <a:gd name="connsiteX101" fmla="*/ 4806 w 10000"/>
                    <a:gd name="connsiteY101" fmla="*/ 1296 h 10000"/>
                    <a:gd name="connsiteX102" fmla="*/ 5455 w 10000"/>
                    <a:gd name="connsiteY102" fmla="*/ 1063 h 10000"/>
                    <a:gd name="connsiteX103" fmla="*/ 6104 w 10000"/>
                    <a:gd name="connsiteY103" fmla="*/ 850 h 10000"/>
                    <a:gd name="connsiteX104" fmla="*/ 6559 w 10000"/>
                    <a:gd name="connsiteY104" fmla="*/ 658 h 10000"/>
                    <a:gd name="connsiteX105" fmla="*/ 6559 w 10000"/>
                    <a:gd name="connsiteY105" fmla="*/ 658 h 10000"/>
                    <a:gd name="connsiteX106" fmla="*/ 6882 w 10000"/>
                    <a:gd name="connsiteY106" fmla="*/ 480 h 10000"/>
                    <a:gd name="connsiteX107" fmla="*/ 7273 w 10000"/>
                    <a:gd name="connsiteY107" fmla="*/ 265 h 10000"/>
                    <a:gd name="connsiteX108" fmla="*/ 7663 w 10000"/>
                    <a:gd name="connsiteY108" fmla="*/ 105 h 10000"/>
                    <a:gd name="connsiteX109" fmla="*/ 7856 w 10000"/>
                    <a:gd name="connsiteY109" fmla="*/ 32 h 10000"/>
                    <a:gd name="connsiteX110" fmla="*/ 8051 w 10000"/>
                    <a:gd name="connsiteY110" fmla="*/ 17 h 10000"/>
                    <a:gd name="connsiteX111" fmla="*/ 8051 w 10000"/>
                    <a:gd name="connsiteY111" fmla="*/ 17 h 10000"/>
                    <a:gd name="connsiteX112" fmla="*/ 8442 w 10000"/>
                    <a:gd name="connsiteY112" fmla="*/ 0 h 10000"/>
                    <a:gd name="connsiteX113" fmla="*/ 8961 w 10000"/>
                    <a:gd name="connsiteY113" fmla="*/ 0 h 10000"/>
                    <a:gd name="connsiteX114" fmla="*/ 10000 w 10000"/>
                    <a:gd name="connsiteY114" fmla="*/ 17 h 10000"/>
                    <a:gd name="connsiteX115" fmla="*/ 5389 w 10000"/>
                    <a:gd name="connsiteY115" fmla="*/ 9949 h 10000"/>
                    <a:gd name="connsiteX116" fmla="*/ 5389 w 10000"/>
                    <a:gd name="connsiteY116" fmla="*/ 9877 h 10000"/>
                    <a:gd name="connsiteX117" fmla="*/ 5259 w 10000"/>
                    <a:gd name="connsiteY117" fmla="*/ 9790 h 10000"/>
                    <a:gd name="connsiteX118" fmla="*/ 4026 w 10000"/>
                    <a:gd name="connsiteY118" fmla="*/ 9896 h 10000"/>
                    <a:gd name="connsiteX119" fmla="*/ 3247 w 10000"/>
                    <a:gd name="connsiteY119" fmla="*/ 9752 h 10000"/>
                    <a:gd name="connsiteX120" fmla="*/ 3247 w 10000"/>
                    <a:gd name="connsiteY120" fmla="*/ 9752 h 10000"/>
                    <a:gd name="connsiteX121" fmla="*/ 3117 w 10000"/>
                    <a:gd name="connsiteY121" fmla="*/ 9559 h 10000"/>
                    <a:gd name="connsiteX122" fmla="*/ 3117 w 10000"/>
                    <a:gd name="connsiteY122" fmla="*/ 9559 h 10000"/>
                    <a:gd name="connsiteX123" fmla="*/ 3312 w 10000"/>
                    <a:gd name="connsiteY123" fmla="*/ 9502 h 10000"/>
                    <a:gd name="connsiteX124" fmla="*/ 3443 w 10000"/>
                    <a:gd name="connsiteY124" fmla="*/ 9486 h 10000"/>
                    <a:gd name="connsiteX125" fmla="*/ 2661 w 10000"/>
                    <a:gd name="connsiteY125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702 w 10000"/>
                    <a:gd name="connsiteY12" fmla="*/ 9927 h 10000"/>
                    <a:gd name="connsiteX13" fmla="*/ 3247 w 10000"/>
                    <a:gd name="connsiteY13" fmla="*/ 9752 h 10000"/>
                    <a:gd name="connsiteX14" fmla="*/ 3247 w 10000"/>
                    <a:gd name="connsiteY14" fmla="*/ 9752 h 10000"/>
                    <a:gd name="connsiteX15" fmla="*/ 3117 w 10000"/>
                    <a:gd name="connsiteY15" fmla="*/ 9700 h 10000"/>
                    <a:gd name="connsiteX16" fmla="*/ 3117 w 10000"/>
                    <a:gd name="connsiteY16" fmla="*/ 9646 h 10000"/>
                    <a:gd name="connsiteX17" fmla="*/ 3117 w 10000"/>
                    <a:gd name="connsiteY17" fmla="*/ 9611 h 10000"/>
                    <a:gd name="connsiteX18" fmla="*/ 3184 w 10000"/>
                    <a:gd name="connsiteY18" fmla="*/ 9574 h 10000"/>
                    <a:gd name="connsiteX19" fmla="*/ 3312 w 10000"/>
                    <a:gd name="connsiteY19" fmla="*/ 9502 h 10000"/>
                    <a:gd name="connsiteX20" fmla="*/ 3443 w 10000"/>
                    <a:gd name="connsiteY20" fmla="*/ 9486 h 10000"/>
                    <a:gd name="connsiteX21" fmla="*/ 3443 w 10000"/>
                    <a:gd name="connsiteY21" fmla="*/ 9486 h 10000"/>
                    <a:gd name="connsiteX22" fmla="*/ 3443 w 10000"/>
                    <a:gd name="connsiteY22" fmla="*/ 9469 h 10000"/>
                    <a:gd name="connsiteX23" fmla="*/ 3507 w 10000"/>
                    <a:gd name="connsiteY23" fmla="*/ 9450 h 10000"/>
                    <a:gd name="connsiteX24" fmla="*/ 7646 w 10000"/>
                    <a:gd name="connsiteY24" fmla="*/ 9178 h 10000"/>
                    <a:gd name="connsiteX25" fmla="*/ 8116 w 10000"/>
                    <a:gd name="connsiteY25" fmla="*/ 9186 h 10000"/>
                    <a:gd name="connsiteX26" fmla="*/ 8116 w 10000"/>
                    <a:gd name="connsiteY26" fmla="*/ 9186 h 10000"/>
                    <a:gd name="connsiteX27" fmla="*/ 8442 w 10000"/>
                    <a:gd name="connsiteY27" fmla="*/ 9151 h 10000"/>
                    <a:gd name="connsiteX28" fmla="*/ 8702 w 10000"/>
                    <a:gd name="connsiteY28" fmla="*/ 9062 h 10000"/>
                    <a:gd name="connsiteX29" fmla="*/ 8636 w 10000"/>
                    <a:gd name="connsiteY29" fmla="*/ 9026 h 10000"/>
                    <a:gd name="connsiteX30" fmla="*/ 8636 w 10000"/>
                    <a:gd name="connsiteY30" fmla="*/ 8991 h 10000"/>
                    <a:gd name="connsiteX31" fmla="*/ 8312 w 10000"/>
                    <a:gd name="connsiteY31" fmla="*/ 8902 h 10000"/>
                    <a:gd name="connsiteX32" fmla="*/ 5975 w 10000"/>
                    <a:gd name="connsiteY32" fmla="*/ 8581 h 10000"/>
                    <a:gd name="connsiteX33" fmla="*/ 5975 w 10000"/>
                    <a:gd name="connsiteY33" fmla="*/ 8581 h 10000"/>
                    <a:gd name="connsiteX34" fmla="*/ 5714 w 10000"/>
                    <a:gd name="connsiteY34" fmla="*/ 8530 h 10000"/>
                    <a:gd name="connsiteX35" fmla="*/ 5519 w 10000"/>
                    <a:gd name="connsiteY35" fmla="*/ 8476 h 10000"/>
                    <a:gd name="connsiteX36" fmla="*/ 5389 w 10000"/>
                    <a:gd name="connsiteY36" fmla="*/ 8423 h 10000"/>
                    <a:gd name="connsiteX37" fmla="*/ 5389 w 10000"/>
                    <a:gd name="connsiteY37" fmla="*/ 8423 h 10000"/>
                    <a:gd name="connsiteX38" fmla="*/ 7729 w 10000"/>
                    <a:gd name="connsiteY38" fmla="*/ 8404 h 10000"/>
                    <a:gd name="connsiteX39" fmla="*/ 10000 w 10000"/>
                    <a:gd name="connsiteY39" fmla="*/ 8581 h 10000"/>
                    <a:gd name="connsiteX40" fmla="*/ 10000 w 10000"/>
                    <a:gd name="connsiteY40" fmla="*/ 6970 h 10000"/>
                    <a:gd name="connsiteX41" fmla="*/ 10000 w 10000"/>
                    <a:gd name="connsiteY41" fmla="*/ 6970 h 10000"/>
                    <a:gd name="connsiteX42" fmla="*/ 7404 w 10000"/>
                    <a:gd name="connsiteY42" fmla="*/ 6595 h 10000"/>
                    <a:gd name="connsiteX43" fmla="*/ 5975 w 10000"/>
                    <a:gd name="connsiteY43" fmla="*/ 6384 h 10000"/>
                    <a:gd name="connsiteX44" fmla="*/ 5975 w 10000"/>
                    <a:gd name="connsiteY44" fmla="*/ 6384 h 10000"/>
                    <a:gd name="connsiteX45" fmla="*/ 5975 w 10000"/>
                    <a:gd name="connsiteY45" fmla="*/ 6366 h 10000"/>
                    <a:gd name="connsiteX46" fmla="*/ 5975 w 10000"/>
                    <a:gd name="connsiteY46" fmla="*/ 6260 h 10000"/>
                    <a:gd name="connsiteX47" fmla="*/ 5975 w 10000"/>
                    <a:gd name="connsiteY47" fmla="*/ 6260 h 10000"/>
                    <a:gd name="connsiteX48" fmla="*/ 5779 w 10000"/>
                    <a:gd name="connsiteY48" fmla="*/ 6133 h 10000"/>
                    <a:gd name="connsiteX49" fmla="*/ 5389 w 10000"/>
                    <a:gd name="connsiteY49" fmla="*/ 5939 h 10000"/>
                    <a:gd name="connsiteX50" fmla="*/ 4545 w 10000"/>
                    <a:gd name="connsiteY50" fmla="*/ 5568 h 10000"/>
                    <a:gd name="connsiteX51" fmla="*/ 4545 w 10000"/>
                    <a:gd name="connsiteY51" fmla="*/ 5568 h 10000"/>
                    <a:gd name="connsiteX52" fmla="*/ 4352 w 10000"/>
                    <a:gd name="connsiteY52" fmla="*/ 5515 h 10000"/>
                    <a:gd name="connsiteX53" fmla="*/ 4026 w 10000"/>
                    <a:gd name="connsiteY53" fmla="*/ 5444 h 10000"/>
                    <a:gd name="connsiteX54" fmla="*/ 3052 w 10000"/>
                    <a:gd name="connsiteY54" fmla="*/ 5284 h 10000"/>
                    <a:gd name="connsiteX55" fmla="*/ 1689 w 10000"/>
                    <a:gd name="connsiteY55" fmla="*/ 5090 h 10000"/>
                    <a:gd name="connsiteX56" fmla="*/ 1689 w 10000"/>
                    <a:gd name="connsiteY56" fmla="*/ 5090 h 10000"/>
                    <a:gd name="connsiteX57" fmla="*/ 1103 w 10000"/>
                    <a:gd name="connsiteY57" fmla="*/ 5070 h 10000"/>
                    <a:gd name="connsiteX58" fmla="*/ 650 w 10000"/>
                    <a:gd name="connsiteY58" fmla="*/ 5053 h 10000"/>
                    <a:gd name="connsiteX59" fmla="*/ 521 w 10000"/>
                    <a:gd name="connsiteY59" fmla="*/ 5035 h 10000"/>
                    <a:gd name="connsiteX60" fmla="*/ 390 w 10000"/>
                    <a:gd name="connsiteY60" fmla="*/ 5018 h 10000"/>
                    <a:gd name="connsiteX61" fmla="*/ 390 w 10000"/>
                    <a:gd name="connsiteY61" fmla="*/ 5018 h 10000"/>
                    <a:gd name="connsiteX62" fmla="*/ 261 w 10000"/>
                    <a:gd name="connsiteY62" fmla="*/ 4945 h 10000"/>
                    <a:gd name="connsiteX63" fmla="*/ 65 w 10000"/>
                    <a:gd name="connsiteY63" fmla="*/ 4825 h 10000"/>
                    <a:gd name="connsiteX64" fmla="*/ 0 w 10000"/>
                    <a:gd name="connsiteY64" fmla="*/ 4753 h 10000"/>
                    <a:gd name="connsiteX65" fmla="*/ 0 w 10000"/>
                    <a:gd name="connsiteY65" fmla="*/ 4680 h 10000"/>
                    <a:gd name="connsiteX66" fmla="*/ 0 w 10000"/>
                    <a:gd name="connsiteY66" fmla="*/ 4628 h 10000"/>
                    <a:gd name="connsiteX67" fmla="*/ 131 w 10000"/>
                    <a:gd name="connsiteY67" fmla="*/ 4574 h 10000"/>
                    <a:gd name="connsiteX68" fmla="*/ 131 w 10000"/>
                    <a:gd name="connsiteY68" fmla="*/ 4574 h 10000"/>
                    <a:gd name="connsiteX69" fmla="*/ 455 w 10000"/>
                    <a:gd name="connsiteY69" fmla="*/ 4485 h 10000"/>
                    <a:gd name="connsiteX70" fmla="*/ 779 w 10000"/>
                    <a:gd name="connsiteY70" fmla="*/ 4399 h 10000"/>
                    <a:gd name="connsiteX71" fmla="*/ 975 w 10000"/>
                    <a:gd name="connsiteY71" fmla="*/ 4346 h 10000"/>
                    <a:gd name="connsiteX72" fmla="*/ 1103 w 10000"/>
                    <a:gd name="connsiteY72" fmla="*/ 4292 h 10000"/>
                    <a:gd name="connsiteX73" fmla="*/ 1103 w 10000"/>
                    <a:gd name="connsiteY73" fmla="*/ 4220 h 10000"/>
                    <a:gd name="connsiteX74" fmla="*/ 1103 w 10000"/>
                    <a:gd name="connsiteY74" fmla="*/ 4131 h 10000"/>
                    <a:gd name="connsiteX75" fmla="*/ 1103 w 10000"/>
                    <a:gd name="connsiteY75" fmla="*/ 4131 h 10000"/>
                    <a:gd name="connsiteX76" fmla="*/ 845 w 10000"/>
                    <a:gd name="connsiteY76" fmla="*/ 3883 h 10000"/>
                    <a:gd name="connsiteX77" fmla="*/ 521 w 10000"/>
                    <a:gd name="connsiteY77" fmla="*/ 3546 h 10000"/>
                    <a:gd name="connsiteX78" fmla="*/ 261 w 10000"/>
                    <a:gd name="connsiteY78" fmla="*/ 3243 h 10000"/>
                    <a:gd name="connsiteX79" fmla="*/ 195 w 10000"/>
                    <a:gd name="connsiteY79" fmla="*/ 3156 h 10000"/>
                    <a:gd name="connsiteX80" fmla="*/ 195 w 10000"/>
                    <a:gd name="connsiteY80" fmla="*/ 3121 h 10000"/>
                    <a:gd name="connsiteX81" fmla="*/ 261 w 10000"/>
                    <a:gd name="connsiteY81" fmla="*/ 3102 h 10000"/>
                    <a:gd name="connsiteX82" fmla="*/ 261 w 10000"/>
                    <a:gd name="connsiteY82" fmla="*/ 3102 h 10000"/>
                    <a:gd name="connsiteX83" fmla="*/ 650 w 10000"/>
                    <a:gd name="connsiteY83" fmla="*/ 3085 h 10000"/>
                    <a:gd name="connsiteX84" fmla="*/ 908 w 10000"/>
                    <a:gd name="connsiteY84" fmla="*/ 3085 h 10000"/>
                    <a:gd name="connsiteX85" fmla="*/ 1103 w 10000"/>
                    <a:gd name="connsiteY85" fmla="*/ 3102 h 10000"/>
                    <a:gd name="connsiteX86" fmla="*/ 1103 w 10000"/>
                    <a:gd name="connsiteY86" fmla="*/ 3102 h 10000"/>
                    <a:gd name="connsiteX87" fmla="*/ 1168 w 10000"/>
                    <a:gd name="connsiteY87" fmla="*/ 3102 h 10000"/>
                    <a:gd name="connsiteX88" fmla="*/ 1235 w 10000"/>
                    <a:gd name="connsiteY88" fmla="*/ 3069 h 10000"/>
                    <a:gd name="connsiteX89" fmla="*/ 1559 w 10000"/>
                    <a:gd name="connsiteY89" fmla="*/ 2961 h 10000"/>
                    <a:gd name="connsiteX90" fmla="*/ 2402 w 10000"/>
                    <a:gd name="connsiteY90" fmla="*/ 2605 h 10000"/>
                    <a:gd name="connsiteX91" fmla="*/ 3507 w 10000"/>
                    <a:gd name="connsiteY91" fmla="*/ 2094 h 10000"/>
                    <a:gd name="connsiteX92" fmla="*/ 3507 w 10000"/>
                    <a:gd name="connsiteY92" fmla="*/ 2094 h 10000"/>
                    <a:gd name="connsiteX93" fmla="*/ 3507 w 10000"/>
                    <a:gd name="connsiteY93" fmla="*/ 2021 h 10000"/>
                    <a:gd name="connsiteX94" fmla="*/ 3507 w 10000"/>
                    <a:gd name="connsiteY94" fmla="*/ 1859 h 10000"/>
                    <a:gd name="connsiteX95" fmla="*/ 3573 w 10000"/>
                    <a:gd name="connsiteY95" fmla="*/ 1755 h 10000"/>
                    <a:gd name="connsiteX96" fmla="*/ 3702 w 10000"/>
                    <a:gd name="connsiteY96" fmla="*/ 1665 h 10000"/>
                    <a:gd name="connsiteX97" fmla="*/ 3896 w 10000"/>
                    <a:gd name="connsiteY97" fmla="*/ 1560 h 10000"/>
                    <a:gd name="connsiteX98" fmla="*/ 4156 w 10000"/>
                    <a:gd name="connsiteY98" fmla="*/ 1473 h 10000"/>
                    <a:gd name="connsiteX99" fmla="*/ 4156 w 10000"/>
                    <a:gd name="connsiteY99" fmla="*/ 1473 h 10000"/>
                    <a:gd name="connsiteX100" fmla="*/ 4806 w 10000"/>
                    <a:gd name="connsiteY100" fmla="*/ 1296 h 10000"/>
                    <a:gd name="connsiteX101" fmla="*/ 5455 w 10000"/>
                    <a:gd name="connsiteY101" fmla="*/ 1063 h 10000"/>
                    <a:gd name="connsiteX102" fmla="*/ 6104 w 10000"/>
                    <a:gd name="connsiteY102" fmla="*/ 850 h 10000"/>
                    <a:gd name="connsiteX103" fmla="*/ 6559 w 10000"/>
                    <a:gd name="connsiteY103" fmla="*/ 658 h 10000"/>
                    <a:gd name="connsiteX104" fmla="*/ 6559 w 10000"/>
                    <a:gd name="connsiteY104" fmla="*/ 658 h 10000"/>
                    <a:gd name="connsiteX105" fmla="*/ 6882 w 10000"/>
                    <a:gd name="connsiteY105" fmla="*/ 480 h 10000"/>
                    <a:gd name="connsiteX106" fmla="*/ 7273 w 10000"/>
                    <a:gd name="connsiteY106" fmla="*/ 265 h 10000"/>
                    <a:gd name="connsiteX107" fmla="*/ 7663 w 10000"/>
                    <a:gd name="connsiteY107" fmla="*/ 105 h 10000"/>
                    <a:gd name="connsiteX108" fmla="*/ 7856 w 10000"/>
                    <a:gd name="connsiteY108" fmla="*/ 32 h 10000"/>
                    <a:gd name="connsiteX109" fmla="*/ 8051 w 10000"/>
                    <a:gd name="connsiteY109" fmla="*/ 17 h 10000"/>
                    <a:gd name="connsiteX110" fmla="*/ 8051 w 10000"/>
                    <a:gd name="connsiteY110" fmla="*/ 17 h 10000"/>
                    <a:gd name="connsiteX111" fmla="*/ 8442 w 10000"/>
                    <a:gd name="connsiteY111" fmla="*/ 0 h 10000"/>
                    <a:gd name="connsiteX112" fmla="*/ 8961 w 10000"/>
                    <a:gd name="connsiteY112" fmla="*/ 0 h 10000"/>
                    <a:gd name="connsiteX113" fmla="*/ 10000 w 10000"/>
                    <a:gd name="connsiteY113" fmla="*/ 17 h 10000"/>
                    <a:gd name="connsiteX114" fmla="*/ 5389 w 10000"/>
                    <a:gd name="connsiteY114" fmla="*/ 9949 h 10000"/>
                    <a:gd name="connsiteX115" fmla="*/ 5389 w 10000"/>
                    <a:gd name="connsiteY115" fmla="*/ 9877 h 10000"/>
                    <a:gd name="connsiteX116" fmla="*/ 5259 w 10000"/>
                    <a:gd name="connsiteY116" fmla="*/ 9790 h 10000"/>
                    <a:gd name="connsiteX117" fmla="*/ 4026 w 10000"/>
                    <a:gd name="connsiteY117" fmla="*/ 9896 h 10000"/>
                    <a:gd name="connsiteX118" fmla="*/ 3247 w 10000"/>
                    <a:gd name="connsiteY118" fmla="*/ 9752 h 10000"/>
                    <a:gd name="connsiteX119" fmla="*/ 3247 w 10000"/>
                    <a:gd name="connsiteY119" fmla="*/ 9752 h 10000"/>
                    <a:gd name="connsiteX120" fmla="*/ 3117 w 10000"/>
                    <a:gd name="connsiteY120" fmla="*/ 9559 h 10000"/>
                    <a:gd name="connsiteX121" fmla="*/ 3117 w 10000"/>
                    <a:gd name="connsiteY121" fmla="*/ 9559 h 10000"/>
                    <a:gd name="connsiteX122" fmla="*/ 3312 w 10000"/>
                    <a:gd name="connsiteY122" fmla="*/ 9502 h 10000"/>
                    <a:gd name="connsiteX123" fmla="*/ 3443 w 10000"/>
                    <a:gd name="connsiteY123" fmla="*/ 9486 h 10000"/>
                    <a:gd name="connsiteX124" fmla="*/ 2661 w 10000"/>
                    <a:gd name="connsiteY124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247 w 10000"/>
                    <a:gd name="connsiteY12" fmla="*/ 9752 h 10000"/>
                    <a:gd name="connsiteX13" fmla="*/ 3247 w 10000"/>
                    <a:gd name="connsiteY13" fmla="*/ 9752 h 10000"/>
                    <a:gd name="connsiteX14" fmla="*/ 3117 w 10000"/>
                    <a:gd name="connsiteY14" fmla="*/ 9700 h 10000"/>
                    <a:gd name="connsiteX15" fmla="*/ 3117 w 10000"/>
                    <a:gd name="connsiteY15" fmla="*/ 9646 h 10000"/>
                    <a:gd name="connsiteX16" fmla="*/ 3117 w 10000"/>
                    <a:gd name="connsiteY16" fmla="*/ 9611 h 10000"/>
                    <a:gd name="connsiteX17" fmla="*/ 3184 w 10000"/>
                    <a:gd name="connsiteY17" fmla="*/ 9574 h 10000"/>
                    <a:gd name="connsiteX18" fmla="*/ 3312 w 10000"/>
                    <a:gd name="connsiteY18" fmla="*/ 9502 h 10000"/>
                    <a:gd name="connsiteX19" fmla="*/ 3443 w 10000"/>
                    <a:gd name="connsiteY19" fmla="*/ 9486 h 10000"/>
                    <a:gd name="connsiteX20" fmla="*/ 3443 w 10000"/>
                    <a:gd name="connsiteY20" fmla="*/ 9486 h 10000"/>
                    <a:gd name="connsiteX21" fmla="*/ 3443 w 10000"/>
                    <a:gd name="connsiteY21" fmla="*/ 9469 h 10000"/>
                    <a:gd name="connsiteX22" fmla="*/ 3507 w 10000"/>
                    <a:gd name="connsiteY22" fmla="*/ 9450 h 10000"/>
                    <a:gd name="connsiteX23" fmla="*/ 7646 w 10000"/>
                    <a:gd name="connsiteY23" fmla="*/ 9178 h 10000"/>
                    <a:gd name="connsiteX24" fmla="*/ 8116 w 10000"/>
                    <a:gd name="connsiteY24" fmla="*/ 9186 h 10000"/>
                    <a:gd name="connsiteX25" fmla="*/ 8116 w 10000"/>
                    <a:gd name="connsiteY25" fmla="*/ 9186 h 10000"/>
                    <a:gd name="connsiteX26" fmla="*/ 8442 w 10000"/>
                    <a:gd name="connsiteY26" fmla="*/ 9151 h 10000"/>
                    <a:gd name="connsiteX27" fmla="*/ 8702 w 10000"/>
                    <a:gd name="connsiteY27" fmla="*/ 9062 h 10000"/>
                    <a:gd name="connsiteX28" fmla="*/ 8636 w 10000"/>
                    <a:gd name="connsiteY28" fmla="*/ 9026 h 10000"/>
                    <a:gd name="connsiteX29" fmla="*/ 8636 w 10000"/>
                    <a:gd name="connsiteY29" fmla="*/ 8991 h 10000"/>
                    <a:gd name="connsiteX30" fmla="*/ 8312 w 10000"/>
                    <a:gd name="connsiteY30" fmla="*/ 8902 h 10000"/>
                    <a:gd name="connsiteX31" fmla="*/ 5975 w 10000"/>
                    <a:gd name="connsiteY31" fmla="*/ 8581 h 10000"/>
                    <a:gd name="connsiteX32" fmla="*/ 5975 w 10000"/>
                    <a:gd name="connsiteY32" fmla="*/ 8581 h 10000"/>
                    <a:gd name="connsiteX33" fmla="*/ 5714 w 10000"/>
                    <a:gd name="connsiteY33" fmla="*/ 8530 h 10000"/>
                    <a:gd name="connsiteX34" fmla="*/ 5519 w 10000"/>
                    <a:gd name="connsiteY34" fmla="*/ 8476 h 10000"/>
                    <a:gd name="connsiteX35" fmla="*/ 5389 w 10000"/>
                    <a:gd name="connsiteY35" fmla="*/ 8423 h 10000"/>
                    <a:gd name="connsiteX36" fmla="*/ 5389 w 10000"/>
                    <a:gd name="connsiteY36" fmla="*/ 8423 h 10000"/>
                    <a:gd name="connsiteX37" fmla="*/ 7729 w 10000"/>
                    <a:gd name="connsiteY37" fmla="*/ 8404 h 10000"/>
                    <a:gd name="connsiteX38" fmla="*/ 10000 w 10000"/>
                    <a:gd name="connsiteY38" fmla="*/ 8581 h 10000"/>
                    <a:gd name="connsiteX39" fmla="*/ 10000 w 10000"/>
                    <a:gd name="connsiteY39" fmla="*/ 6970 h 10000"/>
                    <a:gd name="connsiteX40" fmla="*/ 10000 w 10000"/>
                    <a:gd name="connsiteY40" fmla="*/ 6970 h 10000"/>
                    <a:gd name="connsiteX41" fmla="*/ 7404 w 10000"/>
                    <a:gd name="connsiteY41" fmla="*/ 6595 h 10000"/>
                    <a:gd name="connsiteX42" fmla="*/ 5975 w 10000"/>
                    <a:gd name="connsiteY42" fmla="*/ 6384 h 10000"/>
                    <a:gd name="connsiteX43" fmla="*/ 5975 w 10000"/>
                    <a:gd name="connsiteY43" fmla="*/ 6384 h 10000"/>
                    <a:gd name="connsiteX44" fmla="*/ 5975 w 10000"/>
                    <a:gd name="connsiteY44" fmla="*/ 6366 h 10000"/>
                    <a:gd name="connsiteX45" fmla="*/ 5975 w 10000"/>
                    <a:gd name="connsiteY45" fmla="*/ 6260 h 10000"/>
                    <a:gd name="connsiteX46" fmla="*/ 5975 w 10000"/>
                    <a:gd name="connsiteY46" fmla="*/ 6260 h 10000"/>
                    <a:gd name="connsiteX47" fmla="*/ 5779 w 10000"/>
                    <a:gd name="connsiteY47" fmla="*/ 6133 h 10000"/>
                    <a:gd name="connsiteX48" fmla="*/ 5389 w 10000"/>
                    <a:gd name="connsiteY48" fmla="*/ 5939 h 10000"/>
                    <a:gd name="connsiteX49" fmla="*/ 4545 w 10000"/>
                    <a:gd name="connsiteY49" fmla="*/ 5568 h 10000"/>
                    <a:gd name="connsiteX50" fmla="*/ 4545 w 10000"/>
                    <a:gd name="connsiteY50" fmla="*/ 5568 h 10000"/>
                    <a:gd name="connsiteX51" fmla="*/ 4352 w 10000"/>
                    <a:gd name="connsiteY51" fmla="*/ 5515 h 10000"/>
                    <a:gd name="connsiteX52" fmla="*/ 4026 w 10000"/>
                    <a:gd name="connsiteY52" fmla="*/ 5444 h 10000"/>
                    <a:gd name="connsiteX53" fmla="*/ 3052 w 10000"/>
                    <a:gd name="connsiteY53" fmla="*/ 5284 h 10000"/>
                    <a:gd name="connsiteX54" fmla="*/ 1689 w 10000"/>
                    <a:gd name="connsiteY54" fmla="*/ 5090 h 10000"/>
                    <a:gd name="connsiteX55" fmla="*/ 1689 w 10000"/>
                    <a:gd name="connsiteY55" fmla="*/ 5090 h 10000"/>
                    <a:gd name="connsiteX56" fmla="*/ 1103 w 10000"/>
                    <a:gd name="connsiteY56" fmla="*/ 5070 h 10000"/>
                    <a:gd name="connsiteX57" fmla="*/ 650 w 10000"/>
                    <a:gd name="connsiteY57" fmla="*/ 5053 h 10000"/>
                    <a:gd name="connsiteX58" fmla="*/ 521 w 10000"/>
                    <a:gd name="connsiteY58" fmla="*/ 5035 h 10000"/>
                    <a:gd name="connsiteX59" fmla="*/ 390 w 10000"/>
                    <a:gd name="connsiteY59" fmla="*/ 5018 h 10000"/>
                    <a:gd name="connsiteX60" fmla="*/ 390 w 10000"/>
                    <a:gd name="connsiteY60" fmla="*/ 5018 h 10000"/>
                    <a:gd name="connsiteX61" fmla="*/ 261 w 10000"/>
                    <a:gd name="connsiteY61" fmla="*/ 4945 h 10000"/>
                    <a:gd name="connsiteX62" fmla="*/ 65 w 10000"/>
                    <a:gd name="connsiteY62" fmla="*/ 4825 h 10000"/>
                    <a:gd name="connsiteX63" fmla="*/ 0 w 10000"/>
                    <a:gd name="connsiteY63" fmla="*/ 4753 h 10000"/>
                    <a:gd name="connsiteX64" fmla="*/ 0 w 10000"/>
                    <a:gd name="connsiteY64" fmla="*/ 4680 h 10000"/>
                    <a:gd name="connsiteX65" fmla="*/ 0 w 10000"/>
                    <a:gd name="connsiteY65" fmla="*/ 4628 h 10000"/>
                    <a:gd name="connsiteX66" fmla="*/ 131 w 10000"/>
                    <a:gd name="connsiteY66" fmla="*/ 4574 h 10000"/>
                    <a:gd name="connsiteX67" fmla="*/ 131 w 10000"/>
                    <a:gd name="connsiteY67" fmla="*/ 4574 h 10000"/>
                    <a:gd name="connsiteX68" fmla="*/ 455 w 10000"/>
                    <a:gd name="connsiteY68" fmla="*/ 4485 h 10000"/>
                    <a:gd name="connsiteX69" fmla="*/ 779 w 10000"/>
                    <a:gd name="connsiteY69" fmla="*/ 4399 h 10000"/>
                    <a:gd name="connsiteX70" fmla="*/ 975 w 10000"/>
                    <a:gd name="connsiteY70" fmla="*/ 4346 h 10000"/>
                    <a:gd name="connsiteX71" fmla="*/ 1103 w 10000"/>
                    <a:gd name="connsiteY71" fmla="*/ 4292 h 10000"/>
                    <a:gd name="connsiteX72" fmla="*/ 1103 w 10000"/>
                    <a:gd name="connsiteY72" fmla="*/ 4220 h 10000"/>
                    <a:gd name="connsiteX73" fmla="*/ 1103 w 10000"/>
                    <a:gd name="connsiteY73" fmla="*/ 4131 h 10000"/>
                    <a:gd name="connsiteX74" fmla="*/ 1103 w 10000"/>
                    <a:gd name="connsiteY74" fmla="*/ 4131 h 10000"/>
                    <a:gd name="connsiteX75" fmla="*/ 845 w 10000"/>
                    <a:gd name="connsiteY75" fmla="*/ 3883 h 10000"/>
                    <a:gd name="connsiteX76" fmla="*/ 521 w 10000"/>
                    <a:gd name="connsiteY76" fmla="*/ 3546 h 10000"/>
                    <a:gd name="connsiteX77" fmla="*/ 261 w 10000"/>
                    <a:gd name="connsiteY77" fmla="*/ 3243 h 10000"/>
                    <a:gd name="connsiteX78" fmla="*/ 195 w 10000"/>
                    <a:gd name="connsiteY78" fmla="*/ 3156 h 10000"/>
                    <a:gd name="connsiteX79" fmla="*/ 195 w 10000"/>
                    <a:gd name="connsiteY79" fmla="*/ 3121 h 10000"/>
                    <a:gd name="connsiteX80" fmla="*/ 261 w 10000"/>
                    <a:gd name="connsiteY80" fmla="*/ 3102 h 10000"/>
                    <a:gd name="connsiteX81" fmla="*/ 261 w 10000"/>
                    <a:gd name="connsiteY81" fmla="*/ 3102 h 10000"/>
                    <a:gd name="connsiteX82" fmla="*/ 650 w 10000"/>
                    <a:gd name="connsiteY82" fmla="*/ 3085 h 10000"/>
                    <a:gd name="connsiteX83" fmla="*/ 908 w 10000"/>
                    <a:gd name="connsiteY83" fmla="*/ 3085 h 10000"/>
                    <a:gd name="connsiteX84" fmla="*/ 1103 w 10000"/>
                    <a:gd name="connsiteY84" fmla="*/ 3102 h 10000"/>
                    <a:gd name="connsiteX85" fmla="*/ 1103 w 10000"/>
                    <a:gd name="connsiteY85" fmla="*/ 3102 h 10000"/>
                    <a:gd name="connsiteX86" fmla="*/ 1168 w 10000"/>
                    <a:gd name="connsiteY86" fmla="*/ 3102 h 10000"/>
                    <a:gd name="connsiteX87" fmla="*/ 1235 w 10000"/>
                    <a:gd name="connsiteY87" fmla="*/ 3069 h 10000"/>
                    <a:gd name="connsiteX88" fmla="*/ 1559 w 10000"/>
                    <a:gd name="connsiteY88" fmla="*/ 2961 h 10000"/>
                    <a:gd name="connsiteX89" fmla="*/ 2402 w 10000"/>
                    <a:gd name="connsiteY89" fmla="*/ 2605 h 10000"/>
                    <a:gd name="connsiteX90" fmla="*/ 3507 w 10000"/>
                    <a:gd name="connsiteY90" fmla="*/ 2094 h 10000"/>
                    <a:gd name="connsiteX91" fmla="*/ 3507 w 10000"/>
                    <a:gd name="connsiteY91" fmla="*/ 2094 h 10000"/>
                    <a:gd name="connsiteX92" fmla="*/ 3507 w 10000"/>
                    <a:gd name="connsiteY92" fmla="*/ 2021 h 10000"/>
                    <a:gd name="connsiteX93" fmla="*/ 3507 w 10000"/>
                    <a:gd name="connsiteY93" fmla="*/ 1859 h 10000"/>
                    <a:gd name="connsiteX94" fmla="*/ 3573 w 10000"/>
                    <a:gd name="connsiteY94" fmla="*/ 1755 h 10000"/>
                    <a:gd name="connsiteX95" fmla="*/ 3702 w 10000"/>
                    <a:gd name="connsiteY95" fmla="*/ 1665 h 10000"/>
                    <a:gd name="connsiteX96" fmla="*/ 3896 w 10000"/>
                    <a:gd name="connsiteY96" fmla="*/ 1560 h 10000"/>
                    <a:gd name="connsiteX97" fmla="*/ 4156 w 10000"/>
                    <a:gd name="connsiteY97" fmla="*/ 1473 h 10000"/>
                    <a:gd name="connsiteX98" fmla="*/ 4156 w 10000"/>
                    <a:gd name="connsiteY98" fmla="*/ 1473 h 10000"/>
                    <a:gd name="connsiteX99" fmla="*/ 4806 w 10000"/>
                    <a:gd name="connsiteY99" fmla="*/ 1296 h 10000"/>
                    <a:gd name="connsiteX100" fmla="*/ 5455 w 10000"/>
                    <a:gd name="connsiteY100" fmla="*/ 1063 h 10000"/>
                    <a:gd name="connsiteX101" fmla="*/ 6104 w 10000"/>
                    <a:gd name="connsiteY101" fmla="*/ 850 h 10000"/>
                    <a:gd name="connsiteX102" fmla="*/ 6559 w 10000"/>
                    <a:gd name="connsiteY102" fmla="*/ 658 h 10000"/>
                    <a:gd name="connsiteX103" fmla="*/ 6559 w 10000"/>
                    <a:gd name="connsiteY103" fmla="*/ 658 h 10000"/>
                    <a:gd name="connsiteX104" fmla="*/ 6882 w 10000"/>
                    <a:gd name="connsiteY104" fmla="*/ 480 h 10000"/>
                    <a:gd name="connsiteX105" fmla="*/ 7273 w 10000"/>
                    <a:gd name="connsiteY105" fmla="*/ 265 h 10000"/>
                    <a:gd name="connsiteX106" fmla="*/ 7663 w 10000"/>
                    <a:gd name="connsiteY106" fmla="*/ 105 h 10000"/>
                    <a:gd name="connsiteX107" fmla="*/ 7856 w 10000"/>
                    <a:gd name="connsiteY107" fmla="*/ 32 h 10000"/>
                    <a:gd name="connsiteX108" fmla="*/ 8051 w 10000"/>
                    <a:gd name="connsiteY108" fmla="*/ 17 h 10000"/>
                    <a:gd name="connsiteX109" fmla="*/ 8051 w 10000"/>
                    <a:gd name="connsiteY109" fmla="*/ 17 h 10000"/>
                    <a:gd name="connsiteX110" fmla="*/ 8442 w 10000"/>
                    <a:gd name="connsiteY110" fmla="*/ 0 h 10000"/>
                    <a:gd name="connsiteX111" fmla="*/ 8961 w 10000"/>
                    <a:gd name="connsiteY111" fmla="*/ 0 h 10000"/>
                    <a:gd name="connsiteX112" fmla="*/ 10000 w 10000"/>
                    <a:gd name="connsiteY112" fmla="*/ 17 h 10000"/>
                    <a:gd name="connsiteX113" fmla="*/ 5389 w 10000"/>
                    <a:gd name="connsiteY113" fmla="*/ 9949 h 10000"/>
                    <a:gd name="connsiteX114" fmla="*/ 5389 w 10000"/>
                    <a:gd name="connsiteY114" fmla="*/ 9877 h 10000"/>
                    <a:gd name="connsiteX115" fmla="*/ 5259 w 10000"/>
                    <a:gd name="connsiteY115" fmla="*/ 9790 h 10000"/>
                    <a:gd name="connsiteX116" fmla="*/ 4026 w 10000"/>
                    <a:gd name="connsiteY116" fmla="*/ 9896 h 10000"/>
                    <a:gd name="connsiteX117" fmla="*/ 3247 w 10000"/>
                    <a:gd name="connsiteY117" fmla="*/ 9752 h 10000"/>
                    <a:gd name="connsiteX118" fmla="*/ 3247 w 10000"/>
                    <a:gd name="connsiteY118" fmla="*/ 9752 h 10000"/>
                    <a:gd name="connsiteX119" fmla="*/ 3117 w 10000"/>
                    <a:gd name="connsiteY119" fmla="*/ 9559 h 10000"/>
                    <a:gd name="connsiteX120" fmla="*/ 3117 w 10000"/>
                    <a:gd name="connsiteY120" fmla="*/ 9559 h 10000"/>
                    <a:gd name="connsiteX121" fmla="*/ 3312 w 10000"/>
                    <a:gd name="connsiteY121" fmla="*/ 9502 h 10000"/>
                    <a:gd name="connsiteX122" fmla="*/ 3443 w 10000"/>
                    <a:gd name="connsiteY122" fmla="*/ 9486 h 10000"/>
                    <a:gd name="connsiteX123" fmla="*/ 2661 w 10000"/>
                    <a:gd name="connsiteY123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4026 w 10000"/>
                    <a:gd name="connsiteY11" fmla="*/ 9912 h 10000"/>
                    <a:gd name="connsiteX12" fmla="*/ 3247 w 10000"/>
                    <a:gd name="connsiteY12" fmla="*/ 9752 h 10000"/>
                    <a:gd name="connsiteX13" fmla="*/ 3247 w 10000"/>
                    <a:gd name="connsiteY13" fmla="*/ 9752 h 10000"/>
                    <a:gd name="connsiteX14" fmla="*/ 3117 w 10000"/>
                    <a:gd name="connsiteY14" fmla="*/ 9700 h 10000"/>
                    <a:gd name="connsiteX15" fmla="*/ 3117 w 10000"/>
                    <a:gd name="connsiteY15" fmla="*/ 9646 h 10000"/>
                    <a:gd name="connsiteX16" fmla="*/ 3117 w 10000"/>
                    <a:gd name="connsiteY16" fmla="*/ 9611 h 10000"/>
                    <a:gd name="connsiteX17" fmla="*/ 3184 w 10000"/>
                    <a:gd name="connsiteY17" fmla="*/ 9574 h 10000"/>
                    <a:gd name="connsiteX18" fmla="*/ 3312 w 10000"/>
                    <a:gd name="connsiteY18" fmla="*/ 9502 h 10000"/>
                    <a:gd name="connsiteX19" fmla="*/ 3443 w 10000"/>
                    <a:gd name="connsiteY19" fmla="*/ 9486 h 10000"/>
                    <a:gd name="connsiteX20" fmla="*/ 3443 w 10000"/>
                    <a:gd name="connsiteY20" fmla="*/ 9486 h 10000"/>
                    <a:gd name="connsiteX21" fmla="*/ 3443 w 10000"/>
                    <a:gd name="connsiteY21" fmla="*/ 9469 h 10000"/>
                    <a:gd name="connsiteX22" fmla="*/ 3507 w 10000"/>
                    <a:gd name="connsiteY22" fmla="*/ 9450 h 10000"/>
                    <a:gd name="connsiteX23" fmla="*/ 7646 w 10000"/>
                    <a:gd name="connsiteY23" fmla="*/ 9178 h 10000"/>
                    <a:gd name="connsiteX24" fmla="*/ 8116 w 10000"/>
                    <a:gd name="connsiteY24" fmla="*/ 9186 h 10000"/>
                    <a:gd name="connsiteX25" fmla="*/ 8116 w 10000"/>
                    <a:gd name="connsiteY25" fmla="*/ 9186 h 10000"/>
                    <a:gd name="connsiteX26" fmla="*/ 8442 w 10000"/>
                    <a:gd name="connsiteY26" fmla="*/ 9151 h 10000"/>
                    <a:gd name="connsiteX27" fmla="*/ 8702 w 10000"/>
                    <a:gd name="connsiteY27" fmla="*/ 9062 h 10000"/>
                    <a:gd name="connsiteX28" fmla="*/ 8636 w 10000"/>
                    <a:gd name="connsiteY28" fmla="*/ 9026 h 10000"/>
                    <a:gd name="connsiteX29" fmla="*/ 8636 w 10000"/>
                    <a:gd name="connsiteY29" fmla="*/ 8991 h 10000"/>
                    <a:gd name="connsiteX30" fmla="*/ 8312 w 10000"/>
                    <a:gd name="connsiteY30" fmla="*/ 8902 h 10000"/>
                    <a:gd name="connsiteX31" fmla="*/ 5975 w 10000"/>
                    <a:gd name="connsiteY31" fmla="*/ 8581 h 10000"/>
                    <a:gd name="connsiteX32" fmla="*/ 5975 w 10000"/>
                    <a:gd name="connsiteY32" fmla="*/ 8581 h 10000"/>
                    <a:gd name="connsiteX33" fmla="*/ 5714 w 10000"/>
                    <a:gd name="connsiteY33" fmla="*/ 8530 h 10000"/>
                    <a:gd name="connsiteX34" fmla="*/ 5519 w 10000"/>
                    <a:gd name="connsiteY34" fmla="*/ 8476 h 10000"/>
                    <a:gd name="connsiteX35" fmla="*/ 5389 w 10000"/>
                    <a:gd name="connsiteY35" fmla="*/ 8423 h 10000"/>
                    <a:gd name="connsiteX36" fmla="*/ 5389 w 10000"/>
                    <a:gd name="connsiteY36" fmla="*/ 8423 h 10000"/>
                    <a:gd name="connsiteX37" fmla="*/ 7729 w 10000"/>
                    <a:gd name="connsiteY37" fmla="*/ 8404 h 10000"/>
                    <a:gd name="connsiteX38" fmla="*/ 10000 w 10000"/>
                    <a:gd name="connsiteY38" fmla="*/ 8581 h 10000"/>
                    <a:gd name="connsiteX39" fmla="*/ 10000 w 10000"/>
                    <a:gd name="connsiteY39" fmla="*/ 6970 h 10000"/>
                    <a:gd name="connsiteX40" fmla="*/ 10000 w 10000"/>
                    <a:gd name="connsiteY40" fmla="*/ 6970 h 10000"/>
                    <a:gd name="connsiteX41" fmla="*/ 7404 w 10000"/>
                    <a:gd name="connsiteY41" fmla="*/ 6595 h 10000"/>
                    <a:gd name="connsiteX42" fmla="*/ 5975 w 10000"/>
                    <a:gd name="connsiteY42" fmla="*/ 6384 h 10000"/>
                    <a:gd name="connsiteX43" fmla="*/ 5975 w 10000"/>
                    <a:gd name="connsiteY43" fmla="*/ 6384 h 10000"/>
                    <a:gd name="connsiteX44" fmla="*/ 5975 w 10000"/>
                    <a:gd name="connsiteY44" fmla="*/ 6366 h 10000"/>
                    <a:gd name="connsiteX45" fmla="*/ 5975 w 10000"/>
                    <a:gd name="connsiteY45" fmla="*/ 6260 h 10000"/>
                    <a:gd name="connsiteX46" fmla="*/ 5975 w 10000"/>
                    <a:gd name="connsiteY46" fmla="*/ 6260 h 10000"/>
                    <a:gd name="connsiteX47" fmla="*/ 5779 w 10000"/>
                    <a:gd name="connsiteY47" fmla="*/ 6133 h 10000"/>
                    <a:gd name="connsiteX48" fmla="*/ 5389 w 10000"/>
                    <a:gd name="connsiteY48" fmla="*/ 5939 h 10000"/>
                    <a:gd name="connsiteX49" fmla="*/ 4545 w 10000"/>
                    <a:gd name="connsiteY49" fmla="*/ 5568 h 10000"/>
                    <a:gd name="connsiteX50" fmla="*/ 4545 w 10000"/>
                    <a:gd name="connsiteY50" fmla="*/ 5568 h 10000"/>
                    <a:gd name="connsiteX51" fmla="*/ 4352 w 10000"/>
                    <a:gd name="connsiteY51" fmla="*/ 5515 h 10000"/>
                    <a:gd name="connsiteX52" fmla="*/ 4026 w 10000"/>
                    <a:gd name="connsiteY52" fmla="*/ 5444 h 10000"/>
                    <a:gd name="connsiteX53" fmla="*/ 3052 w 10000"/>
                    <a:gd name="connsiteY53" fmla="*/ 5284 h 10000"/>
                    <a:gd name="connsiteX54" fmla="*/ 1689 w 10000"/>
                    <a:gd name="connsiteY54" fmla="*/ 5090 h 10000"/>
                    <a:gd name="connsiteX55" fmla="*/ 1689 w 10000"/>
                    <a:gd name="connsiteY55" fmla="*/ 5090 h 10000"/>
                    <a:gd name="connsiteX56" fmla="*/ 1103 w 10000"/>
                    <a:gd name="connsiteY56" fmla="*/ 5070 h 10000"/>
                    <a:gd name="connsiteX57" fmla="*/ 650 w 10000"/>
                    <a:gd name="connsiteY57" fmla="*/ 5053 h 10000"/>
                    <a:gd name="connsiteX58" fmla="*/ 521 w 10000"/>
                    <a:gd name="connsiteY58" fmla="*/ 5035 h 10000"/>
                    <a:gd name="connsiteX59" fmla="*/ 390 w 10000"/>
                    <a:gd name="connsiteY59" fmla="*/ 5018 h 10000"/>
                    <a:gd name="connsiteX60" fmla="*/ 390 w 10000"/>
                    <a:gd name="connsiteY60" fmla="*/ 5018 h 10000"/>
                    <a:gd name="connsiteX61" fmla="*/ 261 w 10000"/>
                    <a:gd name="connsiteY61" fmla="*/ 4945 h 10000"/>
                    <a:gd name="connsiteX62" fmla="*/ 65 w 10000"/>
                    <a:gd name="connsiteY62" fmla="*/ 4825 h 10000"/>
                    <a:gd name="connsiteX63" fmla="*/ 0 w 10000"/>
                    <a:gd name="connsiteY63" fmla="*/ 4753 h 10000"/>
                    <a:gd name="connsiteX64" fmla="*/ 0 w 10000"/>
                    <a:gd name="connsiteY64" fmla="*/ 4680 h 10000"/>
                    <a:gd name="connsiteX65" fmla="*/ 0 w 10000"/>
                    <a:gd name="connsiteY65" fmla="*/ 4628 h 10000"/>
                    <a:gd name="connsiteX66" fmla="*/ 131 w 10000"/>
                    <a:gd name="connsiteY66" fmla="*/ 4574 h 10000"/>
                    <a:gd name="connsiteX67" fmla="*/ 131 w 10000"/>
                    <a:gd name="connsiteY67" fmla="*/ 4574 h 10000"/>
                    <a:gd name="connsiteX68" fmla="*/ 455 w 10000"/>
                    <a:gd name="connsiteY68" fmla="*/ 4485 h 10000"/>
                    <a:gd name="connsiteX69" fmla="*/ 779 w 10000"/>
                    <a:gd name="connsiteY69" fmla="*/ 4399 h 10000"/>
                    <a:gd name="connsiteX70" fmla="*/ 975 w 10000"/>
                    <a:gd name="connsiteY70" fmla="*/ 4346 h 10000"/>
                    <a:gd name="connsiteX71" fmla="*/ 1103 w 10000"/>
                    <a:gd name="connsiteY71" fmla="*/ 4292 h 10000"/>
                    <a:gd name="connsiteX72" fmla="*/ 1103 w 10000"/>
                    <a:gd name="connsiteY72" fmla="*/ 4220 h 10000"/>
                    <a:gd name="connsiteX73" fmla="*/ 1103 w 10000"/>
                    <a:gd name="connsiteY73" fmla="*/ 4131 h 10000"/>
                    <a:gd name="connsiteX74" fmla="*/ 1103 w 10000"/>
                    <a:gd name="connsiteY74" fmla="*/ 4131 h 10000"/>
                    <a:gd name="connsiteX75" fmla="*/ 845 w 10000"/>
                    <a:gd name="connsiteY75" fmla="*/ 3883 h 10000"/>
                    <a:gd name="connsiteX76" fmla="*/ 521 w 10000"/>
                    <a:gd name="connsiteY76" fmla="*/ 3546 h 10000"/>
                    <a:gd name="connsiteX77" fmla="*/ 261 w 10000"/>
                    <a:gd name="connsiteY77" fmla="*/ 3243 h 10000"/>
                    <a:gd name="connsiteX78" fmla="*/ 195 w 10000"/>
                    <a:gd name="connsiteY78" fmla="*/ 3156 h 10000"/>
                    <a:gd name="connsiteX79" fmla="*/ 195 w 10000"/>
                    <a:gd name="connsiteY79" fmla="*/ 3121 h 10000"/>
                    <a:gd name="connsiteX80" fmla="*/ 261 w 10000"/>
                    <a:gd name="connsiteY80" fmla="*/ 3102 h 10000"/>
                    <a:gd name="connsiteX81" fmla="*/ 261 w 10000"/>
                    <a:gd name="connsiteY81" fmla="*/ 3102 h 10000"/>
                    <a:gd name="connsiteX82" fmla="*/ 650 w 10000"/>
                    <a:gd name="connsiteY82" fmla="*/ 3085 h 10000"/>
                    <a:gd name="connsiteX83" fmla="*/ 908 w 10000"/>
                    <a:gd name="connsiteY83" fmla="*/ 3085 h 10000"/>
                    <a:gd name="connsiteX84" fmla="*/ 1103 w 10000"/>
                    <a:gd name="connsiteY84" fmla="*/ 3102 h 10000"/>
                    <a:gd name="connsiteX85" fmla="*/ 1103 w 10000"/>
                    <a:gd name="connsiteY85" fmla="*/ 3102 h 10000"/>
                    <a:gd name="connsiteX86" fmla="*/ 1168 w 10000"/>
                    <a:gd name="connsiteY86" fmla="*/ 3102 h 10000"/>
                    <a:gd name="connsiteX87" fmla="*/ 1235 w 10000"/>
                    <a:gd name="connsiteY87" fmla="*/ 3069 h 10000"/>
                    <a:gd name="connsiteX88" fmla="*/ 1559 w 10000"/>
                    <a:gd name="connsiteY88" fmla="*/ 2961 h 10000"/>
                    <a:gd name="connsiteX89" fmla="*/ 2402 w 10000"/>
                    <a:gd name="connsiteY89" fmla="*/ 2605 h 10000"/>
                    <a:gd name="connsiteX90" fmla="*/ 3507 w 10000"/>
                    <a:gd name="connsiteY90" fmla="*/ 2094 h 10000"/>
                    <a:gd name="connsiteX91" fmla="*/ 3507 w 10000"/>
                    <a:gd name="connsiteY91" fmla="*/ 2094 h 10000"/>
                    <a:gd name="connsiteX92" fmla="*/ 3507 w 10000"/>
                    <a:gd name="connsiteY92" fmla="*/ 2021 h 10000"/>
                    <a:gd name="connsiteX93" fmla="*/ 3507 w 10000"/>
                    <a:gd name="connsiteY93" fmla="*/ 1859 h 10000"/>
                    <a:gd name="connsiteX94" fmla="*/ 3573 w 10000"/>
                    <a:gd name="connsiteY94" fmla="*/ 1755 h 10000"/>
                    <a:gd name="connsiteX95" fmla="*/ 3702 w 10000"/>
                    <a:gd name="connsiteY95" fmla="*/ 1665 h 10000"/>
                    <a:gd name="connsiteX96" fmla="*/ 3896 w 10000"/>
                    <a:gd name="connsiteY96" fmla="*/ 1560 h 10000"/>
                    <a:gd name="connsiteX97" fmla="*/ 4156 w 10000"/>
                    <a:gd name="connsiteY97" fmla="*/ 1473 h 10000"/>
                    <a:gd name="connsiteX98" fmla="*/ 4156 w 10000"/>
                    <a:gd name="connsiteY98" fmla="*/ 1473 h 10000"/>
                    <a:gd name="connsiteX99" fmla="*/ 4806 w 10000"/>
                    <a:gd name="connsiteY99" fmla="*/ 1296 h 10000"/>
                    <a:gd name="connsiteX100" fmla="*/ 5455 w 10000"/>
                    <a:gd name="connsiteY100" fmla="*/ 1063 h 10000"/>
                    <a:gd name="connsiteX101" fmla="*/ 6104 w 10000"/>
                    <a:gd name="connsiteY101" fmla="*/ 850 h 10000"/>
                    <a:gd name="connsiteX102" fmla="*/ 6559 w 10000"/>
                    <a:gd name="connsiteY102" fmla="*/ 658 h 10000"/>
                    <a:gd name="connsiteX103" fmla="*/ 6559 w 10000"/>
                    <a:gd name="connsiteY103" fmla="*/ 658 h 10000"/>
                    <a:gd name="connsiteX104" fmla="*/ 6882 w 10000"/>
                    <a:gd name="connsiteY104" fmla="*/ 480 h 10000"/>
                    <a:gd name="connsiteX105" fmla="*/ 7273 w 10000"/>
                    <a:gd name="connsiteY105" fmla="*/ 265 h 10000"/>
                    <a:gd name="connsiteX106" fmla="*/ 7663 w 10000"/>
                    <a:gd name="connsiteY106" fmla="*/ 105 h 10000"/>
                    <a:gd name="connsiteX107" fmla="*/ 7856 w 10000"/>
                    <a:gd name="connsiteY107" fmla="*/ 32 h 10000"/>
                    <a:gd name="connsiteX108" fmla="*/ 8051 w 10000"/>
                    <a:gd name="connsiteY108" fmla="*/ 17 h 10000"/>
                    <a:gd name="connsiteX109" fmla="*/ 8051 w 10000"/>
                    <a:gd name="connsiteY109" fmla="*/ 17 h 10000"/>
                    <a:gd name="connsiteX110" fmla="*/ 8442 w 10000"/>
                    <a:gd name="connsiteY110" fmla="*/ 0 h 10000"/>
                    <a:gd name="connsiteX111" fmla="*/ 8961 w 10000"/>
                    <a:gd name="connsiteY111" fmla="*/ 0 h 10000"/>
                    <a:gd name="connsiteX112" fmla="*/ 10000 w 10000"/>
                    <a:gd name="connsiteY112" fmla="*/ 17 h 10000"/>
                    <a:gd name="connsiteX113" fmla="*/ 5389 w 10000"/>
                    <a:gd name="connsiteY113" fmla="*/ 9949 h 10000"/>
                    <a:gd name="connsiteX114" fmla="*/ 5389 w 10000"/>
                    <a:gd name="connsiteY114" fmla="*/ 9877 h 10000"/>
                    <a:gd name="connsiteX115" fmla="*/ 5259 w 10000"/>
                    <a:gd name="connsiteY115" fmla="*/ 9790 h 10000"/>
                    <a:gd name="connsiteX116" fmla="*/ 3247 w 10000"/>
                    <a:gd name="connsiteY116" fmla="*/ 9752 h 10000"/>
                    <a:gd name="connsiteX117" fmla="*/ 3247 w 10000"/>
                    <a:gd name="connsiteY117" fmla="*/ 9752 h 10000"/>
                    <a:gd name="connsiteX118" fmla="*/ 3117 w 10000"/>
                    <a:gd name="connsiteY118" fmla="*/ 9559 h 10000"/>
                    <a:gd name="connsiteX119" fmla="*/ 3117 w 10000"/>
                    <a:gd name="connsiteY119" fmla="*/ 9559 h 10000"/>
                    <a:gd name="connsiteX120" fmla="*/ 3312 w 10000"/>
                    <a:gd name="connsiteY120" fmla="*/ 9502 h 10000"/>
                    <a:gd name="connsiteX121" fmla="*/ 3443 w 10000"/>
                    <a:gd name="connsiteY121" fmla="*/ 9486 h 10000"/>
                    <a:gd name="connsiteX122" fmla="*/ 2661 w 10000"/>
                    <a:gd name="connsiteY122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4026 w 10000"/>
                    <a:gd name="connsiteY10" fmla="*/ 9912 h 10000"/>
                    <a:gd name="connsiteX11" fmla="*/ 3247 w 10000"/>
                    <a:gd name="connsiteY11" fmla="*/ 9752 h 10000"/>
                    <a:gd name="connsiteX12" fmla="*/ 3247 w 10000"/>
                    <a:gd name="connsiteY12" fmla="*/ 9752 h 10000"/>
                    <a:gd name="connsiteX13" fmla="*/ 3117 w 10000"/>
                    <a:gd name="connsiteY13" fmla="*/ 9700 h 10000"/>
                    <a:gd name="connsiteX14" fmla="*/ 3117 w 10000"/>
                    <a:gd name="connsiteY14" fmla="*/ 9646 h 10000"/>
                    <a:gd name="connsiteX15" fmla="*/ 3117 w 10000"/>
                    <a:gd name="connsiteY15" fmla="*/ 9611 h 10000"/>
                    <a:gd name="connsiteX16" fmla="*/ 3184 w 10000"/>
                    <a:gd name="connsiteY16" fmla="*/ 9574 h 10000"/>
                    <a:gd name="connsiteX17" fmla="*/ 3312 w 10000"/>
                    <a:gd name="connsiteY17" fmla="*/ 9502 h 10000"/>
                    <a:gd name="connsiteX18" fmla="*/ 3443 w 10000"/>
                    <a:gd name="connsiteY18" fmla="*/ 9486 h 10000"/>
                    <a:gd name="connsiteX19" fmla="*/ 3443 w 10000"/>
                    <a:gd name="connsiteY19" fmla="*/ 9486 h 10000"/>
                    <a:gd name="connsiteX20" fmla="*/ 3443 w 10000"/>
                    <a:gd name="connsiteY20" fmla="*/ 9469 h 10000"/>
                    <a:gd name="connsiteX21" fmla="*/ 3507 w 10000"/>
                    <a:gd name="connsiteY21" fmla="*/ 9450 h 10000"/>
                    <a:gd name="connsiteX22" fmla="*/ 7646 w 10000"/>
                    <a:gd name="connsiteY22" fmla="*/ 9178 h 10000"/>
                    <a:gd name="connsiteX23" fmla="*/ 8116 w 10000"/>
                    <a:gd name="connsiteY23" fmla="*/ 9186 h 10000"/>
                    <a:gd name="connsiteX24" fmla="*/ 8116 w 10000"/>
                    <a:gd name="connsiteY24" fmla="*/ 9186 h 10000"/>
                    <a:gd name="connsiteX25" fmla="*/ 8442 w 10000"/>
                    <a:gd name="connsiteY25" fmla="*/ 9151 h 10000"/>
                    <a:gd name="connsiteX26" fmla="*/ 8702 w 10000"/>
                    <a:gd name="connsiteY26" fmla="*/ 9062 h 10000"/>
                    <a:gd name="connsiteX27" fmla="*/ 8636 w 10000"/>
                    <a:gd name="connsiteY27" fmla="*/ 9026 h 10000"/>
                    <a:gd name="connsiteX28" fmla="*/ 8636 w 10000"/>
                    <a:gd name="connsiteY28" fmla="*/ 8991 h 10000"/>
                    <a:gd name="connsiteX29" fmla="*/ 8312 w 10000"/>
                    <a:gd name="connsiteY29" fmla="*/ 8902 h 10000"/>
                    <a:gd name="connsiteX30" fmla="*/ 5975 w 10000"/>
                    <a:gd name="connsiteY30" fmla="*/ 8581 h 10000"/>
                    <a:gd name="connsiteX31" fmla="*/ 5975 w 10000"/>
                    <a:gd name="connsiteY31" fmla="*/ 8581 h 10000"/>
                    <a:gd name="connsiteX32" fmla="*/ 5714 w 10000"/>
                    <a:gd name="connsiteY32" fmla="*/ 8530 h 10000"/>
                    <a:gd name="connsiteX33" fmla="*/ 5519 w 10000"/>
                    <a:gd name="connsiteY33" fmla="*/ 8476 h 10000"/>
                    <a:gd name="connsiteX34" fmla="*/ 5389 w 10000"/>
                    <a:gd name="connsiteY34" fmla="*/ 8423 h 10000"/>
                    <a:gd name="connsiteX35" fmla="*/ 5389 w 10000"/>
                    <a:gd name="connsiteY35" fmla="*/ 8423 h 10000"/>
                    <a:gd name="connsiteX36" fmla="*/ 7729 w 10000"/>
                    <a:gd name="connsiteY36" fmla="*/ 8404 h 10000"/>
                    <a:gd name="connsiteX37" fmla="*/ 10000 w 10000"/>
                    <a:gd name="connsiteY37" fmla="*/ 8581 h 10000"/>
                    <a:gd name="connsiteX38" fmla="*/ 10000 w 10000"/>
                    <a:gd name="connsiteY38" fmla="*/ 6970 h 10000"/>
                    <a:gd name="connsiteX39" fmla="*/ 10000 w 10000"/>
                    <a:gd name="connsiteY39" fmla="*/ 6970 h 10000"/>
                    <a:gd name="connsiteX40" fmla="*/ 7404 w 10000"/>
                    <a:gd name="connsiteY40" fmla="*/ 6595 h 10000"/>
                    <a:gd name="connsiteX41" fmla="*/ 5975 w 10000"/>
                    <a:gd name="connsiteY41" fmla="*/ 6384 h 10000"/>
                    <a:gd name="connsiteX42" fmla="*/ 5975 w 10000"/>
                    <a:gd name="connsiteY42" fmla="*/ 6384 h 10000"/>
                    <a:gd name="connsiteX43" fmla="*/ 5975 w 10000"/>
                    <a:gd name="connsiteY43" fmla="*/ 6366 h 10000"/>
                    <a:gd name="connsiteX44" fmla="*/ 5975 w 10000"/>
                    <a:gd name="connsiteY44" fmla="*/ 6260 h 10000"/>
                    <a:gd name="connsiteX45" fmla="*/ 5975 w 10000"/>
                    <a:gd name="connsiteY45" fmla="*/ 6260 h 10000"/>
                    <a:gd name="connsiteX46" fmla="*/ 5779 w 10000"/>
                    <a:gd name="connsiteY46" fmla="*/ 6133 h 10000"/>
                    <a:gd name="connsiteX47" fmla="*/ 5389 w 10000"/>
                    <a:gd name="connsiteY47" fmla="*/ 5939 h 10000"/>
                    <a:gd name="connsiteX48" fmla="*/ 4545 w 10000"/>
                    <a:gd name="connsiteY48" fmla="*/ 5568 h 10000"/>
                    <a:gd name="connsiteX49" fmla="*/ 4545 w 10000"/>
                    <a:gd name="connsiteY49" fmla="*/ 5568 h 10000"/>
                    <a:gd name="connsiteX50" fmla="*/ 4352 w 10000"/>
                    <a:gd name="connsiteY50" fmla="*/ 5515 h 10000"/>
                    <a:gd name="connsiteX51" fmla="*/ 4026 w 10000"/>
                    <a:gd name="connsiteY51" fmla="*/ 5444 h 10000"/>
                    <a:gd name="connsiteX52" fmla="*/ 3052 w 10000"/>
                    <a:gd name="connsiteY52" fmla="*/ 5284 h 10000"/>
                    <a:gd name="connsiteX53" fmla="*/ 1689 w 10000"/>
                    <a:gd name="connsiteY53" fmla="*/ 5090 h 10000"/>
                    <a:gd name="connsiteX54" fmla="*/ 1689 w 10000"/>
                    <a:gd name="connsiteY54" fmla="*/ 5090 h 10000"/>
                    <a:gd name="connsiteX55" fmla="*/ 1103 w 10000"/>
                    <a:gd name="connsiteY55" fmla="*/ 5070 h 10000"/>
                    <a:gd name="connsiteX56" fmla="*/ 650 w 10000"/>
                    <a:gd name="connsiteY56" fmla="*/ 5053 h 10000"/>
                    <a:gd name="connsiteX57" fmla="*/ 521 w 10000"/>
                    <a:gd name="connsiteY57" fmla="*/ 5035 h 10000"/>
                    <a:gd name="connsiteX58" fmla="*/ 390 w 10000"/>
                    <a:gd name="connsiteY58" fmla="*/ 5018 h 10000"/>
                    <a:gd name="connsiteX59" fmla="*/ 390 w 10000"/>
                    <a:gd name="connsiteY59" fmla="*/ 5018 h 10000"/>
                    <a:gd name="connsiteX60" fmla="*/ 261 w 10000"/>
                    <a:gd name="connsiteY60" fmla="*/ 4945 h 10000"/>
                    <a:gd name="connsiteX61" fmla="*/ 65 w 10000"/>
                    <a:gd name="connsiteY61" fmla="*/ 4825 h 10000"/>
                    <a:gd name="connsiteX62" fmla="*/ 0 w 10000"/>
                    <a:gd name="connsiteY62" fmla="*/ 4753 h 10000"/>
                    <a:gd name="connsiteX63" fmla="*/ 0 w 10000"/>
                    <a:gd name="connsiteY63" fmla="*/ 4680 h 10000"/>
                    <a:gd name="connsiteX64" fmla="*/ 0 w 10000"/>
                    <a:gd name="connsiteY64" fmla="*/ 4628 h 10000"/>
                    <a:gd name="connsiteX65" fmla="*/ 131 w 10000"/>
                    <a:gd name="connsiteY65" fmla="*/ 4574 h 10000"/>
                    <a:gd name="connsiteX66" fmla="*/ 131 w 10000"/>
                    <a:gd name="connsiteY66" fmla="*/ 4574 h 10000"/>
                    <a:gd name="connsiteX67" fmla="*/ 455 w 10000"/>
                    <a:gd name="connsiteY67" fmla="*/ 4485 h 10000"/>
                    <a:gd name="connsiteX68" fmla="*/ 779 w 10000"/>
                    <a:gd name="connsiteY68" fmla="*/ 4399 h 10000"/>
                    <a:gd name="connsiteX69" fmla="*/ 975 w 10000"/>
                    <a:gd name="connsiteY69" fmla="*/ 4346 h 10000"/>
                    <a:gd name="connsiteX70" fmla="*/ 1103 w 10000"/>
                    <a:gd name="connsiteY70" fmla="*/ 4292 h 10000"/>
                    <a:gd name="connsiteX71" fmla="*/ 1103 w 10000"/>
                    <a:gd name="connsiteY71" fmla="*/ 4220 h 10000"/>
                    <a:gd name="connsiteX72" fmla="*/ 1103 w 10000"/>
                    <a:gd name="connsiteY72" fmla="*/ 4131 h 10000"/>
                    <a:gd name="connsiteX73" fmla="*/ 1103 w 10000"/>
                    <a:gd name="connsiteY73" fmla="*/ 4131 h 10000"/>
                    <a:gd name="connsiteX74" fmla="*/ 845 w 10000"/>
                    <a:gd name="connsiteY74" fmla="*/ 3883 h 10000"/>
                    <a:gd name="connsiteX75" fmla="*/ 521 w 10000"/>
                    <a:gd name="connsiteY75" fmla="*/ 3546 h 10000"/>
                    <a:gd name="connsiteX76" fmla="*/ 261 w 10000"/>
                    <a:gd name="connsiteY76" fmla="*/ 3243 h 10000"/>
                    <a:gd name="connsiteX77" fmla="*/ 195 w 10000"/>
                    <a:gd name="connsiteY77" fmla="*/ 3156 h 10000"/>
                    <a:gd name="connsiteX78" fmla="*/ 195 w 10000"/>
                    <a:gd name="connsiteY78" fmla="*/ 3121 h 10000"/>
                    <a:gd name="connsiteX79" fmla="*/ 261 w 10000"/>
                    <a:gd name="connsiteY79" fmla="*/ 3102 h 10000"/>
                    <a:gd name="connsiteX80" fmla="*/ 261 w 10000"/>
                    <a:gd name="connsiteY80" fmla="*/ 3102 h 10000"/>
                    <a:gd name="connsiteX81" fmla="*/ 650 w 10000"/>
                    <a:gd name="connsiteY81" fmla="*/ 3085 h 10000"/>
                    <a:gd name="connsiteX82" fmla="*/ 908 w 10000"/>
                    <a:gd name="connsiteY82" fmla="*/ 3085 h 10000"/>
                    <a:gd name="connsiteX83" fmla="*/ 1103 w 10000"/>
                    <a:gd name="connsiteY83" fmla="*/ 3102 h 10000"/>
                    <a:gd name="connsiteX84" fmla="*/ 1103 w 10000"/>
                    <a:gd name="connsiteY84" fmla="*/ 3102 h 10000"/>
                    <a:gd name="connsiteX85" fmla="*/ 1168 w 10000"/>
                    <a:gd name="connsiteY85" fmla="*/ 3102 h 10000"/>
                    <a:gd name="connsiteX86" fmla="*/ 1235 w 10000"/>
                    <a:gd name="connsiteY86" fmla="*/ 3069 h 10000"/>
                    <a:gd name="connsiteX87" fmla="*/ 1559 w 10000"/>
                    <a:gd name="connsiteY87" fmla="*/ 2961 h 10000"/>
                    <a:gd name="connsiteX88" fmla="*/ 2402 w 10000"/>
                    <a:gd name="connsiteY88" fmla="*/ 2605 h 10000"/>
                    <a:gd name="connsiteX89" fmla="*/ 3507 w 10000"/>
                    <a:gd name="connsiteY89" fmla="*/ 2094 h 10000"/>
                    <a:gd name="connsiteX90" fmla="*/ 3507 w 10000"/>
                    <a:gd name="connsiteY90" fmla="*/ 2094 h 10000"/>
                    <a:gd name="connsiteX91" fmla="*/ 3507 w 10000"/>
                    <a:gd name="connsiteY91" fmla="*/ 2021 h 10000"/>
                    <a:gd name="connsiteX92" fmla="*/ 3507 w 10000"/>
                    <a:gd name="connsiteY92" fmla="*/ 1859 h 10000"/>
                    <a:gd name="connsiteX93" fmla="*/ 3573 w 10000"/>
                    <a:gd name="connsiteY93" fmla="*/ 1755 h 10000"/>
                    <a:gd name="connsiteX94" fmla="*/ 3702 w 10000"/>
                    <a:gd name="connsiteY94" fmla="*/ 1665 h 10000"/>
                    <a:gd name="connsiteX95" fmla="*/ 3896 w 10000"/>
                    <a:gd name="connsiteY95" fmla="*/ 1560 h 10000"/>
                    <a:gd name="connsiteX96" fmla="*/ 4156 w 10000"/>
                    <a:gd name="connsiteY96" fmla="*/ 1473 h 10000"/>
                    <a:gd name="connsiteX97" fmla="*/ 4156 w 10000"/>
                    <a:gd name="connsiteY97" fmla="*/ 1473 h 10000"/>
                    <a:gd name="connsiteX98" fmla="*/ 4806 w 10000"/>
                    <a:gd name="connsiteY98" fmla="*/ 1296 h 10000"/>
                    <a:gd name="connsiteX99" fmla="*/ 5455 w 10000"/>
                    <a:gd name="connsiteY99" fmla="*/ 1063 h 10000"/>
                    <a:gd name="connsiteX100" fmla="*/ 6104 w 10000"/>
                    <a:gd name="connsiteY100" fmla="*/ 850 h 10000"/>
                    <a:gd name="connsiteX101" fmla="*/ 6559 w 10000"/>
                    <a:gd name="connsiteY101" fmla="*/ 658 h 10000"/>
                    <a:gd name="connsiteX102" fmla="*/ 6559 w 10000"/>
                    <a:gd name="connsiteY102" fmla="*/ 658 h 10000"/>
                    <a:gd name="connsiteX103" fmla="*/ 6882 w 10000"/>
                    <a:gd name="connsiteY103" fmla="*/ 480 h 10000"/>
                    <a:gd name="connsiteX104" fmla="*/ 7273 w 10000"/>
                    <a:gd name="connsiteY104" fmla="*/ 265 h 10000"/>
                    <a:gd name="connsiteX105" fmla="*/ 7663 w 10000"/>
                    <a:gd name="connsiteY105" fmla="*/ 105 h 10000"/>
                    <a:gd name="connsiteX106" fmla="*/ 7856 w 10000"/>
                    <a:gd name="connsiteY106" fmla="*/ 32 h 10000"/>
                    <a:gd name="connsiteX107" fmla="*/ 8051 w 10000"/>
                    <a:gd name="connsiteY107" fmla="*/ 17 h 10000"/>
                    <a:gd name="connsiteX108" fmla="*/ 8051 w 10000"/>
                    <a:gd name="connsiteY108" fmla="*/ 17 h 10000"/>
                    <a:gd name="connsiteX109" fmla="*/ 8442 w 10000"/>
                    <a:gd name="connsiteY109" fmla="*/ 0 h 10000"/>
                    <a:gd name="connsiteX110" fmla="*/ 8961 w 10000"/>
                    <a:gd name="connsiteY110" fmla="*/ 0 h 10000"/>
                    <a:gd name="connsiteX111" fmla="*/ 10000 w 10000"/>
                    <a:gd name="connsiteY111" fmla="*/ 17 h 10000"/>
                    <a:gd name="connsiteX112" fmla="*/ 5389 w 10000"/>
                    <a:gd name="connsiteY112" fmla="*/ 9949 h 10000"/>
                    <a:gd name="connsiteX113" fmla="*/ 5389 w 10000"/>
                    <a:gd name="connsiteY113" fmla="*/ 9877 h 10000"/>
                    <a:gd name="connsiteX114" fmla="*/ 5259 w 10000"/>
                    <a:gd name="connsiteY114" fmla="*/ 9790 h 10000"/>
                    <a:gd name="connsiteX115" fmla="*/ 3247 w 10000"/>
                    <a:gd name="connsiteY115" fmla="*/ 9752 h 10000"/>
                    <a:gd name="connsiteX116" fmla="*/ 3247 w 10000"/>
                    <a:gd name="connsiteY116" fmla="*/ 9752 h 10000"/>
                    <a:gd name="connsiteX117" fmla="*/ 3117 w 10000"/>
                    <a:gd name="connsiteY117" fmla="*/ 9559 h 10000"/>
                    <a:gd name="connsiteX118" fmla="*/ 3117 w 10000"/>
                    <a:gd name="connsiteY118" fmla="*/ 9559 h 10000"/>
                    <a:gd name="connsiteX119" fmla="*/ 3312 w 10000"/>
                    <a:gd name="connsiteY119" fmla="*/ 9502 h 10000"/>
                    <a:gd name="connsiteX120" fmla="*/ 3443 w 10000"/>
                    <a:gd name="connsiteY120" fmla="*/ 9486 h 10000"/>
                    <a:gd name="connsiteX121" fmla="*/ 2661 w 10000"/>
                    <a:gd name="connsiteY121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4545 w 10000"/>
                    <a:gd name="connsiteY9" fmla="*/ 9824 h 10000"/>
                    <a:gd name="connsiteX10" fmla="*/ 3247 w 10000"/>
                    <a:gd name="connsiteY10" fmla="*/ 9752 h 10000"/>
                    <a:gd name="connsiteX11" fmla="*/ 3247 w 10000"/>
                    <a:gd name="connsiteY11" fmla="*/ 9752 h 10000"/>
                    <a:gd name="connsiteX12" fmla="*/ 3117 w 10000"/>
                    <a:gd name="connsiteY12" fmla="*/ 9700 h 10000"/>
                    <a:gd name="connsiteX13" fmla="*/ 3117 w 10000"/>
                    <a:gd name="connsiteY13" fmla="*/ 9646 h 10000"/>
                    <a:gd name="connsiteX14" fmla="*/ 3117 w 10000"/>
                    <a:gd name="connsiteY14" fmla="*/ 9611 h 10000"/>
                    <a:gd name="connsiteX15" fmla="*/ 3184 w 10000"/>
                    <a:gd name="connsiteY15" fmla="*/ 9574 h 10000"/>
                    <a:gd name="connsiteX16" fmla="*/ 3312 w 10000"/>
                    <a:gd name="connsiteY16" fmla="*/ 9502 h 10000"/>
                    <a:gd name="connsiteX17" fmla="*/ 3443 w 10000"/>
                    <a:gd name="connsiteY17" fmla="*/ 9486 h 10000"/>
                    <a:gd name="connsiteX18" fmla="*/ 3443 w 10000"/>
                    <a:gd name="connsiteY18" fmla="*/ 9486 h 10000"/>
                    <a:gd name="connsiteX19" fmla="*/ 3443 w 10000"/>
                    <a:gd name="connsiteY19" fmla="*/ 9469 h 10000"/>
                    <a:gd name="connsiteX20" fmla="*/ 3507 w 10000"/>
                    <a:gd name="connsiteY20" fmla="*/ 9450 h 10000"/>
                    <a:gd name="connsiteX21" fmla="*/ 7646 w 10000"/>
                    <a:gd name="connsiteY21" fmla="*/ 9178 h 10000"/>
                    <a:gd name="connsiteX22" fmla="*/ 8116 w 10000"/>
                    <a:gd name="connsiteY22" fmla="*/ 9186 h 10000"/>
                    <a:gd name="connsiteX23" fmla="*/ 8116 w 10000"/>
                    <a:gd name="connsiteY23" fmla="*/ 9186 h 10000"/>
                    <a:gd name="connsiteX24" fmla="*/ 8442 w 10000"/>
                    <a:gd name="connsiteY24" fmla="*/ 9151 h 10000"/>
                    <a:gd name="connsiteX25" fmla="*/ 8702 w 10000"/>
                    <a:gd name="connsiteY25" fmla="*/ 9062 h 10000"/>
                    <a:gd name="connsiteX26" fmla="*/ 8636 w 10000"/>
                    <a:gd name="connsiteY26" fmla="*/ 9026 h 10000"/>
                    <a:gd name="connsiteX27" fmla="*/ 8636 w 10000"/>
                    <a:gd name="connsiteY27" fmla="*/ 8991 h 10000"/>
                    <a:gd name="connsiteX28" fmla="*/ 8312 w 10000"/>
                    <a:gd name="connsiteY28" fmla="*/ 8902 h 10000"/>
                    <a:gd name="connsiteX29" fmla="*/ 5975 w 10000"/>
                    <a:gd name="connsiteY29" fmla="*/ 8581 h 10000"/>
                    <a:gd name="connsiteX30" fmla="*/ 5975 w 10000"/>
                    <a:gd name="connsiteY30" fmla="*/ 8581 h 10000"/>
                    <a:gd name="connsiteX31" fmla="*/ 5714 w 10000"/>
                    <a:gd name="connsiteY31" fmla="*/ 8530 h 10000"/>
                    <a:gd name="connsiteX32" fmla="*/ 5519 w 10000"/>
                    <a:gd name="connsiteY32" fmla="*/ 8476 h 10000"/>
                    <a:gd name="connsiteX33" fmla="*/ 5389 w 10000"/>
                    <a:gd name="connsiteY33" fmla="*/ 8423 h 10000"/>
                    <a:gd name="connsiteX34" fmla="*/ 5389 w 10000"/>
                    <a:gd name="connsiteY34" fmla="*/ 8423 h 10000"/>
                    <a:gd name="connsiteX35" fmla="*/ 7729 w 10000"/>
                    <a:gd name="connsiteY35" fmla="*/ 8404 h 10000"/>
                    <a:gd name="connsiteX36" fmla="*/ 10000 w 10000"/>
                    <a:gd name="connsiteY36" fmla="*/ 8581 h 10000"/>
                    <a:gd name="connsiteX37" fmla="*/ 10000 w 10000"/>
                    <a:gd name="connsiteY37" fmla="*/ 6970 h 10000"/>
                    <a:gd name="connsiteX38" fmla="*/ 10000 w 10000"/>
                    <a:gd name="connsiteY38" fmla="*/ 6970 h 10000"/>
                    <a:gd name="connsiteX39" fmla="*/ 7404 w 10000"/>
                    <a:gd name="connsiteY39" fmla="*/ 6595 h 10000"/>
                    <a:gd name="connsiteX40" fmla="*/ 5975 w 10000"/>
                    <a:gd name="connsiteY40" fmla="*/ 6384 h 10000"/>
                    <a:gd name="connsiteX41" fmla="*/ 5975 w 10000"/>
                    <a:gd name="connsiteY41" fmla="*/ 6384 h 10000"/>
                    <a:gd name="connsiteX42" fmla="*/ 5975 w 10000"/>
                    <a:gd name="connsiteY42" fmla="*/ 6366 h 10000"/>
                    <a:gd name="connsiteX43" fmla="*/ 5975 w 10000"/>
                    <a:gd name="connsiteY43" fmla="*/ 6260 h 10000"/>
                    <a:gd name="connsiteX44" fmla="*/ 5975 w 10000"/>
                    <a:gd name="connsiteY44" fmla="*/ 6260 h 10000"/>
                    <a:gd name="connsiteX45" fmla="*/ 5779 w 10000"/>
                    <a:gd name="connsiteY45" fmla="*/ 6133 h 10000"/>
                    <a:gd name="connsiteX46" fmla="*/ 5389 w 10000"/>
                    <a:gd name="connsiteY46" fmla="*/ 5939 h 10000"/>
                    <a:gd name="connsiteX47" fmla="*/ 4545 w 10000"/>
                    <a:gd name="connsiteY47" fmla="*/ 5568 h 10000"/>
                    <a:gd name="connsiteX48" fmla="*/ 4545 w 10000"/>
                    <a:gd name="connsiteY48" fmla="*/ 5568 h 10000"/>
                    <a:gd name="connsiteX49" fmla="*/ 4352 w 10000"/>
                    <a:gd name="connsiteY49" fmla="*/ 5515 h 10000"/>
                    <a:gd name="connsiteX50" fmla="*/ 4026 w 10000"/>
                    <a:gd name="connsiteY50" fmla="*/ 5444 h 10000"/>
                    <a:gd name="connsiteX51" fmla="*/ 3052 w 10000"/>
                    <a:gd name="connsiteY51" fmla="*/ 5284 h 10000"/>
                    <a:gd name="connsiteX52" fmla="*/ 1689 w 10000"/>
                    <a:gd name="connsiteY52" fmla="*/ 5090 h 10000"/>
                    <a:gd name="connsiteX53" fmla="*/ 1689 w 10000"/>
                    <a:gd name="connsiteY53" fmla="*/ 5090 h 10000"/>
                    <a:gd name="connsiteX54" fmla="*/ 1103 w 10000"/>
                    <a:gd name="connsiteY54" fmla="*/ 5070 h 10000"/>
                    <a:gd name="connsiteX55" fmla="*/ 650 w 10000"/>
                    <a:gd name="connsiteY55" fmla="*/ 5053 h 10000"/>
                    <a:gd name="connsiteX56" fmla="*/ 521 w 10000"/>
                    <a:gd name="connsiteY56" fmla="*/ 5035 h 10000"/>
                    <a:gd name="connsiteX57" fmla="*/ 390 w 10000"/>
                    <a:gd name="connsiteY57" fmla="*/ 5018 h 10000"/>
                    <a:gd name="connsiteX58" fmla="*/ 390 w 10000"/>
                    <a:gd name="connsiteY58" fmla="*/ 5018 h 10000"/>
                    <a:gd name="connsiteX59" fmla="*/ 261 w 10000"/>
                    <a:gd name="connsiteY59" fmla="*/ 4945 h 10000"/>
                    <a:gd name="connsiteX60" fmla="*/ 65 w 10000"/>
                    <a:gd name="connsiteY60" fmla="*/ 4825 h 10000"/>
                    <a:gd name="connsiteX61" fmla="*/ 0 w 10000"/>
                    <a:gd name="connsiteY61" fmla="*/ 4753 h 10000"/>
                    <a:gd name="connsiteX62" fmla="*/ 0 w 10000"/>
                    <a:gd name="connsiteY62" fmla="*/ 4680 h 10000"/>
                    <a:gd name="connsiteX63" fmla="*/ 0 w 10000"/>
                    <a:gd name="connsiteY63" fmla="*/ 4628 h 10000"/>
                    <a:gd name="connsiteX64" fmla="*/ 131 w 10000"/>
                    <a:gd name="connsiteY64" fmla="*/ 4574 h 10000"/>
                    <a:gd name="connsiteX65" fmla="*/ 131 w 10000"/>
                    <a:gd name="connsiteY65" fmla="*/ 4574 h 10000"/>
                    <a:gd name="connsiteX66" fmla="*/ 455 w 10000"/>
                    <a:gd name="connsiteY66" fmla="*/ 4485 h 10000"/>
                    <a:gd name="connsiteX67" fmla="*/ 779 w 10000"/>
                    <a:gd name="connsiteY67" fmla="*/ 4399 h 10000"/>
                    <a:gd name="connsiteX68" fmla="*/ 975 w 10000"/>
                    <a:gd name="connsiteY68" fmla="*/ 4346 h 10000"/>
                    <a:gd name="connsiteX69" fmla="*/ 1103 w 10000"/>
                    <a:gd name="connsiteY69" fmla="*/ 4292 h 10000"/>
                    <a:gd name="connsiteX70" fmla="*/ 1103 w 10000"/>
                    <a:gd name="connsiteY70" fmla="*/ 4220 h 10000"/>
                    <a:gd name="connsiteX71" fmla="*/ 1103 w 10000"/>
                    <a:gd name="connsiteY71" fmla="*/ 4131 h 10000"/>
                    <a:gd name="connsiteX72" fmla="*/ 1103 w 10000"/>
                    <a:gd name="connsiteY72" fmla="*/ 4131 h 10000"/>
                    <a:gd name="connsiteX73" fmla="*/ 845 w 10000"/>
                    <a:gd name="connsiteY73" fmla="*/ 3883 h 10000"/>
                    <a:gd name="connsiteX74" fmla="*/ 521 w 10000"/>
                    <a:gd name="connsiteY74" fmla="*/ 3546 h 10000"/>
                    <a:gd name="connsiteX75" fmla="*/ 261 w 10000"/>
                    <a:gd name="connsiteY75" fmla="*/ 3243 h 10000"/>
                    <a:gd name="connsiteX76" fmla="*/ 195 w 10000"/>
                    <a:gd name="connsiteY76" fmla="*/ 3156 h 10000"/>
                    <a:gd name="connsiteX77" fmla="*/ 195 w 10000"/>
                    <a:gd name="connsiteY77" fmla="*/ 3121 h 10000"/>
                    <a:gd name="connsiteX78" fmla="*/ 261 w 10000"/>
                    <a:gd name="connsiteY78" fmla="*/ 3102 h 10000"/>
                    <a:gd name="connsiteX79" fmla="*/ 261 w 10000"/>
                    <a:gd name="connsiteY79" fmla="*/ 3102 h 10000"/>
                    <a:gd name="connsiteX80" fmla="*/ 650 w 10000"/>
                    <a:gd name="connsiteY80" fmla="*/ 3085 h 10000"/>
                    <a:gd name="connsiteX81" fmla="*/ 908 w 10000"/>
                    <a:gd name="connsiteY81" fmla="*/ 3085 h 10000"/>
                    <a:gd name="connsiteX82" fmla="*/ 1103 w 10000"/>
                    <a:gd name="connsiteY82" fmla="*/ 3102 h 10000"/>
                    <a:gd name="connsiteX83" fmla="*/ 1103 w 10000"/>
                    <a:gd name="connsiteY83" fmla="*/ 3102 h 10000"/>
                    <a:gd name="connsiteX84" fmla="*/ 1168 w 10000"/>
                    <a:gd name="connsiteY84" fmla="*/ 3102 h 10000"/>
                    <a:gd name="connsiteX85" fmla="*/ 1235 w 10000"/>
                    <a:gd name="connsiteY85" fmla="*/ 3069 h 10000"/>
                    <a:gd name="connsiteX86" fmla="*/ 1559 w 10000"/>
                    <a:gd name="connsiteY86" fmla="*/ 2961 h 10000"/>
                    <a:gd name="connsiteX87" fmla="*/ 2402 w 10000"/>
                    <a:gd name="connsiteY87" fmla="*/ 2605 h 10000"/>
                    <a:gd name="connsiteX88" fmla="*/ 3507 w 10000"/>
                    <a:gd name="connsiteY88" fmla="*/ 2094 h 10000"/>
                    <a:gd name="connsiteX89" fmla="*/ 3507 w 10000"/>
                    <a:gd name="connsiteY89" fmla="*/ 2094 h 10000"/>
                    <a:gd name="connsiteX90" fmla="*/ 3507 w 10000"/>
                    <a:gd name="connsiteY90" fmla="*/ 2021 h 10000"/>
                    <a:gd name="connsiteX91" fmla="*/ 3507 w 10000"/>
                    <a:gd name="connsiteY91" fmla="*/ 1859 h 10000"/>
                    <a:gd name="connsiteX92" fmla="*/ 3573 w 10000"/>
                    <a:gd name="connsiteY92" fmla="*/ 1755 h 10000"/>
                    <a:gd name="connsiteX93" fmla="*/ 3702 w 10000"/>
                    <a:gd name="connsiteY93" fmla="*/ 1665 h 10000"/>
                    <a:gd name="connsiteX94" fmla="*/ 3896 w 10000"/>
                    <a:gd name="connsiteY94" fmla="*/ 1560 h 10000"/>
                    <a:gd name="connsiteX95" fmla="*/ 4156 w 10000"/>
                    <a:gd name="connsiteY95" fmla="*/ 1473 h 10000"/>
                    <a:gd name="connsiteX96" fmla="*/ 4156 w 10000"/>
                    <a:gd name="connsiteY96" fmla="*/ 1473 h 10000"/>
                    <a:gd name="connsiteX97" fmla="*/ 4806 w 10000"/>
                    <a:gd name="connsiteY97" fmla="*/ 1296 h 10000"/>
                    <a:gd name="connsiteX98" fmla="*/ 5455 w 10000"/>
                    <a:gd name="connsiteY98" fmla="*/ 1063 h 10000"/>
                    <a:gd name="connsiteX99" fmla="*/ 6104 w 10000"/>
                    <a:gd name="connsiteY99" fmla="*/ 850 h 10000"/>
                    <a:gd name="connsiteX100" fmla="*/ 6559 w 10000"/>
                    <a:gd name="connsiteY100" fmla="*/ 658 h 10000"/>
                    <a:gd name="connsiteX101" fmla="*/ 6559 w 10000"/>
                    <a:gd name="connsiteY101" fmla="*/ 658 h 10000"/>
                    <a:gd name="connsiteX102" fmla="*/ 6882 w 10000"/>
                    <a:gd name="connsiteY102" fmla="*/ 480 h 10000"/>
                    <a:gd name="connsiteX103" fmla="*/ 7273 w 10000"/>
                    <a:gd name="connsiteY103" fmla="*/ 265 h 10000"/>
                    <a:gd name="connsiteX104" fmla="*/ 7663 w 10000"/>
                    <a:gd name="connsiteY104" fmla="*/ 105 h 10000"/>
                    <a:gd name="connsiteX105" fmla="*/ 7856 w 10000"/>
                    <a:gd name="connsiteY105" fmla="*/ 32 h 10000"/>
                    <a:gd name="connsiteX106" fmla="*/ 8051 w 10000"/>
                    <a:gd name="connsiteY106" fmla="*/ 17 h 10000"/>
                    <a:gd name="connsiteX107" fmla="*/ 8051 w 10000"/>
                    <a:gd name="connsiteY107" fmla="*/ 17 h 10000"/>
                    <a:gd name="connsiteX108" fmla="*/ 8442 w 10000"/>
                    <a:gd name="connsiteY108" fmla="*/ 0 h 10000"/>
                    <a:gd name="connsiteX109" fmla="*/ 8961 w 10000"/>
                    <a:gd name="connsiteY109" fmla="*/ 0 h 10000"/>
                    <a:gd name="connsiteX110" fmla="*/ 10000 w 10000"/>
                    <a:gd name="connsiteY110" fmla="*/ 17 h 10000"/>
                    <a:gd name="connsiteX111" fmla="*/ 5389 w 10000"/>
                    <a:gd name="connsiteY111" fmla="*/ 9949 h 10000"/>
                    <a:gd name="connsiteX112" fmla="*/ 5389 w 10000"/>
                    <a:gd name="connsiteY112" fmla="*/ 9877 h 10000"/>
                    <a:gd name="connsiteX113" fmla="*/ 5259 w 10000"/>
                    <a:gd name="connsiteY113" fmla="*/ 9790 h 10000"/>
                    <a:gd name="connsiteX114" fmla="*/ 3247 w 10000"/>
                    <a:gd name="connsiteY114" fmla="*/ 9752 h 10000"/>
                    <a:gd name="connsiteX115" fmla="*/ 3247 w 10000"/>
                    <a:gd name="connsiteY115" fmla="*/ 9752 h 10000"/>
                    <a:gd name="connsiteX116" fmla="*/ 3117 w 10000"/>
                    <a:gd name="connsiteY116" fmla="*/ 9559 h 10000"/>
                    <a:gd name="connsiteX117" fmla="*/ 3117 w 10000"/>
                    <a:gd name="connsiteY117" fmla="*/ 9559 h 10000"/>
                    <a:gd name="connsiteX118" fmla="*/ 3312 w 10000"/>
                    <a:gd name="connsiteY118" fmla="*/ 9502 h 10000"/>
                    <a:gd name="connsiteX119" fmla="*/ 3443 w 10000"/>
                    <a:gd name="connsiteY119" fmla="*/ 9486 h 10000"/>
                    <a:gd name="connsiteX120" fmla="*/ 2661 w 10000"/>
                    <a:gd name="connsiteY120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3247 w 10000"/>
                    <a:gd name="connsiteY9" fmla="*/ 9752 h 10000"/>
                    <a:gd name="connsiteX10" fmla="*/ 3247 w 10000"/>
                    <a:gd name="connsiteY10" fmla="*/ 9752 h 10000"/>
                    <a:gd name="connsiteX11" fmla="*/ 3117 w 10000"/>
                    <a:gd name="connsiteY11" fmla="*/ 9700 h 10000"/>
                    <a:gd name="connsiteX12" fmla="*/ 3117 w 10000"/>
                    <a:gd name="connsiteY12" fmla="*/ 9646 h 10000"/>
                    <a:gd name="connsiteX13" fmla="*/ 3117 w 10000"/>
                    <a:gd name="connsiteY13" fmla="*/ 9611 h 10000"/>
                    <a:gd name="connsiteX14" fmla="*/ 3184 w 10000"/>
                    <a:gd name="connsiteY14" fmla="*/ 9574 h 10000"/>
                    <a:gd name="connsiteX15" fmla="*/ 3312 w 10000"/>
                    <a:gd name="connsiteY15" fmla="*/ 9502 h 10000"/>
                    <a:gd name="connsiteX16" fmla="*/ 3443 w 10000"/>
                    <a:gd name="connsiteY16" fmla="*/ 9486 h 10000"/>
                    <a:gd name="connsiteX17" fmla="*/ 3443 w 10000"/>
                    <a:gd name="connsiteY17" fmla="*/ 9486 h 10000"/>
                    <a:gd name="connsiteX18" fmla="*/ 3443 w 10000"/>
                    <a:gd name="connsiteY18" fmla="*/ 9469 h 10000"/>
                    <a:gd name="connsiteX19" fmla="*/ 3507 w 10000"/>
                    <a:gd name="connsiteY19" fmla="*/ 9450 h 10000"/>
                    <a:gd name="connsiteX20" fmla="*/ 7646 w 10000"/>
                    <a:gd name="connsiteY20" fmla="*/ 9178 h 10000"/>
                    <a:gd name="connsiteX21" fmla="*/ 8116 w 10000"/>
                    <a:gd name="connsiteY21" fmla="*/ 9186 h 10000"/>
                    <a:gd name="connsiteX22" fmla="*/ 8116 w 10000"/>
                    <a:gd name="connsiteY22" fmla="*/ 9186 h 10000"/>
                    <a:gd name="connsiteX23" fmla="*/ 8442 w 10000"/>
                    <a:gd name="connsiteY23" fmla="*/ 9151 h 10000"/>
                    <a:gd name="connsiteX24" fmla="*/ 8702 w 10000"/>
                    <a:gd name="connsiteY24" fmla="*/ 9062 h 10000"/>
                    <a:gd name="connsiteX25" fmla="*/ 8636 w 10000"/>
                    <a:gd name="connsiteY25" fmla="*/ 9026 h 10000"/>
                    <a:gd name="connsiteX26" fmla="*/ 8636 w 10000"/>
                    <a:gd name="connsiteY26" fmla="*/ 8991 h 10000"/>
                    <a:gd name="connsiteX27" fmla="*/ 8312 w 10000"/>
                    <a:gd name="connsiteY27" fmla="*/ 8902 h 10000"/>
                    <a:gd name="connsiteX28" fmla="*/ 5975 w 10000"/>
                    <a:gd name="connsiteY28" fmla="*/ 8581 h 10000"/>
                    <a:gd name="connsiteX29" fmla="*/ 5975 w 10000"/>
                    <a:gd name="connsiteY29" fmla="*/ 8581 h 10000"/>
                    <a:gd name="connsiteX30" fmla="*/ 5714 w 10000"/>
                    <a:gd name="connsiteY30" fmla="*/ 8530 h 10000"/>
                    <a:gd name="connsiteX31" fmla="*/ 5519 w 10000"/>
                    <a:gd name="connsiteY31" fmla="*/ 8476 h 10000"/>
                    <a:gd name="connsiteX32" fmla="*/ 5389 w 10000"/>
                    <a:gd name="connsiteY32" fmla="*/ 8423 h 10000"/>
                    <a:gd name="connsiteX33" fmla="*/ 5389 w 10000"/>
                    <a:gd name="connsiteY33" fmla="*/ 8423 h 10000"/>
                    <a:gd name="connsiteX34" fmla="*/ 7729 w 10000"/>
                    <a:gd name="connsiteY34" fmla="*/ 8404 h 10000"/>
                    <a:gd name="connsiteX35" fmla="*/ 10000 w 10000"/>
                    <a:gd name="connsiteY35" fmla="*/ 8581 h 10000"/>
                    <a:gd name="connsiteX36" fmla="*/ 10000 w 10000"/>
                    <a:gd name="connsiteY36" fmla="*/ 6970 h 10000"/>
                    <a:gd name="connsiteX37" fmla="*/ 10000 w 10000"/>
                    <a:gd name="connsiteY37" fmla="*/ 6970 h 10000"/>
                    <a:gd name="connsiteX38" fmla="*/ 7404 w 10000"/>
                    <a:gd name="connsiteY38" fmla="*/ 6595 h 10000"/>
                    <a:gd name="connsiteX39" fmla="*/ 5975 w 10000"/>
                    <a:gd name="connsiteY39" fmla="*/ 6384 h 10000"/>
                    <a:gd name="connsiteX40" fmla="*/ 5975 w 10000"/>
                    <a:gd name="connsiteY40" fmla="*/ 6384 h 10000"/>
                    <a:gd name="connsiteX41" fmla="*/ 5975 w 10000"/>
                    <a:gd name="connsiteY41" fmla="*/ 6366 h 10000"/>
                    <a:gd name="connsiteX42" fmla="*/ 5975 w 10000"/>
                    <a:gd name="connsiteY42" fmla="*/ 6260 h 10000"/>
                    <a:gd name="connsiteX43" fmla="*/ 5975 w 10000"/>
                    <a:gd name="connsiteY43" fmla="*/ 6260 h 10000"/>
                    <a:gd name="connsiteX44" fmla="*/ 5779 w 10000"/>
                    <a:gd name="connsiteY44" fmla="*/ 6133 h 10000"/>
                    <a:gd name="connsiteX45" fmla="*/ 5389 w 10000"/>
                    <a:gd name="connsiteY45" fmla="*/ 5939 h 10000"/>
                    <a:gd name="connsiteX46" fmla="*/ 4545 w 10000"/>
                    <a:gd name="connsiteY46" fmla="*/ 5568 h 10000"/>
                    <a:gd name="connsiteX47" fmla="*/ 4545 w 10000"/>
                    <a:gd name="connsiteY47" fmla="*/ 5568 h 10000"/>
                    <a:gd name="connsiteX48" fmla="*/ 4352 w 10000"/>
                    <a:gd name="connsiteY48" fmla="*/ 5515 h 10000"/>
                    <a:gd name="connsiteX49" fmla="*/ 4026 w 10000"/>
                    <a:gd name="connsiteY49" fmla="*/ 5444 h 10000"/>
                    <a:gd name="connsiteX50" fmla="*/ 3052 w 10000"/>
                    <a:gd name="connsiteY50" fmla="*/ 5284 h 10000"/>
                    <a:gd name="connsiteX51" fmla="*/ 1689 w 10000"/>
                    <a:gd name="connsiteY51" fmla="*/ 5090 h 10000"/>
                    <a:gd name="connsiteX52" fmla="*/ 1689 w 10000"/>
                    <a:gd name="connsiteY52" fmla="*/ 5090 h 10000"/>
                    <a:gd name="connsiteX53" fmla="*/ 1103 w 10000"/>
                    <a:gd name="connsiteY53" fmla="*/ 5070 h 10000"/>
                    <a:gd name="connsiteX54" fmla="*/ 650 w 10000"/>
                    <a:gd name="connsiteY54" fmla="*/ 5053 h 10000"/>
                    <a:gd name="connsiteX55" fmla="*/ 521 w 10000"/>
                    <a:gd name="connsiteY55" fmla="*/ 5035 h 10000"/>
                    <a:gd name="connsiteX56" fmla="*/ 390 w 10000"/>
                    <a:gd name="connsiteY56" fmla="*/ 5018 h 10000"/>
                    <a:gd name="connsiteX57" fmla="*/ 390 w 10000"/>
                    <a:gd name="connsiteY57" fmla="*/ 5018 h 10000"/>
                    <a:gd name="connsiteX58" fmla="*/ 261 w 10000"/>
                    <a:gd name="connsiteY58" fmla="*/ 4945 h 10000"/>
                    <a:gd name="connsiteX59" fmla="*/ 65 w 10000"/>
                    <a:gd name="connsiteY59" fmla="*/ 4825 h 10000"/>
                    <a:gd name="connsiteX60" fmla="*/ 0 w 10000"/>
                    <a:gd name="connsiteY60" fmla="*/ 4753 h 10000"/>
                    <a:gd name="connsiteX61" fmla="*/ 0 w 10000"/>
                    <a:gd name="connsiteY61" fmla="*/ 4680 h 10000"/>
                    <a:gd name="connsiteX62" fmla="*/ 0 w 10000"/>
                    <a:gd name="connsiteY62" fmla="*/ 4628 h 10000"/>
                    <a:gd name="connsiteX63" fmla="*/ 131 w 10000"/>
                    <a:gd name="connsiteY63" fmla="*/ 4574 h 10000"/>
                    <a:gd name="connsiteX64" fmla="*/ 131 w 10000"/>
                    <a:gd name="connsiteY64" fmla="*/ 4574 h 10000"/>
                    <a:gd name="connsiteX65" fmla="*/ 455 w 10000"/>
                    <a:gd name="connsiteY65" fmla="*/ 4485 h 10000"/>
                    <a:gd name="connsiteX66" fmla="*/ 779 w 10000"/>
                    <a:gd name="connsiteY66" fmla="*/ 4399 h 10000"/>
                    <a:gd name="connsiteX67" fmla="*/ 975 w 10000"/>
                    <a:gd name="connsiteY67" fmla="*/ 4346 h 10000"/>
                    <a:gd name="connsiteX68" fmla="*/ 1103 w 10000"/>
                    <a:gd name="connsiteY68" fmla="*/ 4292 h 10000"/>
                    <a:gd name="connsiteX69" fmla="*/ 1103 w 10000"/>
                    <a:gd name="connsiteY69" fmla="*/ 4220 h 10000"/>
                    <a:gd name="connsiteX70" fmla="*/ 1103 w 10000"/>
                    <a:gd name="connsiteY70" fmla="*/ 4131 h 10000"/>
                    <a:gd name="connsiteX71" fmla="*/ 1103 w 10000"/>
                    <a:gd name="connsiteY71" fmla="*/ 4131 h 10000"/>
                    <a:gd name="connsiteX72" fmla="*/ 845 w 10000"/>
                    <a:gd name="connsiteY72" fmla="*/ 3883 h 10000"/>
                    <a:gd name="connsiteX73" fmla="*/ 521 w 10000"/>
                    <a:gd name="connsiteY73" fmla="*/ 3546 h 10000"/>
                    <a:gd name="connsiteX74" fmla="*/ 261 w 10000"/>
                    <a:gd name="connsiteY74" fmla="*/ 3243 h 10000"/>
                    <a:gd name="connsiteX75" fmla="*/ 195 w 10000"/>
                    <a:gd name="connsiteY75" fmla="*/ 3156 h 10000"/>
                    <a:gd name="connsiteX76" fmla="*/ 195 w 10000"/>
                    <a:gd name="connsiteY76" fmla="*/ 3121 h 10000"/>
                    <a:gd name="connsiteX77" fmla="*/ 261 w 10000"/>
                    <a:gd name="connsiteY77" fmla="*/ 3102 h 10000"/>
                    <a:gd name="connsiteX78" fmla="*/ 261 w 10000"/>
                    <a:gd name="connsiteY78" fmla="*/ 3102 h 10000"/>
                    <a:gd name="connsiteX79" fmla="*/ 650 w 10000"/>
                    <a:gd name="connsiteY79" fmla="*/ 3085 h 10000"/>
                    <a:gd name="connsiteX80" fmla="*/ 908 w 10000"/>
                    <a:gd name="connsiteY80" fmla="*/ 3085 h 10000"/>
                    <a:gd name="connsiteX81" fmla="*/ 1103 w 10000"/>
                    <a:gd name="connsiteY81" fmla="*/ 3102 h 10000"/>
                    <a:gd name="connsiteX82" fmla="*/ 1103 w 10000"/>
                    <a:gd name="connsiteY82" fmla="*/ 3102 h 10000"/>
                    <a:gd name="connsiteX83" fmla="*/ 1168 w 10000"/>
                    <a:gd name="connsiteY83" fmla="*/ 3102 h 10000"/>
                    <a:gd name="connsiteX84" fmla="*/ 1235 w 10000"/>
                    <a:gd name="connsiteY84" fmla="*/ 3069 h 10000"/>
                    <a:gd name="connsiteX85" fmla="*/ 1559 w 10000"/>
                    <a:gd name="connsiteY85" fmla="*/ 2961 h 10000"/>
                    <a:gd name="connsiteX86" fmla="*/ 2402 w 10000"/>
                    <a:gd name="connsiteY86" fmla="*/ 2605 h 10000"/>
                    <a:gd name="connsiteX87" fmla="*/ 3507 w 10000"/>
                    <a:gd name="connsiteY87" fmla="*/ 2094 h 10000"/>
                    <a:gd name="connsiteX88" fmla="*/ 3507 w 10000"/>
                    <a:gd name="connsiteY88" fmla="*/ 2094 h 10000"/>
                    <a:gd name="connsiteX89" fmla="*/ 3507 w 10000"/>
                    <a:gd name="connsiteY89" fmla="*/ 2021 h 10000"/>
                    <a:gd name="connsiteX90" fmla="*/ 3507 w 10000"/>
                    <a:gd name="connsiteY90" fmla="*/ 1859 h 10000"/>
                    <a:gd name="connsiteX91" fmla="*/ 3573 w 10000"/>
                    <a:gd name="connsiteY91" fmla="*/ 1755 h 10000"/>
                    <a:gd name="connsiteX92" fmla="*/ 3702 w 10000"/>
                    <a:gd name="connsiteY92" fmla="*/ 1665 h 10000"/>
                    <a:gd name="connsiteX93" fmla="*/ 3896 w 10000"/>
                    <a:gd name="connsiteY93" fmla="*/ 1560 h 10000"/>
                    <a:gd name="connsiteX94" fmla="*/ 4156 w 10000"/>
                    <a:gd name="connsiteY94" fmla="*/ 1473 h 10000"/>
                    <a:gd name="connsiteX95" fmla="*/ 4156 w 10000"/>
                    <a:gd name="connsiteY95" fmla="*/ 1473 h 10000"/>
                    <a:gd name="connsiteX96" fmla="*/ 4806 w 10000"/>
                    <a:gd name="connsiteY96" fmla="*/ 1296 h 10000"/>
                    <a:gd name="connsiteX97" fmla="*/ 5455 w 10000"/>
                    <a:gd name="connsiteY97" fmla="*/ 1063 h 10000"/>
                    <a:gd name="connsiteX98" fmla="*/ 6104 w 10000"/>
                    <a:gd name="connsiteY98" fmla="*/ 850 h 10000"/>
                    <a:gd name="connsiteX99" fmla="*/ 6559 w 10000"/>
                    <a:gd name="connsiteY99" fmla="*/ 658 h 10000"/>
                    <a:gd name="connsiteX100" fmla="*/ 6559 w 10000"/>
                    <a:gd name="connsiteY100" fmla="*/ 658 h 10000"/>
                    <a:gd name="connsiteX101" fmla="*/ 6882 w 10000"/>
                    <a:gd name="connsiteY101" fmla="*/ 480 h 10000"/>
                    <a:gd name="connsiteX102" fmla="*/ 7273 w 10000"/>
                    <a:gd name="connsiteY102" fmla="*/ 265 h 10000"/>
                    <a:gd name="connsiteX103" fmla="*/ 7663 w 10000"/>
                    <a:gd name="connsiteY103" fmla="*/ 105 h 10000"/>
                    <a:gd name="connsiteX104" fmla="*/ 7856 w 10000"/>
                    <a:gd name="connsiteY104" fmla="*/ 32 h 10000"/>
                    <a:gd name="connsiteX105" fmla="*/ 8051 w 10000"/>
                    <a:gd name="connsiteY105" fmla="*/ 17 h 10000"/>
                    <a:gd name="connsiteX106" fmla="*/ 8051 w 10000"/>
                    <a:gd name="connsiteY106" fmla="*/ 17 h 10000"/>
                    <a:gd name="connsiteX107" fmla="*/ 8442 w 10000"/>
                    <a:gd name="connsiteY107" fmla="*/ 0 h 10000"/>
                    <a:gd name="connsiteX108" fmla="*/ 8961 w 10000"/>
                    <a:gd name="connsiteY108" fmla="*/ 0 h 10000"/>
                    <a:gd name="connsiteX109" fmla="*/ 10000 w 10000"/>
                    <a:gd name="connsiteY109" fmla="*/ 17 h 10000"/>
                    <a:gd name="connsiteX110" fmla="*/ 5389 w 10000"/>
                    <a:gd name="connsiteY110" fmla="*/ 9949 h 10000"/>
                    <a:gd name="connsiteX111" fmla="*/ 5389 w 10000"/>
                    <a:gd name="connsiteY111" fmla="*/ 9877 h 10000"/>
                    <a:gd name="connsiteX112" fmla="*/ 5259 w 10000"/>
                    <a:gd name="connsiteY112" fmla="*/ 9790 h 10000"/>
                    <a:gd name="connsiteX113" fmla="*/ 3247 w 10000"/>
                    <a:gd name="connsiteY113" fmla="*/ 9752 h 10000"/>
                    <a:gd name="connsiteX114" fmla="*/ 3247 w 10000"/>
                    <a:gd name="connsiteY114" fmla="*/ 9752 h 10000"/>
                    <a:gd name="connsiteX115" fmla="*/ 3117 w 10000"/>
                    <a:gd name="connsiteY115" fmla="*/ 9559 h 10000"/>
                    <a:gd name="connsiteX116" fmla="*/ 3117 w 10000"/>
                    <a:gd name="connsiteY116" fmla="*/ 9559 h 10000"/>
                    <a:gd name="connsiteX117" fmla="*/ 3312 w 10000"/>
                    <a:gd name="connsiteY117" fmla="*/ 9502 h 10000"/>
                    <a:gd name="connsiteX118" fmla="*/ 3443 w 10000"/>
                    <a:gd name="connsiteY118" fmla="*/ 9486 h 10000"/>
                    <a:gd name="connsiteX119" fmla="*/ 2661 w 10000"/>
                    <a:gd name="connsiteY119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3247 w 10000"/>
                    <a:gd name="connsiteY9" fmla="*/ 9752 h 10000"/>
                    <a:gd name="connsiteX10" fmla="*/ 3247 w 10000"/>
                    <a:gd name="connsiteY10" fmla="*/ 9752 h 10000"/>
                    <a:gd name="connsiteX11" fmla="*/ 3117 w 10000"/>
                    <a:gd name="connsiteY11" fmla="*/ 9700 h 10000"/>
                    <a:gd name="connsiteX12" fmla="*/ 3117 w 10000"/>
                    <a:gd name="connsiteY12" fmla="*/ 9646 h 10000"/>
                    <a:gd name="connsiteX13" fmla="*/ 3117 w 10000"/>
                    <a:gd name="connsiteY13" fmla="*/ 9611 h 10000"/>
                    <a:gd name="connsiteX14" fmla="*/ 3184 w 10000"/>
                    <a:gd name="connsiteY14" fmla="*/ 9574 h 10000"/>
                    <a:gd name="connsiteX15" fmla="*/ 3312 w 10000"/>
                    <a:gd name="connsiteY15" fmla="*/ 9502 h 10000"/>
                    <a:gd name="connsiteX16" fmla="*/ 3443 w 10000"/>
                    <a:gd name="connsiteY16" fmla="*/ 9486 h 10000"/>
                    <a:gd name="connsiteX17" fmla="*/ 3443 w 10000"/>
                    <a:gd name="connsiteY17" fmla="*/ 9486 h 10000"/>
                    <a:gd name="connsiteX18" fmla="*/ 3443 w 10000"/>
                    <a:gd name="connsiteY18" fmla="*/ 9469 h 10000"/>
                    <a:gd name="connsiteX19" fmla="*/ 3507 w 10000"/>
                    <a:gd name="connsiteY19" fmla="*/ 9450 h 10000"/>
                    <a:gd name="connsiteX20" fmla="*/ 7646 w 10000"/>
                    <a:gd name="connsiteY20" fmla="*/ 9178 h 10000"/>
                    <a:gd name="connsiteX21" fmla="*/ 8116 w 10000"/>
                    <a:gd name="connsiteY21" fmla="*/ 9186 h 10000"/>
                    <a:gd name="connsiteX22" fmla="*/ 8116 w 10000"/>
                    <a:gd name="connsiteY22" fmla="*/ 9186 h 10000"/>
                    <a:gd name="connsiteX23" fmla="*/ 8442 w 10000"/>
                    <a:gd name="connsiteY23" fmla="*/ 9151 h 10000"/>
                    <a:gd name="connsiteX24" fmla="*/ 8702 w 10000"/>
                    <a:gd name="connsiteY24" fmla="*/ 9062 h 10000"/>
                    <a:gd name="connsiteX25" fmla="*/ 8636 w 10000"/>
                    <a:gd name="connsiteY25" fmla="*/ 9026 h 10000"/>
                    <a:gd name="connsiteX26" fmla="*/ 8636 w 10000"/>
                    <a:gd name="connsiteY26" fmla="*/ 8991 h 10000"/>
                    <a:gd name="connsiteX27" fmla="*/ 8312 w 10000"/>
                    <a:gd name="connsiteY27" fmla="*/ 8902 h 10000"/>
                    <a:gd name="connsiteX28" fmla="*/ 5975 w 10000"/>
                    <a:gd name="connsiteY28" fmla="*/ 8581 h 10000"/>
                    <a:gd name="connsiteX29" fmla="*/ 5975 w 10000"/>
                    <a:gd name="connsiteY29" fmla="*/ 8581 h 10000"/>
                    <a:gd name="connsiteX30" fmla="*/ 5714 w 10000"/>
                    <a:gd name="connsiteY30" fmla="*/ 8530 h 10000"/>
                    <a:gd name="connsiteX31" fmla="*/ 5519 w 10000"/>
                    <a:gd name="connsiteY31" fmla="*/ 8476 h 10000"/>
                    <a:gd name="connsiteX32" fmla="*/ 5389 w 10000"/>
                    <a:gd name="connsiteY32" fmla="*/ 8423 h 10000"/>
                    <a:gd name="connsiteX33" fmla="*/ 5389 w 10000"/>
                    <a:gd name="connsiteY33" fmla="*/ 8423 h 10000"/>
                    <a:gd name="connsiteX34" fmla="*/ 7729 w 10000"/>
                    <a:gd name="connsiteY34" fmla="*/ 8404 h 10000"/>
                    <a:gd name="connsiteX35" fmla="*/ 10000 w 10000"/>
                    <a:gd name="connsiteY35" fmla="*/ 8581 h 10000"/>
                    <a:gd name="connsiteX36" fmla="*/ 10000 w 10000"/>
                    <a:gd name="connsiteY36" fmla="*/ 6970 h 10000"/>
                    <a:gd name="connsiteX37" fmla="*/ 10000 w 10000"/>
                    <a:gd name="connsiteY37" fmla="*/ 6970 h 10000"/>
                    <a:gd name="connsiteX38" fmla="*/ 7404 w 10000"/>
                    <a:gd name="connsiteY38" fmla="*/ 6595 h 10000"/>
                    <a:gd name="connsiteX39" fmla="*/ 5975 w 10000"/>
                    <a:gd name="connsiteY39" fmla="*/ 6384 h 10000"/>
                    <a:gd name="connsiteX40" fmla="*/ 5975 w 10000"/>
                    <a:gd name="connsiteY40" fmla="*/ 6384 h 10000"/>
                    <a:gd name="connsiteX41" fmla="*/ 5975 w 10000"/>
                    <a:gd name="connsiteY41" fmla="*/ 6366 h 10000"/>
                    <a:gd name="connsiteX42" fmla="*/ 5975 w 10000"/>
                    <a:gd name="connsiteY42" fmla="*/ 6260 h 10000"/>
                    <a:gd name="connsiteX43" fmla="*/ 5975 w 10000"/>
                    <a:gd name="connsiteY43" fmla="*/ 6260 h 10000"/>
                    <a:gd name="connsiteX44" fmla="*/ 5779 w 10000"/>
                    <a:gd name="connsiteY44" fmla="*/ 6133 h 10000"/>
                    <a:gd name="connsiteX45" fmla="*/ 5389 w 10000"/>
                    <a:gd name="connsiteY45" fmla="*/ 5939 h 10000"/>
                    <a:gd name="connsiteX46" fmla="*/ 4545 w 10000"/>
                    <a:gd name="connsiteY46" fmla="*/ 5568 h 10000"/>
                    <a:gd name="connsiteX47" fmla="*/ 4545 w 10000"/>
                    <a:gd name="connsiteY47" fmla="*/ 5568 h 10000"/>
                    <a:gd name="connsiteX48" fmla="*/ 4352 w 10000"/>
                    <a:gd name="connsiteY48" fmla="*/ 5515 h 10000"/>
                    <a:gd name="connsiteX49" fmla="*/ 4026 w 10000"/>
                    <a:gd name="connsiteY49" fmla="*/ 5444 h 10000"/>
                    <a:gd name="connsiteX50" fmla="*/ 3052 w 10000"/>
                    <a:gd name="connsiteY50" fmla="*/ 5284 h 10000"/>
                    <a:gd name="connsiteX51" fmla="*/ 1689 w 10000"/>
                    <a:gd name="connsiteY51" fmla="*/ 5090 h 10000"/>
                    <a:gd name="connsiteX52" fmla="*/ 1689 w 10000"/>
                    <a:gd name="connsiteY52" fmla="*/ 5090 h 10000"/>
                    <a:gd name="connsiteX53" fmla="*/ 1103 w 10000"/>
                    <a:gd name="connsiteY53" fmla="*/ 5070 h 10000"/>
                    <a:gd name="connsiteX54" fmla="*/ 650 w 10000"/>
                    <a:gd name="connsiteY54" fmla="*/ 5053 h 10000"/>
                    <a:gd name="connsiteX55" fmla="*/ 521 w 10000"/>
                    <a:gd name="connsiteY55" fmla="*/ 5035 h 10000"/>
                    <a:gd name="connsiteX56" fmla="*/ 390 w 10000"/>
                    <a:gd name="connsiteY56" fmla="*/ 5018 h 10000"/>
                    <a:gd name="connsiteX57" fmla="*/ 390 w 10000"/>
                    <a:gd name="connsiteY57" fmla="*/ 5018 h 10000"/>
                    <a:gd name="connsiteX58" fmla="*/ 261 w 10000"/>
                    <a:gd name="connsiteY58" fmla="*/ 4945 h 10000"/>
                    <a:gd name="connsiteX59" fmla="*/ 65 w 10000"/>
                    <a:gd name="connsiteY59" fmla="*/ 4825 h 10000"/>
                    <a:gd name="connsiteX60" fmla="*/ 0 w 10000"/>
                    <a:gd name="connsiteY60" fmla="*/ 4753 h 10000"/>
                    <a:gd name="connsiteX61" fmla="*/ 0 w 10000"/>
                    <a:gd name="connsiteY61" fmla="*/ 4680 h 10000"/>
                    <a:gd name="connsiteX62" fmla="*/ 0 w 10000"/>
                    <a:gd name="connsiteY62" fmla="*/ 4628 h 10000"/>
                    <a:gd name="connsiteX63" fmla="*/ 131 w 10000"/>
                    <a:gd name="connsiteY63" fmla="*/ 4574 h 10000"/>
                    <a:gd name="connsiteX64" fmla="*/ 131 w 10000"/>
                    <a:gd name="connsiteY64" fmla="*/ 4574 h 10000"/>
                    <a:gd name="connsiteX65" fmla="*/ 455 w 10000"/>
                    <a:gd name="connsiteY65" fmla="*/ 4485 h 10000"/>
                    <a:gd name="connsiteX66" fmla="*/ 779 w 10000"/>
                    <a:gd name="connsiteY66" fmla="*/ 4399 h 10000"/>
                    <a:gd name="connsiteX67" fmla="*/ 975 w 10000"/>
                    <a:gd name="connsiteY67" fmla="*/ 4346 h 10000"/>
                    <a:gd name="connsiteX68" fmla="*/ 1103 w 10000"/>
                    <a:gd name="connsiteY68" fmla="*/ 4292 h 10000"/>
                    <a:gd name="connsiteX69" fmla="*/ 1103 w 10000"/>
                    <a:gd name="connsiteY69" fmla="*/ 4220 h 10000"/>
                    <a:gd name="connsiteX70" fmla="*/ 1103 w 10000"/>
                    <a:gd name="connsiteY70" fmla="*/ 4131 h 10000"/>
                    <a:gd name="connsiteX71" fmla="*/ 1103 w 10000"/>
                    <a:gd name="connsiteY71" fmla="*/ 4131 h 10000"/>
                    <a:gd name="connsiteX72" fmla="*/ 845 w 10000"/>
                    <a:gd name="connsiteY72" fmla="*/ 3883 h 10000"/>
                    <a:gd name="connsiteX73" fmla="*/ 521 w 10000"/>
                    <a:gd name="connsiteY73" fmla="*/ 3546 h 10000"/>
                    <a:gd name="connsiteX74" fmla="*/ 261 w 10000"/>
                    <a:gd name="connsiteY74" fmla="*/ 3243 h 10000"/>
                    <a:gd name="connsiteX75" fmla="*/ 195 w 10000"/>
                    <a:gd name="connsiteY75" fmla="*/ 3156 h 10000"/>
                    <a:gd name="connsiteX76" fmla="*/ 195 w 10000"/>
                    <a:gd name="connsiteY76" fmla="*/ 3121 h 10000"/>
                    <a:gd name="connsiteX77" fmla="*/ 261 w 10000"/>
                    <a:gd name="connsiteY77" fmla="*/ 3102 h 10000"/>
                    <a:gd name="connsiteX78" fmla="*/ 261 w 10000"/>
                    <a:gd name="connsiteY78" fmla="*/ 3102 h 10000"/>
                    <a:gd name="connsiteX79" fmla="*/ 650 w 10000"/>
                    <a:gd name="connsiteY79" fmla="*/ 3085 h 10000"/>
                    <a:gd name="connsiteX80" fmla="*/ 908 w 10000"/>
                    <a:gd name="connsiteY80" fmla="*/ 3085 h 10000"/>
                    <a:gd name="connsiteX81" fmla="*/ 1103 w 10000"/>
                    <a:gd name="connsiteY81" fmla="*/ 3102 h 10000"/>
                    <a:gd name="connsiteX82" fmla="*/ 1103 w 10000"/>
                    <a:gd name="connsiteY82" fmla="*/ 3102 h 10000"/>
                    <a:gd name="connsiteX83" fmla="*/ 1168 w 10000"/>
                    <a:gd name="connsiteY83" fmla="*/ 3102 h 10000"/>
                    <a:gd name="connsiteX84" fmla="*/ 1235 w 10000"/>
                    <a:gd name="connsiteY84" fmla="*/ 3069 h 10000"/>
                    <a:gd name="connsiteX85" fmla="*/ 1559 w 10000"/>
                    <a:gd name="connsiteY85" fmla="*/ 2961 h 10000"/>
                    <a:gd name="connsiteX86" fmla="*/ 2402 w 10000"/>
                    <a:gd name="connsiteY86" fmla="*/ 2605 h 10000"/>
                    <a:gd name="connsiteX87" fmla="*/ 3507 w 10000"/>
                    <a:gd name="connsiteY87" fmla="*/ 2094 h 10000"/>
                    <a:gd name="connsiteX88" fmla="*/ 3507 w 10000"/>
                    <a:gd name="connsiteY88" fmla="*/ 2094 h 10000"/>
                    <a:gd name="connsiteX89" fmla="*/ 3507 w 10000"/>
                    <a:gd name="connsiteY89" fmla="*/ 2021 h 10000"/>
                    <a:gd name="connsiteX90" fmla="*/ 3507 w 10000"/>
                    <a:gd name="connsiteY90" fmla="*/ 1859 h 10000"/>
                    <a:gd name="connsiteX91" fmla="*/ 3573 w 10000"/>
                    <a:gd name="connsiteY91" fmla="*/ 1755 h 10000"/>
                    <a:gd name="connsiteX92" fmla="*/ 3702 w 10000"/>
                    <a:gd name="connsiteY92" fmla="*/ 1665 h 10000"/>
                    <a:gd name="connsiteX93" fmla="*/ 3896 w 10000"/>
                    <a:gd name="connsiteY93" fmla="*/ 1560 h 10000"/>
                    <a:gd name="connsiteX94" fmla="*/ 4156 w 10000"/>
                    <a:gd name="connsiteY94" fmla="*/ 1473 h 10000"/>
                    <a:gd name="connsiteX95" fmla="*/ 4156 w 10000"/>
                    <a:gd name="connsiteY95" fmla="*/ 1473 h 10000"/>
                    <a:gd name="connsiteX96" fmla="*/ 4806 w 10000"/>
                    <a:gd name="connsiteY96" fmla="*/ 1296 h 10000"/>
                    <a:gd name="connsiteX97" fmla="*/ 5455 w 10000"/>
                    <a:gd name="connsiteY97" fmla="*/ 1063 h 10000"/>
                    <a:gd name="connsiteX98" fmla="*/ 6104 w 10000"/>
                    <a:gd name="connsiteY98" fmla="*/ 850 h 10000"/>
                    <a:gd name="connsiteX99" fmla="*/ 6559 w 10000"/>
                    <a:gd name="connsiteY99" fmla="*/ 658 h 10000"/>
                    <a:gd name="connsiteX100" fmla="*/ 6559 w 10000"/>
                    <a:gd name="connsiteY100" fmla="*/ 658 h 10000"/>
                    <a:gd name="connsiteX101" fmla="*/ 6882 w 10000"/>
                    <a:gd name="connsiteY101" fmla="*/ 480 h 10000"/>
                    <a:gd name="connsiteX102" fmla="*/ 7273 w 10000"/>
                    <a:gd name="connsiteY102" fmla="*/ 265 h 10000"/>
                    <a:gd name="connsiteX103" fmla="*/ 7663 w 10000"/>
                    <a:gd name="connsiteY103" fmla="*/ 105 h 10000"/>
                    <a:gd name="connsiteX104" fmla="*/ 7856 w 10000"/>
                    <a:gd name="connsiteY104" fmla="*/ 32 h 10000"/>
                    <a:gd name="connsiteX105" fmla="*/ 8051 w 10000"/>
                    <a:gd name="connsiteY105" fmla="*/ 17 h 10000"/>
                    <a:gd name="connsiteX106" fmla="*/ 8051 w 10000"/>
                    <a:gd name="connsiteY106" fmla="*/ 17 h 10000"/>
                    <a:gd name="connsiteX107" fmla="*/ 8442 w 10000"/>
                    <a:gd name="connsiteY107" fmla="*/ 0 h 10000"/>
                    <a:gd name="connsiteX108" fmla="*/ 8961 w 10000"/>
                    <a:gd name="connsiteY108" fmla="*/ 0 h 10000"/>
                    <a:gd name="connsiteX109" fmla="*/ 10000 w 10000"/>
                    <a:gd name="connsiteY109" fmla="*/ 17 h 10000"/>
                    <a:gd name="connsiteX110" fmla="*/ 5389 w 10000"/>
                    <a:gd name="connsiteY110" fmla="*/ 9949 h 10000"/>
                    <a:gd name="connsiteX111" fmla="*/ 5389 w 10000"/>
                    <a:gd name="connsiteY111" fmla="*/ 9877 h 10000"/>
                    <a:gd name="connsiteX112" fmla="*/ 3247 w 10000"/>
                    <a:gd name="connsiteY112" fmla="*/ 9752 h 10000"/>
                    <a:gd name="connsiteX113" fmla="*/ 3247 w 10000"/>
                    <a:gd name="connsiteY113" fmla="*/ 9752 h 10000"/>
                    <a:gd name="connsiteX114" fmla="*/ 3117 w 10000"/>
                    <a:gd name="connsiteY114" fmla="*/ 9559 h 10000"/>
                    <a:gd name="connsiteX115" fmla="*/ 3117 w 10000"/>
                    <a:gd name="connsiteY115" fmla="*/ 9559 h 10000"/>
                    <a:gd name="connsiteX116" fmla="*/ 3312 w 10000"/>
                    <a:gd name="connsiteY116" fmla="*/ 9502 h 10000"/>
                    <a:gd name="connsiteX117" fmla="*/ 3443 w 10000"/>
                    <a:gd name="connsiteY117" fmla="*/ 9486 h 10000"/>
                    <a:gd name="connsiteX118" fmla="*/ 2661 w 10000"/>
                    <a:gd name="connsiteY118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3247 w 10000"/>
                    <a:gd name="connsiteY9" fmla="*/ 9752 h 10000"/>
                    <a:gd name="connsiteX10" fmla="*/ 3247 w 10000"/>
                    <a:gd name="connsiteY10" fmla="*/ 9752 h 10000"/>
                    <a:gd name="connsiteX11" fmla="*/ 3117 w 10000"/>
                    <a:gd name="connsiteY11" fmla="*/ 9700 h 10000"/>
                    <a:gd name="connsiteX12" fmla="*/ 3117 w 10000"/>
                    <a:gd name="connsiteY12" fmla="*/ 9646 h 10000"/>
                    <a:gd name="connsiteX13" fmla="*/ 3117 w 10000"/>
                    <a:gd name="connsiteY13" fmla="*/ 9611 h 10000"/>
                    <a:gd name="connsiteX14" fmla="*/ 3184 w 10000"/>
                    <a:gd name="connsiteY14" fmla="*/ 9574 h 10000"/>
                    <a:gd name="connsiteX15" fmla="*/ 3312 w 10000"/>
                    <a:gd name="connsiteY15" fmla="*/ 9502 h 10000"/>
                    <a:gd name="connsiteX16" fmla="*/ 3443 w 10000"/>
                    <a:gd name="connsiteY16" fmla="*/ 9486 h 10000"/>
                    <a:gd name="connsiteX17" fmla="*/ 3443 w 10000"/>
                    <a:gd name="connsiteY17" fmla="*/ 9486 h 10000"/>
                    <a:gd name="connsiteX18" fmla="*/ 3443 w 10000"/>
                    <a:gd name="connsiteY18" fmla="*/ 9469 h 10000"/>
                    <a:gd name="connsiteX19" fmla="*/ 3507 w 10000"/>
                    <a:gd name="connsiteY19" fmla="*/ 9450 h 10000"/>
                    <a:gd name="connsiteX20" fmla="*/ 7646 w 10000"/>
                    <a:gd name="connsiteY20" fmla="*/ 9178 h 10000"/>
                    <a:gd name="connsiteX21" fmla="*/ 8116 w 10000"/>
                    <a:gd name="connsiteY21" fmla="*/ 9186 h 10000"/>
                    <a:gd name="connsiteX22" fmla="*/ 8116 w 10000"/>
                    <a:gd name="connsiteY22" fmla="*/ 9186 h 10000"/>
                    <a:gd name="connsiteX23" fmla="*/ 8442 w 10000"/>
                    <a:gd name="connsiteY23" fmla="*/ 9151 h 10000"/>
                    <a:gd name="connsiteX24" fmla="*/ 8702 w 10000"/>
                    <a:gd name="connsiteY24" fmla="*/ 9062 h 10000"/>
                    <a:gd name="connsiteX25" fmla="*/ 8636 w 10000"/>
                    <a:gd name="connsiteY25" fmla="*/ 9026 h 10000"/>
                    <a:gd name="connsiteX26" fmla="*/ 8636 w 10000"/>
                    <a:gd name="connsiteY26" fmla="*/ 8991 h 10000"/>
                    <a:gd name="connsiteX27" fmla="*/ 8312 w 10000"/>
                    <a:gd name="connsiteY27" fmla="*/ 8902 h 10000"/>
                    <a:gd name="connsiteX28" fmla="*/ 5975 w 10000"/>
                    <a:gd name="connsiteY28" fmla="*/ 8581 h 10000"/>
                    <a:gd name="connsiteX29" fmla="*/ 5975 w 10000"/>
                    <a:gd name="connsiteY29" fmla="*/ 8581 h 10000"/>
                    <a:gd name="connsiteX30" fmla="*/ 5714 w 10000"/>
                    <a:gd name="connsiteY30" fmla="*/ 8530 h 10000"/>
                    <a:gd name="connsiteX31" fmla="*/ 5519 w 10000"/>
                    <a:gd name="connsiteY31" fmla="*/ 8476 h 10000"/>
                    <a:gd name="connsiteX32" fmla="*/ 5389 w 10000"/>
                    <a:gd name="connsiteY32" fmla="*/ 8423 h 10000"/>
                    <a:gd name="connsiteX33" fmla="*/ 5389 w 10000"/>
                    <a:gd name="connsiteY33" fmla="*/ 8423 h 10000"/>
                    <a:gd name="connsiteX34" fmla="*/ 7729 w 10000"/>
                    <a:gd name="connsiteY34" fmla="*/ 8404 h 10000"/>
                    <a:gd name="connsiteX35" fmla="*/ 10000 w 10000"/>
                    <a:gd name="connsiteY35" fmla="*/ 8581 h 10000"/>
                    <a:gd name="connsiteX36" fmla="*/ 10000 w 10000"/>
                    <a:gd name="connsiteY36" fmla="*/ 6970 h 10000"/>
                    <a:gd name="connsiteX37" fmla="*/ 10000 w 10000"/>
                    <a:gd name="connsiteY37" fmla="*/ 6970 h 10000"/>
                    <a:gd name="connsiteX38" fmla="*/ 7404 w 10000"/>
                    <a:gd name="connsiteY38" fmla="*/ 6595 h 10000"/>
                    <a:gd name="connsiteX39" fmla="*/ 5975 w 10000"/>
                    <a:gd name="connsiteY39" fmla="*/ 6384 h 10000"/>
                    <a:gd name="connsiteX40" fmla="*/ 5975 w 10000"/>
                    <a:gd name="connsiteY40" fmla="*/ 6384 h 10000"/>
                    <a:gd name="connsiteX41" fmla="*/ 5975 w 10000"/>
                    <a:gd name="connsiteY41" fmla="*/ 6366 h 10000"/>
                    <a:gd name="connsiteX42" fmla="*/ 5975 w 10000"/>
                    <a:gd name="connsiteY42" fmla="*/ 6260 h 10000"/>
                    <a:gd name="connsiteX43" fmla="*/ 5975 w 10000"/>
                    <a:gd name="connsiteY43" fmla="*/ 6260 h 10000"/>
                    <a:gd name="connsiteX44" fmla="*/ 5779 w 10000"/>
                    <a:gd name="connsiteY44" fmla="*/ 6133 h 10000"/>
                    <a:gd name="connsiteX45" fmla="*/ 5389 w 10000"/>
                    <a:gd name="connsiteY45" fmla="*/ 5939 h 10000"/>
                    <a:gd name="connsiteX46" fmla="*/ 4545 w 10000"/>
                    <a:gd name="connsiteY46" fmla="*/ 5568 h 10000"/>
                    <a:gd name="connsiteX47" fmla="*/ 4545 w 10000"/>
                    <a:gd name="connsiteY47" fmla="*/ 5568 h 10000"/>
                    <a:gd name="connsiteX48" fmla="*/ 4352 w 10000"/>
                    <a:gd name="connsiteY48" fmla="*/ 5515 h 10000"/>
                    <a:gd name="connsiteX49" fmla="*/ 4026 w 10000"/>
                    <a:gd name="connsiteY49" fmla="*/ 5444 h 10000"/>
                    <a:gd name="connsiteX50" fmla="*/ 3052 w 10000"/>
                    <a:gd name="connsiteY50" fmla="*/ 5284 h 10000"/>
                    <a:gd name="connsiteX51" fmla="*/ 1689 w 10000"/>
                    <a:gd name="connsiteY51" fmla="*/ 5090 h 10000"/>
                    <a:gd name="connsiteX52" fmla="*/ 1689 w 10000"/>
                    <a:gd name="connsiteY52" fmla="*/ 5090 h 10000"/>
                    <a:gd name="connsiteX53" fmla="*/ 1103 w 10000"/>
                    <a:gd name="connsiteY53" fmla="*/ 5070 h 10000"/>
                    <a:gd name="connsiteX54" fmla="*/ 650 w 10000"/>
                    <a:gd name="connsiteY54" fmla="*/ 5053 h 10000"/>
                    <a:gd name="connsiteX55" fmla="*/ 521 w 10000"/>
                    <a:gd name="connsiteY55" fmla="*/ 5035 h 10000"/>
                    <a:gd name="connsiteX56" fmla="*/ 390 w 10000"/>
                    <a:gd name="connsiteY56" fmla="*/ 5018 h 10000"/>
                    <a:gd name="connsiteX57" fmla="*/ 390 w 10000"/>
                    <a:gd name="connsiteY57" fmla="*/ 5018 h 10000"/>
                    <a:gd name="connsiteX58" fmla="*/ 261 w 10000"/>
                    <a:gd name="connsiteY58" fmla="*/ 4945 h 10000"/>
                    <a:gd name="connsiteX59" fmla="*/ 65 w 10000"/>
                    <a:gd name="connsiteY59" fmla="*/ 4825 h 10000"/>
                    <a:gd name="connsiteX60" fmla="*/ 0 w 10000"/>
                    <a:gd name="connsiteY60" fmla="*/ 4753 h 10000"/>
                    <a:gd name="connsiteX61" fmla="*/ 0 w 10000"/>
                    <a:gd name="connsiteY61" fmla="*/ 4680 h 10000"/>
                    <a:gd name="connsiteX62" fmla="*/ 0 w 10000"/>
                    <a:gd name="connsiteY62" fmla="*/ 4628 h 10000"/>
                    <a:gd name="connsiteX63" fmla="*/ 131 w 10000"/>
                    <a:gd name="connsiteY63" fmla="*/ 4574 h 10000"/>
                    <a:gd name="connsiteX64" fmla="*/ 131 w 10000"/>
                    <a:gd name="connsiteY64" fmla="*/ 4574 h 10000"/>
                    <a:gd name="connsiteX65" fmla="*/ 455 w 10000"/>
                    <a:gd name="connsiteY65" fmla="*/ 4485 h 10000"/>
                    <a:gd name="connsiteX66" fmla="*/ 779 w 10000"/>
                    <a:gd name="connsiteY66" fmla="*/ 4399 h 10000"/>
                    <a:gd name="connsiteX67" fmla="*/ 975 w 10000"/>
                    <a:gd name="connsiteY67" fmla="*/ 4346 h 10000"/>
                    <a:gd name="connsiteX68" fmla="*/ 1103 w 10000"/>
                    <a:gd name="connsiteY68" fmla="*/ 4292 h 10000"/>
                    <a:gd name="connsiteX69" fmla="*/ 1103 w 10000"/>
                    <a:gd name="connsiteY69" fmla="*/ 4220 h 10000"/>
                    <a:gd name="connsiteX70" fmla="*/ 1103 w 10000"/>
                    <a:gd name="connsiteY70" fmla="*/ 4131 h 10000"/>
                    <a:gd name="connsiteX71" fmla="*/ 1103 w 10000"/>
                    <a:gd name="connsiteY71" fmla="*/ 4131 h 10000"/>
                    <a:gd name="connsiteX72" fmla="*/ 845 w 10000"/>
                    <a:gd name="connsiteY72" fmla="*/ 3883 h 10000"/>
                    <a:gd name="connsiteX73" fmla="*/ 521 w 10000"/>
                    <a:gd name="connsiteY73" fmla="*/ 3546 h 10000"/>
                    <a:gd name="connsiteX74" fmla="*/ 261 w 10000"/>
                    <a:gd name="connsiteY74" fmla="*/ 3243 h 10000"/>
                    <a:gd name="connsiteX75" fmla="*/ 195 w 10000"/>
                    <a:gd name="connsiteY75" fmla="*/ 3156 h 10000"/>
                    <a:gd name="connsiteX76" fmla="*/ 195 w 10000"/>
                    <a:gd name="connsiteY76" fmla="*/ 3121 h 10000"/>
                    <a:gd name="connsiteX77" fmla="*/ 261 w 10000"/>
                    <a:gd name="connsiteY77" fmla="*/ 3102 h 10000"/>
                    <a:gd name="connsiteX78" fmla="*/ 261 w 10000"/>
                    <a:gd name="connsiteY78" fmla="*/ 3102 h 10000"/>
                    <a:gd name="connsiteX79" fmla="*/ 650 w 10000"/>
                    <a:gd name="connsiteY79" fmla="*/ 3085 h 10000"/>
                    <a:gd name="connsiteX80" fmla="*/ 908 w 10000"/>
                    <a:gd name="connsiteY80" fmla="*/ 3085 h 10000"/>
                    <a:gd name="connsiteX81" fmla="*/ 1103 w 10000"/>
                    <a:gd name="connsiteY81" fmla="*/ 3102 h 10000"/>
                    <a:gd name="connsiteX82" fmla="*/ 1103 w 10000"/>
                    <a:gd name="connsiteY82" fmla="*/ 3102 h 10000"/>
                    <a:gd name="connsiteX83" fmla="*/ 1168 w 10000"/>
                    <a:gd name="connsiteY83" fmla="*/ 3102 h 10000"/>
                    <a:gd name="connsiteX84" fmla="*/ 1235 w 10000"/>
                    <a:gd name="connsiteY84" fmla="*/ 3069 h 10000"/>
                    <a:gd name="connsiteX85" fmla="*/ 1559 w 10000"/>
                    <a:gd name="connsiteY85" fmla="*/ 2961 h 10000"/>
                    <a:gd name="connsiteX86" fmla="*/ 2402 w 10000"/>
                    <a:gd name="connsiteY86" fmla="*/ 2605 h 10000"/>
                    <a:gd name="connsiteX87" fmla="*/ 3507 w 10000"/>
                    <a:gd name="connsiteY87" fmla="*/ 2094 h 10000"/>
                    <a:gd name="connsiteX88" fmla="*/ 3507 w 10000"/>
                    <a:gd name="connsiteY88" fmla="*/ 2094 h 10000"/>
                    <a:gd name="connsiteX89" fmla="*/ 3507 w 10000"/>
                    <a:gd name="connsiteY89" fmla="*/ 2021 h 10000"/>
                    <a:gd name="connsiteX90" fmla="*/ 3507 w 10000"/>
                    <a:gd name="connsiteY90" fmla="*/ 1859 h 10000"/>
                    <a:gd name="connsiteX91" fmla="*/ 3573 w 10000"/>
                    <a:gd name="connsiteY91" fmla="*/ 1755 h 10000"/>
                    <a:gd name="connsiteX92" fmla="*/ 3702 w 10000"/>
                    <a:gd name="connsiteY92" fmla="*/ 1665 h 10000"/>
                    <a:gd name="connsiteX93" fmla="*/ 3896 w 10000"/>
                    <a:gd name="connsiteY93" fmla="*/ 1560 h 10000"/>
                    <a:gd name="connsiteX94" fmla="*/ 4156 w 10000"/>
                    <a:gd name="connsiteY94" fmla="*/ 1473 h 10000"/>
                    <a:gd name="connsiteX95" fmla="*/ 4156 w 10000"/>
                    <a:gd name="connsiteY95" fmla="*/ 1473 h 10000"/>
                    <a:gd name="connsiteX96" fmla="*/ 4806 w 10000"/>
                    <a:gd name="connsiteY96" fmla="*/ 1296 h 10000"/>
                    <a:gd name="connsiteX97" fmla="*/ 5455 w 10000"/>
                    <a:gd name="connsiteY97" fmla="*/ 1063 h 10000"/>
                    <a:gd name="connsiteX98" fmla="*/ 6104 w 10000"/>
                    <a:gd name="connsiteY98" fmla="*/ 850 h 10000"/>
                    <a:gd name="connsiteX99" fmla="*/ 6559 w 10000"/>
                    <a:gd name="connsiteY99" fmla="*/ 658 h 10000"/>
                    <a:gd name="connsiteX100" fmla="*/ 6559 w 10000"/>
                    <a:gd name="connsiteY100" fmla="*/ 658 h 10000"/>
                    <a:gd name="connsiteX101" fmla="*/ 6882 w 10000"/>
                    <a:gd name="connsiteY101" fmla="*/ 480 h 10000"/>
                    <a:gd name="connsiteX102" fmla="*/ 7273 w 10000"/>
                    <a:gd name="connsiteY102" fmla="*/ 265 h 10000"/>
                    <a:gd name="connsiteX103" fmla="*/ 7663 w 10000"/>
                    <a:gd name="connsiteY103" fmla="*/ 105 h 10000"/>
                    <a:gd name="connsiteX104" fmla="*/ 7856 w 10000"/>
                    <a:gd name="connsiteY104" fmla="*/ 32 h 10000"/>
                    <a:gd name="connsiteX105" fmla="*/ 8051 w 10000"/>
                    <a:gd name="connsiteY105" fmla="*/ 17 h 10000"/>
                    <a:gd name="connsiteX106" fmla="*/ 8051 w 10000"/>
                    <a:gd name="connsiteY106" fmla="*/ 17 h 10000"/>
                    <a:gd name="connsiteX107" fmla="*/ 8442 w 10000"/>
                    <a:gd name="connsiteY107" fmla="*/ 0 h 10000"/>
                    <a:gd name="connsiteX108" fmla="*/ 8961 w 10000"/>
                    <a:gd name="connsiteY108" fmla="*/ 0 h 10000"/>
                    <a:gd name="connsiteX109" fmla="*/ 10000 w 10000"/>
                    <a:gd name="connsiteY109" fmla="*/ 17 h 10000"/>
                    <a:gd name="connsiteX110" fmla="*/ 5389 w 10000"/>
                    <a:gd name="connsiteY110" fmla="*/ 9949 h 10000"/>
                    <a:gd name="connsiteX111" fmla="*/ 3247 w 10000"/>
                    <a:gd name="connsiteY111" fmla="*/ 9752 h 10000"/>
                    <a:gd name="connsiteX112" fmla="*/ 3247 w 10000"/>
                    <a:gd name="connsiteY112" fmla="*/ 9752 h 10000"/>
                    <a:gd name="connsiteX113" fmla="*/ 3117 w 10000"/>
                    <a:gd name="connsiteY113" fmla="*/ 9559 h 10000"/>
                    <a:gd name="connsiteX114" fmla="*/ 3117 w 10000"/>
                    <a:gd name="connsiteY114" fmla="*/ 9559 h 10000"/>
                    <a:gd name="connsiteX115" fmla="*/ 3312 w 10000"/>
                    <a:gd name="connsiteY115" fmla="*/ 9502 h 10000"/>
                    <a:gd name="connsiteX116" fmla="*/ 3443 w 10000"/>
                    <a:gd name="connsiteY116" fmla="*/ 9486 h 10000"/>
                    <a:gd name="connsiteX117" fmla="*/ 2661 w 10000"/>
                    <a:gd name="connsiteY117" fmla="*/ 9502 h 10000"/>
                    <a:gd name="connsiteX0" fmla="*/ 2661 w 10000"/>
                    <a:gd name="connsiteY0" fmla="*/ 9502 h 10000"/>
                    <a:gd name="connsiteX1" fmla="*/ 5389 w 10000"/>
                    <a:gd name="connsiteY1" fmla="*/ 10000 h 10000"/>
                    <a:gd name="connsiteX2" fmla="*/ 5455 w 10000"/>
                    <a:gd name="connsiteY2" fmla="*/ 9927 h 10000"/>
                    <a:gd name="connsiteX3" fmla="*/ 5389 w 10000"/>
                    <a:gd name="connsiteY3" fmla="*/ 9843 h 10000"/>
                    <a:gd name="connsiteX4" fmla="*/ 5389 w 10000"/>
                    <a:gd name="connsiteY4" fmla="*/ 9843 h 10000"/>
                    <a:gd name="connsiteX5" fmla="*/ 5324 w 10000"/>
                    <a:gd name="connsiteY5" fmla="*/ 9790 h 10000"/>
                    <a:gd name="connsiteX6" fmla="*/ 5259 w 10000"/>
                    <a:gd name="connsiteY6" fmla="*/ 9752 h 10000"/>
                    <a:gd name="connsiteX7" fmla="*/ 5128 w 10000"/>
                    <a:gd name="connsiteY7" fmla="*/ 9752 h 10000"/>
                    <a:gd name="connsiteX8" fmla="*/ 4936 w 10000"/>
                    <a:gd name="connsiteY8" fmla="*/ 9773 h 10000"/>
                    <a:gd name="connsiteX9" fmla="*/ 3247 w 10000"/>
                    <a:gd name="connsiteY9" fmla="*/ 9752 h 10000"/>
                    <a:gd name="connsiteX10" fmla="*/ 3247 w 10000"/>
                    <a:gd name="connsiteY10" fmla="*/ 9752 h 10000"/>
                    <a:gd name="connsiteX11" fmla="*/ 3117 w 10000"/>
                    <a:gd name="connsiteY11" fmla="*/ 9700 h 10000"/>
                    <a:gd name="connsiteX12" fmla="*/ 3117 w 10000"/>
                    <a:gd name="connsiteY12" fmla="*/ 9646 h 10000"/>
                    <a:gd name="connsiteX13" fmla="*/ 3117 w 10000"/>
                    <a:gd name="connsiteY13" fmla="*/ 9611 h 10000"/>
                    <a:gd name="connsiteX14" fmla="*/ 3184 w 10000"/>
                    <a:gd name="connsiteY14" fmla="*/ 9574 h 10000"/>
                    <a:gd name="connsiteX15" fmla="*/ 3312 w 10000"/>
                    <a:gd name="connsiteY15" fmla="*/ 9502 h 10000"/>
                    <a:gd name="connsiteX16" fmla="*/ 3443 w 10000"/>
                    <a:gd name="connsiteY16" fmla="*/ 9486 h 10000"/>
                    <a:gd name="connsiteX17" fmla="*/ 3443 w 10000"/>
                    <a:gd name="connsiteY17" fmla="*/ 9486 h 10000"/>
                    <a:gd name="connsiteX18" fmla="*/ 3443 w 10000"/>
                    <a:gd name="connsiteY18" fmla="*/ 9469 h 10000"/>
                    <a:gd name="connsiteX19" fmla="*/ 3507 w 10000"/>
                    <a:gd name="connsiteY19" fmla="*/ 9450 h 10000"/>
                    <a:gd name="connsiteX20" fmla="*/ 7646 w 10000"/>
                    <a:gd name="connsiteY20" fmla="*/ 9178 h 10000"/>
                    <a:gd name="connsiteX21" fmla="*/ 8116 w 10000"/>
                    <a:gd name="connsiteY21" fmla="*/ 9186 h 10000"/>
                    <a:gd name="connsiteX22" fmla="*/ 8116 w 10000"/>
                    <a:gd name="connsiteY22" fmla="*/ 9186 h 10000"/>
                    <a:gd name="connsiteX23" fmla="*/ 8442 w 10000"/>
                    <a:gd name="connsiteY23" fmla="*/ 9151 h 10000"/>
                    <a:gd name="connsiteX24" fmla="*/ 8702 w 10000"/>
                    <a:gd name="connsiteY24" fmla="*/ 9062 h 10000"/>
                    <a:gd name="connsiteX25" fmla="*/ 8636 w 10000"/>
                    <a:gd name="connsiteY25" fmla="*/ 9026 h 10000"/>
                    <a:gd name="connsiteX26" fmla="*/ 8636 w 10000"/>
                    <a:gd name="connsiteY26" fmla="*/ 8991 h 10000"/>
                    <a:gd name="connsiteX27" fmla="*/ 8312 w 10000"/>
                    <a:gd name="connsiteY27" fmla="*/ 8902 h 10000"/>
                    <a:gd name="connsiteX28" fmla="*/ 5975 w 10000"/>
                    <a:gd name="connsiteY28" fmla="*/ 8581 h 10000"/>
                    <a:gd name="connsiteX29" fmla="*/ 5975 w 10000"/>
                    <a:gd name="connsiteY29" fmla="*/ 8581 h 10000"/>
                    <a:gd name="connsiteX30" fmla="*/ 5714 w 10000"/>
                    <a:gd name="connsiteY30" fmla="*/ 8530 h 10000"/>
                    <a:gd name="connsiteX31" fmla="*/ 5519 w 10000"/>
                    <a:gd name="connsiteY31" fmla="*/ 8476 h 10000"/>
                    <a:gd name="connsiteX32" fmla="*/ 5389 w 10000"/>
                    <a:gd name="connsiteY32" fmla="*/ 8423 h 10000"/>
                    <a:gd name="connsiteX33" fmla="*/ 5389 w 10000"/>
                    <a:gd name="connsiteY33" fmla="*/ 8423 h 10000"/>
                    <a:gd name="connsiteX34" fmla="*/ 7729 w 10000"/>
                    <a:gd name="connsiteY34" fmla="*/ 8404 h 10000"/>
                    <a:gd name="connsiteX35" fmla="*/ 10000 w 10000"/>
                    <a:gd name="connsiteY35" fmla="*/ 8581 h 10000"/>
                    <a:gd name="connsiteX36" fmla="*/ 10000 w 10000"/>
                    <a:gd name="connsiteY36" fmla="*/ 6970 h 10000"/>
                    <a:gd name="connsiteX37" fmla="*/ 10000 w 10000"/>
                    <a:gd name="connsiteY37" fmla="*/ 6970 h 10000"/>
                    <a:gd name="connsiteX38" fmla="*/ 7404 w 10000"/>
                    <a:gd name="connsiteY38" fmla="*/ 6595 h 10000"/>
                    <a:gd name="connsiteX39" fmla="*/ 5975 w 10000"/>
                    <a:gd name="connsiteY39" fmla="*/ 6384 h 10000"/>
                    <a:gd name="connsiteX40" fmla="*/ 5975 w 10000"/>
                    <a:gd name="connsiteY40" fmla="*/ 6384 h 10000"/>
                    <a:gd name="connsiteX41" fmla="*/ 5975 w 10000"/>
                    <a:gd name="connsiteY41" fmla="*/ 6366 h 10000"/>
                    <a:gd name="connsiteX42" fmla="*/ 5975 w 10000"/>
                    <a:gd name="connsiteY42" fmla="*/ 6260 h 10000"/>
                    <a:gd name="connsiteX43" fmla="*/ 5975 w 10000"/>
                    <a:gd name="connsiteY43" fmla="*/ 6260 h 10000"/>
                    <a:gd name="connsiteX44" fmla="*/ 5779 w 10000"/>
                    <a:gd name="connsiteY44" fmla="*/ 6133 h 10000"/>
                    <a:gd name="connsiteX45" fmla="*/ 5389 w 10000"/>
                    <a:gd name="connsiteY45" fmla="*/ 5939 h 10000"/>
                    <a:gd name="connsiteX46" fmla="*/ 4545 w 10000"/>
                    <a:gd name="connsiteY46" fmla="*/ 5568 h 10000"/>
                    <a:gd name="connsiteX47" fmla="*/ 4545 w 10000"/>
                    <a:gd name="connsiteY47" fmla="*/ 5568 h 10000"/>
                    <a:gd name="connsiteX48" fmla="*/ 4352 w 10000"/>
                    <a:gd name="connsiteY48" fmla="*/ 5515 h 10000"/>
                    <a:gd name="connsiteX49" fmla="*/ 4026 w 10000"/>
                    <a:gd name="connsiteY49" fmla="*/ 5444 h 10000"/>
                    <a:gd name="connsiteX50" fmla="*/ 3052 w 10000"/>
                    <a:gd name="connsiteY50" fmla="*/ 5284 h 10000"/>
                    <a:gd name="connsiteX51" fmla="*/ 1689 w 10000"/>
                    <a:gd name="connsiteY51" fmla="*/ 5090 h 10000"/>
                    <a:gd name="connsiteX52" fmla="*/ 1689 w 10000"/>
                    <a:gd name="connsiteY52" fmla="*/ 5090 h 10000"/>
                    <a:gd name="connsiteX53" fmla="*/ 1103 w 10000"/>
                    <a:gd name="connsiteY53" fmla="*/ 5070 h 10000"/>
                    <a:gd name="connsiteX54" fmla="*/ 650 w 10000"/>
                    <a:gd name="connsiteY54" fmla="*/ 5053 h 10000"/>
                    <a:gd name="connsiteX55" fmla="*/ 521 w 10000"/>
                    <a:gd name="connsiteY55" fmla="*/ 5035 h 10000"/>
                    <a:gd name="connsiteX56" fmla="*/ 390 w 10000"/>
                    <a:gd name="connsiteY56" fmla="*/ 5018 h 10000"/>
                    <a:gd name="connsiteX57" fmla="*/ 390 w 10000"/>
                    <a:gd name="connsiteY57" fmla="*/ 5018 h 10000"/>
                    <a:gd name="connsiteX58" fmla="*/ 261 w 10000"/>
                    <a:gd name="connsiteY58" fmla="*/ 4945 h 10000"/>
                    <a:gd name="connsiteX59" fmla="*/ 65 w 10000"/>
                    <a:gd name="connsiteY59" fmla="*/ 4825 h 10000"/>
                    <a:gd name="connsiteX60" fmla="*/ 0 w 10000"/>
                    <a:gd name="connsiteY60" fmla="*/ 4753 h 10000"/>
                    <a:gd name="connsiteX61" fmla="*/ 0 w 10000"/>
                    <a:gd name="connsiteY61" fmla="*/ 4680 h 10000"/>
                    <a:gd name="connsiteX62" fmla="*/ 0 w 10000"/>
                    <a:gd name="connsiteY62" fmla="*/ 4628 h 10000"/>
                    <a:gd name="connsiteX63" fmla="*/ 131 w 10000"/>
                    <a:gd name="connsiteY63" fmla="*/ 4574 h 10000"/>
                    <a:gd name="connsiteX64" fmla="*/ 131 w 10000"/>
                    <a:gd name="connsiteY64" fmla="*/ 4574 h 10000"/>
                    <a:gd name="connsiteX65" fmla="*/ 455 w 10000"/>
                    <a:gd name="connsiteY65" fmla="*/ 4485 h 10000"/>
                    <a:gd name="connsiteX66" fmla="*/ 779 w 10000"/>
                    <a:gd name="connsiteY66" fmla="*/ 4399 h 10000"/>
                    <a:gd name="connsiteX67" fmla="*/ 975 w 10000"/>
                    <a:gd name="connsiteY67" fmla="*/ 4346 h 10000"/>
                    <a:gd name="connsiteX68" fmla="*/ 1103 w 10000"/>
                    <a:gd name="connsiteY68" fmla="*/ 4292 h 10000"/>
                    <a:gd name="connsiteX69" fmla="*/ 1103 w 10000"/>
                    <a:gd name="connsiteY69" fmla="*/ 4220 h 10000"/>
                    <a:gd name="connsiteX70" fmla="*/ 1103 w 10000"/>
                    <a:gd name="connsiteY70" fmla="*/ 4131 h 10000"/>
                    <a:gd name="connsiteX71" fmla="*/ 1103 w 10000"/>
                    <a:gd name="connsiteY71" fmla="*/ 4131 h 10000"/>
                    <a:gd name="connsiteX72" fmla="*/ 845 w 10000"/>
                    <a:gd name="connsiteY72" fmla="*/ 3883 h 10000"/>
                    <a:gd name="connsiteX73" fmla="*/ 521 w 10000"/>
                    <a:gd name="connsiteY73" fmla="*/ 3546 h 10000"/>
                    <a:gd name="connsiteX74" fmla="*/ 261 w 10000"/>
                    <a:gd name="connsiteY74" fmla="*/ 3243 h 10000"/>
                    <a:gd name="connsiteX75" fmla="*/ 195 w 10000"/>
                    <a:gd name="connsiteY75" fmla="*/ 3156 h 10000"/>
                    <a:gd name="connsiteX76" fmla="*/ 195 w 10000"/>
                    <a:gd name="connsiteY76" fmla="*/ 3121 h 10000"/>
                    <a:gd name="connsiteX77" fmla="*/ 261 w 10000"/>
                    <a:gd name="connsiteY77" fmla="*/ 3102 h 10000"/>
                    <a:gd name="connsiteX78" fmla="*/ 261 w 10000"/>
                    <a:gd name="connsiteY78" fmla="*/ 3102 h 10000"/>
                    <a:gd name="connsiteX79" fmla="*/ 650 w 10000"/>
                    <a:gd name="connsiteY79" fmla="*/ 3085 h 10000"/>
                    <a:gd name="connsiteX80" fmla="*/ 908 w 10000"/>
                    <a:gd name="connsiteY80" fmla="*/ 3085 h 10000"/>
                    <a:gd name="connsiteX81" fmla="*/ 1103 w 10000"/>
                    <a:gd name="connsiteY81" fmla="*/ 3102 h 10000"/>
                    <a:gd name="connsiteX82" fmla="*/ 1103 w 10000"/>
                    <a:gd name="connsiteY82" fmla="*/ 3102 h 10000"/>
                    <a:gd name="connsiteX83" fmla="*/ 1168 w 10000"/>
                    <a:gd name="connsiteY83" fmla="*/ 3102 h 10000"/>
                    <a:gd name="connsiteX84" fmla="*/ 1235 w 10000"/>
                    <a:gd name="connsiteY84" fmla="*/ 3069 h 10000"/>
                    <a:gd name="connsiteX85" fmla="*/ 1559 w 10000"/>
                    <a:gd name="connsiteY85" fmla="*/ 2961 h 10000"/>
                    <a:gd name="connsiteX86" fmla="*/ 2402 w 10000"/>
                    <a:gd name="connsiteY86" fmla="*/ 2605 h 10000"/>
                    <a:gd name="connsiteX87" fmla="*/ 3507 w 10000"/>
                    <a:gd name="connsiteY87" fmla="*/ 2094 h 10000"/>
                    <a:gd name="connsiteX88" fmla="*/ 3507 w 10000"/>
                    <a:gd name="connsiteY88" fmla="*/ 2094 h 10000"/>
                    <a:gd name="connsiteX89" fmla="*/ 3507 w 10000"/>
                    <a:gd name="connsiteY89" fmla="*/ 2021 h 10000"/>
                    <a:gd name="connsiteX90" fmla="*/ 3507 w 10000"/>
                    <a:gd name="connsiteY90" fmla="*/ 1859 h 10000"/>
                    <a:gd name="connsiteX91" fmla="*/ 3573 w 10000"/>
                    <a:gd name="connsiteY91" fmla="*/ 1755 h 10000"/>
                    <a:gd name="connsiteX92" fmla="*/ 3702 w 10000"/>
                    <a:gd name="connsiteY92" fmla="*/ 1665 h 10000"/>
                    <a:gd name="connsiteX93" fmla="*/ 3896 w 10000"/>
                    <a:gd name="connsiteY93" fmla="*/ 1560 h 10000"/>
                    <a:gd name="connsiteX94" fmla="*/ 4156 w 10000"/>
                    <a:gd name="connsiteY94" fmla="*/ 1473 h 10000"/>
                    <a:gd name="connsiteX95" fmla="*/ 4156 w 10000"/>
                    <a:gd name="connsiteY95" fmla="*/ 1473 h 10000"/>
                    <a:gd name="connsiteX96" fmla="*/ 4806 w 10000"/>
                    <a:gd name="connsiteY96" fmla="*/ 1296 h 10000"/>
                    <a:gd name="connsiteX97" fmla="*/ 5455 w 10000"/>
                    <a:gd name="connsiteY97" fmla="*/ 1063 h 10000"/>
                    <a:gd name="connsiteX98" fmla="*/ 6104 w 10000"/>
                    <a:gd name="connsiteY98" fmla="*/ 850 h 10000"/>
                    <a:gd name="connsiteX99" fmla="*/ 6559 w 10000"/>
                    <a:gd name="connsiteY99" fmla="*/ 658 h 10000"/>
                    <a:gd name="connsiteX100" fmla="*/ 6559 w 10000"/>
                    <a:gd name="connsiteY100" fmla="*/ 658 h 10000"/>
                    <a:gd name="connsiteX101" fmla="*/ 6882 w 10000"/>
                    <a:gd name="connsiteY101" fmla="*/ 480 h 10000"/>
                    <a:gd name="connsiteX102" fmla="*/ 7273 w 10000"/>
                    <a:gd name="connsiteY102" fmla="*/ 265 h 10000"/>
                    <a:gd name="connsiteX103" fmla="*/ 7663 w 10000"/>
                    <a:gd name="connsiteY103" fmla="*/ 105 h 10000"/>
                    <a:gd name="connsiteX104" fmla="*/ 7856 w 10000"/>
                    <a:gd name="connsiteY104" fmla="*/ 32 h 10000"/>
                    <a:gd name="connsiteX105" fmla="*/ 8051 w 10000"/>
                    <a:gd name="connsiteY105" fmla="*/ 17 h 10000"/>
                    <a:gd name="connsiteX106" fmla="*/ 8051 w 10000"/>
                    <a:gd name="connsiteY106" fmla="*/ 17 h 10000"/>
                    <a:gd name="connsiteX107" fmla="*/ 8442 w 10000"/>
                    <a:gd name="connsiteY107" fmla="*/ 0 h 10000"/>
                    <a:gd name="connsiteX108" fmla="*/ 8961 w 10000"/>
                    <a:gd name="connsiteY108" fmla="*/ 0 h 10000"/>
                    <a:gd name="connsiteX109" fmla="*/ 10000 w 10000"/>
                    <a:gd name="connsiteY109" fmla="*/ 17 h 10000"/>
                    <a:gd name="connsiteX110" fmla="*/ 3247 w 10000"/>
                    <a:gd name="connsiteY110" fmla="*/ 9752 h 10000"/>
                    <a:gd name="connsiteX111" fmla="*/ 3247 w 10000"/>
                    <a:gd name="connsiteY111" fmla="*/ 9752 h 10000"/>
                    <a:gd name="connsiteX112" fmla="*/ 3117 w 10000"/>
                    <a:gd name="connsiteY112" fmla="*/ 9559 h 10000"/>
                    <a:gd name="connsiteX113" fmla="*/ 3117 w 10000"/>
                    <a:gd name="connsiteY113" fmla="*/ 9559 h 10000"/>
                    <a:gd name="connsiteX114" fmla="*/ 3312 w 10000"/>
                    <a:gd name="connsiteY114" fmla="*/ 9502 h 10000"/>
                    <a:gd name="connsiteX115" fmla="*/ 3443 w 10000"/>
                    <a:gd name="connsiteY115" fmla="*/ 9486 h 10000"/>
                    <a:gd name="connsiteX116" fmla="*/ 2661 w 10000"/>
                    <a:gd name="connsiteY116" fmla="*/ 9502 h 10000"/>
                    <a:gd name="connsiteX0" fmla="*/ 2661 w 10000"/>
                    <a:gd name="connsiteY0" fmla="*/ 9502 h 10010"/>
                    <a:gd name="connsiteX1" fmla="*/ 5389 w 10000"/>
                    <a:gd name="connsiteY1" fmla="*/ 10000 h 10010"/>
                    <a:gd name="connsiteX2" fmla="*/ 5389 w 10000"/>
                    <a:gd name="connsiteY2" fmla="*/ 9843 h 10010"/>
                    <a:gd name="connsiteX3" fmla="*/ 5389 w 10000"/>
                    <a:gd name="connsiteY3" fmla="*/ 9843 h 10010"/>
                    <a:gd name="connsiteX4" fmla="*/ 5324 w 10000"/>
                    <a:gd name="connsiteY4" fmla="*/ 9790 h 10010"/>
                    <a:gd name="connsiteX5" fmla="*/ 5259 w 10000"/>
                    <a:gd name="connsiteY5" fmla="*/ 9752 h 10010"/>
                    <a:gd name="connsiteX6" fmla="*/ 5128 w 10000"/>
                    <a:gd name="connsiteY6" fmla="*/ 9752 h 10010"/>
                    <a:gd name="connsiteX7" fmla="*/ 4936 w 10000"/>
                    <a:gd name="connsiteY7" fmla="*/ 9773 h 10010"/>
                    <a:gd name="connsiteX8" fmla="*/ 3247 w 10000"/>
                    <a:gd name="connsiteY8" fmla="*/ 9752 h 10010"/>
                    <a:gd name="connsiteX9" fmla="*/ 3247 w 10000"/>
                    <a:gd name="connsiteY9" fmla="*/ 9752 h 10010"/>
                    <a:gd name="connsiteX10" fmla="*/ 3117 w 10000"/>
                    <a:gd name="connsiteY10" fmla="*/ 9700 h 10010"/>
                    <a:gd name="connsiteX11" fmla="*/ 3117 w 10000"/>
                    <a:gd name="connsiteY11" fmla="*/ 9646 h 10010"/>
                    <a:gd name="connsiteX12" fmla="*/ 3117 w 10000"/>
                    <a:gd name="connsiteY12" fmla="*/ 9611 h 10010"/>
                    <a:gd name="connsiteX13" fmla="*/ 3184 w 10000"/>
                    <a:gd name="connsiteY13" fmla="*/ 9574 h 10010"/>
                    <a:gd name="connsiteX14" fmla="*/ 3312 w 10000"/>
                    <a:gd name="connsiteY14" fmla="*/ 9502 h 10010"/>
                    <a:gd name="connsiteX15" fmla="*/ 3443 w 10000"/>
                    <a:gd name="connsiteY15" fmla="*/ 9486 h 10010"/>
                    <a:gd name="connsiteX16" fmla="*/ 3443 w 10000"/>
                    <a:gd name="connsiteY16" fmla="*/ 9486 h 10010"/>
                    <a:gd name="connsiteX17" fmla="*/ 3443 w 10000"/>
                    <a:gd name="connsiteY17" fmla="*/ 9469 h 10010"/>
                    <a:gd name="connsiteX18" fmla="*/ 3507 w 10000"/>
                    <a:gd name="connsiteY18" fmla="*/ 9450 h 10010"/>
                    <a:gd name="connsiteX19" fmla="*/ 7646 w 10000"/>
                    <a:gd name="connsiteY19" fmla="*/ 9178 h 10010"/>
                    <a:gd name="connsiteX20" fmla="*/ 8116 w 10000"/>
                    <a:gd name="connsiteY20" fmla="*/ 9186 h 10010"/>
                    <a:gd name="connsiteX21" fmla="*/ 8116 w 10000"/>
                    <a:gd name="connsiteY21" fmla="*/ 9186 h 10010"/>
                    <a:gd name="connsiteX22" fmla="*/ 8442 w 10000"/>
                    <a:gd name="connsiteY22" fmla="*/ 9151 h 10010"/>
                    <a:gd name="connsiteX23" fmla="*/ 8702 w 10000"/>
                    <a:gd name="connsiteY23" fmla="*/ 9062 h 10010"/>
                    <a:gd name="connsiteX24" fmla="*/ 8636 w 10000"/>
                    <a:gd name="connsiteY24" fmla="*/ 9026 h 10010"/>
                    <a:gd name="connsiteX25" fmla="*/ 8636 w 10000"/>
                    <a:gd name="connsiteY25" fmla="*/ 8991 h 10010"/>
                    <a:gd name="connsiteX26" fmla="*/ 8312 w 10000"/>
                    <a:gd name="connsiteY26" fmla="*/ 8902 h 10010"/>
                    <a:gd name="connsiteX27" fmla="*/ 5975 w 10000"/>
                    <a:gd name="connsiteY27" fmla="*/ 8581 h 10010"/>
                    <a:gd name="connsiteX28" fmla="*/ 5975 w 10000"/>
                    <a:gd name="connsiteY28" fmla="*/ 8581 h 10010"/>
                    <a:gd name="connsiteX29" fmla="*/ 5714 w 10000"/>
                    <a:gd name="connsiteY29" fmla="*/ 8530 h 10010"/>
                    <a:gd name="connsiteX30" fmla="*/ 5519 w 10000"/>
                    <a:gd name="connsiteY30" fmla="*/ 8476 h 10010"/>
                    <a:gd name="connsiteX31" fmla="*/ 5389 w 10000"/>
                    <a:gd name="connsiteY31" fmla="*/ 8423 h 10010"/>
                    <a:gd name="connsiteX32" fmla="*/ 5389 w 10000"/>
                    <a:gd name="connsiteY32" fmla="*/ 8423 h 10010"/>
                    <a:gd name="connsiteX33" fmla="*/ 7729 w 10000"/>
                    <a:gd name="connsiteY33" fmla="*/ 8404 h 10010"/>
                    <a:gd name="connsiteX34" fmla="*/ 10000 w 10000"/>
                    <a:gd name="connsiteY34" fmla="*/ 8581 h 10010"/>
                    <a:gd name="connsiteX35" fmla="*/ 10000 w 10000"/>
                    <a:gd name="connsiteY35" fmla="*/ 6970 h 10010"/>
                    <a:gd name="connsiteX36" fmla="*/ 10000 w 10000"/>
                    <a:gd name="connsiteY36" fmla="*/ 6970 h 10010"/>
                    <a:gd name="connsiteX37" fmla="*/ 7404 w 10000"/>
                    <a:gd name="connsiteY37" fmla="*/ 6595 h 10010"/>
                    <a:gd name="connsiteX38" fmla="*/ 5975 w 10000"/>
                    <a:gd name="connsiteY38" fmla="*/ 6384 h 10010"/>
                    <a:gd name="connsiteX39" fmla="*/ 5975 w 10000"/>
                    <a:gd name="connsiteY39" fmla="*/ 6384 h 10010"/>
                    <a:gd name="connsiteX40" fmla="*/ 5975 w 10000"/>
                    <a:gd name="connsiteY40" fmla="*/ 6366 h 10010"/>
                    <a:gd name="connsiteX41" fmla="*/ 5975 w 10000"/>
                    <a:gd name="connsiteY41" fmla="*/ 6260 h 10010"/>
                    <a:gd name="connsiteX42" fmla="*/ 5975 w 10000"/>
                    <a:gd name="connsiteY42" fmla="*/ 6260 h 10010"/>
                    <a:gd name="connsiteX43" fmla="*/ 5779 w 10000"/>
                    <a:gd name="connsiteY43" fmla="*/ 6133 h 10010"/>
                    <a:gd name="connsiteX44" fmla="*/ 5389 w 10000"/>
                    <a:gd name="connsiteY44" fmla="*/ 5939 h 10010"/>
                    <a:gd name="connsiteX45" fmla="*/ 4545 w 10000"/>
                    <a:gd name="connsiteY45" fmla="*/ 5568 h 10010"/>
                    <a:gd name="connsiteX46" fmla="*/ 4545 w 10000"/>
                    <a:gd name="connsiteY46" fmla="*/ 5568 h 10010"/>
                    <a:gd name="connsiteX47" fmla="*/ 4352 w 10000"/>
                    <a:gd name="connsiteY47" fmla="*/ 5515 h 10010"/>
                    <a:gd name="connsiteX48" fmla="*/ 4026 w 10000"/>
                    <a:gd name="connsiteY48" fmla="*/ 5444 h 10010"/>
                    <a:gd name="connsiteX49" fmla="*/ 3052 w 10000"/>
                    <a:gd name="connsiteY49" fmla="*/ 5284 h 10010"/>
                    <a:gd name="connsiteX50" fmla="*/ 1689 w 10000"/>
                    <a:gd name="connsiteY50" fmla="*/ 5090 h 10010"/>
                    <a:gd name="connsiteX51" fmla="*/ 1689 w 10000"/>
                    <a:gd name="connsiteY51" fmla="*/ 5090 h 10010"/>
                    <a:gd name="connsiteX52" fmla="*/ 1103 w 10000"/>
                    <a:gd name="connsiteY52" fmla="*/ 5070 h 10010"/>
                    <a:gd name="connsiteX53" fmla="*/ 650 w 10000"/>
                    <a:gd name="connsiteY53" fmla="*/ 5053 h 10010"/>
                    <a:gd name="connsiteX54" fmla="*/ 521 w 10000"/>
                    <a:gd name="connsiteY54" fmla="*/ 5035 h 10010"/>
                    <a:gd name="connsiteX55" fmla="*/ 390 w 10000"/>
                    <a:gd name="connsiteY55" fmla="*/ 5018 h 10010"/>
                    <a:gd name="connsiteX56" fmla="*/ 390 w 10000"/>
                    <a:gd name="connsiteY56" fmla="*/ 5018 h 10010"/>
                    <a:gd name="connsiteX57" fmla="*/ 261 w 10000"/>
                    <a:gd name="connsiteY57" fmla="*/ 4945 h 10010"/>
                    <a:gd name="connsiteX58" fmla="*/ 65 w 10000"/>
                    <a:gd name="connsiteY58" fmla="*/ 4825 h 10010"/>
                    <a:gd name="connsiteX59" fmla="*/ 0 w 10000"/>
                    <a:gd name="connsiteY59" fmla="*/ 4753 h 10010"/>
                    <a:gd name="connsiteX60" fmla="*/ 0 w 10000"/>
                    <a:gd name="connsiteY60" fmla="*/ 4680 h 10010"/>
                    <a:gd name="connsiteX61" fmla="*/ 0 w 10000"/>
                    <a:gd name="connsiteY61" fmla="*/ 4628 h 10010"/>
                    <a:gd name="connsiteX62" fmla="*/ 131 w 10000"/>
                    <a:gd name="connsiteY62" fmla="*/ 4574 h 10010"/>
                    <a:gd name="connsiteX63" fmla="*/ 131 w 10000"/>
                    <a:gd name="connsiteY63" fmla="*/ 4574 h 10010"/>
                    <a:gd name="connsiteX64" fmla="*/ 455 w 10000"/>
                    <a:gd name="connsiteY64" fmla="*/ 4485 h 10010"/>
                    <a:gd name="connsiteX65" fmla="*/ 779 w 10000"/>
                    <a:gd name="connsiteY65" fmla="*/ 4399 h 10010"/>
                    <a:gd name="connsiteX66" fmla="*/ 975 w 10000"/>
                    <a:gd name="connsiteY66" fmla="*/ 4346 h 10010"/>
                    <a:gd name="connsiteX67" fmla="*/ 1103 w 10000"/>
                    <a:gd name="connsiteY67" fmla="*/ 4292 h 10010"/>
                    <a:gd name="connsiteX68" fmla="*/ 1103 w 10000"/>
                    <a:gd name="connsiteY68" fmla="*/ 4220 h 10010"/>
                    <a:gd name="connsiteX69" fmla="*/ 1103 w 10000"/>
                    <a:gd name="connsiteY69" fmla="*/ 4131 h 10010"/>
                    <a:gd name="connsiteX70" fmla="*/ 1103 w 10000"/>
                    <a:gd name="connsiteY70" fmla="*/ 4131 h 10010"/>
                    <a:gd name="connsiteX71" fmla="*/ 845 w 10000"/>
                    <a:gd name="connsiteY71" fmla="*/ 3883 h 10010"/>
                    <a:gd name="connsiteX72" fmla="*/ 521 w 10000"/>
                    <a:gd name="connsiteY72" fmla="*/ 3546 h 10010"/>
                    <a:gd name="connsiteX73" fmla="*/ 261 w 10000"/>
                    <a:gd name="connsiteY73" fmla="*/ 3243 h 10010"/>
                    <a:gd name="connsiteX74" fmla="*/ 195 w 10000"/>
                    <a:gd name="connsiteY74" fmla="*/ 3156 h 10010"/>
                    <a:gd name="connsiteX75" fmla="*/ 195 w 10000"/>
                    <a:gd name="connsiteY75" fmla="*/ 3121 h 10010"/>
                    <a:gd name="connsiteX76" fmla="*/ 261 w 10000"/>
                    <a:gd name="connsiteY76" fmla="*/ 3102 h 10010"/>
                    <a:gd name="connsiteX77" fmla="*/ 261 w 10000"/>
                    <a:gd name="connsiteY77" fmla="*/ 3102 h 10010"/>
                    <a:gd name="connsiteX78" fmla="*/ 650 w 10000"/>
                    <a:gd name="connsiteY78" fmla="*/ 3085 h 10010"/>
                    <a:gd name="connsiteX79" fmla="*/ 908 w 10000"/>
                    <a:gd name="connsiteY79" fmla="*/ 3085 h 10010"/>
                    <a:gd name="connsiteX80" fmla="*/ 1103 w 10000"/>
                    <a:gd name="connsiteY80" fmla="*/ 3102 h 10010"/>
                    <a:gd name="connsiteX81" fmla="*/ 1103 w 10000"/>
                    <a:gd name="connsiteY81" fmla="*/ 3102 h 10010"/>
                    <a:gd name="connsiteX82" fmla="*/ 1168 w 10000"/>
                    <a:gd name="connsiteY82" fmla="*/ 3102 h 10010"/>
                    <a:gd name="connsiteX83" fmla="*/ 1235 w 10000"/>
                    <a:gd name="connsiteY83" fmla="*/ 3069 h 10010"/>
                    <a:gd name="connsiteX84" fmla="*/ 1559 w 10000"/>
                    <a:gd name="connsiteY84" fmla="*/ 2961 h 10010"/>
                    <a:gd name="connsiteX85" fmla="*/ 2402 w 10000"/>
                    <a:gd name="connsiteY85" fmla="*/ 2605 h 10010"/>
                    <a:gd name="connsiteX86" fmla="*/ 3507 w 10000"/>
                    <a:gd name="connsiteY86" fmla="*/ 2094 h 10010"/>
                    <a:gd name="connsiteX87" fmla="*/ 3507 w 10000"/>
                    <a:gd name="connsiteY87" fmla="*/ 2094 h 10010"/>
                    <a:gd name="connsiteX88" fmla="*/ 3507 w 10000"/>
                    <a:gd name="connsiteY88" fmla="*/ 2021 h 10010"/>
                    <a:gd name="connsiteX89" fmla="*/ 3507 w 10000"/>
                    <a:gd name="connsiteY89" fmla="*/ 1859 h 10010"/>
                    <a:gd name="connsiteX90" fmla="*/ 3573 w 10000"/>
                    <a:gd name="connsiteY90" fmla="*/ 1755 h 10010"/>
                    <a:gd name="connsiteX91" fmla="*/ 3702 w 10000"/>
                    <a:gd name="connsiteY91" fmla="*/ 1665 h 10010"/>
                    <a:gd name="connsiteX92" fmla="*/ 3896 w 10000"/>
                    <a:gd name="connsiteY92" fmla="*/ 1560 h 10010"/>
                    <a:gd name="connsiteX93" fmla="*/ 4156 w 10000"/>
                    <a:gd name="connsiteY93" fmla="*/ 1473 h 10010"/>
                    <a:gd name="connsiteX94" fmla="*/ 4156 w 10000"/>
                    <a:gd name="connsiteY94" fmla="*/ 1473 h 10010"/>
                    <a:gd name="connsiteX95" fmla="*/ 4806 w 10000"/>
                    <a:gd name="connsiteY95" fmla="*/ 1296 h 10010"/>
                    <a:gd name="connsiteX96" fmla="*/ 5455 w 10000"/>
                    <a:gd name="connsiteY96" fmla="*/ 1063 h 10010"/>
                    <a:gd name="connsiteX97" fmla="*/ 6104 w 10000"/>
                    <a:gd name="connsiteY97" fmla="*/ 850 h 10010"/>
                    <a:gd name="connsiteX98" fmla="*/ 6559 w 10000"/>
                    <a:gd name="connsiteY98" fmla="*/ 658 h 10010"/>
                    <a:gd name="connsiteX99" fmla="*/ 6559 w 10000"/>
                    <a:gd name="connsiteY99" fmla="*/ 658 h 10010"/>
                    <a:gd name="connsiteX100" fmla="*/ 6882 w 10000"/>
                    <a:gd name="connsiteY100" fmla="*/ 480 h 10010"/>
                    <a:gd name="connsiteX101" fmla="*/ 7273 w 10000"/>
                    <a:gd name="connsiteY101" fmla="*/ 265 h 10010"/>
                    <a:gd name="connsiteX102" fmla="*/ 7663 w 10000"/>
                    <a:gd name="connsiteY102" fmla="*/ 105 h 10010"/>
                    <a:gd name="connsiteX103" fmla="*/ 7856 w 10000"/>
                    <a:gd name="connsiteY103" fmla="*/ 32 h 10010"/>
                    <a:gd name="connsiteX104" fmla="*/ 8051 w 10000"/>
                    <a:gd name="connsiteY104" fmla="*/ 17 h 10010"/>
                    <a:gd name="connsiteX105" fmla="*/ 8051 w 10000"/>
                    <a:gd name="connsiteY105" fmla="*/ 17 h 10010"/>
                    <a:gd name="connsiteX106" fmla="*/ 8442 w 10000"/>
                    <a:gd name="connsiteY106" fmla="*/ 0 h 10010"/>
                    <a:gd name="connsiteX107" fmla="*/ 8961 w 10000"/>
                    <a:gd name="connsiteY107" fmla="*/ 0 h 10010"/>
                    <a:gd name="connsiteX108" fmla="*/ 10000 w 10000"/>
                    <a:gd name="connsiteY108" fmla="*/ 17 h 10010"/>
                    <a:gd name="connsiteX109" fmla="*/ 3247 w 10000"/>
                    <a:gd name="connsiteY109" fmla="*/ 9752 h 10010"/>
                    <a:gd name="connsiteX110" fmla="*/ 3247 w 10000"/>
                    <a:gd name="connsiteY110" fmla="*/ 9752 h 10010"/>
                    <a:gd name="connsiteX111" fmla="*/ 3117 w 10000"/>
                    <a:gd name="connsiteY111" fmla="*/ 9559 h 10010"/>
                    <a:gd name="connsiteX112" fmla="*/ 3117 w 10000"/>
                    <a:gd name="connsiteY112" fmla="*/ 9559 h 10010"/>
                    <a:gd name="connsiteX113" fmla="*/ 3312 w 10000"/>
                    <a:gd name="connsiteY113" fmla="*/ 9502 h 10010"/>
                    <a:gd name="connsiteX114" fmla="*/ 3443 w 10000"/>
                    <a:gd name="connsiteY114" fmla="*/ 9486 h 10010"/>
                    <a:gd name="connsiteX115" fmla="*/ 2661 w 10000"/>
                    <a:gd name="connsiteY115" fmla="*/ 9502 h 10010"/>
                    <a:gd name="connsiteX0" fmla="*/ 2661 w 10000"/>
                    <a:gd name="connsiteY0" fmla="*/ 9502 h 9843"/>
                    <a:gd name="connsiteX1" fmla="*/ 5389 w 10000"/>
                    <a:gd name="connsiteY1" fmla="*/ 9843 h 9843"/>
                    <a:gd name="connsiteX2" fmla="*/ 5389 w 10000"/>
                    <a:gd name="connsiteY2" fmla="*/ 9843 h 9843"/>
                    <a:gd name="connsiteX3" fmla="*/ 5324 w 10000"/>
                    <a:gd name="connsiteY3" fmla="*/ 9790 h 9843"/>
                    <a:gd name="connsiteX4" fmla="*/ 5259 w 10000"/>
                    <a:gd name="connsiteY4" fmla="*/ 9752 h 9843"/>
                    <a:gd name="connsiteX5" fmla="*/ 5128 w 10000"/>
                    <a:gd name="connsiteY5" fmla="*/ 9752 h 9843"/>
                    <a:gd name="connsiteX6" fmla="*/ 4936 w 10000"/>
                    <a:gd name="connsiteY6" fmla="*/ 9773 h 9843"/>
                    <a:gd name="connsiteX7" fmla="*/ 3247 w 10000"/>
                    <a:gd name="connsiteY7" fmla="*/ 9752 h 9843"/>
                    <a:gd name="connsiteX8" fmla="*/ 3247 w 10000"/>
                    <a:gd name="connsiteY8" fmla="*/ 9752 h 9843"/>
                    <a:gd name="connsiteX9" fmla="*/ 3117 w 10000"/>
                    <a:gd name="connsiteY9" fmla="*/ 9700 h 9843"/>
                    <a:gd name="connsiteX10" fmla="*/ 3117 w 10000"/>
                    <a:gd name="connsiteY10" fmla="*/ 9646 h 9843"/>
                    <a:gd name="connsiteX11" fmla="*/ 3117 w 10000"/>
                    <a:gd name="connsiteY11" fmla="*/ 9611 h 9843"/>
                    <a:gd name="connsiteX12" fmla="*/ 3184 w 10000"/>
                    <a:gd name="connsiteY12" fmla="*/ 9574 h 9843"/>
                    <a:gd name="connsiteX13" fmla="*/ 3312 w 10000"/>
                    <a:gd name="connsiteY13" fmla="*/ 9502 h 9843"/>
                    <a:gd name="connsiteX14" fmla="*/ 3443 w 10000"/>
                    <a:gd name="connsiteY14" fmla="*/ 9486 h 9843"/>
                    <a:gd name="connsiteX15" fmla="*/ 3443 w 10000"/>
                    <a:gd name="connsiteY15" fmla="*/ 9486 h 9843"/>
                    <a:gd name="connsiteX16" fmla="*/ 3443 w 10000"/>
                    <a:gd name="connsiteY16" fmla="*/ 9469 h 9843"/>
                    <a:gd name="connsiteX17" fmla="*/ 3507 w 10000"/>
                    <a:gd name="connsiteY17" fmla="*/ 9450 h 9843"/>
                    <a:gd name="connsiteX18" fmla="*/ 7646 w 10000"/>
                    <a:gd name="connsiteY18" fmla="*/ 9178 h 9843"/>
                    <a:gd name="connsiteX19" fmla="*/ 8116 w 10000"/>
                    <a:gd name="connsiteY19" fmla="*/ 9186 h 9843"/>
                    <a:gd name="connsiteX20" fmla="*/ 8116 w 10000"/>
                    <a:gd name="connsiteY20" fmla="*/ 9186 h 9843"/>
                    <a:gd name="connsiteX21" fmla="*/ 8442 w 10000"/>
                    <a:gd name="connsiteY21" fmla="*/ 9151 h 9843"/>
                    <a:gd name="connsiteX22" fmla="*/ 8702 w 10000"/>
                    <a:gd name="connsiteY22" fmla="*/ 9062 h 9843"/>
                    <a:gd name="connsiteX23" fmla="*/ 8636 w 10000"/>
                    <a:gd name="connsiteY23" fmla="*/ 9026 h 9843"/>
                    <a:gd name="connsiteX24" fmla="*/ 8636 w 10000"/>
                    <a:gd name="connsiteY24" fmla="*/ 8991 h 9843"/>
                    <a:gd name="connsiteX25" fmla="*/ 8312 w 10000"/>
                    <a:gd name="connsiteY25" fmla="*/ 8902 h 9843"/>
                    <a:gd name="connsiteX26" fmla="*/ 5975 w 10000"/>
                    <a:gd name="connsiteY26" fmla="*/ 8581 h 9843"/>
                    <a:gd name="connsiteX27" fmla="*/ 5975 w 10000"/>
                    <a:gd name="connsiteY27" fmla="*/ 8581 h 9843"/>
                    <a:gd name="connsiteX28" fmla="*/ 5714 w 10000"/>
                    <a:gd name="connsiteY28" fmla="*/ 8530 h 9843"/>
                    <a:gd name="connsiteX29" fmla="*/ 5519 w 10000"/>
                    <a:gd name="connsiteY29" fmla="*/ 8476 h 9843"/>
                    <a:gd name="connsiteX30" fmla="*/ 5389 w 10000"/>
                    <a:gd name="connsiteY30" fmla="*/ 8423 h 9843"/>
                    <a:gd name="connsiteX31" fmla="*/ 5389 w 10000"/>
                    <a:gd name="connsiteY31" fmla="*/ 8423 h 9843"/>
                    <a:gd name="connsiteX32" fmla="*/ 7729 w 10000"/>
                    <a:gd name="connsiteY32" fmla="*/ 8404 h 9843"/>
                    <a:gd name="connsiteX33" fmla="*/ 10000 w 10000"/>
                    <a:gd name="connsiteY33" fmla="*/ 8581 h 9843"/>
                    <a:gd name="connsiteX34" fmla="*/ 10000 w 10000"/>
                    <a:gd name="connsiteY34" fmla="*/ 6970 h 9843"/>
                    <a:gd name="connsiteX35" fmla="*/ 10000 w 10000"/>
                    <a:gd name="connsiteY35" fmla="*/ 6970 h 9843"/>
                    <a:gd name="connsiteX36" fmla="*/ 7404 w 10000"/>
                    <a:gd name="connsiteY36" fmla="*/ 6595 h 9843"/>
                    <a:gd name="connsiteX37" fmla="*/ 5975 w 10000"/>
                    <a:gd name="connsiteY37" fmla="*/ 6384 h 9843"/>
                    <a:gd name="connsiteX38" fmla="*/ 5975 w 10000"/>
                    <a:gd name="connsiteY38" fmla="*/ 6384 h 9843"/>
                    <a:gd name="connsiteX39" fmla="*/ 5975 w 10000"/>
                    <a:gd name="connsiteY39" fmla="*/ 6366 h 9843"/>
                    <a:gd name="connsiteX40" fmla="*/ 5975 w 10000"/>
                    <a:gd name="connsiteY40" fmla="*/ 6260 h 9843"/>
                    <a:gd name="connsiteX41" fmla="*/ 5975 w 10000"/>
                    <a:gd name="connsiteY41" fmla="*/ 6260 h 9843"/>
                    <a:gd name="connsiteX42" fmla="*/ 5779 w 10000"/>
                    <a:gd name="connsiteY42" fmla="*/ 6133 h 9843"/>
                    <a:gd name="connsiteX43" fmla="*/ 5389 w 10000"/>
                    <a:gd name="connsiteY43" fmla="*/ 5939 h 9843"/>
                    <a:gd name="connsiteX44" fmla="*/ 4545 w 10000"/>
                    <a:gd name="connsiteY44" fmla="*/ 5568 h 9843"/>
                    <a:gd name="connsiteX45" fmla="*/ 4545 w 10000"/>
                    <a:gd name="connsiteY45" fmla="*/ 5568 h 9843"/>
                    <a:gd name="connsiteX46" fmla="*/ 4352 w 10000"/>
                    <a:gd name="connsiteY46" fmla="*/ 5515 h 9843"/>
                    <a:gd name="connsiteX47" fmla="*/ 4026 w 10000"/>
                    <a:gd name="connsiteY47" fmla="*/ 5444 h 9843"/>
                    <a:gd name="connsiteX48" fmla="*/ 3052 w 10000"/>
                    <a:gd name="connsiteY48" fmla="*/ 5284 h 9843"/>
                    <a:gd name="connsiteX49" fmla="*/ 1689 w 10000"/>
                    <a:gd name="connsiteY49" fmla="*/ 5090 h 9843"/>
                    <a:gd name="connsiteX50" fmla="*/ 1689 w 10000"/>
                    <a:gd name="connsiteY50" fmla="*/ 5090 h 9843"/>
                    <a:gd name="connsiteX51" fmla="*/ 1103 w 10000"/>
                    <a:gd name="connsiteY51" fmla="*/ 5070 h 9843"/>
                    <a:gd name="connsiteX52" fmla="*/ 650 w 10000"/>
                    <a:gd name="connsiteY52" fmla="*/ 5053 h 9843"/>
                    <a:gd name="connsiteX53" fmla="*/ 521 w 10000"/>
                    <a:gd name="connsiteY53" fmla="*/ 5035 h 9843"/>
                    <a:gd name="connsiteX54" fmla="*/ 390 w 10000"/>
                    <a:gd name="connsiteY54" fmla="*/ 5018 h 9843"/>
                    <a:gd name="connsiteX55" fmla="*/ 390 w 10000"/>
                    <a:gd name="connsiteY55" fmla="*/ 5018 h 9843"/>
                    <a:gd name="connsiteX56" fmla="*/ 261 w 10000"/>
                    <a:gd name="connsiteY56" fmla="*/ 4945 h 9843"/>
                    <a:gd name="connsiteX57" fmla="*/ 65 w 10000"/>
                    <a:gd name="connsiteY57" fmla="*/ 4825 h 9843"/>
                    <a:gd name="connsiteX58" fmla="*/ 0 w 10000"/>
                    <a:gd name="connsiteY58" fmla="*/ 4753 h 9843"/>
                    <a:gd name="connsiteX59" fmla="*/ 0 w 10000"/>
                    <a:gd name="connsiteY59" fmla="*/ 4680 h 9843"/>
                    <a:gd name="connsiteX60" fmla="*/ 0 w 10000"/>
                    <a:gd name="connsiteY60" fmla="*/ 4628 h 9843"/>
                    <a:gd name="connsiteX61" fmla="*/ 131 w 10000"/>
                    <a:gd name="connsiteY61" fmla="*/ 4574 h 9843"/>
                    <a:gd name="connsiteX62" fmla="*/ 131 w 10000"/>
                    <a:gd name="connsiteY62" fmla="*/ 4574 h 9843"/>
                    <a:gd name="connsiteX63" fmla="*/ 455 w 10000"/>
                    <a:gd name="connsiteY63" fmla="*/ 4485 h 9843"/>
                    <a:gd name="connsiteX64" fmla="*/ 779 w 10000"/>
                    <a:gd name="connsiteY64" fmla="*/ 4399 h 9843"/>
                    <a:gd name="connsiteX65" fmla="*/ 975 w 10000"/>
                    <a:gd name="connsiteY65" fmla="*/ 4346 h 9843"/>
                    <a:gd name="connsiteX66" fmla="*/ 1103 w 10000"/>
                    <a:gd name="connsiteY66" fmla="*/ 4292 h 9843"/>
                    <a:gd name="connsiteX67" fmla="*/ 1103 w 10000"/>
                    <a:gd name="connsiteY67" fmla="*/ 4220 h 9843"/>
                    <a:gd name="connsiteX68" fmla="*/ 1103 w 10000"/>
                    <a:gd name="connsiteY68" fmla="*/ 4131 h 9843"/>
                    <a:gd name="connsiteX69" fmla="*/ 1103 w 10000"/>
                    <a:gd name="connsiteY69" fmla="*/ 4131 h 9843"/>
                    <a:gd name="connsiteX70" fmla="*/ 845 w 10000"/>
                    <a:gd name="connsiteY70" fmla="*/ 3883 h 9843"/>
                    <a:gd name="connsiteX71" fmla="*/ 521 w 10000"/>
                    <a:gd name="connsiteY71" fmla="*/ 3546 h 9843"/>
                    <a:gd name="connsiteX72" fmla="*/ 261 w 10000"/>
                    <a:gd name="connsiteY72" fmla="*/ 3243 h 9843"/>
                    <a:gd name="connsiteX73" fmla="*/ 195 w 10000"/>
                    <a:gd name="connsiteY73" fmla="*/ 3156 h 9843"/>
                    <a:gd name="connsiteX74" fmla="*/ 195 w 10000"/>
                    <a:gd name="connsiteY74" fmla="*/ 3121 h 9843"/>
                    <a:gd name="connsiteX75" fmla="*/ 261 w 10000"/>
                    <a:gd name="connsiteY75" fmla="*/ 3102 h 9843"/>
                    <a:gd name="connsiteX76" fmla="*/ 261 w 10000"/>
                    <a:gd name="connsiteY76" fmla="*/ 3102 h 9843"/>
                    <a:gd name="connsiteX77" fmla="*/ 650 w 10000"/>
                    <a:gd name="connsiteY77" fmla="*/ 3085 h 9843"/>
                    <a:gd name="connsiteX78" fmla="*/ 908 w 10000"/>
                    <a:gd name="connsiteY78" fmla="*/ 3085 h 9843"/>
                    <a:gd name="connsiteX79" fmla="*/ 1103 w 10000"/>
                    <a:gd name="connsiteY79" fmla="*/ 3102 h 9843"/>
                    <a:gd name="connsiteX80" fmla="*/ 1103 w 10000"/>
                    <a:gd name="connsiteY80" fmla="*/ 3102 h 9843"/>
                    <a:gd name="connsiteX81" fmla="*/ 1168 w 10000"/>
                    <a:gd name="connsiteY81" fmla="*/ 3102 h 9843"/>
                    <a:gd name="connsiteX82" fmla="*/ 1235 w 10000"/>
                    <a:gd name="connsiteY82" fmla="*/ 3069 h 9843"/>
                    <a:gd name="connsiteX83" fmla="*/ 1559 w 10000"/>
                    <a:gd name="connsiteY83" fmla="*/ 2961 h 9843"/>
                    <a:gd name="connsiteX84" fmla="*/ 2402 w 10000"/>
                    <a:gd name="connsiteY84" fmla="*/ 2605 h 9843"/>
                    <a:gd name="connsiteX85" fmla="*/ 3507 w 10000"/>
                    <a:gd name="connsiteY85" fmla="*/ 2094 h 9843"/>
                    <a:gd name="connsiteX86" fmla="*/ 3507 w 10000"/>
                    <a:gd name="connsiteY86" fmla="*/ 2094 h 9843"/>
                    <a:gd name="connsiteX87" fmla="*/ 3507 w 10000"/>
                    <a:gd name="connsiteY87" fmla="*/ 2021 h 9843"/>
                    <a:gd name="connsiteX88" fmla="*/ 3507 w 10000"/>
                    <a:gd name="connsiteY88" fmla="*/ 1859 h 9843"/>
                    <a:gd name="connsiteX89" fmla="*/ 3573 w 10000"/>
                    <a:gd name="connsiteY89" fmla="*/ 1755 h 9843"/>
                    <a:gd name="connsiteX90" fmla="*/ 3702 w 10000"/>
                    <a:gd name="connsiteY90" fmla="*/ 1665 h 9843"/>
                    <a:gd name="connsiteX91" fmla="*/ 3896 w 10000"/>
                    <a:gd name="connsiteY91" fmla="*/ 1560 h 9843"/>
                    <a:gd name="connsiteX92" fmla="*/ 4156 w 10000"/>
                    <a:gd name="connsiteY92" fmla="*/ 1473 h 9843"/>
                    <a:gd name="connsiteX93" fmla="*/ 4156 w 10000"/>
                    <a:gd name="connsiteY93" fmla="*/ 1473 h 9843"/>
                    <a:gd name="connsiteX94" fmla="*/ 4806 w 10000"/>
                    <a:gd name="connsiteY94" fmla="*/ 1296 h 9843"/>
                    <a:gd name="connsiteX95" fmla="*/ 5455 w 10000"/>
                    <a:gd name="connsiteY95" fmla="*/ 1063 h 9843"/>
                    <a:gd name="connsiteX96" fmla="*/ 6104 w 10000"/>
                    <a:gd name="connsiteY96" fmla="*/ 850 h 9843"/>
                    <a:gd name="connsiteX97" fmla="*/ 6559 w 10000"/>
                    <a:gd name="connsiteY97" fmla="*/ 658 h 9843"/>
                    <a:gd name="connsiteX98" fmla="*/ 6559 w 10000"/>
                    <a:gd name="connsiteY98" fmla="*/ 658 h 9843"/>
                    <a:gd name="connsiteX99" fmla="*/ 6882 w 10000"/>
                    <a:gd name="connsiteY99" fmla="*/ 480 h 9843"/>
                    <a:gd name="connsiteX100" fmla="*/ 7273 w 10000"/>
                    <a:gd name="connsiteY100" fmla="*/ 265 h 9843"/>
                    <a:gd name="connsiteX101" fmla="*/ 7663 w 10000"/>
                    <a:gd name="connsiteY101" fmla="*/ 105 h 9843"/>
                    <a:gd name="connsiteX102" fmla="*/ 7856 w 10000"/>
                    <a:gd name="connsiteY102" fmla="*/ 32 h 9843"/>
                    <a:gd name="connsiteX103" fmla="*/ 8051 w 10000"/>
                    <a:gd name="connsiteY103" fmla="*/ 17 h 9843"/>
                    <a:gd name="connsiteX104" fmla="*/ 8051 w 10000"/>
                    <a:gd name="connsiteY104" fmla="*/ 17 h 9843"/>
                    <a:gd name="connsiteX105" fmla="*/ 8442 w 10000"/>
                    <a:gd name="connsiteY105" fmla="*/ 0 h 9843"/>
                    <a:gd name="connsiteX106" fmla="*/ 8961 w 10000"/>
                    <a:gd name="connsiteY106" fmla="*/ 0 h 9843"/>
                    <a:gd name="connsiteX107" fmla="*/ 10000 w 10000"/>
                    <a:gd name="connsiteY107" fmla="*/ 17 h 9843"/>
                    <a:gd name="connsiteX108" fmla="*/ 3247 w 10000"/>
                    <a:gd name="connsiteY108" fmla="*/ 9752 h 9843"/>
                    <a:gd name="connsiteX109" fmla="*/ 3247 w 10000"/>
                    <a:gd name="connsiteY109" fmla="*/ 9752 h 9843"/>
                    <a:gd name="connsiteX110" fmla="*/ 3117 w 10000"/>
                    <a:gd name="connsiteY110" fmla="*/ 9559 h 9843"/>
                    <a:gd name="connsiteX111" fmla="*/ 3117 w 10000"/>
                    <a:gd name="connsiteY111" fmla="*/ 9559 h 9843"/>
                    <a:gd name="connsiteX112" fmla="*/ 3312 w 10000"/>
                    <a:gd name="connsiteY112" fmla="*/ 9502 h 9843"/>
                    <a:gd name="connsiteX113" fmla="*/ 3443 w 10000"/>
                    <a:gd name="connsiteY113" fmla="*/ 9486 h 9843"/>
                    <a:gd name="connsiteX114" fmla="*/ 2661 w 10000"/>
                    <a:gd name="connsiteY114" fmla="*/ 9502 h 9843"/>
                    <a:gd name="connsiteX0" fmla="*/ 2661 w 10000"/>
                    <a:gd name="connsiteY0" fmla="*/ 9654 h 10000"/>
                    <a:gd name="connsiteX1" fmla="*/ 5389 w 10000"/>
                    <a:gd name="connsiteY1" fmla="*/ 10000 h 10000"/>
                    <a:gd name="connsiteX2" fmla="*/ 5324 w 10000"/>
                    <a:gd name="connsiteY2" fmla="*/ 9946 h 10000"/>
                    <a:gd name="connsiteX3" fmla="*/ 5259 w 10000"/>
                    <a:gd name="connsiteY3" fmla="*/ 9908 h 10000"/>
                    <a:gd name="connsiteX4" fmla="*/ 5128 w 10000"/>
                    <a:gd name="connsiteY4" fmla="*/ 9908 h 10000"/>
                    <a:gd name="connsiteX5" fmla="*/ 4936 w 10000"/>
                    <a:gd name="connsiteY5" fmla="*/ 9929 h 10000"/>
                    <a:gd name="connsiteX6" fmla="*/ 3247 w 10000"/>
                    <a:gd name="connsiteY6" fmla="*/ 9908 h 10000"/>
                    <a:gd name="connsiteX7" fmla="*/ 3247 w 10000"/>
                    <a:gd name="connsiteY7" fmla="*/ 9908 h 10000"/>
                    <a:gd name="connsiteX8" fmla="*/ 3117 w 10000"/>
                    <a:gd name="connsiteY8" fmla="*/ 9855 h 10000"/>
                    <a:gd name="connsiteX9" fmla="*/ 3117 w 10000"/>
                    <a:gd name="connsiteY9" fmla="*/ 9800 h 10000"/>
                    <a:gd name="connsiteX10" fmla="*/ 3117 w 10000"/>
                    <a:gd name="connsiteY10" fmla="*/ 9764 h 10000"/>
                    <a:gd name="connsiteX11" fmla="*/ 3184 w 10000"/>
                    <a:gd name="connsiteY11" fmla="*/ 9727 h 10000"/>
                    <a:gd name="connsiteX12" fmla="*/ 3312 w 10000"/>
                    <a:gd name="connsiteY12" fmla="*/ 9654 h 10000"/>
                    <a:gd name="connsiteX13" fmla="*/ 3443 w 10000"/>
                    <a:gd name="connsiteY13" fmla="*/ 9637 h 10000"/>
                    <a:gd name="connsiteX14" fmla="*/ 3443 w 10000"/>
                    <a:gd name="connsiteY14" fmla="*/ 9637 h 10000"/>
                    <a:gd name="connsiteX15" fmla="*/ 3443 w 10000"/>
                    <a:gd name="connsiteY15" fmla="*/ 9620 h 10000"/>
                    <a:gd name="connsiteX16" fmla="*/ 3507 w 10000"/>
                    <a:gd name="connsiteY16" fmla="*/ 9601 h 10000"/>
                    <a:gd name="connsiteX17" fmla="*/ 7646 w 10000"/>
                    <a:gd name="connsiteY17" fmla="*/ 9324 h 10000"/>
                    <a:gd name="connsiteX18" fmla="*/ 8116 w 10000"/>
                    <a:gd name="connsiteY18" fmla="*/ 9333 h 10000"/>
                    <a:gd name="connsiteX19" fmla="*/ 8116 w 10000"/>
                    <a:gd name="connsiteY19" fmla="*/ 9333 h 10000"/>
                    <a:gd name="connsiteX20" fmla="*/ 8442 w 10000"/>
                    <a:gd name="connsiteY20" fmla="*/ 9297 h 10000"/>
                    <a:gd name="connsiteX21" fmla="*/ 8702 w 10000"/>
                    <a:gd name="connsiteY21" fmla="*/ 9207 h 10000"/>
                    <a:gd name="connsiteX22" fmla="*/ 8636 w 10000"/>
                    <a:gd name="connsiteY22" fmla="*/ 9170 h 10000"/>
                    <a:gd name="connsiteX23" fmla="*/ 8636 w 10000"/>
                    <a:gd name="connsiteY23" fmla="*/ 9134 h 10000"/>
                    <a:gd name="connsiteX24" fmla="*/ 8312 w 10000"/>
                    <a:gd name="connsiteY24" fmla="*/ 9044 h 10000"/>
                    <a:gd name="connsiteX25" fmla="*/ 5975 w 10000"/>
                    <a:gd name="connsiteY25" fmla="*/ 8718 h 10000"/>
                    <a:gd name="connsiteX26" fmla="*/ 5975 w 10000"/>
                    <a:gd name="connsiteY26" fmla="*/ 8718 h 10000"/>
                    <a:gd name="connsiteX27" fmla="*/ 5714 w 10000"/>
                    <a:gd name="connsiteY27" fmla="*/ 8666 h 10000"/>
                    <a:gd name="connsiteX28" fmla="*/ 5519 w 10000"/>
                    <a:gd name="connsiteY28" fmla="*/ 8611 h 10000"/>
                    <a:gd name="connsiteX29" fmla="*/ 5389 w 10000"/>
                    <a:gd name="connsiteY29" fmla="*/ 8557 h 10000"/>
                    <a:gd name="connsiteX30" fmla="*/ 5389 w 10000"/>
                    <a:gd name="connsiteY30" fmla="*/ 8557 h 10000"/>
                    <a:gd name="connsiteX31" fmla="*/ 7729 w 10000"/>
                    <a:gd name="connsiteY31" fmla="*/ 8538 h 10000"/>
                    <a:gd name="connsiteX32" fmla="*/ 10000 w 10000"/>
                    <a:gd name="connsiteY32" fmla="*/ 8718 h 10000"/>
                    <a:gd name="connsiteX33" fmla="*/ 10000 w 10000"/>
                    <a:gd name="connsiteY33" fmla="*/ 7081 h 10000"/>
                    <a:gd name="connsiteX34" fmla="*/ 10000 w 10000"/>
                    <a:gd name="connsiteY34" fmla="*/ 7081 h 10000"/>
                    <a:gd name="connsiteX35" fmla="*/ 7404 w 10000"/>
                    <a:gd name="connsiteY35" fmla="*/ 6700 h 10000"/>
                    <a:gd name="connsiteX36" fmla="*/ 5975 w 10000"/>
                    <a:gd name="connsiteY36" fmla="*/ 6486 h 10000"/>
                    <a:gd name="connsiteX37" fmla="*/ 5975 w 10000"/>
                    <a:gd name="connsiteY37" fmla="*/ 6486 h 10000"/>
                    <a:gd name="connsiteX38" fmla="*/ 5975 w 10000"/>
                    <a:gd name="connsiteY38" fmla="*/ 6468 h 10000"/>
                    <a:gd name="connsiteX39" fmla="*/ 5975 w 10000"/>
                    <a:gd name="connsiteY39" fmla="*/ 6360 h 10000"/>
                    <a:gd name="connsiteX40" fmla="*/ 5975 w 10000"/>
                    <a:gd name="connsiteY40" fmla="*/ 6360 h 10000"/>
                    <a:gd name="connsiteX41" fmla="*/ 5779 w 10000"/>
                    <a:gd name="connsiteY41" fmla="*/ 6231 h 10000"/>
                    <a:gd name="connsiteX42" fmla="*/ 5389 w 10000"/>
                    <a:gd name="connsiteY42" fmla="*/ 6034 h 10000"/>
                    <a:gd name="connsiteX43" fmla="*/ 4545 w 10000"/>
                    <a:gd name="connsiteY43" fmla="*/ 5657 h 10000"/>
                    <a:gd name="connsiteX44" fmla="*/ 4545 w 10000"/>
                    <a:gd name="connsiteY44" fmla="*/ 5657 h 10000"/>
                    <a:gd name="connsiteX45" fmla="*/ 4352 w 10000"/>
                    <a:gd name="connsiteY45" fmla="*/ 5603 h 10000"/>
                    <a:gd name="connsiteX46" fmla="*/ 4026 w 10000"/>
                    <a:gd name="connsiteY46" fmla="*/ 5531 h 10000"/>
                    <a:gd name="connsiteX47" fmla="*/ 3052 w 10000"/>
                    <a:gd name="connsiteY47" fmla="*/ 5368 h 10000"/>
                    <a:gd name="connsiteX48" fmla="*/ 1689 w 10000"/>
                    <a:gd name="connsiteY48" fmla="*/ 5171 h 10000"/>
                    <a:gd name="connsiteX49" fmla="*/ 1689 w 10000"/>
                    <a:gd name="connsiteY49" fmla="*/ 5171 h 10000"/>
                    <a:gd name="connsiteX50" fmla="*/ 1103 w 10000"/>
                    <a:gd name="connsiteY50" fmla="*/ 5151 h 10000"/>
                    <a:gd name="connsiteX51" fmla="*/ 650 w 10000"/>
                    <a:gd name="connsiteY51" fmla="*/ 5134 h 10000"/>
                    <a:gd name="connsiteX52" fmla="*/ 521 w 10000"/>
                    <a:gd name="connsiteY52" fmla="*/ 5115 h 10000"/>
                    <a:gd name="connsiteX53" fmla="*/ 390 w 10000"/>
                    <a:gd name="connsiteY53" fmla="*/ 5098 h 10000"/>
                    <a:gd name="connsiteX54" fmla="*/ 390 w 10000"/>
                    <a:gd name="connsiteY54" fmla="*/ 5098 h 10000"/>
                    <a:gd name="connsiteX55" fmla="*/ 261 w 10000"/>
                    <a:gd name="connsiteY55" fmla="*/ 5024 h 10000"/>
                    <a:gd name="connsiteX56" fmla="*/ 65 w 10000"/>
                    <a:gd name="connsiteY56" fmla="*/ 4902 h 10000"/>
                    <a:gd name="connsiteX57" fmla="*/ 0 w 10000"/>
                    <a:gd name="connsiteY57" fmla="*/ 4829 h 10000"/>
                    <a:gd name="connsiteX58" fmla="*/ 0 w 10000"/>
                    <a:gd name="connsiteY58" fmla="*/ 4755 h 10000"/>
                    <a:gd name="connsiteX59" fmla="*/ 0 w 10000"/>
                    <a:gd name="connsiteY59" fmla="*/ 4702 h 10000"/>
                    <a:gd name="connsiteX60" fmla="*/ 131 w 10000"/>
                    <a:gd name="connsiteY60" fmla="*/ 4647 h 10000"/>
                    <a:gd name="connsiteX61" fmla="*/ 131 w 10000"/>
                    <a:gd name="connsiteY61" fmla="*/ 4647 h 10000"/>
                    <a:gd name="connsiteX62" fmla="*/ 455 w 10000"/>
                    <a:gd name="connsiteY62" fmla="*/ 4557 h 10000"/>
                    <a:gd name="connsiteX63" fmla="*/ 779 w 10000"/>
                    <a:gd name="connsiteY63" fmla="*/ 4469 h 10000"/>
                    <a:gd name="connsiteX64" fmla="*/ 975 w 10000"/>
                    <a:gd name="connsiteY64" fmla="*/ 4415 h 10000"/>
                    <a:gd name="connsiteX65" fmla="*/ 1103 w 10000"/>
                    <a:gd name="connsiteY65" fmla="*/ 4360 h 10000"/>
                    <a:gd name="connsiteX66" fmla="*/ 1103 w 10000"/>
                    <a:gd name="connsiteY66" fmla="*/ 4287 h 10000"/>
                    <a:gd name="connsiteX67" fmla="*/ 1103 w 10000"/>
                    <a:gd name="connsiteY67" fmla="*/ 4197 h 10000"/>
                    <a:gd name="connsiteX68" fmla="*/ 1103 w 10000"/>
                    <a:gd name="connsiteY68" fmla="*/ 4197 h 10000"/>
                    <a:gd name="connsiteX69" fmla="*/ 845 w 10000"/>
                    <a:gd name="connsiteY69" fmla="*/ 3945 h 10000"/>
                    <a:gd name="connsiteX70" fmla="*/ 521 w 10000"/>
                    <a:gd name="connsiteY70" fmla="*/ 3603 h 10000"/>
                    <a:gd name="connsiteX71" fmla="*/ 261 w 10000"/>
                    <a:gd name="connsiteY71" fmla="*/ 3295 h 10000"/>
                    <a:gd name="connsiteX72" fmla="*/ 195 w 10000"/>
                    <a:gd name="connsiteY72" fmla="*/ 3206 h 10000"/>
                    <a:gd name="connsiteX73" fmla="*/ 195 w 10000"/>
                    <a:gd name="connsiteY73" fmla="*/ 3171 h 10000"/>
                    <a:gd name="connsiteX74" fmla="*/ 261 w 10000"/>
                    <a:gd name="connsiteY74" fmla="*/ 3151 h 10000"/>
                    <a:gd name="connsiteX75" fmla="*/ 261 w 10000"/>
                    <a:gd name="connsiteY75" fmla="*/ 3151 h 10000"/>
                    <a:gd name="connsiteX76" fmla="*/ 650 w 10000"/>
                    <a:gd name="connsiteY76" fmla="*/ 3134 h 10000"/>
                    <a:gd name="connsiteX77" fmla="*/ 908 w 10000"/>
                    <a:gd name="connsiteY77" fmla="*/ 3134 h 10000"/>
                    <a:gd name="connsiteX78" fmla="*/ 1103 w 10000"/>
                    <a:gd name="connsiteY78" fmla="*/ 3151 h 10000"/>
                    <a:gd name="connsiteX79" fmla="*/ 1103 w 10000"/>
                    <a:gd name="connsiteY79" fmla="*/ 3151 h 10000"/>
                    <a:gd name="connsiteX80" fmla="*/ 1168 w 10000"/>
                    <a:gd name="connsiteY80" fmla="*/ 3151 h 10000"/>
                    <a:gd name="connsiteX81" fmla="*/ 1235 w 10000"/>
                    <a:gd name="connsiteY81" fmla="*/ 3118 h 10000"/>
                    <a:gd name="connsiteX82" fmla="*/ 1559 w 10000"/>
                    <a:gd name="connsiteY82" fmla="*/ 3008 h 10000"/>
                    <a:gd name="connsiteX83" fmla="*/ 2402 w 10000"/>
                    <a:gd name="connsiteY83" fmla="*/ 2647 h 10000"/>
                    <a:gd name="connsiteX84" fmla="*/ 3507 w 10000"/>
                    <a:gd name="connsiteY84" fmla="*/ 2127 h 10000"/>
                    <a:gd name="connsiteX85" fmla="*/ 3507 w 10000"/>
                    <a:gd name="connsiteY85" fmla="*/ 2127 h 10000"/>
                    <a:gd name="connsiteX86" fmla="*/ 3507 w 10000"/>
                    <a:gd name="connsiteY86" fmla="*/ 2053 h 10000"/>
                    <a:gd name="connsiteX87" fmla="*/ 3507 w 10000"/>
                    <a:gd name="connsiteY87" fmla="*/ 1889 h 10000"/>
                    <a:gd name="connsiteX88" fmla="*/ 3573 w 10000"/>
                    <a:gd name="connsiteY88" fmla="*/ 1783 h 10000"/>
                    <a:gd name="connsiteX89" fmla="*/ 3702 w 10000"/>
                    <a:gd name="connsiteY89" fmla="*/ 1692 h 10000"/>
                    <a:gd name="connsiteX90" fmla="*/ 3896 w 10000"/>
                    <a:gd name="connsiteY90" fmla="*/ 1585 h 10000"/>
                    <a:gd name="connsiteX91" fmla="*/ 4156 w 10000"/>
                    <a:gd name="connsiteY91" fmla="*/ 1496 h 10000"/>
                    <a:gd name="connsiteX92" fmla="*/ 4156 w 10000"/>
                    <a:gd name="connsiteY92" fmla="*/ 1496 h 10000"/>
                    <a:gd name="connsiteX93" fmla="*/ 4806 w 10000"/>
                    <a:gd name="connsiteY93" fmla="*/ 1317 h 10000"/>
                    <a:gd name="connsiteX94" fmla="*/ 5455 w 10000"/>
                    <a:gd name="connsiteY94" fmla="*/ 1080 h 10000"/>
                    <a:gd name="connsiteX95" fmla="*/ 6104 w 10000"/>
                    <a:gd name="connsiteY95" fmla="*/ 864 h 10000"/>
                    <a:gd name="connsiteX96" fmla="*/ 6559 w 10000"/>
                    <a:gd name="connsiteY96" fmla="*/ 668 h 10000"/>
                    <a:gd name="connsiteX97" fmla="*/ 6559 w 10000"/>
                    <a:gd name="connsiteY97" fmla="*/ 668 h 10000"/>
                    <a:gd name="connsiteX98" fmla="*/ 6882 w 10000"/>
                    <a:gd name="connsiteY98" fmla="*/ 488 h 10000"/>
                    <a:gd name="connsiteX99" fmla="*/ 7273 w 10000"/>
                    <a:gd name="connsiteY99" fmla="*/ 269 h 10000"/>
                    <a:gd name="connsiteX100" fmla="*/ 7663 w 10000"/>
                    <a:gd name="connsiteY100" fmla="*/ 107 h 10000"/>
                    <a:gd name="connsiteX101" fmla="*/ 7856 w 10000"/>
                    <a:gd name="connsiteY101" fmla="*/ 33 h 10000"/>
                    <a:gd name="connsiteX102" fmla="*/ 8051 w 10000"/>
                    <a:gd name="connsiteY102" fmla="*/ 17 h 10000"/>
                    <a:gd name="connsiteX103" fmla="*/ 8051 w 10000"/>
                    <a:gd name="connsiteY103" fmla="*/ 17 h 10000"/>
                    <a:gd name="connsiteX104" fmla="*/ 8442 w 10000"/>
                    <a:gd name="connsiteY104" fmla="*/ 0 h 10000"/>
                    <a:gd name="connsiteX105" fmla="*/ 8961 w 10000"/>
                    <a:gd name="connsiteY105" fmla="*/ 0 h 10000"/>
                    <a:gd name="connsiteX106" fmla="*/ 10000 w 10000"/>
                    <a:gd name="connsiteY106" fmla="*/ 17 h 10000"/>
                    <a:gd name="connsiteX107" fmla="*/ 3247 w 10000"/>
                    <a:gd name="connsiteY107" fmla="*/ 9908 h 10000"/>
                    <a:gd name="connsiteX108" fmla="*/ 3247 w 10000"/>
                    <a:gd name="connsiteY108" fmla="*/ 9908 h 10000"/>
                    <a:gd name="connsiteX109" fmla="*/ 3117 w 10000"/>
                    <a:gd name="connsiteY109" fmla="*/ 9711 h 10000"/>
                    <a:gd name="connsiteX110" fmla="*/ 3117 w 10000"/>
                    <a:gd name="connsiteY110" fmla="*/ 9711 h 10000"/>
                    <a:gd name="connsiteX111" fmla="*/ 3312 w 10000"/>
                    <a:gd name="connsiteY111" fmla="*/ 9654 h 10000"/>
                    <a:gd name="connsiteX112" fmla="*/ 3443 w 10000"/>
                    <a:gd name="connsiteY112" fmla="*/ 9637 h 10000"/>
                    <a:gd name="connsiteX113" fmla="*/ 2661 w 10000"/>
                    <a:gd name="connsiteY113" fmla="*/ 9654 h 10000"/>
                    <a:gd name="connsiteX0" fmla="*/ 2661 w 10000"/>
                    <a:gd name="connsiteY0" fmla="*/ 9654 h 10000"/>
                    <a:gd name="connsiteX1" fmla="*/ 5389 w 10000"/>
                    <a:gd name="connsiteY1" fmla="*/ 10000 h 10000"/>
                    <a:gd name="connsiteX2" fmla="*/ 5324 w 10000"/>
                    <a:gd name="connsiteY2" fmla="*/ 9946 h 10000"/>
                    <a:gd name="connsiteX3" fmla="*/ 5259 w 10000"/>
                    <a:gd name="connsiteY3" fmla="*/ 9908 h 10000"/>
                    <a:gd name="connsiteX4" fmla="*/ 5128 w 10000"/>
                    <a:gd name="connsiteY4" fmla="*/ 9908 h 10000"/>
                    <a:gd name="connsiteX5" fmla="*/ 3247 w 10000"/>
                    <a:gd name="connsiteY5" fmla="*/ 9908 h 10000"/>
                    <a:gd name="connsiteX6" fmla="*/ 3247 w 10000"/>
                    <a:gd name="connsiteY6" fmla="*/ 9908 h 10000"/>
                    <a:gd name="connsiteX7" fmla="*/ 3117 w 10000"/>
                    <a:gd name="connsiteY7" fmla="*/ 9855 h 10000"/>
                    <a:gd name="connsiteX8" fmla="*/ 3117 w 10000"/>
                    <a:gd name="connsiteY8" fmla="*/ 9800 h 10000"/>
                    <a:gd name="connsiteX9" fmla="*/ 3117 w 10000"/>
                    <a:gd name="connsiteY9" fmla="*/ 9764 h 10000"/>
                    <a:gd name="connsiteX10" fmla="*/ 3184 w 10000"/>
                    <a:gd name="connsiteY10" fmla="*/ 9727 h 10000"/>
                    <a:gd name="connsiteX11" fmla="*/ 3312 w 10000"/>
                    <a:gd name="connsiteY11" fmla="*/ 9654 h 10000"/>
                    <a:gd name="connsiteX12" fmla="*/ 3443 w 10000"/>
                    <a:gd name="connsiteY12" fmla="*/ 9637 h 10000"/>
                    <a:gd name="connsiteX13" fmla="*/ 3443 w 10000"/>
                    <a:gd name="connsiteY13" fmla="*/ 9637 h 10000"/>
                    <a:gd name="connsiteX14" fmla="*/ 3443 w 10000"/>
                    <a:gd name="connsiteY14" fmla="*/ 9620 h 10000"/>
                    <a:gd name="connsiteX15" fmla="*/ 3507 w 10000"/>
                    <a:gd name="connsiteY15" fmla="*/ 9601 h 10000"/>
                    <a:gd name="connsiteX16" fmla="*/ 7646 w 10000"/>
                    <a:gd name="connsiteY16" fmla="*/ 9324 h 10000"/>
                    <a:gd name="connsiteX17" fmla="*/ 8116 w 10000"/>
                    <a:gd name="connsiteY17" fmla="*/ 9333 h 10000"/>
                    <a:gd name="connsiteX18" fmla="*/ 8116 w 10000"/>
                    <a:gd name="connsiteY18" fmla="*/ 9333 h 10000"/>
                    <a:gd name="connsiteX19" fmla="*/ 8442 w 10000"/>
                    <a:gd name="connsiteY19" fmla="*/ 9297 h 10000"/>
                    <a:gd name="connsiteX20" fmla="*/ 8702 w 10000"/>
                    <a:gd name="connsiteY20" fmla="*/ 9207 h 10000"/>
                    <a:gd name="connsiteX21" fmla="*/ 8636 w 10000"/>
                    <a:gd name="connsiteY21" fmla="*/ 9170 h 10000"/>
                    <a:gd name="connsiteX22" fmla="*/ 8636 w 10000"/>
                    <a:gd name="connsiteY22" fmla="*/ 9134 h 10000"/>
                    <a:gd name="connsiteX23" fmla="*/ 8312 w 10000"/>
                    <a:gd name="connsiteY23" fmla="*/ 9044 h 10000"/>
                    <a:gd name="connsiteX24" fmla="*/ 5975 w 10000"/>
                    <a:gd name="connsiteY24" fmla="*/ 8718 h 10000"/>
                    <a:gd name="connsiteX25" fmla="*/ 5975 w 10000"/>
                    <a:gd name="connsiteY25" fmla="*/ 8718 h 10000"/>
                    <a:gd name="connsiteX26" fmla="*/ 5714 w 10000"/>
                    <a:gd name="connsiteY26" fmla="*/ 8666 h 10000"/>
                    <a:gd name="connsiteX27" fmla="*/ 5519 w 10000"/>
                    <a:gd name="connsiteY27" fmla="*/ 8611 h 10000"/>
                    <a:gd name="connsiteX28" fmla="*/ 5389 w 10000"/>
                    <a:gd name="connsiteY28" fmla="*/ 8557 h 10000"/>
                    <a:gd name="connsiteX29" fmla="*/ 5389 w 10000"/>
                    <a:gd name="connsiteY29" fmla="*/ 8557 h 10000"/>
                    <a:gd name="connsiteX30" fmla="*/ 7729 w 10000"/>
                    <a:gd name="connsiteY30" fmla="*/ 8538 h 10000"/>
                    <a:gd name="connsiteX31" fmla="*/ 10000 w 10000"/>
                    <a:gd name="connsiteY31" fmla="*/ 8718 h 10000"/>
                    <a:gd name="connsiteX32" fmla="*/ 10000 w 10000"/>
                    <a:gd name="connsiteY32" fmla="*/ 7081 h 10000"/>
                    <a:gd name="connsiteX33" fmla="*/ 10000 w 10000"/>
                    <a:gd name="connsiteY33" fmla="*/ 7081 h 10000"/>
                    <a:gd name="connsiteX34" fmla="*/ 7404 w 10000"/>
                    <a:gd name="connsiteY34" fmla="*/ 6700 h 10000"/>
                    <a:gd name="connsiteX35" fmla="*/ 5975 w 10000"/>
                    <a:gd name="connsiteY35" fmla="*/ 6486 h 10000"/>
                    <a:gd name="connsiteX36" fmla="*/ 5975 w 10000"/>
                    <a:gd name="connsiteY36" fmla="*/ 6486 h 10000"/>
                    <a:gd name="connsiteX37" fmla="*/ 5975 w 10000"/>
                    <a:gd name="connsiteY37" fmla="*/ 6468 h 10000"/>
                    <a:gd name="connsiteX38" fmla="*/ 5975 w 10000"/>
                    <a:gd name="connsiteY38" fmla="*/ 6360 h 10000"/>
                    <a:gd name="connsiteX39" fmla="*/ 5975 w 10000"/>
                    <a:gd name="connsiteY39" fmla="*/ 6360 h 10000"/>
                    <a:gd name="connsiteX40" fmla="*/ 5779 w 10000"/>
                    <a:gd name="connsiteY40" fmla="*/ 6231 h 10000"/>
                    <a:gd name="connsiteX41" fmla="*/ 5389 w 10000"/>
                    <a:gd name="connsiteY41" fmla="*/ 6034 h 10000"/>
                    <a:gd name="connsiteX42" fmla="*/ 4545 w 10000"/>
                    <a:gd name="connsiteY42" fmla="*/ 5657 h 10000"/>
                    <a:gd name="connsiteX43" fmla="*/ 4545 w 10000"/>
                    <a:gd name="connsiteY43" fmla="*/ 5657 h 10000"/>
                    <a:gd name="connsiteX44" fmla="*/ 4352 w 10000"/>
                    <a:gd name="connsiteY44" fmla="*/ 5603 h 10000"/>
                    <a:gd name="connsiteX45" fmla="*/ 4026 w 10000"/>
                    <a:gd name="connsiteY45" fmla="*/ 5531 h 10000"/>
                    <a:gd name="connsiteX46" fmla="*/ 3052 w 10000"/>
                    <a:gd name="connsiteY46" fmla="*/ 5368 h 10000"/>
                    <a:gd name="connsiteX47" fmla="*/ 1689 w 10000"/>
                    <a:gd name="connsiteY47" fmla="*/ 5171 h 10000"/>
                    <a:gd name="connsiteX48" fmla="*/ 1689 w 10000"/>
                    <a:gd name="connsiteY48" fmla="*/ 5171 h 10000"/>
                    <a:gd name="connsiteX49" fmla="*/ 1103 w 10000"/>
                    <a:gd name="connsiteY49" fmla="*/ 5151 h 10000"/>
                    <a:gd name="connsiteX50" fmla="*/ 650 w 10000"/>
                    <a:gd name="connsiteY50" fmla="*/ 5134 h 10000"/>
                    <a:gd name="connsiteX51" fmla="*/ 521 w 10000"/>
                    <a:gd name="connsiteY51" fmla="*/ 5115 h 10000"/>
                    <a:gd name="connsiteX52" fmla="*/ 390 w 10000"/>
                    <a:gd name="connsiteY52" fmla="*/ 5098 h 10000"/>
                    <a:gd name="connsiteX53" fmla="*/ 390 w 10000"/>
                    <a:gd name="connsiteY53" fmla="*/ 5098 h 10000"/>
                    <a:gd name="connsiteX54" fmla="*/ 261 w 10000"/>
                    <a:gd name="connsiteY54" fmla="*/ 5024 h 10000"/>
                    <a:gd name="connsiteX55" fmla="*/ 65 w 10000"/>
                    <a:gd name="connsiteY55" fmla="*/ 4902 h 10000"/>
                    <a:gd name="connsiteX56" fmla="*/ 0 w 10000"/>
                    <a:gd name="connsiteY56" fmla="*/ 4829 h 10000"/>
                    <a:gd name="connsiteX57" fmla="*/ 0 w 10000"/>
                    <a:gd name="connsiteY57" fmla="*/ 4755 h 10000"/>
                    <a:gd name="connsiteX58" fmla="*/ 0 w 10000"/>
                    <a:gd name="connsiteY58" fmla="*/ 4702 h 10000"/>
                    <a:gd name="connsiteX59" fmla="*/ 131 w 10000"/>
                    <a:gd name="connsiteY59" fmla="*/ 4647 h 10000"/>
                    <a:gd name="connsiteX60" fmla="*/ 131 w 10000"/>
                    <a:gd name="connsiteY60" fmla="*/ 4647 h 10000"/>
                    <a:gd name="connsiteX61" fmla="*/ 455 w 10000"/>
                    <a:gd name="connsiteY61" fmla="*/ 4557 h 10000"/>
                    <a:gd name="connsiteX62" fmla="*/ 779 w 10000"/>
                    <a:gd name="connsiteY62" fmla="*/ 4469 h 10000"/>
                    <a:gd name="connsiteX63" fmla="*/ 975 w 10000"/>
                    <a:gd name="connsiteY63" fmla="*/ 4415 h 10000"/>
                    <a:gd name="connsiteX64" fmla="*/ 1103 w 10000"/>
                    <a:gd name="connsiteY64" fmla="*/ 4360 h 10000"/>
                    <a:gd name="connsiteX65" fmla="*/ 1103 w 10000"/>
                    <a:gd name="connsiteY65" fmla="*/ 4287 h 10000"/>
                    <a:gd name="connsiteX66" fmla="*/ 1103 w 10000"/>
                    <a:gd name="connsiteY66" fmla="*/ 4197 h 10000"/>
                    <a:gd name="connsiteX67" fmla="*/ 1103 w 10000"/>
                    <a:gd name="connsiteY67" fmla="*/ 4197 h 10000"/>
                    <a:gd name="connsiteX68" fmla="*/ 845 w 10000"/>
                    <a:gd name="connsiteY68" fmla="*/ 3945 h 10000"/>
                    <a:gd name="connsiteX69" fmla="*/ 521 w 10000"/>
                    <a:gd name="connsiteY69" fmla="*/ 3603 h 10000"/>
                    <a:gd name="connsiteX70" fmla="*/ 261 w 10000"/>
                    <a:gd name="connsiteY70" fmla="*/ 3295 h 10000"/>
                    <a:gd name="connsiteX71" fmla="*/ 195 w 10000"/>
                    <a:gd name="connsiteY71" fmla="*/ 3206 h 10000"/>
                    <a:gd name="connsiteX72" fmla="*/ 195 w 10000"/>
                    <a:gd name="connsiteY72" fmla="*/ 3171 h 10000"/>
                    <a:gd name="connsiteX73" fmla="*/ 261 w 10000"/>
                    <a:gd name="connsiteY73" fmla="*/ 3151 h 10000"/>
                    <a:gd name="connsiteX74" fmla="*/ 261 w 10000"/>
                    <a:gd name="connsiteY74" fmla="*/ 3151 h 10000"/>
                    <a:gd name="connsiteX75" fmla="*/ 650 w 10000"/>
                    <a:gd name="connsiteY75" fmla="*/ 3134 h 10000"/>
                    <a:gd name="connsiteX76" fmla="*/ 908 w 10000"/>
                    <a:gd name="connsiteY76" fmla="*/ 3134 h 10000"/>
                    <a:gd name="connsiteX77" fmla="*/ 1103 w 10000"/>
                    <a:gd name="connsiteY77" fmla="*/ 3151 h 10000"/>
                    <a:gd name="connsiteX78" fmla="*/ 1103 w 10000"/>
                    <a:gd name="connsiteY78" fmla="*/ 3151 h 10000"/>
                    <a:gd name="connsiteX79" fmla="*/ 1168 w 10000"/>
                    <a:gd name="connsiteY79" fmla="*/ 3151 h 10000"/>
                    <a:gd name="connsiteX80" fmla="*/ 1235 w 10000"/>
                    <a:gd name="connsiteY80" fmla="*/ 3118 h 10000"/>
                    <a:gd name="connsiteX81" fmla="*/ 1559 w 10000"/>
                    <a:gd name="connsiteY81" fmla="*/ 3008 h 10000"/>
                    <a:gd name="connsiteX82" fmla="*/ 2402 w 10000"/>
                    <a:gd name="connsiteY82" fmla="*/ 2647 h 10000"/>
                    <a:gd name="connsiteX83" fmla="*/ 3507 w 10000"/>
                    <a:gd name="connsiteY83" fmla="*/ 2127 h 10000"/>
                    <a:gd name="connsiteX84" fmla="*/ 3507 w 10000"/>
                    <a:gd name="connsiteY84" fmla="*/ 2127 h 10000"/>
                    <a:gd name="connsiteX85" fmla="*/ 3507 w 10000"/>
                    <a:gd name="connsiteY85" fmla="*/ 2053 h 10000"/>
                    <a:gd name="connsiteX86" fmla="*/ 3507 w 10000"/>
                    <a:gd name="connsiteY86" fmla="*/ 1889 h 10000"/>
                    <a:gd name="connsiteX87" fmla="*/ 3573 w 10000"/>
                    <a:gd name="connsiteY87" fmla="*/ 1783 h 10000"/>
                    <a:gd name="connsiteX88" fmla="*/ 3702 w 10000"/>
                    <a:gd name="connsiteY88" fmla="*/ 1692 h 10000"/>
                    <a:gd name="connsiteX89" fmla="*/ 3896 w 10000"/>
                    <a:gd name="connsiteY89" fmla="*/ 1585 h 10000"/>
                    <a:gd name="connsiteX90" fmla="*/ 4156 w 10000"/>
                    <a:gd name="connsiteY90" fmla="*/ 1496 h 10000"/>
                    <a:gd name="connsiteX91" fmla="*/ 4156 w 10000"/>
                    <a:gd name="connsiteY91" fmla="*/ 1496 h 10000"/>
                    <a:gd name="connsiteX92" fmla="*/ 4806 w 10000"/>
                    <a:gd name="connsiteY92" fmla="*/ 1317 h 10000"/>
                    <a:gd name="connsiteX93" fmla="*/ 5455 w 10000"/>
                    <a:gd name="connsiteY93" fmla="*/ 1080 h 10000"/>
                    <a:gd name="connsiteX94" fmla="*/ 6104 w 10000"/>
                    <a:gd name="connsiteY94" fmla="*/ 864 h 10000"/>
                    <a:gd name="connsiteX95" fmla="*/ 6559 w 10000"/>
                    <a:gd name="connsiteY95" fmla="*/ 668 h 10000"/>
                    <a:gd name="connsiteX96" fmla="*/ 6559 w 10000"/>
                    <a:gd name="connsiteY96" fmla="*/ 668 h 10000"/>
                    <a:gd name="connsiteX97" fmla="*/ 6882 w 10000"/>
                    <a:gd name="connsiteY97" fmla="*/ 488 h 10000"/>
                    <a:gd name="connsiteX98" fmla="*/ 7273 w 10000"/>
                    <a:gd name="connsiteY98" fmla="*/ 269 h 10000"/>
                    <a:gd name="connsiteX99" fmla="*/ 7663 w 10000"/>
                    <a:gd name="connsiteY99" fmla="*/ 107 h 10000"/>
                    <a:gd name="connsiteX100" fmla="*/ 7856 w 10000"/>
                    <a:gd name="connsiteY100" fmla="*/ 33 h 10000"/>
                    <a:gd name="connsiteX101" fmla="*/ 8051 w 10000"/>
                    <a:gd name="connsiteY101" fmla="*/ 17 h 10000"/>
                    <a:gd name="connsiteX102" fmla="*/ 8051 w 10000"/>
                    <a:gd name="connsiteY102" fmla="*/ 17 h 10000"/>
                    <a:gd name="connsiteX103" fmla="*/ 8442 w 10000"/>
                    <a:gd name="connsiteY103" fmla="*/ 0 h 10000"/>
                    <a:gd name="connsiteX104" fmla="*/ 8961 w 10000"/>
                    <a:gd name="connsiteY104" fmla="*/ 0 h 10000"/>
                    <a:gd name="connsiteX105" fmla="*/ 10000 w 10000"/>
                    <a:gd name="connsiteY105" fmla="*/ 17 h 10000"/>
                    <a:gd name="connsiteX106" fmla="*/ 3247 w 10000"/>
                    <a:gd name="connsiteY106" fmla="*/ 9908 h 10000"/>
                    <a:gd name="connsiteX107" fmla="*/ 3247 w 10000"/>
                    <a:gd name="connsiteY107" fmla="*/ 9908 h 10000"/>
                    <a:gd name="connsiteX108" fmla="*/ 3117 w 10000"/>
                    <a:gd name="connsiteY108" fmla="*/ 9711 h 10000"/>
                    <a:gd name="connsiteX109" fmla="*/ 3117 w 10000"/>
                    <a:gd name="connsiteY109" fmla="*/ 9711 h 10000"/>
                    <a:gd name="connsiteX110" fmla="*/ 3312 w 10000"/>
                    <a:gd name="connsiteY110" fmla="*/ 9654 h 10000"/>
                    <a:gd name="connsiteX111" fmla="*/ 3443 w 10000"/>
                    <a:gd name="connsiteY111" fmla="*/ 9637 h 10000"/>
                    <a:gd name="connsiteX112" fmla="*/ 2661 w 10000"/>
                    <a:gd name="connsiteY112" fmla="*/ 9654 h 10000"/>
                    <a:gd name="connsiteX0" fmla="*/ 2661 w 10000"/>
                    <a:gd name="connsiteY0" fmla="*/ 9654 h 10000"/>
                    <a:gd name="connsiteX1" fmla="*/ 5389 w 10000"/>
                    <a:gd name="connsiteY1" fmla="*/ 10000 h 10000"/>
                    <a:gd name="connsiteX2" fmla="*/ 5324 w 10000"/>
                    <a:gd name="connsiteY2" fmla="*/ 9946 h 10000"/>
                    <a:gd name="connsiteX3" fmla="*/ 5259 w 10000"/>
                    <a:gd name="connsiteY3" fmla="*/ 9908 h 10000"/>
                    <a:gd name="connsiteX4" fmla="*/ 3247 w 10000"/>
                    <a:gd name="connsiteY4" fmla="*/ 9908 h 10000"/>
                    <a:gd name="connsiteX5" fmla="*/ 3247 w 10000"/>
                    <a:gd name="connsiteY5" fmla="*/ 9908 h 10000"/>
                    <a:gd name="connsiteX6" fmla="*/ 3117 w 10000"/>
                    <a:gd name="connsiteY6" fmla="*/ 9855 h 10000"/>
                    <a:gd name="connsiteX7" fmla="*/ 3117 w 10000"/>
                    <a:gd name="connsiteY7" fmla="*/ 9800 h 10000"/>
                    <a:gd name="connsiteX8" fmla="*/ 3117 w 10000"/>
                    <a:gd name="connsiteY8" fmla="*/ 9764 h 10000"/>
                    <a:gd name="connsiteX9" fmla="*/ 3184 w 10000"/>
                    <a:gd name="connsiteY9" fmla="*/ 9727 h 10000"/>
                    <a:gd name="connsiteX10" fmla="*/ 3312 w 10000"/>
                    <a:gd name="connsiteY10" fmla="*/ 9654 h 10000"/>
                    <a:gd name="connsiteX11" fmla="*/ 3443 w 10000"/>
                    <a:gd name="connsiteY11" fmla="*/ 9637 h 10000"/>
                    <a:gd name="connsiteX12" fmla="*/ 3443 w 10000"/>
                    <a:gd name="connsiteY12" fmla="*/ 9637 h 10000"/>
                    <a:gd name="connsiteX13" fmla="*/ 3443 w 10000"/>
                    <a:gd name="connsiteY13" fmla="*/ 9620 h 10000"/>
                    <a:gd name="connsiteX14" fmla="*/ 3507 w 10000"/>
                    <a:gd name="connsiteY14" fmla="*/ 9601 h 10000"/>
                    <a:gd name="connsiteX15" fmla="*/ 7646 w 10000"/>
                    <a:gd name="connsiteY15" fmla="*/ 9324 h 10000"/>
                    <a:gd name="connsiteX16" fmla="*/ 8116 w 10000"/>
                    <a:gd name="connsiteY16" fmla="*/ 9333 h 10000"/>
                    <a:gd name="connsiteX17" fmla="*/ 8116 w 10000"/>
                    <a:gd name="connsiteY17" fmla="*/ 9333 h 10000"/>
                    <a:gd name="connsiteX18" fmla="*/ 8442 w 10000"/>
                    <a:gd name="connsiteY18" fmla="*/ 9297 h 10000"/>
                    <a:gd name="connsiteX19" fmla="*/ 8702 w 10000"/>
                    <a:gd name="connsiteY19" fmla="*/ 9207 h 10000"/>
                    <a:gd name="connsiteX20" fmla="*/ 8636 w 10000"/>
                    <a:gd name="connsiteY20" fmla="*/ 9170 h 10000"/>
                    <a:gd name="connsiteX21" fmla="*/ 8636 w 10000"/>
                    <a:gd name="connsiteY21" fmla="*/ 9134 h 10000"/>
                    <a:gd name="connsiteX22" fmla="*/ 8312 w 10000"/>
                    <a:gd name="connsiteY22" fmla="*/ 9044 h 10000"/>
                    <a:gd name="connsiteX23" fmla="*/ 5975 w 10000"/>
                    <a:gd name="connsiteY23" fmla="*/ 8718 h 10000"/>
                    <a:gd name="connsiteX24" fmla="*/ 5975 w 10000"/>
                    <a:gd name="connsiteY24" fmla="*/ 8718 h 10000"/>
                    <a:gd name="connsiteX25" fmla="*/ 5714 w 10000"/>
                    <a:gd name="connsiteY25" fmla="*/ 8666 h 10000"/>
                    <a:gd name="connsiteX26" fmla="*/ 5519 w 10000"/>
                    <a:gd name="connsiteY26" fmla="*/ 8611 h 10000"/>
                    <a:gd name="connsiteX27" fmla="*/ 5389 w 10000"/>
                    <a:gd name="connsiteY27" fmla="*/ 8557 h 10000"/>
                    <a:gd name="connsiteX28" fmla="*/ 5389 w 10000"/>
                    <a:gd name="connsiteY28" fmla="*/ 8557 h 10000"/>
                    <a:gd name="connsiteX29" fmla="*/ 7729 w 10000"/>
                    <a:gd name="connsiteY29" fmla="*/ 8538 h 10000"/>
                    <a:gd name="connsiteX30" fmla="*/ 10000 w 10000"/>
                    <a:gd name="connsiteY30" fmla="*/ 8718 h 10000"/>
                    <a:gd name="connsiteX31" fmla="*/ 10000 w 10000"/>
                    <a:gd name="connsiteY31" fmla="*/ 7081 h 10000"/>
                    <a:gd name="connsiteX32" fmla="*/ 10000 w 10000"/>
                    <a:gd name="connsiteY32" fmla="*/ 7081 h 10000"/>
                    <a:gd name="connsiteX33" fmla="*/ 7404 w 10000"/>
                    <a:gd name="connsiteY33" fmla="*/ 6700 h 10000"/>
                    <a:gd name="connsiteX34" fmla="*/ 5975 w 10000"/>
                    <a:gd name="connsiteY34" fmla="*/ 6486 h 10000"/>
                    <a:gd name="connsiteX35" fmla="*/ 5975 w 10000"/>
                    <a:gd name="connsiteY35" fmla="*/ 6486 h 10000"/>
                    <a:gd name="connsiteX36" fmla="*/ 5975 w 10000"/>
                    <a:gd name="connsiteY36" fmla="*/ 6468 h 10000"/>
                    <a:gd name="connsiteX37" fmla="*/ 5975 w 10000"/>
                    <a:gd name="connsiteY37" fmla="*/ 6360 h 10000"/>
                    <a:gd name="connsiteX38" fmla="*/ 5975 w 10000"/>
                    <a:gd name="connsiteY38" fmla="*/ 6360 h 10000"/>
                    <a:gd name="connsiteX39" fmla="*/ 5779 w 10000"/>
                    <a:gd name="connsiteY39" fmla="*/ 6231 h 10000"/>
                    <a:gd name="connsiteX40" fmla="*/ 5389 w 10000"/>
                    <a:gd name="connsiteY40" fmla="*/ 6034 h 10000"/>
                    <a:gd name="connsiteX41" fmla="*/ 4545 w 10000"/>
                    <a:gd name="connsiteY41" fmla="*/ 5657 h 10000"/>
                    <a:gd name="connsiteX42" fmla="*/ 4545 w 10000"/>
                    <a:gd name="connsiteY42" fmla="*/ 5657 h 10000"/>
                    <a:gd name="connsiteX43" fmla="*/ 4352 w 10000"/>
                    <a:gd name="connsiteY43" fmla="*/ 5603 h 10000"/>
                    <a:gd name="connsiteX44" fmla="*/ 4026 w 10000"/>
                    <a:gd name="connsiteY44" fmla="*/ 5531 h 10000"/>
                    <a:gd name="connsiteX45" fmla="*/ 3052 w 10000"/>
                    <a:gd name="connsiteY45" fmla="*/ 5368 h 10000"/>
                    <a:gd name="connsiteX46" fmla="*/ 1689 w 10000"/>
                    <a:gd name="connsiteY46" fmla="*/ 5171 h 10000"/>
                    <a:gd name="connsiteX47" fmla="*/ 1689 w 10000"/>
                    <a:gd name="connsiteY47" fmla="*/ 5171 h 10000"/>
                    <a:gd name="connsiteX48" fmla="*/ 1103 w 10000"/>
                    <a:gd name="connsiteY48" fmla="*/ 5151 h 10000"/>
                    <a:gd name="connsiteX49" fmla="*/ 650 w 10000"/>
                    <a:gd name="connsiteY49" fmla="*/ 5134 h 10000"/>
                    <a:gd name="connsiteX50" fmla="*/ 521 w 10000"/>
                    <a:gd name="connsiteY50" fmla="*/ 5115 h 10000"/>
                    <a:gd name="connsiteX51" fmla="*/ 390 w 10000"/>
                    <a:gd name="connsiteY51" fmla="*/ 5098 h 10000"/>
                    <a:gd name="connsiteX52" fmla="*/ 390 w 10000"/>
                    <a:gd name="connsiteY52" fmla="*/ 5098 h 10000"/>
                    <a:gd name="connsiteX53" fmla="*/ 261 w 10000"/>
                    <a:gd name="connsiteY53" fmla="*/ 5024 h 10000"/>
                    <a:gd name="connsiteX54" fmla="*/ 65 w 10000"/>
                    <a:gd name="connsiteY54" fmla="*/ 4902 h 10000"/>
                    <a:gd name="connsiteX55" fmla="*/ 0 w 10000"/>
                    <a:gd name="connsiteY55" fmla="*/ 4829 h 10000"/>
                    <a:gd name="connsiteX56" fmla="*/ 0 w 10000"/>
                    <a:gd name="connsiteY56" fmla="*/ 4755 h 10000"/>
                    <a:gd name="connsiteX57" fmla="*/ 0 w 10000"/>
                    <a:gd name="connsiteY57" fmla="*/ 4702 h 10000"/>
                    <a:gd name="connsiteX58" fmla="*/ 131 w 10000"/>
                    <a:gd name="connsiteY58" fmla="*/ 4647 h 10000"/>
                    <a:gd name="connsiteX59" fmla="*/ 131 w 10000"/>
                    <a:gd name="connsiteY59" fmla="*/ 4647 h 10000"/>
                    <a:gd name="connsiteX60" fmla="*/ 455 w 10000"/>
                    <a:gd name="connsiteY60" fmla="*/ 4557 h 10000"/>
                    <a:gd name="connsiteX61" fmla="*/ 779 w 10000"/>
                    <a:gd name="connsiteY61" fmla="*/ 4469 h 10000"/>
                    <a:gd name="connsiteX62" fmla="*/ 975 w 10000"/>
                    <a:gd name="connsiteY62" fmla="*/ 4415 h 10000"/>
                    <a:gd name="connsiteX63" fmla="*/ 1103 w 10000"/>
                    <a:gd name="connsiteY63" fmla="*/ 4360 h 10000"/>
                    <a:gd name="connsiteX64" fmla="*/ 1103 w 10000"/>
                    <a:gd name="connsiteY64" fmla="*/ 4287 h 10000"/>
                    <a:gd name="connsiteX65" fmla="*/ 1103 w 10000"/>
                    <a:gd name="connsiteY65" fmla="*/ 4197 h 10000"/>
                    <a:gd name="connsiteX66" fmla="*/ 1103 w 10000"/>
                    <a:gd name="connsiteY66" fmla="*/ 4197 h 10000"/>
                    <a:gd name="connsiteX67" fmla="*/ 845 w 10000"/>
                    <a:gd name="connsiteY67" fmla="*/ 3945 h 10000"/>
                    <a:gd name="connsiteX68" fmla="*/ 521 w 10000"/>
                    <a:gd name="connsiteY68" fmla="*/ 3603 h 10000"/>
                    <a:gd name="connsiteX69" fmla="*/ 261 w 10000"/>
                    <a:gd name="connsiteY69" fmla="*/ 3295 h 10000"/>
                    <a:gd name="connsiteX70" fmla="*/ 195 w 10000"/>
                    <a:gd name="connsiteY70" fmla="*/ 3206 h 10000"/>
                    <a:gd name="connsiteX71" fmla="*/ 195 w 10000"/>
                    <a:gd name="connsiteY71" fmla="*/ 3171 h 10000"/>
                    <a:gd name="connsiteX72" fmla="*/ 261 w 10000"/>
                    <a:gd name="connsiteY72" fmla="*/ 3151 h 10000"/>
                    <a:gd name="connsiteX73" fmla="*/ 261 w 10000"/>
                    <a:gd name="connsiteY73" fmla="*/ 3151 h 10000"/>
                    <a:gd name="connsiteX74" fmla="*/ 650 w 10000"/>
                    <a:gd name="connsiteY74" fmla="*/ 3134 h 10000"/>
                    <a:gd name="connsiteX75" fmla="*/ 908 w 10000"/>
                    <a:gd name="connsiteY75" fmla="*/ 3134 h 10000"/>
                    <a:gd name="connsiteX76" fmla="*/ 1103 w 10000"/>
                    <a:gd name="connsiteY76" fmla="*/ 3151 h 10000"/>
                    <a:gd name="connsiteX77" fmla="*/ 1103 w 10000"/>
                    <a:gd name="connsiteY77" fmla="*/ 3151 h 10000"/>
                    <a:gd name="connsiteX78" fmla="*/ 1168 w 10000"/>
                    <a:gd name="connsiteY78" fmla="*/ 3151 h 10000"/>
                    <a:gd name="connsiteX79" fmla="*/ 1235 w 10000"/>
                    <a:gd name="connsiteY79" fmla="*/ 3118 h 10000"/>
                    <a:gd name="connsiteX80" fmla="*/ 1559 w 10000"/>
                    <a:gd name="connsiteY80" fmla="*/ 3008 h 10000"/>
                    <a:gd name="connsiteX81" fmla="*/ 2402 w 10000"/>
                    <a:gd name="connsiteY81" fmla="*/ 2647 h 10000"/>
                    <a:gd name="connsiteX82" fmla="*/ 3507 w 10000"/>
                    <a:gd name="connsiteY82" fmla="*/ 2127 h 10000"/>
                    <a:gd name="connsiteX83" fmla="*/ 3507 w 10000"/>
                    <a:gd name="connsiteY83" fmla="*/ 2127 h 10000"/>
                    <a:gd name="connsiteX84" fmla="*/ 3507 w 10000"/>
                    <a:gd name="connsiteY84" fmla="*/ 2053 h 10000"/>
                    <a:gd name="connsiteX85" fmla="*/ 3507 w 10000"/>
                    <a:gd name="connsiteY85" fmla="*/ 1889 h 10000"/>
                    <a:gd name="connsiteX86" fmla="*/ 3573 w 10000"/>
                    <a:gd name="connsiteY86" fmla="*/ 1783 h 10000"/>
                    <a:gd name="connsiteX87" fmla="*/ 3702 w 10000"/>
                    <a:gd name="connsiteY87" fmla="*/ 1692 h 10000"/>
                    <a:gd name="connsiteX88" fmla="*/ 3896 w 10000"/>
                    <a:gd name="connsiteY88" fmla="*/ 1585 h 10000"/>
                    <a:gd name="connsiteX89" fmla="*/ 4156 w 10000"/>
                    <a:gd name="connsiteY89" fmla="*/ 1496 h 10000"/>
                    <a:gd name="connsiteX90" fmla="*/ 4156 w 10000"/>
                    <a:gd name="connsiteY90" fmla="*/ 1496 h 10000"/>
                    <a:gd name="connsiteX91" fmla="*/ 4806 w 10000"/>
                    <a:gd name="connsiteY91" fmla="*/ 1317 h 10000"/>
                    <a:gd name="connsiteX92" fmla="*/ 5455 w 10000"/>
                    <a:gd name="connsiteY92" fmla="*/ 1080 h 10000"/>
                    <a:gd name="connsiteX93" fmla="*/ 6104 w 10000"/>
                    <a:gd name="connsiteY93" fmla="*/ 864 h 10000"/>
                    <a:gd name="connsiteX94" fmla="*/ 6559 w 10000"/>
                    <a:gd name="connsiteY94" fmla="*/ 668 h 10000"/>
                    <a:gd name="connsiteX95" fmla="*/ 6559 w 10000"/>
                    <a:gd name="connsiteY95" fmla="*/ 668 h 10000"/>
                    <a:gd name="connsiteX96" fmla="*/ 6882 w 10000"/>
                    <a:gd name="connsiteY96" fmla="*/ 488 h 10000"/>
                    <a:gd name="connsiteX97" fmla="*/ 7273 w 10000"/>
                    <a:gd name="connsiteY97" fmla="*/ 269 h 10000"/>
                    <a:gd name="connsiteX98" fmla="*/ 7663 w 10000"/>
                    <a:gd name="connsiteY98" fmla="*/ 107 h 10000"/>
                    <a:gd name="connsiteX99" fmla="*/ 7856 w 10000"/>
                    <a:gd name="connsiteY99" fmla="*/ 33 h 10000"/>
                    <a:gd name="connsiteX100" fmla="*/ 8051 w 10000"/>
                    <a:gd name="connsiteY100" fmla="*/ 17 h 10000"/>
                    <a:gd name="connsiteX101" fmla="*/ 8051 w 10000"/>
                    <a:gd name="connsiteY101" fmla="*/ 17 h 10000"/>
                    <a:gd name="connsiteX102" fmla="*/ 8442 w 10000"/>
                    <a:gd name="connsiteY102" fmla="*/ 0 h 10000"/>
                    <a:gd name="connsiteX103" fmla="*/ 8961 w 10000"/>
                    <a:gd name="connsiteY103" fmla="*/ 0 h 10000"/>
                    <a:gd name="connsiteX104" fmla="*/ 10000 w 10000"/>
                    <a:gd name="connsiteY104" fmla="*/ 17 h 10000"/>
                    <a:gd name="connsiteX105" fmla="*/ 3247 w 10000"/>
                    <a:gd name="connsiteY105" fmla="*/ 9908 h 10000"/>
                    <a:gd name="connsiteX106" fmla="*/ 3247 w 10000"/>
                    <a:gd name="connsiteY106" fmla="*/ 9908 h 10000"/>
                    <a:gd name="connsiteX107" fmla="*/ 3117 w 10000"/>
                    <a:gd name="connsiteY107" fmla="*/ 9711 h 10000"/>
                    <a:gd name="connsiteX108" fmla="*/ 3117 w 10000"/>
                    <a:gd name="connsiteY108" fmla="*/ 9711 h 10000"/>
                    <a:gd name="connsiteX109" fmla="*/ 3312 w 10000"/>
                    <a:gd name="connsiteY109" fmla="*/ 9654 h 10000"/>
                    <a:gd name="connsiteX110" fmla="*/ 3443 w 10000"/>
                    <a:gd name="connsiteY110" fmla="*/ 9637 h 10000"/>
                    <a:gd name="connsiteX111" fmla="*/ 2661 w 10000"/>
                    <a:gd name="connsiteY111" fmla="*/ 9654 h 10000"/>
                    <a:gd name="connsiteX0" fmla="*/ 2661 w 10000"/>
                    <a:gd name="connsiteY0" fmla="*/ 9654 h 10000"/>
                    <a:gd name="connsiteX1" fmla="*/ 5389 w 10000"/>
                    <a:gd name="connsiteY1" fmla="*/ 10000 h 10000"/>
                    <a:gd name="connsiteX2" fmla="*/ 5324 w 10000"/>
                    <a:gd name="connsiteY2" fmla="*/ 9946 h 10000"/>
                    <a:gd name="connsiteX3" fmla="*/ 3247 w 10000"/>
                    <a:gd name="connsiteY3" fmla="*/ 9908 h 10000"/>
                    <a:gd name="connsiteX4" fmla="*/ 3247 w 10000"/>
                    <a:gd name="connsiteY4" fmla="*/ 9908 h 10000"/>
                    <a:gd name="connsiteX5" fmla="*/ 3117 w 10000"/>
                    <a:gd name="connsiteY5" fmla="*/ 9855 h 10000"/>
                    <a:gd name="connsiteX6" fmla="*/ 3117 w 10000"/>
                    <a:gd name="connsiteY6" fmla="*/ 9800 h 10000"/>
                    <a:gd name="connsiteX7" fmla="*/ 3117 w 10000"/>
                    <a:gd name="connsiteY7" fmla="*/ 9764 h 10000"/>
                    <a:gd name="connsiteX8" fmla="*/ 3184 w 10000"/>
                    <a:gd name="connsiteY8" fmla="*/ 9727 h 10000"/>
                    <a:gd name="connsiteX9" fmla="*/ 3312 w 10000"/>
                    <a:gd name="connsiteY9" fmla="*/ 9654 h 10000"/>
                    <a:gd name="connsiteX10" fmla="*/ 3443 w 10000"/>
                    <a:gd name="connsiteY10" fmla="*/ 9637 h 10000"/>
                    <a:gd name="connsiteX11" fmla="*/ 3443 w 10000"/>
                    <a:gd name="connsiteY11" fmla="*/ 9637 h 10000"/>
                    <a:gd name="connsiteX12" fmla="*/ 3443 w 10000"/>
                    <a:gd name="connsiteY12" fmla="*/ 9620 h 10000"/>
                    <a:gd name="connsiteX13" fmla="*/ 3507 w 10000"/>
                    <a:gd name="connsiteY13" fmla="*/ 9601 h 10000"/>
                    <a:gd name="connsiteX14" fmla="*/ 7646 w 10000"/>
                    <a:gd name="connsiteY14" fmla="*/ 9324 h 10000"/>
                    <a:gd name="connsiteX15" fmla="*/ 8116 w 10000"/>
                    <a:gd name="connsiteY15" fmla="*/ 9333 h 10000"/>
                    <a:gd name="connsiteX16" fmla="*/ 8116 w 10000"/>
                    <a:gd name="connsiteY16" fmla="*/ 9333 h 10000"/>
                    <a:gd name="connsiteX17" fmla="*/ 8442 w 10000"/>
                    <a:gd name="connsiteY17" fmla="*/ 9297 h 10000"/>
                    <a:gd name="connsiteX18" fmla="*/ 8702 w 10000"/>
                    <a:gd name="connsiteY18" fmla="*/ 9207 h 10000"/>
                    <a:gd name="connsiteX19" fmla="*/ 8636 w 10000"/>
                    <a:gd name="connsiteY19" fmla="*/ 9170 h 10000"/>
                    <a:gd name="connsiteX20" fmla="*/ 8636 w 10000"/>
                    <a:gd name="connsiteY20" fmla="*/ 9134 h 10000"/>
                    <a:gd name="connsiteX21" fmla="*/ 8312 w 10000"/>
                    <a:gd name="connsiteY21" fmla="*/ 9044 h 10000"/>
                    <a:gd name="connsiteX22" fmla="*/ 5975 w 10000"/>
                    <a:gd name="connsiteY22" fmla="*/ 8718 h 10000"/>
                    <a:gd name="connsiteX23" fmla="*/ 5975 w 10000"/>
                    <a:gd name="connsiteY23" fmla="*/ 8718 h 10000"/>
                    <a:gd name="connsiteX24" fmla="*/ 5714 w 10000"/>
                    <a:gd name="connsiteY24" fmla="*/ 8666 h 10000"/>
                    <a:gd name="connsiteX25" fmla="*/ 5519 w 10000"/>
                    <a:gd name="connsiteY25" fmla="*/ 8611 h 10000"/>
                    <a:gd name="connsiteX26" fmla="*/ 5389 w 10000"/>
                    <a:gd name="connsiteY26" fmla="*/ 8557 h 10000"/>
                    <a:gd name="connsiteX27" fmla="*/ 5389 w 10000"/>
                    <a:gd name="connsiteY27" fmla="*/ 8557 h 10000"/>
                    <a:gd name="connsiteX28" fmla="*/ 7729 w 10000"/>
                    <a:gd name="connsiteY28" fmla="*/ 8538 h 10000"/>
                    <a:gd name="connsiteX29" fmla="*/ 10000 w 10000"/>
                    <a:gd name="connsiteY29" fmla="*/ 8718 h 10000"/>
                    <a:gd name="connsiteX30" fmla="*/ 10000 w 10000"/>
                    <a:gd name="connsiteY30" fmla="*/ 7081 h 10000"/>
                    <a:gd name="connsiteX31" fmla="*/ 10000 w 10000"/>
                    <a:gd name="connsiteY31" fmla="*/ 7081 h 10000"/>
                    <a:gd name="connsiteX32" fmla="*/ 7404 w 10000"/>
                    <a:gd name="connsiteY32" fmla="*/ 6700 h 10000"/>
                    <a:gd name="connsiteX33" fmla="*/ 5975 w 10000"/>
                    <a:gd name="connsiteY33" fmla="*/ 6486 h 10000"/>
                    <a:gd name="connsiteX34" fmla="*/ 5975 w 10000"/>
                    <a:gd name="connsiteY34" fmla="*/ 6486 h 10000"/>
                    <a:gd name="connsiteX35" fmla="*/ 5975 w 10000"/>
                    <a:gd name="connsiteY35" fmla="*/ 6468 h 10000"/>
                    <a:gd name="connsiteX36" fmla="*/ 5975 w 10000"/>
                    <a:gd name="connsiteY36" fmla="*/ 6360 h 10000"/>
                    <a:gd name="connsiteX37" fmla="*/ 5975 w 10000"/>
                    <a:gd name="connsiteY37" fmla="*/ 6360 h 10000"/>
                    <a:gd name="connsiteX38" fmla="*/ 5779 w 10000"/>
                    <a:gd name="connsiteY38" fmla="*/ 6231 h 10000"/>
                    <a:gd name="connsiteX39" fmla="*/ 5389 w 10000"/>
                    <a:gd name="connsiteY39" fmla="*/ 6034 h 10000"/>
                    <a:gd name="connsiteX40" fmla="*/ 4545 w 10000"/>
                    <a:gd name="connsiteY40" fmla="*/ 5657 h 10000"/>
                    <a:gd name="connsiteX41" fmla="*/ 4545 w 10000"/>
                    <a:gd name="connsiteY41" fmla="*/ 5657 h 10000"/>
                    <a:gd name="connsiteX42" fmla="*/ 4352 w 10000"/>
                    <a:gd name="connsiteY42" fmla="*/ 5603 h 10000"/>
                    <a:gd name="connsiteX43" fmla="*/ 4026 w 10000"/>
                    <a:gd name="connsiteY43" fmla="*/ 5531 h 10000"/>
                    <a:gd name="connsiteX44" fmla="*/ 3052 w 10000"/>
                    <a:gd name="connsiteY44" fmla="*/ 5368 h 10000"/>
                    <a:gd name="connsiteX45" fmla="*/ 1689 w 10000"/>
                    <a:gd name="connsiteY45" fmla="*/ 5171 h 10000"/>
                    <a:gd name="connsiteX46" fmla="*/ 1689 w 10000"/>
                    <a:gd name="connsiteY46" fmla="*/ 5171 h 10000"/>
                    <a:gd name="connsiteX47" fmla="*/ 1103 w 10000"/>
                    <a:gd name="connsiteY47" fmla="*/ 5151 h 10000"/>
                    <a:gd name="connsiteX48" fmla="*/ 650 w 10000"/>
                    <a:gd name="connsiteY48" fmla="*/ 5134 h 10000"/>
                    <a:gd name="connsiteX49" fmla="*/ 521 w 10000"/>
                    <a:gd name="connsiteY49" fmla="*/ 5115 h 10000"/>
                    <a:gd name="connsiteX50" fmla="*/ 390 w 10000"/>
                    <a:gd name="connsiteY50" fmla="*/ 5098 h 10000"/>
                    <a:gd name="connsiteX51" fmla="*/ 390 w 10000"/>
                    <a:gd name="connsiteY51" fmla="*/ 5098 h 10000"/>
                    <a:gd name="connsiteX52" fmla="*/ 261 w 10000"/>
                    <a:gd name="connsiteY52" fmla="*/ 5024 h 10000"/>
                    <a:gd name="connsiteX53" fmla="*/ 65 w 10000"/>
                    <a:gd name="connsiteY53" fmla="*/ 4902 h 10000"/>
                    <a:gd name="connsiteX54" fmla="*/ 0 w 10000"/>
                    <a:gd name="connsiteY54" fmla="*/ 4829 h 10000"/>
                    <a:gd name="connsiteX55" fmla="*/ 0 w 10000"/>
                    <a:gd name="connsiteY55" fmla="*/ 4755 h 10000"/>
                    <a:gd name="connsiteX56" fmla="*/ 0 w 10000"/>
                    <a:gd name="connsiteY56" fmla="*/ 4702 h 10000"/>
                    <a:gd name="connsiteX57" fmla="*/ 131 w 10000"/>
                    <a:gd name="connsiteY57" fmla="*/ 4647 h 10000"/>
                    <a:gd name="connsiteX58" fmla="*/ 131 w 10000"/>
                    <a:gd name="connsiteY58" fmla="*/ 4647 h 10000"/>
                    <a:gd name="connsiteX59" fmla="*/ 455 w 10000"/>
                    <a:gd name="connsiteY59" fmla="*/ 4557 h 10000"/>
                    <a:gd name="connsiteX60" fmla="*/ 779 w 10000"/>
                    <a:gd name="connsiteY60" fmla="*/ 4469 h 10000"/>
                    <a:gd name="connsiteX61" fmla="*/ 975 w 10000"/>
                    <a:gd name="connsiteY61" fmla="*/ 4415 h 10000"/>
                    <a:gd name="connsiteX62" fmla="*/ 1103 w 10000"/>
                    <a:gd name="connsiteY62" fmla="*/ 4360 h 10000"/>
                    <a:gd name="connsiteX63" fmla="*/ 1103 w 10000"/>
                    <a:gd name="connsiteY63" fmla="*/ 4287 h 10000"/>
                    <a:gd name="connsiteX64" fmla="*/ 1103 w 10000"/>
                    <a:gd name="connsiteY64" fmla="*/ 4197 h 10000"/>
                    <a:gd name="connsiteX65" fmla="*/ 1103 w 10000"/>
                    <a:gd name="connsiteY65" fmla="*/ 4197 h 10000"/>
                    <a:gd name="connsiteX66" fmla="*/ 845 w 10000"/>
                    <a:gd name="connsiteY66" fmla="*/ 3945 h 10000"/>
                    <a:gd name="connsiteX67" fmla="*/ 521 w 10000"/>
                    <a:gd name="connsiteY67" fmla="*/ 3603 h 10000"/>
                    <a:gd name="connsiteX68" fmla="*/ 261 w 10000"/>
                    <a:gd name="connsiteY68" fmla="*/ 3295 h 10000"/>
                    <a:gd name="connsiteX69" fmla="*/ 195 w 10000"/>
                    <a:gd name="connsiteY69" fmla="*/ 3206 h 10000"/>
                    <a:gd name="connsiteX70" fmla="*/ 195 w 10000"/>
                    <a:gd name="connsiteY70" fmla="*/ 3171 h 10000"/>
                    <a:gd name="connsiteX71" fmla="*/ 261 w 10000"/>
                    <a:gd name="connsiteY71" fmla="*/ 3151 h 10000"/>
                    <a:gd name="connsiteX72" fmla="*/ 261 w 10000"/>
                    <a:gd name="connsiteY72" fmla="*/ 3151 h 10000"/>
                    <a:gd name="connsiteX73" fmla="*/ 650 w 10000"/>
                    <a:gd name="connsiteY73" fmla="*/ 3134 h 10000"/>
                    <a:gd name="connsiteX74" fmla="*/ 908 w 10000"/>
                    <a:gd name="connsiteY74" fmla="*/ 3134 h 10000"/>
                    <a:gd name="connsiteX75" fmla="*/ 1103 w 10000"/>
                    <a:gd name="connsiteY75" fmla="*/ 3151 h 10000"/>
                    <a:gd name="connsiteX76" fmla="*/ 1103 w 10000"/>
                    <a:gd name="connsiteY76" fmla="*/ 3151 h 10000"/>
                    <a:gd name="connsiteX77" fmla="*/ 1168 w 10000"/>
                    <a:gd name="connsiteY77" fmla="*/ 3151 h 10000"/>
                    <a:gd name="connsiteX78" fmla="*/ 1235 w 10000"/>
                    <a:gd name="connsiteY78" fmla="*/ 3118 h 10000"/>
                    <a:gd name="connsiteX79" fmla="*/ 1559 w 10000"/>
                    <a:gd name="connsiteY79" fmla="*/ 3008 h 10000"/>
                    <a:gd name="connsiteX80" fmla="*/ 2402 w 10000"/>
                    <a:gd name="connsiteY80" fmla="*/ 2647 h 10000"/>
                    <a:gd name="connsiteX81" fmla="*/ 3507 w 10000"/>
                    <a:gd name="connsiteY81" fmla="*/ 2127 h 10000"/>
                    <a:gd name="connsiteX82" fmla="*/ 3507 w 10000"/>
                    <a:gd name="connsiteY82" fmla="*/ 2127 h 10000"/>
                    <a:gd name="connsiteX83" fmla="*/ 3507 w 10000"/>
                    <a:gd name="connsiteY83" fmla="*/ 2053 h 10000"/>
                    <a:gd name="connsiteX84" fmla="*/ 3507 w 10000"/>
                    <a:gd name="connsiteY84" fmla="*/ 1889 h 10000"/>
                    <a:gd name="connsiteX85" fmla="*/ 3573 w 10000"/>
                    <a:gd name="connsiteY85" fmla="*/ 1783 h 10000"/>
                    <a:gd name="connsiteX86" fmla="*/ 3702 w 10000"/>
                    <a:gd name="connsiteY86" fmla="*/ 1692 h 10000"/>
                    <a:gd name="connsiteX87" fmla="*/ 3896 w 10000"/>
                    <a:gd name="connsiteY87" fmla="*/ 1585 h 10000"/>
                    <a:gd name="connsiteX88" fmla="*/ 4156 w 10000"/>
                    <a:gd name="connsiteY88" fmla="*/ 1496 h 10000"/>
                    <a:gd name="connsiteX89" fmla="*/ 4156 w 10000"/>
                    <a:gd name="connsiteY89" fmla="*/ 1496 h 10000"/>
                    <a:gd name="connsiteX90" fmla="*/ 4806 w 10000"/>
                    <a:gd name="connsiteY90" fmla="*/ 1317 h 10000"/>
                    <a:gd name="connsiteX91" fmla="*/ 5455 w 10000"/>
                    <a:gd name="connsiteY91" fmla="*/ 1080 h 10000"/>
                    <a:gd name="connsiteX92" fmla="*/ 6104 w 10000"/>
                    <a:gd name="connsiteY92" fmla="*/ 864 h 10000"/>
                    <a:gd name="connsiteX93" fmla="*/ 6559 w 10000"/>
                    <a:gd name="connsiteY93" fmla="*/ 668 h 10000"/>
                    <a:gd name="connsiteX94" fmla="*/ 6559 w 10000"/>
                    <a:gd name="connsiteY94" fmla="*/ 668 h 10000"/>
                    <a:gd name="connsiteX95" fmla="*/ 6882 w 10000"/>
                    <a:gd name="connsiteY95" fmla="*/ 488 h 10000"/>
                    <a:gd name="connsiteX96" fmla="*/ 7273 w 10000"/>
                    <a:gd name="connsiteY96" fmla="*/ 269 h 10000"/>
                    <a:gd name="connsiteX97" fmla="*/ 7663 w 10000"/>
                    <a:gd name="connsiteY97" fmla="*/ 107 h 10000"/>
                    <a:gd name="connsiteX98" fmla="*/ 7856 w 10000"/>
                    <a:gd name="connsiteY98" fmla="*/ 33 h 10000"/>
                    <a:gd name="connsiteX99" fmla="*/ 8051 w 10000"/>
                    <a:gd name="connsiteY99" fmla="*/ 17 h 10000"/>
                    <a:gd name="connsiteX100" fmla="*/ 8051 w 10000"/>
                    <a:gd name="connsiteY100" fmla="*/ 17 h 10000"/>
                    <a:gd name="connsiteX101" fmla="*/ 8442 w 10000"/>
                    <a:gd name="connsiteY101" fmla="*/ 0 h 10000"/>
                    <a:gd name="connsiteX102" fmla="*/ 8961 w 10000"/>
                    <a:gd name="connsiteY102" fmla="*/ 0 h 10000"/>
                    <a:gd name="connsiteX103" fmla="*/ 10000 w 10000"/>
                    <a:gd name="connsiteY103" fmla="*/ 17 h 10000"/>
                    <a:gd name="connsiteX104" fmla="*/ 3247 w 10000"/>
                    <a:gd name="connsiteY104" fmla="*/ 9908 h 10000"/>
                    <a:gd name="connsiteX105" fmla="*/ 3247 w 10000"/>
                    <a:gd name="connsiteY105" fmla="*/ 9908 h 10000"/>
                    <a:gd name="connsiteX106" fmla="*/ 3117 w 10000"/>
                    <a:gd name="connsiteY106" fmla="*/ 9711 h 10000"/>
                    <a:gd name="connsiteX107" fmla="*/ 3117 w 10000"/>
                    <a:gd name="connsiteY107" fmla="*/ 9711 h 10000"/>
                    <a:gd name="connsiteX108" fmla="*/ 3312 w 10000"/>
                    <a:gd name="connsiteY108" fmla="*/ 9654 h 10000"/>
                    <a:gd name="connsiteX109" fmla="*/ 3443 w 10000"/>
                    <a:gd name="connsiteY109" fmla="*/ 9637 h 10000"/>
                    <a:gd name="connsiteX110" fmla="*/ 2661 w 10000"/>
                    <a:gd name="connsiteY110" fmla="*/ 9654 h 10000"/>
                    <a:gd name="connsiteX0" fmla="*/ 2661 w 10000"/>
                    <a:gd name="connsiteY0" fmla="*/ 9654 h 10008"/>
                    <a:gd name="connsiteX1" fmla="*/ 5389 w 10000"/>
                    <a:gd name="connsiteY1" fmla="*/ 10000 h 10008"/>
                    <a:gd name="connsiteX2" fmla="*/ 3247 w 10000"/>
                    <a:gd name="connsiteY2" fmla="*/ 9908 h 10008"/>
                    <a:gd name="connsiteX3" fmla="*/ 3247 w 10000"/>
                    <a:gd name="connsiteY3" fmla="*/ 9908 h 10008"/>
                    <a:gd name="connsiteX4" fmla="*/ 3117 w 10000"/>
                    <a:gd name="connsiteY4" fmla="*/ 9855 h 10008"/>
                    <a:gd name="connsiteX5" fmla="*/ 3117 w 10000"/>
                    <a:gd name="connsiteY5" fmla="*/ 9800 h 10008"/>
                    <a:gd name="connsiteX6" fmla="*/ 3117 w 10000"/>
                    <a:gd name="connsiteY6" fmla="*/ 9764 h 10008"/>
                    <a:gd name="connsiteX7" fmla="*/ 3184 w 10000"/>
                    <a:gd name="connsiteY7" fmla="*/ 9727 h 10008"/>
                    <a:gd name="connsiteX8" fmla="*/ 3312 w 10000"/>
                    <a:gd name="connsiteY8" fmla="*/ 9654 h 10008"/>
                    <a:gd name="connsiteX9" fmla="*/ 3443 w 10000"/>
                    <a:gd name="connsiteY9" fmla="*/ 9637 h 10008"/>
                    <a:gd name="connsiteX10" fmla="*/ 3443 w 10000"/>
                    <a:gd name="connsiteY10" fmla="*/ 9637 h 10008"/>
                    <a:gd name="connsiteX11" fmla="*/ 3443 w 10000"/>
                    <a:gd name="connsiteY11" fmla="*/ 9620 h 10008"/>
                    <a:gd name="connsiteX12" fmla="*/ 3507 w 10000"/>
                    <a:gd name="connsiteY12" fmla="*/ 9601 h 10008"/>
                    <a:gd name="connsiteX13" fmla="*/ 7646 w 10000"/>
                    <a:gd name="connsiteY13" fmla="*/ 9324 h 10008"/>
                    <a:gd name="connsiteX14" fmla="*/ 8116 w 10000"/>
                    <a:gd name="connsiteY14" fmla="*/ 9333 h 10008"/>
                    <a:gd name="connsiteX15" fmla="*/ 8116 w 10000"/>
                    <a:gd name="connsiteY15" fmla="*/ 9333 h 10008"/>
                    <a:gd name="connsiteX16" fmla="*/ 8442 w 10000"/>
                    <a:gd name="connsiteY16" fmla="*/ 9297 h 10008"/>
                    <a:gd name="connsiteX17" fmla="*/ 8702 w 10000"/>
                    <a:gd name="connsiteY17" fmla="*/ 9207 h 10008"/>
                    <a:gd name="connsiteX18" fmla="*/ 8636 w 10000"/>
                    <a:gd name="connsiteY18" fmla="*/ 9170 h 10008"/>
                    <a:gd name="connsiteX19" fmla="*/ 8636 w 10000"/>
                    <a:gd name="connsiteY19" fmla="*/ 9134 h 10008"/>
                    <a:gd name="connsiteX20" fmla="*/ 8312 w 10000"/>
                    <a:gd name="connsiteY20" fmla="*/ 9044 h 10008"/>
                    <a:gd name="connsiteX21" fmla="*/ 5975 w 10000"/>
                    <a:gd name="connsiteY21" fmla="*/ 8718 h 10008"/>
                    <a:gd name="connsiteX22" fmla="*/ 5975 w 10000"/>
                    <a:gd name="connsiteY22" fmla="*/ 8718 h 10008"/>
                    <a:gd name="connsiteX23" fmla="*/ 5714 w 10000"/>
                    <a:gd name="connsiteY23" fmla="*/ 8666 h 10008"/>
                    <a:gd name="connsiteX24" fmla="*/ 5519 w 10000"/>
                    <a:gd name="connsiteY24" fmla="*/ 8611 h 10008"/>
                    <a:gd name="connsiteX25" fmla="*/ 5389 w 10000"/>
                    <a:gd name="connsiteY25" fmla="*/ 8557 h 10008"/>
                    <a:gd name="connsiteX26" fmla="*/ 5389 w 10000"/>
                    <a:gd name="connsiteY26" fmla="*/ 8557 h 10008"/>
                    <a:gd name="connsiteX27" fmla="*/ 7729 w 10000"/>
                    <a:gd name="connsiteY27" fmla="*/ 8538 h 10008"/>
                    <a:gd name="connsiteX28" fmla="*/ 10000 w 10000"/>
                    <a:gd name="connsiteY28" fmla="*/ 8718 h 10008"/>
                    <a:gd name="connsiteX29" fmla="*/ 10000 w 10000"/>
                    <a:gd name="connsiteY29" fmla="*/ 7081 h 10008"/>
                    <a:gd name="connsiteX30" fmla="*/ 10000 w 10000"/>
                    <a:gd name="connsiteY30" fmla="*/ 7081 h 10008"/>
                    <a:gd name="connsiteX31" fmla="*/ 7404 w 10000"/>
                    <a:gd name="connsiteY31" fmla="*/ 6700 h 10008"/>
                    <a:gd name="connsiteX32" fmla="*/ 5975 w 10000"/>
                    <a:gd name="connsiteY32" fmla="*/ 6486 h 10008"/>
                    <a:gd name="connsiteX33" fmla="*/ 5975 w 10000"/>
                    <a:gd name="connsiteY33" fmla="*/ 6486 h 10008"/>
                    <a:gd name="connsiteX34" fmla="*/ 5975 w 10000"/>
                    <a:gd name="connsiteY34" fmla="*/ 6468 h 10008"/>
                    <a:gd name="connsiteX35" fmla="*/ 5975 w 10000"/>
                    <a:gd name="connsiteY35" fmla="*/ 6360 h 10008"/>
                    <a:gd name="connsiteX36" fmla="*/ 5975 w 10000"/>
                    <a:gd name="connsiteY36" fmla="*/ 6360 h 10008"/>
                    <a:gd name="connsiteX37" fmla="*/ 5779 w 10000"/>
                    <a:gd name="connsiteY37" fmla="*/ 6231 h 10008"/>
                    <a:gd name="connsiteX38" fmla="*/ 5389 w 10000"/>
                    <a:gd name="connsiteY38" fmla="*/ 6034 h 10008"/>
                    <a:gd name="connsiteX39" fmla="*/ 4545 w 10000"/>
                    <a:gd name="connsiteY39" fmla="*/ 5657 h 10008"/>
                    <a:gd name="connsiteX40" fmla="*/ 4545 w 10000"/>
                    <a:gd name="connsiteY40" fmla="*/ 5657 h 10008"/>
                    <a:gd name="connsiteX41" fmla="*/ 4352 w 10000"/>
                    <a:gd name="connsiteY41" fmla="*/ 5603 h 10008"/>
                    <a:gd name="connsiteX42" fmla="*/ 4026 w 10000"/>
                    <a:gd name="connsiteY42" fmla="*/ 5531 h 10008"/>
                    <a:gd name="connsiteX43" fmla="*/ 3052 w 10000"/>
                    <a:gd name="connsiteY43" fmla="*/ 5368 h 10008"/>
                    <a:gd name="connsiteX44" fmla="*/ 1689 w 10000"/>
                    <a:gd name="connsiteY44" fmla="*/ 5171 h 10008"/>
                    <a:gd name="connsiteX45" fmla="*/ 1689 w 10000"/>
                    <a:gd name="connsiteY45" fmla="*/ 5171 h 10008"/>
                    <a:gd name="connsiteX46" fmla="*/ 1103 w 10000"/>
                    <a:gd name="connsiteY46" fmla="*/ 5151 h 10008"/>
                    <a:gd name="connsiteX47" fmla="*/ 650 w 10000"/>
                    <a:gd name="connsiteY47" fmla="*/ 5134 h 10008"/>
                    <a:gd name="connsiteX48" fmla="*/ 521 w 10000"/>
                    <a:gd name="connsiteY48" fmla="*/ 5115 h 10008"/>
                    <a:gd name="connsiteX49" fmla="*/ 390 w 10000"/>
                    <a:gd name="connsiteY49" fmla="*/ 5098 h 10008"/>
                    <a:gd name="connsiteX50" fmla="*/ 390 w 10000"/>
                    <a:gd name="connsiteY50" fmla="*/ 5098 h 10008"/>
                    <a:gd name="connsiteX51" fmla="*/ 261 w 10000"/>
                    <a:gd name="connsiteY51" fmla="*/ 5024 h 10008"/>
                    <a:gd name="connsiteX52" fmla="*/ 65 w 10000"/>
                    <a:gd name="connsiteY52" fmla="*/ 4902 h 10008"/>
                    <a:gd name="connsiteX53" fmla="*/ 0 w 10000"/>
                    <a:gd name="connsiteY53" fmla="*/ 4829 h 10008"/>
                    <a:gd name="connsiteX54" fmla="*/ 0 w 10000"/>
                    <a:gd name="connsiteY54" fmla="*/ 4755 h 10008"/>
                    <a:gd name="connsiteX55" fmla="*/ 0 w 10000"/>
                    <a:gd name="connsiteY55" fmla="*/ 4702 h 10008"/>
                    <a:gd name="connsiteX56" fmla="*/ 131 w 10000"/>
                    <a:gd name="connsiteY56" fmla="*/ 4647 h 10008"/>
                    <a:gd name="connsiteX57" fmla="*/ 131 w 10000"/>
                    <a:gd name="connsiteY57" fmla="*/ 4647 h 10008"/>
                    <a:gd name="connsiteX58" fmla="*/ 455 w 10000"/>
                    <a:gd name="connsiteY58" fmla="*/ 4557 h 10008"/>
                    <a:gd name="connsiteX59" fmla="*/ 779 w 10000"/>
                    <a:gd name="connsiteY59" fmla="*/ 4469 h 10008"/>
                    <a:gd name="connsiteX60" fmla="*/ 975 w 10000"/>
                    <a:gd name="connsiteY60" fmla="*/ 4415 h 10008"/>
                    <a:gd name="connsiteX61" fmla="*/ 1103 w 10000"/>
                    <a:gd name="connsiteY61" fmla="*/ 4360 h 10008"/>
                    <a:gd name="connsiteX62" fmla="*/ 1103 w 10000"/>
                    <a:gd name="connsiteY62" fmla="*/ 4287 h 10008"/>
                    <a:gd name="connsiteX63" fmla="*/ 1103 w 10000"/>
                    <a:gd name="connsiteY63" fmla="*/ 4197 h 10008"/>
                    <a:gd name="connsiteX64" fmla="*/ 1103 w 10000"/>
                    <a:gd name="connsiteY64" fmla="*/ 4197 h 10008"/>
                    <a:gd name="connsiteX65" fmla="*/ 845 w 10000"/>
                    <a:gd name="connsiteY65" fmla="*/ 3945 h 10008"/>
                    <a:gd name="connsiteX66" fmla="*/ 521 w 10000"/>
                    <a:gd name="connsiteY66" fmla="*/ 3603 h 10008"/>
                    <a:gd name="connsiteX67" fmla="*/ 261 w 10000"/>
                    <a:gd name="connsiteY67" fmla="*/ 3295 h 10008"/>
                    <a:gd name="connsiteX68" fmla="*/ 195 w 10000"/>
                    <a:gd name="connsiteY68" fmla="*/ 3206 h 10008"/>
                    <a:gd name="connsiteX69" fmla="*/ 195 w 10000"/>
                    <a:gd name="connsiteY69" fmla="*/ 3171 h 10008"/>
                    <a:gd name="connsiteX70" fmla="*/ 261 w 10000"/>
                    <a:gd name="connsiteY70" fmla="*/ 3151 h 10008"/>
                    <a:gd name="connsiteX71" fmla="*/ 261 w 10000"/>
                    <a:gd name="connsiteY71" fmla="*/ 3151 h 10008"/>
                    <a:gd name="connsiteX72" fmla="*/ 650 w 10000"/>
                    <a:gd name="connsiteY72" fmla="*/ 3134 h 10008"/>
                    <a:gd name="connsiteX73" fmla="*/ 908 w 10000"/>
                    <a:gd name="connsiteY73" fmla="*/ 3134 h 10008"/>
                    <a:gd name="connsiteX74" fmla="*/ 1103 w 10000"/>
                    <a:gd name="connsiteY74" fmla="*/ 3151 h 10008"/>
                    <a:gd name="connsiteX75" fmla="*/ 1103 w 10000"/>
                    <a:gd name="connsiteY75" fmla="*/ 3151 h 10008"/>
                    <a:gd name="connsiteX76" fmla="*/ 1168 w 10000"/>
                    <a:gd name="connsiteY76" fmla="*/ 3151 h 10008"/>
                    <a:gd name="connsiteX77" fmla="*/ 1235 w 10000"/>
                    <a:gd name="connsiteY77" fmla="*/ 3118 h 10008"/>
                    <a:gd name="connsiteX78" fmla="*/ 1559 w 10000"/>
                    <a:gd name="connsiteY78" fmla="*/ 3008 h 10008"/>
                    <a:gd name="connsiteX79" fmla="*/ 2402 w 10000"/>
                    <a:gd name="connsiteY79" fmla="*/ 2647 h 10008"/>
                    <a:gd name="connsiteX80" fmla="*/ 3507 w 10000"/>
                    <a:gd name="connsiteY80" fmla="*/ 2127 h 10008"/>
                    <a:gd name="connsiteX81" fmla="*/ 3507 w 10000"/>
                    <a:gd name="connsiteY81" fmla="*/ 2127 h 10008"/>
                    <a:gd name="connsiteX82" fmla="*/ 3507 w 10000"/>
                    <a:gd name="connsiteY82" fmla="*/ 2053 h 10008"/>
                    <a:gd name="connsiteX83" fmla="*/ 3507 w 10000"/>
                    <a:gd name="connsiteY83" fmla="*/ 1889 h 10008"/>
                    <a:gd name="connsiteX84" fmla="*/ 3573 w 10000"/>
                    <a:gd name="connsiteY84" fmla="*/ 1783 h 10008"/>
                    <a:gd name="connsiteX85" fmla="*/ 3702 w 10000"/>
                    <a:gd name="connsiteY85" fmla="*/ 1692 h 10008"/>
                    <a:gd name="connsiteX86" fmla="*/ 3896 w 10000"/>
                    <a:gd name="connsiteY86" fmla="*/ 1585 h 10008"/>
                    <a:gd name="connsiteX87" fmla="*/ 4156 w 10000"/>
                    <a:gd name="connsiteY87" fmla="*/ 1496 h 10008"/>
                    <a:gd name="connsiteX88" fmla="*/ 4156 w 10000"/>
                    <a:gd name="connsiteY88" fmla="*/ 1496 h 10008"/>
                    <a:gd name="connsiteX89" fmla="*/ 4806 w 10000"/>
                    <a:gd name="connsiteY89" fmla="*/ 1317 h 10008"/>
                    <a:gd name="connsiteX90" fmla="*/ 5455 w 10000"/>
                    <a:gd name="connsiteY90" fmla="*/ 1080 h 10008"/>
                    <a:gd name="connsiteX91" fmla="*/ 6104 w 10000"/>
                    <a:gd name="connsiteY91" fmla="*/ 864 h 10008"/>
                    <a:gd name="connsiteX92" fmla="*/ 6559 w 10000"/>
                    <a:gd name="connsiteY92" fmla="*/ 668 h 10008"/>
                    <a:gd name="connsiteX93" fmla="*/ 6559 w 10000"/>
                    <a:gd name="connsiteY93" fmla="*/ 668 h 10008"/>
                    <a:gd name="connsiteX94" fmla="*/ 6882 w 10000"/>
                    <a:gd name="connsiteY94" fmla="*/ 488 h 10008"/>
                    <a:gd name="connsiteX95" fmla="*/ 7273 w 10000"/>
                    <a:gd name="connsiteY95" fmla="*/ 269 h 10008"/>
                    <a:gd name="connsiteX96" fmla="*/ 7663 w 10000"/>
                    <a:gd name="connsiteY96" fmla="*/ 107 h 10008"/>
                    <a:gd name="connsiteX97" fmla="*/ 7856 w 10000"/>
                    <a:gd name="connsiteY97" fmla="*/ 33 h 10008"/>
                    <a:gd name="connsiteX98" fmla="*/ 8051 w 10000"/>
                    <a:gd name="connsiteY98" fmla="*/ 17 h 10008"/>
                    <a:gd name="connsiteX99" fmla="*/ 8051 w 10000"/>
                    <a:gd name="connsiteY99" fmla="*/ 17 h 10008"/>
                    <a:gd name="connsiteX100" fmla="*/ 8442 w 10000"/>
                    <a:gd name="connsiteY100" fmla="*/ 0 h 10008"/>
                    <a:gd name="connsiteX101" fmla="*/ 8961 w 10000"/>
                    <a:gd name="connsiteY101" fmla="*/ 0 h 10008"/>
                    <a:gd name="connsiteX102" fmla="*/ 10000 w 10000"/>
                    <a:gd name="connsiteY102" fmla="*/ 17 h 10008"/>
                    <a:gd name="connsiteX103" fmla="*/ 3247 w 10000"/>
                    <a:gd name="connsiteY103" fmla="*/ 9908 h 10008"/>
                    <a:gd name="connsiteX104" fmla="*/ 3247 w 10000"/>
                    <a:gd name="connsiteY104" fmla="*/ 9908 h 10008"/>
                    <a:gd name="connsiteX105" fmla="*/ 3117 w 10000"/>
                    <a:gd name="connsiteY105" fmla="*/ 9711 h 10008"/>
                    <a:gd name="connsiteX106" fmla="*/ 3117 w 10000"/>
                    <a:gd name="connsiteY106" fmla="*/ 9711 h 10008"/>
                    <a:gd name="connsiteX107" fmla="*/ 3312 w 10000"/>
                    <a:gd name="connsiteY107" fmla="*/ 9654 h 10008"/>
                    <a:gd name="connsiteX108" fmla="*/ 3443 w 10000"/>
                    <a:gd name="connsiteY108" fmla="*/ 9637 h 10008"/>
                    <a:gd name="connsiteX109" fmla="*/ 2661 w 10000"/>
                    <a:gd name="connsiteY109" fmla="*/ 9654 h 10008"/>
                    <a:gd name="connsiteX0" fmla="*/ 2661 w 10000"/>
                    <a:gd name="connsiteY0" fmla="*/ 9654 h 9908"/>
                    <a:gd name="connsiteX1" fmla="*/ 3247 w 10000"/>
                    <a:gd name="connsiteY1" fmla="*/ 9908 h 9908"/>
                    <a:gd name="connsiteX2" fmla="*/ 3247 w 10000"/>
                    <a:gd name="connsiteY2" fmla="*/ 9908 h 9908"/>
                    <a:gd name="connsiteX3" fmla="*/ 3117 w 10000"/>
                    <a:gd name="connsiteY3" fmla="*/ 9855 h 9908"/>
                    <a:gd name="connsiteX4" fmla="*/ 3117 w 10000"/>
                    <a:gd name="connsiteY4" fmla="*/ 9800 h 9908"/>
                    <a:gd name="connsiteX5" fmla="*/ 3117 w 10000"/>
                    <a:gd name="connsiteY5" fmla="*/ 9764 h 9908"/>
                    <a:gd name="connsiteX6" fmla="*/ 3184 w 10000"/>
                    <a:gd name="connsiteY6" fmla="*/ 9727 h 9908"/>
                    <a:gd name="connsiteX7" fmla="*/ 3312 w 10000"/>
                    <a:gd name="connsiteY7" fmla="*/ 9654 h 9908"/>
                    <a:gd name="connsiteX8" fmla="*/ 3443 w 10000"/>
                    <a:gd name="connsiteY8" fmla="*/ 9637 h 9908"/>
                    <a:gd name="connsiteX9" fmla="*/ 3443 w 10000"/>
                    <a:gd name="connsiteY9" fmla="*/ 9637 h 9908"/>
                    <a:gd name="connsiteX10" fmla="*/ 3443 w 10000"/>
                    <a:gd name="connsiteY10" fmla="*/ 9620 h 9908"/>
                    <a:gd name="connsiteX11" fmla="*/ 3507 w 10000"/>
                    <a:gd name="connsiteY11" fmla="*/ 9601 h 9908"/>
                    <a:gd name="connsiteX12" fmla="*/ 7646 w 10000"/>
                    <a:gd name="connsiteY12" fmla="*/ 9324 h 9908"/>
                    <a:gd name="connsiteX13" fmla="*/ 8116 w 10000"/>
                    <a:gd name="connsiteY13" fmla="*/ 9333 h 9908"/>
                    <a:gd name="connsiteX14" fmla="*/ 8116 w 10000"/>
                    <a:gd name="connsiteY14" fmla="*/ 9333 h 9908"/>
                    <a:gd name="connsiteX15" fmla="*/ 8442 w 10000"/>
                    <a:gd name="connsiteY15" fmla="*/ 9297 h 9908"/>
                    <a:gd name="connsiteX16" fmla="*/ 8702 w 10000"/>
                    <a:gd name="connsiteY16" fmla="*/ 9207 h 9908"/>
                    <a:gd name="connsiteX17" fmla="*/ 8636 w 10000"/>
                    <a:gd name="connsiteY17" fmla="*/ 9170 h 9908"/>
                    <a:gd name="connsiteX18" fmla="*/ 8636 w 10000"/>
                    <a:gd name="connsiteY18" fmla="*/ 9134 h 9908"/>
                    <a:gd name="connsiteX19" fmla="*/ 8312 w 10000"/>
                    <a:gd name="connsiteY19" fmla="*/ 9044 h 9908"/>
                    <a:gd name="connsiteX20" fmla="*/ 5975 w 10000"/>
                    <a:gd name="connsiteY20" fmla="*/ 8718 h 9908"/>
                    <a:gd name="connsiteX21" fmla="*/ 5975 w 10000"/>
                    <a:gd name="connsiteY21" fmla="*/ 8718 h 9908"/>
                    <a:gd name="connsiteX22" fmla="*/ 5714 w 10000"/>
                    <a:gd name="connsiteY22" fmla="*/ 8666 h 9908"/>
                    <a:gd name="connsiteX23" fmla="*/ 5519 w 10000"/>
                    <a:gd name="connsiteY23" fmla="*/ 8611 h 9908"/>
                    <a:gd name="connsiteX24" fmla="*/ 5389 w 10000"/>
                    <a:gd name="connsiteY24" fmla="*/ 8557 h 9908"/>
                    <a:gd name="connsiteX25" fmla="*/ 5389 w 10000"/>
                    <a:gd name="connsiteY25" fmla="*/ 8557 h 9908"/>
                    <a:gd name="connsiteX26" fmla="*/ 7729 w 10000"/>
                    <a:gd name="connsiteY26" fmla="*/ 8538 h 9908"/>
                    <a:gd name="connsiteX27" fmla="*/ 10000 w 10000"/>
                    <a:gd name="connsiteY27" fmla="*/ 8718 h 9908"/>
                    <a:gd name="connsiteX28" fmla="*/ 10000 w 10000"/>
                    <a:gd name="connsiteY28" fmla="*/ 7081 h 9908"/>
                    <a:gd name="connsiteX29" fmla="*/ 10000 w 10000"/>
                    <a:gd name="connsiteY29" fmla="*/ 7081 h 9908"/>
                    <a:gd name="connsiteX30" fmla="*/ 7404 w 10000"/>
                    <a:gd name="connsiteY30" fmla="*/ 6700 h 9908"/>
                    <a:gd name="connsiteX31" fmla="*/ 5975 w 10000"/>
                    <a:gd name="connsiteY31" fmla="*/ 6486 h 9908"/>
                    <a:gd name="connsiteX32" fmla="*/ 5975 w 10000"/>
                    <a:gd name="connsiteY32" fmla="*/ 6486 h 9908"/>
                    <a:gd name="connsiteX33" fmla="*/ 5975 w 10000"/>
                    <a:gd name="connsiteY33" fmla="*/ 6468 h 9908"/>
                    <a:gd name="connsiteX34" fmla="*/ 5975 w 10000"/>
                    <a:gd name="connsiteY34" fmla="*/ 6360 h 9908"/>
                    <a:gd name="connsiteX35" fmla="*/ 5975 w 10000"/>
                    <a:gd name="connsiteY35" fmla="*/ 6360 h 9908"/>
                    <a:gd name="connsiteX36" fmla="*/ 5779 w 10000"/>
                    <a:gd name="connsiteY36" fmla="*/ 6231 h 9908"/>
                    <a:gd name="connsiteX37" fmla="*/ 5389 w 10000"/>
                    <a:gd name="connsiteY37" fmla="*/ 6034 h 9908"/>
                    <a:gd name="connsiteX38" fmla="*/ 4545 w 10000"/>
                    <a:gd name="connsiteY38" fmla="*/ 5657 h 9908"/>
                    <a:gd name="connsiteX39" fmla="*/ 4545 w 10000"/>
                    <a:gd name="connsiteY39" fmla="*/ 5657 h 9908"/>
                    <a:gd name="connsiteX40" fmla="*/ 4352 w 10000"/>
                    <a:gd name="connsiteY40" fmla="*/ 5603 h 9908"/>
                    <a:gd name="connsiteX41" fmla="*/ 4026 w 10000"/>
                    <a:gd name="connsiteY41" fmla="*/ 5531 h 9908"/>
                    <a:gd name="connsiteX42" fmla="*/ 3052 w 10000"/>
                    <a:gd name="connsiteY42" fmla="*/ 5368 h 9908"/>
                    <a:gd name="connsiteX43" fmla="*/ 1689 w 10000"/>
                    <a:gd name="connsiteY43" fmla="*/ 5171 h 9908"/>
                    <a:gd name="connsiteX44" fmla="*/ 1689 w 10000"/>
                    <a:gd name="connsiteY44" fmla="*/ 5171 h 9908"/>
                    <a:gd name="connsiteX45" fmla="*/ 1103 w 10000"/>
                    <a:gd name="connsiteY45" fmla="*/ 5151 h 9908"/>
                    <a:gd name="connsiteX46" fmla="*/ 650 w 10000"/>
                    <a:gd name="connsiteY46" fmla="*/ 5134 h 9908"/>
                    <a:gd name="connsiteX47" fmla="*/ 521 w 10000"/>
                    <a:gd name="connsiteY47" fmla="*/ 5115 h 9908"/>
                    <a:gd name="connsiteX48" fmla="*/ 390 w 10000"/>
                    <a:gd name="connsiteY48" fmla="*/ 5098 h 9908"/>
                    <a:gd name="connsiteX49" fmla="*/ 390 w 10000"/>
                    <a:gd name="connsiteY49" fmla="*/ 5098 h 9908"/>
                    <a:gd name="connsiteX50" fmla="*/ 261 w 10000"/>
                    <a:gd name="connsiteY50" fmla="*/ 5024 h 9908"/>
                    <a:gd name="connsiteX51" fmla="*/ 65 w 10000"/>
                    <a:gd name="connsiteY51" fmla="*/ 4902 h 9908"/>
                    <a:gd name="connsiteX52" fmla="*/ 0 w 10000"/>
                    <a:gd name="connsiteY52" fmla="*/ 4829 h 9908"/>
                    <a:gd name="connsiteX53" fmla="*/ 0 w 10000"/>
                    <a:gd name="connsiteY53" fmla="*/ 4755 h 9908"/>
                    <a:gd name="connsiteX54" fmla="*/ 0 w 10000"/>
                    <a:gd name="connsiteY54" fmla="*/ 4702 h 9908"/>
                    <a:gd name="connsiteX55" fmla="*/ 131 w 10000"/>
                    <a:gd name="connsiteY55" fmla="*/ 4647 h 9908"/>
                    <a:gd name="connsiteX56" fmla="*/ 131 w 10000"/>
                    <a:gd name="connsiteY56" fmla="*/ 4647 h 9908"/>
                    <a:gd name="connsiteX57" fmla="*/ 455 w 10000"/>
                    <a:gd name="connsiteY57" fmla="*/ 4557 h 9908"/>
                    <a:gd name="connsiteX58" fmla="*/ 779 w 10000"/>
                    <a:gd name="connsiteY58" fmla="*/ 4469 h 9908"/>
                    <a:gd name="connsiteX59" fmla="*/ 975 w 10000"/>
                    <a:gd name="connsiteY59" fmla="*/ 4415 h 9908"/>
                    <a:gd name="connsiteX60" fmla="*/ 1103 w 10000"/>
                    <a:gd name="connsiteY60" fmla="*/ 4360 h 9908"/>
                    <a:gd name="connsiteX61" fmla="*/ 1103 w 10000"/>
                    <a:gd name="connsiteY61" fmla="*/ 4287 h 9908"/>
                    <a:gd name="connsiteX62" fmla="*/ 1103 w 10000"/>
                    <a:gd name="connsiteY62" fmla="*/ 4197 h 9908"/>
                    <a:gd name="connsiteX63" fmla="*/ 1103 w 10000"/>
                    <a:gd name="connsiteY63" fmla="*/ 4197 h 9908"/>
                    <a:gd name="connsiteX64" fmla="*/ 845 w 10000"/>
                    <a:gd name="connsiteY64" fmla="*/ 3945 h 9908"/>
                    <a:gd name="connsiteX65" fmla="*/ 521 w 10000"/>
                    <a:gd name="connsiteY65" fmla="*/ 3603 h 9908"/>
                    <a:gd name="connsiteX66" fmla="*/ 261 w 10000"/>
                    <a:gd name="connsiteY66" fmla="*/ 3295 h 9908"/>
                    <a:gd name="connsiteX67" fmla="*/ 195 w 10000"/>
                    <a:gd name="connsiteY67" fmla="*/ 3206 h 9908"/>
                    <a:gd name="connsiteX68" fmla="*/ 195 w 10000"/>
                    <a:gd name="connsiteY68" fmla="*/ 3171 h 9908"/>
                    <a:gd name="connsiteX69" fmla="*/ 261 w 10000"/>
                    <a:gd name="connsiteY69" fmla="*/ 3151 h 9908"/>
                    <a:gd name="connsiteX70" fmla="*/ 261 w 10000"/>
                    <a:gd name="connsiteY70" fmla="*/ 3151 h 9908"/>
                    <a:gd name="connsiteX71" fmla="*/ 650 w 10000"/>
                    <a:gd name="connsiteY71" fmla="*/ 3134 h 9908"/>
                    <a:gd name="connsiteX72" fmla="*/ 908 w 10000"/>
                    <a:gd name="connsiteY72" fmla="*/ 3134 h 9908"/>
                    <a:gd name="connsiteX73" fmla="*/ 1103 w 10000"/>
                    <a:gd name="connsiteY73" fmla="*/ 3151 h 9908"/>
                    <a:gd name="connsiteX74" fmla="*/ 1103 w 10000"/>
                    <a:gd name="connsiteY74" fmla="*/ 3151 h 9908"/>
                    <a:gd name="connsiteX75" fmla="*/ 1168 w 10000"/>
                    <a:gd name="connsiteY75" fmla="*/ 3151 h 9908"/>
                    <a:gd name="connsiteX76" fmla="*/ 1235 w 10000"/>
                    <a:gd name="connsiteY76" fmla="*/ 3118 h 9908"/>
                    <a:gd name="connsiteX77" fmla="*/ 1559 w 10000"/>
                    <a:gd name="connsiteY77" fmla="*/ 3008 h 9908"/>
                    <a:gd name="connsiteX78" fmla="*/ 2402 w 10000"/>
                    <a:gd name="connsiteY78" fmla="*/ 2647 h 9908"/>
                    <a:gd name="connsiteX79" fmla="*/ 3507 w 10000"/>
                    <a:gd name="connsiteY79" fmla="*/ 2127 h 9908"/>
                    <a:gd name="connsiteX80" fmla="*/ 3507 w 10000"/>
                    <a:gd name="connsiteY80" fmla="*/ 2127 h 9908"/>
                    <a:gd name="connsiteX81" fmla="*/ 3507 w 10000"/>
                    <a:gd name="connsiteY81" fmla="*/ 2053 h 9908"/>
                    <a:gd name="connsiteX82" fmla="*/ 3507 w 10000"/>
                    <a:gd name="connsiteY82" fmla="*/ 1889 h 9908"/>
                    <a:gd name="connsiteX83" fmla="*/ 3573 w 10000"/>
                    <a:gd name="connsiteY83" fmla="*/ 1783 h 9908"/>
                    <a:gd name="connsiteX84" fmla="*/ 3702 w 10000"/>
                    <a:gd name="connsiteY84" fmla="*/ 1692 h 9908"/>
                    <a:gd name="connsiteX85" fmla="*/ 3896 w 10000"/>
                    <a:gd name="connsiteY85" fmla="*/ 1585 h 9908"/>
                    <a:gd name="connsiteX86" fmla="*/ 4156 w 10000"/>
                    <a:gd name="connsiteY86" fmla="*/ 1496 h 9908"/>
                    <a:gd name="connsiteX87" fmla="*/ 4156 w 10000"/>
                    <a:gd name="connsiteY87" fmla="*/ 1496 h 9908"/>
                    <a:gd name="connsiteX88" fmla="*/ 4806 w 10000"/>
                    <a:gd name="connsiteY88" fmla="*/ 1317 h 9908"/>
                    <a:gd name="connsiteX89" fmla="*/ 5455 w 10000"/>
                    <a:gd name="connsiteY89" fmla="*/ 1080 h 9908"/>
                    <a:gd name="connsiteX90" fmla="*/ 6104 w 10000"/>
                    <a:gd name="connsiteY90" fmla="*/ 864 h 9908"/>
                    <a:gd name="connsiteX91" fmla="*/ 6559 w 10000"/>
                    <a:gd name="connsiteY91" fmla="*/ 668 h 9908"/>
                    <a:gd name="connsiteX92" fmla="*/ 6559 w 10000"/>
                    <a:gd name="connsiteY92" fmla="*/ 668 h 9908"/>
                    <a:gd name="connsiteX93" fmla="*/ 6882 w 10000"/>
                    <a:gd name="connsiteY93" fmla="*/ 488 h 9908"/>
                    <a:gd name="connsiteX94" fmla="*/ 7273 w 10000"/>
                    <a:gd name="connsiteY94" fmla="*/ 269 h 9908"/>
                    <a:gd name="connsiteX95" fmla="*/ 7663 w 10000"/>
                    <a:gd name="connsiteY95" fmla="*/ 107 h 9908"/>
                    <a:gd name="connsiteX96" fmla="*/ 7856 w 10000"/>
                    <a:gd name="connsiteY96" fmla="*/ 33 h 9908"/>
                    <a:gd name="connsiteX97" fmla="*/ 8051 w 10000"/>
                    <a:gd name="connsiteY97" fmla="*/ 17 h 9908"/>
                    <a:gd name="connsiteX98" fmla="*/ 8051 w 10000"/>
                    <a:gd name="connsiteY98" fmla="*/ 17 h 9908"/>
                    <a:gd name="connsiteX99" fmla="*/ 8442 w 10000"/>
                    <a:gd name="connsiteY99" fmla="*/ 0 h 9908"/>
                    <a:gd name="connsiteX100" fmla="*/ 8961 w 10000"/>
                    <a:gd name="connsiteY100" fmla="*/ 0 h 9908"/>
                    <a:gd name="connsiteX101" fmla="*/ 10000 w 10000"/>
                    <a:gd name="connsiteY101" fmla="*/ 17 h 9908"/>
                    <a:gd name="connsiteX102" fmla="*/ 3247 w 10000"/>
                    <a:gd name="connsiteY102" fmla="*/ 9908 h 9908"/>
                    <a:gd name="connsiteX103" fmla="*/ 3247 w 10000"/>
                    <a:gd name="connsiteY103" fmla="*/ 9908 h 9908"/>
                    <a:gd name="connsiteX104" fmla="*/ 3117 w 10000"/>
                    <a:gd name="connsiteY104" fmla="*/ 9711 h 9908"/>
                    <a:gd name="connsiteX105" fmla="*/ 3117 w 10000"/>
                    <a:gd name="connsiteY105" fmla="*/ 9711 h 9908"/>
                    <a:gd name="connsiteX106" fmla="*/ 3312 w 10000"/>
                    <a:gd name="connsiteY106" fmla="*/ 9654 h 9908"/>
                    <a:gd name="connsiteX107" fmla="*/ 3443 w 10000"/>
                    <a:gd name="connsiteY107" fmla="*/ 9637 h 9908"/>
                    <a:gd name="connsiteX108" fmla="*/ 2661 w 10000"/>
                    <a:gd name="connsiteY108" fmla="*/ 9654 h 9908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3507 w 10000"/>
                    <a:gd name="connsiteY11" fmla="*/ 9690 h 10000"/>
                    <a:gd name="connsiteX12" fmla="*/ 7646 w 10000"/>
                    <a:gd name="connsiteY12" fmla="*/ 9411 h 10000"/>
                    <a:gd name="connsiteX13" fmla="*/ 8116 w 10000"/>
                    <a:gd name="connsiteY13" fmla="*/ 9420 h 10000"/>
                    <a:gd name="connsiteX14" fmla="*/ 8116 w 10000"/>
                    <a:gd name="connsiteY14" fmla="*/ 9420 h 10000"/>
                    <a:gd name="connsiteX15" fmla="*/ 8442 w 10000"/>
                    <a:gd name="connsiteY15" fmla="*/ 9383 h 10000"/>
                    <a:gd name="connsiteX16" fmla="*/ 8702 w 10000"/>
                    <a:gd name="connsiteY16" fmla="*/ 9292 h 10000"/>
                    <a:gd name="connsiteX17" fmla="*/ 8636 w 10000"/>
                    <a:gd name="connsiteY17" fmla="*/ 9255 h 10000"/>
                    <a:gd name="connsiteX18" fmla="*/ 8636 w 10000"/>
                    <a:gd name="connsiteY18" fmla="*/ 9219 h 10000"/>
                    <a:gd name="connsiteX19" fmla="*/ 8312 w 10000"/>
                    <a:gd name="connsiteY19" fmla="*/ 9128 h 10000"/>
                    <a:gd name="connsiteX20" fmla="*/ 5975 w 10000"/>
                    <a:gd name="connsiteY20" fmla="*/ 8799 h 10000"/>
                    <a:gd name="connsiteX21" fmla="*/ 5975 w 10000"/>
                    <a:gd name="connsiteY21" fmla="*/ 8799 h 10000"/>
                    <a:gd name="connsiteX22" fmla="*/ 5714 w 10000"/>
                    <a:gd name="connsiteY22" fmla="*/ 8746 h 10000"/>
                    <a:gd name="connsiteX23" fmla="*/ 5519 w 10000"/>
                    <a:gd name="connsiteY23" fmla="*/ 8691 h 10000"/>
                    <a:gd name="connsiteX24" fmla="*/ 5389 w 10000"/>
                    <a:gd name="connsiteY24" fmla="*/ 8636 h 10000"/>
                    <a:gd name="connsiteX25" fmla="*/ 5389 w 10000"/>
                    <a:gd name="connsiteY25" fmla="*/ 8636 h 10000"/>
                    <a:gd name="connsiteX26" fmla="*/ 7729 w 10000"/>
                    <a:gd name="connsiteY26" fmla="*/ 8617 h 10000"/>
                    <a:gd name="connsiteX27" fmla="*/ 10000 w 10000"/>
                    <a:gd name="connsiteY27" fmla="*/ 8799 h 10000"/>
                    <a:gd name="connsiteX28" fmla="*/ 10000 w 10000"/>
                    <a:gd name="connsiteY28" fmla="*/ 7147 h 10000"/>
                    <a:gd name="connsiteX29" fmla="*/ 10000 w 10000"/>
                    <a:gd name="connsiteY29" fmla="*/ 7147 h 10000"/>
                    <a:gd name="connsiteX30" fmla="*/ 7404 w 10000"/>
                    <a:gd name="connsiteY30" fmla="*/ 6762 h 10000"/>
                    <a:gd name="connsiteX31" fmla="*/ 5975 w 10000"/>
                    <a:gd name="connsiteY31" fmla="*/ 6546 h 10000"/>
                    <a:gd name="connsiteX32" fmla="*/ 5975 w 10000"/>
                    <a:gd name="connsiteY32" fmla="*/ 6546 h 10000"/>
                    <a:gd name="connsiteX33" fmla="*/ 5975 w 10000"/>
                    <a:gd name="connsiteY33" fmla="*/ 6528 h 10000"/>
                    <a:gd name="connsiteX34" fmla="*/ 5975 w 10000"/>
                    <a:gd name="connsiteY34" fmla="*/ 6419 h 10000"/>
                    <a:gd name="connsiteX35" fmla="*/ 5975 w 10000"/>
                    <a:gd name="connsiteY35" fmla="*/ 6419 h 10000"/>
                    <a:gd name="connsiteX36" fmla="*/ 5779 w 10000"/>
                    <a:gd name="connsiteY36" fmla="*/ 6289 h 10000"/>
                    <a:gd name="connsiteX37" fmla="*/ 5389 w 10000"/>
                    <a:gd name="connsiteY37" fmla="*/ 6090 h 10000"/>
                    <a:gd name="connsiteX38" fmla="*/ 4545 w 10000"/>
                    <a:gd name="connsiteY38" fmla="*/ 5710 h 10000"/>
                    <a:gd name="connsiteX39" fmla="*/ 4545 w 10000"/>
                    <a:gd name="connsiteY39" fmla="*/ 5710 h 10000"/>
                    <a:gd name="connsiteX40" fmla="*/ 4352 w 10000"/>
                    <a:gd name="connsiteY40" fmla="*/ 5655 h 10000"/>
                    <a:gd name="connsiteX41" fmla="*/ 4026 w 10000"/>
                    <a:gd name="connsiteY41" fmla="*/ 5582 h 10000"/>
                    <a:gd name="connsiteX42" fmla="*/ 3052 w 10000"/>
                    <a:gd name="connsiteY42" fmla="*/ 5418 h 10000"/>
                    <a:gd name="connsiteX43" fmla="*/ 1689 w 10000"/>
                    <a:gd name="connsiteY43" fmla="*/ 5219 h 10000"/>
                    <a:gd name="connsiteX44" fmla="*/ 1689 w 10000"/>
                    <a:gd name="connsiteY44" fmla="*/ 5219 h 10000"/>
                    <a:gd name="connsiteX45" fmla="*/ 1103 w 10000"/>
                    <a:gd name="connsiteY45" fmla="*/ 5199 h 10000"/>
                    <a:gd name="connsiteX46" fmla="*/ 650 w 10000"/>
                    <a:gd name="connsiteY46" fmla="*/ 5182 h 10000"/>
                    <a:gd name="connsiteX47" fmla="*/ 521 w 10000"/>
                    <a:gd name="connsiteY47" fmla="*/ 5162 h 10000"/>
                    <a:gd name="connsiteX48" fmla="*/ 390 w 10000"/>
                    <a:gd name="connsiteY48" fmla="*/ 5145 h 10000"/>
                    <a:gd name="connsiteX49" fmla="*/ 390 w 10000"/>
                    <a:gd name="connsiteY49" fmla="*/ 5145 h 10000"/>
                    <a:gd name="connsiteX50" fmla="*/ 261 w 10000"/>
                    <a:gd name="connsiteY50" fmla="*/ 5071 h 10000"/>
                    <a:gd name="connsiteX51" fmla="*/ 65 w 10000"/>
                    <a:gd name="connsiteY51" fmla="*/ 4948 h 10000"/>
                    <a:gd name="connsiteX52" fmla="*/ 0 w 10000"/>
                    <a:gd name="connsiteY52" fmla="*/ 4874 h 10000"/>
                    <a:gd name="connsiteX53" fmla="*/ 0 w 10000"/>
                    <a:gd name="connsiteY53" fmla="*/ 4799 h 10000"/>
                    <a:gd name="connsiteX54" fmla="*/ 0 w 10000"/>
                    <a:gd name="connsiteY54" fmla="*/ 4746 h 10000"/>
                    <a:gd name="connsiteX55" fmla="*/ 131 w 10000"/>
                    <a:gd name="connsiteY55" fmla="*/ 4690 h 10000"/>
                    <a:gd name="connsiteX56" fmla="*/ 131 w 10000"/>
                    <a:gd name="connsiteY56" fmla="*/ 4690 h 10000"/>
                    <a:gd name="connsiteX57" fmla="*/ 455 w 10000"/>
                    <a:gd name="connsiteY57" fmla="*/ 4599 h 10000"/>
                    <a:gd name="connsiteX58" fmla="*/ 779 w 10000"/>
                    <a:gd name="connsiteY58" fmla="*/ 4510 h 10000"/>
                    <a:gd name="connsiteX59" fmla="*/ 975 w 10000"/>
                    <a:gd name="connsiteY59" fmla="*/ 4456 h 10000"/>
                    <a:gd name="connsiteX60" fmla="*/ 1103 w 10000"/>
                    <a:gd name="connsiteY60" fmla="*/ 4400 h 10000"/>
                    <a:gd name="connsiteX61" fmla="*/ 1103 w 10000"/>
                    <a:gd name="connsiteY61" fmla="*/ 4327 h 10000"/>
                    <a:gd name="connsiteX62" fmla="*/ 1103 w 10000"/>
                    <a:gd name="connsiteY62" fmla="*/ 4236 h 10000"/>
                    <a:gd name="connsiteX63" fmla="*/ 1103 w 10000"/>
                    <a:gd name="connsiteY63" fmla="*/ 4236 h 10000"/>
                    <a:gd name="connsiteX64" fmla="*/ 845 w 10000"/>
                    <a:gd name="connsiteY64" fmla="*/ 3982 h 10000"/>
                    <a:gd name="connsiteX65" fmla="*/ 521 w 10000"/>
                    <a:gd name="connsiteY65" fmla="*/ 3636 h 10000"/>
                    <a:gd name="connsiteX66" fmla="*/ 261 w 10000"/>
                    <a:gd name="connsiteY66" fmla="*/ 3326 h 10000"/>
                    <a:gd name="connsiteX67" fmla="*/ 195 w 10000"/>
                    <a:gd name="connsiteY67" fmla="*/ 3236 h 10000"/>
                    <a:gd name="connsiteX68" fmla="*/ 195 w 10000"/>
                    <a:gd name="connsiteY68" fmla="*/ 3200 h 10000"/>
                    <a:gd name="connsiteX69" fmla="*/ 261 w 10000"/>
                    <a:gd name="connsiteY69" fmla="*/ 3180 h 10000"/>
                    <a:gd name="connsiteX70" fmla="*/ 261 w 10000"/>
                    <a:gd name="connsiteY70" fmla="*/ 3180 h 10000"/>
                    <a:gd name="connsiteX71" fmla="*/ 650 w 10000"/>
                    <a:gd name="connsiteY71" fmla="*/ 3163 h 10000"/>
                    <a:gd name="connsiteX72" fmla="*/ 908 w 10000"/>
                    <a:gd name="connsiteY72" fmla="*/ 3163 h 10000"/>
                    <a:gd name="connsiteX73" fmla="*/ 1103 w 10000"/>
                    <a:gd name="connsiteY73" fmla="*/ 3180 h 10000"/>
                    <a:gd name="connsiteX74" fmla="*/ 1103 w 10000"/>
                    <a:gd name="connsiteY74" fmla="*/ 3180 h 10000"/>
                    <a:gd name="connsiteX75" fmla="*/ 1168 w 10000"/>
                    <a:gd name="connsiteY75" fmla="*/ 3180 h 10000"/>
                    <a:gd name="connsiteX76" fmla="*/ 1235 w 10000"/>
                    <a:gd name="connsiteY76" fmla="*/ 3147 h 10000"/>
                    <a:gd name="connsiteX77" fmla="*/ 1559 w 10000"/>
                    <a:gd name="connsiteY77" fmla="*/ 3036 h 10000"/>
                    <a:gd name="connsiteX78" fmla="*/ 2402 w 10000"/>
                    <a:gd name="connsiteY78" fmla="*/ 2672 h 10000"/>
                    <a:gd name="connsiteX79" fmla="*/ 3507 w 10000"/>
                    <a:gd name="connsiteY79" fmla="*/ 2147 h 10000"/>
                    <a:gd name="connsiteX80" fmla="*/ 3507 w 10000"/>
                    <a:gd name="connsiteY80" fmla="*/ 2147 h 10000"/>
                    <a:gd name="connsiteX81" fmla="*/ 3507 w 10000"/>
                    <a:gd name="connsiteY81" fmla="*/ 2072 h 10000"/>
                    <a:gd name="connsiteX82" fmla="*/ 3507 w 10000"/>
                    <a:gd name="connsiteY82" fmla="*/ 1907 h 10000"/>
                    <a:gd name="connsiteX83" fmla="*/ 3573 w 10000"/>
                    <a:gd name="connsiteY83" fmla="*/ 1800 h 10000"/>
                    <a:gd name="connsiteX84" fmla="*/ 3702 w 10000"/>
                    <a:gd name="connsiteY84" fmla="*/ 1708 h 10000"/>
                    <a:gd name="connsiteX85" fmla="*/ 3896 w 10000"/>
                    <a:gd name="connsiteY85" fmla="*/ 1600 h 10000"/>
                    <a:gd name="connsiteX86" fmla="*/ 4156 w 10000"/>
                    <a:gd name="connsiteY86" fmla="*/ 1510 h 10000"/>
                    <a:gd name="connsiteX87" fmla="*/ 4156 w 10000"/>
                    <a:gd name="connsiteY87" fmla="*/ 1510 h 10000"/>
                    <a:gd name="connsiteX88" fmla="*/ 4806 w 10000"/>
                    <a:gd name="connsiteY88" fmla="*/ 1329 h 10000"/>
                    <a:gd name="connsiteX89" fmla="*/ 5455 w 10000"/>
                    <a:gd name="connsiteY89" fmla="*/ 1090 h 10000"/>
                    <a:gd name="connsiteX90" fmla="*/ 6104 w 10000"/>
                    <a:gd name="connsiteY90" fmla="*/ 872 h 10000"/>
                    <a:gd name="connsiteX91" fmla="*/ 6559 w 10000"/>
                    <a:gd name="connsiteY91" fmla="*/ 674 h 10000"/>
                    <a:gd name="connsiteX92" fmla="*/ 6559 w 10000"/>
                    <a:gd name="connsiteY92" fmla="*/ 674 h 10000"/>
                    <a:gd name="connsiteX93" fmla="*/ 6882 w 10000"/>
                    <a:gd name="connsiteY93" fmla="*/ 493 h 10000"/>
                    <a:gd name="connsiteX94" fmla="*/ 7273 w 10000"/>
                    <a:gd name="connsiteY94" fmla="*/ 271 h 10000"/>
                    <a:gd name="connsiteX95" fmla="*/ 7663 w 10000"/>
                    <a:gd name="connsiteY95" fmla="*/ 108 h 10000"/>
                    <a:gd name="connsiteX96" fmla="*/ 7856 w 10000"/>
                    <a:gd name="connsiteY96" fmla="*/ 33 h 10000"/>
                    <a:gd name="connsiteX97" fmla="*/ 8051 w 10000"/>
                    <a:gd name="connsiteY97" fmla="*/ 17 h 10000"/>
                    <a:gd name="connsiteX98" fmla="*/ 8051 w 10000"/>
                    <a:gd name="connsiteY98" fmla="*/ 17 h 10000"/>
                    <a:gd name="connsiteX99" fmla="*/ 8442 w 10000"/>
                    <a:gd name="connsiteY99" fmla="*/ 0 h 10000"/>
                    <a:gd name="connsiteX100" fmla="*/ 8961 w 10000"/>
                    <a:gd name="connsiteY100" fmla="*/ 0 h 10000"/>
                    <a:gd name="connsiteX101" fmla="*/ 10000 w 10000"/>
                    <a:gd name="connsiteY101" fmla="*/ 17 h 10000"/>
                    <a:gd name="connsiteX102" fmla="*/ 3247 w 10000"/>
                    <a:gd name="connsiteY102" fmla="*/ 10000 h 10000"/>
                    <a:gd name="connsiteX103" fmla="*/ 3117 w 10000"/>
                    <a:gd name="connsiteY103" fmla="*/ 9801 h 10000"/>
                    <a:gd name="connsiteX104" fmla="*/ 3117 w 10000"/>
                    <a:gd name="connsiteY104" fmla="*/ 9801 h 10000"/>
                    <a:gd name="connsiteX105" fmla="*/ 3312 w 10000"/>
                    <a:gd name="connsiteY105" fmla="*/ 9744 h 10000"/>
                    <a:gd name="connsiteX106" fmla="*/ 3443 w 10000"/>
                    <a:gd name="connsiteY106" fmla="*/ 9726 h 10000"/>
                    <a:gd name="connsiteX107" fmla="*/ 2661 w 10000"/>
                    <a:gd name="connsiteY107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3507 w 10000"/>
                    <a:gd name="connsiteY11" fmla="*/ 9690 h 10000"/>
                    <a:gd name="connsiteX12" fmla="*/ 7646 w 10000"/>
                    <a:gd name="connsiteY12" fmla="*/ 9411 h 10000"/>
                    <a:gd name="connsiteX13" fmla="*/ 8116 w 10000"/>
                    <a:gd name="connsiteY13" fmla="*/ 9420 h 10000"/>
                    <a:gd name="connsiteX14" fmla="*/ 8116 w 10000"/>
                    <a:gd name="connsiteY14" fmla="*/ 9420 h 10000"/>
                    <a:gd name="connsiteX15" fmla="*/ 8442 w 10000"/>
                    <a:gd name="connsiteY15" fmla="*/ 9383 h 10000"/>
                    <a:gd name="connsiteX16" fmla="*/ 8702 w 10000"/>
                    <a:gd name="connsiteY16" fmla="*/ 9292 h 10000"/>
                    <a:gd name="connsiteX17" fmla="*/ 8636 w 10000"/>
                    <a:gd name="connsiteY17" fmla="*/ 9255 h 10000"/>
                    <a:gd name="connsiteX18" fmla="*/ 8636 w 10000"/>
                    <a:gd name="connsiteY18" fmla="*/ 9219 h 10000"/>
                    <a:gd name="connsiteX19" fmla="*/ 8312 w 10000"/>
                    <a:gd name="connsiteY19" fmla="*/ 9128 h 10000"/>
                    <a:gd name="connsiteX20" fmla="*/ 5975 w 10000"/>
                    <a:gd name="connsiteY20" fmla="*/ 8799 h 10000"/>
                    <a:gd name="connsiteX21" fmla="*/ 5975 w 10000"/>
                    <a:gd name="connsiteY21" fmla="*/ 8799 h 10000"/>
                    <a:gd name="connsiteX22" fmla="*/ 5714 w 10000"/>
                    <a:gd name="connsiteY22" fmla="*/ 8746 h 10000"/>
                    <a:gd name="connsiteX23" fmla="*/ 5519 w 10000"/>
                    <a:gd name="connsiteY23" fmla="*/ 8691 h 10000"/>
                    <a:gd name="connsiteX24" fmla="*/ 5389 w 10000"/>
                    <a:gd name="connsiteY24" fmla="*/ 8636 h 10000"/>
                    <a:gd name="connsiteX25" fmla="*/ 5389 w 10000"/>
                    <a:gd name="connsiteY25" fmla="*/ 8636 h 10000"/>
                    <a:gd name="connsiteX26" fmla="*/ 7729 w 10000"/>
                    <a:gd name="connsiteY26" fmla="*/ 8617 h 10000"/>
                    <a:gd name="connsiteX27" fmla="*/ 10000 w 10000"/>
                    <a:gd name="connsiteY27" fmla="*/ 8799 h 10000"/>
                    <a:gd name="connsiteX28" fmla="*/ 10000 w 10000"/>
                    <a:gd name="connsiteY28" fmla="*/ 7147 h 10000"/>
                    <a:gd name="connsiteX29" fmla="*/ 10000 w 10000"/>
                    <a:gd name="connsiteY29" fmla="*/ 7147 h 10000"/>
                    <a:gd name="connsiteX30" fmla="*/ 7404 w 10000"/>
                    <a:gd name="connsiteY30" fmla="*/ 6762 h 10000"/>
                    <a:gd name="connsiteX31" fmla="*/ 5975 w 10000"/>
                    <a:gd name="connsiteY31" fmla="*/ 6546 h 10000"/>
                    <a:gd name="connsiteX32" fmla="*/ 5975 w 10000"/>
                    <a:gd name="connsiteY32" fmla="*/ 6546 h 10000"/>
                    <a:gd name="connsiteX33" fmla="*/ 5975 w 10000"/>
                    <a:gd name="connsiteY33" fmla="*/ 6528 h 10000"/>
                    <a:gd name="connsiteX34" fmla="*/ 5975 w 10000"/>
                    <a:gd name="connsiteY34" fmla="*/ 6419 h 10000"/>
                    <a:gd name="connsiteX35" fmla="*/ 5975 w 10000"/>
                    <a:gd name="connsiteY35" fmla="*/ 6419 h 10000"/>
                    <a:gd name="connsiteX36" fmla="*/ 5779 w 10000"/>
                    <a:gd name="connsiteY36" fmla="*/ 6289 h 10000"/>
                    <a:gd name="connsiteX37" fmla="*/ 5389 w 10000"/>
                    <a:gd name="connsiteY37" fmla="*/ 6090 h 10000"/>
                    <a:gd name="connsiteX38" fmla="*/ 4545 w 10000"/>
                    <a:gd name="connsiteY38" fmla="*/ 5710 h 10000"/>
                    <a:gd name="connsiteX39" fmla="*/ 4545 w 10000"/>
                    <a:gd name="connsiteY39" fmla="*/ 5710 h 10000"/>
                    <a:gd name="connsiteX40" fmla="*/ 4352 w 10000"/>
                    <a:gd name="connsiteY40" fmla="*/ 5655 h 10000"/>
                    <a:gd name="connsiteX41" fmla="*/ 4026 w 10000"/>
                    <a:gd name="connsiteY41" fmla="*/ 5582 h 10000"/>
                    <a:gd name="connsiteX42" fmla="*/ 3052 w 10000"/>
                    <a:gd name="connsiteY42" fmla="*/ 5418 h 10000"/>
                    <a:gd name="connsiteX43" fmla="*/ 1689 w 10000"/>
                    <a:gd name="connsiteY43" fmla="*/ 5219 h 10000"/>
                    <a:gd name="connsiteX44" fmla="*/ 1689 w 10000"/>
                    <a:gd name="connsiteY44" fmla="*/ 5219 h 10000"/>
                    <a:gd name="connsiteX45" fmla="*/ 1103 w 10000"/>
                    <a:gd name="connsiteY45" fmla="*/ 5199 h 10000"/>
                    <a:gd name="connsiteX46" fmla="*/ 650 w 10000"/>
                    <a:gd name="connsiteY46" fmla="*/ 5182 h 10000"/>
                    <a:gd name="connsiteX47" fmla="*/ 521 w 10000"/>
                    <a:gd name="connsiteY47" fmla="*/ 5162 h 10000"/>
                    <a:gd name="connsiteX48" fmla="*/ 390 w 10000"/>
                    <a:gd name="connsiteY48" fmla="*/ 5145 h 10000"/>
                    <a:gd name="connsiteX49" fmla="*/ 390 w 10000"/>
                    <a:gd name="connsiteY49" fmla="*/ 5145 h 10000"/>
                    <a:gd name="connsiteX50" fmla="*/ 261 w 10000"/>
                    <a:gd name="connsiteY50" fmla="*/ 5071 h 10000"/>
                    <a:gd name="connsiteX51" fmla="*/ 65 w 10000"/>
                    <a:gd name="connsiteY51" fmla="*/ 4948 h 10000"/>
                    <a:gd name="connsiteX52" fmla="*/ 0 w 10000"/>
                    <a:gd name="connsiteY52" fmla="*/ 4874 h 10000"/>
                    <a:gd name="connsiteX53" fmla="*/ 0 w 10000"/>
                    <a:gd name="connsiteY53" fmla="*/ 4799 h 10000"/>
                    <a:gd name="connsiteX54" fmla="*/ 0 w 10000"/>
                    <a:gd name="connsiteY54" fmla="*/ 4746 h 10000"/>
                    <a:gd name="connsiteX55" fmla="*/ 131 w 10000"/>
                    <a:gd name="connsiteY55" fmla="*/ 4690 h 10000"/>
                    <a:gd name="connsiteX56" fmla="*/ 131 w 10000"/>
                    <a:gd name="connsiteY56" fmla="*/ 4690 h 10000"/>
                    <a:gd name="connsiteX57" fmla="*/ 455 w 10000"/>
                    <a:gd name="connsiteY57" fmla="*/ 4599 h 10000"/>
                    <a:gd name="connsiteX58" fmla="*/ 779 w 10000"/>
                    <a:gd name="connsiteY58" fmla="*/ 4510 h 10000"/>
                    <a:gd name="connsiteX59" fmla="*/ 975 w 10000"/>
                    <a:gd name="connsiteY59" fmla="*/ 4456 h 10000"/>
                    <a:gd name="connsiteX60" fmla="*/ 1103 w 10000"/>
                    <a:gd name="connsiteY60" fmla="*/ 4400 h 10000"/>
                    <a:gd name="connsiteX61" fmla="*/ 1103 w 10000"/>
                    <a:gd name="connsiteY61" fmla="*/ 4327 h 10000"/>
                    <a:gd name="connsiteX62" fmla="*/ 1103 w 10000"/>
                    <a:gd name="connsiteY62" fmla="*/ 4236 h 10000"/>
                    <a:gd name="connsiteX63" fmla="*/ 1103 w 10000"/>
                    <a:gd name="connsiteY63" fmla="*/ 4236 h 10000"/>
                    <a:gd name="connsiteX64" fmla="*/ 845 w 10000"/>
                    <a:gd name="connsiteY64" fmla="*/ 3982 h 10000"/>
                    <a:gd name="connsiteX65" fmla="*/ 521 w 10000"/>
                    <a:gd name="connsiteY65" fmla="*/ 3636 h 10000"/>
                    <a:gd name="connsiteX66" fmla="*/ 261 w 10000"/>
                    <a:gd name="connsiteY66" fmla="*/ 3326 h 10000"/>
                    <a:gd name="connsiteX67" fmla="*/ 195 w 10000"/>
                    <a:gd name="connsiteY67" fmla="*/ 3236 h 10000"/>
                    <a:gd name="connsiteX68" fmla="*/ 195 w 10000"/>
                    <a:gd name="connsiteY68" fmla="*/ 3200 h 10000"/>
                    <a:gd name="connsiteX69" fmla="*/ 261 w 10000"/>
                    <a:gd name="connsiteY69" fmla="*/ 3180 h 10000"/>
                    <a:gd name="connsiteX70" fmla="*/ 261 w 10000"/>
                    <a:gd name="connsiteY70" fmla="*/ 3180 h 10000"/>
                    <a:gd name="connsiteX71" fmla="*/ 650 w 10000"/>
                    <a:gd name="connsiteY71" fmla="*/ 3163 h 10000"/>
                    <a:gd name="connsiteX72" fmla="*/ 908 w 10000"/>
                    <a:gd name="connsiteY72" fmla="*/ 3163 h 10000"/>
                    <a:gd name="connsiteX73" fmla="*/ 1103 w 10000"/>
                    <a:gd name="connsiteY73" fmla="*/ 3180 h 10000"/>
                    <a:gd name="connsiteX74" fmla="*/ 1103 w 10000"/>
                    <a:gd name="connsiteY74" fmla="*/ 3180 h 10000"/>
                    <a:gd name="connsiteX75" fmla="*/ 1168 w 10000"/>
                    <a:gd name="connsiteY75" fmla="*/ 3180 h 10000"/>
                    <a:gd name="connsiteX76" fmla="*/ 1235 w 10000"/>
                    <a:gd name="connsiteY76" fmla="*/ 3147 h 10000"/>
                    <a:gd name="connsiteX77" fmla="*/ 1559 w 10000"/>
                    <a:gd name="connsiteY77" fmla="*/ 3036 h 10000"/>
                    <a:gd name="connsiteX78" fmla="*/ 2402 w 10000"/>
                    <a:gd name="connsiteY78" fmla="*/ 2672 h 10000"/>
                    <a:gd name="connsiteX79" fmla="*/ 3507 w 10000"/>
                    <a:gd name="connsiteY79" fmla="*/ 2147 h 10000"/>
                    <a:gd name="connsiteX80" fmla="*/ 3507 w 10000"/>
                    <a:gd name="connsiteY80" fmla="*/ 2147 h 10000"/>
                    <a:gd name="connsiteX81" fmla="*/ 3507 w 10000"/>
                    <a:gd name="connsiteY81" fmla="*/ 2072 h 10000"/>
                    <a:gd name="connsiteX82" fmla="*/ 3507 w 10000"/>
                    <a:gd name="connsiteY82" fmla="*/ 1907 h 10000"/>
                    <a:gd name="connsiteX83" fmla="*/ 3573 w 10000"/>
                    <a:gd name="connsiteY83" fmla="*/ 1800 h 10000"/>
                    <a:gd name="connsiteX84" fmla="*/ 3702 w 10000"/>
                    <a:gd name="connsiteY84" fmla="*/ 1708 h 10000"/>
                    <a:gd name="connsiteX85" fmla="*/ 3896 w 10000"/>
                    <a:gd name="connsiteY85" fmla="*/ 1600 h 10000"/>
                    <a:gd name="connsiteX86" fmla="*/ 4156 w 10000"/>
                    <a:gd name="connsiteY86" fmla="*/ 1510 h 10000"/>
                    <a:gd name="connsiteX87" fmla="*/ 4156 w 10000"/>
                    <a:gd name="connsiteY87" fmla="*/ 1510 h 10000"/>
                    <a:gd name="connsiteX88" fmla="*/ 4806 w 10000"/>
                    <a:gd name="connsiteY88" fmla="*/ 1329 h 10000"/>
                    <a:gd name="connsiteX89" fmla="*/ 5455 w 10000"/>
                    <a:gd name="connsiteY89" fmla="*/ 1090 h 10000"/>
                    <a:gd name="connsiteX90" fmla="*/ 6104 w 10000"/>
                    <a:gd name="connsiteY90" fmla="*/ 872 h 10000"/>
                    <a:gd name="connsiteX91" fmla="*/ 6559 w 10000"/>
                    <a:gd name="connsiteY91" fmla="*/ 674 h 10000"/>
                    <a:gd name="connsiteX92" fmla="*/ 6559 w 10000"/>
                    <a:gd name="connsiteY92" fmla="*/ 674 h 10000"/>
                    <a:gd name="connsiteX93" fmla="*/ 6882 w 10000"/>
                    <a:gd name="connsiteY93" fmla="*/ 493 h 10000"/>
                    <a:gd name="connsiteX94" fmla="*/ 7273 w 10000"/>
                    <a:gd name="connsiteY94" fmla="*/ 271 h 10000"/>
                    <a:gd name="connsiteX95" fmla="*/ 7663 w 10000"/>
                    <a:gd name="connsiteY95" fmla="*/ 108 h 10000"/>
                    <a:gd name="connsiteX96" fmla="*/ 7856 w 10000"/>
                    <a:gd name="connsiteY96" fmla="*/ 33 h 10000"/>
                    <a:gd name="connsiteX97" fmla="*/ 8051 w 10000"/>
                    <a:gd name="connsiteY97" fmla="*/ 17 h 10000"/>
                    <a:gd name="connsiteX98" fmla="*/ 8051 w 10000"/>
                    <a:gd name="connsiteY98" fmla="*/ 17 h 10000"/>
                    <a:gd name="connsiteX99" fmla="*/ 8442 w 10000"/>
                    <a:gd name="connsiteY99" fmla="*/ 0 h 10000"/>
                    <a:gd name="connsiteX100" fmla="*/ 8961 w 10000"/>
                    <a:gd name="connsiteY100" fmla="*/ 0 h 10000"/>
                    <a:gd name="connsiteX101" fmla="*/ 10000 w 10000"/>
                    <a:gd name="connsiteY101" fmla="*/ 17 h 10000"/>
                    <a:gd name="connsiteX102" fmla="*/ 3247 w 10000"/>
                    <a:gd name="connsiteY102" fmla="*/ 10000 h 10000"/>
                    <a:gd name="connsiteX103" fmla="*/ 3117 w 10000"/>
                    <a:gd name="connsiteY103" fmla="*/ 9801 h 10000"/>
                    <a:gd name="connsiteX104" fmla="*/ 3117 w 10000"/>
                    <a:gd name="connsiteY104" fmla="*/ 9801 h 10000"/>
                    <a:gd name="connsiteX105" fmla="*/ 3312 w 10000"/>
                    <a:gd name="connsiteY105" fmla="*/ 9744 h 10000"/>
                    <a:gd name="connsiteX106" fmla="*/ 2661 w 10000"/>
                    <a:gd name="connsiteY106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3507 w 10000"/>
                    <a:gd name="connsiteY11" fmla="*/ 9690 h 10000"/>
                    <a:gd name="connsiteX12" fmla="*/ 7646 w 10000"/>
                    <a:gd name="connsiteY12" fmla="*/ 9411 h 10000"/>
                    <a:gd name="connsiteX13" fmla="*/ 8116 w 10000"/>
                    <a:gd name="connsiteY13" fmla="*/ 9420 h 10000"/>
                    <a:gd name="connsiteX14" fmla="*/ 8116 w 10000"/>
                    <a:gd name="connsiteY14" fmla="*/ 9420 h 10000"/>
                    <a:gd name="connsiteX15" fmla="*/ 8442 w 10000"/>
                    <a:gd name="connsiteY15" fmla="*/ 9383 h 10000"/>
                    <a:gd name="connsiteX16" fmla="*/ 8702 w 10000"/>
                    <a:gd name="connsiteY16" fmla="*/ 9292 h 10000"/>
                    <a:gd name="connsiteX17" fmla="*/ 8636 w 10000"/>
                    <a:gd name="connsiteY17" fmla="*/ 9255 h 10000"/>
                    <a:gd name="connsiteX18" fmla="*/ 8636 w 10000"/>
                    <a:gd name="connsiteY18" fmla="*/ 9219 h 10000"/>
                    <a:gd name="connsiteX19" fmla="*/ 8312 w 10000"/>
                    <a:gd name="connsiteY19" fmla="*/ 9128 h 10000"/>
                    <a:gd name="connsiteX20" fmla="*/ 5975 w 10000"/>
                    <a:gd name="connsiteY20" fmla="*/ 8799 h 10000"/>
                    <a:gd name="connsiteX21" fmla="*/ 5975 w 10000"/>
                    <a:gd name="connsiteY21" fmla="*/ 8799 h 10000"/>
                    <a:gd name="connsiteX22" fmla="*/ 5714 w 10000"/>
                    <a:gd name="connsiteY22" fmla="*/ 8746 h 10000"/>
                    <a:gd name="connsiteX23" fmla="*/ 5519 w 10000"/>
                    <a:gd name="connsiteY23" fmla="*/ 8691 h 10000"/>
                    <a:gd name="connsiteX24" fmla="*/ 5389 w 10000"/>
                    <a:gd name="connsiteY24" fmla="*/ 8636 h 10000"/>
                    <a:gd name="connsiteX25" fmla="*/ 5389 w 10000"/>
                    <a:gd name="connsiteY25" fmla="*/ 8636 h 10000"/>
                    <a:gd name="connsiteX26" fmla="*/ 7729 w 10000"/>
                    <a:gd name="connsiteY26" fmla="*/ 8617 h 10000"/>
                    <a:gd name="connsiteX27" fmla="*/ 10000 w 10000"/>
                    <a:gd name="connsiteY27" fmla="*/ 8799 h 10000"/>
                    <a:gd name="connsiteX28" fmla="*/ 10000 w 10000"/>
                    <a:gd name="connsiteY28" fmla="*/ 7147 h 10000"/>
                    <a:gd name="connsiteX29" fmla="*/ 10000 w 10000"/>
                    <a:gd name="connsiteY29" fmla="*/ 7147 h 10000"/>
                    <a:gd name="connsiteX30" fmla="*/ 7404 w 10000"/>
                    <a:gd name="connsiteY30" fmla="*/ 6762 h 10000"/>
                    <a:gd name="connsiteX31" fmla="*/ 5975 w 10000"/>
                    <a:gd name="connsiteY31" fmla="*/ 6546 h 10000"/>
                    <a:gd name="connsiteX32" fmla="*/ 5975 w 10000"/>
                    <a:gd name="connsiteY32" fmla="*/ 6546 h 10000"/>
                    <a:gd name="connsiteX33" fmla="*/ 5975 w 10000"/>
                    <a:gd name="connsiteY33" fmla="*/ 6528 h 10000"/>
                    <a:gd name="connsiteX34" fmla="*/ 5975 w 10000"/>
                    <a:gd name="connsiteY34" fmla="*/ 6419 h 10000"/>
                    <a:gd name="connsiteX35" fmla="*/ 5975 w 10000"/>
                    <a:gd name="connsiteY35" fmla="*/ 6419 h 10000"/>
                    <a:gd name="connsiteX36" fmla="*/ 5779 w 10000"/>
                    <a:gd name="connsiteY36" fmla="*/ 6289 h 10000"/>
                    <a:gd name="connsiteX37" fmla="*/ 5389 w 10000"/>
                    <a:gd name="connsiteY37" fmla="*/ 6090 h 10000"/>
                    <a:gd name="connsiteX38" fmla="*/ 4545 w 10000"/>
                    <a:gd name="connsiteY38" fmla="*/ 5710 h 10000"/>
                    <a:gd name="connsiteX39" fmla="*/ 4545 w 10000"/>
                    <a:gd name="connsiteY39" fmla="*/ 5710 h 10000"/>
                    <a:gd name="connsiteX40" fmla="*/ 4352 w 10000"/>
                    <a:gd name="connsiteY40" fmla="*/ 5655 h 10000"/>
                    <a:gd name="connsiteX41" fmla="*/ 4026 w 10000"/>
                    <a:gd name="connsiteY41" fmla="*/ 5582 h 10000"/>
                    <a:gd name="connsiteX42" fmla="*/ 3052 w 10000"/>
                    <a:gd name="connsiteY42" fmla="*/ 5418 h 10000"/>
                    <a:gd name="connsiteX43" fmla="*/ 1689 w 10000"/>
                    <a:gd name="connsiteY43" fmla="*/ 5219 h 10000"/>
                    <a:gd name="connsiteX44" fmla="*/ 1689 w 10000"/>
                    <a:gd name="connsiteY44" fmla="*/ 5219 h 10000"/>
                    <a:gd name="connsiteX45" fmla="*/ 1103 w 10000"/>
                    <a:gd name="connsiteY45" fmla="*/ 5199 h 10000"/>
                    <a:gd name="connsiteX46" fmla="*/ 650 w 10000"/>
                    <a:gd name="connsiteY46" fmla="*/ 5182 h 10000"/>
                    <a:gd name="connsiteX47" fmla="*/ 521 w 10000"/>
                    <a:gd name="connsiteY47" fmla="*/ 5162 h 10000"/>
                    <a:gd name="connsiteX48" fmla="*/ 390 w 10000"/>
                    <a:gd name="connsiteY48" fmla="*/ 5145 h 10000"/>
                    <a:gd name="connsiteX49" fmla="*/ 390 w 10000"/>
                    <a:gd name="connsiteY49" fmla="*/ 5145 h 10000"/>
                    <a:gd name="connsiteX50" fmla="*/ 261 w 10000"/>
                    <a:gd name="connsiteY50" fmla="*/ 5071 h 10000"/>
                    <a:gd name="connsiteX51" fmla="*/ 65 w 10000"/>
                    <a:gd name="connsiteY51" fmla="*/ 4948 h 10000"/>
                    <a:gd name="connsiteX52" fmla="*/ 0 w 10000"/>
                    <a:gd name="connsiteY52" fmla="*/ 4874 h 10000"/>
                    <a:gd name="connsiteX53" fmla="*/ 0 w 10000"/>
                    <a:gd name="connsiteY53" fmla="*/ 4799 h 10000"/>
                    <a:gd name="connsiteX54" fmla="*/ 0 w 10000"/>
                    <a:gd name="connsiteY54" fmla="*/ 4746 h 10000"/>
                    <a:gd name="connsiteX55" fmla="*/ 131 w 10000"/>
                    <a:gd name="connsiteY55" fmla="*/ 4690 h 10000"/>
                    <a:gd name="connsiteX56" fmla="*/ 131 w 10000"/>
                    <a:gd name="connsiteY56" fmla="*/ 4690 h 10000"/>
                    <a:gd name="connsiteX57" fmla="*/ 455 w 10000"/>
                    <a:gd name="connsiteY57" fmla="*/ 4599 h 10000"/>
                    <a:gd name="connsiteX58" fmla="*/ 779 w 10000"/>
                    <a:gd name="connsiteY58" fmla="*/ 4510 h 10000"/>
                    <a:gd name="connsiteX59" fmla="*/ 975 w 10000"/>
                    <a:gd name="connsiteY59" fmla="*/ 4456 h 10000"/>
                    <a:gd name="connsiteX60" fmla="*/ 1103 w 10000"/>
                    <a:gd name="connsiteY60" fmla="*/ 4400 h 10000"/>
                    <a:gd name="connsiteX61" fmla="*/ 1103 w 10000"/>
                    <a:gd name="connsiteY61" fmla="*/ 4327 h 10000"/>
                    <a:gd name="connsiteX62" fmla="*/ 1103 w 10000"/>
                    <a:gd name="connsiteY62" fmla="*/ 4236 h 10000"/>
                    <a:gd name="connsiteX63" fmla="*/ 1103 w 10000"/>
                    <a:gd name="connsiteY63" fmla="*/ 4236 h 10000"/>
                    <a:gd name="connsiteX64" fmla="*/ 845 w 10000"/>
                    <a:gd name="connsiteY64" fmla="*/ 3982 h 10000"/>
                    <a:gd name="connsiteX65" fmla="*/ 521 w 10000"/>
                    <a:gd name="connsiteY65" fmla="*/ 3636 h 10000"/>
                    <a:gd name="connsiteX66" fmla="*/ 261 w 10000"/>
                    <a:gd name="connsiteY66" fmla="*/ 3326 h 10000"/>
                    <a:gd name="connsiteX67" fmla="*/ 195 w 10000"/>
                    <a:gd name="connsiteY67" fmla="*/ 3236 h 10000"/>
                    <a:gd name="connsiteX68" fmla="*/ 195 w 10000"/>
                    <a:gd name="connsiteY68" fmla="*/ 3200 h 10000"/>
                    <a:gd name="connsiteX69" fmla="*/ 261 w 10000"/>
                    <a:gd name="connsiteY69" fmla="*/ 3180 h 10000"/>
                    <a:gd name="connsiteX70" fmla="*/ 261 w 10000"/>
                    <a:gd name="connsiteY70" fmla="*/ 3180 h 10000"/>
                    <a:gd name="connsiteX71" fmla="*/ 650 w 10000"/>
                    <a:gd name="connsiteY71" fmla="*/ 3163 h 10000"/>
                    <a:gd name="connsiteX72" fmla="*/ 908 w 10000"/>
                    <a:gd name="connsiteY72" fmla="*/ 3163 h 10000"/>
                    <a:gd name="connsiteX73" fmla="*/ 1103 w 10000"/>
                    <a:gd name="connsiteY73" fmla="*/ 3180 h 10000"/>
                    <a:gd name="connsiteX74" fmla="*/ 1103 w 10000"/>
                    <a:gd name="connsiteY74" fmla="*/ 3180 h 10000"/>
                    <a:gd name="connsiteX75" fmla="*/ 1168 w 10000"/>
                    <a:gd name="connsiteY75" fmla="*/ 3180 h 10000"/>
                    <a:gd name="connsiteX76" fmla="*/ 1235 w 10000"/>
                    <a:gd name="connsiteY76" fmla="*/ 3147 h 10000"/>
                    <a:gd name="connsiteX77" fmla="*/ 1559 w 10000"/>
                    <a:gd name="connsiteY77" fmla="*/ 3036 h 10000"/>
                    <a:gd name="connsiteX78" fmla="*/ 2402 w 10000"/>
                    <a:gd name="connsiteY78" fmla="*/ 2672 h 10000"/>
                    <a:gd name="connsiteX79" fmla="*/ 3507 w 10000"/>
                    <a:gd name="connsiteY79" fmla="*/ 2147 h 10000"/>
                    <a:gd name="connsiteX80" fmla="*/ 3507 w 10000"/>
                    <a:gd name="connsiteY80" fmla="*/ 2147 h 10000"/>
                    <a:gd name="connsiteX81" fmla="*/ 3507 w 10000"/>
                    <a:gd name="connsiteY81" fmla="*/ 2072 h 10000"/>
                    <a:gd name="connsiteX82" fmla="*/ 3507 w 10000"/>
                    <a:gd name="connsiteY82" fmla="*/ 1907 h 10000"/>
                    <a:gd name="connsiteX83" fmla="*/ 3573 w 10000"/>
                    <a:gd name="connsiteY83" fmla="*/ 1800 h 10000"/>
                    <a:gd name="connsiteX84" fmla="*/ 3702 w 10000"/>
                    <a:gd name="connsiteY84" fmla="*/ 1708 h 10000"/>
                    <a:gd name="connsiteX85" fmla="*/ 3896 w 10000"/>
                    <a:gd name="connsiteY85" fmla="*/ 1600 h 10000"/>
                    <a:gd name="connsiteX86" fmla="*/ 4156 w 10000"/>
                    <a:gd name="connsiteY86" fmla="*/ 1510 h 10000"/>
                    <a:gd name="connsiteX87" fmla="*/ 4156 w 10000"/>
                    <a:gd name="connsiteY87" fmla="*/ 1510 h 10000"/>
                    <a:gd name="connsiteX88" fmla="*/ 4806 w 10000"/>
                    <a:gd name="connsiteY88" fmla="*/ 1329 h 10000"/>
                    <a:gd name="connsiteX89" fmla="*/ 5455 w 10000"/>
                    <a:gd name="connsiteY89" fmla="*/ 1090 h 10000"/>
                    <a:gd name="connsiteX90" fmla="*/ 6104 w 10000"/>
                    <a:gd name="connsiteY90" fmla="*/ 872 h 10000"/>
                    <a:gd name="connsiteX91" fmla="*/ 6559 w 10000"/>
                    <a:gd name="connsiteY91" fmla="*/ 674 h 10000"/>
                    <a:gd name="connsiteX92" fmla="*/ 6559 w 10000"/>
                    <a:gd name="connsiteY92" fmla="*/ 674 h 10000"/>
                    <a:gd name="connsiteX93" fmla="*/ 6882 w 10000"/>
                    <a:gd name="connsiteY93" fmla="*/ 493 h 10000"/>
                    <a:gd name="connsiteX94" fmla="*/ 7273 w 10000"/>
                    <a:gd name="connsiteY94" fmla="*/ 271 h 10000"/>
                    <a:gd name="connsiteX95" fmla="*/ 7663 w 10000"/>
                    <a:gd name="connsiteY95" fmla="*/ 108 h 10000"/>
                    <a:gd name="connsiteX96" fmla="*/ 7856 w 10000"/>
                    <a:gd name="connsiteY96" fmla="*/ 33 h 10000"/>
                    <a:gd name="connsiteX97" fmla="*/ 8051 w 10000"/>
                    <a:gd name="connsiteY97" fmla="*/ 17 h 10000"/>
                    <a:gd name="connsiteX98" fmla="*/ 8051 w 10000"/>
                    <a:gd name="connsiteY98" fmla="*/ 17 h 10000"/>
                    <a:gd name="connsiteX99" fmla="*/ 8442 w 10000"/>
                    <a:gd name="connsiteY99" fmla="*/ 0 h 10000"/>
                    <a:gd name="connsiteX100" fmla="*/ 8961 w 10000"/>
                    <a:gd name="connsiteY100" fmla="*/ 0 h 10000"/>
                    <a:gd name="connsiteX101" fmla="*/ 10000 w 10000"/>
                    <a:gd name="connsiteY101" fmla="*/ 17 h 10000"/>
                    <a:gd name="connsiteX102" fmla="*/ 3117 w 10000"/>
                    <a:gd name="connsiteY102" fmla="*/ 9801 h 10000"/>
                    <a:gd name="connsiteX103" fmla="*/ 3117 w 10000"/>
                    <a:gd name="connsiteY103" fmla="*/ 9801 h 10000"/>
                    <a:gd name="connsiteX104" fmla="*/ 3312 w 10000"/>
                    <a:gd name="connsiteY104" fmla="*/ 9744 h 10000"/>
                    <a:gd name="connsiteX105" fmla="*/ 2661 w 10000"/>
                    <a:gd name="connsiteY105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3507 w 10000"/>
                    <a:gd name="connsiteY11" fmla="*/ 9690 h 10000"/>
                    <a:gd name="connsiteX12" fmla="*/ 7646 w 10000"/>
                    <a:gd name="connsiteY12" fmla="*/ 9411 h 10000"/>
                    <a:gd name="connsiteX13" fmla="*/ 8116 w 10000"/>
                    <a:gd name="connsiteY13" fmla="*/ 9420 h 10000"/>
                    <a:gd name="connsiteX14" fmla="*/ 8116 w 10000"/>
                    <a:gd name="connsiteY14" fmla="*/ 9420 h 10000"/>
                    <a:gd name="connsiteX15" fmla="*/ 8442 w 10000"/>
                    <a:gd name="connsiteY15" fmla="*/ 9383 h 10000"/>
                    <a:gd name="connsiteX16" fmla="*/ 8702 w 10000"/>
                    <a:gd name="connsiteY16" fmla="*/ 9292 h 10000"/>
                    <a:gd name="connsiteX17" fmla="*/ 8636 w 10000"/>
                    <a:gd name="connsiteY17" fmla="*/ 9255 h 10000"/>
                    <a:gd name="connsiteX18" fmla="*/ 8636 w 10000"/>
                    <a:gd name="connsiteY18" fmla="*/ 9219 h 10000"/>
                    <a:gd name="connsiteX19" fmla="*/ 8312 w 10000"/>
                    <a:gd name="connsiteY19" fmla="*/ 9128 h 10000"/>
                    <a:gd name="connsiteX20" fmla="*/ 5975 w 10000"/>
                    <a:gd name="connsiteY20" fmla="*/ 8799 h 10000"/>
                    <a:gd name="connsiteX21" fmla="*/ 5975 w 10000"/>
                    <a:gd name="connsiteY21" fmla="*/ 8799 h 10000"/>
                    <a:gd name="connsiteX22" fmla="*/ 5714 w 10000"/>
                    <a:gd name="connsiteY22" fmla="*/ 8746 h 10000"/>
                    <a:gd name="connsiteX23" fmla="*/ 5519 w 10000"/>
                    <a:gd name="connsiteY23" fmla="*/ 8691 h 10000"/>
                    <a:gd name="connsiteX24" fmla="*/ 5389 w 10000"/>
                    <a:gd name="connsiteY24" fmla="*/ 8636 h 10000"/>
                    <a:gd name="connsiteX25" fmla="*/ 5389 w 10000"/>
                    <a:gd name="connsiteY25" fmla="*/ 8636 h 10000"/>
                    <a:gd name="connsiteX26" fmla="*/ 7729 w 10000"/>
                    <a:gd name="connsiteY26" fmla="*/ 8617 h 10000"/>
                    <a:gd name="connsiteX27" fmla="*/ 10000 w 10000"/>
                    <a:gd name="connsiteY27" fmla="*/ 8799 h 10000"/>
                    <a:gd name="connsiteX28" fmla="*/ 10000 w 10000"/>
                    <a:gd name="connsiteY28" fmla="*/ 7147 h 10000"/>
                    <a:gd name="connsiteX29" fmla="*/ 10000 w 10000"/>
                    <a:gd name="connsiteY29" fmla="*/ 7147 h 10000"/>
                    <a:gd name="connsiteX30" fmla="*/ 7404 w 10000"/>
                    <a:gd name="connsiteY30" fmla="*/ 6762 h 10000"/>
                    <a:gd name="connsiteX31" fmla="*/ 5975 w 10000"/>
                    <a:gd name="connsiteY31" fmla="*/ 6546 h 10000"/>
                    <a:gd name="connsiteX32" fmla="*/ 5975 w 10000"/>
                    <a:gd name="connsiteY32" fmla="*/ 6546 h 10000"/>
                    <a:gd name="connsiteX33" fmla="*/ 5975 w 10000"/>
                    <a:gd name="connsiteY33" fmla="*/ 6528 h 10000"/>
                    <a:gd name="connsiteX34" fmla="*/ 5975 w 10000"/>
                    <a:gd name="connsiteY34" fmla="*/ 6419 h 10000"/>
                    <a:gd name="connsiteX35" fmla="*/ 5975 w 10000"/>
                    <a:gd name="connsiteY35" fmla="*/ 6419 h 10000"/>
                    <a:gd name="connsiteX36" fmla="*/ 5779 w 10000"/>
                    <a:gd name="connsiteY36" fmla="*/ 6289 h 10000"/>
                    <a:gd name="connsiteX37" fmla="*/ 5389 w 10000"/>
                    <a:gd name="connsiteY37" fmla="*/ 6090 h 10000"/>
                    <a:gd name="connsiteX38" fmla="*/ 4545 w 10000"/>
                    <a:gd name="connsiteY38" fmla="*/ 5710 h 10000"/>
                    <a:gd name="connsiteX39" fmla="*/ 4545 w 10000"/>
                    <a:gd name="connsiteY39" fmla="*/ 5710 h 10000"/>
                    <a:gd name="connsiteX40" fmla="*/ 4352 w 10000"/>
                    <a:gd name="connsiteY40" fmla="*/ 5655 h 10000"/>
                    <a:gd name="connsiteX41" fmla="*/ 4026 w 10000"/>
                    <a:gd name="connsiteY41" fmla="*/ 5582 h 10000"/>
                    <a:gd name="connsiteX42" fmla="*/ 3052 w 10000"/>
                    <a:gd name="connsiteY42" fmla="*/ 5418 h 10000"/>
                    <a:gd name="connsiteX43" fmla="*/ 1689 w 10000"/>
                    <a:gd name="connsiteY43" fmla="*/ 5219 h 10000"/>
                    <a:gd name="connsiteX44" fmla="*/ 1689 w 10000"/>
                    <a:gd name="connsiteY44" fmla="*/ 5219 h 10000"/>
                    <a:gd name="connsiteX45" fmla="*/ 1103 w 10000"/>
                    <a:gd name="connsiteY45" fmla="*/ 5199 h 10000"/>
                    <a:gd name="connsiteX46" fmla="*/ 650 w 10000"/>
                    <a:gd name="connsiteY46" fmla="*/ 5182 h 10000"/>
                    <a:gd name="connsiteX47" fmla="*/ 521 w 10000"/>
                    <a:gd name="connsiteY47" fmla="*/ 5162 h 10000"/>
                    <a:gd name="connsiteX48" fmla="*/ 390 w 10000"/>
                    <a:gd name="connsiteY48" fmla="*/ 5145 h 10000"/>
                    <a:gd name="connsiteX49" fmla="*/ 390 w 10000"/>
                    <a:gd name="connsiteY49" fmla="*/ 5145 h 10000"/>
                    <a:gd name="connsiteX50" fmla="*/ 261 w 10000"/>
                    <a:gd name="connsiteY50" fmla="*/ 5071 h 10000"/>
                    <a:gd name="connsiteX51" fmla="*/ 65 w 10000"/>
                    <a:gd name="connsiteY51" fmla="*/ 4948 h 10000"/>
                    <a:gd name="connsiteX52" fmla="*/ 0 w 10000"/>
                    <a:gd name="connsiteY52" fmla="*/ 4874 h 10000"/>
                    <a:gd name="connsiteX53" fmla="*/ 0 w 10000"/>
                    <a:gd name="connsiteY53" fmla="*/ 4799 h 10000"/>
                    <a:gd name="connsiteX54" fmla="*/ 0 w 10000"/>
                    <a:gd name="connsiteY54" fmla="*/ 4746 h 10000"/>
                    <a:gd name="connsiteX55" fmla="*/ 131 w 10000"/>
                    <a:gd name="connsiteY55" fmla="*/ 4690 h 10000"/>
                    <a:gd name="connsiteX56" fmla="*/ 131 w 10000"/>
                    <a:gd name="connsiteY56" fmla="*/ 4690 h 10000"/>
                    <a:gd name="connsiteX57" fmla="*/ 455 w 10000"/>
                    <a:gd name="connsiteY57" fmla="*/ 4599 h 10000"/>
                    <a:gd name="connsiteX58" fmla="*/ 779 w 10000"/>
                    <a:gd name="connsiteY58" fmla="*/ 4510 h 10000"/>
                    <a:gd name="connsiteX59" fmla="*/ 975 w 10000"/>
                    <a:gd name="connsiteY59" fmla="*/ 4456 h 10000"/>
                    <a:gd name="connsiteX60" fmla="*/ 1103 w 10000"/>
                    <a:gd name="connsiteY60" fmla="*/ 4400 h 10000"/>
                    <a:gd name="connsiteX61" fmla="*/ 1103 w 10000"/>
                    <a:gd name="connsiteY61" fmla="*/ 4327 h 10000"/>
                    <a:gd name="connsiteX62" fmla="*/ 1103 w 10000"/>
                    <a:gd name="connsiteY62" fmla="*/ 4236 h 10000"/>
                    <a:gd name="connsiteX63" fmla="*/ 1103 w 10000"/>
                    <a:gd name="connsiteY63" fmla="*/ 4236 h 10000"/>
                    <a:gd name="connsiteX64" fmla="*/ 845 w 10000"/>
                    <a:gd name="connsiteY64" fmla="*/ 3982 h 10000"/>
                    <a:gd name="connsiteX65" fmla="*/ 521 w 10000"/>
                    <a:gd name="connsiteY65" fmla="*/ 3636 h 10000"/>
                    <a:gd name="connsiteX66" fmla="*/ 261 w 10000"/>
                    <a:gd name="connsiteY66" fmla="*/ 3326 h 10000"/>
                    <a:gd name="connsiteX67" fmla="*/ 195 w 10000"/>
                    <a:gd name="connsiteY67" fmla="*/ 3236 h 10000"/>
                    <a:gd name="connsiteX68" fmla="*/ 195 w 10000"/>
                    <a:gd name="connsiteY68" fmla="*/ 3200 h 10000"/>
                    <a:gd name="connsiteX69" fmla="*/ 261 w 10000"/>
                    <a:gd name="connsiteY69" fmla="*/ 3180 h 10000"/>
                    <a:gd name="connsiteX70" fmla="*/ 261 w 10000"/>
                    <a:gd name="connsiteY70" fmla="*/ 3180 h 10000"/>
                    <a:gd name="connsiteX71" fmla="*/ 650 w 10000"/>
                    <a:gd name="connsiteY71" fmla="*/ 3163 h 10000"/>
                    <a:gd name="connsiteX72" fmla="*/ 908 w 10000"/>
                    <a:gd name="connsiteY72" fmla="*/ 3163 h 10000"/>
                    <a:gd name="connsiteX73" fmla="*/ 1103 w 10000"/>
                    <a:gd name="connsiteY73" fmla="*/ 3180 h 10000"/>
                    <a:gd name="connsiteX74" fmla="*/ 1103 w 10000"/>
                    <a:gd name="connsiteY74" fmla="*/ 3180 h 10000"/>
                    <a:gd name="connsiteX75" fmla="*/ 1168 w 10000"/>
                    <a:gd name="connsiteY75" fmla="*/ 3180 h 10000"/>
                    <a:gd name="connsiteX76" fmla="*/ 1235 w 10000"/>
                    <a:gd name="connsiteY76" fmla="*/ 3147 h 10000"/>
                    <a:gd name="connsiteX77" fmla="*/ 1559 w 10000"/>
                    <a:gd name="connsiteY77" fmla="*/ 3036 h 10000"/>
                    <a:gd name="connsiteX78" fmla="*/ 2402 w 10000"/>
                    <a:gd name="connsiteY78" fmla="*/ 2672 h 10000"/>
                    <a:gd name="connsiteX79" fmla="*/ 3507 w 10000"/>
                    <a:gd name="connsiteY79" fmla="*/ 2147 h 10000"/>
                    <a:gd name="connsiteX80" fmla="*/ 3507 w 10000"/>
                    <a:gd name="connsiteY80" fmla="*/ 2147 h 10000"/>
                    <a:gd name="connsiteX81" fmla="*/ 3507 w 10000"/>
                    <a:gd name="connsiteY81" fmla="*/ 2072 h 10000"/>
                    <a:gd name="connsiteX82" fmla="*/ 3507 w 10000"/>
                    <a:gd name="connsiteY82" fmla="*/ 1907 h 10000"/>
                    <a:gd name="connsiteX83" fmla="*/ 3573 w 10000"/>
                    <a:gd name="connsiteY83" fmla="*/ 1800 h 10000"/>
                    <a:gd name="connsiteX84" fmla="*/ 3702 w 10000"/>
                    <a:gd name="connsiteY84" fmla="*/ 1708 h 10000"/>
                    <a:gd name="connsiteX85" fmla="*/ 3896 w 10000"/>
                    <a:gd name="connsiteY85" fmla="*/ 1600 h 10000"/>
                    <a:gd name="connsiteX86" fmla="*/ 4156 w 10000"/>
                    <a:gd name="connsiteY86" fmla="*/ 1510 h 10000"/>
                    <a:gd name="connsiteX87" fmla="*/ 4156 w 10000"/>
                    <a:gd name="connsiteY87" fmla="*/ 1510 h 10000"/>
                    <a:gd name="connsiteX88" fmla="*/ 4806 w 10000"/>
                    <a:gd name="connsiteY88" fmla="*/ 1329 h 10000"/>
                    <a:gd name="connsiteX89" fmla="*/ 5455 w 10000"/>
                    <a:gd name="connsiteY89" fmla="*/ 1090 h 10000"/>
                    <a:gd name="connsiteX90" fmla="*/ 6104 w 10000"/>
                    <a:gd name="connsiteY90" fmla="*/ 872 h 10000"/>
                    <a:gd name="connsiteX91" fmla="*/ 6559 w 10000"/>
                    <a:gd name="connsiteY91" fmla="*/ 674 h 10000"/>
                    <a:gd name="connsiteX92" fmla="*/ 6559 w 10000"/>
                    <a:gd name="connsiteY92" fmla="*/ 674 h 10000"/>
                    <a:gd name="connsiteX93" fmla="*/ 6882 w 10000"/>
                    <a:gd name="connsiteY93" fmla="*/ 493 h 10000"/>
                    <a:gd name="connsiteX94" fmla="*/ 7273 w 10000"/>
                    <a:gd name="connsiteY94" fmla="*/ 271 h 10000"/>
                    <a:gd name="connsiteX95" fmla="*/ 7663 w 10000"/>
                    <a:gd name="connsiteY95" fmla="*/ 108 h 10000"/>
                    <a:gd name="connsiteX96" fmla="*/ 7856 w 10000"/>
                    <a:gd name="connsiteY96" fmla="*/ 33 h 10000"/>
                    <a:gd name="connsiteX97" fmla="*/ 8051 w 10000"/>
                    <a:gd name="connsiteY97" fmla="*/ 17 h 10000"/>
                    <a:gd name="connsiteX98" fmla="*/ 8051 w 10000"/>
                    <a:gd name="connsiteY98" fmla="*/ 17 h 10000"/>
                    <a:gd name="connsiteX99" fmla="*/ 8442 w 10000"/>
                    <a:gd name="connsiteY99" fmla="*/ 0 h 10000"/>
                    <a:gd name="connsiteX100" fmla="*/ 8961 w 10000"/>
                    <a:gd name="connsiteY100" fmla="*/ 0 h 10000"/>
                    <a:gd name="connsiteX101" fmla="*/ 10000 w 10000"/>
                    <a:gd name="connsiteY101" fmla="*/ 17 h 10000"/>
                    <a:gd name="connsiteX102" fmla="*/ 3117 w 10000"/>
                    <a:gd name="connsiteY102" fmla="*/ 9801 h 10000"/>
                    <a:gd name="connsiteX103" fmla="*/ 3117 w 10000"/>
                    <a:gd name="connsiteY103" fmla="*/ 9801 h 10000"/>
                    <a:gd name="connsiteX104" fmla="*/ 2661 w 10000"/>
                    <a:gd name="connsiteY104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7646 w 10000"/>
                    <a:gd name="connsiteY11" fmla="*/ 9411 h 10000"/>
                    <a:gd name="connsiteX12" fmla="*/ 8116 w 10000"/>
                    <a:gd name="connsiteY12" fmla="*/ 9420 h 10000"/>
                    <a:gd name="connsiteX13" fmla="*/ 8116 w 10000"/>
                    <a:gd name="connsiteY13" fmla="*/ 9420 h 10000"/>
                    <a:gd name="connsiteX14" fmla="*/ 8442 w 10000"/>
                    <a:gd name="connsiteY14" fmla="*/ 9383 h 10000"/>
                    <a:gd name="connsiteX15" fmla="*/ 8702 w 10000"/>
                    <a:gd name="connsiteY15" fmla="*/ 9292 h 10000"/>
                    <a:gd name="connsiteX16" fmla="*/ 8636 w 10000"/>
                    <a:gd name="connsiteY16" fmla="*/ 9255 h 10000"/>
                    <a:gd name="connsiteX17" fmla="*/ 8636 w 10000"/>
                    <a:gd name="connsiteY17" fmla="*/ 9219 h 10000"/>
                    <a:gd name="connsiteX18" fmla="*/ 8312 w 10000"/>
                    <a:gd name="connsiteY18" fmla="*/ 9128 h 10000"/>
                    <a:gd name="connsiteX19" fmla="*/ 5975 w 10000"/>
                    <a:gd name="connsiteY19" fmla="*/ 8799 h 10000"/>
                    <a:gd name="connsiteX20" fmla="*/ 5975 w 10000"/>
                    <a:gd name="connsiteY20" fmla="*/ 8799 h 10000"/>
                    <a:gd name="connsiteX21" fmla="*/ 5714 w 10000"/>
                    <a:gd name="connsiteY21" fmla="*/ 8746 h 10000"/>
                    <a:gd name="connsiteX22" fmla="*/ 5519 w 10000"/>
                    <a:gd name="connsiteY22" fmla="*/ 8691 h 10000"/>
                    <a:gd name="connsiteX23" fmla="*/ 5389 w 10000"/>
                    <a:gd name="connsiteY23" fmla="*/ 8636 h 10000"/>
                    <a:gd name="connsiteX24" fmla="*/ 5389 w 10000"/>
                    <a:gd name="connsiteY24" fmla="*/ 8636 h 10000"/>
                    <a:gd name="connsiteX25" fmla="*/ 7729 w 10000"/>
                    <a:gd name="connsiteY25" fmla="*/ 8617 h 10000"/>
                    <a:gd name="connsiteX26" fmla="*/ 10000 w 10000"/>
                    <a:gd name="connsiteY26" fmla="*/ 8799 h 10000"/>
                    <a:gd name="connsiteX27" fmla="*/ 10000 w 10000"/>
                    <a:gd name="connsiteY27" fmla="*/ 7147 h 10000"/>
                    <a:gd name="connsiteX28" fmla="*/ 10000 w 10000"/>
                    <a:gd name="connsiteY28" fmla="*/ 7147 h 10000"/>
                    <a:gd name="connsiteX29" fmla="*/ 7404 w 10000"/>
                    <a:gd name="connsiteY29" fmla="*/ 6762 h 10000"/>
                    <a:gd name="connsiteX30" fmla="*/ 5975 w 10000"/>
                    <a:gd name="connsiteY30" fmla="*/ 6546 h 10000"/>
                    <a:gd name="connsiteX31" fmla="*/ 5975 w 10000"/>
                    <a:gd name="connsiteY31" fmla="*/ 6546 h 10000"/>
                    <a:gd name="connsiteX32" fmla="*/ 5975 w 10000"/>
                    <a:gd name="connsiteY32" fmla="*/ 6528 h 10000"/>
                    <a:gd name="connsiteX33" fmla="*/ 5975 w 10000"/>
                    <a:gd name="connsiteY33" fmla="*/ 6419 h 10000"/>
                    <a:gd name="connsiteX34" fmla="*/ 5975 w 10000"/>
                    <a:gd name="connsiteY34" fmla="*/ 6419 h 10000"/>
                    <a:gd name="connsiteX35" fmla="*/ 5779 w 10000"/>
                    <a:gd name="connsiteY35" fmla="*/ 6289 h 10000"/>
                    <a:gd name="connsiteX36" fmla="*/ 5389 w 10000"/>
                    <a:gd name="connsiteY36" fmla="*/ 6090 h 10000"/>
                    <a:gd name="connsiteX37" fmla="*/ 4545 w 10000"/>
                    <a:gd name="connsiteY37" fmla="*/ 5710 h 10000"/>
                    <a:gd name="connsiteX38" fmla="*/ 4545 w 10000"/>
                    <a:gd name="connsiteY38" fmla="*/ 5710 h 10000"/>
                    <a:gd name="connsiteX39" fmla="*/ 4352 w 10000"/>
                    <a:gd name="connsiteY39" fmla="*/ 5655 h 10000"/>
                    <a:gd name="connsiteX40" fmla="*/ 4026 w 10000"/>
                    <a:gd name="connsiteY40" fmla="*/ 5582 h 10000"/>
                    <a:gd name="connsiteX41" fmla="*/ 3052 w 10000"/>
                    <a:gd name="connsiteY41" fmla="*/ 5418 h 10000"/>
                    <a:gd name="connsiteX42" fmla="*/ 1689 w 10000"/>
                    <a:gd name="connsiteY42" fmla="*/ 5219 h 10000"/>
                    <a:gd name="connsiteX43" fmla="*/ 1689 w 10000"/>
                    <a:gd name="connsiteY43" fmla="*/ 5219 h 10000"/>
                    <a:gd name="connsiteX44" fmla="*/ 1103 w 10000"/>
                    <a:gd name="connsiteY44" fmla="*/ 5199 h 10000"/>
                    <a:gd name="connsiteX45" fmla="*/ 650 w 10000"/>
                    <a:gd name="connsiteY45" fmla="*/ 5182 h 10000"/>
                    <a:gd name="connsiteX46" fmla="*/ 521 w 10000"/>
                    <a:gd name="connsiteY46" fmla="*/ 5162 h 10000"/>
                    <a:gd name="connsiteX47" fmla="*/ 390 w 10000"/>
                    <a:gd name="connsiteY47" fmla="*/ 5145 h 10000"/>
                    <a:gd name="connsiteX48" fmla="*/ 390 w 10000"/>
                    <a:gd name="connsiteY48" fmla="*/ 5145 h 10000"/>
                    <a:gd name="connsiteX49" fmla="*/ 261 w 10000"/>
                    <a:gd name="connsiteY49" fmla="*/ 5071 h 10000"/>
                    <a:gd name="connsiteX50" fmla="*/ 65 w 10000"/>
                    <a:gd name="connsiteY50" fmla="*/ 4948 h 10000"/>
                    <a:gd name="connsiteX51" fmla="*/ 0 w 10000"/>
                    <a:gd name="connsiteY51" fmla="*/ 4874 h 10000"/>
                    <a:gd name="connsiteX52" fmla="*/ 0 w 10000"/>
                    <a:gd name="connsiteY52" fmla="*/ 4799 h 10000"/>
                    <a:gd name="connsiteX53" fmla="*/ 0 w 10000"/>
                    <a:gd name="connsiteY53" fmla="*/ 4746 h 10000"/>
                    <a:gd name="connsiteX54" fmla="*/ 131 w 10000"/>
                    <a:gd name="connsiteY54" fmla="*/ 4690 h 10000"/>
                    <a:gd name="connsiteX55" fmla="*/ 131 w 10000"/>
                    <a:gd name="connsiteY55" fmla="*/ 4690 h 10000"/>
                    <a:gd name="connsiteX56" fmla="*/ 455 w 10000"/>
                    <a:gd name="connsiteY56" fmla="*/ 4599 h 10000"/>
                    <a:gd name="connsiteX57" fmla="*/ 779 w 10000"/>
                    <a:gd name="connsiteY57" fmla="*/ 4510 h 10000"/>
                    <a:gd name="connsiteX58" fmla="*/ 975 w 10000"/>
                    <a:gd name="connsiteY58" fmla="*/ 4456 h 10000"/>
                    <a:gd name="connsiteX59" fmla="*/ 1103 w 10000"/>
                    <a:gd name="connsiteY59" fmla="*/ 4400 h 10000"/>
                    <a:gd name="connsiteX60" fmla="*/ 1103 w 10000"/>
                    <a:gd name="connsiteY60" fmla="*/ 4327 h 10000"/>
                    <a:gd name="connsiteX61" fmla="*/ 1103 w 10000"/>
                    <a:gd name="connsiteY61" fmla="*/ 4236 h 10000"/>
                    <a:gd name="connsiteX62" fmla="*/ 1103 w 10000"/>
                    <a:gd name="connsiteY62" fmla="*/ 4236 h 10000"/>
                    <a:gd name="connsiteX63" fmla="*/ 845 w 10000"/>
                    <a:gd name="connsiteY63" fmla="*/ 3982 h 10000"/>
                    <a:gd name="connsiteX64" fmla="*/ 521 w 10000"/>
                    <a:gd name="connsiteY64" fmla="*/ 3636 h 10000"/>
                    <a:gd name="connsiteX65" fmla="*/ 261 w 10000"/>
                    <a:gd name="connsiteY65" fmla="*/ 3326 h 10000"/>
                    <a:gd name="connsiteX66" fmla="*/ 195 w 10000"/>
                    <a:gd name="connsiteY66" fmla="*/ 3236 h 10000"/>
                    <a:gd name="connsiteX67" fmla="*/ 195 w 10000"/>
                    <a:gd name="connsiteY67" fmla="*/ 3200 h 10000"/>
                    <a:gd name="connsiteX68" fmla="*/ 261 w 10000"/>
                    <a:gd name="connsiteY68" fmla="*/ 3180 h 10000"/>
                    <a:gd name="connsiteX69" fmla="*/ 261 w 10000"/>
                    <a:gd name="connsiteY69" fmla="*/ 3180 h 10000"/>
                    <a:gd name="connsiteX70" fmla="*/ 650 w 10000"/>
                    <a:gd name="connsiteY70" fmla="*/ 3163 h 10000"/>
                    <a:gd name="connsiteX71" fmla="*/ 908 w 10000"/>
                    <a:gd name="connsiteY71" fmla="*/ 3163 h 10000"/>
                    <a:gd name="connsiteX72" fmla="*/ 1103 w 10000"/>
                    <a:gd name="connsiteY72" fmla="*/ 3180 h 10000"/>
                    <a:gd name="connsiteX73" fmla="*/ 1103 w 10000"/>
                    <a:gd name="connsiteY73" fmla="*/ 3180 h 10000"/>
                    <a:gd name="connsiteX74" fmla="*/ 1168 w 10000"/>
                    <a:gd name="connsiteY74" fmla="*/ 3180 h 10000"/>
                    <a:gd name="connsiteX75" fmla="*/ 1235 w 10000"/>
                    <a:gd name="connsiteY75" fmla="*/ 3147 h 10000"/>
                    <a:gd name="connsiteX76" fmla="*/ 1559 w 10000"/>
                    <a:gd name="connsiteY76" fmla="*/ 3036 h 10000"/>
                    <a:gd name="connsiteX77" fmla="*/ 2402 w 10000"/>
                    <a:gd name="connsiteY77" fmla="*/ 2672 h 10000"/>
                    <a:gd name="connsiteX78" fmla="*/ 3507 w 10000"/>
                    <a:gd name="connsiteY78" fmla="*/ 2147 h 10000"/>
                    <a:gd name="connsiteX79" fmla="*/ 3507 w 10000"/>
                    <a:gd name="connsiteY79" fmla="*/ 2147 h 10000"/>
                    <a:gd name="connsiteX80" fmla="*/ 3507 w 10000"/>
                    <a:gd name="connsiteY80" fmla="*/ 2072 h 10000"/>
                    <a:gd name="connsiteX81" fmla="*/ 3507 w 10000"/>
                    <a:gd name="connsiteY81" fmla="*/ 1907 h 10000"/>
                    <a:gd name="connsiteX82" fmla="*/ 3573 w 10000"/>
                    <a:gd name="connsiteY82" fmla="*/ 1800 h 10000"/>
                    <a:gd name="connsiteX83" fmla="*/ 3702 w 10000"/>
                    <a:gd name="connsiteY83" fmla="*/ 1708 h 10000"/>
                    <a:gd name="connsiteX84" fmla="*/ 3896 w 10000"/>
                    <a:gd name="connsiteY84" fmla="*/ 1600 h 10000"/>
                    <a:gd name="connsiteX85" fmla="*/ 4156 w 10000"/>
                    <a:gd name="connsiteY85" fmla="*/ 1510 h 10000"/>
                    <a:gd name="connsiteX86" fmla="*/ 4156 w 10000"/>
                    <a:gd name="connsiteY86" fmla="*/ 1510 h 10000"/>
                    <a:gd name="connsiteX87" fmla="*/ 4806 w 10000"/>
                    <a:gd name="connsiteY87" fmla="*/ 1329 h 10000"/>
                    <a:gd name="connsiteX88" fmla="*/ 5455 w 10000"/>
                    <a:gd name="connsiteY88" fmla="*/ 1090 h 10000"/>
                    <a:gd name="connsiteX89" fmla="*/ 6104 w 10000"/>
                    <a:gd name="connsiteY89" fmla="*/ 872 h 10000"/>
                    <a:gd name="connsiteX90" fmla="*/ 6559 w 10000"/>
                    <a:gd name="connsiteY90" fmla="*/ 674 h 10000"/>
                    <a:gd name="connsiteX91" fmla="*/ 6559 w 10000"/>
                    <a:gd name="connsiteY91" fmla="*/ 674 h 10000"/>
                    <a:gd name="connsiteX92" fmla="*/ 6882 w 10000"/>
                    <a:gd name="connsiteY92" fmla="*/ 493 h 10000"/>
                    <a:gd name="connsiteX93" fmla="*/ 7273 w 10000"/>
                    <a:gd name="connsiteY93" fmla="*/ 271 h 10000"/>
                    <a:gd name="connsiteX94" fmla="*/ 7663 w 10000"/>
                    <a:gd name="connsiteY94" fmla="*/ 108 h 10000"/>
                    <a:gd name="connsiteX95" fmla="*/ 7856 w 10000"/>
                    <a:gd name="connsiteY95" fmla="*/ 33 h 10000"/>
                    <a:gd name="connsiteX96" fmla="*/ 8051 w 10000"/>
                    <a:gd name="connsiteY96" fmla="*/ 17 h 10000"/>
                    <a:gd name="connsiteX97" fmla="*/ 8051 w 10000"/>
                    <a:gd name="connsiteY97" fmla="*/ 17 h 10000"/>
                    <a:gd name="connsiteX98" fmla="*/ 8442 w 10000"/>
                    <a:gd name="connsiteY98" fmla="*/ 0 h 10000"/>
                    <a:gd name="connsiteX99" fmla="*/ 8961 w 10000"/>
                    <a:gd name="connsiteY99" fmla="*/ 0 h 10000"/>
                    <a:gd name="connsiteX100" fmla="*/ 10000 w 10000"/>
                    <a:gd name="connsiteY100" fmla="*/ 17 h 10000"/>
                    <a:gd name="connsiteX101" fmla="*/ 3117 w 10000"/>
                    <a:gd name="connsiteY101" fmla="*/ 9801 h 10000"/>
                    <a:gd name="connsiteX102" fmla="*/ 3117 w 10000"/>
                    <a:gd name="connsiteY102" fmla="*/ 9801 h 10000"/>
                    <a:gd name="connsiteX103" fmla="*/ 2661 w 10000"/>
                    <a:gd name="connsiteY103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7646 w 10000"/>
                    <a:gd name="connsiteY11" fmla="*/ 9411 h 10000"/>
                    <a:gd name="connsiteX12" fmla="*/ 8116 w 10000"/>
                    <a:gd name="connsiteY12" fmla="*/ 9420 h 10000"/>
                    <a:gd name="connsiteX13" fmla="*/ 8116 w 10000"/>
                    <a:gd name="connsiteY13" fmla="*/ 9420 h 10000"/>
                    <a:gd name="connsiteX14" fmla="*/ 8442 w 10000"/>
                    <a:gd name="connsiteY14" fmla="*/ 9383 h 10000"/>
                    <a:gd name="connsiteX15" fmla="*/ 8702 w 10000"/>
                    <a:gd name="connsiteY15" fmla="*/ 9292 h 10000"/>
                    <a:gd name="connsiteX16" fmla="*/ 8636 w 10000"/>
                    <a:gd name="connsiteY16" fmla="*/ 9255 h 10000"/>
                    <a:gd name="connsiteX17" fmla="*/ 8636 w 10000"/>
                    <a:gd name="connsiteY17" fmla="*/ 9219 h 10000"/>
                    <a:gd name="connsiteX18" fmla="*/ 8312 w 10000"/>
                    <a:gd name="connsiteY18" fmla="*/ 9128 h 10000"/>
                    <a:gd name="connsiteX19" fmla="*/ 5975 w 10000"/>
                    <a:gd name="connsiteY19" fmla="*/ 8799 h 10000"/>
                    <a:gd name="connsiteX20" fmla="*/ 5975 w 10000"/>
                    <a:gd name="connsiteY20" fmla="*/ 8799 h 10000"/>
                    <a:gd name="connsiteX21" fmla="*/ 5714 w 10000"/>
                    <a:gd name="connsiteY21" fmla="*/ 8746 h 10000"/>
                    <a:gd name="connsiteX22" fmla="*/ 5519 w 10000"/>
                    <a:gd name="connsiteY22" fmla="*/ 8691 h 10000"/>
                    <a:gd name="connsiteX23" fmla="*/ 5389 w 10000"/>
                    <a:gd name="connsiteY23" fmla="*/ 8636 h 10000"/>
                    <a:gd name="connsiteX24" fmla="*/ 5389 w 10000"/>
                    <a:gd name="connsiteY24" fmla="*/ 8636 h 10000"/>
                    <a:gd name="connsiteX25" fmla="*/ 7729 w 10000"/>
                    <a:gd name="connsiteY25" fmla="*/ 8617 h 10000"/>
                    <a:gd name="connsiteX26" fmla="*/ 10000 w 10000"/>
                    <a:gd name="connsiteY26" fmla="*/ 8799 h 10000"/>
                    <a:gd name="connsiteX27" fmla="*/ 10000 w 10000"/>
                    <a:gd name="connsiteY27" fmla="*/ 7147 h 10000"/>
                    <a:gd name="connsiteX28" fmla="*/ 10000 w 10000"/>
                    <a:gd name="connsiteY28" fmla="*/ 7147 h 10000"/>
                    <a:gd name="connsiteX29" fmla="*/ 7404 w 10000"/>
                    <a:gd name="connsiteY29" fmla="*/ 6762 h 10000"/>
                    <a:gd name="connsiteX30" fmla="*/ 5975 w 10000"/>
                    <a:gd name="connsiteY30" fmla="*/ 6546 h 10000"/>
                    <a:gd name="connsiteX31" fmla="*/ 5975 w 10000"/>
                    <a:gd name="connsiteY31" fmla="*/ 6546 h 10000"/>
                    <a:gd name="connsiteX32" fmla="*/ 5975 w 10000"/>
                    <a:gd name="connsiteY32" fmla="*/ 6528 h 10000"/>
                    <a:gd name="connsiteX33" fmla="*/ 5975 w 10000"/>
                    <a:gd name="connsiteY33" fmla="*/ 6419 h 10000"/>
                    <a:gd name="connsiteX34" fmla="*/ 5975 w 10000"/>
                    <a:gd name="connsiteY34" fmla="*/ 6419 h 10000"/>
                    <a:gd name="connsiteX35" fmla="*/ 5779 w 10000"/>
                    <a:gd name="connsiteY35" fmla="*/ 6289 h 10000"/>
                    <a:gd name="connsiteX36" fmla="*/ 5389 w 10000"/>
                    <a:gd name="connsiteY36" fmla="*/ 6090 h 10000"/>
                    <a:gd name="connsiteX37" fmla="*/ 4545 w 10000"/>
                    <a:gd name="connsiteY37" fmla="*/ 5710 h 10000"/>
                    <a:gd name="connsiteX38" fmla="*/ 4545 w 10000"/>
                    <a:gd name="connsiteY38" fmla="*/ 5710 h 10000"/>
                    <a:gd name="connsiteX39" fmla="*/ 4352 w 10000"/>
                    <a:gd name="connsiteY39" fmla="*/ 5655 h 10000"/>
                    <a:gd name="connsiteX40" fmla="*/ 4026 w 10000"/>
                    <a:gd name="connsiteY40" fmla="*/ 5582 h 10000"/>
                    <a:gd name="connsiteX41" fmla="*/ 3052 w 10000"/>
                    <a:gd name="connsiteY41" fmla="*/ 5418 h 10000"/>
                    <a:gd name="connsiteX42" fmla="*/ 1689 w 10000"/>
                    <a:gd name="connsiteY42" fmla="*/ 5219 h 10000"/>
                    <a:gd name="connsiteX43" fmla="*/ 1689 w 10000"/>
                    <a:gd name="connsiteY43" fmla="*/ 5219 h 10000"/>
                    <a:gd name="connsiteX44" fmla="*/ 1103 w 10000"/>
                    <a:gd name="connsiteY44" fmla="*/ 5199 h 10000"/>
                    <a:gd name="connsiteX45" fmla="*/ 650 w 10000"/>
                    <a:gd name="connsiteY45" fmla="*/ 5182 h 10000"/>
                    <a:gd name="connsiteX46" fmla="*/ 521 w 10000"/>
                    <a:gd name="connsiteY46" fmla="*/ 5162 h 10000"/>
                    <a:gd name="connsiteX47" fmla="*/ 390 w 10000"/>
                    <a:gd name="connsiteY47" fmla="*/ 5145 h 10000"/>
                    <a:gd name="connsiteX48" fmla="*/ 390 w 10000"/>
                    <a:gd name="connsiteY48" fmla="*/ 5145 h 10000"/>
                    <a:gd name="connsiteX49" fmla="*/ 261 w 10000"/>
                    <a:gd name="connsiteY49" fmla="*/ 5071 h 10000"/>
                    <a:gd name="connsiteX50" fmla="*/ 65 w 10000"/>
                    <a:gd name="connsiteY50" fmla="*/ 4948 h 10000"/>
                    <a:gd name="connsiteX51" fmla="*/ 0 w 10000"/>
                    <a:gd name="connsiteY51" fmla="*/ 4874 h 10000"/>
                    <a:gd name="connsiteX52" fmla="*/ 0 w 10000"/>
                    <a:gd name="connsiteY52" fmla="*/ 4799 h 10000"/>
                    <a:gd name="connsiteX53" fmla="*/ 0 w 10000"/>
                    <a:gd name="connsiteY53" fmla="*/ 4746 h 10000"/>
                    <a:gd name="connsiteX54" fmla="*/ 131 w 10000"/>
                    <a:gd name="connsiteY54" fmla="*/ 4690 h 10000"/>
                    <a:gd name="connsiteX55" fmla="*/ 131 w 10000"/>
                    <a:gd name="connsiteY55" fmla="*/ 4690 h 10000"/>
                    <a:gd name="connsiteX56" fmla="*/ 455 w 10000"/>
                    <a:gd name="connsiteY56" fmla="*/ 4599 h 10000"/>
                    <a:gd name="connsiteX57" fmla="*/ 779 w 10000"/>
                    <a:gd name="connsiteY57" fmla="*/ 4510 h 10000"/>
                    <a:gd name="connsiteX58" fmla="*/ 975 w 10000"/>
                    <a:gd name="connsiteY58" fmla="*/ 4456 h 10000"/>
                    <a:gd name="connsiteX59" fmla="*/ 1103 w 10000"/>
                    <a:gd name="connsiteY59" fmla="*/ 4400 h 10000"/>
                    <a:gd name="connsiteX60" fmla="*/ 1103 w 10000"/>
                    <a:gd name="connsiteY60" fmla="*/ 4327 h 10000"/>
                    <a:gd name="connsiteX61" fmla="*/ 1103 w 10000"/>
                    <a:gd name="connsiteY61" fmla="*/ 4236 h 10000"/>
                    <a:gd name="connsiteX62" fmla="*/ 1103 w 10000"/>
                    <a:gd name="connsiteY62" fmla="*/ 4236 h 10000"/>
                    <a:gd name="connsiteX63" fmla="*/ 845 w 10000"/>
                    <a:gd name="connsiteY63" fmla="*/ 3982 h 10000"/>
                    <a:gd name="connsiteX64" fmla="*/ 521 w 10000"/>
                    <a:gd name="connsiteY64" fmla="*/ 3636 h 10000"/>
                    <a:gd name="connsiteX65" fmla="*/ 261 w 10000"/>
                    <a:gd name="connsiteY65" fmla="*/ 3326 h 10000"/>
                    <a:gd name="connsiteX66" fmla="*/ 195 w 10000"/>
                    <a:gd name="connsiteY66" fmla="*/ 3236 h 10000"/>
                    <a:gd name="connsiteX67" fmla="*/ 195 w 10000"/>
                    <a:gd name="connsiteY67" fmla="*/ 3200 h 10000"/>
                    <a:gd name="connsiteX68" fmla="*/ 261 w 10000"/>
                    <a:gd name="connsiteY68" fmla="*/ 3180 h 10000"/>
                    <a:gd name="connsiteX69" fmla="*/ 261 w 10000"/>
                    <a:gd name="connsiteY69" fmla="*/ 3180 h 10000"/>
                    <a:gd name="connsiteX70" fmla="*/ 650 w 10000"/>
                    <a:gd name="connsiteY70" fmla="*/ 3163 h 10000"/>
                    <a:gd name="connsiteX71" fmla="*/ 908 w 10000"/>
                    <a:gd name="connsiteY71" fmla="*/ 3163 h 10000"/>
                    <a:gd name="connsiteX72" fmla="*/ 1103 w 10000"/>
                    <a:gd name="connsiteY72" fmla="*/ 3180 h 10000"/>
                    <a:gd name="connsiteX73" fmla="*/ 1103 w 10000"/>
                    <a:gd name="connsiteY73" fmla="*/ 3180 h 10000"/>
                    <a:gd name="connsiteX74" fmla="*/ 1168 w 10000"/>
                    <a:gd name="connsiteY74" fmla="*/ 3180 h 10000"/>
                    <a:gd name="connsiteX75" fmla="*/ 1235 w 10000"/>
                    <a:gd name="connsiteY75" fmla="*/ 3147 h 10000"/>
                    <a:gd name="connsiteX76" fmla="*/ 1559 w 10000"/>
                    <a:gd name="connsiteY76" fmla="*/ 3036 h 10000"/>
                    <a:gd name="connsiteX77" fmla="*/ 2402 w 10000"/>
                    <a:gd name="connsiteY77" fmla="*/ 2672 h 10000"/>
                    <a:gd name="connsiteX78" fmla="*/ 3507 w 10000"/>
                    <a:gd name="connsiteY78" fmla="*/ 2147 h 10000"/>
                    <a:gd name="connsiteX79" fmla="*/ 3507 w 10000"/>
                    <a:gd name="connsiteY79" fmla="*/ 2147 h 10000"/>
                    <a:gd name="connsiteX80" fmla="*/ 3507 w 10000"/>
                    <a:gd name="connsiteY80" fmla="*/ 2072 h 10000"/>
                    <a:gd name="connsiteX81" fmla="*/ 3507 w 10000"/>
                    <a:gd name="connsiteY81" fmla="*/ 1907 h 10000"/>
                    <a:gd name="connsiteX82" fmla="*/ 3573 w 10000"/>
                    <a:gd name="connsiteY82" fmla="*/ 1800 h 10000"/>
                    <a:gd name="connsiteX83" fmla="*/ 3702 w 10000"/>
                    <a:gd name="connsiteY83" fmla="*/ 1708 h 10000"/>
                    <a:gd name="connsiteX84" fmla="*/ 3896 w 10000"/>
                    <a:gd name="connsiteY84" fmla="*/ 1600 h 10000"/>
                    <a:gd name="connsiteX85" fmla="*/ 4156 w 10000"/>
                    <a:gd name="connsiteY85" fmla="*/ 1510 h 10000"/>
                    <a:gd name="connsiteX86" fmla="*/ 4156 w 10000"/>
                    <a:gd name="connsiteY86" fmla="*/ 1510 h 10000"/>
                    <a:gd name="connsiteX87" fmla="*/ 4806 w 10000"/>
                    <a:gd name="connsiteY87" fmla="*/ 1329 h 10000"/>
                    <a:gd name="connsiteX88" fmla="*/ 5455 w 10000"/>
                    <a:gd name="connsiteY88" fmla="*/ 1090 h 10000"/>
                    <a:gd name="connsiteX89" fmla="*/ 6104 w 10000"/>
                    <a:gd name="connsiteY89" fmla="*/ 872 h 10000"/>
                    <a:gd name="connsiteX90" fmla="*/ 6559 w 10000"/>
                    <a:gd name="connsiteY90" fmla="*/ 674 h 10000"/>
                    <a:gd name="connsiteX91" fmla="*/ 6559 w 10000"/>
                    <a:gd name="connsiteY91" fmla="*/ 674 h 10000"/>
                    <a:gd name="connsiteX92" fmla="*/ 6882 w 10000"/>
                    <a:gd name="connsiteY92" fmla="*/ 493 h 10000"/>
                    <a:gd name="connsiteX93" fmla="*/ 7273 w 10000"/>
                    <a:gd name="connsiteY93" fmla="*/ 271 h 10000"/>
                    <a:gd name="connsiteX94" fmla="*/ 7663 w 10000"/>
                    <a:gd name="connsiteY94" fmla="*/ 108 h 10000"/>
                    <a:gd name="connsiteX95" fmla="*/ 7856 w 10000"/>
                    <a:gd name="connsiteY95" fmla="*/ 33 h 10000"/>
                    <a:gd name="connsiteX96" fmla="*/ 8051 w 10000"/>
                    <a:gd name="connsiteY96" fmla="*/ 17 h 10000"/>
                    <a:gd name="connsiteX97" fmla="*/ 8051 w 10000"/>
                    <a:gd name="connsiteY97" fmla="*/ 17 h 10000"/>
                    <a:gd name="connsiteX98" fmla="*/ 8442 w 10000"/>
                    <a:gd name="connsiteY98" fmla="*/ 0 h 10000"/>
                    <a:gd name="connsiteX99" fmla="*/ 8961 w 10000"/>
                    <a:gd name="connsiteY99" fmla="*/ 0 h 10000"/>
                    <a:gd name="connsiteX100" fmla="*/ 10000 w 10000"/>
                    <a:gd name="connsiteY100" fmla="*/ 17 h 10000"/>
                    <a:gd name="connsiteX101" fmla="*/ 3117 w 10000"/>
                    <a:gd name="connsiteY101" fmla="*/ 9801 h 10000"/>
                    <a:gd name="connsiteX102" fmla="*/ 2661 w 10000"/>
                    <a:gd name="connsiteY102" fmla="*/ 9744 h 10000"/>
                    <a:gd name="connsiteX0" fmla="*/ 2661 w 10000"/>
                    <a:gd name="connsiteY0" fmla="*/ 9744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7646 w 10000"/>
                    <a:gd name="connsiteY11" fmla="*/ 9411 h 10000"/>
                    <a:gd name="connsiteX12" fmla="*/ 8116 w 10000"/>
                    <a:gd name="connsiteY12" fmla="*/ 9420 h 10000"/>
                    <a:gd name="connsiteX13" fmla="*/ 8116 w 10000"/>
                    <a:gd name="connsiteY13" fmla="*/ 9420 h 10000"/>
                    <a:gd name="connsiteX14" fmla="*/ 8442 w 10000"/>
                    <a:gd name="connsiteY14" fmla="*/ 9383 h 10000"/>
                    <a:gd name="connsiteX15" fmla="*/ 8702 w 10000"/>
                    <a:gd name="connsiteY15" fmla="*/ 9292 h 10000"/>
                    <a:gd name="connsiteX16" fmla="*/ 8636 w 10000"/>
                    <a:gd name="connsiteY16" fmla="*/ 9255 h 10000"/>
                    <a:gd name="connsiteX17" fmla="*/ 8636 w 10000"/>
                    <a:gd name="connsiteY17" fmla="*/ 9219 h 10000"/>
                    <a:gd name="connsiteX18" fmla="*/ 8312 w 10000"/>
                    <a:gd name="connsiteY18" fmla="*/ 9128 h 10000"/>
                    <a:gd name="connsiteX19" fmla="*/ 5975 w 10000"/>
                    <a:gd name="connsiteY19" fmla="*/ 8799 h 10000"/>
                    <a:gd name="connsiteX20" fmla="*/ 5975 w 10000"/>
                    <a:gd name="connsiteY20" fmla="*/ 8799 h 10000"/>
                    <a:gd name="connsiteX21" fmla="*/ 5714 w 10000"/>
                    <a:gd name="connsiteY21" fmla="*/ 8746 h 10000"/>
                    <a:gd name="connsiteX22" fmla="*/ 5519 w 10000"/>
                    <a:gd name="connsiteY22" fmla="*/ 8691 h 10000"/>
                    <a:gd name="connsiteX23" fmla="*/ 5389 w 10000"/>
                    <a:gd name="connsiteY23" fmla="*/ 8636 h 10000"/>
                    <a:gd name="connsiteX24" fmla="*/ 5389 w 10000"/>
                    <a:gd name="connsiteY24" fmla="*/ 8636 h 10000"/>
                    <a:gd name="connsiteX25" fmla="*/ 7729 w 10000"/>
                    <a:gd name="connsiteY25" fmla="*/ 8617 h 10000"/>
                    <a:gd name="connsiteX26" fmla="*/ 10000 w 10000"/>
                    <a:gd name="connsiteY26" fmla="*/ 8799 h 10000"/>
                    <a:gd name="connsiteX27" fmla="*/ 10000 w 10000"/>
                    <a:gd name="connsiteY27" fmla="*/ 7147 h 10000"/>
                    <a:gd name="connsiteX28" fmla="*/ 10000 w 10000"/>
                    <a:gd name="connsiteY28" fmla="*/ 7147 h 10000"/>
                    <a:gd name="connsiteX29" fmla="*/ 7404 w 10000"/>
                    <a:gd name="connsiteY29" fmla="*/ 6762 h 10000"/>
                    <a:gd name="connsiteX30" fmla="*/ 5975 w 10000"/>
                    <a:gd name="connsiteY30" fmla="*/ 6546 h 10000"/>
                    <a:gd name="connsiteX31" fmla="*/ 5975 w 10000"/>
                    <a:gd name="connsiteY31" fmla="*/ 6546 h 10000"/>
                    <a:gd name="connsiteX32" fmla="*/ 5975 w 10000"/>
                    <a:gd name="connsiteY32" fmla="*/ 6528 h 10000"/>
                    <a:gd name="connsiteX33" fmla="*/ 5975 w 10000"/>
                    <a:gd name="connsiteY33" fmla="*/ 6419 h 10000"/>
                    <a:gd name="connsiteX34" fmla="*/ 5975 w 10000"/>
                    <a:gd name="connsiteY34" fmla="*/ 6419 h 10000"/>
                    <a:gd name="connsiteX35" fmla="*/ 5779 w 10000"/>
                    <a:gd name="connsiteY35" fmla="*/ 6289 h 10000"/>
                    <a:gd name="connsiteX36" fmla="*/ 5389 w 10000"/>
                    <a:gd name="connsiteY36" fmla="*/ 6090 h 10000"/>
                    <a:gd name="connsiteX37" fmla="*/ 4545 w 10000"/>
                    <a:gd name="connsiteY37" fmla="*/ 5710 h 10000"/>
                    <a:gd name="connsiteX38" fmla="*/ 4545 w 10000"/>
                    <a:gd name="connsiteY38" fmla="*/ 5710 h 10000"/>
                    <a:gd name="connsiteX39" fmla="*/ 4352 w 10000"/>
                    <a:gd name="connsiteY39" fmla="*/ 5655 h 10000"/>
                    <a:gd name="connsiteX40" fmla="*/ 4026 w 10000"/>
                    <a:gd name="connsiteY40" fmla="*/ 5582 h 10000"/>
                    <a:gd name="connsiteX41" fmla="*/ 3052 w 10000"/>
                    <a:gd name="connsiteY41" fmla="*/ 5418 h 10000"/>
                    <a:gd name="connsiteX42" fmla="*/ 1689 w 10000"/>
                    <a:gd name="connsiteY42" fmla="*/ 5219 h 10000"/>
                    <a:gd name="connsiteX43" fmla="*/ 1689 w 10000"/>
                    <a:gd name="connsiteY43" fmla="*/ 5219 h 10000"/>
                    <a:gd name="connsiteX44" fmla="*/ 1103 w 10000"/>
                    <a:gd name="connsiteY44" fmla="*/ 5199 h 10000"/>
                    <a:gd name="connsiteX45" fmla="*/ 650 w 10000"/>
                    <a:gd name="connsiteY45" fmla="*/ 5182 h 10000"/>
                    <a:gd name="connsiteX46" fmla="*/ 521 w 10000"/>
                    <a:gd name="connsiteY46" fmla="*/ 5162 h 10000"/>
                    <a:gd name="connsiteX47" fmla="*/ 390 w 10000"/>
                    <a:gd name="connsiteY47" fmla="*/ 5145 h 10000"/>
                    <a:gd name="connsiteX48" fmla="*/ 390 w 10000"/>
                    <a:gd name="connsiteY48" fmla="*/ 5145 h 10000"/>
                    <a:gd name="connsiteX49" fmla="*/ 261 w 10000"/>
                    <a:gd name="connsiteY49" fmla="*/ 5071 h 10000"/>
                    <a:gd name="connsiteX50" fmla="*/ 65 w 10000"/>
                    <a:gd name="connsiteY50" fmla="*/ 4948 h 10000"/>
                    <a:gd name="connsiteX51" fmla="*/ 0 w 10000"/>
                    <a:gd name="connsiteY51" fmla="*/ 4874 h 10000"/>
                    <a:gd name="connsiteX52" fmla="*/ 0 w 10000"/>
                    <a:gd name="connsiteY52" fmla="*/ 4799 h 10000"/>
                    <a:gd name="connsiteX53" fmla="*/ 0 w 10000"/>
                    <a:gd name="connsiteY53" fmla="*/ 4746 h 10000"/>
                    <a:gd name="connsiteX54" fmla="*/ 131 w 10000"/>
                    <a:gd name="connsiteY54" fmla="*/ 4690 h 10000"/>
                    <a:gd name="connsiteX55" fmla="*/ 131 w 10000"/>
                    <a:gd name="connsiteY55" fmla="*/ 4690 h 10000"/>
                    <a:gd name="connsiteX56" fmla="*/ 455 w 10000"/>
                    <a:gd name="connsiteY56" fmla="*/ 4599 h 10000"/>
                    <a:gd name="connsiteX57" fmla="*/ 779 w 10000"/>
                    <a:gd name="connsiteY57" fmla="*/ 4510 h 10000"/>
                    <a:gd name="connsiteX58" fmla="*/ 975 w 10000"/>
                    <a:gd name="connsiteY58" fmla="*/ 4456 h 10000"/>
                    <a:gd name="connsiteX59" fmla="*/ 1103 w 10000"/>
                    <a:gd name="connsiteY59" fmla="*/ 4400 h 10000"/>
                    <a:gd name="connsiteX60" fmla="*/ 1103 w 10000"/>
                    <a:gd name="connsiteY60" fmla="*/ 4327 h 10000"/>
                    <a:gd name="connsiteX61" fmla="*/ 1103 w 10000"/>
                    <a:gd name="connsiteY61" fmla="*/ 4236 h 10000"/>
                    <a:gd name="connsiteX62" fmla="*/ 1103 w 10000"/>
                    <a:gd name="connsiteY62" fmla="*/ 4236 h 10000"/>
                    <a:gd name="connsiteX63" fmla="*/ 845 w 10000"/>
                    <a:gd name="connsiteY63" fmla="*/ 3982 h 10000"/>
                    <a:gd name="connsiteX64" fmla="*/ 521 w 10000"/>
                    <a:gd name="connsiteY64" fmla="*/ 3636 h 10000"/>
                    <a:gd name="connsiteX65" fmla="*/ 261 w 10000"/>
                    <a:gd name="connsiteY65" fmla="*/ 3326 h 10000"/>
                    <a:gd name="connsiteX66" fmla="*/ 195 w 10000"/>
                    <a:gd name="connsiteY66" fmla="*/ 3236 h 10000"/>
                    <a:gd name="connsiteX67" fmla="*/ 195 w 10000"/>
                    <a:gd name="connsiteY67" fmla="*/ 3200 h 10000"/>
                    <a:gd name="connsiteX68" fmla="*/ 261 w 10000"/>
                    <a:gd name="connsiteY68" fmla="*/ 3180 h 10000"/>
                    <a:gd name="connsiteX69" fmla="*/ 261 w 10000"/>
                    <a:gd name="connsiteY69" fmla="*/ 3180 h 10000"/>
                    <a:gd name="connsiteX70" fmla="*/ 650 w 10000"/>
                    <a:gd name="connsiteY70" fmla="*/ 3163 h 10000"/>
                    <a:gd name="connsiteX71" fmla="*/ 908 w 10000"/>
                    <a:gd name="connsiteY71" fmla="*/ 3163 h 10000"/>
                    <a:gd name="connsiteX72" fmla="*/ 1103 w 10000"/>
                    <a:gd name="connsiteY72" fmla="*/ 3180 h 10000"/>
                    <a:gd name="connsiteX73" fmla="*/ 1103 w 10000"/>
                    <a:gd name="connsiteY73" fmla="*/ 3180 h 10000"/>
                    <a:gd name="connsiteX74" fmla="*/ 1168 w 10000"/>
                    <a:gd name="connsiteY74" fmla="*/ 3180 h 10000"/>
                    <a:gd name="connsiteX75" fmla="*/ 1235 w 10000"/>
                    <a:gd name="connsiteY75" fmla="*/ 3147 h 10000"/>
                    <a:gd name="connsiteX76" fmla="*/ 1559 w 10000"/>
                    <a:gd name="connsiteY76" fmla="*/ 3036 h 10000"/>
                    <a:gd name="connsiteX77" fmla="*/ 2402 w 10000"/>
                    <a:gd name="connsiteY77" fmla="*/ 2672 h 10000"/>
                    <a:gd name="connsiteX78" fmla="*/ 3507 w 10000"/>
                    <a:gd name="connsiteY78" fmla="*/ 2147 h 10000"/>
                    <a:gd name="connsiteX79" fmla="*/ 3507 w 10000"/>
                    <a:gd name="connsiteY79" fmla="*/ 2147 h 10000"/>
                    <a:gd name="connsiteX80" fmla="*/ 3507 w 10000"/>
                    <a:gd name="connsiteY80" fmla="*/ 2072 h 10000"/>
                    <a:gd name="connsiteX81" fmla="*/ 3507 w 10000"/>
                    <a:gd name="connsiteY81" fmla="*/ 1907 h 10000"/>
                    <a:gd name="connsiteX82" fmla="*/ 3573 w 10000"/>
                    <a:gd name="connsiteY82" fmla="*/ 1800 h 10000"/>
                    <a:gd name="connsiteX83" fmla="*/ 3702 w 10000"/>
                    <a:gd name="connsiteY83" fmla="*/ 1708 h 10000"/>
                    <a:gd name="connsiteX84" fmla="*/ 3896 w 10000"/>
                    <a:gd name="connsiteY84" fmla="*/ 1600 h 10000"/>
                    <a:gd name="connsiteX85" fmla="*/ 4156 w 10000"/>
                    <a:gd name="connsiteY85" fmla="*/ 1510 h 10000"/>
                    <a:gd name="connsiteX86" fmla="*/ 4156 w 10000"/>
                    <a:gd name="connsiteY86" fmla="*/ 1510 h 10000"/>
                    <a:gd name="connsiteX87" fmla="*/ 4806 w 10000"/>
                    <a:gd name="connsiteY87" fmla="*/ 1329 h 10000"/>
                    <a:gd name="connsiteX88" fmla="*/ 5455 w 10000"/>
                    <a:gd name="connsiteY88" fmla="*/ 1090 h 10000"/>
                    <a:gd name="connsiteX89" fmla="*/ 6104 w 10000"/>
                    <a:gd name="connsiteY89" fmla="*/ 872 h 10000"/>
                    <a:gd name="connsiteX90" fmla="*/ 6559 w 10000"/>
                    <a:gd name="connsiteY90" fmla="*/ 674 h 10000"/>
                    <a:gd name="connsiteX91" fmla="*/ 6559 w 10000"/>
                    <a:gd name="connsiteY91" fmla="*/ 674 h 10000"/>
                    <a:gd name="connsiteX92" fmla="*/ 6882 w 10000"/>
                    <a:gd name="connsiteY92" fmla="*/ 493 h 10000"/>
                    <a:gd name="connsiteX93" fmla="*/ 7273 w 10000"/>
                    <a:gd name="connsiteY93" fmla="*/ 271 h 10000"/>
                    <a:gd name="connsiteX94" fmla="*/ 7663 w 10000"/>
                    <a:gd name="connsiteY94" fmla="*/ 108 h 10000"/>
                    <a:gd name="connsiteX95" fmla="*/ 7856 w 10000"/>
                    <a:gd name="connsiteY95" fmla="*/ 33 h 10000"/>
                    <a:gd name="connsiteX96" fmla="*/ 8051 w 10000"/>
                    <a:gd name="connsiteY96" fmla="*/ 17 h 10000"/>
                    <a:gd name="connsiteX97" fmla="*/ 8051 w 10000"/>
                    <a:gd name="connsiteY97" fmla="*/ 17 h 10000"/>
                    <a:gd name="connsiteX98" fmla="*/ 8442 w 10000"/>
                    <a:gd name="connsiteY98" fmla="*/ 0 h 10000"/>
                    <a:gd name="connsiteX99" fmla="*/ 8961 w 10000"/>
                    <a:gd name="connsiteY99" fmla="*/ 0 h 10000"/>
                    <a:gd name="connsiteX100" fmla="*/ 10000 w 10000"/>
                    <a:gd name="connsiteY100" fmla="*/ 17 h 10000"/>
                    <a:gd name="connsiteX101" fmla="*/ 2661 w 10000"/>
                    <a:gd name="connsiteY101" fmla="*/ 9744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3443 w 10000"/>
                    <a:gd name="connsiteY10" fmla="*/ 9709 h 10000"/>
                    <a:gd name="connsiteX11" fmla="*/ 7646 w 10000"/>
                    <a:gd name="connsiteY11" fmla="*/ 9411 h 10000"/>
                    <a:gd name="connsiteX12" fmla="*/ 8116 w 10000"/>
                    <a:gd name="connsiteY12" fmla="*/ 9420 h 10000"/>
                    <a:gd name="connsiteX13" fmla="*/ 8116 w 10000"/>
                    <a:gd name="connsiteY13" fmla="*/ 9420 h 10000"/>
                    <a:gd name="connsiteX14" fmla="*/ 8442 w 10000"/>
                    <a:gd name="connsiteY14" fmla="*/ 9383 h 10000"/>
                    <a:gd name="connsiteX15" fmla="*/ 8702 w 10000"/>
                    <a:gd name="connsiteY15" fmla="*/ 9292 h 10000"/>
                    <a:gd name="connsiteX16" fmla="*/ 8636 w 10000"/>
                    <a:gd name="connsiteY16" fmla="*/ 9255 h 10000"/>
                    <a:gd name="connsiteX17" fmla="*/ 8636 w 10000"/>
                    <a:gd name="connsiteY17" fmla="*/ 9219 h 10000"/>
                    <a:gd name="connsiteX18" fmla="*/ 8312 w 10000"/>
                    <a:gd name="connsiteY18" fmla="*/ 9128 h 10000"/>
                    <a:gd name="connsiteX19" fmla="*/ 5975 w 10000"/>
                    <a:gd name="connsiteY19" fmla="*/ 8799 h 10000"/>
                    <a:gd name="connsiteX20" fmla="*/ 5975 w 10000"/>
                    <a:gd name="connsiteY20" fmla="*/ 8799 h 10000"/>
                    <a:gd name="connsiteX21" fmla="*/ 5714 w 10000"/>
                    <a:gd name="connsiteY21" fmla="*/ 8746 h 10000"/>
                    <a:gd name="connsiteX22" fmla="*/ 5519 w 10000"/>
                    <a:gd name="connsiteY22" fmla="*/ 8691 h 10000"/>
                    <a:gd name="connsiteX23" fmla="*/ 5389 w 10000"/>
                    <a:gd name="connsiteY23" fmla="*/ 8636 h 10000"/>
                    <a:gd name="connsiteX24" fmla="*/ 5389 w 10000"/>
                    <a:gd name="connsiteY24" fmla="*/ 8636 h 10000"/>
                    <a:gd name="connsiteX25" fmla="*/ 7729 w 10000"/>
                    <a:gd name="connsiteY25" fmla="*/ 8617 h 10000"/>
                    <a:gd name="connsiteX26" fmla="*/ 10000 w 10000"/>
                    <a:gd name="connsiteY26" fmla="*/ 8799 h 10000"/>
                    <a:gd name="connsiteX27" fmla="*/ 10000 w 10000"/>
                    <a:gd name="connsiteY27" fmla="*/ 7147 h 10000"/>
                    <a:gd name="connsiteX28" fmla="*/ 10000 w 10000"/>
                    <a:gd name="connsiteY28" fmla="*/ 7147 h 10000"/>
                    <a:gd name="connsiteX29" fmla="*/ 7404 w 10000"/>
                    <a:gd name="connsiteY29" fmla="*/ 6762 h 10000"/>
                    <a:gd name="connsiteX30" fmla="*/ 5975 w 10000"/>
                    <a:gd name="connsiteY30" fmla="*/ 6546 h 10000"/>
                    <a:gd name="connsiteX31" fmla="*/ 5975 w 10000"/>
                    <a:gd name="connsiteY31" fmla="*/ 6546 h 10000"/>
                    <a:gd name="connsiteX32" fmla="*/ 5975 w 10000"/>
                    <a:gd name="connsiteY32" fmla="*/ 6528 h 10000"/>
                    <a:gd name="connsiteX33" fmla="*/ 5975 w 10000"/>
                    <a:gd name="connsiteY33" fmla="*/ 6419 h 10000"/>
                    <a:gd name="connsiteX34" fmla="*/ 5975 w 10000"/>
                    <a:gd name="connsiteY34" fmla="*/ 6419 h 10000"/>
                    <a:gd name="connsiteX35" fmla="*/ 5779 w 10000"/>
                    <a:gd name="connsiteY35" fmla="*/ 6289 h 10000"/>
                    <a:gd name="connsiteX36" fmla="*/ 5389 w 10000"/>
                    <a:gd name="connsiteY36" fmla="*/ 6090 h 10000"/>
                    <a:gd name="connsiteX37" fmla="*/ 4545 w 10000"/>
                    <a:gd name="connsiteY37" fmla="*/ 5710 h 10000"/>
                    <a:gd name="connsiteX38" fmla="*/ 4545 w 10000"/>
                    <a:gd name="connsiteY38" fmla="*/ 5710 h 10000"/>
                    <a:gd name="connsiteX39" fmla="*/ 4352 w 10000"/>
                    <a:gd name="connsiteY39" fmla="*/ 5655 h 10000"/>
                    <a:gd name="connsiteX40" fmla="*/ 4026 w 10000"/>
                    <a:gd name="connsiteY40" fmla="*/ 5582 h 10000"/>
                    <a:gd name="connsiteX41" fmla="*/ 3052 w 10000"/>
                    <a:gd name="connsiteY41" fmla="*/ 5418 h 10000"/>
                    <a:gd name="connsiteX42" fmla="*/ 1689 w 10000"/>
                    <a:gd name="connsiteY42" fmla="*/ 5219 h 10000"/>
                    <a:gd name="connsiteX43" fmla="*/ 1689 w 10000"/>
                    <a:gd name="connsiteY43" fmla="*/ 5219 h 10000"/>
                    <a:gd name="connsiteX44" fmla="*/ 1103 w 10000"/>
                    <a:gd name="connsiteY44" fmla="*/ 5199 h 10000"/>
                    <a:gd name="connsiteX45" fmla="*/ 650 w 10000"/>
                    <a:gd name="connsiteY45" fmla="*/ 5182 h 10000"/>
                    <a:gd name="connsiteX46" fmla="*/ 521 w 10000"/>
                    <a:gd name="connsiteY46" fmla="*/ 5162 h 10000"/>
                    <a:gd name="connsiteX47" fmla="*/ 390 w 10000"/>
                    <a:gd name="connsiteY47" fmla="*/ 5145 h 10000"/>
                    <a:gd name="connsiteX48" fmla="*/ 390 w 10000"/>
                    <a:gd name="connsiteY48" fmla="*/ 5145 h 10000"/>
                    <a:gd name="connsiteX49" fmla="*/ 261 w 10000"/>
                    <a:gd name="connsiteY49" fmla="*/ 5071 h 10000"/>
                    <a:gd name="connsiteX50" fmla="*/ 65 w 10000"/>
                    <a:gd name="connsiteY50" fmla="*/ 4948 h 10000"/>
                    <a:gd name="connsiteX51" fmla="*/ 0 w 10000"/>
                    <a:gd name="connsiteY51" fmla="*/ 4874 h 10000"/>
                    <a:gd name="connsiteX52" fmla="*/ 0 w 10000"/>
                    <a:gd name="connsiteY52" fmla="*/ 4799 h 10000"/>
                    <a:gd name="connsiteX53" fmla="*/ 0 w 10000"/>
                    <a:gd name="connsiteY53" fmla="*/ 4746 h 10000"/>
                    <a:gd name="connsiteX54" fmla="*/ 131 w 10000"/>
                    <a:gd name="connsiteY54" fmla="*/ 4690 h 10000"/>
                    <a:gd name="connsiteX55" fmla="*/ 131 w 10000"/>
                    <a:gd name="connsiteY55" fmla="*/ 4690 h 10000"/>
                    <a:gd name="connsiteX56" fmla="*/ 455 w 10000"/>
                    <a:gd name="connsiteY56" fmla="*/ 4599 h 10000"/>
                    <a:gd name="connsiteX57" fmla="*/ 779 w 10000"/>
                    <a:gd name="connsiteY57" fmla="*/ 4510 h 10000"/>
                    <a:gd name="connsiteX58" fmla="*/ 975 w 10000"/>
                    <a:gd name="connsiteY58" fmla="*/ 4456 h 10000"/>
                    <a:gd name="connsiteX59" fmla="*/ 1103 w 10000"/>
                    <a:gd name="connsiteY59" fmla="*/ 4400 h 10000"/>
                    <a:gd name="connsiteX60" fmla="*/ 1103 w 10000"/>
                    <a:gd name="connsiteY60" fmla="*/ 4327 h 10000"/>
                    <a:gd name="connsiteX61" fmla="*/ 1103 w 10000"/>
                    <a:gd name="connsiteY61" fmla="*/ 4236 h 10000"/>
                    <a:gd name="connsiteX62" fmla="*/ 1103 w 10000"/>
                    <a:gd name="connsiteY62" fmla="*/ 4236 h 10000"/>
                    <a:gd name="connsiteX63" fmla="*/ 845 w 10000"/>
                    <a:gd name="connsiteY63" fmla="*/ 3982 h 10000"/>
                    <a:gd name="connsiteX64" fmla="*/ 521 w 10000"/>
                    <a:gd name="connsiteY64" fmla="*/ 3636 h 10000"/>
                    <a:gd name="connsiteX65" fmla="*/ 261 w 10000"/>
                    <a:gd name="connsiteY65" fmla="*/ 3326 h 10000"/>
                    <a:gd name="connsiteX66" fmla="*/ 195 w 10000"/>
                    <a:gd name="connsiteY66" fmla="*/ 3236 h 10000"/>
                    <a:gd name="connsiteX67" fmla="*/ 195 w 10000"/>
                    <a:gd name="connsiteY67" fmla="*/ 3200 h 10000"/>
                    <a:gd name="connsiteX68" fmla="*/ 261 w 10000"/>
                    <a:gd name="connsiteY68" fmla="*/ 3180 h 10000"/>
                    <a:gd name="connsiteX69" fmla="*/ 261 w 10000"/>
                    <a:gd name="connsiteY69" fmla="*/ 3180 h 10000"/>
                    <a:gd name="connsiteX70" fmla="*/ 650 w 10000"/>
                    <a:gd name="connsiteY70" fmla="*/ 3163 h 10000"/>
                    <a:gd name="connsiteX71" fmla="*/ 908 w 10000"/>
                    <a:gd name="connsiteY71" fmla="*/ 3163 h 10000"/>
                    <a:gd name="connsiteX72" fmla="*/ 1103 w 10000"/>
                    <a:gd name="connsiteY72" fmla="*/ 3180 h 10000"/>
                    <a:gd name="connsiteX73" fmla="*/ 1103 w 10000"/>
                    <a:gd name="connsiteY73" fmla="*/ 3180 h 10000"/>
                    <a:gd name="connsiteX74" fmla="*/ 1168 w 10000"/>
                    <a:gd name="connsiteY74" fmla="*/ 3180 h 10000"/>
                    <a:gd name="connsiteX75" fmla="*/ 1235 w 10000"/>
                    <a:gd name="connsiteY75" fmla="*/ 3147 h 10000"/>
                    <a:gd name="connsiteX76" fmla="*/ 1559 w 10000"/>
                    <a:gd name="connsiteY76" fmla="*/ 3036 h 10000"/>
                    <a:gd name="connsiteX77" fmla="*/ 2402 w 10000"/>
                    <a:gd name="connsiteY77" fmla="*/ 2672 h 10000"/>
                    <a:gd name="connsiteX78" fmla="*/ 3507 w 10000"/>
                    <a:gd name="connsiteY78" fmla="*/ 2147 h 10000"/>
                    <a:gd name="connsiteX79" fmla="*/ 3507 w 10000"/>
                    <a:gd name="connsiteY79" fmla="*/ 2147 h 10000"/>
                    <a:gd name="connsiteX80" fmla="*/ 3507 w 10000"/>
                    <a:gd name="connsiteY80" fmla="*/ 2072 h 10000"/>
                    <a:gd name="connsiteX81" fmla="*/ 3507 w 10000"/>
                    <a:gd name="connsiteY81" fmla="*/ 1907 h 10000"/>
                    <a:gd name="connsiteX82" fmla="*/ 3573 w 10000"/>
                    <a:gd name="connsiteY82" fmla="*/ 1800 h 10000"/>
                    <a:gd name="connsiteX83" fmla="*/ 3702 w 10000"/>
                    <a:gd name="connsiteY83" fmla="*/ 1708 h 10000"/>
                    <a:gd name="connsiteX84" fmla="*/ 3896 w 10000"/>
                    <a:gd name="connsiteY84" fmla="*/ 1600 h 10000"/>
                    <a:gd name="connsiteX85" fmla="*/ 4156 w 10000"/>
                    <a:gd name="connsiteY85" fmla="*/ 1510 h 10000"/>
                    <a:gd name="connsiteX86" fmla="*/ 4156 w 10000"/>
                    <a:gd name="connsiteY86" fmla="*/ 1510 h 10000"/>
                    <a:gd name="connsiteX87" fmla="*/ 4806 w 10000"/>
                    <a:gd name="connsiteY87" fmla="*/ 1329 h 10000"/>
                    <a:gd name="connsiteX88" fmla="*/ 5455 w 10000"/>
                    <a:gd name="connsiteY88" fmla="*/ 1090 h 10000"/>
                    <a:gd name="connsiteX89" fmla="*/ 6104 w 10000"/>
                    <a:gd name="connsiteY89" fmla="*/ 872 h 10000"/>
                    <a:gd name="connsiteX90" fmla="*/ 6559 w 10000"/>
                    <a:gd name="connsiteY90" fmla="*/ 674 h 10000"/>
                    <a:gd name="connsiteX91" fmla="*/ 6559 w 10000"/>
                    <a:gd name="connsiteY91" fmla="*/ 674 h 10000"/>
                    <a:gd name="connsiteX92" fmla="*/ 6882 w 10000"/>
                    <a:gd name="connsiteY92" fmla="*/ 493 h 10000"/>
                    <a:gd name="connsiteX93" fmla="*/ 7273 w 10000"/>
                    <a:gd name="connsiteY93" fmla="*/ 271 h 10000"/>
                    <a:gd name="connsiteX94" fmla="*/ 7663 w 10000"/>
                    <a:gd name="connsiteY94" fmla="*/ 108 h 10000"/>
                    <a:gd name="connsiteX95" fmla="*/ 7856 w 10000"/>
                    <a:gd name="connsiteY95" fmla="*/ 33 h 10000"/>
                    <a:gd name="connsiteX96" fmla="*/ 8051 w 10000"/>
                    <a:gd name="connsiteY96" fmla="*/ 17 h 10000"/>
                    <a:gd name="connsiteX97" fmla="*/ 8051 w 10000"/>
                    <a:gd name="connsiteY97" fmla="*/ 17 h 10000"/>
                    <a:gd name="connsiteX98" fmla="*/ 8442 w 10000"/>
                    <a:gd name="connsiteY98" fmla="*/ 0 h 10000"/>
                    <a:gd name="connsiteX99" fmla="*/ 8961 w 10000"/>
                    <a:gd name="connsiteY99" fmla="*/ 0 h 10000"/>
                    <a:gd name="connsiteX100" fmla="*/ 10000 w 10000"/>
                    <a:gd name="connsiteY100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3443 w 10000"/>
                    <a:gd name="connsiteY9" fmla="*/ 9726 h 10000"/>
                    <a:gd name="connsiteX10" fmla="*/ 7646 w 10000"/>
                    <a:gd name="connsiteY10" fmla="*/ 9411 h 10000"/>
                    <a:gd name="connsiteX11" fmla="*/ 8116 w 10000"/>
                    <a:gd name="connsiteY11" fmla="*/ 9420 h 10000"/>
                    <a:gd name="connsiteX12" fmla="*/ 8116 w 10000"/>
                    <a:gd name="connsiteY12" fmla="*/ 9420 h 10000"/>
                    <a:gd name="connsiteX13" fmla="*/ 8442 w 10000"/>
                    <a:gd name="connsiteY13" fmla="*/ 9383 h 10000"/>
                    <a:gd name="connsiteX14" fmla="*/ 8702 w 10000"/>
                    <a:gd name="connsiteY14" fmla="*/ 9292 h 10000"/>
                    <a:gd name="connsiteX15" fmla="*/ 8636 w 10000"/>
                    <a:gd name="connsiteY15" fmla="*/ 9255 h 10000"/>
                    <a:gd name="connsiteX16" fmla="*/ 8636 w 10000"/>
                    <a:gd name="connsiteY16" fmla="*/ 9219 h 10000"/>
                    <a:gd name="connsiteX17" fmla="*/ 8312 w 10000"/>
                    <a:gd name="connsiteY17" fmla="*/ 9128 h 10000"/>
                    <a:gd name="connsiteX18" fmla="*/ 5975 w 10000"/>
                    <a:gd name="connsiteY18" fmla="*/ 8799 h 10000"/>
                    <a:gd name="connsiteX19" fmla="*/ 5975 w 10000"/>
                    <a:gd name="connsiteY19" fmla="*/ 8799 h 10000"/>
                    <a:gd name="connsiteX20" fmla="*/ 5714 w 10000"/>
                    <a:gd name="connsiteY20" fmla="*/ 8746 h 10000"/>
                    <a:gd name="connsiteX21" fmla="*/ 5519 w 10000"/>
                    <a:gd name="connsiteY21" fmla="*/ 8691 h 10000"/>
                    <a:gd name="connsiteX22" fmla="*/ 5389 w 10000"/>
                    <a:gd name="connsiteY22" fmla="*/ 8636 h 10000"/>
                    <a:gd name="connsiteX23" fmla="*/ 5389 w 10000"/>
                    <a:gd name="connsiteY23" fmla="*/ 8636 h 10000"/>
                    <a:gd name="connsiteX24" fmla="*/ 7729 w 10000"/>
                    <a:gd name="connsiteY24" fmla="*/ 8617 h 10000"/>
                    <a:gd name="connsiteX25" fmla="*/ 10000 w 10000"/>
                    <a:gd name="connsiteY25" fmla="*/ 8799 h 10000"/>
                    <a:gd name="connsiteX26" fmla="*/ 10000 w 10000"/>
                    <a:gd name="connsiteY26" fmla="*/ 7147 h 10000"/>
                    <a:gd name="connsiteX27" fmla="*/ 10000 w 10000"/>
                    <a:gd name="connsiteY27" fmla="*/ 7147 h 10000"/>
                    <a:gd name="connsiteX28" fmla="*/ 7404 w 10000"/>
                    <a:gd name="connsiteY28" fmla="*/ 6762 h 10000"/>
                    <a:gd name="connsiteX29" fmla="*/ 5975 w 10000"/>
                    <a:gd name="connsiteY29" fmla="*/ 6546 h 10000"/>
                    <a:gd name="connsiteX30" fmla="*/ 5975 w 10000"/>
                    <a:gd name="connsiteY30" fmla="*/ 6546 h 10000"/>
                    <a:gd name="connsiteX31" fmla="*/ 5975 w 10000"/>
                    <a:gd name="connsiteY31" fmla="*/ 6528 h 10000"/>
                    <a:gd name="connsiteX32" fmla="*/ 5975 w 10000"/>
                    <a:gd name="connsiteY32" fmla="*/ 6419 h 10000"/>
                    <a:gd name="connsiteX33" fmla="*/ 5975 w 10000"/>
                    <a:gd name="connsiteY33" fmla="*/ 6419 h 10000"/>
                    <a:gd name="connsiteX34" fmla="*/ 5779 w 10000"/>
                    <a:gd name="connsiteY34" fmla="*/ 6289 h 10000"/>
                    <a:gd name="connsiteX35" fmla="*/ 5389 w 10000"/>
                    <a:gd name="connsiteY35" fmla="*/ 6090 h 10000"/>
                    <a:gd name="connsiteX36" fmla="*/ 4545 w 10000"/>
                    <a:gd name="connsiteY36" fmla="*/ 5710 h 10000"/>
                    <a:gd name="connsiteX37" fmla="*/ 4545 w 10000"/>
                    <a:gd name="connsiteY37" fmla="*/ 5710 h 10000"/>
                    <a:gd name="connsiteX38" fmla="*/ 4352 w 10000"/>
                    <a:gd name="connsiteY38" fmla="*/ 5655 h 10000"/>
                    <a:gd name="connsiteX39" fmla="*/ 4026 w 10000"/>
                    <a:gd name="connsiteY39" fmla="*/ 5582 h 10000"/>
                    <a:gd name="connsiteX40" fmla="*/ 3052 w 10000"/>
                    <a:gd name="connsiteY40" fmla="*/ 5418 h 10000"/>
                    <a:gd name="connsiteX41" fmla="*/ 1689 w 10000"/>
                    <a:gd name="connsiteY41" fmla="*/ 5219 h 10000"/>
                    <a:gd name="connsiteX42" fmla="*/ 1689 w 10000"/>
                    <a:gd name="connsiteY42" fmla="*/ 5219 h 10000"/>
                    <a:gd name="connsiteX43" fmla="*/ 1103 w 10000"/>
                    <a:gd name="connsiteY43" fmla="*/ 5199 h 10000"/>
                    <a:gd name="connsiteX44" fmla="*/ 650 w 10000"/>
                    <a:gd name="connsiteY44" fmla="*/ 5182 h 10000"/>
                    <a:gd name="connsiteX45" fmla="*/ 521 w 10000"/>
                    <a:gd name="connsiteY45" fmla="*/ 5162 h 10000"/>
                    <a:gd name="connsiteX46" fmla="*/ 390 w 10000"/>
                    <a:gd name="connsiteY46" fmla="*/ 5145 h 10000"/>
                    <a:gd name="connsiteX47" fmla="*/ 390 w 10000"/>
                    <a:gd name="connsiteY47" fmla="*/ 5145 h 10000"/>
                    <a:gd name="connsiteX48" fmla="*/ 261 w 10000"/>
                    <a:gd name="connsiteY48" fmla="*/ 5071 h 10000"/>
                    <a:gd name="connsiteX49" fmla="*/ 65 w 10000"/>
                    <a:gd name="connsiteY49" fmla="*/ 4948 h 10000"/>
                    <a:gd name="connsiteX50" fmla="*/ 0 w 10000"/>
                    <a:gd name="connsiteY50" fmla="*/ 4874 h 10000"/>
                    <a:gd name="connsiteX51" fmla="*/ 0 w 10000"/>
                    <a:gd name="connsiteY51" fmla="*/ 4799 h 10000"/>
                    <a:gd name="connsiteX52" fmla="*/ 0 w 10000"/>
                    <a:gd name="connsiteY52" fmla="*/ 4746 h 10000"/>
                    <a:gd name="connsiteX53" fmla="*/ 131 w 10000"/>
                    <a:gd name="connsiteY53" fmla="*/ 4690 h 10000"/>
                    <a:gd name="connsiteX54" fmla="*/ 131 w 10000"/>
                    <a:gd name="connsiteY54" fmla="*/ 4690 h 10000"/>
                    <a:gd name="connsiteX55" fmla="*/ 455 w 10000"/>
                    <a:gd name="connsiteY55" fmla="*/ 4599 h 10000"/>
                    <a:gd name="connsiteX56" fmla="*/ 779 w 10000"/>
                    <a:gd name="connsiteY56" fmla="*/ 4510 h 10000"/>
                    <a:gd name="connsiteX57" fmla="*/ 975 w 10000"/>
                    <a:gd name="connsiteY57" fmla="*/ 4456 h 10000"/>
                    <a:gd name="connsiteX58" fmla="*/ 1103 w 10000"/>
                    <a:gd name="connsiteY58" fmla="*/ 4400 h 10000"/>
                    <a:gd name="connsiteX59" fmla="*/ 1103 w 10000"/>
                    <a:gd name="connsiteY59" fmla="*/ 4327 h 10000"/>
                    <a:gd name="connsiteX60" fmla="*/ 1103 w 10000"/>
                    <a:gd name="connsiteY60" fmla="*/ 4236 h 10000"/>
                    <a:gd name="connsiteX61" fmla="*/ 1103 w 10000"/>
                    <a:gd name="connsiteY61" fmla="*/ 4236 h 10000"/>
                    <a:gd name="connsiteX62" fmla="*/ 845 w 10000"/>
                    <a:gd name="connsiteY62" fmla="*/ 3982 h 10000"/>
                    <a:gd name="connsiteX63" fmla="*/ 521 w 10000"/>
                    <a:gd name="connsiteY63" fmla="*/ 3636 h 10000"/>
                    <a:gd name="connsiteX64" fmla="*/ 261 w 10000"/>
                    <a:gd name="connsiteY64" fmla="*/ 3326 h 10000"/>
                    <a:gd name="connsiteX65" fmla="*/ 195 w 10000"/>
                    <a:gd name="connsiteY65" fmla="*/ 3236 h 10000"/>
                    <a:gd name="connsiteX66" fmla="*/ 195 w 10000"/>
                    <a:gd name="connsiteY66" fmla="*/ 3200 h 10000"/>
                    <a:gd name="connsiteX67" fmla="*/ 261 w 10000"/>
                    <a:gd name="connsiteY67" fmla="*/ 3180 h 10000"/>
                    <a:gd name="connsiteX68" fmla="*/ 261 w 10000"/>
                    <a:gd name="connsiteY68" fmla="*/ 3180 h 10000"/>
                    <a:gd name="connsiteX69" fmla="*/ 650 w 10000"/>
                    <a:gd name="connsiteY69" fmla="*/ 3163 h 10000"/>
                    <a:gd name="connsiteX70" fmla="*/ 908 w 10000"/>
                    <a:gd name="connsiteY70" fmla="*/ 3163 h 10000"/>
                    <a:gd name="connsiteX71" fmla="*/ 1103 w 10000"/>
                    <a:gd name="connsiteY71" fmla="*/ 3180 h 10000"/>
                    <a:gd name="connsiteX72" fmla="*/ 1103 w 10000"/>
                    <a:gd name="connsiteY72" fmla="*/ 3180 h 10000"/>
                    <a:gd name="connsiteX73" fmla="*/ 1168 w 10000"/>
                    <a:gd name="connsiteY73" fmla="*/ 3180 h 10000"/>
                    <a:gd name="connsiteX74" fmla="*/ 1235 w 10000"/>
                    <a:gd name="connsiteY74" fmla="*/ 3147 h 10000"/>
                    <a:gd name="connsiteX75" fmla="*/ 1559 w 10000"/>
                    <a:gd name="connsiteY75" fmla="*/ 3036 h 10000"/>
                    <a:gd name="connsiteX76" fmla="*/ 2402 w 10000"/>
                    <a:gd name="connsiteY76" fmla="*/ 2672 h 10000"/>
                    <a:gd name="connsiteX77" fmla="*/ 3507 w 10000"/>
                    <a:gd name="connsiteY77" fmla="*/ 2147 h 10000"/>
                    <a:gd name="connsiteX78" fmla="*/ 3507 w 10000"/>
                    <a:gd name="connsiteY78" fmla="*/ 2147 h 10000"/>
                    <a:gd name="connsiteX79" fmla="*/ 3507 w 10000"/>
                    <a:gd name="connsiteY79" fmla="*/ 2072 h 10000"/>
                    <a:gd name="connsiteX80" fmla="*/ 3507 w 10000"/>
                    <a:gd name="connsiteY80" fmla="*/ 1907 h 10000"/>
                    <a:gd name="connsiteX81" fmla="*/ 3573 w 10000"/>
                    <a:gd name="connsiteY81" fmla="*/ 1800 h 10000"/>
                    <a:gd name="connsiteX82" fmla="*/ 3702 w 10000"/>
                    <a:gd name="connsiteY82" fmla="*/ 1708 h 10000"/>
                    <a:gd name="connsiteX83" fmla="*/ 3896 w 10000"/>
                    <a:gd name="connsiteY83" fmla="*/ 1600 h 10000"/>
                    <a:gd name="connsiteX84" fmla="*/ 4156 w 10000"/>
                    <a:gd name="connsiteY84" fmla="*/ 1510 h 10000"/>
                    <a:gd name="connsiteX85" fmla="*/ 4156 w 10000"/>
                    <a:gd name="connsiteY85" fmla="*/ 1510 h 10000"/>
                    <a:gd name="connsiteX86" fmla="*/ 4806 w 10000"/>
                    <a:gd name="connsiteY86" fmla="*/ 1329 h 10000"/>
                    <a:gd name="connsiteX87" fmla="*/ 5455 w 10000"/>
                    <a:gd name="connsiteY87" fmla="*/ 1090 h 10000"/>
                    <a:gd name="connsiteX88" fmla="*/ 6104 w 10000"/>
                    <a:gd name="connsiteY88" fmla="*/ 872 h 10000"/>
                    <a:gd name="connsiteX89" fmla="*/ 6559 w 10000"/>
                    <a:gd name="connsiteY89" fmla="*/ 674 h 10000"/>
                    <a:gd name="connsiteX90" fmla="*/ 6559 w 10000"/>
                    <a:gd name="connsiteY90" fmla="*/ 674 h 10000"/>
                    <a:gd name="connsiteX91" fmla="*/ 6882 w 10000"/>
                    <a:gd name="connsiteY91" fmla="*/ 493 h 10000"/>
                    <a:gd name="connsiteX92" fmla="*/ 7273 w 10000"/>
                    <a:gd name="connsiteY92" fmla="*/ 271 h 10000"/>
                    <a:gd name="connsiteX93" fmla="*/ 7663 w 10000"/>
                    <a:gd name="connsiteY93" fmla="*/ 108 h 10000"/>
                    <a:gd name="connsiteX94" fmla="*/ 7856 w 10000"/>
                    <a:gd name="connsiteY94" fmla="*/ 33 h 10000"/>
                    <a:gd name="connsiteX95" fmla="*/ 8051 w 10000"/>
                    <a:gd name="connsiteY95" fmla="*/ 17 h 10000"/>
                    <a:gd name="connsiteX96" fmla="*/ 8051 w 10000"/>
                    <a:gd name="connsiteY96" fmla="*/ 17 h 10000"/>
                    <a:gd name="connsiteX97" fmla="*/ 8442 w 10000"/>
                    <a:gd name="connsiteY97" fmla="*/ 0 h 10000"/>
                    <a:gd name="connsiteX98" fmla="*/ 8961 w 10000"/>
                    <a:gd name="connsiteY98" fmla="*/ 0 h 10000"/>
                    <a:gd name="connsiteX99" fmla="*/ 10000 w 10000"/>
                    <a:gd name="connsiteY99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184 w 10000"/>
                    <a:gd name="connsiteY6" fmla="*/ 9817 h 10000"/>
                    <a:gd name="connsiteX7" fmla="*/ 3312 w 10000"/>
                    <a:gd name="connsiteY7" fmla="*/ 9744 h 10000"/>
                    <a:gd name="connsiteX8" fmla="*/ 3443 w 10000"/>
                    <a:gd name="connsiteY8" fmla="*/ 9726 h 10000"/>
                    <a:gd name="connsiteX9" fmla="*/ 7646 w 10000"/>
                    <a:gd name="connsiteY9" fmla="*/ 9411 h 10000"/>
                    <a:gd name="connsiteX10" fmla="*/ 8116 w 10000"/>
                    <a:gd name="connsiteY10" fmla="*/ 9420 h 10000"/>
                    <a:gd name="connsiteX11" fmla="*/ 8116 w 10000"/>
                    <a:gd name="connsiteY11" fmla="*/ 9420 h 10000"/>
                    <a:gd name="connsiteX12" fmla="*/ 8442 w 10000"/>
                    <a:gd name="connsiteY12" fmla="*/ 9383 h 10000"/>
                    <a:gd name="connsiteX13" fmla="*/ 8702 w 10000"/>
                    <a:gd name="connsiteY13" fmla="*/ 9292 h 10000"/>
                    <a:gd name="connsiteX14" fmla="*/ 8636 w 10000"/>
                    <a:gd name="connsiteY14" fmla="*/ 9255 h 10000"/>
                    <a:gd name="connsiteX15" fmla="*/ 8636 w 10000"/>
                    <a:gd name="connsiteY15" fmla="*/ 9219 h 10000"/>
                    <a:gd name="connsiteX16" fmla="*/ 8312 w 10000"/>
                    <a:gd name="connsiteY16" fmla="*/ 9128 h 10000"/>
                    <a:gd name="connsiteX17" fmla="*/ 5975 w 10000"/>
                    <a:gd name="connsiteY17" fmla="*/ 8799 h 10000"/>
                    <a:gd name="connsiteX18" fmla="*/ 5975 w 10000"/>
                    <a:gd name="connsiteY18" fmla="*/ 8799 h 10000"/>
                    <a:gd name="connsiteX19" fmla="*/ 5714 w 10000"/>
                    <a:gd name="connsiteY19" fmla="*/ 8746 h 10000"/>
                    <a:gd name="connsiteX20" fmla="*/ 5519 w 10000"/>
                    <a:gd name="connsiteY20" fmla="*/ 8691 h 10000"/>
                    <a:gd name="connsiteX21" fmla="*/ 5389 w 10000"/>
                    <a:gd name="connsiteY21" fmla="*/ 8636 h 10000"/>
                    <a:gd name="connsiteX22" fmla="*/ 5389 w 10000"/>
                    <a:gd name="connsiteY22" fmla="*/ 8636 h 10000"/>
                    <a:gd name="connsiteX23" fmla="*/ 7729 w 10000"/>
                    <a:gd name="connsiteY23" fmla="*/ 8617 h 10000"/>
                    <a:gd name="connsiteX24" fmla="*/ 10000 w 10000"/>
                    <a:gd name="connsiteY24" fmla="*/ 8799 h 10000"/>
                    <a:gd name="connsiteX25" fmla="*/ 10000 w 10000"/>
                    <a:gd name="connsiteY25" fmla="*/ 7147 h 10000"/>
                    <a:gd name="connsiteX26" fmla="*/ 10000 w 10000"/>
                    <a:gd name="connsiteY26" fmla="*/ 7147 h 10000"/>
                    <a:gd name="connsiteX27" fmla="*/ 7404 w 10000"/>
                    <a:gd name="connsiteY27" fmla="*/ 6762 h 10000"/>
                    <a:gd name="connsiteX28" fmla="*/ 5975 w 10000"/>
                    <a:gd name="connsiteY28" fmla="*/ 6546 h 10000"/>
                    <a:gd name="connsiteX29" fmla="*/ 5975 w 10000"/>
                    <a:gd name="connsiteY29" fmla="*/ 6546 h 10000"/>
                    <a:gd name="connsiteX30" fmla="*/ 5975 w 10000"/>
                    <a:gd name="connsiteY30" fmla="*/ 6528 h 10000"/>
                    <a:gd name="connsiteX31" fmla="*/ 5975 w 10000"/>
                    <a:gd name="connsiteY31" fmla="*/ 6419 h 10000"/>
                    <a:gd name="connsiteX32" fmla="*/ 5975 w 10000"/>
                    <a:gd name="connsiteY32" fmla="*/ 6419 h 10000"/>
                    <a:gd name="connsiteX33" fmla="*/ 5779 w 10000"/>
                    <a:gd name="connsiteY33" fmla="*/ 6289 h 10000"/>
                    <a:gd name="connsiteX34" fmla="*/ 5389 w 10000"/>
                    <a:gd name="connsiteY34" fmla="*/ 6090 h 10000"/>
                    <a:gd name="connsiteX35" fmla="*/ 4545 w 10000"/>
                    <a:gd name="connsiteY35" fmla="*/ 5710 h 10000"/>
                    <a:gd name="connsiteX36" fmla="*/ 4545 w 10000"/>
                    <a:gd name="connsiteY36" fmla="*/ 5710 h 10000"/>
                    <a:gd name="connsiteX37" fmla="*/ 4352 w 10000"/>
                    <a:gd name="connsiteY37" fmla="*/ 5655 h 10000"/>
                    <a:gd name="connsiteX38" fmla="*/ 4026 w 10000"/>
                    <a:gd name="connsiteY38" fmla="*/ 5582 h 10000"/>
                    <a:gd name="connsiteX39" fmla="*/ 3052 w 10000"/>
                    <a:gd name="connsiteY39" fmla="*/ 5418 h 10000"/>
                    <a:gd name="connsiteX40" fmla="*/ 1689 w 10000"/>
                    <a:gd name="connsiteY40" fmla="*/ 5219 h 10000"/>
                    <a:gd name="connsiteX41" fmla="*/ 1689 w 10000"/>
                    <a:gd name="connsiteY41" fmla="*/ 5219 h 10000"/>
                    <a:gd name="connsiteX42" fmla="*/ 1103 w 10000"/>
                    <a:gd name="connsiteY42" fmla="*/ 5199 h 10000"/>
                    <a:gd name="connsiteX43" fmla="*/ 650 w 10000"/>
                    <a:gd name="connsiteY43" fmla="*/ 5182 h 10000"/>
                    <a:gd name="connsiteX44" fmla="*/ 521 w 10000"/>
                    <a:gd name="connsiteY44" fmla="*/ 5162 h 10000"/>
                    <a:gd name="connsiteX45" fmla="*/ 390 w 10000"/>
                    <a:gd name="connsiteY45" fmla="*/ 5145 h 10000"/>
                    <a:gd name="connsiteX46" fmla="*/ 390 w 10000"/>
                    <a:gd name="connsiteY46" fmla="*/ 5145 h 10000"/>
                    <a:gd name="connsiteX47" fmla="*/ 261 w 10000"/>
                    <a:gd name="connsiteY47" fmla="*/ 5071 h 10000"/>
                    <a:gd name="connsiteX48" fmla="*/ 65 w 10000"/>
                    <a:gd name="connsiteY48" fmla="*/ 4948 h 10000"/>
                    <a:gd name="connsiteX49" fmla="*/ 0 w 10000"/>
                    <a:gd name="connsiteY49" fmla="*/ 4874 h 10000"/>
                    <a:gd name="connsiteX50" fmla="*/ 0 w 10000"/>
                    <a:gd name="connsiteY50" fmla="*/ 4799 h 10000"/>
                    <a:gd name="connsiteX51" fmla="*/ 0 w 10000"/>
                    <a:gd name="connsiteY51" fmla="*/ 4746 h 10000"/>
                    <a:gd name="connsiteX52" fmla="*/ 131 w 10000"/>
                    <a:gd name="connsiteY52" fmla="*/ 4690 h 10000"/>
                    <a:gd name="connsiteX53" fmla="*/ 131 w 10000"/>
                    <a:gd name="connsiteY53" fmla="*/ 4690 h 10000"/>
                    <a:gd name="connsiteX54" fmla="*/ 455 w 10000"/>
                    <a:gd name="connsiteY54" fmla="*/ 4599 h 10000"/>
                    <a:gd name="connsiteX55" fmla="*/ 779 w 10000"/>
                    <a:gd name="connsiteY55" fmla="*/ 4510 h 10000"/>
                    <a:gd name="connsiteX56" fmla="*/ 975 w 10000"/>
                    <a:gd name="connsiteY56" fmla="*/ 4456 h 10000"/>
                    <a:gd name="connsiteX57" fmla="*/ 1103 w 10000"/>
                    <a:gd name="connsiteY57" fmla="*/ 4400 h 10000"/>
                    <a:gd name="connsiteX58" fmla="*/ 1103 w 10000"/>
                    <a:gd name="connsiteY58" fmla="*/ 4327 h 10000"/>
                    <a:gd name="connsiteX59" fmla="*/ 1103 w 10000"/>
                    <a:gd name="connsiteY59" fmla="*/ 4236 h 10000"/>
                    <a:gd name="connsiteX60" fmla="*/ 1103 w 10000"/>
                    <a:gd name="connsiteY60" fmla="*/ 4236 h 10000"/>
                    <a:gd name="connsiteX61" fmla="*/ 845 w 10000"/>
                    <a:gd name="connsiteY61" fmla="*/ 3982 h 10000"/>
                    <a:gd name="connsiteX62" fmla="*/ 521 w 10000"/>
                    <a:gd name="connsiteY62" fmla="*/ 3636 h 10000"/>
                    <a:gd name="connsiteX63" fmla="*/ 261 w 10000"/>
                    <a:gd name="connsiteY63" fmla="*/ 3326 h 10000"/>
                    <a:gd name="connsiteX64" fmla="*/ 195 w 10000"/>
                    <a:gd name="connsiteY64" fmla="*/ 3236 h 10000"/>
                    <a:gd name="connsiteX65" fmla="*/ 195 w 10000"/>
                    <a:gd name="connsiteY65" fmla="*/ 3200 h 10000"/>
                    <a:gd name="connsiteX66" fmla="*/ 261 w 10000"/>
                    <a:gd name="connsiteY66" fmla="*/ 3180 h 10000"/>
                    <a:gd name="connsiteX67" fmla="*/ 261 w 10000"/>
                    <a:gd name="connsiteY67" fmla="*/ 3180 h 10000"/>
                    <a:gd name="connsiteX68" fmla="*/ 650 w 10000"/>
                    <a:gd name="connsiteY68" fmla="*/ 3163 h 10000"/>
                    <a:gd name="connsiteX69" fmla="*/ 908 w 10000"/>
                    <a:gd name="connsiteY69" fmla="*/ 3163 h 10000"/>
                    <a:gd name="connsiteX70" fmla="*/ 1103 w 10000"/>
                    <a:gd name="connsiteY70" fmla="*/ 3180 h 10000"/>
                    <a:gd name="connsiteX71" fmla="*/ 1103 w 10000"/>
                    <a:gd name="connsiteY71" fmla="*/ 3180 h 10000"/>
                    <a:gd name="connsiteX72" fmla="*/ 1168 w 10000"/>
                    <a:gd name="connsiteY72" fmla="*/ 3180 h 10000"/>
                    <a:gd name="connsiteX73" fmla="*/ 1235 w 10000"/>
                    <a:gd name="connsiteY73" fmla="*/ 3147 h 10000"/>
                    <a:gd name="connsiteX74" fmla="*/ 1559 w 10000"/>
                    <a:gd name="connsiteY74" fmla="*/ 3036 h 10000"/>
                    <a:gd name="connsiteX75" fmla="*/ 2402 w 10000"/>
                    <a:gd name="connsiteY75" fmla="*/ 2672 h 10000"/>
                    <a:gd name="connsiteX76" fmla="*/ 3507 w 10000"/>
                    <a:gd name="connsiteY76" fmla="*/ 2147 h 10000"/>
                    <a:gd name="connsiteX77" fmla="*/ 3507 w 10000"/>
                    <a:gd name="connsiteY77" fmla="*/ 2147 h 10000"/>
                    <a:gd name="connsiteX78" fmla="*/ 3507 w 10000"/>
                    <a:gd name="connsiteY78" fmla="*/ 2072 h 10000"/>
                    <a:gd name="connsiteX79" fmla="*/ 3507 w 10000"/>
                    <a:gd name="connsiteY79" fmla="*/ 1907 h 10000"/>
                    <a:gd name="connsiteX80" fmla="*/ 3573 w 10000"/>
                    <a:gd name="connsiteY80" fmla="*/ 1800 h 10000"/>
                    <a:gd name="connsiteX81" fmla="*/ 3702 w 10000"/>
                    <a:gd name="connsiteY81" fmla="*/ 1708 h 10000"/>
                    <a:gd name="connsiteX82" fmla="*/ 3896 w 10000"/>
                    <a:gd name="connsiteY82" fmla="*/ 1600 h 10000"/>
                    <a:gd name="connsiteX83" fmla="*/ 4156 w 10000"/>
                    <a:gd name="connsiteY83" fmla="*/ 1510 h 10000"/>
                    <a:gd name="connsiteX84" fmla="*/ 4156 w 10000"/>
                    <a:gd name="connsiteY84" fmla="*/ 1510 h 10000"/>
                    <a:gd name="connsiteX85" fmla="*/ 4806 w 10000"/>
                    <a:gd name="connsiteY85" fmla="*/ 1329 h 10000"/>
                    <a:gd name="connsiteX86" fmla="*/ 5455 w 10000"/>
                    <a:gd name="connsiteY86" fmla="*/ 1090 h 10000"/>
                    <a:gd name="connsiteX87" fmla="*/ 6104 w 10000"/>
                    <a:gd name="connsiteY87" fmla="*/ 872 h 10000"/>
                    <a:gd name="connsiteX88" fmla="*/ 6559 w 10000"/>
                    <a:gd name="connsiteY88" fmla="*/ 674 h 10000"/>
                    <a:gd name="connsiteX89" fmla="*/ 6559 w 10000"/>
                    <a:gd name="connsiteY89" fmla="*/ 674 h 10000"/>
                    <a:gd name="connsiteX90" fmla="*/ 6882 w 10000"/>
                    <a:gd name="connsiteY90" fmla="*/ 493 h 10000"/>
                    <a:gd name="connsiteX91" fmla="*/ 7273 w 10000"/>
                    <a:gd name="connsiteY91" fmla="*/ 271 h 10000"/>
                    <a:gd name="connsiteX92" fmla="*/ 7663 w 10000"/>
                    <a:gd name="connsiteY92" fmla="*/ 108 h 10000"/>
                    <a:gd name="connsiteX93" fmla="*/ 7856 w 10000"/>
                    <a:gd name="connsiteY93" fmla="*/ 33 h 10000"/>
                    <a:gd name="connsiteX94" fmla="*/ 8051 w 10000"/>
                    <a:gd name="connsiteY94" fmla="*/ 17 h 10000"/>
                    <a:gd name="connsiteX95" fmla="*/ 8051 w 10000"/>
                    <a:gd name="connsiteY95" fmla="*/ 17 h 10000"/>
                    <a:gd name="connsiteX96" fmla="*/ 8442 w 10000"/>
                    <a:gd name="connsiteY96" fmla="*/ 0 h 10000"/>
                    <a:gd name="connsiteX97" fmla="*/ 8961 w 10000"/>
                    <a:gd name="connsiteY97" fmla="*/ 0 h 10000"/>
                    <a:gd name="connsiteX98" fmla="*/ 10000 w 10000"/>
                    <a:gd name="connsiteY98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312 w 10000"/>
                    <a:gd name="connsiteY6" fmla="*/ 9744 h 10000"/>
                    <a:gd name="connsiteX7" fmla="*/ 3443 w 10000"/>
                    <a:gd name="connsiteY7" fmla="*/ 9726 h 10000"/>
                    <a:gd name="connsiteX8" fmla="*/ 7646 w 10000"/>
                    <a:gd name="connsiteY8" fmla="*/ 9411 h 10000"/>
                    <a:gd name="connsiteX9" fmla="*/ 8116 w 10000"/>
                    <a:gd name="connsiteY9" fmla="*/ 9420 h 10000"/>
                    <a:gd name="connsiteX10" fmla="*/ 8116 w 10000"/>
                    <a:gd name="connsiteY10" fmla="*/ 9420 h 10000"/>
                    <a:gd name="connsiteX11" fmla="*/ 8442 w 10000"/>
                    <a:gd name="connsiteY11" fmla="*/ 9383 h 10000"/>
                    <a:gd name="connsiteX12" fmla="*/ 8702 w 10000"/>
                    <a:gd name="connsiteY12" fmla="*/ 9292 h 10000"/>
                    <a:gd name="connsiteX13" fmla="*/ 8636 w 10000"/>
                    <a:gd name="connsiteY13" fmla="*/ 9255 h 10000"/>
                    <a:gd name="connsiteX14" fmla="*/ 8636 w 10000"/>
                    <a:gd name="connsiteY14" fmla="*/ 9219 h 10000"/>
                    <a:gd name="connsiteX15" fmla="*/ 8312 w 10000"/>
                    <a:gd name="connsiteY15" fmla="*/ 9128 h 10000"/>
                    <a:gd name="connsiteX16" fmla="*/ 5975 w 10000"/>
                    <a:gd name="connsiteY16" fmla="*/ 8799 h 10000"/>
                    <a:gd name="connsiteX17" fmla="*/ 5975 w 10000"/>
                    <a:gd name="connsiteY17" fmla="*/ 8799 h 10000"/>
                    <a:gd name="connsiteX18" fmla="*/ 5714 w 10000"/>
                    <a:gd name="connsiteY18" fmla="*/ 8746 h 10000"/>
                    <a:gd name="connsiteX19" fmla="*/ 5519 w 10000"/>
                    <a:gd name="connsiteY19" fmla="*/ 8691 h 10000"/>
                    <a:gd name="connsiteX20" fmla="*/ 5389 w 10000"/>
                    <a:gd name="connsiteY20" fmla="*/ 8636 h 10000"/>
                    <a:gd name="connsiteX21" fmla="*/ 5389 w 10000"/>
                    <a:gd name="connsiteY21" fmla="*/ 8636 h 10000"/>
                    <a:gd name="connsiteX22" fmla="*/ 7729 w 10000"/>
                    <a:gd name="connsiteY22" fmla="*/ 8617 h 10000"/>
                    <a:gd name="connsiteX23" fmla="*/ 10000 w 10000"/>
                    <a:gd name="connsiteY23" fmla="*/ 8799 h 10000"/>
                    <a:gd name="connsiteX24" fmla="*/ 10000 w 10000"/>
                    <a:gd name="connsiteY24" fmla="*/ 7147 h 10000"/>
                    <a:gd name="connsiteX25" fmla="*/ 10000 w 10000"/>
                    <a:gd name="connsiteY25" fmla="*/ 7147 h 10000"/>
                    <a:gd name="connsiteX26" fmla="*/ 7404 w 10000"/>
                    <a:gd name="connsiteY26" fmla="*/ 6762 h 10000"/>
                    <a:gd name="connsiteX27" fmla="*/ 5975 w 10000"/>
                    <a:gd name="connsiteY27" fmla="*/ 6546 h 10000"/>
                    <a:gd name="connsiteX28" fmla="*/ 5975 w 10000"/>
                    <a:gd name="connsiteY28" fmla="*/ 6546 h 10000"/>
                    <a:gd name="connsiteX29" fmla="*/ 5975 w 10000"/>
                    <a:gd name="connsiteY29" fmla="*/ 6528 h 10000"/>
                    <a:gd name="connsiteX30" fmla="*/ 5975 w 10000"/>
                    <a:gd name="connsiteY30" fmla="*/ 6419 h 10000"/>
                    <a:gd name="connsiteX31" fmla="*/ 5975 w 10000"/>
                    <a:gd name="connsiteY31" fmla="*/ 6419 h 10000"/>
                    <a:gd name="connsiteX32" fmla="*/ 5779 w 10000"/>
                    <a:gd name="connsiteY32" fmla="*/ 6289 h 10000"/>
                    <a:gd name="connsiteX33" fmla="*/ 5389 w 10000"/>
                    <a:gd name="connsiteY33" fmla="*/ 6090 h 10000"/>
                    <a:gd name="connsiteX34" fmla="*/ 4545 w 10000"/>
                    <a:gd name="connsiteY34" fmla="*/ 5710 h 10000"/>
                    <a:gd name="connsiteX35" fmla="*/ 4545 w 10000"/>
                    <a:gd name="connsiteY35" fmla="*/ 5710 h 10000"/>
                    <a:gd name="connsiteX36" fmla="*/ 4352 w 10000"/>
                    <a:gd name="connsiteY36" fmla="*/ 5655 h 10000"/>
                    <a:gd name="connsiteX37" fmla="*/ 4026 w 10000"/>
                    <a:gd name="connsiteY37" fmla="*/ 5582 h 10000"/>
                    <a:gd name="connsiteX38" fmla="*/ 3052 w 10000"/>
                    <a:gd name="connsiteY38" fmla="*/ 5418 h 10000"/>
                    <a:gd name="connsiteX39" fmla="*/ 1689 w 10000"/>
                    <a:gd name="connsiteY39" fmla="*/ 5219 h 10000"/>
                    <a:gd name="connsiteX40" fmla="*/ 1689 w 10000"/>
                    <a:gd name="connsiteY40" fmla="*/ 5219 h 10000"/>
                    <a:gd name="connsiteX41" fmla="*/ 1103 w 10000"/>
                    <a:gd name="connsiteY41" fmla="*/ 5199 h 10000"/>
                    <a:gd name="connsiteX42" fmla="*/ 650 w 10000"/>
                    <a:gd name="connsiteY42" fmla="*/ 5182 h 10000"/>
                    <a:gd name="connsiteX43" fmla="*/ 521 w 10000"/>
                    <a:gd name="connsiteY43" fmla="*/ 5162 h 10000"/>
                    <a:gd name="connsiteX44" fmla="*/ 390 w 10000"/>
                    <a:gd name="connsiteY44" fmla="*/ 5145 h 10000"/>
                    <a:gd name="connsiteX45" fmla="*/ 390 w 10000"/>
                    <a:gd name="connsiteY45" fmla="*/ 5145 h 10000"/>
                    <a:gd name="connsiteX46" fmla="*/ 261 w 10000"/>
                    <a:gd name="connsiteY46" fmla="*/ 5071 h 10000"/>
                    <a:gd name="connsiteX47" fmla="*/ 65 w 10000"/>
                    <a:gd name="connsiteY47" fmla="*/ 4948 h 10000"/>
                    <a:gd name="connsiteX48" fmla="*/ 0 w 10000"/>
                    <a:gd name="connsiteY48" fmla="*/ 4874 h 10000"/>
                    <a:gd name="connsiteX49" fmla="*/ 0 w 10000"/>
                    <a:gd name="connsiteY49" fmla="*/ 4799 h 10000"/>
                    <a:gd name="connsiteX50" fmla="*/ 0 w 10000"/>
                    <a:gd name="connsiteY50" fmla="*/ 4746 h 10000"/>
                    <a:gd name="connsiteX51" fmla="*/ 131 w 10000"/>
                    <a:gd name="connsiteY51" fmla="*/ 4690 h 10000"/>
                    <a:gd name="connsiteX52" fmla="*/ 131 w 10000"/>
                    <a:gd name="connsiteY52" fmla="*/ 4690 h 10000"/>
                    <a:gd name="connsiteX53" fmla="*/ 455 w 10000"/>
                    <a:gd name="connsiteY53" fmla="*/ 4599 h 10000"/>
                    <a:gd name="connsiteX54" fmla="*/ 779 w 10000"/>
                    <a:gd name="connsiteY54" fmla="*/ 4510 h 10000"/>
                    <a:gd name="connsiteX55" fmla="*/ 975 w 10000"/>
                    <a:gd name="connsiteY55" fmla="*/ 4456 h 10000"/>
                    <a:gd name="connsiteX56" fmla="*/ 1103 w 10000"/>
                    <a:gd name="connsiteY56" fmla="*/ 4400 h 10000"/>
                    <a:gd name="connsiteX57" fmla="*/ 1103 w 10000"/>
                    <a:gd name="connsiteY57" fmla="*/ 4327 h 10000"/>
                    <a:gd name="connsiteX58" fmla="*/ 1103 w 10000"/>
                    <a:gd name="connsiteY58" fmla="*/ 4236 h 10000"/>
                    <a:gd name="connsiteX59" fmla="*/ 1103 w 10000"/>
                    <a:gd name="connsiteY59" fmla="*/ 4236 h 10000"/>
                    <a:gd name="connsiteX60" fmla="*/ 845 w 10000"/>
                    <a:gd name="connsiteY60" fmla="*/ 3982 h 10000"/>
                    <a:gd name="connsiteX61" fmla="*/ 521 w 10000"/>
                    <a:gd name="connsiteY61" fmla="*/ 3636 h 10000"/>
                    <a:gd name="connsiteX62" fmla="*/ 261 w 10000"/>
                    <a:gd name="connsiteY62" fmla="*/ 3326 h 10000"/>
                    <a:gd name="connsiteX63" fmla="*/ 195 w 10000"/>
                    <a:gd name="connsiteY63" fmla="*/ 3236 h 10000"/>
                    <a:gd name="connsiteX64" fmla="*/ 195 w 10000"/>
                    <a:gd name="connsiteY64" fmla="*/ 3200 h 10000"/>
                    <a:gd name="connsiteX65" fmla="*/ 261 w 10000"/>
                    <a:gd name="connsiteY65" fmla="*/ 3180 h 10000"/>
                    <a:gd name="connsiteX66" fmla="*/ 261 w 10000"/>
                    <a:gd name="connsiteY66" fmla="*/ 3180 h 10000"/>
                    <a:gd name="connsiteX67" fmla="*/ 650 w 10000"/>
                    <a:gd name="connsiteY67" fmla="*/ 3163 h 10000"/>
                    <a:gd name="connsiteX68" fmla="*/ 908 w 10000"/>
                    <a:gd name="connsiteY68" fmla="*/ 3163 h 10000"/>
                    <a:gd name="connsiteX69" fmla="*/ 1103 w 10000"/>
                    <a:gd name="connsiteY69" fmla="*/ 3180 h 10000"/>
                    <a:gd name="connsiteX70" fmla="*/ 1103 w 10000"/>
                    <a:gd name="connsiteY70" fmla="*/ 3180 h 10000"/>
                    <a:gd name="connsiteX71" fmla="*/ 1168 w 10000"/>
                    <a:gd name="connsiteY71" fmla="*/ 3180 h 10000"/>
                    <a:gd name="connsiteX72" fmla="*/ 1235 w 10000"/>
                    <a:gd name="connsiteY72" fmla="*/ 3147 h 10000"/>
                    <a:gd name="connsiteX73" fmla="*/ 1559 w 10000"/>
                    <a:gd name="connsiteY73" fmla="*/ 3036 h 10000"/>
                    <a:gd name="connsiteX74" fmla="*/ 2402 w 10000"/>
                    <a:gd name="connsiteY74" fmla="*/ 2672 h 10000"/>
                    <a:gd name="connsiteX75" fmla="*/ 3507 w 10000"/>
                    <a:gd name="connsiteY75" fmla="*/ 2147 h 10000"/>
                    <a:gd name="connsiteX76" fmla="*/ 3507 w 10000"/>
                    <a:gd name="connsiteY76" fmla="*/ 2147 h 10000"/>
                    <a:gd name="connsiteX77" fmla="*/ 3507 w 10000"/>
                    <a:gd name="connsiteY77" fmla="*/ 2072 h 10000"/>
                    <a:gd name="connsiteX78" fmla="*/ 3507 w 10000"/>
                    <a:gd name="connsiteY78" fmla="*/ 1907 h 10000"/>
                    <a:gd name="connsiteX79" fmla="*/ 3573 w 10000"/>
                    <a:gd name="connsiteY79" fmla="*/ 1800 h 10000"/>
                    <a:gd name="connsiteX80" fmla="*/ 3702 w 10000"/>
                    <a:gd name="connsiteY80" fmla="*/ 1708 h 10000"/>
                    <a:gd name="connsiteX81" fmla="*/ 3896 w 10000"/>
                    <a:gd name="connsiteY81" fmla="*/ 1600 h 10000"/>
                    <a:gd name="connsiteX82" fmla="*/ 4156 w 10000"/>
                    <a:gd name="connsiteY82" fmla="*/ 1510 h 10000"/>
                    <a:gd name="connsiteX83" fmla="*/ 4156 w 10000"/>
                    <a:gd name="connsiteY83" fmla="*/ 1510 h 10000"/>
                    <a:gd name="connsiteX84" fmla="*/ 4806 w 10000"/>
                    <a:gd name="connsiteY84" fmla="*/ 1329 h 10000"/>
                    <a:gd name="connsiteX85" fmla="*/ 5455 w 10000"/>
                    <a:gd name="connsiteY85" fmla="*/ 1090 h 10000"/>
                    <a:gd name="connsiteX86" fmla="*/ 6104 w 10000"/>
                    <a:gd name="connsiteY86" fmla="*/ 872 h 10000"/>
                    <a:gd name="connsiteX87" fmla="*/ 6559 w 10000"/>
                    <a:gd name="connsiteY87" fmla="*/ 674 h 10000"/>
                    <a:gd name="connsiteX88" fmla="*/ 6559 w 10000"/>
                    <a:gd name="connsiteY88" fmla="*/ 674 h 10000"/>
                    <a:gd name="connsiteX89" fmla="*/ 6882 w 10000"/>
                    <a:gd name="connsiteY89" fmla="*/ 493 h 10000"/>
                    <a:gd name="connsiteX90" fmla="*/ 7273 w 10000"/>
                    <a:gd name="connsiteY90" fmla="*/ 271 h 10000"/>
                    <a:gd name="connsiteX91" fmla="*/ 7663 w 10000"/>
                    <a:gd name="connsiteY91" fmla="*/ 108 h 10000"/>
                    <a:gd name="connsiteX92" fmla="*/ 7856 w 10000"/>
                    <a:gd name="connsiteY92" fmla="*/ 33 h 10000"/>
                    <a:gd name="connsiteX93" fmla="*/ 8051 w 10000"/>
                    <a:gd name="connsiteY93" fmla="*/ 17 h 10000"/>
                    <a:gd name="connsiteX94" fmla="*/ 8051 w 10000"/>
                    <a:gd name="connsiteY94" fmla="*/ 17 h 10000"/>
                    <a:gd name="connsiteX95" fmla="*/ 8442 w 10000"/>
                    <a:gd name="connsiteY95" fmla="*/ 0 h 10000"/>
                    <a:gd name="connsiteX96" fmla="*/ 8961 w 10000"/>
                    <a:gd name="connsiteY96" fmla="*/ 0 h 10000"/>
                    <a:gd name="connsiteX97" fmla="*/ 10000 w 10000"/>
                    <a:gd name="connsiteY97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3312 w 10000"/>
                    <a:gd name="connsiteY6" fmla="*/ 9744 h 10000"/>
                    <a:gd name="connsiteX7" fmla="*/ 7646 w 10000"/>
                    <a:gd name="connsiteY7" fmla="*/ 9411 h 10000"/>
                    <a:gd name="connsiteX8" fmla="*/ 8116 w 10000"/>
                    <a:gd name="connsiteY8" fmla="*/ 9420 h 10000"/>
                    <a:gd name="connsiteX9" fmla="*/ 8116 w 10000"/>
                    <a:gd name="connsiteY9" fmla="*/ 9420 h 10000"/>
                    <a:gd name="connsiteX10" fmla="*/ 8442 w 10000"/>
                    <a:gd name="connsiteY10" fmla="*/ 9383 h 10000"/>
                    <a:gd name="connsiteX11" fmla="*/ 8702 w 10000"/>
                    <a:gd name="connsiteY11" fmla="*/ 9292 h 10000"/>
                    <a:gd name="connsiteX12" fmla="*/ 8636 w 10000"/>
                    <a:gd name="connsiteY12" fmla="*/ 9255 h 10000"/>
                    <a:gd name="connsiteX13" fmla="*/ 8636 w 10000"/>
                    <a:gd name="connsiteY13" fmla="*/ 9219 h 10000"/>
                    <a:gd name="connsiteX14" fmla="*/ 8312 w 10000"/>
                    <a:gd name="connsiteY14" fmla="*/ 9128 h 10000"/>
                    <a:gd name="connsiteX15" fmla="*/ 5975 w 10000"/>
                    <a:gd name="connsiteY15" fmla="*/ 8799 h 10000"/>
                    <a:gd name="connsiteX16" fmla="*/ 5975 w 10000"/>
                    <a:gd name="connsiteY16" fmla="*/ 8799 h 10000"/>
                    <a:gd name="connsiteX17" fmla="*/ 5714 w 10000"/>
                    <a:gd name="connsiteY17" fmla="*/ 8746 h 10000"/>
                    <a:gd name="connsiteX18" fmla="*/ 5519 w 10000"/>
                    <a:gd name="connsiteY18" fmla="*/ 8691 h 10000"/>
                    <a:gd name="connsiteX19" fmla="*/ 5389 w 10000"/>
                    <a:gd name="connsiteY19" fmla="*/ 8636 h 10000"/>
                    <a:gd name="connsiteX20" fmla="*/ 5389 w 10000"/>
                    <a:gd name="connsiteY20" fmla="*/ 8636 h 10000"/>
                    <a:gd name="connsiteX21" fmla="*/ 7729 w 10000"/>
                    <a:gd name="connsiteY21" fmla="*/ 8617 h 10000"/>
                    <a:gd name="connsiteX22" fmla="*/ 10000 w 10000"/>
                    <a:gd name="connsiteY22" fmla="*/ 8799 h 10000"/>
                    <a:gd name="connsiteX23" fmla="*/ 10000 w 10000"/>
                    <a:gd name="connsiteY23" fmla="*/ 7147 h 10000"/>
                    <a:gd name="connsiteX24" fmla="*/ 10000 w 10000"/>
                    <a:gd name="connsiteY24" fmla="*/ 7147 h 10000"/>
                    <a:gd name="connsiteX25" fmla="*/ 7404 w 10000"/>
                    <a:gd name="connsiteY25" fmla="*/ 6762 h 10000"/>
                    <a:gd name="connsiteX26" fmla="*/ 5975 w 10000"/>
                    <a:gd name="connsiteY26" fmla="*/ 6546 h 10000"/>
                    <a:gd name="connsiteX27" fmla="*/ 5975 w 10000"/>
                    <a:gd name="connsiteY27" fmla="*/ 6546 h 10000"/>
                    <a:gd name="connsiteX28" fmla="*/ 5975 w 10000"/>
                    <a:gd name="connsiteY28" fmla="*/ 6528 h 10000"/>
                    <a:gd name="connsiteX29" fmla="*/ 5975 w 10000"/>
                    <a:gd name="connsiteY29" fmla="*/ 6419 h 10000"/>
                    <a:gd name="connsiteX30" fmla="*/ 5975 w 10000"/>
                    <a:gd name="connsiteY30" fmla="*/ 6419 h 10000"/>
                    <a:gd name="connsiteX31" fmla="*/ 5779 w 10000"/>
                    <a:gd name="connsiteY31" fmla="*/ 6289 h 10000"/>
                    <a:gd name="connsiteX32" fmla="*/ 5389 w 10000"/>
                    <a:gd name="connsiteY32" fmla="*/ 6090 h 10000"/>
                    <a:gd name="connsiteX33" fmla="*/ 4545 w 10000"/>
                    <a:gd name="connsiteY33" fmla="*/ 5710 h 10000"/>
                    <a:gd name="connsiteX34" fmla="*/ 4545 w 10000"/>
                    <a:gd name="connsiteY34" fmla="*/ 5710 h 10000"/>
                    <a:gd name="connsiteX35" fmla="*/ 4352 w 10000"/>
                    <a:gd name="connsiteY35" fmla="*/ 5655 h 10000"/>
                    <a:gd name="connsiteX36" fmla="*/ 4026 w 10000"/>
                    <a:gd name="connsiteY36" fmla="*/ 5582 h 10000"/>
                    <a:gd name="connsiteX37" fmla="*/ 3052 w 10000"/>
                    <a:gd name="connsiteY37" fmla="*/ 5418 h 10000"/>
                    <a:gd name="connsiteX38" fmla="*/ 1689 w 10000"/>
                    <a:gd name="connsiteY38" fmla="*/ 5219 h 10000"/>
                    <a:gd name="connsiteX39" fmla="*/ 1689 w 10000"/>
                    <a:gd name="connsiteY39" fmla="*/ 5219 h 10000"/>
                    <a:gd name="connsiteX40" fmla="*/ 1103 w 10000"/>
                    <a:gd name="connsiteY40" fmla="*/ 5199 h 10000"/>
                    <a:gd name="connsiteX41" fmla="*/ 650 w 10000"/>
                    <a:gd name="connsiteY41" fmla="*/ 5182 h 10000"/>
                    <a:gd name="connsiteX42" fmla="*/ 521 w 10000"/>
                    <a:gd name="connsiteY42" fmla="*/ 5162 h 10000"/>
                    <a:gd name="connsiteX43" fmla="*/ 390 w 10000"/>
                    <a:gd name="connsiteY43" fmla="*/ 5145 h 10000"/>
                    <a:gd name="connsiteX44" fmla="*/ 390 w 10000"/>
                    <a:gd name="connsiteY44" fmla="*/ 5145 h 10000"/>
                    <a:gd name="connsiteX45" fmla="*/ 261 w 10000"/>
                    <a:gd name="connsiteY45" fmla="*/ 5071 h 10000"/>
                    <a:gd name="connsiteX46" fmla="*/ 65 w 10000"/>
                    <a:gd name="connsiteY46" fmla="*/ 4948 h 10000"/>
                    <a:gd name="connsiteX47" fmla="*/ 0 w 10000"/>
                    <a:gd name="connsiteY47" fmla="*/ 4874 h 10000"/>
                    <a:gd name="connsiteX48" fmla="*/ 0 w 10000"/>
                    <a:gd name="connsiteY48" fmla="*/ 4799 h 10000"/>
                    <a:gd name="connsiteX49" fmla="*/ 0 w 10000"/>
                    <a:gd name="connsiteY49" fmla="*/ 4746 h 10000"/>
                    <a:gd name="connsiteX50" fmla="*/ 131 w 10000"/>
                    <a:gd name="connsiteY50" fmla="*/ 4690 h 10000"/>
                    <a:gd name="connsiteX51" fmla="*/ 131 w 10000"/>
                    <a:gd name="connsiteY51" fmla="*/ 4690 h 10000"/>
                    <a:gd name="connsiteX52" fmla="*/ 455 w 10000"/>
                    <a:gd name="connsiteY52" fmla="*/ 4599 h 10000"/>
                    <a:gd name="connsiteX53" fmla="*/ 779 w 10000"/>
                    <a:gd name="connsiteY53" fmla="*/ 4510 h 10000"/>
                    <a:gd name="connsiteX54" fmla="*/ 975 w 10000"/>
                    <a:gd name="connsiteY54" fmla="*/ 4456 h 10000"/>
                    <a:gd name="connsiteX55" fmla="*/ 1103 w 10000"/>
                    <a:gd name="connsiteY55" fmla="*/ 4400 h 10000"/>
                    <a:gd name="connsiteX56" fmla="*/ 1103 w 10000"/>
                    <a:gd name="connsiteY56" fmla="*/ 4327 h 10000"/>
                    <a:gd name="connsiteX57" fmla="*/ 1103 w 10000"/>
                    <a:gd name="connsiteY57" fmla="*/ 4236 h 10000"/>
                    <a:gd name="connsiteX58" fmla="*/ 1103 w 10000"/>
                    <a:gd name="connsiteY58" fmla="*/ 4236 h 10000"/>
                    <a:gd name="connsiteX59" fmla="*/ 845 w 10000"/>
                    <a:gd name="connsiteY59" fmla="*/ 3982 h 10000"/>
                    <a:gd name="connsiteX60" fmla="*/ 521 w 10000"/>
                    <a:gd name="connsiteY60" fmla="*/ 3636 h 10000"/>
                    <a:gd name="connsiteX61" fmla="*/ 261 w 10000"/>
                    <a:gd name="connsiteY61" fmla="*/ 3326 h 10000"/>
                    <a:gd name="connsiteX62" fmla="*/ 195 w 10000"/>
                    <a:gd name="connsiteY62" fmla="*/ 3236 h 10000"/>
                    <a:gd name="connsiteX63" fmla="*/ 195 w 10000"/>
                    <a:gd name="connsiteY63" fmla="*/ 3200 h 10000"/>
                    <a:gd name="connsiteX64" fmla="*/ 261 w 10000"/>
                    <a:gd name="connsiteY64" fmla="*/ 3180 h 10000"/>
                    <a:gd name="connsiteX65" fmla="*/ 261 w 10000"/>
                    <a:gd name="connsiteY65" fmla="*/ 3180 h 10000"/>
                    <a:gd name="connsiteX66" fmla="*/ 650 w 10000"/>
                    <a:gd name="connsiteY66" fmla="*/ 3163 h 10000"/>
                    <a:gd name="connsiteX67" fmla="*/ 908 w 10000"/>
                    <a:gd name="connsiteY67" fmla="*/ 3163 h 10000"/>
                    <a:gd name="connsiteX68" fmla="*/ 1103 w 10000"/>
                    <a:gd name="connsiteY68" fmla="*/ 3180 h 10000"/>
                    <a:gd name="connsiteX69" fmla="*/ 1103 w 10000"/>
                    <a:gd name="connsiteY69" fmla="*/ 3180 h 10000"/>
                    <a:gd name="connsiteX70" fmla="*/ 1168 w 10000"/>
                    <a:gd name="connsiteY70" fmla="*/ 3180 h 10000"/>
                    <a:gd name="connsiteX71" fmla="*/ 1235 w 10000"/>
                    <a:gd name="connsiteY71" fmla="*/ 3147 h 10000"/>
                    <a:gd name="connsiteX72" fmla="*/ 1559 w 10000"/>
                    <a:gd name="connsiteY72" fmla="*/ 3036 h 10000"/>
                    <a:gd name="connsiteX73" fmla="*/ 2402 w 10000"/>
                    <a:gd name="connsiteY73" fmla="*/ 2672 h 10000"/>
                    <a:gd name="connsiteX74" fmla="*/ 3507 w 10000"/>
                    <a:gd name="connsiteY74" fmla="*/ 2147 h 10000"/>
                    <a:gd name="connsiteX75" fmla="*/ 3507 w 10000"/>
                    <a:gd name="connsiteY75" fmla="*/ 2147 h 10000"/>
                    <a:gd name="connsiteX76" fmla="*/ 3507 w 10000"/>
                    <a:gd name="connsiteY76" fmla="*/ 2072 h 10000"/>
                    <a:gd name="connsiteX77" fmla="*/ 3507 w 10000"/>
                    <a:gd name="connsiteY77" fmla="*/ 1907 h 10000"/>
                    <a:gd name="connsiteX78" fmla="*/ 3573 w 10000"/>
                    <a:gd name="connsiteY78" fmla="*/ 1800 h 10000"/>
                    <a:gd name="connsiteX79" fmla="*/ 3702 w 10000"/>
                    <a:gd name="connsiteY79" fmla="*/ 1708 h 10000"/>
                    <a:gd name="connsiteX80" fmla="*/ 3896 w 10000"/>
                    <a:gd name="connsiteY80" fmla="*/ 1600 h 10000"/>
                    <a:gd name="connsiteX81" fmla="*/ 4156 w 10000"/>
                    <a:gd name="connsiteY81" fmla="*/ 1510 h 10000"/>
                    <a:gd name="connsiteX82" fmla="*/ 4156 w 10000"/>
                    <a:gd name="connsiteY82" fmla="*/ 1510 h 10000"/>
                    <a:gd name="connsiteX83" fmla="*/ 4806 w 10000"/>
                    <a:gd name="connsiteY83" fmla="*/ 1329 h 10000"/>
                    <a:gd name="connsiteX84" fmla="*/ 5455 w 10000"/>
                    <a:gd name="connsiteY84" fmla="*/ 1090 h 10000"/>
                    <a:gd name="connsiteX85" fmla="*/ 6104 w 10000"/>
                    <a:gd name="connsiteY85" fmla="*/ 872 h 10000"/>
                    <a:gd name="connsiteX86" fmla="*/ 6559 w 10000"/>
                    <a:gd name="connsiteY86" fmla="*/ 674 h 10000"/>
                    <a:gd name="connsiteX87" fmla="*/ 6559 w 10000"/>
                    <a:gd name="connsiteY87" fmla="*/ 674 h 10000"/>
                    <a:gd name="connsiteX88" fmla="*/ 6882 w 10000"/>
                    <a:gd name="connsiteY88" fmla="*/ 493 h 10000"/>
                    <a:gd name="connsiteX89" fmla="*/ 7273 w 10000"/>
                    <a:gd name="connsiteY89" fmla="*/ 271 h 10000"/>
                    <a:gd name="connsiteX90" fmla="*/ 7663 w 10000"/>
                    <a:gd name="connsiteY90" fmla="*/ 108 h 10000"/>
                    <a:gd name="connsiteX91" fmla="*/ 7856 w 10000"/>
                    <a:gd name="connsiteY91" fmla="*/ 33 h 10000"/>
                    <a:gd name="connsiteX92" fmla="*/ 8051 w 10000"/>
                    <a:gd name="connsiteY92" fmla="*/ 17 h 10000"/>
                    <a:gd name="connsiteX93" fmla="*/ 8051 w 10000"/>
                    <a:gd name="connsiteY93" fmla="*/ 17 h 10000"/>
                    <a:gd name="connsiteX94" fmla="*/ 8442 w 10000"/>
                    <a:gd name="connsiteY94" fmla="*/ 0 h 10000"/>
                    <a:gd name="connsiteX95" fmla="*/ 8961 w 10000"/>
                    <a:gd name="connsiteY95" fmla="*/ 0 h 10000"/>
                    <a:gd name="connsiteX96" fmla="*/ 10000 w 10000"/>
                    <a:gd name="connsiteY96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3117 w 10000"/>
                    <a:gd name="connsiteY5" fmla="*/ 9855 h 10000"/>
                    <a:gd name="connsiteX6" fmla="*/ 7646 w 10000"/>
                    <a:gd name="connsiteY6" fmla="*/ 9411 h 10000"/>
                    <a:gd name="connsiteX7" fmla="*/ 8116 w 10000"/>
                    <a:gd name="connsiteY7" fmla="*/ 9420 h 10000"/>
                    <a:gd name="connsiteX8" fmla="*/ 8116 w 10000"/>
                    <a:gd name="connsiteY8" fmla="*/ 9420 h 10000"/>
                    <a:gd name="connsiteX9" fmla="*/ 8442 w 10000"/>
                    <a:gd name="connsiteY9" fmla="*/ 9383 h 10000"/>
                    <a:gd name="connsiteX10" fmla="*/ 8702 w 10000"/>
                    <a:gd name="connsiteY10" fmla="*/ 9292 h 10000"/>
                    <a:gd name="connsiteX11" fmla="*/ 8636 w 10000"/>
                    <a:gd name="connsiteY11" fmla="*/ 9255 h 10000"/>
                    <a:gd name="connsiteX12" fmla="*/ 8636 w 10000"/>
                    <a:gd name="connsiteY12" fmla="*/ 9219 h 10000"/>
                    <a:gd name="connsiteX13" fmla="*/ 8312 w 10000"/>
                    <a:gd name="connsiteY13" fmla="*/ 9128 h 10000"/>
                    <a:gd name="connsiteX14" fmla="*/ 5975 w 10000"/>
                    <a:gd name="connsiteY14" fmla="*/ 8799 h 10000"/>
                    <a:gd name="connsiteX15" fmla="*/ 5975 w 10000"/>
                    <a:gd name="connsiteY15" fmla="*/ 8799 h 10000"/>
                    <a:gd name="connsiteX16" fmla="*/ 5714 w 10000"/>
                    <a:gd name="connsiteY16" fmla="*/ 8746 h 10000"/>
                    <a:gd name="connsiteX17" fmla="*/ 5519 w 10000"/>
                    <a:gd name="connsiteY17" fmla="*/ 8691 h 10000"/>
                    <a:gd name="connsiteX18" fmla="*/ 5389 w 10000"/>
                    <a:gd name="connsiteY18" fmla="*/ 8636 h 10000"/>
                    <a:gd name="connsiteX19" fmla="*/ 5389 w 10000"/>
                    <a:gd name="connsiteY19" fmla="*/ 8636 h 10000"/>
                    <a:gd name="connsiteX20" fmla="*/ 7729 w 10000"/>
                    <a:gd name="connsiteY20" fmla="*/ 8617 h 10000"/>
                    <a:gd name="connsiteX21" fmla="*/ 10000 w 10000"/>
                    <a:gd name="connsiteY21" fmla="*/ 8799 h 10000"/>
                    <a:gd name="connsiteX22" fmla="*/ 10000 w 10000"/>
                    <a:gd name="connsiteY22" fmla="*/ 7147 h 10000"/>
                    <a:gd name="connsiteX23" fmla="*/ 10000 w 10000"/>
                    <a:gd name="connsiteY23" fmla="*/ 7147 h 10000"/>
                    <a:gd name="connsiteX24" fmla="*/ 7404 w 10000"/>
                    <a:gd name="connsiteY24" fmla="*/ 6762 h 10000"/>
                    <a:gd name="connsiteX25" fmla="*/ 5975 w 10000"/>
                    <a:gd name="connsiteY25" fmla="*/ 6546 h 10000"/>
                    <a:gd name="connsiteX26" fmla="*/ 5975 w 10000"/>
                    <a:gd name="connsiteY26" fmla="*/ 6546 h 10000"/>
                    <a:gd name="connsiteX27" fmla="*/ 5975 w 10000"/>
                    <a:gd name="connsiteY27" fmla="*/ 6528 h 10000"/>
                    <a:gd name="connsiteX28" fmla="*/ 5975 w 10000"/>
                    <a:gd name="connsiteY28" fmla="*/ 6419 h 10000"/>
                    <a:gd name="connsiteX29" fmla="*/ 5975 w 10000"/>
                    <a:gd name="connsiteY29" fmla="*/ 6419 h 10000"/>
                    <a:gd name="connsiteX30" fmla="*/ 5779 w 10000"/>
                    <a:gd name="connsiteY30" fmla="*/ 6289 h 10000"/>
                    <a:gd name="connsiteX31" fmla="*/ 5389 w 10000"/>
                    <a:gd name="connsiteY31" fmla="*/ 6090 h 10000"/>
                    <a:gd name="connsiteX32" fmla="*/ 4545 w 10000"/>
                    <a:gd name="connsiteY32" fmla="*/ 5710 h 10000"/>
                    <a:gd name="connsiteX33" fmla="*/ 4545 w 10000"/>
                    <a:gd name="connsiteY33" fmla="*/ 5710 h 10000"/>
                    <a:gd name="connsiteX34" fmla="*/ 4352 w 10000"/>
                    <a:gd name="connsiteY34" fmla="*/ 5655 h 10000"/>
                    <a:gd name="connsiteX35" fmla="*/ 4026 w 10000"/>
                    <a:gd name="connsiteY35" fmla="*/ 5582 h 10000"/>
                    <a:gd name="connsiteX36" fmla="*/ 3052 w 10000"/>
                    <a:gd name="connsiteY36" fmla="*/ 5418 h 10000"/>
                    <a:gd name="connsiteX37" fmla="*/ 1689 w 10000"/>
                    <a:gd name="connsiteY37" fmla="*/ 5219 h 10000"/>
                    <a:gd name="connsiteX38" fmla="*/ 1689 w 10000"/>
                    <a:gd name="connsiteY38" fmla="*/ 5219 h 10000"/>
                    <a:gd name="connsiteX39" fmla="*/ 1103 w 10000"/>
                    <a:gd name="connsiteY39" fmla="*/ 5199 h 10000"/>
                    <a:gd name="connsiteX40" fmla="*/ 650 w 10000"/>
                    <a:gd name="connsiteY40" fmla="*/ 5182 h 10000"/>
                    <a:gd name="connsiteX41" fmla="*/ 521 w 10000"/>
                    <a:gd name="connsiteY41" fmla="*/ 5162 h 10000"/>
                    <a:gd name="connsiteX42" fmla="*/ 390 w 10000"/>
                    <a:gd name="connsiteY42" fmla="*/ 5145 h 10000"/>
                    <a:gd name="connsiteX43" fmla="*/ 390 w 10000"/>
                    <a:gd name="connsiteY43" fmla="*/ 5145 h 10000"/>
                    <a:gd name="connsiteX44" fmla="*/ 261 w 10000"/>
                    <a:gd name="connsiteY44" fmla="*/ 5071 h 10000"/>
                    <a:gd name="connsiteX45" fmla="*/ 65 w 10000"/>
                    <a:gd name="connsiteY45" fmla="*/ 4948 h 10000"/>
                    <a:gd name="connsiteX46" fmla="*/ 0 w 10000"/>
                    <a:gd name="connsiteY46" fmla="*/ 4874 h 10000"/>
                    <a:gd name="connsiteX47" fmla="*/ 0 w 10000"/>
                    <a:gd name="connsiteY47" fmla="*/ 4799 h 10000"/>
                    <a:gd name="connsiteX48" fmla="*/ 0 w 10000"/>
                    <a:gd name="connsiteY48" fmla="*/ 4746 h 10000"/>
                    <a:gd name="connsiteX49" fmla="*/ 131 w 10000"/>
                    <a:gd name="connsiteY49" fmla="*/ 4690 h 10000"/>
                    <a:gd name="connsiteX50" fmla="*/ 131 w 10000"/>
                    <a:gd name="connsiteY50" fmla="*/ 4690 h 10000"/>
                    <a:gd name="connsiteX51" fmla="*/ 455 w 10000"/>
                    <a:gd name="connsiteY51" fmla="*/ 4599 h 10000"/>
                    <a:gd name="connsiteX52" fmla="*/ 779 w 10000"/>
                    <a:gd name="connsiteY52" fmla="*/ 4510 h 10000"/>
                    <a:gd name="connsiteX53" fmla="*/ 975 w 10000"/>
                    <a:gd name="connsiteY53" fmla="*/ 4456 h 10000"/>
                    <a:gd name="connsiteX54" fmla="*/ 1103 w 10000"/>
                    <a:gd name="connsiteY54" fmla="*/ 4400 h 10000"/>
                    <a:gd name="connsiteX55" fmla="*/ 1103 w 10000"/>
                    <a:gd name="connsiteY55" fmla="*/ 4327 h 10000"/>
                    <a:gd name="connsiteX56" fmla="*/ 1103 w 10000"/>
                    <a:gd name="connsiteY56" fmla="*/ 4236 h 10000"/>
                    <a:gd name="connsiteX57" fmla="*/ 1103 w 10000"/>
                    <a:gd name="connsiteY57" fmla="*/ 4236 h 10000"/>
                    <a:gd name="connsiteX58" fmla="*/ 845 w 10000"/>
                    <a:gd name="connsiteY58" fmla="*/ 3982 h 10000"/>
                    <a:gd name="connsiteX59" fmla="*/ 521 w 10000"/>
                    <a:gd name="connsiteY59" fmla="*/ 3636 h 10000"/>
                    <a:gd name="connsiteX60" fmla="*/ 261 w 10000"/>
                    <a:gd name="connsiteY60" fmla="*/ 3326 h 10000"/>
                    <a:gd name="connsiteX61" fmla="*/ 195 w 10000"/>
                    <a:gd name="connsiteY61" fmla="*/ 3236 h 10000"/>
                    <a:gd name="connsiteX62" fmla="*/ 195 w 10000"/>
                    <a:gd name="connsiteY62" fmla="*/ 3200 h 10000"/>
                    <a:gd name="connsiteX63" fmla="*/ 261 w 10000"/>
                    <a:gd name="connsiteY63" fmla="*/ 3180 h 10000"/>
                    <a:gd name="connsiteX64" fmla="*/ 261 w 10000"/>
                    <a:gd name="connsiteY64" fmla="*/ 3180 h 10000"/>
                    <a:gd name="connsiteX65" fmla="*/ 650 w 10000"/>
                    <a:gd name="connsiteY65" fmla="*/ 3163 h 10000"/>
                    <a:gd name="connsiteX66" fmla="*/ 908 w 10000"/>
                    <a:gd name="connsiteY66" fmla="*/ 3163 h 10000"/>
                    <a:gd name="connsiteX67" fmla="*/ 1103 w 10000"/>
                    <a:gd name="connsiteY67" fmla="*/ 3180 h 10000"/>
                    <a:gd name="connsiteX68" fmla="*/ 1103 w 10000"/>
                    <a:gd name="connsiteY68" fmla="*/ 3180 h 10000"/>
                    <a:gd name="connsiteX69" fmla="*/ 1168 w 10000"/>
                    <a:gd name="connsiteY69" fmla="*/ 3180 h 10000"/>
                    <a:gd name="connsiteX70" fmla="*/ 1235 w 10000"/>
                    <a:gd name="connsiteY70" fmla="*/ 3147 h 10000"/>
                    <a:gd name="connsiteX71" fmla="*/ 1559 w 10000"/>
                    <a:gd name="connsiteY71" fmla="*/ 3036 h 10000"/>
                    <a:gd name="connsiteX72" fmla="*/ 2402 w 10000"/>
                    <a:gd name="connsiteY72" fmla="*/ 2672 h 10000"/>
                    <a:gd name="connsiteX73" fmla="*/ 3507 w 10000"/>
                    <a:gd name="connsiteY73" fmla="*/ 2147 h 10000"/>
                    <a:gd name="connsiteX74" fmla="*/ 3507 w 10000"/>
                    <a:gd name="connsiteY74" fmla="*/ 2147 h 10000"/>
                    <a:gd name="connsiteX75" fmla="*/ 3507 w 10000"/>
                    <a:gd name="connsiteY75" fmla="*/ 2072 h 10000"/>
                    <a:gd name="connsiteX76" fmla="*/ 3507 w 10000"/>
                    <a:gd name="connsiteY76" fmla="*/ 1907 h 10000"/>
                    <a:gd name="connsiteX77" fmla="*/ 3573 w 10000"/>
                    <a:gd name="connsiteY77" fmla="*/ 1800 h 10000"/>
                    <a:gd name="connsiteX78" fmla="*/ 3702 w 10000"/>
                    <a:gd name="connsiteY78" fmla="*/ 1708 h 10000"/>
                    <a:gd name="connsiteX79" fmla="*/ 3896 w 10000"/>
                    <a:gd name="connsiteY79" fmla="*/ 1600 h 10000"/>
                    <a:gd name="connsiteX80" fmla="*/ 4156 w 10000"/>
                    <a:gd name="connsiteY80" fmla="*/ 1510 h 10000"/>
                    <a:gd name="connsiteX81" fmla="*/ 4156 w 10000"/>
                    <a:gd name="connsiteY81" fmla="*/ 1510 h 10000"/>
                    <a:gd name="connsiteX82" fmla="*/ 4806 w 10000"/>
                    <a:gd name="connsiteY82" fmla="*/ 1329 h 10000"/>
                    <a:gd name="connsiteX83" fmla="*/ 5455 w 10000"/>
                    <a:gd name="connsiteY83" fmla="*/ 1090 h 10000"/>
                    <a:gd name="connsiteX84" fmla="*/ 6104 w 10000"/>
                    <a:gd name="connsiteY84" fmla="*/ 872 h 10000"/>
                    <a:gd name="connsiteX85" fmla="*/ 6559 w 10000"/>
                    <a:gd name="connsiteY85" fmla="*/ 674 h 10000"/>
                    <a:gd name="connsiteX86" fmla="*/ 6559 w 10000"/>
                    <a:gd name="connsiteY86" fmla="*/ 674 h 10000"/>
                    <a:gd name="connsiteX87" fmla="*/ 6882 w 10000"/>
                    <a:gd name="connsiteY87" fmla="*/ 493 h 10000"/>
                    <a:gd name="connsiteX88" fmla="*/ 7273 w 10000"/>
                    <a:gd name="connsiteY88" fmla="*/ 271 h 10000"/>
                    <a:gd name="connsiteX89" fmla="*/ 7663 w 10000"/>
                    <a:gd name="connsiteY89" fmla="*/ 108 h 10000"/>
                    <a:gd name="connsiteX90" fmla="*/ 7856 w 10000"/>
                    <a:gd name="connsiteY90" fmla="*/ 33 h 10000"/>
                    <a:gd name="connsiteX91" fmla="*/ 8051 w 10000"/>
                    <a:gd name="connsiteY91" fmla="*/ 17 h 10000"/>
                    <a:gd name="connsiteX92" fmla="*/ 8051 w 10000"/>
                    <a:gd name="connsiteY92" fmla="*/ 17 h 10000"/>
                    <a:gd name="connsiteX93" fmla="*/ 8442 w 10000"/>
                    <a:gd name="connsiteY93" fmla="*/ 0 h 10000"/>
                    <a:gd name="connsiteX94" fmla="*/ 8961 w 10000"/>
                    <a:gd name="connsiteY94" fmla="*/ 0 h 10000"/>
                    <a:gd name="connsiteX95" fmla="*/ 10000 w 10000"/>
                    <a:gd name="connsiteY95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3117 w 10000"/>
                    <a:gd name="connsiteY4" fmla="*/ 9891 h 10000"/>
                    <a:gd name="connsiteX5" fmla="*/ 7646 w 10000"/>
                    <a:gd name="connsiteY5" fmla="*/ 9411 h 10000"/>
                    <a:gd name="connsiteX6" fmla="*/ 8116 w 10000"/>
                    <a:gd name="connsiteY6" fmla="*/ 9420 h 10000"/>
                    <a:gd name="connsiteX7" fmla="*/ 8116 w 10000"/>
                    <a:gd name="connsiteY7" fmla="*/ 9420 h 10000"/>
                    <a:gd name="connsiteX8" fmla="*/ 8442 w 10000"/>
                    <a:gd name="connsiteY8" fmla="*/ 9383 h 10000"/>
                    <a:gd name="connsiteX9" fmla="*/ 8702 w 10000"/>
                    <a:gd name="connsiteY9" fmla="*/ 9292 h 10000"/>
                    <a:gd name="connsiteX10" fmla="*/ 8636 w 10000"/>
                    <a:gd name="connsiteY10" fmla="*/ 9255 h 10000"/>
                    <a:gd name="connsiteX11" fmla="*/ 8636 w 10000"/>
                    <a:gd name="connsiteY11" fmla="*/ 9219 h 10000"/>
                    <a:gd name="connsiteX12" fmla="*/ 8312 w 10000"/>
                    <a:gd name="connsiteY12" fmla="*/ 9128 h 10000"/>
                    <a:gd name="connsiteX13" fmla="*/ 5975 w 10000"/>
                    <a:gd name="connsiteY13" fmla="*/ 8799 h 10000"/>
                    <a:gd name="connsiteX14" fmla="*/ 5975 w 10000"/>
                    <a:gd name="connsiteY14" fmla="*/ 8799 h 10000"/>
                    <a:gd name="connsiteX15" fmla="*/ 5714 w 10000"/>
                    <a:gd name="connsiteY15" fmla="*/ 8746 h 10000"/>
                    <a:gd name="connsiteX16" fmla="*/ 5519 w 10000"/>
                    <a:gd name="connsiteY16" fmla="*/ 8691 h 10000"/>
                    <a:gd name="connsiteX17" fmla="*/ 5389 w 10000"/>
                    <a:gd name="connsiteY17" fmla="*/ 8636 h 10000"/>
                    <a:gd name="connsiteX18" fmla="*/ 5389 w 10000"/>
                    <a:gd name="connsiteY18" fmla="*/ 8636 h 10000"/>
                    <a:gd name="connsiteX19" fmla="*/ 7729 w 10000"/>
                    <a:gd name="connsiteY19" fmla="*/ 8617 h 10000"/>
                    <a:gd name="connsiteX20" fmla="*/ 10000 w 10000"/>
                    <a:gd name="connsiteY20" fmla="*/ 8799 h 10000"/>
                    <a:gd name="connsiteX21" fmla="*/ 10000 w 10000"/>
                    <a:gd name="connsiteY21" fmla="*/ 7147 h 10000"/>
                    <a:gd name="connsiteX22" fmla="*/ 10000 w 10000"/>
                    <a:gd name="connsiteY22" fmla="*/ 7147 h 10000"/>
                    <a:gd name="connsiteX23" fmla="*/ 7404 w 10000"/>
                    <a:gd name="connsiteY23" fmla="*/ 6762 h 10000"/>
                    <a:gd name="connsiteX24" fmla="*/ 5975 w 10000"/>
                    <a:gd name="connsiteY24" fmla="*/ 6546 h 10000"/>
                    <a:gd name="connsiteX25" fmla="*/ 5975 w 10000"/>
                    <a:gd name="connsiteY25" fmla="*/ 6546 h 10000"/>
                    <a:gd name="connsiteX26" fmla="*/ 5975 w 10000"/>
                    <a:gd name="connsiteY26" fmla="*/ 6528 h 10000"/>
                    <a:gd name="connsiteX27" fmla="*/ 5975 w 10000"/>
                    <a:gd name="connsiteY27" fmla="*/ 6419 h 10000"/>
                    <a:gd name="connsiteX28" fmla="*/ 5975 w 10000"/>
                    <a:gd name="connsiteY28" fmla="*/ 6419 h 10000"/>
                    <a:gd name="connsiteX29" fmla="*/ 5779 w 10000"/>
                    <a:gd name="connsiteY29" fmla="*/ 6289 h 10000"/>
                    <a:gd name="connsiteX30" fmla="*/ 5389 w 10000"/>
                    <a:gd name="connsiteY30" fmla="*/ 6090 h 10000"/>
                    <a:gd name="connsiteX31" fmla="*/ 4545 w 10000"/>
                    <a:gd name="connsiteY31" fmla="*/ 5710 h 10000"/>
                    <a:gd name="connsiteX32" fmla="*/ 4545 w 10000"/>
                    <a:gd name="connsiteY32" fmla="*/ 5710 h 10000"/>
                    <a:gd name="connsiteX33" fmla="*/ 4352 w 10000"/>
                    <a:gd name="connsiteY33" fmla="*/ 5655 h 10000"/>
                    <a:gd name="connsiteX34" fmla="*/ 4026 w 10000"/>
                    <a:gd name="connsiteY34" fmla="*/ 5582 h 10000"/>
                    <a:gd name="connsiteX35" fmla="*/ 3052 w 10000"/>
                    <a:gd name="connsiteY35" fmla="*/ 5418 h 10000"/>
                    <a:gd name="connsiteX36" fmla="*/ 1689 w 10000"/>
                    <a:gd name="connsiteY36" fmla="*/ 5219 h 10000"/>
                    <a:gd name="connsiteX37" fmla="*/ 1689 w 10000"/>
                    <a:gd name="connsiteY37" fmla="*/ 5219 h 10000"/>
                    <a:gd name="connsiteX38" fmla="*/ 1103 w 10000"/>
                    <a:gd name="connsiteY38" fmla="*/ 5199 h 10000"/>
                    <a:gd name="connsiteX39" fmla="*/ 650 w 10000"/>
                    <a:gd name="connsiteY39" fmla="*/ 5182 h 10000"/>
                    <a:gd name="connsiteX40" fmla="*/ 521 w 10000"/>
                    <a:gd name="connsiteY40" fmla="*/ 5162 h 10000"/>
                    <a:gd name="connsiteX41" fmla="*/ 390 w 10000"/>
                    <a:gd name="connsiteY41" fmla="*/ 5145 h 10000"/>
                    <a:gd name="connsiteX42" fmla="*/ 390 w 10000"/>
                    <a:gd name="connsiteY42" fmla="*/ 5145 h 10000"/>
                    <a:gd name="connsiteX43" fmla="*/ 261 w 10000"/>
                    <a:gd name="connsiteY43" fmla="*/ 5071 h 10000"/>
                    <a:gd name="connsiteX44" fmla="*/ 65 w 10000"/>
                    <a:gd name="connsiteY44" fmla="*/ 4948 h 10000"/>
                    <a:gd name="connsiteX45" fmla="*/ 0 w 10000"/>
                    <a:gd name="connsiteY45" fmla="*/ 4874 h 10000"/>
                    <a:gd name="connsiteX46" fmla="*/ 0 w 10000"/>
                    <a:gd name="connsiteY46" fmla="*/ 4799 h 10000"/>
                    <a:gd name="connsiteX47" fmla="*/ 0 w 10000"/>
                    <a:gd name="connsiteY47" fmla="*/ 4746 h 10000"/>
                    <a:gd name="connsiteX48" fmla="*/ 131 w 10000"/>
                    <a:gd name="connsiteY48" fmla="*/ 4690 h 10000"/>
                    <a:gd name="connsiteX49" fmla="*/ 131 w 10000"/>
                    <a:gd name="connsiteY49" fmla="*/ 4690 h 10000"/>
                    <a:gd name="connsiteX50" fmla="*/ 455 w 10000"/>
                    <a:gd name="connsiteY50" fmla="*/ 4599 h 10000"/>
                    <a:gd name="connsiteX51" fmla="*/ 779 w 10000"/>
                    <a:gd name="connsiteY51" fmla="*/ 4510 h 10000"/>
                    <a:gd name="connsiteX52" fmla="*/ 975 w 10000"/>
                    <a:gd name="connsiteY52" fmla="*/ 4456 h 10000"/>
                    <a:gd name="connsiteX53" fmla="*/ 1103 w 10000"/>
                    <a:gd name="connsiteY53" fmla="*/ 4400 h 10000"/>
                    <a:gd name="connsiteX54" fmla="*/ 1103 w 10000"/>
                    <a:gd name="connsiteY54" fmla="*/ 4327 h 10000"/>
                    <a:gd name="connsiteX55" fmla="*/ 1103 w 10000"/>
                    <a:gd name="connsiteY55" fmla="*/ 4236 h 10000"/>
                    <a:gd name="connsiteX56" fmla="*/ 1103 w 10000"/>
                    <a:gd name="connsiteY56" fmla="*/ 4236 h 10000"/>
                    <a:gd name="connsiteX57" fmla="*/ 845 w 10000"/>
                    <a:gd name="connsiteY57" fmla="*/ 3982 h 10000"/>
                    <a:gd name="connsiteX58" fmla="*/ 521 w 10000"/>
                    <a:gd name="connsiteY58" fmla="*/ 3636 h 10000"/>
                    <a:gd name="connsiteX59" fmla="*/ 261 w 10000"/>
                    <a:gd name="connsiteY59" fmla="*/ 3326 h 10000"/>
                    <a:gd name="connsiteX60" fmla="*/ 195 w 10000"/>
                    <a:gd name="connsiteY60" fmla="*/ 3236 h 10000"/>
                    <a:gd name="connsiteX61" fmla="*/ 195 w 10000"/>
                    <a:gd name="connsiteY61" fmla="*/ 3200 h 10000"/>
                    <a:gd name="connsiteX62" fmla="*/ 261 w 10000"/>
                    <a:gd name="connsiteY62" fmla="*/ 3180 h 10000"/>
                    <a:gd name="connsiteX63" fmla="*/ 261 w 10000"/>
                    <a:gd name="connsiteY63" fmla="*/ 3180 h 10000"/>
                    <a:gd name="connsiteX64" fmla="*/ 650 w 10000"/>
                    <a:gd name="connsiteY64" fmla="*/ 3163 h 10000"/>
                    <a:gd name="connsiteX65" fmla="*/ 908 w 10000"/>
                    <a:gd name="connsiteY65" fmla="*/ 3163 h 10000"/>
                    <a:gd name="connsiteX66" fmla="*/ 1103 w 10000"/>
                    <a:gd name="connsiteY66" fmla="*/ 3180 h 10000"/>
                    <a:gd name="connsiteX67" fmla="*/ 1103 w 10000"/>
                    <a:gd name="connsiteY67" fmla="*/ 3180 h 10000"/>
                    <a:gd name="connsiteX68" fmla="*/ 1168 w 10000"/>
                    <a:gd name="connsiteY68" fmla="*/ 3180 h 10000"/>
                    <a:gd name="connsiteX69" fmla="*/ 1235 w 10000"/>
                    <a:gd name="connsiteY69" fmla="*/ 3147 h 10000"/>
                    <a:gd name="connsiteX70" fmla="*/ 1559 w 10000"/>
                    <a:gd name="connsiteY70" fmla="*/ 3036 h 10000"/>
                    <a:gd name="connsiteX71" fmla="*/ 2402 w 10000"/>
                    <a:gd name="connsiteY71" fmla="*/ 2672 h 10000"/>
                    <a:gd name="connsiteX72" fmla="*/ 3507 w 10000"/>
                    <a:gd name="connsiteY72" fmla="*/ 2147 h 10000"/>
                    <a:gd name="connsiteX73" fmla="*/ 3507 w 10000"/>
                    <a:gd name="connsiteY73" fmla="*/ 2147 h 10000"/>
                    <a:gd name="connsiteX74" fmla="*/ 3507 w 10000"/>
                    <a:gd name="connsiteY74" fmla="*/ 2072 h 10000"/>
                    <a:gd name="connsiteX75" fmla="*/ 3507 w 10000"/>
                    <a:gd name="connsiteY75" fmla="*/ 1907 h 10000"/>
                    <a:gd name="connsiteX76" fmla="*/ 3573 w 10000"/>
                    <a:gd name="connsiteY76" fmla="*/ 1800 h 10000"/>
                    <a:gd name="connsiteX77" fmla="*/ 3702 w 10000"/>
                    <a:gd name="connsiteY77" fmla="*/ 1708 h 10000"/>
                    <a:gd name="connsiteX78" fmla="*/ 3896 w 10000"/>
                    <a:gd name="connsiteY78" fmla="*/ 1600 h 10000"/>
                    <a:gd name="connsiteX79" fmla="*/ 4156 w 10000"/>
                    <a:gd name="connsiteY79" fmla="*/ 1510 h 10000"/>
                    <a:gd name="connsiteX80" fmla="*/ 4156 w 10000"/>
                    <a:gd name="connsiteY80" fmla="*/ 1510 h 10000"/>
                    <a:gd name="connsiteX81" fmla="*/ 4806 w 10000"/>
                    <a:gd name="connsiteY81" fmla="*/ 1329 h 10000"/>
                    <a:gd name="connsiteX82" fmla="*/ 5455 w 10000"/>
                    <a:gd name="connsiteY82" fmla="*/ 1090 h 10000"/>
                    <a:gd name="connsiteX83" fmla="*/ 6104 w 10000"/>
                    <a:gd name="connsiteY83" fmla="*/ 872 h 10000"/>
                    <a:gd name="connsiteX84" fmla="*/ 6559 w 10000"/>
                    <a:gd name="connsiteY84" fmla="*/ 674 h 10000"/>
                    <a:gd name="connsiteX85" fmla="*/ 6559 w 10000"/>
                    <a:gd name="connsiteY85" fmla="*/ 674 h 10000"/>
                    <a:gd name="connsiteX86" fmla="*/ 6882 w 10000"/>
                    <a:gd name="connsiteY86" fmla="*/ 493 h 10000"/>
                    <a:gd name="connsiteX87" fmla="*/ 7273 w 10000"/>
                    <a:gd name="connsiteY87" fmla="*/ 271 h 10000"/>
                    <a:gd name="connsiteX88" fmla="*/ 7663 w 10000"/>
                    <a:gd name="connsiteY88" fmla="*/ 108 h 10000"/>
                    <a:gd name="connsiteX89" fmla="*/ 7856 w 10000"/>
                    <a:gd name="connsiteY89" fmla="*/ 33 h 10000"/>
                    <a:gd name="connsiteX90" fmla="*/ 8051 w 10000"/>
                    <a:gd name="connsiteY90" fmla="*/ 17 h 10000"/>
                    <a:gd name="connsiteX91" fmla="*/ 8051 w 10000"/>
                    <a:gd name="connsiteY91" fmla="*/ 17 h 10000"/>
                    <a:gd name="connsiteX92" fmla="*/ 8442 w 10000"/>
                    <a:gd name="connsiteY92" fmla="*/ 0 h 10000"/>
                    <a:gd name="connsiteX93" fmla="*/ 8961 w 10000"/>
                    <a:gd name="connsiteY93" fmla="*/ 0 h 10000"/>
                    <a:gd name="connsiteX94" fmla="*/ 10000 w 10000"/>
                    <a:gd name="connsiteY94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3117 w 10000"/>
                    <a:gd name="connsiteY3" fmla="*/ 9947 h 10000"/>
                    <a:gd name="connsiteX4" fmla="*/ 7646 w 10000"/>
                    <a:gd name="connsiteY4" fmla="*/ 9411 h 10000"/>
                    <a:gd name="connsiteX5" fmla="*/ 8116 w 10000"/>
                    <a:gd name="connsiteY5" fmla="*/ 9420 h 10000"/>
                    <a:gd name="connsiteX6" fmla="*/ 8116 w 10000"/>
                    <a:gd name="connsiteY6" fmla="*/ 9420 h 10000"/>
                    <a:gd name="connsiteX7" fmla="*/ 8442 w 10000"/>
                    <a:gd name="connsiteY7" fmla="*/ 9383 h 10000"/>
                    <a:gd name="connsiteX8" fmla="*/ 8702 w 10000"/>
                    <a:gd name="connsiteY8" fmla="*/ 9292 h 10000"/>
                    <a:gd name="connsiteX9" fmla="*/ 8636 w 10000"/>
                    <a:gd name="connsiteY9" fmla="*/ 9255 h 10000"/>
                    <a:gd name="connsiteX10" fmla="*/ 8636 w 10000"/>
                    <a:gd name="connsiteY10" fmla="*/ 9219 h 10000"/>
                    <a:gd name="connsiteX11" fmla="*/ 8312 w 10000"/>
                    <a:gd name="connsiteY11" fmla="*/ 9128 h 10000"/>
                    <a:gd name="connsiteX12" fmla="*/ 5975 w 10000"/>
                    <a:gd name="connsiteY12" fmla="*/ 8799 h 10000"/>
                    <a:gd name="connsiteX13" fmla="*/ 5975 w 10000"/>
                    <a:gd name="connsiteY13" fmla="*/ 8799 h 10000"/>
                    <a:gd name="connsiteX14" fmla="*/ 5714 w 10000"/>
                    <a:gd name="connsiteY14" fmla="*/ 8746 h 10000"/>
                    <a:gd name="connsiteX15" fmla="*/ 5519 w 10000"/>
                    <a:gd name="connsiteY15" fmla="*/ 8691 h 10000"/>
                    <a:gd name="connsiteX16" fmla="*/ 5389 w 10000"/>
                    <a:gd name="connsiteY16" fmla="*/ 8636 h 10000"/>
                    <a:gd name="connsiteX17" fmla="*/ 5389 w 10000"/>
                    <a:gd name="connsiteY17" fmla="*/ 8636 h 10000"/>
                    <a:gd name="connsiteX18" fmla="*/ 7729 w 10000"/>
                    <a:gd name="connsiteY18" fmla="*/ 8617 h 10000"/>
                    <a:gd name="connsiteX19" fmla="*/ 10000 w 10000"/>
                    <a:gd name="connsiteY19" fmla="*/ 8799 h 10000"/>
                    <a:gd name="connsiteX20" fmla="*/ 10000 w 10000"/>
                    <a:gd name="connsiteY20" fmla="*/ 7147 h 10000"/>
                    <a:gd name="connsiteX21" fmla="*/ 10000 w 10000"/>
                    <a:gd name="connsiteY21" fmla="*/ 7147 h 10000"/>
                    <a:gd name="connsiteX22" fmla="*/ 7404 w 10000"/>
                    <a:gd name="connsiteY22" fmla="*/ 6762 h 10000"/>
                    <a:gd name="connsiteX23" fmla="*/ 5975 w 10000"/>
                    <a:gd name="connsiteY23" fmla="*/ 6546 h 10000"/>
                    <a:gd name="connsiteX24" fmla="*/ 5975 w 10000"/>
                    <a:gd name="connsiteY24" fmla="*/ 6546 h 10000"/>
                    <a:gd name="connsiteX25" fmla="*/ 5975 w 10000"/>
                    <a:gd name="connsiteY25" fmla="*/ 6528 h 10000"/>
                    <a:gd name="connsiteX26" fmla="*/ 5975 w 10000"/>
                    <a:gd name="connsiteY26" fmla="*/ 6419 h 10000"/>
                    <a:gd name="connsiteX27" fmla="*/ 5975 w 10000"/>
                    <a:gd name="connsiteY27" fmla="*/ 6419 h 10000"/>
                    <a:gd name="connsiteX28" fmla="*/ 5779 w 10000"/>
                    <a:gd name="connsiteY28" fmla="*/ 6289 h 10000"/>
                    <a:gd name="connsiteX29" fmla="*/ 5389 w 10000"/>
                    <a:gd name="connsiteY29" fmla="*/ 6090 h 10000"/>
                    <a:gd name="connsiteX30" fmla="*/ 4545 w 10000"/>
                    <a:gd name="connsiteY30" fmla="*/ 5710 h 10000"/>
                    <a:gd name="connsiteX31" fmla="*/ 4545 w 10000"/>
                    <a:gd name="connsiteY31" fmla="*/ 5710 h 10000"/>
                    <a:gd name="connsiteX32" fmla="*/ 4352 w 10000"/>
                    <a:gd name="connsiteY32" fmla="*/ 5655 h 10000"/>
                    <a:gd name="connsiteX33" fmla="*/ 4026 w 10000"/>
                    <a:gd name="connsiteY33" fmla="*/ 5582 h 10000"/>
                    <a:gd name="connsiteX34" fmla="*/ 3052 w 10000"/>
                    <a:gd name="connsiteY34" fmla="*/ 5418 h 10000"/>
                    <a:gd name="connsiteX35" fmla="*/ 1689 w 10000"/>
                    <a:gd name="connsiteY35" fmla="*/ 5219 h 10000"/>
                    <a:gd name="connsiteX36" fmla="*/ 1689 w 10000"/>
                    <a:gd name="connsiteY36" fmla="*/ 5219 h 10000"/>
                    <a:gd name="connsiteX37" fmla="*/ 1103 w 10000"/>
                    <a:gd name="connsiteY37" fmla="*/ 5199 h 10000"/>
                    <a:gd name="connsiteX38" fmla="*/ 650 w 10000"/>
                    <a:gd name="connsiteY38" fmla="*/ 5182 h 10000"/>
                    <a:gd name="connsiteX39" fmla="*/ 521 w 10000"/>
                    <a:gd name="connsiteY39" fmla="*/ 5162 h 10000"/>
                    <a:gd name="connsiteX40" fmla="*/ 390 w 10000"/>
                    <a:gd name="connsiteY40" fmla="*/ 5145 h 10000"/>
                    <a:gd name="connsiteX41" fmla="*/ 390 w 10000"/>
                    <a:gd name="connsiteY41" fmla="*/ 5145 h 10000"/>
                    <a:gd name="connsiteX42" fmla="*/ 261 w 10000"/>
                    <a:gd name="connsiteY42" fmla="*/ 5071 h 10000"/>
                    <a:gd name="connsiteX43" fmla="*/ 65 w 10000"/>
                    <a:gd name="connsiteY43" fmla="*/ 4948 h 10000"/>
                    <a:gd name="connsiteX44" fmla="*/ 0 w 10000"/>
                    <a:gd name="connsiteY44" fmla="*/ 4874 h 10000"/>
                    <a:gd name="connsiteX45" fmla="*/ 0 w 10000"/>
                    <a:gd name="connsiteY45" fmla="*/ 4799 h 10000"/>
                    <a:gd name="connsiteX46" fmla="*/ 0 w 10000"/>
                    <a:gd name="connsiteY46" fmla="*/ 4746 h 10000"/>
                    <a:gd name="connsiteX47" fmla="*/ 131 w 10000"/>
                    <a:gd name="connsiteY47" fmla="*/ 4690 h 10000"/>
                    <a:gd name="connsiteX48" fmla="*/ 131 w 10000"/>
                    <a:gd name="connsiteY48" fmla="*/ 4690 h 10000"/>
                    <a:gd name="connsiteX49" fmla="*/ 455 w 10000"/>
                    <a:gd name="connsiteY49" fmla="*/ 4599 h 10000"/>
                    <a:gd name="connsiteX50" fmla="*/ 779 w 10000"/>
                    <a:gd name="connsiteY50" fmla="*/ 4510 h 10000"/>
                    <a:gd name="connsiteX51" fmla="*/ 975 w 10000"/>
                    <a:gd name="connsiteY51" fmla="*/ 4456 h 10000"/>
                    <a:gd name="connsiteX52" fmla="*/ 1103 w 10000"/>
                    <a:gd name="connsiteY52" fmla="*/ 4400 h 10000"/>
                    <a:gd name="connsiteX53" fmla="*/ 1103 w 10000"/>
                    <a:gd name="connsiteY53" fmla="*/ 4327 h 10000"/>
                    <a:gd name="connsiteX54" fmla="*/ 1103 w 10000"/>
                    <a:gd name="connsiteY54" fmla="*/ 4236 h 10000"/>
                    <a:gd name="connsiteX55" fmla="*/ 1103 w 10000"/>
                    <a:gd name="connsiteY55" fmla="*/ 4236 h 10000"/>
                    <a:gd name="connsiteX56" fmla="*/ 845 w 10000"/>
                    <a:gd name="connsiteY56" fmla="*/ 3982 h 10000"/>
                    <a:gd name="connsiteX57" fmla="*/ 521 w 10000"/>
                    <a:gd name="connsiteY57" fmla="*/ 3636 h 10000"/>
                    <a:gd name="connsiteX58" fmla="*/ 261 w 10000"/>
                    <a:gd name="connsiteY58" fmla="*/ 3326 h 10000"/>
                    <a:gd name="connsiteX59" fmla="*/ 195 w 10000"/>
                    <a:gd name="connsiteY59" fmla="*/ 3236 h 10000"/>
                    <a:gd name="connsiteX60" fmla="*/ 195 w 10000"/>
                    <a:gd name="connsiteY60" fmla="*/ 3200 h 10000"/>
                    <a:gd name="connsiteX61" fmla="*/ 261 w 10000"/>
                    <a:gd name="connsiteY61" fmla="*/ 3180 h 10000"/>
                    <a:gd name="connsiteX62" fmla="*/ 261 w 10000"/>
                    <a:gd name="connsiteY62" fmla="*/ 3180 h 10000"/>
                    <a:gd name="connsiteX63" fmla="*/ 650 w 10000"/>
                    <a:gd name="connsiteY63" fmla="*/ 3163 h 10000"/>
                    <a:gd name="connsiteX64" fmla="*/ 908 w 10000"/>
                    <a:gd name="connsiteY64" fmla="*/ 3163 h 10000"/>
                    <a:gd name="connsiteX65" fmla="*/ 1103 w 10000"/>
                    <a:gd name="connsiteY65" fmla="*/ 3180 h 10000"/>
                    <a:gd name="connsiteX66" fmla="*/ 1103 w 10000"/>
                    <a:gd name="connsiteY66" fmla="*/ 3180 h 10000"/>
                    <a:gd name="connsiteX67" fmla="*/ 1168 w 10000"/>
                    <a:gd name="connsiteY67" fmla="*/ 3180 h 10000"/>
                    <a:gd name="connsiteX68" fmla="*/ 1235 w 10000"/>
                    <a:gd name="connsiteY68" fmla="*/ 3147 h 10000"/>
                    <a:gd name="connsiteX69" fmla="*/ 1559 w 10000"/>
                    <a:gd name="connsiteY69" fmla="*/ 3036 h 10000"/>
                    <a:gd name="connsiteX70" fmla="*/ 2402 w 10000"/>
                    <a:gd name="connsiteY70" fmla="*/ 2672 h 10000"/>
                    <a:gd name="connsiteX71" fmla="*/ 3507 w 10000"/>
                    <a:gd name="connsiteY71" fmla="*/ 2147 h 10000"/>
                    <a:gd name="connsiteX72" fmla="*/ 3507 w 10000"/>
                    <a:gd name="connsiteY72" fmla="*/ 2147 h 10000"/>
                    <a:gd name="connsiteX73" fmla="*/ 3507 w 10000"/>
                    <a:gd name="connsiteY73" fmla="*/ 2072 h 10000"/>
                    <a:gd name="connsiteX74" fmla="*/ 3507 w 10000"/>
                    <a:gd name="connsiteY74" fmla="*/ 1907 h 10000"/>
                    <a:gd name="connsiteX75" fmla="*/ 3573 w 10000"/>
                    <a:gd name="connsiteY75" fmla="*/ 1800 h 10000"/>
                    <a:gd name="connsiteX76" fmla="*/ 3702 w 10000"/>
                    <a:gd name="connsiteY76" fmla="*/ 1708 h 10000"/>
                    <a:gd name="connsiteX77" fmla="*/ 3896 w 10000"/>
                    <a:gd name="connsiteY77" fmla="*/ 1600 h 10000"/>
                    <a:gd name="connsiteX78" fmla="*/ 4156 w 10000"/>
                    <a:gd name="connsiteY78" fmla="*/ 1510 h 10000"/>
                    <a:gd name="connsiteX79" fmla="*/ 4156 w 10000"/>
                    <a:gd name="connsiteY79" fmla="*/ 1510 h 10000"/>
                    <a:gd name="connsiteX80" fmla="*/ 4806 w 10000"/>
                    <a:gd name="connsiteY80" fmla="*/ 1329 h 10000"/>
                    <a:gd name="connsiteX81" fmla="*/ 5455 w 10000"/>
                    <a:gd name="connsiteY81" fmla="*/ 1090 h 10000"/>
                    <a:gd name="connsiteX82" fmla="*/ 6104 w 10000"/>
                    <a:gd name="connsiteY82" fmla="*/ 872 h 10000"/>
                    <a:gd name="connsiteX83" fmla="*/ 6559 w 10000"/>
                    <a:gd name="connsiteY83" fmla="*/ 674 h 10000"/>
                    <a:gd name="connsiteX84" fmla="*/ 6559 w 10000"/>
                    <a:gd name="connsiteY84" fmla="*/ 674 h 10000"/>
                    <a:gd name="connsiteX85" fmla="*/ 6882 w 10000"/>
                    <a:gd name="connsiteY85" fmla="*/ 493 h 10000"/>
                    <a:gd name="connsiteX86" fmla="*/ 7273 w 10000"/>
                    <a:gd name="connsiteY86" fmla="*/ 271 h 10000"/>
                    <a:gd name="connsiteX87" fmla="*/ 7663 w 10000"/>
                    <a:gd name="connsiteY87" fmla="*/ 108 h 10000"/>
                    <a:gd name="connsiteX88" fmla="*/ 7856 w 10000"/>
                    <a:gd name="connsiteY88" fmla="*/ 33 h 10000"/>
                    <a:gd name="connsiteX89" fmla="*/ 8051 w 10000"/>
                    <a:gd name="connsiteY89" fmla="*/ 17 h 10000"/>
                    <a:gd name="connsiteX90" fmla="*/ 8051 w 10000"/>
                    <a:gd name="connsiteY90" fmla="*/ 17 h 10000"/>
                    <a:gd name="connsiteX91" fmla="*/ 8442 w 10000"/>
                    <a:gd name="connsiteY91" fmla="*/ 0 h 10000"/>
                    <a:gd name="connsiteX92" fmla="*/ 8961 w 10000"/>
                    <a:gd name="connsiteY92" fmla="*/ 0 h 10000"/>
                    <a:gd name="connsiteX93" fmla="*/ 10000 w 10000"/>
                    <a:gd name="connsiteY93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3247 w 10000"/>
                    <a:gd name="connsiteY2" fmla="*/ 10000 h 10000"/>
                    <a:gd name="connsiteX3" fmla="*/ 7646 w 10000"/>
                    <a:gd name="connsiteY3" fmla="*/ 9411 h 10000"/>
                    <a:gd name="connsiteX4" fmla="*/ 8116 w 10000"/>
                    <a:gd name="connsiteY4" fmla="*/ 9420 h 10000"/>
                    <a:gd name="connsiteX5" fmla="*/ 8116 w 10000"/>
                    <a:gd name="connsiteY5" fmla="*/ 9420 h 10000"/>
                    <a:gd name="connsiteX6" fmla="*/ 8442 w 10000"/>
                    <a:gd name="connsiteY6" fmla="*/ 9383 h 10000"/>
                    <a:gd name="connsiteX7" fmla="*/ 8702 w 10000"/>
                    <a:gd name="connsiteY7" fmla="*/ 9292 h 10000"/>
                    <a:gd name="connsiteX8" fmla="*/ 8636 w 10000"/>
                    <a:gd name="connsiteY8" fmla="*/ 9255 h 10000"/>
                    <a:gd name="connsiteX9" fmla="*/ 8636 w 10000"/>
                    <a:gd name="connsiteY9" fmla="*/ 9219 h 10000"/>
                    <a:gd name="connsiteX10" fmla="*/ 8312 w 10000"/>
                    <a:gd name="connsiteY10" fmla="*/ 9128 h 10000"/>
                    <a:gd name="connsiteX11" fmla="*/ 5975 w 10000"/>
                    <a:gd name="connsiteY11" fmla="*/ 8799 h 10000"/>
                    <a:gd name="connsiteX12" fmla="*/ 5975 w 10000"/>
                    <a:gd name="connsiteY12" fmla="*/ 8799 h 10000"/>
                    <a:gd name="connsiteX13" fmla="*/ 5714 w 10000"/>
                    <a:gd name="connsiteY13" fmla="*/ 8746 h 10000"/>
                    <a:gd name="connsiteX14" fmla="*/ 5519 w 10000"/>
                    <a:gd name="connsiteY14" fmla="*/ 8691 h 10000"/>
                    <a:gd name="connsiteX15" fmla="*/ 5389 w 10000"/>
                    <a:gd name="connsiteY15" fmla="*/ 8636 h 10000"/>
                    <a:gd name="connsiteX16" fmla="*/ 5389 w 10000"/>
                    <a:gd name="connsiteY16" fmla="*/ 8636 h 10000"/>
                    <a:gd name="connsiteX17" fmla="*/ 7729 w 10000"/>
                    <a:gd name="connsiteY17" fmla="*/ 8617 h 10000"/>
                    <a:gd name="connsiteX18" fmla="*/ 10000 w 10000"/>
                    <a:gd name="connsiteY18" fmla="*/ 8799 h 10000"/>
                    <a:gd name="connsiteX19" fmla="*/ 10000 w 10000"/>
                    <a:gd name="connsiteY19" fmla="*/ 7147 h 10000"/>
                    <a:gd name="connsiteX20" fmla="*/ 10000 w 10000"/>
                    <a:gd name="connsiteY20" fmla="*/ 7147 h 10000"/>
                    <a:gd name="connsiteX21" fmla="*/ 7404 w 10000"/>
                    <a:gd name="connsiteY21" fmla="*/ 6762 h 10000"/>
                    <a:gd name="connsiteX22" fmla="*/ 5975 w 10000"/>
                    <a:gd name="connsiteY22" fmla="*/ 6546 h 10000"/>
                    <a:gd name="connsiteX23" fmla="*/ 5975 w 10000"/>
                    <a:gd name="connsiteY23" fmla="*/ 6546 h 10000"/>
                    <a:gd name="connsiteX24" fmla="*/ 5975 w 10000"/>
                    <a:gd name="connsiteY24" fmla="*/ 6528 h 10000"/>
                    <a:gd name="connsiteX25" fmla="*/ 5975 w 10000"/>
                    <a:gd name="connsiteY25" fmla="*/ 6419 h 10000"/>
                    <a:gd name="connsiteX26" fmla="*/ 5975 w 10000"/>
                    <a:gd name="connsiteY26" fmla="*/ 6419 h 10000"/>
                    <a:gd name="connsiteX27" fmla="*/ 5779 w 10000"/>
                    <a:gd name="connsiteY27" fmla="*/ 6289 h 10000"/>
                    <a:gd name="connsiteX28" fmla="*/ 5389 w 10000"/>
                    <a:gd name="connsiteY28" fmla="*/ 6090 h 10000"/>
                    <a:gd name="connsiteX29" fmla="*/ 4545 w 10000"/>
                    <a:gd name="connsiteY29" fmla="*/ 5710 h 10000"/>
                    <a:gd name="connsiteX30" fmla="*/ 4545 w 10000"/>
                    <a:gd name="connsiteY30" fmla="*/ 5710 h 10000"/>
                    <a:gd name="connsiteX31" fmla="*/ 4352 w 10000"/>
                    <a:gd name="connsiteY31" fmla="*/ 5655 h 10000"/>
                    <a:gd name="connsiteX32" fmla="*/ 4026 w 10000"/>
                    <a:gd name="connsiteY32" fmla="*/ 5582 h 10000"/>
                    <a:gd name="connsiteX33" fmla="*/ 3052 w 10000"/>
                    <a:gd name="connsiteY33" fmla="*/ 5418 h 10000"/>
                    <a:gd name="connsiteX34" fmla="*/ 1689 w 10000"/>
                    <a:gd name="connsiteY34" fmla="*/ 5219 h 10000"/>
                    <a:gd name="connsiteX35" fmla="*/ 1689 w 10000"/>
                    <a:gd name="connsiteY35" fmla="*/ 5219 h 10000"/>
                    <a:gd name="connsiteX36" fmla="*/ 1103 w 10000"/>
                    <a:gd name="connsiteY36" fmla="*/ 5199 h 10000"/>
                    <a:gd name="connsiteX37" fmla="*/ 650 w 10000"/>
                    <a:gd name="connsiteY37" fmla="*/ 5182 h 10000"/>
                    <a:gd name="connsiteX38" fmla="*/ 521 w 10000"/>
                    <a:gd name="connsiteY38" fmla="*/ 5162 h 10000"/>
                    <a:gd name="connsiteX39" fmla="*/ 390 w 10000"/>
                    <a:gd name="connsiteY39" fmla="*/ 5145 h 10000"/>
                    <a:gd name="connsiteX40" fmla="*/ 390 w 10000"/>
                    <a:gd name="connsiteY40" fmla="*/ 5145 h 10000"/>
                    <a:gd name="connsiteX41" fmla="*/ 261 w 10000"/>
                    <a:gd name="connsiteY41" fmla="*/ 5071 h 10000"/>
                    <a:gd name="connsiteX42" fmla="*/ 65 w 10000"/>
                    <a:gd name="connsiteY42" fmla="*/ 4948 h 10000"/>
                    <a:gd name="connsiteX43" fmla="*/ 0 w 10000"/>
                    <a:gd name="connsiteY43" fmla="*/ 4874 h 10000"/>
                    <a:gd name="connsiteX44" fmla="*/ 0 w 10000"/>
                    <a:gd name="connsiteY44" fmla="*/ 4799 h 10000"/>
                    <a:gd name="connsiteX45" fmla="*/ 0 w 10000"/>
                    <a:gd name="connsiteY45" fmla="*/ 4746 h 10000"/>
                    <a:gd name="connsiteX46" fmla="*/ 131 w 10000"/>
                    <a:gd name="connsiteY46" fmla="*/ 4690 h 10000"/>
                    <a:gd name="connsiteX47" fmla="*/ 131 w 10000"/>
                    <a:gd name="connsiteY47" fmla="*/ 4690 h 10000"/>
                    <a:gd name="connsiteX48" fmla="*/ 455 w 10000"/>
                    <a:gd name="connsiteY48" fmla="*/ 4599 h 10000"/>
                    <a:gd name="connsiteX49" fmla="*/ 779 w 10000"/>
                    <a:gd name="connsiteY49" fmla="*/ 4510 h 10000"/>
                    <a:gd name="connsiteX50" fmla="*/ 975 w 10000"/>
                    <a:gd name="connsiteY50" fmla="*/ 4456 h 10000"/>
                    <a:gd name="connsiteX51" fmla="*/ 1103 w 10000"/>
                    <a:gd name="connsiteY51" fmla="*/ 4400 h 10000"/>
                    <a:gd name="connsiteX52" fmla="*/ 1103 w 10000"/>
                    <a:gd name="connsiteY52" fmla="*/ 4327 h 10000"/>
                    <a:gd name="connsiteX53" fmla="*/ 1103 w 10000"/>
                    <a:gd name="connsiteY53" fmla="*/ 4236 h 10000"/>
                    <a:gd name="connsiteX54" fmla="*/ 1103 w 10000"/>
                    <a:gd name="connsiteY54" fmla="*/ 4236 h 10000"/>
                    <a:gd name="connsiteX55" fmla="*/ 845 w 10000"/>
                    <a:gd name="connsiteY55" fmla="*/ 3982 h 10000"/>
                    <a:gd name="connsiteX56" fmla="*/ 521 w 10000"/>
                    <a:gd name="connsiteY56" fmla="*/ 3636 h 10000"/>
                    <a:gd name="connsiteX57" fmla="*/ 261 w 10000"/>
                    <a:gd name="connsiteY57" fmla="*/ 3326 h 10000"/>
                    <a:gd name="connsiteX58" fmla="*/ 195 w 10000"/>
                    <a:gd name="connsiteY58" fmla="*/ 3236 h 10000"/>
                    <a:gd name="connsiteX59" fmla="*/ 195 w 10000"/>
                    <a:gd name="connsiteY59" fmla="*/ 3200 h 10000"/>
                    <a:gd name="connsiteX60" fmla="*/ 261 w 10000"/>
                    <a:gd name="connsiteY60" fmla="*/ 3180 h 10000"/>
                    <a:gd name="connsiteX61" fmla="*/ 261 w 10000"/>
                    <a:gd name="connsiteY61" fmla="*/ 3180 h 10000"/>
                    <a:gd name="connsiteX62" fmla="*/ 650 w 10000"/>
                    <a:gd name="connsiteY62" fmla="*/ 3163 h 10000"/>
                    <a:gd name="connsiteX63" fmla="*/ 908 w 10000"/>
                    <a:gd name="connsiteY63" fmla="*/ 3163 h 10000"/>
                    <a:gd name="connsiteX64" fmla="*/ 1103 w 10000"/>
                    <a:gd name="connsiteY64" fmla="*/ 3180 h 10000"/>
                    <a:gd name="connsiteX65" fmla="*/ 1103 w 10000"/>
                    <a:gd name="connsiteY65" fmla="*/ 3180 h 10000"/>
                    <a:gd name="connsiteX66" fmla="*/ 1168 w 10000"/>
                    <a:gd name="connsiteY66" fmla="*/ 3180 h 10000"/>
                    <a:gd name="connsiteX67" fmla="*/ 1235 w 10000"/>
                    <a:gd name="connsiteY67" fmla="*/ 3147 h 10000"/>
                    <a:gd name="connsiteX68" fmla="*/ 1559 w 10000"/>
                    <a:gd name="connsiteY68" fmla="*/ 3036 h 10000"/>
                    <a:gd name="connsiteX69" fmla="*/ 2402 w 10000"/>
                    <a:gd name="connsiteY69" fmla="*/ 2672 h 10000"/>
                    <a:gd name="connsiteX70" fmla="*/ 3507 w 10000"/>
                    <a:gd name="connsiteY70" fmla="*/ 2147 h 10000"/>
                    <a:gd name="connsiteX71" fmla="*/ 3507 w 10000"/>
                    <a:gd name="connsiteY71" fmla="*/ 2147 h 10000"/>
                    <a:gd name="connsiteX72" fmla="*/ 3507 w 10000"/>
                    <a:gd name="connsiteY72" fmla="*/ 2072 h 10000"/>
                    <a:gd name="connsiteX73" fmla="*/ 3507 w 10000"/>
                    <a:gd name="connsiteY73" fmla="*/ 1907 h 10000"/>
                    <a:gd name="connsiteX74" fmla="*/ 3573 w 10000"/>
                    <a:gd name="connsiteY74" fmla="*/ 1800 h 10000"/>
                    <a:gd name="connsiteX75" fmla="*/ 3702 w 10000"/>
                    <a:gd name="connsiteY75" fmla="*/ 1708 h 10000"/>
                    <a:gd name="connsiteX76" fmla="*/ 3896 w 10000"/>
                    <a:gd name="connsiteY76" fmla="*/ 1600 h 10000"/>
                    <a:gd name="connsiteX77" fmla="*/ 4156 w 10000"/>
                    <a:gd name="connsiteY77" fmla="*/ 1510 h 10000"/>
                    <a:gd name="connsiteX78" fmla="*/ 4156 w 10000"/>
                    <a:gd name="connsiteY78" fmla="*/ 1510 h 10000"/>
                    <a:gd name="connsiteX79" fmla="*/ 4806 w 10000"/>
                    <a:gd name="connsiteY79" fmla="*/ 1329 h 10000"/>
                    <a:gd name="connsiteX80" fmla="*/ 5455 w 10000"/>
                    <a:gd name="connsiteY80" fmla="*/ 1090 h 10000"/>
                    <a:gd name="connsiteX81" fmla="*/ 6104 w 10000"/>
                    <a:gd name="connsiteY81" fmla="*/ 872 h 10000"/>
                    <a:gd name="connsiteX82" fmla="*/ 6559 w 10000"/>
                    <a:gd name="connsiteY82" fmla="*/ 674 h 10000"/>
                    <a:gd name="connsiteX83" fmla="*/ 6559 w 10000"/>
                    <a:gd name="connsiteY83" fmla="*/ 674 h 10000"/>
                    <a:gd name="connsiteX84" fmla="*/ 6882 w 10000"/>
                    <a:gd name="connsiteY84" fmla="*/ 493 h 10000"/>
                    <a:gd name="connsiteX85" fmla="*/ 7273 w 10000"/>
                    <a:gd name="connsiteY85" fmla="*/ 271 h 10000"/>
                    <a:gd name="connsiteX86" fmla="*/ 7663 w 10000"/>
                    <a:gd name="connsiteY86" fmla="*/ 108 h 10000"/>
                    <a:gd name="connsiteX87" fmla="*/ 7856 w 10000"/>
                    <a:gd name="connsiteY87" fmla="*/ 33 h 10000"/>
                    <a:gd name="connsiteX88" fmla="*/ 8051 w 10000"/>
                    <a:gd name="connsiteY88" fmla="*/ 17 h 10000"/>
                    <a:gd name="connsiteX89" fmla="*/ 8051 w 10000"/>
                    <a:gd name="connsiteY89" fmla="*/ 17 h 10000"/>
                    <a:gd name="connsiteX90" fmla="*/ 8442 w 10000"/>
                    <a:gd name="connsiteY90" fmla="*/ 0 h 10000"/>
                    <a:gd name="connsiteX91" fmla="*/ 8961 w 10000"/>
                    <a:gd name="connsiteY91" fmla="*/ 0 h 10000"/>
                    <a:gd name="connsiteX92" fmla="*/ 10000 w 10000"/>
                    <a:gd name="connsiteY92" fmla="*/ 17 h 10000"/>
                    <a:gd name="connsiteX0" fmla="*/ 10000 w 10000"/>
                    <a:gd name="connsiteY0" fmla="*/ 17 h 10000"/>
                    <a:gd name="connsiteX1" fmla="*/ 3247 w 10000"/>
                    <a:gd name="connsiteY1" fmla="*/ 10000 h 10000"/>
                    <a:gd name="connsiteX2" fmla="*/ 7646 w 10000"/>
                    <a:gd name="connsiteY2" fmla="*/ 9411 h 10000"/>
                    <a:gd name="connsiteX3" fmla="*/ 8116 w 10000"/>
                    <a:gd name="connsiteY3" fmla="*/ 9420 h 10000"/>
                    <a:gd name="connsiteX4" fmla="*/ 8116 w 10000"/>
                    <a:gd name="connsiteY4" fmla="*/ 9420 h 10000"/>
                    <a:gd name="connsiteX5" fmla="*/ 8442 w 10000"/>
                    <a:gd name="connsiteY5" fmla="*/ 9383 h 10000"/>
                    <a:gd name="connsiteX6" fmla="*/ 8702 w 10000"/>
                    <a:gd name="connsiteY6" fmla="*/ 9292 h 10000"/>
                    <a:gd name="connsiteX7" fmla="*/ 8636 w 10000"/>
                    <a:gd name="connsiteY7" fmla="*/ 9255 h 10000"/>
                    <a:gd name="connsiteX8" fmla="*/ 8636 w 10000"/>
                    <a:gd name="connsiteY8" fmla="*/ 9219 h 10000"/>
                    <a:gd name="connsiteX9" fmla="*/ 8312 w 10000"/>
                    <a:gd name="connsiteY9" fmla="*/ 9128 h 10000"/>
                    <a:gd name="connsiteX10" fmla="*/ 5975 w 10000"/>
                    <a:gd name="connsiteY10" fmla="*/ 8799 h 10000"/>
                    <a:gd name="connsiteX11" fmla="*/ 5975 w 10000"/>
                    <a:gd name="connsiteY11" fmla="*/ 8799 h 10000"/>
                    <a:gd name="connsiteX12" fmla="*/ 5714 w 10000"/>
                    <a:gd name="connsiteY12" fmla="*/ 8746 h 10000"/>
                    <a:gd name="connsiteX13" fmla="*/ 5519 w 10000"/>
                    <a:gd name="connsiteY13" fmla="*/ 8691 h 10000"/>
                    <a:gd name="connsiteX14" fmla="*/ 5389 w 10000"/>
                    <a:gd name="connsiteY14" fmla="*/ 8636 h 10000"/>
                    <a:gd name="connsiteX15" fmla="*/ 5389 w 10000"/>
                    <a:gd name="connsiteY15" fmla="*/ 8636 h 10000"/>
                    <a:gd name="connsiteX16" fmla="*/ 7729 w 10000"/>
                    <a:gd name="connsiteY16" fmla="*/ 8617 h 10000"/>
                    <a:gd name="connsiteX17" fmla="*/ 10000 w 10000"/>
                    <a:gd name="connsiteY17" fmla="*/ 8799 h 10000"/>
                    <a:gd name="connsiteX18" fmla="*/ 10000 w 10000"/>
                    <a:gd name="connsiteY18" fmla="*/ 7147 h 10000"/>
                    <a:gd name="connsiteX19" fmla="*/ 10000 w 10000"/>
                    <a:gd name="connsiteY19" fmla="*/ 7147 h 10000"/>
                    <a:gd name="connsiteX20" fmla="*/ 7404 w 10000"/>
                    <a:gd name="connsiteY20" fmla="*/ 6762 h 10000"/>
                    <a:gd name="connsiteX21" fmla="*/ 5975 w 10000"/>
                    <a:gd name="connsiteY21" fmla="*/ 6546 h 10000"/>
                    <a:gd name="connsiteX22" fmla="*/ 5975 w 10000"/>
                    <a:gd name="connsiteY22" fmla="*/ 6546 h 10000"/>
                    <a:gd name="connsiteX23" fmla="*/ 5975 w 10000"/>
                    <a:gd name="connsiteY23" fmla="*/ 6528 h 10000"/>
                    <a:gd name="connsiteX24" fmla="*/ 5975 w 10000"/>
                    <a:gd name="connsiteY24" fmla="*/ 6419 h 10000"/>
                    <a:gd name="connsiteX25" fmla="*/ 5975 w 10000"/>
                    <a:gd name="connsiteY25" fmla="*/ 6419 h 10000"/>
                    <a:gd name="connsiteX26" fmla="*/ 5779 w 10000"/>
                    <a:gd name="connsiteY26" fmla="*/ 6289 h 10000"/>
                    <a:gd name="connsiteX27" fmla="*/ 5389 w 10000"/>
                    <a:gd name="connsiteY27" fmla="*/ 6090 h 10000"/>
                    <a:gd name="connsiteX28" fmla="*/ 4545 w 10000"/>
                    <a:gd name="connsiteY28" fmla="*/ 5710 h 10000"/>
                    <a:gd name="connsiteX29" fmla="*/ 4545 w 10000"/>
                    <a:gd name="connsiteY29" fmla="*/ 5710 h 10000"/>
                    <a:gd name="connsiteX30" fmla="*/ 4352 w 10000"/>
                    <a:gd name="connsiteY30" fmla="*/ 5655 h 10000"/>
                    <a:gd name="connsiteX31" fmla="*/ 4026 w 10000"/>
                    <a:gd name="connsiteY31" fmla="*/ 5582 h 10000"/>
                    <a:gd name="connsiteX32" fmla="*/ 3052 w 10000"/>
                    <a:gd name="connsiteY32" fmla="*/ 5418 h 10000"/>
                    <a:gd name="connsiteX33" fmla="*/ 1689 w 10000"/>
                    <a:gd name="connsiteY33" fmla="*/ 5219 h 10000"/>
                    <a:gd name="connsiteX34" fmla="*/ 1689 w 10000"/>
                    <a:gd name="connsiteY34" fmla="*/ 5219 h 10000"/>
                    <a:gd name="connsiteX35" fmla="*/ 1103 w 10000"/>
                    <a:gd name="connsiteY35" fmla="*/ 5199 h 10000"/>
                    <a:gd name="connsiteX36" fmla="*/ 650 w 10000"/>
                    <a:gd name="connsiteY36" fmla="*/ 5182 h 10000"/>
                    <a:gd name="connsiteX37" fmla="*/ 521 w 10000"/>
                    <a:gd name="connsiteY37" fmla="*/ 5162 h 10000"/>
                    <a:gd name="connsiteX38" fmla="*/ 390 w 10000"/>
                    <a:gd name="connsiteY38" fmla="*/ 5145 h 10000"/>
                    <a:gd name="connsiteX39" fmla="*/ 390 w 10000"/>
                    <a:gd name="connsiteY39" fmla="*/ 5145 h 10000"/>
                    <a:gd name="connsiteX40" fmla="*/ 261 w 10000"/>
                    <a:gd name="connsiteY40" fmla="*/ 5071 h 10000"/>
                    <a:gd name="connsiteX41" fmla="*/ 65 w 10000"/>
                    <a:gd name="connsiteY41" fmla="*/ 4948 h 10000"/>
                    <a:gd name="connsiteX42" fmla="*/ 0 w 10000"/>
                    <a:gd name="connsiteY42" fmla="*/ 4874 h 10000"/>
                    <a:gd name="connsiteX43" fmla="*/ 0 w 10000"/>
                    <a:gd name="connsiteY43" fmla="*/ 4799 h 10000"/>
                    <a:gd name="connsiteX44" fmla="*/ 0 w 10000"/>
                    <a:gd name="connsiteY44" fmla="*/ 4746 h 10000"/>
                    <a:gd name="connsiteX45" fmla="*/ 131 w 10000"/>
                    <a:gd name="connsiteY45" fmla="*/ 4690 h 10000"/>
                    <a:gd name="connsiteX46" fmla="*/ 131 w 10000"/>
                    <a:gd name="connsiteY46" fmla="*/ 4690 h 10000"/>
                    <a:gd name="connsiteX47" fmla="*/ 455 w 10000"/>
                    <a:gd name="connsiteY47" fmla="*/ 4599 h 10000"/>
                    <a:gd name="connsiteX48" fmla="*/ 779 w 10000"/>
                    <a:gd name="connsiteY48" fmla="*/ 4510 h 10000"/>
                    <a:gd name="connsiteX49" fmla="*/ 975 w 10000"/>
                    <a:gd name="connsiteY49" fmla="*/ 4456 h 10000"/>
                    <a:gd name="connsiteX50" fmla="*/ 1103 w 10000"/>
                    <a:gd name="connsiteY50" fmla="*/ 4400 h 10000"/>
                    <a:gd name="connsiteX51" fmla="*/ 1103 w 10000"/>
                    <a:gd name="connsiteY51" fmla="*/ 4327 h 10000"/>
                    <a:gd name="connsiteX52" fmla="*/ 1103 w 10000"/>
                    <a:gd name="connsiteY52" fmla="*/ 4236 h 10000"/>
                    <a:gd name="connsiteX53" fmla="*/ 1103 w 10000"/>
                    <a:gd name="connsiteY53" fmla="*/ 4236 h 10000"/>
                    <a:gd name="connsiteX54" fmla="*/ 845 w 10000"/>
                    <a:gd name="connsiteY54" fmla="*/ 3982 h 10000"/>
                    <a:gd name="connsiteX55" fmla="*/ 521 w 10000"/>
                    <a:gd name="connsiteY55" fmla="*/ 3636 h 10000"/>
                    <a:gd name="connsiteX56" fmla="*/ 261 w 10000"/>
                    <a:gd name="connsiteY56" fmla="*/ 3326 h 10000"/>
                    <a:gd name="connsiteX57" fmla="*/ 195 w 10000"/>
                    <a:gd name="connsiteY57" fmla="*/ 3236 h 10000"/>
                    <a:gd name="connsiteX58" fmla="*/ 195 w 10000"/>
                    <a:gd name="connsiteY58" fmla="*/ 3200 h 10000"/>
                    <a:gd name="connsiteX59" fmla="*/ 261 w 10000"/>
                    <a:gd name="connsiteY59" fmla="*/ 3180 h 10000"/>
                    <a:gd name="connsiteX60" fmla="*/ 261 w 10000"/>
                    <a:gd name="connsiteY60" fmla="*/ 3180 h 10000"/>
                    <a:gd name="connsiteX61" fmla="*/ 650 w 10000"/>
                    <a:gd name="connsiteY61" fmla="*/ 3163 h 10000"/>
                    <a:gd name="connsiteX62" fmla="*/ 908 w 10000"/>
                    <a:gd name="connsiteY62" fmla="*/ 3163 h 10000"/>
                    <a:gd name="connsiteX63" fmla="*/ 1103 w 10000"/>
                    <a:gd name="connsiteY63" fmla="*/ 3180 h 10000"/>
                    <a:gd name="connsiteX64" fmla="*/ 1103 w 10000"/>
                    <a:gd name="connsiteY64" fmla="*/ 3180 h 10000"/>
                    <a:gd name="connsiteX65" fmla="*/ 1168 w 10000"/>
                    <a:gd name="connsiteY65" fmla="*/ 3180 h 10000"/>
                    <a:gd name="connsiteX66" fmla="*/ 1235 w 10000"/>
                    <a:gd name="connsiteY66" fmla="*/ 3147 h 10000"/>
                    <a:gd name="connsiteX67" fmla="*/ 1559 w 10000"/>
                    <a:gd name="connsiteY67" fmla="*/ 3036 h 10000"/>
                    <a:gd name="connsiteX68" fmla="*/ 2402 w 10000"/>
                    <a:gd name="connsiteY68" fmla="*/ 2672 h 10000"/>
                    <a:gd name="connsiteX69" fmla="*/ 3507 w 10000"/>
                    <a:gd name="connsiteY69" fmla="*/ 2147 h 10000"/>
                    <a:gd name="connsiteX70" fmla="*/ 3507 w 10000"/>
                    <a:gd name="connsiteY70" fmla="*/ 2147 h 10000"/>
                    <a:gd name="connsiteX71" fmla="*/ 3507 w 10000"/>
                    <a:gd name="connsiteY71" fmla="*/ 2072 h 10000"/>
                    <a:gd name="connsiteX72" fmla="*/ 3507 w 10000"/>
                    <a:gd name="connsiteY72" fmla="*/ 1907 h 10000"/>
                    <a:gd name="connsiteX73" fmla="*/ 3573 w 10000"/>
                    <a:gd name="connsiteY73" fmla="*/ 1800 h 10000"/>
                    <a:gd name="connsiteX74" fmla="*/ 3702 w 10000"/>
                    <a:gd name="connsiteY74" fmla="*/ 1708 h 10000"/>
                    <a:gd name="connsiteX75" fmla="*/ 3896 w 10000"/>
                    <a:gd name="connsiteY75" fmla="*/ 1600 h 10000"/>
                    <a:gd name="connsiteX76" fmla="*/ 4156 w 10000"/>
                    <a:gd name="connsiteY76" fmla="*/ 1510 h 10000"/>
                    <a:gd name="connsiteX77" fmla="*/ 4156 w 10000"/>
                    <a:gd name="connsiteY77" fmla="*/ 1510 h 10000"/>
                    <a:gd name="connsiteX78" fmla="*/ 4806 w 10000"/>
                    <a:gd name="connsiteY78" fmla="*/ 1329 h 10000"/>
                    <a:gd name="connsiteX79" fmla="*/ 5455 w 10000"/>
                    <a:gd name="connsiteY79" fmla="*/ 1090 h 10000"/>
                    <a:gd name="connsiteX80" fmla="*/ 6104 w 10000"/>
                    <a:gd name="connsiteY80" fmla="*/ 872 h 10000"/>
                    <a:gd name="connsiteX81" fmla="*/ 6559 w 10000"/>
                    <a:gd name="connsiteY81" fmla="*/ 674 h 10000"/>
                    <a:gd name="connsiteX82" fmla="*/ 6559 w 10000"/>
                    <a:gd name="connsiteY82" fmla="*/ 674 h 10000"/>
                    <a:gd name="connsiteX83" fmla="*/ 6882 w 10000"/>
                    <a:gd name="connsiteY83" fmla="*/ 493 h 10000"/>
                    <a:gd name="connsiteX84" fmla="*/ 7273 w 10000"/>
                    <a:gd name="connsiteY84" fmla="*/ 271 h 10000"/>
                    <a:gd name="connsiteX85" fmla="*/ 7663 w 10000"/>
                    <a:gd name="connsiteY85" fmla="*/ 108 h 10000"/>
                    <a:gd name="connsiteX86" fmla="*/ 7856 w 10000"/>
                    <a:gd name="connsiteY86" fmla="*/ 33 h 10000"/>
                    <a:gd name="connsiteX87" fmla="*/ 8051 w 10000"/>
                    <a:gd name="connsiteY87" fmla="*/ 17 h 10000"/>
                    <a:gd name="connsiteX88" fmla="*/ 8051 w 10000"/>
                    <a:gd name="connsiteY88" fmla="*/ 17 h 10000"/>
                    <a:gd name="connsiteX89" fmla="*/ 8442 w 10000"/>
                    <a:gd name="connsiteY89" fmla="*/ 0 h 10000"/>
                    <a:gd name="connsiteX90" fmla="*/ 8961 w 10000"/>
                    <a:gd name="connsiteY90" fmla="*/ 0 h 10000"/>
                    <a:gd name="connsiteX91" fmla="*/ 10000 w 10000"/>
                    <a:gd name="connsiteY91" fmla="*/ 17 h 10000"/>
                    <a:gd name="connsiteX0" fmla="*/ 10000 w 10000"/>
                    <a:gd name="connsiteY0" fmla="*/ 17 h 9420"/>
                    <a:gd name="connsiteX1" fmla="*/ 7646 w 10000"/>
                    <a:gd name="connsiteY1" fmla="*/ 9411 h 9420"/>
                    <a:gd name="connsiteX2" fmla="*/ 8116 w 10000"/>
                    <a:gd name="connsiteY2" fmla="*/ 9420 h 9420"/>
                    <a:gd name="connsiteX3" fmla="*/ 8116 w 10000"/>
                    <a:gd name="connsiteY3" fmla="*/ 9420 h 9420"/>
                    <a:gd name="connsiteX4" fmla="*/ 8442 w 10000"/>
                    <a:gd name="connsiteY4" fmla="*/ 9383 h 9420"/>
                    <a:gd name="connsiteX5" fmla="*/ 8702 w 10000"/>
                    <a:gd name="connsiteY5" fmla="*/ 9292 h 9420"/>
                    <a:gd name="connsiteX6" fmla="*/ 8636 w 10000"/>
                    <a:gd name="connsiteY6" fmla="*/ 9255 h 9420"/>
                    <a:gd name="connsiteX7" fmla="*/ 8636 w 10000"/>
                    <a:gd name="connsiteY7" fmla="*/ 9219 h 9420"/>
                    <a:gd name="connsiteX8" fmla="*/ 8312 w 10000"/>
                    <a:gd name="connsiteY8" fmla="*/ 9128 h 9420"/>
                    <a:gd name="connsiteX9" fmla="*/ 5975 w 10000"/>
                    <a:gd name="connsiteY9" fmla="*/ 8799 h 9420"/>
                    <a:gd name="connsiteX10" fmla="*/ 5975 w 10000"/>
                    <a:gd name="connsiteY10" fmla="*/ 8799 h 9420"/>
                    <a:gd name="connsiteX11" fmla="*/ 5714 w 10000"/>
                    <a:gd name="connsiteY11" fmla="*/ 8746 h 9420"/>
                    <a:gd name="connsiteX12" fmla="*/ 5519 w 10000"/>
                    <a:gd name="connsiteY12" fmla="*/ 8691 h 9420"/>
                    <a:gd name="connsiteX13" fmla="*/ 5389 w 10000"/>
                    <a:gd name="connsiteY13" fmla="*/ 8636 h 9420"/>
                    <a:gd name="connsiteX14" fmla="*/ 5389 w 10000"/>
                    <a:gd name="connsiteY14" fmla="*/ 8636 h 9420"/>
                    <a:gd name="connsiteX15" fmla="*/ 7729 w 10000"/>
                    <a:gd name="connsiteY15" fmla="*/ 8617 h 9420"/>
                    <a:gd name="connsiteX16" fmla="*/ 10000 w 10000"/>
                    <a:gd name="connsiteY16" fmla="*/ 8799 h 9420"/>
                    <a:gd name="connsiteX17" fmla="*/ 10000 w 10000"/>
                    <a:gd name="connsiteY17" fmla="*/ 7147 h 9420"/>
                    <a:gd name="connsiteX18" fmla="*/ 10000 w 10000"/>
                    <a:gd name="connsiteY18" fmla="*/ 7147 h 9420"/>
                    <a:gd name="connsiteX19" fmla="*/ 7404 w 10000"/>
                    <a:gd name="connsiteY19" fmla="*/ 6762 h 9420"/>
                    <a:gd name="connsiteX20" fmla="*/ 5975 w 10000"/>
                    <a:gd name="connsiteY20" fmla="*/ 6546 h 9420"/>
                    <a:gd name="connsiteX21" fmla="*/ 5975 w 10000"/>
                    <a:gd name="connsiteY21" fmla="*/ 6546 h 9420"/>
                    <a:gd name="connsiteX22" fmla="*/ 5975 w 10000"/>
                    <a:gd name="connsiteY22" fmla="*/ 6528 h 9420"/>
                    <a:gd name="connsiteX23" fmla="*/ 5975 w 10000"/>
                    <a:gd name="connsiteY23" fmla="*/ 6419 h 9420"/>
                    <a:gd name="connsiteX24" fmla="*/ 5975 w 10000"/>
                    <a:gd name="connsiteY24" fmla="*/ 6419 h 9420"/>
                    <a:gd name="connsiteX25" fmla="*/ 5779 w 10000"/>
                    <a:gd name="connsiteY25" fmla="*/ 6289 h 9420"/>
                    <a:gd name="connsiteX26" fmla="*/ 5389 w 10000"/>
                    <a:gd name="connsiteY26" fmla="*/ 6090 h 9420"/>
                    <a:gd name="connsiteX27" fmla="*/ 4545 w 10000"/>
                    <a:gd name="connsiteY27" fmla="*/ 5710 h 9420"/>
                    <a:gd name="connsiteX28" fmla="*/ 4545 w 10000"/>
                    <a:gd name="connsiteY28" fmla="*/ 5710 h 9420"/>
                    <a:gd name="connsiteX29" fmla="*/ 4352 w 10000"/>
                    <a:gd name="connsiteY29" fmla="*/ 5655 h 9420"/>
                    <a:gd name="connsiteX30" fmla="*/ 4026 w 10000"/>
                    <a:gd name="connsiteY30" fmla="*/ 5582 h 9420"/>
                    <a:gd name="connsiteX31" fmla="*/ 3052 w 10000"/>
                    <a:gd name="connsiteY31" fmla="*/ 5418 h 9420"/>
                    <a:gd name="connsiteX32" fmla="*/ 1689 w 10000"/>
                    <a:gd name="connsiteY32" fmla="*/ 5219 h 9420"/>
                    <a:gd name="connsiteX33" fmla="*/ 1689 w 10000"/>
                    <a:gd name="connsiteY33" fmla="*/ 5219 h 9420"/>
                    <a:gd name="connsiteX34" fmla="*/ 1103 w 10000"/>
                    <a:gd name="connsiteY34" fmla="*/ 5199 h 9420"/>
                    <a:gd name="connsiteX35" fmla="*/ 650 w 10000"/>
                    <a:gd name="connsiteY35" fmla="*/ 5182 h 9420"/>
                    <a:gd name="connsiteX36" fmla="*/ 521 w 10000"/>
                    <a:gd name="connsiteY36" fmla="*/ 5162 h 9420"/>
                    <a:gd name="connsiteX37" fmla="*/ 390 w 10000"/>
                    <a:gd name="connsiteY37" fmla="*/ 5145 h 9420"/>
                    <a:gd name="connsiteX38" fmla="*/ 390 w 10000"/>
                    <a:gd name="connsiteY38" fmla="*/ 5145 h 9420"/>
                    <a:gd name="connsiteX39" fmla="*/ 261 w 10000"/>
                    <a:gd name="connsiteY39" fmla="*/ 5071 h 9420"/>
                    <a:gd name="connsiteX40" fmla="*/ 65 w 10000"/>
                    <a:gd name="connsiteY40" fmla="*/ 4948 h 9420"/>
                    <a:gd name="connsiteX41" fmla="*/ 0 w 10000"/>
                    <a:gd name="connsiteY41" fmla="*/ 4874 h 9420"/>
                    <a:gd name="connsiteX42" fmla="*/ 0 w 10000"/>
                    <a:gd name="connsiteY42" fmla="*/ 4799 h 9420"/>
                    <a:gd name="connsiteX43" fmla="*/ 0 w 10000"/>
                    <a:gd name="connsiteY43" fmla="*/ 4746 h 9420"/>
                    <a:gd name="connsiteX44" fmla="*/ 131 w 10000"/>
                    <a:gd name="connsiteY44" fmla="*/ 4690 h 9420"/>
                    <a:gd name="connsiteX45" fmla="*/ 131 w 10000"/>
                    <a:gd name="connsiteY45" fmla="*/ 4690 h 9420"/>
                    <a:gd name="connsiteX46" fmla="*/ 455 w 10000"/>
                    <a:gd name="connsiteY46" fmla="*/ 4599 h 9420"/>
                    <a:gd name="connsiteX47" fmla="*/ 779 w 10000"/>
                    <a:gd name="connsiteY47" fmla="*/ 4510 h 9420"/>
                    <a:gd name="connsiteX48" fmla="*/ 975 w 10000"/>
                    <a:gd name="connsiteY48" fmla="*/ 4456 h 9420"/>
                    <a:gd name="connsiteX49" fmla="*/ 1103 w 10000"/>
                    <a:gd name="connsiteY49" fmla="*/ 4400 h 9420"/>
                    <a:gd name="connsiteX50" fmla="*/ 1103 w 10000"/>
                    <a:gd name="connsiteY50" fmla="*/ 4327 h 9420"/>
                    <a:gd name="connsiteX51" fmla="*/ 1103 w 10000"/>
                    <a:gd name="connsiteY51" fmla="*/ 4236 h 9420"/>
                    <a:gd name="connsiteX52" fmla="*/ 1103 w 10000"/>
                    <a:gd name="connsiteY52" fmla="*/ 4236 h 9420"/>
                    <a:gd name="connsiteX53" fmla="*/ 845 w 10000"/>
                    <a:gd name="connsiteY53" fmla="*/ 3982 h 9420"/>
                    <a:gd name="connsiteX54" fmla="*/ 521 w 10000"/>
                    <a:gd name="connsiteY54" fmla="*/ 3636 h 9420"/>
                    <a:gd name="connsiteX55" fmla="*/ 261 w 10000"/>
                    <a:gd name="connsiteY55" fmla="*/ 3326 h 9420"/>
                    <a:gd name="connsiteX56" fmla="*/ 195 w 10000"/>
                    <a:gd name="connsiteY56" fmla="*/ 3236 h 9420"/>
                    <a:gd name="connsiteX57" fmla="*/ 195 w 10000"/>
                    <a:gd name="connsiteY57" fmla="*/ 3200 h 9420"/>
                    <a:gd name="connsiteX58" fmla="*/ 261 w 10000"/>
                    <a:gd name="connsiteY58" fmla="*/ 3180 h 9420"/>
                    <a:gd name="connsiteX59" fmla="*/ 261 w 10000"/>
                    <a:gd name="connsiteY59" fmla="*/ 3180 h 9420"/>
                    <a:gd name="connsiteX60" fmla="*/ 650 w 10000"/>
                    <a:gd name="connsiteY60" fmla="*/ 3163 h 9420"/>
                    <a:gd name="connsiteX61" fmla="*/ 908 w 10000"/>
                    <a:gd name="connsiteY61" fmla="*/ 3163 h 9420"/>
                    <a:gd name="connsiteX62" fmla="*/ 1103 w 10000"/>
                    <a:gd name="connsiteY62" fmla="*/ 3180 h 9420"/>
                    <a:gd name="connsiteX63" fmla="*/ 1103 w 10000"/>
                    <a:gd name="connsiteY63" fmla="*/ 3180 h 9420"/>
                    <a:gd name="connsiteX64" fmla="*/ 1168 w 10000"/>
                    <a:gd name="connsiteY64" fmla="*/ 3180 h 9420"/>
                    <a:gd name="connsiteX65" fmla="*/ 1235 w 10000"/>
                    <a:gd name="connsiteY65" fmla="*/ 3147 h 9420"/>
                    <a:gd name="connsiteX66" fmla="*/ 1559 w 10000"/>
                    <a:gd name="connsiteY66" fmla="*/ 3036 h 9420"/>
                    <a:gd name="connsiteX67" fmla="*/ 2402 w 10000"/>
                    <a:gd name="connsiteY67" fmla="*/ 2672 h 9420"/>
                    <a:gd name="connsiteX68" fmla="*/ 3507 w 10000"/>
                    <a:gd name="connsiteY68" fmla="*/ 2147 h 9420"/>
                    <a:gd name="connsiteX69" fmla="*/ 3507 w 10000"/>
                    <a:gd name="connsiteY69" fmla="*/ 2147 h 9420"/>
                    <a:gd name="connsiteX70" fmla="*/ 3507 w 10000"/>
                    <a:gd name="connsiteY70" fmla="*/ 2072 h 9420"/>
                    <a:gd name="connsiteX71" fmla="*/ 3507 w 10000"/>
                    <a:gd name="connsiteY71" fmla="*/ 1907 h 9420"/>
                    <a:gd name="connsiteX72" fmla="*/ 3573 w 10000"/>
                    <a:gd name="connsiteY72" fmla="*/ 1800 h 9420"/>
                    <a:gd name="connsiteX73" fmla="*/ 3702 w 10000"/>
                    <a:gd name="connsiteY73" fmla="*/ 1708 h 9420"/>
                    <a:gd name="connsiteX74" fmla="*/ 3896 w 10000"/>
                    <a:gd name="connsiteY74" fmla="*/ 1600 h 9420"/>
                    <a:gd name="connsiteX75" fmla="*/ 4156 w 10000"/>
                    <a:gd name="connsiteY75" fmla="*/ 1510 h 9420"/>
                    <a:gd name="connsiteX76" fmla="*/ 4156 w 10000"/>
                    <a:gd name="connsiteY76" fmla="*/ 1510 h 9420"/>
                    <a:gd name="connsiteX77" fmla="*/ 4806 w 10000"/>
                    <a:gd name="connsiteY77" fmla="*/ 1329 h 9420"/>
                    <a:gd name="connsiteX78" fmla="*/ 5455 w 10000"/>
                    <a:gd name="connsiteY78" fmla="*/ 1090 h 9420"/>
                    <a:gd name="connsiteX79" fmla="*/ 6104 w 10000"/>
                    <a:gd name="connsiteY79" fmla="*/ 872 h 9420"/>
                    <a:gd name="connsiteX80" fmla="*/ 6559 w 10000"/>
                    <a:gd name="connsiteY80" fmla="*/ 674 h 9420"/>
                    <a:gd name="connsiteX81" fmla="*/ 6559 w 10000"/>
                    <a:gd name="connsiteY81" fmla="*/ 674 h 9420"/>
                    <a:gd name="connsiteX82" fmla="*/ 6882 w 10000"/>
                    <a:gd name="connsiteY82" fmla="*/ 493 h 9420"/>
                    <a:gd name="connsiteX83" fmla="*/ 7273 w 10000"/>
                    <a:gd name="connsiteY83" fmla="*/ 271 h 9420"/>
                    <a:gd name="connsiteX84" fmla="*/ 7663 w 10000"/>
                    <a:gd name="connsiteY84" fmla="*/ 108 h 9420"/>
                    <a:gd name="connsiteX85" fmla="*/ 7856 w 10000"/>
                    <a:gd name="connsiteY85" fmla="*/ 33 h 9420"/>
                    <a:gd name="connsiteX86" fmla="*/ 8051 w 10000"/>
                    <a:gd name="connsiteY86" fmla="*/ 17 h 9420"/>
                    <a:gd name="connsiteX87" fmla="*/ 8051 w 10000"/>
                    <a:gd name="connsiteY87" fmla="*/ 17 h 9420"/>
                    <a:gd name="connsiteX88" fmla="*/ 8442 w 10000"/>
                    <a:gd name="connsiteY88" fmla="*/ 0 h 9420"/>
                    <a:gd name="connsiteX89" fmla="*/ 8961 w 10000"/>
                    <a:gd name="connsiteY89" fmla="*/ 0 h 9420"/>
                    <a:gd name="connsiteX90" fmla="*/ 10000 w 10000"/>
                    <a:gd name="connsiteY90" fmla="*/ 17 h 942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116 w 10000"/>
                    <a:gd name="connsiteY2" fmla="*/ 10000 h 10000"/>
                    <a:gd name="connsiteX3" fmla="*/ 8442 w 10000"/>
                    <a:gd name="connsiteY3" fmla="*/ 9961 h 10000"/>
                    <a:gd name="connsiteX4" fmla="*/ 8702 w 10000"/>
                    <a:gd name="connsiteY4" fmla="*/ 9864 h 10000"/>
                    <a:gd name="connsiteX5" fmla="*/ 8636 w 10000"/>
                    <a:gd name="connsiteY5" fmla="*/ 9825 h 10000"/>
                    <a:gd name="connsiteX6" fmla="*/ 8636 w 10000"/>
                    <a:gd name="connsiteY6" fmla="*/ 9787 h 10000"/>
                    <a:gd name="connsiteX7" fmla="*/ 8312 w 10000"/>
                    <a:gd name="connsiteY7" fmla="*/ 9690 h 10000"/>
                    <a:gd name="connsiteX8" fmla="*/ 5975 w 10000"/>
                    <a:gd name="connsiteY8" fmla="*/ 9341 h 10000"/>
                    <a:gd name="connsiteX9" fmla="*/ 5975 w 10000"/>
                    <a:gd name="connsiteY9" fmla="*/ 9341 h 10000"/>
                    <a:gd name="connsiteX10" fmla="*/ 5714 w 10000"/>
                    <a:gd name="connsiteY10" fmla="*/ 9285 h 10000"/>
                    <a:gd name="connsiteX11" fmla="*/ 5519 w 10000"/>
                    <a:gd name="connsiteY11" fmla="*/ 9226 h 10000"/>
                    <a:gd name="connsiteX12" fmla="*/ 5389 w 10000"/>
                    <a:gd name="connsiteY12" fmla="*/ 9168 h 10000"/>
                    <a:gd name="connsiteX13" fmla="*/ 5389 w 10000"/>
                    <a:gd name="connsiteY13" fmla="*/ 9168 h 10000"/>
                    <a:gd name="connsiteX14" fmla="*/ 7729 w 10000"/>
                    <a:gd name="connsiteY14" fmla="*/ 9148 h 10000"/>
                    <a:gd name="connsiteX15" fmla="*/ 10000 w 10000"/>
                    <a:gd name="connsiteY15" fmla="*/ 9341 h 10000"/>
                    <a:gd name="connsiteX16" fmla="*/ 10000 w 10000"/>
                    <a:gd name="connsiteY16" fmla="*/ 7587 h 10000"/>
                    <a:gd name="connsiteX17" fmla="*/ 10000 w 10000"/>
                    <a:gd name="connsiteY17" fmla="*/ 7587 h 10000"/>
                    <a:gd name="connsiteX18" fmla="*/ 7404 w 10000"/>
                    <a:gd name="connsiteY18" fmla="*/ 7178 h 10000"/>
                    <a:gd name="connsiteX19" fmla="*/ 5975 w 10000"/>
                    <a:gd name="connsiteY19" fmla="*/ 6949 h 10000"/>
                    <a:gd name="connsiteX20" fmla="*/ 5975 w 10000"/>
                    <a:gd name="connsiteY20" fmla="*/ 6949 h 10000"/>
                    <a:gd name="connsiteX21" fmla="*/ 5975 w 10000"/>
                    <a:gd name="connsiteY21" fmla="*/ 6930 h 10000"/>
                    <a:gd name="connsiteX22" fmla="*/ 5975 w 10000"/>
                    <a:gd name="connsiteY22" fmla="*/ 6814 h 10000"/>
                    <a:gd name="connsiteX23" fmla="*/ 5975 w 10000"/>
                    <a:gd name="connsiteY23" fmla="*/ 6814 h 10000"/>
                    <a:gd name="connsiteX24" fmla="*/ 5779 w 10000"/>
                    <a:gd name="connsiteY24" fmla="*/ 6676 h 10000"/>
                    <a:gd name="connsiteX25" fmla="*/ 5389 w 10000"/>
                    <a:gd name="connsiteY25" fmla="*/ 6465 h 10000"/>
                    <a:gd name="connsiteX26" fmla="*/ 4545 w 10000"/>
                    <a:gd name="connsiteY26" fmla="*/ 6062 h 10000"/>
                    <a:gd name="connsiteX27" fmla="*/ 4545 w 10000"/>
                    <a:gd name="connsiteY27" fmla="*/ 6062 h 10000"/>
                    <a:gd name="connsiteX28" fmla="*/ 4352 w 10000"/>
                    <a:gd name="connsiteY28" fmla="*/ 6003 h 10000"/>
                    <a:gd name="connsiteX29" fmla="*/ 4026 w 10000"/>
                    <a:gd name="connsiteY29" fmla="*/ 5926 h 10000"/>
                    <a:gd name="connsiteX30" fmla="*/ 3052 w 10000"/>
                    <a:gd name="connsiteY30" fmla="*/ 5752 h 10000"/>
                    <a:gd name="connsiteX31" fmla="*/ 1689 w 10000"/>
                    <a:gd name="connsiteY31" fmla="*/ 5540 h 10000"/>
                    <a:gd name="connsiteX32" fmla="*/ 1689 w 10000"/>
                    <a:gd name="connsiteY32" fmla="*/ 5540 h 10000"/>
                    <a:gd name="connsiteX33" fmla="*/ 1103 w 10000"/>
                    <a:gd name="connsiteY33" fmla="*/ 5519 h 10000"/>
                    <a:gd name="connsiteX34" fmla="*/ 650 w 10000"/>
                    <a:gd name="connsiteY34" fmla="*/ 5501 h 10000"/>
                    <a:gd name="connsiteX35" fmla="*/ 521 w 10000"/>
                    <a:gd name="connsiteY35" fmla="*/ 5480 h 10000"/>
                    <a:gd name="connsiteX36" fmla="*/ 390 w 10000"/>
                    <a:gd name="connsiteY36" fmla="*/ 5462 h 10000"/>
                    <a:gd name="connsiteX37" fmla="*/ 390 w 10000"/>
                    <a:gd name="connsiteY37" fmla="*/ 5462 h 10000"/>
                    <a:gd name="connsiteX38" fmla="*/ 261 w 10000"/>
                    <a:gd name="connsiteY38" fmla="*/ 5383 h 10000"/>
                    <a:gd name="connsiteX39" fmla="*/ 65 w 10000"/>
                    <a:gd name="connsiteY39" fmla="*/ 5253 h 10000"/>
                    <a:gd name="connsiteX40" fmla="*/ 0 w 10000"/>
                    <a:gd name="connsiteY40" fmla="*/ 5174 h 10000"/>
                    <a:gd name="connsiteX41" fmla="*/ 0 w 10000"/>
                    <a:gd name="connsiteY41" fmla="*/ 5094 h 10000"/>
                    <a:gd name="connsiteX42" fmla="*/ 0 w 10000"/>
                    <a:gd name="connsiteY42" fmla="*/ 5038 h 10000"/>
                    <a:gd name="connsiteX43" fmla="*/ 131 w 10000"/>
                    <a:gd name="connsiteY43" fmla="*/ 4979 h 10000"/>
                    <a:gd name="connsiteX44" fmla="*/ 131 w 10000"/>
                    <a:gd name="connsiteY44" fmla="*/ 4979 h 10000"/>
                    <a:gd name="connsiteX45" fmla="*/ 455 w 10000"/>
                    <a:gd name="connsiteY45" fmla="*/ 4882 h 10000"/>
                    <a:gd name="connsiteX46" fmla="*/ 779 w 10000"/>
                    <a:gd name="connsiteY46" fmla="*/ 4788 h 10000"/>
                    <a:gd name="connsiteX47" fmla="*/ 975 w 10000"/>
                    <a:gd name="connsiteY47" fmla="*/ 4730 h 10000"/>
                    <a:gd name="connsiteX48" fmla="*/ 1103 w 10000"/>
                    <a:gd name="connsiteY48" fmla="*/ 4671 h 10000"/>
                    <a:gd name="connsiteX49" fmla="*/ 1103 w 10000"/>
                    <a:gd name="connsiteY49" fmla="*/ 4593 h 10000"/>
                    <a:gd name="connsiteX50" fmla="*/ 1103 w 10000"/>
                    <a:gd name="connsiteY50" fmla="*/ 4497 h 10000"/>
                    <a:gd name="connsiteX51" fmla="*/ 1103 w 10000"/>
                    <a:gd name="connsiteY51" fmla="*/ 4497 h 10000"/>
                    <a:gd name="connsiteX52" fmla="*/ 845 w 10000"/>
                    <a:gd name="connsiteY52" fmla="*/ 4227 h 10000"/>
                    <a:gd name="connsiteX53" fmla="*/ 521 w 10000"/>
                    <a:gd name="connsiteY53" fmla="*/ 3860 h 10000"/>
                    <a:gd name="connsiteX54" fmla="*/ 261 w 10000"/>
                    <a:gd name="connsiteY54" fmla="*/ 3531 h 10000"/>
                    <a:gd name="connsiteX55" fmla="*/ 195 w 10000"/>
                    <a:gd name="connsiteY55" fmla="*/ 3435 h 10000"/>
                    <a:gd name="connsiteX56" fmla="*/ 195 w 10000"/>
                    <a:gd name="connsiteY56" fmla="*/ 3397 h 10000"/>
                    <a:gd name="connsiteX57" fmla="*/ 261 w 10000"/>
                    <a:gd name="connsiteY57" fmla="*/ 3376 h 10000"/>
                    <a:gd name="connsiteX58" fmla="*/ 261 w 10000"/>
                    <a:gd name="connsiteY58" fmla="*/ 3376 h 10000"/>
                    <a:gd name="connsiteX59" fmla="*/ 650 w 10000"/>
                    <a:gd name="connsiteY59" fmla="*/ 3358 h 10000"/>
                    <a:gd name="connsiteX60" fmla="*/ 908 w 10000"/>
                    <a:gd name="connsiteY60" fmla="*/ 3358 h 10000"/>
                    <a:gd name="connsiteX61" fmla="*/ 1103 w 10000"/>
                    <a:gd name="connsiteY61" fmla="*/ 3376 h 10000"/>
                    <a:gd name="connsiteX62" fmla="*/ 1103 w 10000"/>
                    <a:gd name="connsiteY62" fmla="*/ 3376 h 10000"/>
                    <a:gd name="connsiteX63" fmla="*/ 1168 w 10000"/>
                    <a:gd name="connsiteY63" fmla="*/ 3376 h 10000"/>
                    <a:gd name="connsiteX64" fmla="*/ 1235 w 10000"/>
                    <a:gd name="connsiteY64" fmla="*/ 3341 h 10000"/>
                    <a:gd name="connsiteX65" fmla="*/ 1559 w 10000"/>
                    <a:gd name="connsiteY65" fmla="*/ 3223 h 10000"/>
                    <a:gd name="connsiteX66" fmla="*/ 2402 w 10000"/>
                    <a:gd name="connsiteY66" fmla="*/ 2837 h 10000"/>
                    <a:gd name="connsiteX67" fmla="*/ 3507 w 10000"/>
                    <a:gd name="connsiteY67" fmla="*/ 2279 h 10000"/>
                    <a:gd name="connsiteX68" fmla="*/ 3507 w 10000"/>
                    <a:gd name="connsiteY68" fmla="*/ 2279 h 10000"/>
                    <a:gd name="connsiteX69" fmla="*/ 3507 w 10000"/>
                    <a:gd name="connsiteY69" fmla="*/ 2200 h 10000"/>
                    <a:gd name="connsiteX70" fmla="*/ 3507 w 10000"/>
                    <a:gd name="connsiteY70" fmla="*/ 2024 h 10000"/>
                    <a:gd name="connsiteX71" fmla="*/ 3573 w 10000"/>
                    <a:gd name="connsiteY71" fmla="*/ 1911 h 10000"/>
                    <a:gd name="connsiteX72" fmla="*/ 3702 w 10000"/>
                    <a:gd name="connsiteY72" fmla="*/ 1813 h 10000"/>
                    <a:gd name="connsiteX73" fmla="*/ 3896 w 10000"/>
                    <a:gd name="connsiteY73" fmla="*/ 1699 h 10000"/>
                    <a:gd name="connsiteX74" fmla="*/ 4156 w 10000"/>
                    <a:gd name="connsiteY74" fmla="*/ 1603 h 10000"/>
                    <a:gd name="connsiteX75" fmla="*/ 4156 w 10000"/>
                    <a:gd name="connsiteY75" fmla="*/ 1603 h 10000"/>
                    <a:gd name="connsiteX76" fmla="*/ 4806 w 10000"/>
                    <a:gd name="connsiteY76" fmla="*/ 1411 h 10000"/>
                    <a:gd name="connsiteX77" fmla="*/ 5455 w 10000"/>
                    <a:gd name="connsiteY77" fmla="*/ 1157 h 10000"/>
                    <a:gd name="connsiteX78" fmla="*/ 6104 w 10000"/>
                    <a:gd name="connsiteY78" fmla="*/ 926 h 10000"/>
                    <a:gd name="connsiteX79" fmla="*/ 6559 w 10000"/>
                    <a:gd name="connsiteY79" fmla="*/ 715 h 10000"/>
                    <a:gd name="connsiteX80" fmla="*/ 6559 w 10000"/>
                    <a:gd name="connsiteY80" fmla="*/ 715 h 10000"/>
                    <a:gd name="connsiteX81" fmla="*/ 6882 w 10000"/>
                    <a:gd name="connsiteY81" fmla="*/ 523 h 10000"/>
                    <a:gd name="connsiteX82" fmla="*/ 7273 w 10000"/>
                    <a:gd name="connsiteY82" fmla="*/ 288 h 10000"/>
                    <a:gd name="connsiteX83" fmla="*/ 7663 w 10000"/>
                    <a:gd name="connsiteY83" fmla="*/ 115 h 10000"/>
                    <a:gd name="connsiteX84" fmla="*/ 7856 w 10000"/>
                    <a:gd name="connsiteY84" fmla="*/ 35 h 10000"/>
                    <a:gd name="connsiteX85" fmla="*/ 8051 w 10000"/>
                    <a:gd name="connsiteY85" fmla="*/ 18 h 10000"/>
                    <a:gd name="connsiteX86" fmla="*/ 8051 w 10000"/>
                    <a:gd name="connsiteY86" fmla="*/ 18 h 10000"/>
                    <a:gd name="connsiteX87" fmla="*/ 8442 w 10000"/>
                    <a:gd name="connsiteY87" fmla="*/ 0 h 10000"/>
                    <a:gd name="connsiteX88" fmla="*/ 8961 w 10000"/>
                    <a:gd name="connsiteY88" fmla="*/ 0 h 10000"/>
                    <a:gd name="connsiteX89" fmla="*/ 10000 w 10000"/>
                    <a:gd name="connsiteY89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5389 w 10000"/>
                    <a:gd name="connsiteY11" fmla="*/ 9168 h 10000"/>
                    <a:gd name="connsiteX12" fmla="*/ 5389 w 10000"/>
                    <a:gd name="connsiteY12" fmla="*/ 9168 h 10000"/>
                    <a:gd name="connsiteX13" fmla="*/ 7729 w 10000"/>
                    <a:gd name="connsiteY13" fmla="*/ 9148 h 10000"/>
                    <a:gd name="connsiteX14" fmla="*/ 10000 w 10000"/>
                    <a:gd name="connsiteY14" fmla="*/ 9341 h 10000"/>
                    <a:gd name="connsiteX15" fmla="*/ 10000 w 10000"/>
                    <a:gd name="connsiteY15" fmla="*/ 7587 h 10000"/>
                    <a:gd name="connsiteX16" fmla="*/ 10000 w 10000"/>
                    <a:gd name="connsiteY16" fmla="*/ 7587 h 10000"/>
                    <a:gd name="connsiteX17" fmla="*/ 7404 w 10000"/>
                    <a:gd name="connsiteY17" fmla="*/ 7178 h 10000"/>
                    <a:gd name="connsiteX18" fmla="*/ 5975 w 10000"/>
                    <a:gd name="connsiteY18" fmla="*/ 6949 h 10000"/>
                    <a:gd name="connsiteX19" fmla="*/ 5975 w 10000"/>
                    <a:gd name="connsiteY19" fmla="*/ 6949 h 10000"/>
                    <a:gd name="connsiteX20" fmla="*/ 5975 w 10000"/>
                    <a:gd name="connsiteY20" fmla="*/ 6930 h 10000"/>
                    <a:gd name="connsiteX21" fmla="*/ 5975 w 10000"/>
                    <a:gd name="connsiteY21" fmla="*/ 6814 h 10000"/>
                    <a:gd name="connsiteX22" fmla="*/ 5975 w 10000"/>
                    <a:gd name="connsiteY22" fmla="*/ 6814 h 10000"/>
                    <a:gd name="connsiteX23" fmla="*/ 5779 w 10000"/>
                    <a:gd name="connsiteY23" fmla="*/ 6676 h 10000"/>
                    <a:gd name="connsiteX24" fmla="*/ 5389 w 10000"/>
                    <a:gd name="connsiteY24" fmla="*/ 6465 h 10000"/>
                    <a:gd name="connsiteX25" fmla="*/ 4545 w 10000"/>
                    <a:gd name="connsiteY25" fmla="*/ 6062 h 10000"/>
                    <a:gd name="connsiteX26" fmla="*/ 4545 w 10000"/>
                    <a:gd name="connsiteY26" fmla="*/ 6062 h 10000"/>
                    <a:gd name="connsiteX27" fmla="*/ 4352 w 10000"/>
                    <a:gd name="connsiteY27" fmla="*/ 6003 h 10000"/>
                    <a:gd name="connsiteX28" fmla="*/ 4026 w 10000"/>
                    <a:gd name="connsiteY28" fmla="*/ 5926 h 10000"/>
                    <a:gd name="connsiteX29" fmla="*/ 3052 w 10000"/>
                    <a:gd name="connsiteY29" fmla="*/ 5752 h 10000"/>
                    <a:gd name="connsiteX30" fmla="*/ 1689 w 10000"/>
                    <a:gd name="connsiteY30" fmla="*/ 5540 h 10000"/>
                    <a:gd name="connsiteX31" fmla="*/ 1689 w 10000"/>
                    <a:gd name="connsiteY31" fmla="*/ 5540 h 10000"/>
                    <a:gd name="connsiteX32" fmla="*/ 1103 w 10000"/>
                    <a:gd name="connsiteY32" fmla="*/ 5519 h 10000"/>
                    <a:gd name="connsiteX33" fmla="*/ 650 w 10000"/>
                    <a:gd name="connsiteY33" fmla="*/ 5501 h 10000"/>
                    <a:gd name="connsiteX34" fmla="*/ 521 w 10000"/>
                    <a:gd name="connsiteY34" fmla="*/ 5480 h 10000"/>
                    <a:gd name="connsiteX35" fmla="*/ 390 w 10000"/>
                    <a:gd name="connsiteY35" fmla="*/ 5462 h 10000"/>
                    <a:gd name="connsiteX36" fmla="*/ 390 w 10000"/>
                    <a:gd name="connsiteY36" fmla="*/ 5462 h 10000"/>
                    <a:gd name="connsiteX37" fmla="*/ 261 w 10000"/>
                    <a:gd name="connsiteY37" fmla="*/ 5383 h 10000"/>
                    <a:gd name="connsiteX38" fmla="*/ 65 w 10000"/>
                    <a:gd name="connsiteY38" fmla="*/ 5253 h 10000"/>
                    <a:gd name="connsiteX39" fmla="*/ 0 w 10000"/>
                    <a:gd name="connsiteY39" fmla="*/ 5174 h 10000"/>
                    <a:gd name="connsiteX40" fmla="*/ 0 w 10000"/>
                    <a:gd name="connsiteY40" fmla="*/ 5094 h 10000"/>
                    <a:gd name="connsiteX41" fmla="*/ 0 w 10000"/>
                    <a:gd name="connsiteY41" fmla="*/ 5038 h 10000"/>
                    <a:gd name="connsiteX42" fmla="*/ 131 w 10000"/>
                    <a:gd name="connsiteY42" fmla="*/ 4979 h 10000"/>
                    <a:gd name="connsiteX43" fmla="*/ 131 w 10000"/>
                    <a:gd name="connsiteY43" fmla="*/ 4979 h 10000"/>
                    <a:gd name="connsiteX44" fmla="*/ 455 w 10000"/>
                    <a:gd name="connsiteY44" fmla="*/ 4882 h 10000"/>
                    <a:gd name="connsiteX45" fmla="*/ 779 w 10000"/>
                    <a:gd name="connsiteY45" fmla="*/ 4788 h 10000"/>
                    <a:gd name="connsiteX46" fmla="*/ 975 w 10000"/>
                    <a:gd name="connsiteY46" fmla="*/ 4730 h 10000"/>
                    <a:gd name="connsiteX47" fmla="*/ 1103 w 10000"/>
                    <a:gd name="connsiteY47" fmla="*/ 4671 h 10000"/>
                    <a:gd name="connsiteX48" fmla="*/ 1103 w 10000"/>
                    <a:gd name="connsiteY48" fmla="*/ 4593 h 10000"/>
                    <a:gd name="connsiteX49" fmla="*/ 1103 w 10000"/>
                    <a:gd name="connsiteY49" fmla="*/ 4497 h 10000"/>
                    <a:gd name="connsiteX50" fmla="*/ 1103 w 10000"/>
                    <a:gd name="connsiteY50" fmla="*/ 4497 h 10000"/>
                    <a:gd name="connsiteX51" fmla="*/ 845 w 10000"/>
                    <a:gd name="connsiteY51" fmla="*/ 4227 h 10000"/>
                    <a:gd name="connsiteX52" fmla="*/ 521 w 10000"/>
                    <a:gd name="connsiteY52" fmla="*/ 3860 h 10000"/>
                    <a:gd name="connsiteX53" fmla="*/ 261 w 10000"/>
                    <a:gd name="connsiteY53" fmla="*/ 3531 h 10000"/>
                    <a:gd name="connsiteX54" fmla="*/ 195 w 10000"/>
                    <a:gd name="connsiteY54" fmla="*/ 3435 h 10000"/>
                    <a:gd name="connsiteX55" fmla="*/ 195 w 10000"/>
                    <a:gd name="connsiteY55" fmla="*/ 3397 h 10000"/>
                    <a:gd name="connsiteX56" fmla="*/ 261 w 10000"/>
                    <a:gd name="connsiteY56" fmla="*/ 3376 h 10000"/>
                    <a:gd name="connsiteX57" fmla="*/ 261 w 10000"/>
                    <a:gd name="connsiteY57" fmla="*/ 3376 h 10000"/>
                    <a:gd name="connsiteX58" fmla="*/ 650 w 10000"/>
                    <a:gd name="connsiteY58" fmla="*/ 3358 h 10000"/>
                    <a:gd name="connsiteX59" fmla="*/ 908 w 10000"/>
                    <a:gd name="connsiteY59" fmla="*/ 3358 h 10000"/>
                    <a:gd name="connsiteX60" fmla="*/ 1103 w 10000"/>
                    <a:gd name="connsiteY60" fmla="*/ 3376 h 10000"/>
                    <a:gd name="connsiteX61" fmla="*/ 1103 w 10000"/>
                    <a:gd name="connsiteY61" fmla="*/ 3376 h 10000"/>
                    <a:gd name="connsiteX62" fmla="*/ 1168 w 10000"/>
                    <a:gd name="connsiteY62" fmla="*/ 3376 h 10000"/>
                    <a:gd name="connsiteX63" fmla="*/ 1235 w 10000"/>
                    <a:gd name="connsiteY63" fmla="*/ 3341 h 10000"/>
                    <a:gd name="connsiteX64" fmla="*/ 1559 w 10000"/>
                    <a:gd name="connsiteY64" fmla="*/ 3223 h 10000"/>
                    <a:gd name="connsiteX65" fmla="*/ 2402 w 10000"/>
                    <a:gd name="connsiteY65" fmla="*/ 2837 h 10000"/>
                    <a:gd name="connsiteX66" fmla="*/ 3507 w 10000"/>
                    <a:gd name="connsiteY66" fmla="*/ 2279 h 10000"/>
                    <a:gd name="connsiteX67" fmla="*/ 3507 w 10000"/>
                    <a:gd name="connsiteY67" fmla="*/ 2279 h 10000"/>
                    <a:gd name="connsiteX68" fmla="*/ 3507 w 10000"/>
                    <a:gd name="connsiteY68" fmla="*/ 2200 h 10000"/>
                    <a:gd name="connsiteX69" fmla="*/ 3507 w 10000"/>
                    <a:gd name="connsiteY69" fmla="*/ 2024 h 10000"/>
                    <a:gd name="connsiteX70" fmla="*/ 3573 w 10000"/>
                    <a:gd name="connsiteY70" fmla="*/ 1911 h 10000"/>
                    <a:gd name="connsiteX71" fmla="*/ 3702 w 10000"/>
                    <a:gd name="connsiteY71" fmla="*/ 1813 h 10000"/>
                    <a:gd name="connsiteX72" fmla="*/ 3896 w 10000"/>
                    <a:gd name="connsiteY72" fmla="*/ 1699 h 10000"/>
                    <a:gd name="connsiteX73" fmla="*/ 4156 w 10000"/>
                    <a:gd name="connsiteY73" fmla="*/ 1603 h 10000"/>
                    <a:gd name="connsiteX74" fmla="*/ 4156 w 10000"/>
                    <a:gd name="connsiteY74" fmla="*/ 1603 h 10000"/>
                    <a:gd name="connsiteX75" fmla="*/ 4806 w 10000"/>
                    <a:gd name="connsiteY75" fmla="*/ 1411 h 10000"/>
                    <a:gd name="connsiteX76" fmla="*/ 5455 w 10000"/>
                    <a:gd name="connsiteY76" fmla="*/ 1157 h 10000"/>
                    <a:gd name="connsiteX77" fmla="*/ 6104 w 10000"/>
                    <a:gd name="connsiteY77" fmla="*/ 926 h 10000"/>
                    <a:gd name="connsiteX78" fmla="*/ 6559 w 10000"/>
                    <a:gd name="connsiteY78" fmla="*/ 715 h 10000"/>
                    <a:gd name="connsiteX79" fmla="*/ 6559 w 10000"/>
                    <a:gd name="connsiteY79" fmla="*/ 715 h 10000"/>
                    <a:gd name="connsiteX80" fmla="*/ 6882 w 10000"/>
                    <a:gd name="connsiteY80" fmla="*/ 523 h 10000"/>
                    <a:gd name="connsiteX81" fmla="*/ 7273 w 10000"/>
                    <a:gd name="connsiteY81" fmla="*/ 288 h 10000"/>
                    <a:gd name="connsiteX82" fmla="*/ 7663 w 10000"/>
                    <a:gd name="connsiteY82" fmla="*/ 115 h 10000"/>
                    <a:gd name="connsiteX83" fmla="*/ 7856 w 10000"/>
                    <a:gd name="connsiteY83" fmla="*/ 35 h 10000"/>
                    <a:gd name="connsiteX84" fmla="*/ 8051 w 10000"/>
                    <a:gd name="connsiteY84" fmla="*/ 18 h 10000"/>
                    <a:gd name="connsiteX85" fmla="*/ 8051 w 10000"/>
                    <a:gd name="connsiteY85" fmla="*/ 18 h 10000"/>
                    <a:gd name="connsiteX86" fmla="*/ 8442 w 10000"/>
                    <a:gd name="connsiteY86" fmla="*/ 0 h 10000"/>
                    <a:gd name="connsiteX87" fmla="*/ 8961 w 10000"/>
                    <a:gd name="connsiteY87" fmla="*/ 0 h 10000"/>
                    <a:gd name="connsiteX88" fmla="*/ 10000 w 10000"/>
                    <a:gd name="connsiteY88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5389 w 10000"/>
                    <a:gd name="connsiteY11" fmla="*/ 9168 h 10000"/>
                    <a:gd name="connsiteX12" fmla="*/ 5389 w 10000"/>
                    <a:gd name="connsiteY12" fmla="*/ 9168 h 10000"/>
                    <a:gd name="connsiteX13" fmla="*/ 7729 w 10000"/>
                    <a:gd name="connsiteY13" fmla="*/ 9148 h 10000"/>
                    <a:gd name="connsiteX14" fmla="*/ 10000 w 10000"/>
                    <a:gd name="connsiteY14" fmla="*/ 7587 h 10000"/>
                    <a:gd name="connsiteX15" fmla="*/ 10000 w 10000"/>
                    <a:gd name="connsiteY15" fmla="*/ 7587 h 10000"/>
                    <a:gd name="connsiteX16" fmla="*/ 7404 w 10000"/>
                    <a:gd name="connsiteY16" fmla="*/ 7178 h 10000"/>
                    <a:gd name="connsiteX17" fmla="*/ 5975 w 10000"/>
                    <a:gd name="connsiteY17" fmla="*/ 6949 h 10000"/>
                    <a:gd name="connsiteX18" fmla="*/ 5975 w 10000"/>
                    <a:gd name="connsiteY18" fmla="*/ 6949 h 10000"/>
                    <a:gd name="connsiteX19" fmla="*/ 5975 w 10000"/>
                    <a:gd name="connsiteY19" fmla="*/ 6930 h 10000"/>
                    <a:gd name="connsiteX20" fmla="*/ 5975 w 10000"/>
                    <a:gd name="connsiteY20" fmla="*/ 6814 h 10000"/>
                    <a:gd name="connsiteX21" fmla="*/ 5975 w 10000"/>
                    <a:gd name="connsiteY21" fmla="*/ 6814 h 10000"/>
                    <a:gd name="connsiteX22" fmla="*/ 5779 w 10000"/>
                    <a:gd name="connsiteY22" fmla="*/ 6676 h 10000"/>
                    <a:gd name="connsiteX23" fmla="*/ 5389 w 10000"/>
                    <a:gd name="connsiteY23" fmla="*/ 6465 h 10000"/>
                    <a:gd name="connsiteX24" fmla="*/ 4545 w 10000"/>
                    <a:gd name="connsiteY24" fmla="*/ 6062 h 10000"/>
                    <a:gd name="connsiteX25" fmla="*/ 4545 w 10000"/>
                    <a:gd name="connsiteY25" fmla="*/ 6062 h 10000"/>
                    <a:gd name="connsiteX26" fmla="*/ 4352 w 10000"/>
                    <a:gd name="connsiteY26" fmla="*/ 6003 h 10000"/>
                    <a:gd name="connsiteX27" fmla="*/ 4026 w 10000"/>
                    <a:gd name="connsiteY27" fmla="*/ 5926 h 10000"/>
                    <a:gd name="connsiteX28" fmla="*/ 3052 w 10000"/>
                    <a:gd name="connsiteY28" fmla="*/ 5752 h 10000"/>
                    <a:gd name="connsiteX29" fmla="*/ 1689 w 10000"/>
                    <a:gd name="connsiteY29" fmla="*/ 5540 h 10000"/>
                    <a:gd name="connsiteX30" fmla="*/ 1689 w 10000"/>
                    <a:gd name="connsiteY30" fmla="*/ 5540 h 10000"/>
                    <a:gd name="connsiteX31" fmla="*/ 1103 w 10000"/>
                    <a:gd name="connsiteY31" fmla="*/ 5519 h 10000"/>
                    <a:gd name="connsiteX32" fmla="*/ 650 w 10000"/>
                    <a:gd name="connsiteY32" fmla="*/ 5501 h 10000"/>
                    <a:gd name="connsiteX33" fmla="*/ 521 w 10000"/>
                    <a:gd name="connsiteY33" fmla="*/ 5480 h 10000"/>
                    <a:gd name="connsiteX34" fmla="*/ 390 w 10000"/>
                    <a:gd name="connsiteY34" fmla="*/ 5462 h 10000"/>
                    <a:gd name="connsiteX35" fmla="*/ 390 w 10000"/>
                    <a:gd name="connsiteY35" fmla="*/ 5462 h 10000"/>
                    <a:gd name="connsiteX36" fmla="*/ 261 w 10000"/>
                    <a:gd name="connsiteY36" fmla="*/ 5383 h 10000"/>
                    <a:gd name="connsiteX37" fmla="*/ 65 w 10000"/>
                    <a:gd name="connsiteY37" fmla="*/ 5253 h 10000"/>
                    <a:gd name="connsiteX38" fmla="*/ 0 w 10000"/>
                    <a:gd name="connsiteY38" fmla="*/ 5174 h 10000"/>
                    <a:gd name="connsiteX39" fmla="*/ 0 w 10000"/>
                    <a:gd name="connsiteY39" fmla="*/ 5094 h 10000"/>
                    <a:gd name="connsiteX40" fmla="*/ 0 w 10000"/>
                    <a:gd name="connsiteY40" fmla="*/ 5038 h 10000"/>
                    <a:gd name="connsiteX41" fmla="*/ 131 w 10000"/>
                    <a:gd name="connsiteY41" fmla="*/ 4979 h 10000"/>
                    <a:gd name="connsiteX42" fmla="*/ 131 w 10000"/>
                    <a:gd name="connsiteY42" fmla="*/ 4979 h 10000"/>
                    <a:gd name="connsiteX43" fmla="*/ 455 w 10000"/>
                    <a:gd name="connsiteY43" fmla="*/ 4882 h 10000"/>
                    <a:gd name="connsiteX44" fmla="*/ 779 w 10000"/>
                    <a:gd name="connsiteY44" fmla="*/ 4788 h 10000"/>
                    <a:gd name="connsiteX45" fmla="*/ 975 w 10000"/>
                    <a:gd name="connsiteY45" fmla="*/ 4730 h 10000"/>
                    <a:gd name="connsiteX46" fmla="*/ 1103 w 10000"/>
                    <a:gd name="connsiteY46" fmla="*/ 4671 h 10000"/>
                    <a:gd name="connsiteX47" fmla="*/ 1103 w 10000"/>
                    <a:gd name="connsiteY47" fmla="*/ 4593 h 10000"/>
                    <a:gd name="connsiteX48" fmla="*/ 1103 w 10000"/>
                    <a:gd name="connsiteY48" fmla="*/ 4497 h 10000"/>
                    <a:gd name="connsiteX49" fmla="*/ 1103 w 10000"/>
                    <a:gd name="connsiteY49" fmla="*/ 4497 h 10000"/>
                    <a:gd name="connsiteX50" fmla="*/ 845 w 10000"/>
                    <a:gd name="connsiteY50" fmla="*/ 4227 h 10000"/>
                    <a:gd name="connsiteX51" fmla="*/ 521 w 10000"/>
                    <a:gd name="connsiteY51" fmla="*/ 3860 h 10000"/>
                    <a:gd name="connsiteX52" fmla="*/ 261 w 10000"/>
                    <a:gd name="connsiteY52" fmla="*/ 3531 h 10000"/>
                    <a:gd name="connsiteX53" fmla="*/ 195 w 10000"/>
                    <a:gd name="connsiteY53" fmla="*/ 3435 h 10000"/>
                    <a:gd name="connsiteX54" fmla="*/ 195 w 10000"/>
                    <a:gd name="connsiteY54" fmla="*/ 3397 h 10000"/>
                    <a:gd name="connsiteX55" fmla="*/ 261 w 10000"/>
                    <a:gd name="connsiteY55" fmla="*/ 3376 h 10000"/>
                    <a:gd name="connsiteX56" fmla="*/ 261 w 10000"/>
                    <a:gd name="connsiteY56" fmla="*/ 3376 h 10000"/>
                    <a:gd name="connsiteX57" fmla="*/ 650 w 10000"/>
                    <a:gd name="connsiteY57" fmla="*/ 3358 h 10000"/>
                    <a:gd name="connsiteX58" fmla="*/ 908 w 10000"/>
                    <a:gd name="connsiteY58" fmla="*/ 3358 h 10000"/>
                    <a:gd name="connsiteX59" fmla="*/ 1103 w 10000"/>
                    <a:gd name="connsiteY59" fmla="*/ 3376 h 10000"/>
                    <a:gd name="connsiteX60" fmla="*/ 1103 w 10000"/>
                    <a:gd name="connsiteY60" fmla="*/ 3376 h 10000"/>
                    <a:gd name="connsiteX61" fmla="*/ 1168 w 10000"/>
                    <a:gd name="connsiteY61" fmla="*/ 3376 h 10000"/>
                    <a:gd name="connsiteX62" fmla="*/ 1235 w 10000"/>
                    <a:gd name="connsiteY62" fmla="*/ 3341 h 10000"/>
                    <a:gd name="connsiteX63" fmla="*/ 1559 w 10000"/>
                    <a:gd name="connsiteY63" fmla="*/ 3223 h 10000"/>
                    <a:gd name="connsiteX64" fmla="*/ 2402 w 10000"/>
                    <a:gd name="connsiteY64" fmla="*/ 2837 h 10000"/>
                    <a:gd name="connsiteX65" fmla="*/ 3507 w 10000"/>
                    <a:gd name="connsiteY65" fmla="*/ 2279 h 10000"/>
                    <a:gd name="connsiteX66" fmla="*/ 3507 w 10000"/>
                    <a:gd name="connsiteY66" fmla="*/ 2279 h 10000"/>
                    <a:gd name="connsiteX67" fmla="*/ 3507 w 10000"/>
                    <a:gd name="connsiteY67" fmla="*/ 2200 h 10000"/>
                    <a:gd name="connsiteX68" fmla="*/ 3507 w 10000"/>
                    <a:gd name="connsiteY68" fmla="*/ 2024 h 10000"/>
                    <a:gd name="connsiteX69" fmla="*/ 3573 w 10000"/>
                    <a:gd name="connsiteY69" fmla="*/ 1911 h 10000"/>
                    <a:gd name="connsiteX70" fmla="*/ 3702 w 10000"/>
                    <a:gd name="connsiteY70" fmla="*/ 1813 h 10000"/>
                    <a:gd name="connsiteX71" fmla="*/ 3896 w 10000"/>
                    <a:gd name="connsiteY71" fmla="*/ 1699 h 10000"/>
                    <a:gd name="connsiteX72" fmla="*/ 4156 w 10000"/>
                    <a:gd name="connsiteY72" fmla="*/ 1603 h 10000"/>
                    <a:gd name="connsiteX73" fmla="*/ 4156 w 10000"/>
                    <a:gd name="connsiteY73" fmla="*/ 1603 h 10000"/>
                    <a:gd name="connsiteX74" fmla="*/ 4806 w 10000"/>
                    <a:gd name="connsiteY74" fmla="*/ 1411 h 10000"/>
                    <a:gd name="connsiteX75" fmla="*/ 5455 w 10000"/>
                    <a:gd name="connsiteY75" fmla="*/ 1157 h 10000"/>
                    <a:gd name="connsiteX76" fmla="*/ 6104 w 10000"/>
                    <a:gd name="connsiteY76" fmla="*/ 926 h 10000"/>
                    <a:gd name="connsiteX77" fmla="*/ 6559 w 10000"/>
                    <a:gd name="connsiteY77" fmla="*/ 715 h 10000"/>
                    <a:gd name="connsiteX78" fmla="*/ 6559 w 10000"/>
                    <a:gd name="connsiteY78" fmla="*/ 715 h 10000"/>
                    <a:gd name="connsiteX79" fmla="*/ 6882 w 10000"/>
                    <a:gd name="connsiteY79" fmla="*/ 523 h 10000"/>
                    <a:gd name="connsiteX80" fmla="*/ 7273 w 10000"/>
                    <a:gd name="connsiteY80" fmla="*/ 288 h 10000"/>
                    <a:gd name="connsiteX81" fmla="*/ 7663 w 10000"/>
                    <a:gd name="connsiteY81" fmla="*/ 115 h 10000"/>
                    <a:gd name="connsiteX82" fmla="*/ 7856 w 10000"/>
                    <a:gd name="connsiteY82" fmla="*/ 35 h 10000"/>
                    <a:gd name="connsiteX83" fmla="*/ 8051 w 10000"/>
                    <a:gd name="connsiteY83" fmla="*/ 18 h 10000"/>
                    <a:gd name="connsiteX84" fmla="*/ 8051 w 10000"/>
                    <a:gd name="connsiteY84" fmla="*/ 18 h 10000"/>
                    <a:gd name="connsiteX85" fmla="*/ 8442 w 10000"/>
                    <a:gd name="connsiteY85" fmla="*/ 0 h 10000"/>
                    <a:gd name="connsiteX86" fmla="*/ 8961 w 10000"/>
                    <a:gd name="connsiteY86" fmla="*/ 0 h 10000"/>
                    <a:gd name="connsiteX87" fmla="*/ 10000 w 10000"/>
                    <a:gd name="connsiteY87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5389 w 10000"/>
                    <a:gd name="connsiteY11" fmla="*/ 9168 h 10000"/>
                    <a:gd name="connsiteX12" fmla="*/ 5389 w 10000"/>
                    <a:gd name="connsiteY12" fmla="*/ 9168 h 10000"/>
                    <a:gd name="connsiteX13" fmla="*/ 10000 w 10000"/>
                    <a:gd name="connsiteY13" fmla="*/ 7587 h 10000"/>
                    <a:gd name="connsiteX14" fmla="*/ 10000 w 10000"/>
                    <a:gd name="connsiteY14" fmla="*/ 7587 h 10000"/>
                    <a:gd name="connsiteX15" fmla="*/ 7404 w 10000"/>
                    <a:gd name="connsiteY15" fmla="*/ 7178 h 10000"/>
                    <a:gd name="connsiteX16" fmla="*/ 5975 w 10000"/>
                    <a:gd name="connsiteY16" fmla="*/ 6949 h 10000"/>
                    <a:gd name="connsiteX17" fmla="*/ 5975 w 10000"/>
                    <a:gd name="connsiteY17" fmla="*/ 6949 h 10000"/>
                    <a:gd name="connsiteX18" fmla="*/ 5975 w 10000"/>
                    <a:gd name="connsiteY18" fmla="*/ 6930 h 10000"/>
                    <a:gd name="connsiteX19" fmla="*/ 5975 w 10000"/>
                    <a:gd name="connsiteY19" fmla="*/ 6814 h 10000"/>
                    <a:gd name="connsiteX20" fmla="*/ 5975 w 10000"/>
                    <a:gd name="connsiteY20" fmla="*/ 6814 h 10000"/>
                    <a:gd name="connsiteX21" fmla="*/ 5779 w 10000"/>
                    <a:gd name="connsiteY21" fmla="*/ 6676 h 10000"/>
                    <a:gd name="connsiteX22" fmla="*/ 5389 w 10000"/>
                    <a:gd name="connsiteY22" fmla="*/ 6465 h 10000"/>
                    <a:gd name="connsiteX23" fmla="*/ 4545 w 10000"/>
                    <a:gd name="connsiteY23" fmla="*/ 6062 h 10000"/>
                    <a:gd name="connsiteX24" fmla="*/ 4545 w 10000"/>
                    <a:gd name="connsiteY24" fmla="*/ 6062 h 10000"/>
                    <a:gd name="connsiteX25" fmla="*/ 4352 w 10000"/>
                    <a:gd name="connsiteY25" fmla="*/ 6003 h 10000"/>
                    <a:gd name="connsiteX26" fmla="*/ 4026 w 10000"/>
                    <a:gd name="connsiteY26" fmla="*/ 5926 h 10000"/>
                    <a:gd name="connsiteX27" fmla="*/ 3052 w 10000"/>
                    <a:gd name="connsiteY27" fmla="*/ 5752 h 10000"/>
                    <a:gd name="connsiteX28" fmla="*/ 1689 w 10000"/>
                    <a:gd name="connsiteY28" fmla="*/ 5540 h 10000"/>
                    <a:gd name="connsiteX29" fmla="*/ 1689 w 10000"/>
                    <a:gd name="connsiteY29" fmla="*/ 5540 h 10000"/>
                    <a:gd name="connsiteX30" fmla="*/ 1103 w 10000"/>
                    <a:gd name="connsiteY30" fmla="*/ 5519 h 10000"/>
                    <a:gd name="connsiteX31" fmla="*/ 650 w 10000"/>
                    <a:gd name="connsiteY31" fmla="*/ 5501 h 10000"/>
                    <a:gd name="connsiteX32" fmla="*/ 521 w 10000"/>
                    <a:gd name="connsiteY32" fmla="*/ 5480 h 10000"/>
                    <a:gd name="connsiteX33" fmla="*/ 390 w 10000"/>
                    <a:gd name="connsiteY33" fmla="*/ 5462 h 10000"/>
                    <a:gd name="connsiteX34" fmla="*/ 390 w 10000"/>
                    <a:gd name="connsiteY34" fmla="*/ 5462 h 10000"/>
                    <a:gd name="connsiteX35" fmla="*/ 261 w 10000"/>
                    <a:gd name="connsiteY35" fmla="*/ 5383 h 10000"/>
                    <a:gd name="connsiteX36" fmla="*/ 65 w 10000"/>
                    <a:gd name="connsiteY36" fmla="*/ 5253 h 10000"/>
                    <a:gd name="connsiteX37" fmla="*/ 0 w 10000"/>
                    <a:gd name="connsiteY37" fmla="*/ 5174 h 10000"/>
                    <a:gd name="connsiteX38" fmla="*/ 0 w 10000"/>
                    <a:gd name="connsiteY38" fmla="*/ 5094 h 10000"/>
                    <a:gd name="connsiteX39" fmla="*/ 0 w 10000"/>
                    <a:gd name="connsiteY39" fmla="*/ 5038 h 10000"/>
                    <a:gd name="connsiteX40" fmla="*/ 131 w 10000"/>
                    <a:gd name="connsiteY40" fmla="*/ 4979 h 10000"/>
                    <a:gd name="connsiteX41" fmla="*/ 131 w 10000"/>
                    <a:gd name="connsiteY41" fmla="*/ 4979 h 10000"/>
                    <a:gd name="connsiteX42" fmla="*/ 455 w 10000"/>
                    <a:gd name="connsiteY42" fmla="*/ 4882 h 10000"/>
                    <a:gd name="connsiteX43" fmla="*/ 779 w 10000"/>
                    <a:gd name="connsiteY43" fmla="*/ 4788 h 10000"/>
                    <a:gd name="connsiteX44" fmla="*/ 975 w 10000"/>
                    <a:gd name="connsiteY44" fmla="*/ 4730 h 10000"/>
                    <a:gd name="connsiteX45" fmla="*/ 1103 w 10000"/>
                    <a:gd name="connsiteY45" fmla="*/ 4671 h 10000"/>
                    <a:gd name="connsiteX46" fmla="*/ 1103 w 10000"/>
                    <a:gd name="connsiteY46" fmla="*/ 4593 h 10000"/>
                    <a:gd name="connsiteX47" fmla="*/ 1103 w 10000"/>
                    <a:gd name="connsiteY47" fmla="*/ 4497 h 10000"/>
                    <a:gd name="connsiteX48" fmla="*/ 1103 w 10000"/>
                    <a:gd name="connsiteY48" fmla="*/ 4497 h 10000"/>
                    <a:gd name="connsiteX49" fmla="*/ 845 w 10000"/>
                    <a:gd name="connsiteY49" fmla="*/ 4227 h 10000"/>
                    <a:gd name="connsiteX50" fmla="*/ 521 w 10000"/>
                    <a:gd name="connsiteY50" fmla="*/ 3860 h 10000"/>
                    <a:gd name="connsiteX51" fmla="*/ 261 w 10000"/>
                    <a:gd name="connsiteY51" fmla="*/ 3531 h 10000"/>
                    <a:gd name="connsiteX52" fmla="*/ 195 w 10000"/>
                    <a:gd name="connsiteY52" fmla="*/ 3435 h 10000"/>
                    <a:gd name="connsiteX53" fmla="*/ 195 w 10000"/>
                    <a:gd name="connsiteY53" fmla="*/ 3397 h 10000"/>
                    <a:gd name="connsiteX54" fmla="*/ 261 w 10000"/>
                    <a:gd name="connsiteY54" fmla="*/ 3376 h 10000"/>
                    <a:gd name="connsiteX55" fmla="*/ 261 w 10000"/>
                    <a:gd name="connsiteY55" fmla="*/ 3376 h 10000"/>
                    <a:gd name="connsiteX56" fmla="*/ 650 w 10000"/>
                    <a:gd name="connsiteY56" fmla="*/ 3358 h 10000"/>
                    <a:gd name="connsiteX57" fmla="*/ 908 w 10000"/>
                    <a:gd name="connsiteY57" fmla="*/ 3358 h 10000"/>
                    <a:gd name="connsiteX58" fmla="*/ 1103 w 10000"/>
                    <a:gd name="connsiteY58" fmla="*/ 3376 h 10000"/>
                    <a:gd name="connsiteX59" fmla="*/ 1103 w 10000"/>
                    <a:gd name="connsiteY59" fmla="*/ 3376 h 10000"/>
                    <a:gd name="connsiteX60" fmla="*/ 1168 w 10000"/>
                    <a:gd name="connsiteY60" fmla="*/ 3376 h 10000"/>
                    <a:gd name="connsiteX61" fmla="*/ 1235 w 10000"/>
                    <a:gd name="connsiteY61" fmla="*/ 3341 h 10000"/>
                    <a:gd name="connsiteX62" fmla="*/ 1559 w 10000"/>
                    <a:gd name="connsiteY62" fmla="*/ 3223 h 10000"/>
                    <a:gd name="connsiteX63" fmla="*/ 2402 w 10000"/>
                    <a:gd name="connsiteY63" fmla="*/ 2837 h 10000"/>
                    <a:gd name="connsiteX64" fmla="*/ 3507 w 10000"/>
                    <a:gd name="connsiteY64" fmla="*/ 2279 h 10000"/>
                    <a:gd name="connsiteX65" fmla="*/ 3507 w 10000"/>
                    <a:gd name="connsiteY65" fmla="*/ 2279 h 10000"/>
                    <a:gd name="connsiteX66" fmla="*/ 3507 w 10000"/>
                    <a:gd name="connsiteY66" fmla="*/ 2200 h 10000"/>
                    <a:gd name="connsiteX67" fmla="*/ 3507 w 10000"/>
                    <a:gd name="connsiteY67" fmla="*/ 2024 h 10000"/>
                    <a:gd name="connsiteX68" fmla="*/ 3573 w 10000"/>
                    <a:gd name="connsiteY68" fmla="*/ 1911 h 10000"/>
                    <a:gd name="connsiteX69" fmla="*/ 3702 w 10000"/>
                    <a:gd name="connsiteY69" fmla="*/ 1813 h 10000"/>
                    <a:gd name="connsiteX70" fmla="*/ 3896 w 10000"/>
                    <a:gd name="connsiteY70" fmla="*/ 1699 h 10000"/>
                    <a:gd name="connsiteX71" fmla="*/ 4156 w 10000"/>
                    <a:gd name="connsiteY71" fmla="*/ 1603 h 10000"/>
                    <a:gd name="connsiteX72" fmla="*/ 4156 w 10000"/>
                    <a:gd name="connsiteY72" fmla="*/ 1603 h 10000"/>
                    <a:gd name="connsiteX73" fmla="*/ 4806 w 10000"/>
                    <a:gd name="connsiteY73" fmla="*/ 1411 h 10000"/>
                    <a:gd name="connsiteX74" fmla="*/ 5455 w 10000"/>
                    <a:gd name="connsiteY74" fmla="*/ 1157 h 10000"/>
                    <a:gd name="connsiteX75" fmla="*/ 6104 w 10000"/>
                    <a:gd name="connsiteY75" fmla="*/ 926 h 10000"/>
                    <a:gd name="connsiteX76" fmla="*/ 6559 w 10000"/>
                    <a:gd name="connsiteY76" fmla="*/ 715 h 10000"/>
                    <a:gd name="connsiteX77" fmla="*/ 6559 w 10000"/>
                    <a:gd name="connsiteY77" fmla="*/ 715 h 10000"/>
                    <a:gd name="connsiteX78" fmla="*/ 6882 w 10000"/>
                    <a:gd name="connsiteY78" fmla="*/ 523 h 10000"/>
                    <a:gd name="connsiteX79" fmla="*/ 7273 w 10000"/>
                    <a:gd name="connsiteY79" fmla="*/ 288 h 10000"/>
                    <a:gd name="connsiteX80" fmla="*/ 7663 w 10000"/>
                    <a:gd name="connsiteY80" fmla="*/ 115 h 10000"/>
                    <a:gd name="connsiteX81" fmla="*/ 7856 w 10000"/>
                    <a:gd name="connsiteY81" fmla="*/ 35 h 10000"/>
                    <a:gd name="connsiteX82" fmla="*/ 8051 w 10000"/>
                    <a:gd name="connsiteY82" fmla="*/ 18 h 10000"/>
                    <a:gd name="connsiteX83" fmla="*/ 8051 w 10000"/>
                    <a:gd name="connsiteY83" fmla="*/ 18 h 10000"/>
                    <a:gd name="connsiteX84" fmla="*/ 8442 w 10000"/>
                    <a:gd name="connsiteY84" fmla="*/ 0 h 10000"/>
                    <a:gd name="connsiteX85" fmla="*/ 8961 w 10000"/>
                    <a:gd name="connsiteY85" fmla="*/ 0 h 10000"/>
                    <a:gd name="connsiteX86" fmla="*/ 10000 w 10000"/>
                    <a:gd name="connsiteY86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5389 w 10000"/>
                    <a:gd name="connsiteY11" fmla="*/ 9168 h 10000"/>
                    <a:gd name="connsiteX12" fmla="*/ 10000 w 10000"/>
                    <a:gd name="connsiteY12" fmla="*/ 7587 h 10000"/>
                    <a:gd name="connsiteX13" fmla="*/ 10000 w 10000"/>
                    <a:gd name="connsiteY13" fmla="*/ 7587 h 10000"/>
                    <a:gd name="connsiteX14" fmla="*/ 7404 w 10000"/>
                    <a:gd name="connsiteY14" fmla="*/ 7178 h 10000"/>
                    <a:gd name="connsiteX15" fmla="*/ 5975 w 10000"/>
                    <a:gd name="connsiteY15" fmla="*/ 6949 h 10000"/>
                    <a:gd name="connsiteX16" fmla="*/ 5975 w 10000"/>
                    <a:gd name="connsiteY16" fmla="*/ 6949 h 10000"/>
                    <a:gd name="connsiteX17" fmla="*/ 5975 w 10000"/>
                    <a:gd name="connsiteY17" fmla="*/ 6930 h 10000"/>
                    <a:gd name="connsiteX18" fmla="*/ 5975 w 10000"/>
                    <a:gd name="connsiteY18" fmla="*/ 6814 h 10000"/>
                    <a:gd name="connsiteX19" fmla="*/ 5975 w 10000"/>
                    <a:gd name="connsiteY19" fmla="*/ 6814 h 10000"/>
                    <a:gd name="connsiteX20" fmla="*/ 5779 w 10000"/>
                    <a:gd name="connsiteY20" fmla="*/ 6676 h 10000"/>
                    <a:gd name="connsiteX21" fmla="*/ 5389 w 10000"/>
                    <a:gd name="connsiteY21" fmla="*/ 6465 h 10000"/>
                    <a:gd name="connsiteX22" fmla="*/ 4545 w 10000"/>
                    <a:gd name="connsiteY22" fmla="*/ 6062 h 10000"/>
                    <a:gd name="connsiteX23" fmla="*/ 4545 w 10000"/>
                    <a:gd name="connsiteY23" fmla="*/ 6062 h 10000"/>
                    <a:gd name="connsiteX24" fmla="*/ 4352 w 10000"/>
                    <a:gd name="connsiteY24" fmla="*/ 6003 h 10000"/>
                    <a:gd name="connsiteX25" fmla="*/ 4026 w 10000"/>
                    <a:gd name="connsiteY25" fmla="*/ 5926 h 10000"/>
                    <a:gd name="connsiteX26" fmla="*/ 3052 w 10000"/>
                    <a:gd name="connsiteY26" fmla="*/ 5752 h 10000"/>
                    <a:gd name="connsiteX27" fmla="*/ 1689 w 10000"/>
                    <a:gd name="connsiteY27" fmla="*/ 5540 h 10000"/>
                    <a:gd name="connsiteX28" fmla="*/ 1689 w 10000"/>
                    <a:gd name="connsiteY28" fmla="*/ 5540 h 10000"/>
                    <a:gd name="connsiteX29" fmla="*/ 1103 w 10000"/>
                    <a:gd name="connsiteY29" fmla="*/ 5519 h 10000"/>
                    <a:gd name="connsiteX30" fmla="*/ 650 w 10000"/>
                    <a:gd name="connsiteY30" fmla="*/ 5501 h 10000"/>
                    <a:gd name="connsiteX31" fmla="*/ 521 w 10000"/>
                    <a:gd name="connsiteY31" fmla="*/ 5480 h 10000"/>
                    <a:gd name="connsiteX32" fmla="*/ 390 w 10000"/>
                    <a:gd name="connsiteY32" fmla="*/ 5462 h 10000"/>
                    <a:gd name="connsiteX33" fmla="*/ 390 w 10000"/>
                    <a:gd name="connsiteY33" fmla="*/ 5462 h 10000"/>
                    <a:gd name="connsiteX34" fmla="*/ 261 w 10000"/>
                    <a:gd name="connsiteY34" fmla="*/ 5383 h 10000"/>
                    <a:gd name="connsiteX35" fmla="*/ 65 w 10000"/>
                    <a:gd name="connsiteY35" fmla="*/ 5253 h 10000"/>
                    <a:gd name="connsiteX36" fmla="*/ 0 w 10000"/>
                    <a:gd name="connsiteY36" fmla="*/ 5174 h 10000"/>
                    <a:gd name="connsiteX37" fmla="*/ 0 w 10000"/>
                    <a:gd name="connsiteY37" fmla="*/ 5094 h 10000"/>
                    <a:gd name="connsiteX38" fmla="*/ 0 w 10000"/>
                    <a:gd name="connsiteY38" fmla="*/ 5038 h 10000"/>
                    <a:gd name="connsiteX39" fmla="*/ 131 w 10000"/>
                    <a:gd name="connsiteY39" fmla="*/ 4979 h 10000"/>
                    <a:gd name="connsiteX40" fmla="*/ 131 w 10000"/>
                    <a:gd name="connsiteY40" fmla="*/ 4979 h 10000"/>
                    <a:gd name="connsiteX41" fmla="*/ 455 w 10000"/>
                    <a:gd name="connsiteY41" fmla="*/ 4882 h 10000"/>
                    <a:gd name="connsiteX42" fmla="*/ 779 w 10000"/>
                    <a:gd name="connsiteY42" fmla="*/ 4788 h 10000"/>
                    <a:gd name="connsiteX43" fmla="*/ 975 w 10000"/>
                    <a:gd name="connsiteY43" fmla="*/ 4730 h 10000"/>
                    <a:gd name="connsiteX44" fmla="*/ 1103 w 10000"/>
                    <a:gd name="connsiteY44" fmla="*/ 4671 h 10000"/>
                    <a:gd name="connsiteX45" fmla="*/ 1103 w 10000"/>
                    <a:gd name="connsiteY45" fmla="*/ 4593 h 10000"/>
                    <a:gd name="connsiteX46" fmla="*/ 1103 w 10000"/>
                    <a:gd name="connsiteY46" fmla="*/ 4497 h 10000"/>
                    <a:gd name="connsiteX47" fmla="*/ 1103 w 10000"/>
                    <a:gd name="connsiteY47" fmla="*/ 4497 h 10000"/>
                    <a:gd name="connsiteX48" fmla="*/ 845 w 10000"/>
                    <a:gd name="connsiteY48" fmla="*/ 4227 h 10000"/>
                    <a:gd name="connsiteX49" fmla="*/ 521 w 10000"/>
                    <a:gd name="connsiteY49" fmla="*/ 3860 h 10000"/>
                    <a:gd name="connsiteX50" fmla="*/ 261 w 10000"/>
                    <a:gd name="connsiteY50" fmla="*/ 3531 h 10000"/>
                    <a:gd name="connsiteX51" fmla="*/ 195 w 10000"/>
                    <a:gd name="connsiteY51" fmla="*/ 3435 h 10000"/>
                    <a:gd name="connsiteX52" fmla="*/ 195 w 10000"/>
                    <a:gd name="connsiteY52" fmla="*/ 3397 h 10000"/>
                    <a:gd name="connsiteX53" fmla="*/ 261 w 10000"/>
                    <a:gd name="connsiteY53" fmla="*/ 3376 h 10000"/>
                    <a:gd name="connsiteX54" fmla="*/ 261 w 10000"/>
                    <a:gd name="connsiteY54" fmla="*/ 3376 h 10000"/>
                    <a:gd name="connsiteX55" fmla="*/ 650 w 10000"/>
                    <a:gd name="connsiteY55" fmla="*/ 3358 h 10000"/>
                    <a:gd name="connsiteX56" fmla="*/ 908 w 10000"/>
                    <a:gd name="connsiteY56" fmla="*/ 3358 h 10000"/>
                    <a:gd name="connsiteX57" fmla="*/ 1103 w 10000"/>
                    <a:gd name="connsiteY57" fmla="*/ 3376 h 10000"/>
                    <a:gd name="connsiteX58" fmla="*/ 1103 w 10000"/>
                    <a:gd name="connsiteY58" fmla="*/ 3376 h 10000"/>
                    <a:gd name="connsiteX59" fmla="*/ 1168 w 10000"/>
                    <a:gd name="connsiteY59" fmla="*/ 3376 h 10000"/>
                    <a:gd name="connsiteX60" fmla="*/ 1235 w 10000"/>
                    <a:gd name="connsiteY60" fmla="*/ 3341 h 10000"/>
                    <a:gd name="connsiteX61" fmla="*/ 1559 w 10000"/>
                    <a:gd name="connsiteY61" fmla="*/ 3223 h 10000"/>
                    <a:gd name="connsiteX62" fmla="*/ 2402 w 10000"/>
                    <a:gd name="connsiteY62" fmla="*/ 2837 h 10000"/>
                    <a:gd name="connsiteX63" fmla="*/ 3507 w 10000"/>
                    <a:gd name="connsiteY63" fmla="*/ 2279 h 10000"/>
                    <a:gd name="connsiteX64" fmla="*/ 3507 w 10000"/>
                    <a:gd name="connsiteY64" fmla="*/ 2279 h 10000"/>
                    <a:gd name="connsiteX65" fmla="*/ 3507 w 10000"/>
                    <a:gd name="connsiteY65" fmla="*/ 2200 h 10000"/>
                    <a:gd name="connsiteX66" fmla="*/ 3507 w 10000"/>
                    <a:gd name="connsiteY66" fmla="*/ 2024 h 10000"/>
                    <a:gd name="connsiteX67" fmla="*/ 3573 w 10000"/>
                    <a:gd name="connsiteY67" fmla="*/ 1911 h 10000"/>
                    <a:gd name="connsiteX68" fmla="*/ 3702 w 10000"/>
                    <a:gd name="connsiteY68" fmla="*/ 1813 h 10000"/>
                    <a:gd name="connsiteX69" fmla="*/ 3896 w 10000"/>
                    <a:gd name="connsiteY69" fmla="*/ 1699 h 10000"/>
                    <a:gd name="connsiteX70" fmla="*/ 4156 w 10000"/>
                    <a:gd name="connsiteY70" fmla="*/ 1603 h 10000"/>
                    <a:gd name="connsiteX71" fmla="*/ 4156 w 10000"/>
                    <a:gd name="connsiteY71" fmla="*/ 1603 h 10000"/>
                    <a:gd name="connsiteX72" fmla="*/ 4806 w 10000"/>
                    <a:gd name="connsiteY72" fmla="*/ 1411 h 10000"/>
                    <a:gd name="connsiteX73" fmla="*/ 5455 w 10000"/>
                    <a:gd name="connsiteY73" fmla="*/ 1157 h 10000"/>
                    <a:gd name="connsiteX74" fmla="*/ 6104 w 10000"/>
                    <a:gd name="connsiteY74" fmla="*/ 926 h 10000"/>
                    <a:gd name="connsiteX75" fmla="*/ 6559 w 10000"/>
                    <a:gd name="connsiteY75" fmla="*/ 715 h 10000"/>
                    <a:gd name="connsiteX76" fmla="*/ 6559 w 10000"/>
                    <a:gd name="connsiteY76" fmla="*/ 715 h 10000"/>
                    <a:gd name="connsiteX77" fmla="*/ 6882 w 10000"/>
                    <a:gd name="connsiteY77" fmla="*/ 523 h 10000"/>
                    <a:gd name="connsiteX78" fmla="*/ 7273 w 10000"/>
                    <a:gd name="connsiteY78" fmla="*/ 288 h 10000"/>
                    <a:gd name="connsiteX79" fmla="*/ 7663 w 10000"/>
                    <a:gd name="connsiteY79" fmla="*/ 115 h 10000"/>
                    <a:gd name="connsiteX80" fmla="*/ 7856 w 10000"/>
                    <a:gd name="connsiteY80" fmla="*/ 35 h 10000"/>
                    <a:gd name="connsiteX81" fmla="*/ 8051 w 10000"/>
                    <a:gd name="connsiteY81" fmla="*/ 18 h 10000"/>
                    <a:gd name="connsiteX82" fmla="*/ 8051 w 10000"/>
                    <a:gd name="connsiteY82" fmla="*/ 18 h 10000"/>
                    <a:gd name="connsiteX83" fmla="*/ 8442 w 10000"/>
                    <a:gd name="connsiteY83" fmla="*/ 0 h 10000"/>
                    <a:gd name="connsiteX84" fmla="*/ 8961 w 10000"/>
                    <a:gd name="connsiteY84" fmla="*/ 0 h 10000"/>
                    <a:gd name="connsiteX85" fmla="*/ 10000 w 10000"/>
                    <a:gd name="connsiteY85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10000 w 10000"/>
                    <a:gd name="connsiteY11" fmla="*/ 7587 h 10000"/>
                    <a:gd name="connsiteX12" fmla="*/ 10000 w 10000"/>
                    <a:gd name="connsiteY12" fmla="*/ 7587 h 10000"/>
                    <a:gd name="connsiteX13" fmla="*/ 7404 w 10000"/>
                    <a:gd name="connsiteY13" fmla="*/ 7178 h 10000"/>
                    <a:gd name="connsiteX14" fmla="*/ 5975 w 10000"/>
                    <a:gd name="connsiteY14" fmla="*/ 6949 h 10000"/>
                    <a:gd name="connsiteX15" fmla="*/ 5975 w 10000"/>
                    <a:gd name="connsiteY15" fmla="*/ 6949 h 10000"/>
                    <a:gd name="connsiteX16" fmla="*/ 5975 w 10000"/>
                    <a:gd name="connsiteY16" fmla="*/ 6930 h 10000"/>
                    <a:gd name="connsiteX17" fmla="*/ 5975 w 10000"/>
                    <a:gd name="connsiteY17" fmla="*/ 6814 h 10000"/>
                    <a:gd name="connsiteX18" fmla="*/ 5975 w 10000"/>
                    <a:gd name="connsiteY18" fmla="*/ 6814 h 10000"/>
                    <a:gd name="connsiteX19" fmla="*/ 5779 w 10000"/>
                    <a:gd name="connsiteY19" fmla="*/ 6676 h 10000"/>
                    <a:gd name="connsiteX20" fmla="*/ 5389 w 10000"/>
                    <a:gd name="connsiteY20" fmla="*/ 6465 h 10000"/>
                    <a:gd name="connsiteX21" fmla="*/ 4545 w 10000"/>
                    <a:gd name="connsiteY21" fmla="*/ 6062 h 10000"/>
                    <a:gd name="connsiteX22" fmla="*/ 4545 w 10000"/>
                    <a:gd name="connsiteY22" fmla="*/ 6062 h 10000"/>
                    <a:gd name="connsiteX23" fmla="*/ 4352 w 10000"/>
                    <a:gd name="connsiteY23" fmla="*/ 6003 h 10000"/>
                    <a:gd name="connsiteX24" fmla="*/ 4026 w 10000"/>
                    <a:gd name="connsiteY24" fmla="*/ 5926 h 10000"/>
                    <a:gd name="connsiteX25" fmla="*/ 3052 w 10000"/>
                    <a:gd name="connsiteY25" fmla="*/ 5752 h 10000"/>
                    <a:gd name="connsiteX26" fmla="*/ 1689 w 10000"/>
                    <a:gd name="connsiteY26" fmla="*/ 5540 h 10000"/>
                    <a:gd name="connsiteX27" fmla="*/ 1689 w 10000"/>
                    <a:gd name="connsiteY27" fmla="*/ 5540 h 10000"/>
                    <a:gd name="connsiteX28" fmla="*/ 1103 w 10000"/>
                    <a:gd name="connsiteY28" fmla="*/ 5519 h 10000"/>
                    <a:gd name="connsiteX29" fmla="*/ 650 w 10000"/>
                    <a:gd name="connsiteY29" fmla="*/ 5501 h 10000"/>
                    <a:gd name="connsiteX30" fmla="*/ 521 w 10000"/>
                    <a:gd name="connsiteY30" fmla="*/ 5480 h 10000"/>
                    <a:gd name="connsiteX31" fmla="*/ 390 w 10000"/>
                    <a:gd name="connsiteY31" fmla="*/ 5462 h 10000"/>
                    <a:gd name="connsiteX32" fmla="*/ 390 w 10000"/>
                    <a:gd name="connsiteY32" fmla="*/ 5462 h 10000"/>
                    <a:gd name="connsiteX33" fmla="*/ 261 w 10000"/>
                    <a:gd name="connsiteY33" fmla="*/ 5383 h 10000"/>
                    <a:gd name="connsiteX34" fmla="*/ 65 w 10000"/>
                    <a:gd name="connsiteY34" fmla="*/ 5253 h 10000"/>
                    <a:gd name="connsiteX35" fmla="*/ 0 w 10000"/>
                    <a:gd name="connsiteY35" fmla="*/ 5174 h 10000"/>
                    <a:gd name="connsiteX36" fmla="*/ 0 w 10000"/>
                    <a:gd name="connsiteY36" fmla="*/ 5094 h 10000"/>
                    <a:gd name="connsiteX37" fmla="*/ 0 w 10000"/>
                    <a:gd name="connsiteY37" fmla="*/ 5038 h 10000"/>
                    <a:gd name="connsiteX38" fmla="*/ 131 w 10000"/>
                    <a:gd name="connsiteY38" fmla="*/ 4979 h 10000"/>
                    <a:gd name="connsiteX39" fmla="*/ 131 w 10000"/>
                    <a:gd name="connsiteY39" fmla="*/ 4979 h 10000"/>
                    <a:gd name="connsiteX40" fmla="*/ 455 w 10000"/>
                    <a:gd name="connsiteY40" fmla="*/ 4882 h 10000"/>
                    <a:gd name="connsiteX41" fmla="*/ 779 w 10000"/>
                    <a:gd name="connsiteY41" fmla="*/ 4788 h 10000"/>
                    <a:gd name="connsiteX42" fmla="*/ 975 w 10000"/>
                    <a:gd name="connsiteY42" fmla="*/ 4730 h 10000"/>
                    <a:gd name="connsiteX43" fmla="*/ 1103 w 10000"/>
                    <a:gd name="connsiteY43" fmla="*/ 4671 h 10000"/>
                    <a:gd name="connsiteX44" fmla="*/ 1103 w 10000"/>
                    <a:gd name="connsiteY44" fmla="*/ 4593 h 10000"/>
                    <a:gd name="connsiteX45" fmla="*/ 1103 w 10000"/>
                    <a:gd name="connsiteY45" fmla="*/ 4497 h 10000"/>
                    <a:gd name="connsiteX46" fmla="*/ 1103 w 10000"/>
                    <a:gd name="connsiteY46" fmla="*/ 4497 h 10000"/>
                    <a:gd name="connsiteX47" fmla="*/ 845 w 10000"/>
                    <a:gd name="connsiteY47" fmla="*/ 4227 h 10000"/>
                    <a:gd name="connsiteX48" fmla="*/ 521 w 10000"/>
                    <a:gd name="connsiteY48" fmla="*/ 3860 h 10000"/>
                    <a:gd name="connsiteX49" fmla="*/ 261 w 10000"/>
                    <a:gd name="connsiteY49" fmla="*/ 3531 h 10000"/>
                    <a:gd name="connsiteX50" fmla="*/ 195 w 10000"/>
                    <a:gd name="connsiteY50" fmla="*/ 3435 h 10000"/>
                    <a:gd name="connsiteX51" fmla="*/ 195 w 10000"/>
                    <a:gd name="connsiteY51" fmla="*/ 3397 h 10000"/>
                    <a:gd name="connsiteX52" fmla="*/ 261 w 10000"/>
                    <a:gd name="connsiteY52" fmla="*/ 3376 h 10000"/>
                    <a:gd name="connsiteX53" fmla="*/ 261 w 10000"/>
                    <a:gd name="connsiteY53" fmla="*/ 3376 h 10000"/>
                    <a:gd name="connsiteX54" fmla="*/ 650 w 10000"/>
                    <a:gd name="connsiteY54" fmla="*/ 3358 h 10000"/>
                    <a:gd name="connsiteX55" fmla="*/ 908 w 10000"/>
                    <a:gd name="connsiteY55" fmla="*/ 3358 h 10000"/>
                    <a:gd name="connsiteX56" fmla="*/ 1103 w 10000"/>
                    <a:gd name="connsiteY56" fmla="*/ 3376 h 10000"/>
                    <a:gd name="connsiteX57" fmla="*/ 1103 w 10000"/>
                    <a:gd name="connsiteY57" fmla="*/ 3376 h 10000"/>
                    <a:gd name="connsiteX58" fmla="*/ 1168 w 10000"/>
                    <a:gd name="connsiteY58" fmla="*/ 3376 h 10000"/>
                    <a:gd name="connsiteX59" fmla="*/ 1235 w 10000"/>
                    <a:gd name="connsiteY59" fmla="*/ 3341 h 10000"/>
                    <a:gd name="connsiteX60" fmla="*/ 1559 w 10000"/>
                    <a:gd name="connsiteY60" fmla="*/ 3223 h 10000"/>
                    <a:gd name="connsiteX61" fmla="*/ 2402 w 10000"/>
                    <a:gd name="connsiteY61" fmla="*/ 2837 h 10000"/>
                    <a:gd name="connsiteX62" fmla="*/ 3507 w 10000"/>
                    <a:gd name="connsiteY62" fmla="*/ 2279 h 10000"/>
                    <a:gd name="connsiteX63" fmla="*/ 3507 w 10000"/>
                    <a:gd name="connsiteY63" fmla="*/ 2279 h 10000"/>
                    <a:gd name="connsiteX64" fmla="*/ 3507 w 10000"/>
                    <a:gd name="connsiteY64" fmla="*/ 2200 h 10000"/>
                    <a:gd name="connsiteX65" fmla="*/ 3507 w 10000"/>
                    <a:gd name="connsiteY65" fmla="*/ 2024 h 10000"/>
                    <a:gd name="connsiteX66" fmla="*/ 3573 w 10000"/>
                    <a:gd name="connsiteY66" fmla="*/ 1911 h 10000"/>
                    <a:gd name="connsiteX67" fmla="*/ 3702 w 10000"/>
                    <a:gd name="connsiteY67" fmla="*/ 1813 h 10000"/>
                    <a:gd name="connsiteX68" fmla="*/ 3896 w 10000"/>
                    <a:gd name="connsiteY68" fmla="*/ 1699 h 10000"/>
                    <a:gd name="connsiteX69" fmla="*/ 4156 w 10000"/>
                    <a:gd name="connsiteY69" fmla="*/ 1603 h 10000"/>
                    <a:gd name="connsiteX70" fmla="*/ 4156 w 10000"/>
                    <a:gd name="connsiteY70" fmla="*/ 1603 h 10000"/>
                    <a:gd name="connsiteX71" fmla="*/ 4806 w 10000"/>
                    <a:gd name="connsiteY71" fmla="*/ 1411 h 10000"/>
                    <a:gd name="connsiteX72" fmla="*/ 5455 w 10000"/>
                    <a:gd name="connsiteY72" fmla="*/ 1157 h 10000"/>
                    <a:gd name="connsiteX73" fmla="*/ 6104 w 10000"/>
                    <a:gd name="connsiteY73" fmla="*/ 926 h 10000"/>
                    <a:gd name="connsiteX74" fmla="*/ 6559 w 10000"/>
                    <a:gd name="connsiteY74" fmla="*/ 715 h 10000"/>
                    <a:gd name="connsiteX75" fmla="*/ 6559 w 10000"/>
                    <a:gd name="connsiteY75" fmla="*/ 715 h 10000"/>
                    <a:gd name="connsiteX76" fmla="*/ 6882 w 10000"/>
                    <a:gd name="connsiteY76" fmla="*/ 523 h 10000"/>
                    <a:gd name="connsiteX77" fmla="*/ 7273 w 10000"/>
                    <a:gd name="connsiteY77" fmla="*/ 288 h 10000"/>
                    <a:gd name="connsiteX78" fmla="*/ 7663 w 10000"/>
                    <a:gd name="connsiteY78" fmla="*/ 115 h 10000"/>
                    <a:gd name="connsiteX79" fmla="*/ 7856 w 10000"/>
                    <a:gd name="connsiteY79" fmla="*/ 35 h 10000"/>
                    <a:gd name="connsiteX80" fmla="*/ 8051 w 10000"/>
                    <a:gd name="connsiteY80" fmla="*/ 18 h 10000"/>
                    <a:gd name="connsiteX81" fmla="*/ 8051 w 10000"/>
                    <a:gd name="connsiteY81" fmla="*/ 18 h 10000"/>
                    <a:gd name="connsiteX82" fmla="*/ 8442 w 10000"/>
                    <a:gd name="connsiteY82" fmla="*/ 0 h 10000"/>
                    <a:gd name="connsiteX83" fmla="*/ 8961 w 10000"/>
                    <a:gd name="connsiteY83" fmla="*/ 0 h 10000"/>
                    <a:gd name="connsiteX84" fmla="*/ 10000 w 10000"/>
                    <a:gd name="connsiteY84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5519 w 10000"/>
                    <a:gd name="connsiteY10" fmla="*/ 9226 h 10000"/>
                    <a:gd name="connsiteX11" fmla="*/ 10000 w 10000"/>
                    <a:gd name="connsiteY11" fmla="*/ 7587 h 10000"/>
                    <a:gd name="connsiteX12" fmla="*/ 10000 w 10000"/>
                    <a:gd name="connsiteY12" fmla="*/ 7587 h 10000"/>
                    <a:gd name="connsiteX13" fmla="*/ 8661 w 10000"/>
                    <a:gd name="connsiteY13" fmla="*/ 7365 h 10000"/>
                    <a:gd name="connsiteX14" fmla="*/ 7404 w 10000"/>
                    <a:gd name="connsiteY14" fmla="*/ 7178 h 10000"/>
                    <a:gd name="connsiteX15" fmla="*/ 5975 w 10000"/>
                    <a:gd name="connsiteY15" fmla="*/ 6949 h 10000"/>
                    <a:gd name="connsiteX16" fmla="*/ 5975 w 10000"/>
                    <a:gd name="connsiteY16" fmla="*/ 6949 h 10000"/>
                    <a:gd name="connsiteX17" fmla="*/ 5975 w 10000"/>
                    <a:gd name="connsiteY17" fmla="*/ 6930 h 10000"/>
                    <a:gd name="connsiteX18" fmla="*/ 5975 w 10000"/>
                    <a:gd name="connsiteY18" fmla="*/ 6814 h 10000"/>
                    <a:gd name="connsiteX19" fmla="*/ 5975 w 10000"/>
                    <a:gd name="connsiteY19" fmla="*/ 6814 h 10000"/>
                    <a:gd name="connsiteX20" fmla="*/ 5779 w 10000"/>
                    <a:gd name="connsiteY20" fmla="*/ 6676 h 10000"/>
                    <a:gd name="connsiteX21" fmla="*/ 5389 w 10000"/>
                    <a:gd name="connsiteY21" fmla="*/ 6465 h 10000"/>
                    <a:gd name="connsiteX22" fmla="*/ 4545 w 10000"/>
                    <a:gd name="connsiteY22" fmla="*/ 6062 h 10000"/>
                    <a:gd name="connsiteX23" fmla="*/ 4545 w 10000"/>
                    <a:gd name="connsiteY23" fmla="*/ 6062 h 10000"/>
                    <a:gd name="connsiteX24" fmla="*/ 4352 w 10000"/>
                    <a:gd name="connsiteY24" fmla="*/ 6003 h 10000"/>
                    <a:gd name="connsiteX25" fmla="*/ 4026 w 10000"/>
                    <a:gd name="connsiteY25" fmla="*/ 5926 h 10000"/>
                    <a:gd name="connsiteX26" fmla="*/ 3052 w 10000"/>
                    <a:gd name="connsiteY26" fmla="*/ 5752 h 10000"/>
                    <a:gd name="connsiteX27" fmla="*/ 1689 w 10000"/>
                    <a:gd name="connsiteY27" fmla="*/ 5540 h 10000"/>
                    <a:gd name="connsiteX28" fmla="*/ 1689 w 10000"/>
                    <a:gd name="connsiteY28" fmla="*/ 5540 h 10000"/>
                    <a:gd name="connsiteX29" fmla="*/ 1103 w 10000"/>
                    <a:gd name="connsiteY29" fmla="*/ 5519 h 10000"/>
                    <a:gd name="connsiteX30" fmla="*/ 650 w 10000"/>
                    <a:gd name="connsiteY30" fmla="*/ 5501 h 10000"/>
                    <a:gd name="connsiteX31" fmla="*/ 521 w 10000"/>
                    <a:gd name="connsiteY31" fmla="*/ 5480 h 10000"/>
                    <a:gd name="connsiteX32" fmla="*/ 390 w 10000"/>
                    <a:gd name="connsiteY32" fmla="*/ 5462 h 10000"/>
                    <a:gd name="connsiteX33" fmla="*/ 390 w 10000"/>
                    <a:gd name="connsiteY33" fmla="*/ 5462 h 10000"/>
                    <a:gd name="connsiteX34" fmla="*/ 261 w 10000"/>
                    <a:gd name="connsiteY34" fmla="*/ 5383 h 10000"/>
                    <a:gd name="connsiteX35" fmla="*/ 65 w 10000"/>
                    <a:gd name="connsiteY35" fmla="*/ 5253 h 10000"/>
                    <a:gd name="connsiteX36" fmla="*/ 0 w 10000"/>
                    <a:gd name="connsiteY36" fmla="*/ 5174 h 10000"/>
                    <a:gd name="connsiteX37" fmla="*/ 0 w 10000"/>
                    <a:gd name="connsiteY37" fmla="*/ 5094 h 10000"/>
                    <a:gd name="connsiteX38" fmla="*/ 0 w 10000"/>
                    <a:gd name="connsiteY38" fmla="*/ 5038 h 10000"/>
                    <a:gd name="connsiteX39" fmla="*/ 131 w 10000"/>
                    <a:gd name="connsiteY39" fmla="*/ 4979 h 10000"/>
                    <a:gd name="connsiteX40" fmla="*/ 131 w 10000"/>
                    <a:gd name="connsiteY40" fmla="*/ 4979 h 10000"/>
                    <a:gd name="connsiteX41" fmla="*/ 455 w 10000"/>
                    <a:gd name="connsiteY41" fmla="*/ 4882 h 10000"/>
                    <a:gd name="connsiteX42" fmla="*/ 779 w 10000"/>
                    <a:gd name="connsiteY42" fmla="*/ 4788 h 10000"/>
                    <a:gd name="connsiteX43" fmla="*/ 975 w 10000"/>
                    <a:gd name="connsiteY43" fmla="*/ 4730 h 10000"/>
                    <a:gd name="connsiteX44" fmla="*/ 1103 w 10000"/>
                    <a:gd name="connsiteY44" fmla="*/ 4671 h 10000"/>
                    <a:gd name="connsiteX45" fmla="*/ 1103 w 10000"/>
                    <a:gd name="connsiteY45" fmla="*/ 4593 h 10000"/>
                    <a:gd name="connsiteX46" fmla="*/ 1103 w 10000"/>
                    <a:gd name="connsiteY46" fmla="*/ 4497 h 10000"/>
                    <a:gd name="connsiteX47" fmla="*/ 1103 w 10000"/>
                    <a:gd name="connsiteY47" fmla="*/ 4497 h 10000"/>
                    <a:gd name="connsiteX48" fmla="*/ 845 w 10000"/>
                    <a:gd name="connsiteY48" fmla="*/ 4227 h 10000"/>
                    <a:gd name="connsiteX49" fmla="*/ 521 w 10000"/>
                    <a:gd name="connsiteY49" fmla="*/ 3860 h 10000"/>
                    <a:gd name="connsiteX50" fmla="*/ 261 w 10000"/>
                    <a:gd name="connsiteY50" fmla="*/ 3531 h 10000"/>
                    <a:gd name="connsiteX51" fmla="*/ 195 w 10000"/>
                    <a:gd name="connsiteY51" fmla="*/ 3435 h 10000"/>
                    <a:gd name="connsiteX52" fmla="*/ 195 w 10000"/>
                    <a:gd name="connsiteY52" fmla="*/ 3397 h 10000"/>
                    <a:gd name="connsiteX53" fmla="*/ 261 w 10000"/>
                    <a:gd name="connsiteY53" fmla="*/ 3376 h 10000"/>
                    <a:gd name="connsiteX54" fmla="*/ 261 w 10000"/>
                    <a:gd name="connsiteY54" fmla="*/ 3376 h 10000"/>
                    <a:gd name="connsiteX55" fmla="*/ 650 w 10000"/>
                    <a:gd name="connsiteY55" fmla="*/ 3358 h 10000"/>
                    <a:gd name="connsiteX56" fmla="*/ 908 w 10000"/>
                    <a:gd name="connsiteY56" fmla="*/ 3358 h 10000"/>
                    <a:gd name="connsiteX57" fmla="*/ 1103 w 10000"/>
                    <a:gd name="connsiteY57" fmla="*/ 3376 h 10000"/>
                    <a:gd name="connsiteX58" fmla="*/ 1103 w 10000"/>
                    <a:gd name="connsiteY58" fmla="*/ 3376 h 10000"/>
                    <a:gd name="connsiteX59" fmla="*/ 1168 w 10000"/>
                    <a:gd name="connsiteY59" fmla="*/ 3376 h 10000"/>
                    <a:gd name="connsiteX60" fmla="*/ 1235 w 10000"/>
                    <a:gd name="connsiteY60" fmla="*/ 3341 h 10000"/>
                    <a:gd name="connsiteX61" fmla="*/ 1559 w 10000"/>
                    <a:gd name="connsiteY61" fmla="*/ 3223 h 10000"/>
                    <a:gd name="connsiteX62" fmla="*/ 2402 w 10000"/>
                    <a:gd name="connsiteY62" fmla="*/ 2837 h 10000"/>
                    <a:gd name="connsiteX63" fmla="*/ 3507 w 10000"/>
                    <a:gd name="connsiteY63" fmla="*/ 2279 h 10000"/>
                    <a:gd name="connsiteX64" fmla="*/ 3507 w 10000"/>
                    <a:gd name="connsiteY64" fmla="*/ 2279 h 10000"/>
                    <a:gd name="connsiteX65" fmla="*/ 3507 w 10000"/>
                    <a:gd name="connsiteY65" fmla="*/ 2200 h 10000"/>
                    <a:gd name="connsiteX66" fmla="*/ 3507 w 10000"/>
                    <a:gd name="connsiteY66" fmla="*/ 2024 h 10000"/>
                    <a:gd name="connsiteX67" fmla="*/ 3573 w 10000"/>
                    <a:gd name="connsiteY67" fmla="*/ 1911 h 10000"/>
                    <a:gd name="connsiteX68" fmla="*/ 3702 w 10000"/>
                    <a:gd name="connsiteY68" fmla="*/ 1813 h 10000"/>
                    <a:gd name="connsiteX69" fmla="*/ 3896 w 10000"/>
                    <a:gd name="connsiteY69" fmla="*/ 1699 h 10000"/>
                    <a:gd name="connsiteX70" fmla="*/ 4156 w 10000"/>
                    <a:gd name="connsiteY70" fmla="*/ 1603 h 10000"/>
                    <a:gd name="connsiteX71" fmla="*/ 4156 w 10000"/>
                    <a:gd name="connsiteY71" fmla="*/ 1603 h 10000"/>
                    <a:gd name="connsiteX72" fmla="*/ 4806 w 10000"/>
                    <a:gd name="connsiteY72" fmla="*/ 1411 h 10000"/>
                    <a:gd name="connsiteX73" fmla="*/ 5455 w 10000"/>
                    <a:gd name="connsiteY73" fmla="*/ 1157 h 10000"/>
                    <a:gd name="connsiteX74" fmla="*/ 6104 w 10000"/>
                    <a:gd name="connsiteY74" fmla="*/ 926 h 10000"/>
                    <a:gd name="connsiteX75" fmla="*/ 6559 w 10000"/>
                    <a:gd name="connsiteY75" fmla="*/ 715 h 10000"/>
                    <a:gd name="connsiteX76" fmla="*/ 6559 w 10000"/>
                    <a:gd name="connsiteY76" fmla="*/ 715 h 10000"/>
                    <a:gd name="connsiteX77" fmla="*/ 6882 w 10000"/>
                    <a:gd name="connsiteY77" fmla="*/ 523 h 10000"/>
                    <a:gd name="connsiteX78" fmla="*/ 7273 w 10000"/>
                    <a:gd name="connsiteY78" fmla="*/ 288 h 10000"/>
                    <a:gd name="connsiteX79" fmla="*/ 7663 w 10000"/>
                    <a:gd name="connsiteY79" fmla="*/ 115 h 10000"/>
                    <a:gd name="connsiteX80" fmla="*/ 7856 w 10000"/>
                    <a:gd name="connsiteY80" fmla="*/ 35 h 10000"/>
                    <a:gd name="connsiteX81" fmla="*/ 8051 w 10000"/>
                    <a:gd name="connsiteY81" fmla="*/ 18 h 10000"/>
                    <a:gd name="connsiteX82" fmla="*/ 8051 w 10000"/>
                    <a:gd name="connsiteY82" fmla="*/ 18 h 10000"/>
                    <a:gd name="connsiteX83" fmla="*/ 8442 w 10000"/>
                    <a:gd name="connsiteY83" fmla="*/ 0 h 10000"/>
                    <a:gd name="connsiteX84" fmla="*/ 8961 w 10000"/>
                    <a:gd name="connsiteY84" fmla="*/ 0 h 10000"/>
                    <a:gd name="connsiteX85" fmla="*/ 10000 w 10000"/>
                    <a:gd name="connsiteY85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5714 w 10000"/>
                    <a:gd name="connsiteY9" fmla="*/ 9285 h 10000"/>
                    <a:gd name="connsiteX10" fmla="*/ 10000 w 10000"/>
                    <a:gd name="connsiteY10" fmla="*/ 7587 h 10000"/>
                    <a:gd name="connsiteX11" fmla="*/ 10000 w 10000"/>
                    <a:gd name="connsiteY11" fmla="*/ 7587 h 10000"/>
                    <a:gd name="connsiteX12" fmla="*/ 8661 w 10000"/>
                    <a:gd name="connsiteY12" fmla="*/ 7365 h 10000"/>
                    <a:gd name="connsiteX13" fmla="*/ 7404 w 10000"/>
                    <a:gd name="connsiteY13" fmla="*/ 7178 h 10000"/>
                    <a:gd name="connsiteX14" fmla="*/ 5975 w 10000"/>
                    <a:gd name="connsiteY14" fmla="*/ 6949 h 10000"/>
                    <a:gd name="connsiteX15" fmla="*/ 5975 w 10000"/>
                    <a:gd name="connsiteY15" fmla="*/ 6949 h 10000"/>
                    <a:gd name="connsiteX16" fmla="*/ 5975 w 10000"/>
                    <a:gd name="connsiteY16" fmla="*/ 6930 h 10000"/>
                    <a:gd name="connsiteX17" fmla="*/ 5975 w 10000"/>
                    <a:gd name="connsiteY17" fmla="*/ 6814 h 10000"/>
                    <a:gd name="connsiteX18" fmla="*/ 5975 w 10000"/>
                    <a:gd name="connsiteY18" fmla="*/ 6814 h 10000"/>
                    <a:gd name="connsiteX19" fmla="*/ 5779 w 10000"/>
                    <a:gd name="connsiteY19" fmla="*/ 6676 h 10000"/>
                    <a:gd name="connsiteX20" fmla="*/ 5389 w 10000"/>
                    <a:gd name="connsiteY20" fmla="*/ 6465 h 10000"/>
                    <a:gd name="connsiteX21" fmla="*/ 4545 w 10000"/>
                    <a:gd name="connsiteY21" fmla="*/ 6062 h 10000"/>
                    <a:gd name="connsiteX22" fmla="*/ 4545 w 10000"/>
                    <a:gd name="connsiteY22" fmla="*/ 6062 h 10000"/>
                    <a:gd name="connsiteX23" fmla="*/ 4352 w 10000"/>
                    <a:gd name="connsiteY23" fmla="*/ 6003 h 10000"/>
                    <a:gd name="connsiteX24" fmla="*/ 4026 w 10000"/>
                    <a:gd name="connsiteY24" fmla="*/ 5926 h 10000"/>
                    <a:gd name="connsiteX25" fmla="*/ 3052 w 10000"/>
                    <a:gd name="connsiteY25" fmla="*/ 5752 h 10000"/>
                    <a:gd name="connsiteX26" fmla="*/ 1689 w 10000"/>
                    <a:gd name="connsiteY26" fmla="*/ 5540 h 10000"/>
                    <a:gd name="connsiteX27" fmla="*/ 1689 w 10000"/>
                    <a:gd name="connsiteY27" fmla="*/ 5540 h 10000"/>
                    <a:gd name="connsiteX28" fmla="*/ 1103 w 10000"/>
                    <a:gd name="connsiteY28" fmla="*/ 5519 h 10000"/>
                    <a:gd name="connsiteX29" fmla="*/ 650 w 10000"/>
                    <a:gd name="connsiteY29" fmla="*/ 5501 h 10000"/>
                    <a:gd name="connsiteX30" fmla="*/ 521 w 10000"/>
                    <a:gd name="connsiteY30" fmla="*/ 5480 h 10000"/>
                    <a:gd name="connsiteX31" fmla="*/ 390 w 10000"/>
                    <a:gd name="connsiteY31" fmla="*/ 5462 h 10000"/>
                    <a:gd name="connsiteX32" fmla="*/ 390 w 10000"/>
                    <a:gd name="connsiteY32" fmla="*/ 5462 h 10000"/>
                    <a:gd name="connsiteX33" fmla="*/ 261 w 10000"/>
                    <a:gd name="connsiteY33" fmla="*/ 5383 h 10000"/>
                    <a:gd name="connsiteX34" fmla="*/ 65 w 10000"/>
                    <a:gd name="connsiteY34" fmla="*/ 5253 h 10000"/>
                    <a:gd name="connsiteX35" fmla="*/ 0 w 10000"/>
                    <a:gd name="connsiteY35" fmla="*/ 5174 h 10000"/>
                    <a:gd name="connsiteX36" fmla="*/ 0 w 10000"/>
                    <a:gd name="connsiteY36" fmla="*/ 5094 h 10000"/>
                    <a:gd name="connsiteX37" fmla="*/ 0 w 10000"/>
                    <a:gd name="connsiteY37" fmla="*/ 5038 h 10000"/>
                    <a:gd name="connsiteX38" fmla="*/ 131 w 10000"/>
                    <a:gd name="connsiteY38" fmla="*/ 4979 h 10000"/>
                    <a:gd name="connsiteX39" fmla="*/ 131 w 10000"/>
                    <a:gd name="connsiteY39" fmla="*/ 4979 h 10000"/>
                    <a:gd name="connsiteX40" fmla="*/ 455 w 10000"/>
                    <a:gd name="connsiteY40" fmla="*/ 4882 h 10000"/>
                    <a:gd name="connsiteX41" fmla="*/ 779 w 10000"/>
                    <a:gd name="connsiteY41" fmla="*/ 4788 h 10000"/>
                    <a:gd name="connsiteX42" fmla="*/ 975 w 10000"/>
                    <a:gd name="connsiteY42" fmla="*/ 4730 h 10000"/>
                    <a:gd name="connsiteX43" fmla="*/ 1103 w 10000"/>
                    <a:gd name="connsiteY43" fmla="*/ 4671 h 10000"/>
                    <a:gd name="connsiteX44" fmla="*/ 1103 w 10000"/>
                    <a:gd name="connsiteY44" fmla="*/ 4593 h 10000"/>
                    <a:gd name="connsiteX45" fmla="*/ 1103 w 10000"/>
                    <a:gd name="connsiteY45" fmla="*/ 4497 h 10000"/>
                    <a:gd name="connsiteX46" fmla="*/ 1103 w 10000"/>
                    <a:gd name="connsiteY46" fmla="*/ 4497 h 10000"/>
                    <a:gd name="connsiteX47" fmla="*/ 845 w 10000"/>
                    <a:gd name="connsiteY47" fmla="*/ 4227 h 10000"/>
                    <a:gd name="connsiteX48" fmla="*/ 521 w 10000"/>
                    <a:gd name="connsiteY48" fmla="*/ 3860 h 10000"/>
                    <a:gd name="connsiteX49" fmla="*/ 261 w 10000"/>
                    <a:gd name="connsiteY49" fmla="*/ 3531 h 10000"/>
                    <a:gd name="connsiteX50" fmla="*/ 195 w 10000"/>
                    <a:gd name="connsiteY50" fmla="*/ 3435 h 10000"/>
                    <a:gd name="connsiteX51" fmla="*/ 195 w 10000"/>
                    <a:gd name="connsiteY51" fmla="*/ 3397 h 10000"/>
                    <a:gd name="connsiteX52" fmla="*/ 261 w 10000"/>
                    <a:gd name="connsiteY52" fmla="*/ 3376 h 10000"/>
                    <a:gd name="connsiteX53" fmla="*/ 261 w 10000"/>
                    <a:gd name="connsiteY53" fmla="*/ 3376 h 10000"/>
                    <a:gd name="connsiteX54" fmla="*/ 650 w 10000"/>
                    <a:gd name="connsiteY54" fmla="*/ 3358 h 10000"/>
                    <a:gd name="connsiteX55" fmla="*/ 908 w 10000"/>
                    <a:gd name="connsiteY55" fmla="*/ 3358 h 10000"/>
                    <a:gd name="connsiteX56" fmla="*/ 1103 w 10000"/>
                    <a:gd name="connsiteY56" fmla="*/ 3376 h 10000"/>
                    <a:gd name="connsiteX57" fmla="*/ 1103 w 10000"/>
                    <a:gd name="connsiteY57" fmla="*/ 3376 h 10000"/>
                    <a:gd name="connsiteX58" fmla="*/ 1168 w 10000"/>
                    <a:gd name="connsiteY58" fmla="*/ 3376 h 10000"/>
                    <a:gd name="connsiteX59" fmla="*/ 1235 w 10000"/>
                    <a:gd name="connsiteY59" fmla="*/ 3341 h 10000"/>
                    <a:gd name="connsiteX60" fmla="*/ 1559 w 10000"/>
                    <a:gd name="connsiteY60" fmla="*/ 3223 h 10000"/>
                    <a:gd name="connsiteX61" fmla="*/ 2402 w 10000"/>
                    <a:gd name="connsiteY61" fmla="*/ 2837 h 10000"/>
                    <a:gd name="connsiteX62" fmla="*/ 3507 w 10000"/>
                    <a:gd name="connsiteY62" fmla="*/ 2279 h 10000"/>
                    <a:gd name="connsiteX63" fmla="*/ 3507 w 10000"/>
                    <a:gd name="connsiteY63" fmla="*/ 2279 h 10000"/>
                    <a:gd name="connsiteX64" fmla="*/ 3507 w 10000"/>
                    <a:gd name="connsiteY64" fmla="*/ 2200 h 10000"/>
                    <a:gd name="connsiteX65" fmla="*/ 3507 w 10000"/>
                    <a:gd name="connsiteY65" fmla="*/ 2024 h 10000"/>
                    <a:gd name="connsiteX66" fmla="*/ 3573 w 10000"/>
                    <a:gd name="connsiteY66" fmla="*/ 1911 h 10000"/>
                    <a:gd name="connsiteX67" fmla="*/ 3702 w 10000"/>
                    <a:gd name="connsiteY67" fmla="*/ 1813 h 10000"/>
                    <a:gd name="connsiteX68" fmla="*/ 3896 w 10000"/>
                    <a:gd name="connsiteY68" fmla="*/ 1699 h 10000"/>
                    <a:gd name="connsiteX69" fmla="*/ 4156 w 10000"/>
                    <a:gd name="connsiteY69" fmla="*/ 1603 h 10000"/>
                    <a:gd name="connsiteX70" fmla="*/ 4156 w 10000"/>
                    <a:gd name="connsiteY70" fmla="*/ 1603 h 10000"/>
                    <a:gd name="connsiteX71" fmla="*/ 4806 w 10000"/>
                    <a:gd name="connsiteY71" fmla="*/ 1411 h 10000"/>
                    <a:gd name="connsiteX72" fmla="*/ 5455 w 10000"/>
                    <a:gd name="connsiteY72" fmla="*/ 1157 h 10000"/>
                    <a:gd name="connsiteX73" fmla="*/ 6104 w 10000"/>
                    <a:gd name="connsiteY73" fmla="*/ 926 h 10000"/>
                    <a:gd name="connsiteX74" fmla="*/ 6559 w 10000"/>
                    <a:gd name="connsiteY74" fmla="*/ 715 h 10000"/>
                    <a:gd name="connsiteX75" fmla="*/ 6559 w 10000"/>
                    <a:gd name="connsiteY75" fmla="*/ 715 h 10000"/>
                    <a:gd name="connsiteX76" fmla="*/ 6882 w 10000"/>
                    <a:gd name="connsiteY76" fmla="*/ 523 h 10000"/>
                    <a:gd name="connsiteX77" fmla="*/ 7273 w 10000"/>
                    <a:gd name="connsiteY77" fmla="*/ 288 h 10000"/>
                    <a:gd name="connsiteX78" fmla="*/ 7663 w 10000"/>
                    <a:gd name="connsiteY78" fmla="*/ 115 h 10000"/>
                    <a:gd name="connsiteX79" fmla="*/ 7856 w 10000"/>
                    <a:gd name="connsiteY79" fmla="*/ 35 h 10000"/>
                    <a:gd name="connsiteX80" fmla="*/ 8051 w 10000"/>
                    <a:gd name="connsiteY80" fmla="*/ 18 h 10000"/>
                    <a:gd name="connsiteX81" fmla="*/ 8051 w 10000"/>
                    <a:gd name="connsiteY81" fmla="*/ 18 h 10000"/>
                    <a:gd name="connsiteX82" fmla="*/ 8442 w 10000"/>
                    <a:gd name="connsiteY82" fmla="*/ 0 h 10000"/>
                    <a:gd name="connsiteX83" fmla="*/ 8961 w 10000"/>
                    <a:gd name="connsiteY83" fmla="*/ 0 h 10000"/>
                    <a:gd name="connsiteX84" fmla="*/ 10000 w 10000"/>
                    <a:gd name="connsiteY84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5975 w 10000"/>
                    <a:gd name="connsiteY8" fmla="*/ 9341 h 10000"/>
                    <a:gd name="connsiteX9" fmla="*/ 10000 w 10000"/>
                    <a:gd name="connsiteY9" fmla="*/ 7587 h 10000"/>
                    <a:gd name="connsiteX10" fmla="*/ 10000 w 10000"/>
                    <a:gd name="connsiteY10" fmla="*/ 7587 h 10000"/>
                    <a:gd name="connsiteX11" fmla="*/ 8661 w 10000"/>
                    <a:gd name="connsiteY11" fmla="*/ 7365 h 10000"/>
                    <a:gd name="connsiteX12" fmla="*/ 7404 w 10000"/>
                    <a:gd name="connsiteY12" fmla="*/ 7178 h 10000"/>
                    <a:gd name="connsiteX13" fmla="*/ 5975 w 10000"/>
                    <a:gd name="connsiteY13" fmla="*/ 6949 h 10000"/>
                    <a:gd name="connsiteX14" fmla="*/ 5975 w 10000"/>
                    <a:gd name="connsiteY14" fmla="*/ 6949 h 10000"/>
                    <a:gd name="connsiteX15" fmla="*/ 5975 w 10000"/>
                    <a:gd name="connsiteY15" fmla="*/ 6930 h 10000"/>
                    <a:gd name="connsiteX16" fmla="*/ 5975 w 10000"/>
                    <a:gd name="connsiteY16" fmla="*/ 6814 h 10000"/>
                    <a:gd name="connsiteX17" fmla="*/ 5975 w 10000"/>
                    <a:gd name="connsiteY17" fmla="*/ 6814 h 10000"/>
                    <a:gd name="connsiteX18" fmla="*/ 5779 w 10000"/>
                    <a:gd name="connsiteY18" fmla="*/ 6676 h 10000"/>
                    <a:gd name="connsiteX19" fmla="*/ 5389 w 10000"/>
                    <a:gd name="connsiteY19" fmla="*/ 6465 h 10000"/>
                    <a:gd name="connsiteX20" fmla="*/ 4545 w 10000"/>
                    <a:gd name="connsiteY20" fmla="*/ 6062 h 10000"/>
                    <a:gd name="connsiteX21" fmla="*/ 4545 w 10000"/>
                    <a:gd name="connsiteY21" fmla="*/ 6062 h 10000"/>
                    <a:gd name="connsiteX22" fmla="*/ 4352 w 10000"/>
                    <a:gd name="connsiteY22" fmla="*/ 6003 h 10000"/>
                    <a:gd name="connsiteX23" fmla="*/ 4026 w 10000"/>
                    <a:gd name="connsiteY23" fmla="*/ 5926 h 10000"/>
                    <a:gd name="connsiteX24" fmla="*/ 3052 w 10000"/>
                    <a:gd name="connsiteY24" fmla="*/ 5752 h 10000"/>
                    <a:gd name="connsiteX25" fmla="*/ 1689 w 10000"/>
                    <a:gd name="connsiteY25" fmla="*/ 5540 h 10000"/>
                    <a:gd name="connsiteX26" fmla="*/ 1689 w 10000"/>
                    <a:gd name="connsiteY26" fmla="*/ 5540 h 10000"/>
                    <a:gd name="connsiteX27" fmla="*/ 1103 w 10000"/>
                    <a:gd name="connsiteY27" fmla="*/ 5519 h 10000"/>
                    <a:gd name="connsiteX28" fmla="*/ 650 w 10000"/>
                    <a:gd name="connsiteY28" fmla="*/ 5501 h 10000"/>
                    <a:gd name="connsiteX29" fmla="*/ 521 w 10000"/>
                    <a:gd name="connsiteY29" fmla="*/ 5480 h 10000"/>
                    <a:gd name="connsiteX30" fmla="*/ 390 w 10000"/>
                    <a:gd name="connsiteY30" fmla="*/ 5462 h 10000"/>
                    <a:gd name="connsiteX31" fmla="*/ 390 w 10000"/>
                    <a:gd name="connsiteY31" fmla="*/ 5462 h 10000"/>
                    <a:gd name="connsiteX32" fmla="*/ 261 w 10000"/>
                    <a:gd name="connsiteY32" fmla="*/ 5383 h 10000"/>
                    <a:gd name="connsiteX33" fmla="*/ 65 w 10000"/>
                    <a:gd name="connsiteY33" fmla="*/ 5253 h 10000"/>
                    <a:gd name="connsiteX34" fmla="*/ 0 w 10000"/>
                    <a:gd name="connsiteY34" fmla="*/ 5174 h 10000"/>
                    <a:gd name="connsiteX35" fmla="*/ 0 w 10000"/>
                    <a:gd name="connsiteY35" fmla="*/ 5094 h 10000"/>
                    <a:gd name="connsiteX36" fmla="*/ 0 w 10000"/>
                    <a:gd name="connsiteY36" fmla="*/ 5038 h 10000"/>
                    <a:gd name="connsiteX37" fmla="*/ 131 w 10000"/>
                    <a:gd name="connsiteY37" fmla="*/ 4979 h 10000"/>
                    <a:gd name="connsiteX38" fmla="*/ 131 w 10000"/>
                    <a:gd name="connsiteY38" fmla="*/ 4979 h 10000"/>
                    <a:gd name="connsiteX39" fmla="*/ 455 w 10000"/>
                    <a:gd name="connsiteY39" fmla="*/ 4882 h 10000"/>
                    <a:gd name="connsiteX40" fmla="*/ 779 w 10000"/>
                    <a:gd name="connsiteY40" fmla="*/ 4788 h 10000"/>
                    <a:gd name="connsiteX41" fmla="*/ 975 w 10000"/>
                    <a:gd name="connsiteY41" fmla="*/ 4730 h 10000"/>
                    <a:gd name="connsiteX42" fmla="*/ 1103 w 10000"/>
                    <a:gd name="connsiteY42" fmla="*/ 4671 h 10000"/>
                    <a:gd name="connsiteX43" fmla="*/ 1103 w 10000"/>
                    <a:gd name="connsiteY43" fmla="*/ 4593 h 10000"/>
                    <a:gd name="connsiteX44" fmla="*/ 1103 w 10000"/>
                    <a:gd name="connsiteY44" fmla="*/ 4497 h 10000"/>
                    <a:gd name="connsiteX45" fmla="*/ 1103 w 10000"/>
                    <a:gd name="connsiteY45" fmla="*/ 4497 h 10000"/>
                    <a:gd name="connsiteX46" fmla="*/ 845 w 10000"/>
                    <a:gd name="connsiteY46" fmla="*/ 4227 h 10000"/>
                    <a:gd name="connsiteX47" fmla="*/ 521 w 10000"/>
                    <a:gd name="connsiteY47" fmla="*/ 3860 h 10000"/>
                    <a:gd name="connsiteX48" fmla="*/ 261 w 10000"/>
                    <a:gd name="connsiteY48" fmla="*/ 3531 h 10000"/>
                    <a:gd name="connsiteX49" fmla="*/ 195 w 10000"/>
                    <a:gd name="connsiteY49" fmla="*/ 3435 h 10000"/>
                    <a:gd name="connsiteX50" fmla="*/ 195 w 10000"/>
                    <a:gd name="connsiteY50" fmla="*/ 3397 h 10000"/>
                    <a:gd name="connsiteX51" fmla="*/ 261 w 10000"/>
                    <a:gd name="connsiteY51" fmla="*/ 3376 h 10000"/>
                    <a:gd name="connsiteX52" fmla="*/ 261 w 10000"/>
                    <a:gd name="connsiteY52" fmla="*/ 3376 h 10000"/>
                    <a:gd name="connsiteX53" fmla="*/ 650 w 10000"/>
                    <a:gd name="connsiteY53" fmla="*/ 3358 h 10000"/>
                    <a:gd name="connsiteX54" fmla="*/ 908 w 10000"/>
                    <a:gd name="connsiteY54" fmla="*/ 3358 h 10000"/>
                    <a:gd name="connsiteX55" fmla="*/ 1103 w 10000"/>
                    <a:gd name="connsiteY55" fmla="*/ 3376 h 10000"/>
                    <a:gd name="connsiteX56" fmla="*/ 1103 w 10000"/>
                    <a:gd name="connsiteY56" fmla="*/ 3376 h 10000"/>
                    <a:gd name="connsiteX57" fmla="*/ 1168 w 10000"/>
                    <a:gd name="connsiteY57" fmla="*/ 3376 h 10000"/>
                    <a:gd name="connsiteX58" fmla="*/ 1235 w 10000"/>
                    <a:gd name="connsiteY58" fmla="*/ 3341 h 10000"/>
                    <a:gd name="connsiteX59" fmla="*/ 1559 w 10000"/>
                    <a:gd name="connsiteY59" fmla="*/ 3223 h 10000"/>
                    <a:gd name="connsiteX60" fmla="*/ 2402 w 10000"/>
                    <a:gd name="connsiteY60" fmla="*/ 2837 h 10000"/>
                    <a:gd name="connsiteX61" fmla="*/ 3507 w 10000"/>
                    <a:gd name="connsiteY61" fmla="*/ 2279 h 10000"/>
                    <a:gd name="connsiteX62" fmla="*/ 3507 w 10000"/>
                    <a:gd name="connsiteY62" fmla="*/ 2279 h 10000"/>
                    <a:gd name="connsiteX63" fmla="*/ 3507 w 10000"/>
                    <a:gd name="connsiteY63" fmla="*/ 2200 h 10000"/>
                    <a:gd name="connsiteX64" fmla="*/ 3507 w 10000"/>
                    <a:gd name="connsiteY64" fmla="*/ 2024 h 10000"/>
                    <a:gd name="connsiteX65" fmla="*/ 3573 w 10000"/>
                    <a:gd name="connsiteY65" fmla="*/ 1911 h 10000"/>
                    <a:gd name="connsiteX66" fmla="*/ 3702 w 10000"/>
                    <a:gd name="connsiteY66" fmla="*/ 1813 h 10000"/>
                    <a:gd name="connsiteX67" fmla="*/ 3896 w 10000"/>
                    <a:gd name="connsiteY67" fmla="*/ 1699 h 10000"/>
                    <a:gd name="connsiteX68" fmla="*/ 4156 w 10000"/>
                    <a:gd name="connsiteY68" fmla="*/ 1603 h 10000"/>
                    <a:gd name="connsiteX69" fmla="*/ 4156 w 10000"/>
                    <a:gd name="connsiteY69" fmla="*/ 1603 h 10000"/>
                    <a:gd name="connsiteX70" fmla="*/ 4806 w 10000"/>
                    <a:gd name="connsiteY70" fmla="*/ 1411 h 10000"/>
                    <a:gd name="connsiteX71" fmla="*/ 5455 w 10000"/>
                    <a:gd name="connsiteY71" fmla="*/ 1157 h 10000"/>
                    <a:gd name="connsiteX72" fmla="*/ 6104 w 10000"/>
                    <a:gd name="connsiteY72" fmla="*/ 926 h 10000"/>
                    <a:gd name="connsiteX73" fmla="*/ 6559 w 10000"/>
                    <a:gd name="connsiteY73" fmla="*/ 715 h 10000"/>
                    <a:gd name="connsiteX74" fmla="*/ 6559 w 10000"/>
                    <a:gd name="connsiteY74" fmla="*/ 715 h 10000"/>
                    <a:gd name="connsiteX75" fmla="*/ 6882 w 10000"/>
                    <a:gd name="connsiteY75" fmla="*/ 523 h 10000"/>
                    <a:gd name="connsiteX76" fmla="*/ 7273 w 10000"/>
                    <a:gd name="connsiteY76" fmla="*/ 288 h 10000"/>
                    <a:gd name="connsiteX77" fmla="*/ 7663 w 10000"/>
                    <a:gd name="connsiteY77" fmla="*/ 115 h 10000"/>
                    <a:gd name="connsiteX78" fmla="*/ 7856 w 10000"/>
                    <a:gd name="connsiteY78" fmla="*/ 35 h 10000"/>
                    <a:gd name="connsiteX79" fmla="*/ 8051 w 10000"/>
                    <a:gd name="connsiteY79" fmla="*/ 18 h 10000"/>
                    <a:gd name="connsiteX80" fmla="*/ 8051 w 10000"/>
                    <a:gd name="connsiteY80" fmla="*/ 18 h 10000"/>
                    <a:gd name="connsiteX81" fmla="*/ 8442 w 10000"/>
                    <a:gd name="connsiteY81" fmla="*/ 0 h 10000"/>
                    <a:gd name="connsiteX82" fmla="*/ 8961 w 10000"/>
                    <a:gd name="connsiteY82" fmla="*/ 0 h 10000"/>
                    <a:gd name="connsiteX83" fmla="*/ 10000 w 10000"/>
                    <a:gd name="connsiteY83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5975 w 10000"/>
                    <a:gd name="connsiteY7" fmla="*/ 9341 h 10000"/>
                    <a:gd name="connsiteX8" fmla="*/ 10000 w 10000"/>
                    <a:gd name="connsiteY8" fmla="*/ 7587 h 10000"/>
                    <a:gd name="connsiteX9" fmla="*/ 10000 w 10000"/>
                    <a:gd name="connsiteY9" fmla="*/ 7587 h 10000"/>
                    <a:gd name="connsiteX10" fmla="*/ 8661 w 10000"/>
                    <a:gd name="connsiteY10" fmla="*/ 7365 h 10000"/>
                    <a:gd name="connsiteX11" fmla="*/ 7404 w 10000"/>
                    <a:gd name="connsiteY11" fmla="*/ 7178 h 10000"/>
                    <a:gd name="connsiteX12" fmla="*/ 5975 w 10000"/>
                    <a:gd name="connsiteY12" fmla="*/ 6949 h 10000"/>
                    <a:gd name="connsiteX13" fmla="*/ 5975 w 10000"/>
                    <a:gd name="connsiteY13" fmla="*/ 6949 h 10000"/>
                    <a:gd name="connsiteX14" fmla="*/ 5975 w 10000"/>
                    <a:gd name="connsiteY14" fmla="*/ 6930 h 10000"/>
                    <a:gd name="connsiteX15" fmla="*/ 5975 w 10000"/>
                    <a:gd name="connsiteY15" fmla="*/ 6814 h 10000"/>
                    <a:gd name="connsiteX16" fmla="*/ 5975 w 10000"/>
                    <a:gd name="connsiteY16" fmla="*/ 6814 h 10000"/>
                    <a:gd name="connsiteX17" fmla="*/ 5779 w 10000"/>
                    <a:gd name="connsiteY17" fmla="*/ 6676 h 10000"/>
                    <a:gd name="connsiteX18" fmla="*/ 5389 w 10000"/>
                    <a:gd name="connsiteY18" fmla="*/ 6465 h 10000"/>
                    <a:gd name="connsiteX19" fmla="*/ 4545 w 10000"/>
                    <a:gd name="connsiteY19" fmla="*/ 6062 h 10000"/>
                    <a:gd name="connsiteX20" fmla="*/ 4545 w 10000"/>
                    <a:gd name="connsiteY20" fmla="*/ 6062 h 10000"/>
                    <a:gd name="connsiteX21" fmla="*/ 4352 w 10000"/>
                    <a:gd name="connsiteY21" fmla="*/ 6003 h 10000"/>
                    <a:gd name="connsiteX22" fmla="*/ 4026 w 10000"/>
                    <a:gd name="connsiteY22" fmla="*/ 5926 h 10000"/>
                    <a:gd name="connsiteX23" fmla="*/ 3052 w 10000"/>
                    <a:gd name="connsiteY23" fmla="*/ 5752 h 10000"/>
                    <a:gd name="connsiteX24" fmla="*/ 1689 w 10000"/>
                    <a:gd name="connsiteY24" fmla="*/ 5540 h 10000"/>
                    <a:gd name="connsiteX25" fmla="*/ 1689 w 10000"/>
                    <a:gd name="connsiteY25" fmla="*/ 5540 h 10000"/>
                    <a:gd name="connsiteX26" fmla="*/ 1103 w 10000"/>
                    <a:gd name="connsiteY26" fmla="*/ 5519 h 10000"/>
                    <a:gd name="connsiteX27" fmla="*/ 650 w 10000"/>
                    <a:gd name="connsiteY27" fmla="*/ 5501 h 10000"/>
                    <a:gd name="connsiteX28" fmla="*/ 521 w 10000"/>
                    <a:gd name="connsiteY28" fmla="*/ 5480 h 10000"/>
                    <a:gd name="connsiteX29" fmla="*/ 390 w 10000"/>
                    <a:gd name="connsiteY29" fmla="*/ 5462 h 10000"/>
                    <a:gd name="connsiteX30" fmla="*/ 390 w 10000"/>
                    <a:gd name="connsiteY30" fmla="*/ 5462 h 10000"/>
                    <a:gd name="connsiteX31" fmla="*/ 261 w 10000"/>
                    <a:gd name="connsiteY31" fmla="*/ 5383 h 10000"/>
                    <a:gd name="connsiteX32" fmla="*/ 65 w 10000"/>
                    <a:gd name="connsiteY32" fmla="*/ 5253 h 10000"/>
                    <a:gd name="connsiteX33" fmla="*/ 0 w 10000"/>
                    <a:gd name="connsiteY33" fmla="*/ 5174 h 10000"/>
                    <a:gd name="connsiteX34" fmla="*/ 0 w 10000"/>
                    <a:gd name="connsiteY34" fmla="*/ 5094 h 10000"/>
                    <a:gd name="connsiteX35" fmla="*/ 0 w 10000"/>
                    <a:gd name="connsiteY35" fmla="*/ 5038 h 10000"/>
                    <a:gd name="connsiteX36" fmla="*/ 131 w 10000"/>
                    <a:gd name="connsiteY36" fmla="*/ 4979 h 10000"/>
                    <a:gd name="connsiteX37" fmla="*/ 131 w 10000"/>
                    <a:gd name="connsiteY37" fmla="*/ 4979 h 10000"/>
                    <a:gd name="connsiteX38" fmla="*/ 455 w 10000"/>
                    <a:gd name="connsiteY38" fmla="*/ 4882 h 10000"/>
                    <a:gd name="connsiteX39" fmla="*/ 779 w 10000"/>
                    <a:gd name="connsiteY39" fmla="*/ 4788 h 10000"/>
                    <a:gd name="connsiteX40" fmla="*/ 975 w 10000"/>
                    <a:gd name="connsiteY40" fmla="*/ 4730 h 10000"/>
                    <a:gd name="connsiteX41" fmla="*/ 1103 w 10000"/>
                    <a:gd name="connsiteY41" fmla="*/ 4671 h 10000"/>
                    <a:gd name="connsiteX42" fmla="*/ 1103 w 10000"/>
                    <a:gd name="connsiteY42" fmla="*/ 4593 h 10000"/>
                    <a:gd name="connsiteX43" fmla="*/ 1103 w 10000"/>
                    <a:gd name="connsiteY43" fmla="*/ 4497 h 10000"/>
                    <a:gd name="connsiteX44" fmla="*/ 1103 w 10000"/>
                    <a:gd name="connsiteY44" fmla="*/ 4497 h 10000"/>
                    <a:gd name="connsiteX45" fmla="*/ 845 w 10000"/>
                    <a:gd name="connsiteY45" fmla="*/ 4227 h 10000"/>
                    <a:gd name="connsiteX46" fmla="*/ 521 w 10000"/>
                    <a:gd name="connsiteY46" fmla="*/ 3860 h 10000"/>
                    <a:gd name="connsiteX47" fmla="*/ 261 w 10000"/>
                    <a:gd name="connsiteY47" fmla="*/ 3531 h 10000"/>
                    <a:gd name="connsiteX48" fmla="*/ 195 w 10000"/>
                    <a:gd name="connsiteY48" fmla="*/ 3435 h 10000"/>
                    <a:gd name="connsiteX49" fmla="*/ 195 w 10000"/>
                    <a:gd name="connsiteY49" fmla="*/ 3397 h 10000"/>
                    <a:gd name="connsiteX50" fmla="*/ 261 w 10000"/>
                    <a:gd name="connsiteY50" fmla="*/ 3376 h 10000"/>
                    <a:gd name="connsiteX51" fmla="*/ 261 w 10000"/>
                    <a:gd name="connsiteY51" fmla="*/ 3376 h 10000"/>
                    <a:gd name="connsiteX52" fmla="*/ 650 w 10000"/>
                    <a:gd name="connsiteY52" fmla="*/ 3358 h 10000"/>
                    <a:gd name="connsiteX53" fmla="*/ 908 w 10000"/>
                    <a:gd name="connsiteY53" fmla="*/ 3358 h 10000"/>
                    <a:gd name="connsiteX54" fmla="*/ 1103 w 10000"/>
                    <a:gd name="connsiteY54" fmla="*/ 3376 h 10000"/>
                    <a:gd name="connsiteX55" fmla="*/ 1103 w 10000"/>
                    <a:gd name="connsiteY55" fmla="*/ 3376 h 10000"/>
                    <a:gd name="connsiteX56" fmla="*/ 1168 w 10000"/>
                    <a:gd name="connsiteY56" fmla="*/ 3376 h 10000"/>
                    <a:gd name="connsiteX57" fmla="*/ 1235 w 10000"/>
                    <a:gd name="connsiteY57" fmla="*/ 3341 h 10000"/>
                    <a:gd name="connsiteX58" fmla="*/ 1559 w 10000"/>
                    <a:gd name="connsiteY58" fmla="*/ 3223 h 10000"/>
                    <a:gd name="connsiteX59" fmla="*/ 2402 w 10000"/>
                    <a:gd name="connsiteY59" fmla="*/ 2837 h 10000"/>
                    <a:gd name="connsiteX60" fmla="*/ 3507 w 10000"/>
                    <a:gd name="connsiteY60" fmla="*/ 2279 h 10000"/>
                    <a:gd name="connsiteX61" fmla="*/ 3507 w 10000"/>
                    <a:gd name="connsiteY61" fmla="*/ 2279 h 10000"/>
                    <a:gd name="connsiteX62" fmla="*/ 3507 w 10000"/>
                    <a:gd name="connsiteY62" fmla="*/ 2200 h 10000"/>
                    <a:gd name="connsiteX63" fmla="*/ 3507 w 10000"/>
                    <a:gd name="connsiteY63" fmla="*/ 2024 h 10000"/>
                    <a:gd name="connsiteX64" fmla="*/ 3573 w 10000"/>
                    <a:gd name="connsiteY64" fmla="*/ 1911 h 10000"/>
                    <a:gd name="connsiteX65" fmla="*/ 3702 w 10000"/>
                    <a:gd name="connsiteY65" fmla="*/ 1813 h 10000"/>
                    <a:gd name="connsiteX66" fmla="*/ 3896 w 10000"/>
                    <a:gd name="connsiteY66" fmla="*/ 1699 h 10000"/>
                    <a:gd name="connsiteX67" fmla="*/ 4156 w 10000"/>
                    <a:gd name="connsiteY67" fmla="*/ 1603 h 10000"/>
                    <a:gd name="connsiteX68" fmla="*/ 4156 w 10000"/>
                    <a:gd name="connsiteY68" fmla="*/ 1603 h 10000"/>
                    <a:gd name="connsiteX69" fmla="*/ 4806 w 10000"/>
                    <a:gd name="connsiteY69" fmla="*/ 1411 h 10000"/>
                    <a:gd name="connsiteX70" fmla="*/ 5455 w 10000"/>
                    <a:gd name="connsiteY70" fmla="*/ 1157 h 10000"/>
                    <a:gd name="connsiteX71" fmla="*/ 6104 w 10000"/>
                    <a:gd name="connsiteY71" fmla="*/ 926 h 10000"/>
                    <a:gd name="connsiteX72" fmla="*/ 6559 w 10000"/>
                    <a:gd name="connsiteY72" fmla="*/ 715 h 10000"/>
                    <a:gd name="connsiteX73" fmla="*/ 6559 w 10000"/>
                    <a:gd name="connsiteY73" fmla="*/ 715 h 10000"/>
                    <a:gd name="connsiteX74" fmla="*/ 6882 w 10000"/>
                    <a:gd name="connsiteY74" fmla="*/ 523 h 10000"/>
                    <a:gd name="connsiteX75" fmla="*/ 7273 w 10000"/>
                    <a:gd name="connsiteY75" fmla="*/ 288 h 10000"/>
                    <a:gd name="connsiteX76" fmla="*/ 7663 w 10000"/>
                    <a:gd name="connsiteY76" fmla="*/ 115 h 10000"/>
                    <a:gd name="connsiteX77" fmla="*/ 7856 w 10000"/>
                    <a:gd name="connsiteY77" fmla="*/ 35 h 10000"/>
                    <a:gd name="connsiteX78" fmla="*/ 8051 w 10000"/>
                    <a:gd name="connsiteY78" fmla="*/ 18 h 10000"/>
                    <a:gd name="connsiteX79" fmla="*/ 8051 w 10000"/>
                    <a:gd name="connsiteY79" fmla="*/ 18 h 10000"/>
                    <a:gd name="connsiteX80" fmla="*/ 8442 w 10000"/>
                    <a:gd name="connsiteY80" fmla="*/ 0 h 10000"/>
                    <a:gd name="connsiteX81" fmla="*/ 8961 w 10000"/>
                    <a:gd name="connsiteY81" fmla="*/ 0 h 10000"/>
                    <a:gd name="connsiteX82" fmla="*/ 10000 w 10000"/>
                    <a:gd name="connsiteY82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8312 w 10000"/>
                    <a:gd name="connsiteY6" fmla="*/ 9690 h 10000"/>
                    <a:gd name="connsiteX7" fmla="*/ 10000 w 10000"/>
                    <a:gd name="connsiteY7" fmla="*/ 7587 h 10000"/>
                    <a:gd name="connsiteX8" fmla="*/ 10000 w 10000"/>
                    <a:gd name="connsiteY8" fmla="*/ 7587 h 10000"/>
                    <a:gd name="connsiteX9" fmla="*/ 8661 w 10000"/>
                    <a:gd name="connsiteY9" fmla="*/ 7365 h 10000"/>
                    <a:gd name="connsiteX10" fmla="*/ 7404 w 10000"/>
                    <a:gd name="connsiteY10" fmla="*/ 7178 h 10000"/>
                    <a:gd name="connsiteX11" fmla="*/ 5975 w 10000"/>
                    <a:gd name="connsiteY11" fmla="*/ 6949 h 10000"/>
                    <a:gd name="connsiteX12" fmla="*/ 5975 w 10000"/>
                    <a:gd name="connsiteY12" fmla="*/ 6949 h 10000"/>
                    <a:gd name="connsiteX13" fmla="*/ 5975 w 10000"/>
                    <a:gd name="connsiteY13" fmla="*/ 6930 h 10000"/>
                    <a:gd name="connsiteX14" fmla="*/ 5975 w 10000"/>
                    <a:gd name="connsiteY14" fmla="*/ 6814 h 10000"/>
                    <a:gd name="connsiteX15" fmla="*/ 5975 w 10000"/>
                    <a:gd name="connsiteY15" fmla="*/ 6814 h 10000"/>
                    <a:gd name="connsiteX16" fmla="*/ 5779 w 10000"/>
                    <a:gd name="connsiteY16" fmla="*/ 6676 h 10000"/>
                    <a:gd name="connsiteX17" fmla="*/ 5389 w 10000"/>
                    <a:gd name="connsiteY17" fmla="*/ 6465 h 10000"/>
                    <a:gd name="connsiteX18" fmla="*/ 4545 w 10000"/>
                    <a:gd name="connsiteY18" fmla="*/ 6062 h 10000"/>
                    <a:gd name="connsiteX19" fmla="*/ 4545 w 10000"/>
                    <a:gd name="connsiteY19" fmla="*/ 6062 h 10000"/>
                    <a:gd name="connsiteX20" fmla="*/ 4352 w 10000"/>
                    <a:gd name="connsiteY20" fmla="*/ 6003 h 10000"/>
                    <a:gd name="connsiteX21" fmla="*/ 4026 w 10000"/>
                    <a:gd name="connsiteY21" fmla="*/ 5926 h 10000"/>
                    <a:gd name="connsiteX22" fmla="*/ 3052 w 10000"/>
                    <a:gd name="connsiteY22" fmla="*/ 5752 h 10000"/>
                    <a:gd name="connsiteX23" fmla="*/ 1689 w 10000"/>
                    <a:gd name="connsiteY23" fmla="*/ 5540 h 10000"/>
                    <a:gd name="connsiteX24" fmla="*/ 1689 w 10000"/>
                    <a:gd name="connsiteY24" fmla="*/ 5540 h 10000"/>
                    <a:gd name="connsiteX25" fmla="*/ 1103 w 10000"/>
                    <a:gd name="connsiteY25" fmla="*/ 5519 h 10000"/>
                    <a:gd name="connsiteX26" fmla="*/ 650 w 10000"/>
                    <a:gd name="connsiteY26" fmla="*/ 5501 h 10000"/>
                    <a:gd name="connsiteX27" fmla="*/ 521 w 10000"/>
                    <a:gd name="connsiteY27" fmla="*/ 5480 h 10000"/>
                    <a:gd name="connsiteX28" fmla="*/ 390 w 10000"/>
                    <a:gd name="connsiteY28" fmla="*/ 5462 h 10000"/>
                    <a:gd name="connsiteX29" fmla="*/ 390 w 10000"/>
                    <a:gd name="connsiteY29" fmla="*/ 5462 h 10000"/>
                    <a:gd name="connsiteX30" fmla="*/ 261 w 10000"/>
                    <a:gd name="connsiteY30" fmla="*/ 5383 h 10000"/>
                    <a:gd name="connsiteX31" fmla="*/ 65 w 10000"/>
                    <a:gd name="connsiteY31" fmla="*/ 5253 h 10000"/>
                    <a:gd name="connsiteX32" fmla="*/ 0 w 10000"/>
                    <a:gd name="connsiteY32" fmla="*/ 5174 h 10000"/>
                    <a:gd name="connsiteX33" fmla="*/ 0 w 10000"/>
                    <a:gd name="connsiteY33" fmla="*/ 5094 h 10000"/>
                    <a:gd name="connsiteX34" fmla="*/ 0 w 10000"/>
                    <a:gd name="connsiteY34" fmla="*/ 5038 h 10000"/>
                    <a:gd name="connsiteX35" fmla="*/ 131 w 10000"/>
                    <a:gd name="connsiteY35" fmla="*/ 4979 h 10000"/>
                    <a:gd name="connsiteX36" fmla="*/ 131 w 10000"/>
                    <a:gd name="connsiteY36" fmla="*/ 4979 h 10000"/>
                    <a:gd name="connsiteX37" fmla="*/ 455 w 10000"/>
                    <a:gd name="connsiteY37" fmla="*/ 4882 h 10000"/>
                    <a:gd name="connsiteX38" fmla="*/ 779 w 10000"/>
                    <a:gd name="connsiteY38" fmla="*/ 4788 h 10000"/>
                    <a:gd name="connsiteX39" fmla="*/ 975 w 10000"/>
                    <a:gd name="connsiteY39" fmla="*/ 4730 h 10000"/>
                    <a:gd name="connsiteX40" fmla="*/ 1103 w 10000"/>
                    <a:gd name="connsiteY40" fmla="*/ 4671 h 10000"/>
                    <a:gd name="connsiteX41" fmla="*/ 1103 w 10000"/>
                    <a:gd name="connsiteY41" fmla="*/ 4593 h 10000"/>
                    <a:gd name="connsiteX42" fmla="*/ 1103 w 10000"/>
                    <a:gd name="connsiteY42" fmla="*/ 4497 h 10000"/>
                    <a:gd name="connsiteX43" fmla="*/ 1103 w 10000"/>
                    <a:gd name="connsiteY43" fmla="*/ 4497 h 10000"/>
                    <a:gd name="connsiteX44" fmla="*/ 845 w 10000"/>
                    <a:gd name="connsiteY44" fmla="*/ 4227 h 10000"/>
                    <a:gd name="connsiteX45" fmla="*/ 521 w 10000"/>
                    <a:gd name="connsiteY45" fmla="*/ 3860 h 10000"/>
                    <a:gd name="connsiteX46" fmla="*/ 261 w 10000"/>
                    <a:gd name="connsiteY46" fmla="*/ 3531 h 10000"/>
                    <a:gd name="connsiteX47" fmla="*/ 195 w 10000"/>
                    <a:gd name="connsiteY47" fmla="*/ 3435 h 10000"/>
                    <a:gd name="connsiteX48" fmla="*/ 195 w 10000"/>
                    <a:gd name="connsiteY48" fmla="*/ 3397 h 10000"/>
                    <a:gd name="connsiteX49" fmla="*/ 261 w 10000"/>
                    <a:gd name="connsiteY49" fmla="*/ 3376 h 10000"/>
                    <a:gd name="connsiteX50" fmla="*/ 261 w 10000"/>
                    <a:gd name="connsiteY50" fmla="*/ 3376 h 10000"/>
                    <a:gd name="connsiteX51" fmla="*/ 650 w 10000"/>
                    <a:gd name="connsiteY51" fmla="*/ 3358 h 10000"/>
                    <a:gd name="connsiteX52" fmla="*/ 908 w 10000"/>
                    <a:gd name="connsiteY52" fmla="*/ 3358 h 10000"/>
                    <a:gd name="connsiteX53" fmla="*/ 1103 w 10000"/>
                    <a:gd name="connsiteY53" fmla="*/ 3376 h 10000"/>
                    <a:gd name="connsiteX54" fmla="*/ 1103 w 10000"/>
                    <a:gd name="connsiteY54" fmla="*/ 3376 h 10000"/>
                    <a:gd name="connsiteX55" fmla="*/ 1168 w 10000"/>
                    <a:gd name="connsiteY55" fmla="*/ 3376 h 10000"/>
                    <a:gd name="connsiteX56" fmla="*/ 1235 w 10000"/>
                    <a:gd name="connsiteY56" fmla="*/ 3341 h 10000"/>
                    <a:gd name="connsiteX57" fmla="*/ 1559 w 10000"/>
                    <a:gd name="connsiteY57" fmla="*/ 3223 h 10000"/>
                    <a:gd name="connsiteX58" fmla="*/ 2402 w 10000"/>
                    <a:gd name="connsiteY58" fmla="*/ 2837 h 10000"/>
                    <a:gd name="connsiteX59" fmla="*/ 3507 w 10000"/>
                    <a:gd name="connsiteY59" fmla="*/ 2279 h 10000"/>
                    <a:gd name="connsiteX60" fmla="*/ 3507 w 10000"/>
                    <a:gd name="connsiteY60" fmla="*/ 2279 h 10000"/>
                    <a:gd name="connsiteX61" fmla="*/ 3507 w 10000"/>
                    <a:gd name="connsiteY61" fmla="*/ 2200 h 10000"/>
                    <a:gd name="connsiteX62" fmla="*/ 3507 w 10000"/>
                    <a:gd name="connsiteY62" fmla="*/ 2024 h 10000"/>
                    <a:gd name="connsiteX63" fmla="*/ 3573 w 10000"/>
                    <a:gd name="connsiteY63" fmla="*/ 1911 h 10000"/>
                    <a:gd name="connsiteX64" fmla="*/ 3702 w 10000"/>
                    <a:gd name="connsiteY64" fmla="*/ 1813 h 10000"/>
                    <a:gd name="connsiteX65" fmla="*/ 3896 w 10000"/>
                    <a:gd name="connsiteY65" fmla="*/ 1699 h 10000"/>
                    <a:gd name="connsiteX66" fmla="*/ 4156 w 10000"/>
                    <a:gd name="connsiteY66" fmla="*/ 1603 h 10000"/>
                    <a:gd name="connsiteX67" fmla="*/ 4156 w 10000"/>
                    <a:gd name="connsiteY67" fmla="*/ 1603 h 10000"/>
                    <a:gd name="connsiteX68" fmla="*/ 4806 w 10000"/>
                    <a:gd name="connsiteY68" fmla="*/ 1411 h 10000"/>
                    <a:gd name="connsiteX69" fmla="*/ 5455 w 10000"/>
                    <a:gd name="connsiteY69" fmla="*/ 1157 h 10000"/>
                    <a:gd name="connsiteX70" fmla="*/ 6104 w 10000"/>
                    <a:gd name="connsiteY70" fmla="*/ 926 h 10000"/>
                    <a:gd name="connsiteX71" fmla="*/ 6559 w 10000"/>
                    <a:gd name="connsiteY71" fmla="*/ 715 h 10000"/>
                    <a:gd name="connsiteX72" fmla="*/ 6559 w 10000"/>
                    <a:gd name="connsiteY72" fmla="*/ 715 h 10000"/>
                    <a:gd name="connsiteX73" fmla="*/ 6882 w 10000"/>
                    <a:gd name="connsiteY73" fmla="*/ 523 h 10000"/>
                    <a:gd name="connsiteX74" fmla="*/ 7273 w 10000"/>
                    <a:gd name="connsiteY74" fmla="*/ 288 h 10000"/>
                    <a:gd name="connsiteX75" fmla="*/ 7663 w 10000"/>
                    <a:gd name="connsiteY75" fmla="*/ 115 h 10000"/>
                    <a:gd name="connsiteX76" fmla="*/ 7856 w 10000"/>
                    <a:gd name="connsiteY76" fmla="*/ 35 h 10000"/>
                    <a:gd name="connsiteX77" fmla="*/ 8051 w 10000"/>
                    <a:gd name="connsiteY77" fmla="*/ 18 h 10000"/>
                    <a:gd name="connsiteX78" fmla="*/ 8051 w 10000"/>
                    <a:gd name="connsiteY78" fmla="*/ 18 h 10000"/>
                    <a:gd name="connsiteX79" fmla="*/ 8442 w 10000"/>
                    <a:gd name="connsiteY79" fmla="*/ 0 h 10000"/>
                    <a:gd name="connsiteX80" fmla="*/ 8961 w 10000"/>
                    <a:gd name="connsiteY80" fmla="*/ 0 h 10000"/>
                    <a:gd name="connsiteX81" fmla="*/ 10000 w 10000"/>
                    <a:gd name="connsiteY81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8636 w 10000"/>
                    <a:gd name="connsiteY5" fmla="*/ 9787 h 10000"/>
                    <a:gd name="connsiteX6" fmla="*/ 10000 w 10000"/>
                    <a:gd name="connsiteY6" fmla="*/ 7587 h 10000"/>
                    <a:gd name="connsiteX7" fmla="*/ 10000 w 10000"/>
                    <a:gd name="connsiteY7" fmla="*/ 7587 h 10000"/>
                    <a:gd name="connsiteX8" fmla="*/ 8661 w 10000"/>
                    <a:gd name="connsiteY8" fmla="*/ 7365 h 10000"/>
                    <a:gd name="connsiteX9" fmla="*/ 7404 w 10000"/>
                    <a:gd name="connsiteY9" fmla="*/ 7178 h 10000"/>
                    <a:gd name="connsiteX10" fmla="*/ 5975 w 10000"/>
                    <a:gd name="connsiteY10" fmla="*/ 6949 h 10000"/>
                    <a:gd name="connsiteX11" fmla="*/ 5975 w 10000"/>
                    <a:gd name="connsiteY11" fmla="*/ 6949 h 10000"/>
                    <a:gd name="connsiteX12" fmla="*/ 5975 w 10000"/>
                    <a:gd name="connsiteY12" fmla="*/ 6930 h 10000"/>
                    <a:gd name="connsiteX13" fmla="*/ 5975 w 10000"/>
                    <a:gd name="connsiteY13" fmla="*/ 6814 h 10000"/>
                    <a:gd name="connsiteX14" fmla="*/ 5975 w 10000"/>
                    <a:gd name="connsiteY14" fmla="*/ 6814 h 10000"/>
                    <a:gd name="connsiteX15" fmla="*/ 5779 w 10000"/>
                    <a:gd name="connsiteY15" fmla="*/ 6676 h 10000"/>
                    <a:gd name="connsiteX16" fmla="*/ 5389 w 10000"/>
                    <a:gd name="connsiteY16" fmla="*/ 6465 h 10000"/>
                    <a:gd name="connsiteX17" fmla="*/ 4545 w 10000"/>
                    <a:gd name="connsiteY17" fmla="*/ 6062 h 10000"/>
                    <a:gd name="connsiteX18" fmla="*/ 4545 w 10000"/>
                    <a:gd name="connsiteY18" fmla="*/ 6062 h 10000"/>
                    <a:gd name="connsiteX19" fmla="*/ 4352 w 10000"/>
                    <a:gd name="connsiteY19" fmla="*/ 6003 h 10000"/>
                    <a:gd name="connsiteX20" fmla="*/ 4026 w 10000"/>
                    <a:gd name="connsiteY20" fmla="*/ 5926 h 10000"/>
                    <a:gd name="connsiteX21" fmla="*/ 3052 w 10000"/>
                    <a:gd name="connsiteY21" fmla="*/ 5752 h 10000"/>
                    <a:gd name="connsiteX22" fmla="*/ 1689 w 10000"/>
                    <a:gd name="connsiteY22" fmla="*/ 5540 h 10000"/>
                    <a:gd name="connsiteX23" fmla="*/ 1689 w 10000"/>
                    <a:gd name="connsiteY23" fmla="*/ 5540 h 10000"/>
                    <a:gd name="connsiteX24" fmla="*/ 1103 w 10000"/>
                    <a:gd name="connsiteY24" fmla="*/ 5519 h 10000"/>
                    <a:gd name="connsiteX25" fmla="*/ 650 w 10000"/>
                    <a:gd name="connsiteY25" fmla="*/ 5501 h 10000"/>
                    <a:gd name="connsiteX26" fmla="*/ 521 w 10000"/>
                    <a:gd name="connsiteY26" fmla="*/ 5480 h 10000"/>
                    <a:gd name="connsiteX27" fmla="*/ 390 w 10000"/>
                    <a:gd name="connsiteY27" fmla="*/ 5462 h 10000"/>
                    <a:gd name="connsiteX28" fmla="*/ 390 w 10000"/>
                    <a:gd name="connsiteY28" fmla="*/ 5462 h 10000"/>
                    <a:gd name="connsiteX29" fmla="*/ 261 w 10000"/>
                    <a:gd name="connsiteY29" fmla="*/ 5383 h 10000"/>
                    <a:gd name="connsiteX30" fmla="*/ 65 w 10000"/>
                    <a:gd name="connsiteY30" fmla="*/ 5253 h 10000"/>
                    <a:gd name="connsiteX31" fmla="*/ 0 w 10000"/>
                    <a:gd name="connsiteY31" fmla="*/ 5174 h 10000"/>
                    <a:gd name="connsiteX32" fmla="*/ 0 w 10000"/>
                    <a:gd name="connsiteY32" fmla="*/ 5094 h 10000"/>
                    <a:gd name="connsiteX33" fmla="*/ 0 w 10000"/>
                    <a:gd name="connsiteY33" fmla="*/ 5038 h 10000"/>
                    <a:gd name="connsiteX34" fmla="*/ 131 w 10000"/>
                    <a:gd name="connsiteY34" fmla="*/ 4979 h 10000"/>
                    <a:gd name="connsiteX35" fmla="*/ 131 w 10000"/>
                    <a:gd name="connsiteY35" fmla="*/ 4979 h 10000"/>
                    <a:gd name="connsiteX36" fmla="*/ 455 w 10000"/>
                    <a:gd name="connsiteY36" fmla="*/ 4882 h 10000"/>
                    <a:gd name="connsiteX37" fmla="*/ 779 w 10000"/>
                    <a:gd name="connsiteY37" fmla="*/ 4788 h 10000"/>
                    <a:gd name="connsiteX38" fmla="*/ 975 w 10000"/>
                    <a:gd name="connsiteY38" fmla="*/ 4730 h 10000"/>
                    <a:gd name="connsiteX39" fmla="*/ 1103 w 10000"/>
                    <a:gd name="connsiteY39" fmla="*/ 4671 h 10000"/>
                    <a:gd name="connsiteX40" fmla="*/ 1103 w 10000"/>
                    <a:gd name="connsiteY40" fmla="*/ 4593 h 10000"/>
                    <a:gd name="connsiteX41" fmla="*/ 1103 w 10000"/>
                    <a:gd name="connsiteY41" fmla="*/ 4497 h 10000"/>
                    <a:gd name="connsiteX42" fmla="*/ 1103 w 10000"/>
                    <a:gd name="connsiteY42" fmla="*/ 4497 h 10000"/>
                    <a:gd name="connsiteX43" fmla="*/ 845 w 10000"/>
                    <a:gd name="connsiteY43" fmla="*/ 4227 h 10000"/>
                    <a:gd name="connsiteX44" fmla="*/ 521 w 10000"/>
                    <a:gd name="connsiteY44" fmla="*/ 3860 h 10000"/>
                    <a:gd name="connsiteX45" fmla="*/ 261 w 10000"/>
                    <a:gd name="connsiteY45" fmla="*/ 3531 h 10000"/>
                    <a:gd name="connsiteX46" fmla="*/ 195 w 10000"/>
                    <a:gd name="connsiteY46" fmla="*/ 3435 h 10000"/>
                    <a:gd name="connsiteX47" fmla="*/ 195 w 10000"/>
                    <a:gd name="connsiteY47" fmla="*/ 3397 h 10000"/>
                    <a:gd name="connsiteX48" fmla="*/ 261 w 10000"/>
                    <a:gd name="connsiteY48" fmla="*/ 3376 h 10000"/>
                    <a:gd name="connsiteX49" fmla="*/ 261 w 10000"/>
                    <a:gd name="connsiteY49" fmla="*/ 3376 h 10000"/>
                    <a:gd name="connsiteX50" fmla="*/ 650 w 10000"/>
                    <a:gd name="connsiteY50" fmla="*/ 3358 h 10000"/>
                    <a:gd name="connsiteX51" fmla="*/ 908 w 10000"/>
                    <a:gd name="connsiteY51" fmla="*/ 3358 h 10000"/>
                    <a:gd name="connsiteX52" fmla="*/ 1103 w 10000"/>
                    <a:gd name="connsiteY52" fmla="*/ 3376 h 10000"/>
                    <a:gd name="connsiteX53" fmla="*/ 1103 w 10000"/>
                    <a:gd name="connsiteY53" fmla="*/ 3376 h 10000"/>
                    <a:gd name="connsiteX54" fmla="*/ 1168 w 10000"/>
                    <a:gd name="connsiteY54" fmla="*/ 3376 h 10000"/>
                    <a:gd name="connsiteX55" fmla="*/ 1235 w 10000"/>
                    <a:gd name="connsiteY55" fmla="*/ 3341 h 10000"/>
                    <a:gd name="connsiteX56" fmla="*/ 1559 w 10000"/>
                    <a:gd name="connsiteY56" fmla="*/ 3223 h 10000"/>
                    <a:gd name="connsiteX57" fmla="*/ 2402 w 10000"/>
                    <a:gd name="connsiteY57" fmla="*/ 2837 h 10000"/>
                    <a:gd name="connsiteX58" fmla="*/ 3507 w 10000"/>
                    <a:gd name="connsiteY58" fmla="*/ 2279 h 10000"/>
                    <a:gd name="connsiteX59" fmla="*/ 3507 w 10000"/>
                    <a:gd name="connsiteY59" fmla="*/ 2279 h 10000"/>
                    <a:gd name="connsiteX60" fmla="*/ 3507 w 10000"/>
                    <a:gd name="connsiteY60" fmla="*/ 2200 h 10000"/>
                    <a:gd name="connsiteX61" fmla="*/ 3507 w 10000"/>
                    <a:gd name="connsiteY61" fmla="*/ 2024 h 10000"/>
                    <a:gd name="connsiteX62" fmla="*/ 3573 w 10000"/>
                    <a:gd name="connsiteY62" fmla="*/ 1911 h 10000"/>
                    <a:gd name="connsiteX63" fmla="*/ 3702 w 10000"/>
                    <a:gd name="connsiteY63" fmla="*/ 1813 h 10000"/>
                    <a:gd name="connsiteX64" fmla="*/ 3896 w 10000"/>
                    <a:gd name="connsiteY64" fmla="*/ 1699 h 10000"/>
                    <a:gd name="connsiteX65" fmla="*/ 4156 w 10000"/>
                    <a:gd name="connsiteY65" fmla="*/ 1603 h 10000"/>
                    <a:gd name="connsiteX66" fmla="*/ 4156 w 10000"/>
                    <a:gd name="connsiteY66" fmla="*/ 1603 h 10000"/>
                    <a:gd name="connsiteX67" fmla="*/ 4806 w 10000"/>
                    <a:gd name="connsiteY67" fmla="*/ 1411 h 10000"/>
                    <a:gd name="connsiteX68" fmla="*/ 5455 w 10000"/>
                    <a:gd name="connsiteY68" fmla="*/ 1157 h 10000"/>
                    <a:gd name="connsiteX69" fmla="*/ 6104 w 10000"/>
                    <a:gd name="connsiteY69" fmla="*/ 926 h 10000"/>
                    <a:gd name="connsiteX70" fmla="*/ 6559 w 10000"/>
                    <a:gd name="connsiteY70" fmla="*/ 715 h 10000"/>
                    <a:gd name="connsiteX71" fmla="*/ 6559 w 10000"/>
                    <a:gd name="connsiteY71" fmla="*/ 715 h 10000"/>
                    <a:gd name="connsiteX72" fmla="*/ 6882 w 10000"/>
                    <a:gd name="connsiteY72" fmla="*/ 523 h 10000"/>
                    <a:gd name="connsiteX73" fmla="*/ 7273 w 10000"/>
                    <a:gd name="connsiteY73" fmla="*/ 288 h 10000"/>
                    <a:gd name="connsiteX74" fmla="*/ 7663 w 10000"/>
                    <a:gd name="connsiteY74" fmla="*/ 115 h 10000"/>
                    <a:gd name="connsiteX75" fmla="*/ 7856 w 10000"/>
                    <a:gd name="connsiteY75" fmla="*/ 35 h 10000"/>
                    <a:gd name="connsiteX76" fmla="*/ 8051 w 10000"/>
                    <a:gd name="connsiteY76" fmla="*/ 18 h 10000"/>
                    <a:gd name="connsiteX77" fmla="*/ 8051 w 10000"/>
                    <a:gd name="connsiteY77" fmla="*/ 18 h 10000"/>
                    <a:gd name="connsiteX78" fmla="*/ 8442 w 10000"/>
                    <a:gd name="connsiteY78" fmla="*/ 0 h 10000"/>
                    <a:gd name="connsiteX79" fmla="*/ 8961 w 10000"/>
                    <a:gd name="connsiteY79" fmla="*/ 0 h 10000"/>
                    <a:gd name="connsiteX80" fmla="*/ 10000 w 10000"/>
                    <a:gd name="connsiteY80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8636 w 10000"/>
                    <a:gd name="connsiteY4" fmla="*/ 9825 h 10000"/>
                    <a:gd name="connsiteX5" fmla="*/ 10000 w 10000"/>
                    <a:gd name="connsiteY5" fmla="*/ 7587 h 10000"/>
                    <a:gd name="connsiteX6" fmla="*/ 10000 w 10000"/>
                    <a:gd name="connsiteY6" fmla="*/ 7587 h 10000"/>
                    <a:gd name="connsiteX7" fmla="*/ 8661 w 10000"/>
                    <a:gd name="connsiteY7" fmla="*/ 7365 h 10000"/>
                    <a:gd name="connsiteX8" fmla="*/ 7404 w 10000"/>
                    <a:gd name="connsiteY8" fmla="*/ 7178 h 10000"/>
                    <a:gd name="connsiteX9" fmla="*/ 5975 w 10000"/>
                    <a:gd name="connsiteY9" fmla="*/ 6949 h 10000"/>
                    <a:gd name="connsiteX10" fmla="*/ 5975 w 10000"/>
                    <a:gd name="connsiteY10" fmla="*/ 6949 h 10000"/>
                    <a:gd name="connsiteX11" fmla="*/ 5975 w 10000"/>
                    <a:gd name="connsiteY11" fmla="*/ 6930 h 10000"/>
                    <a:gd name="connsiteX12" fmla="*/ 5975 w 10000"/>
                    <a:gd name="connsiteY12" fmla="*/ 6814 h 10000"/>
                    <a:gd name="connsiteX13" fmla="*/ 5975 w 10000"/>
                    <a:gd name="connsiteY13" fmla="*/ 6814 h 10000"/>
                    <a:gd name="connsiteX14" fmla="*/ 5779 w 10000"/>
                    <a:gd name="connsiteY14" fmla="*/ 6676 h 10000"/>
                    <a:gd name="connsiteX15" fmla="*/ 5389 w 10000"/>
                    <a:gd name="connsiteY15" fmla="*/ 6465 h 10000"/>
                    <a:gd name="connsiteX16" fmla="*/ 4545 w 10000"/>
                    <a:gd name="connsiteY16" fmla="*/ 6062 h 10000"/>
                    <a:gd name="connsiteX17" fmla="*/ 4545 w 10000"/>
                    <a:gd name="connsiteY17" fmla="*/ 6062 h 10000"/>
                    <a:gd name="connsiteX18" fmla="*/ 4352 w 10000"/>
                    <a:gd name="connsiteY18" fmla="*/ 6003 h 10000"/>
                    <a:gd name="connsiteX19" fmla="*/ 4026 w 10000"/>
                    <a:gd name="connsiteY19" fmla="*/ 5926 h 10000"/>
                    <a:gd name="connsiteX20" fmla="*/ 3052 w 10000"/>
                    <a:gd name="connsiteY20" fmla="*/ 5752 h 10000"/>
                    <a:gd name="connsiteX21" fmla="*/ 1689 w 10000"/>
                    <a:gd name="connsiteY21" fmla="*/ 5540 h 10000"/>
                    <a:gd name="connsiteX22" fmla="*/ 1689 w 10000"/>
                    <a:gd name="connsiteY22" fmla="*/ 5540 h 10000"/>
                    <a:gd name="connsiteX23" fmla="*/ 1103 w 10000"/>
                    <a:gd name="connsiteY23" fmla="*/ 5519 h 10000"/>
                    <a:gd name="connsiteX24" fmla="*/ 650 w 10000"/>
                    <a:gd name="connsiteY24" fmla="*/ 5501 h 10000"/>
                    <a:gd name="connsiteX25" fmla="*/ 521 w 10000"/>
                    <a:gd name="connsiteY25" fmla="*/ 5480 h 10000"/>
                    <a:gd name="connsiteX26" fmla="*/ 390 w 10000"/>
                    <a:gd name="connsiteY26" fmla="*/ 5462 h 10000"/>
                    <a:gd name="connsiteX27" fmla="*/ 390 w 10000"/>
                    <a:gd name="connsiteY27" fmla="*/ 5462 h 10000"/>
                    <a:gd name="connsiteX28" fmla="*/ 261 w 10000"/>
                    <a:gd name="connsiteY28" fmla="*/ 5383 h 10000"/>
                    <a:gd name="connsiteX29" fmla="*/ 65 w 10000"/>
                    <a:gd name="connsiteY29" fmla="*/ 5253 h 10000"/>
                    <a:gd name="connsiteX30" fmla="*/ 0 w 10000"/>
                    <a:gd name="connsiteY30" fmla="*/ 5174 h 10000"/>
                    <a:gd name="connsiteX31" fmla="*/ 0 w 10000"/>
                    <a:gd name="connsiteY31" fmla="*/ 5094 h 10000"/>
                    <a:gd name="connsiteX32" fmla="*/ 0 w 10000"/>
                    <a:gd name="connsiteY32" fmla="*/ 5038 h 10000"/>
                    <a:gd name="connsiteX33" fmla="*/ 131 w 10000"/>
                    <a:gd name="connsiteY33" fmla="*/ 4979 h 10000"/>
                    <a:gd name="connsiteX34" fmla="*/ 131 w 10000"/>
                    <a:gd name="connsiteY34" fmla="*/ 4979 h 10000"/>
                    <a:gd name="connsiteX35" fmla="*/ 455 w 10000"/>
                    <a:gd name="connsiteY35" fmla="*/ 4882 h 10000"/>
                    <a:gd name="connsiteX36" fmla="*/ 779 w 10000"/>
                    <a:gd name="connsiteY36" fmla="*/ 4788 h 10000"/>
                    <a:gd name="connsiteX37" fmla="*/ 975 w 10000"/>
                    <a:gd name="connsiteY37" fmla="*/ 4730 h 10000"/>
                    <a:gd name="connsiteX38" fmla="*/ 1103 w 10000"/>
                    <a:gd name="connsiteY38" fmla="*/ 4671 h 10000"/>
                    <a:gd name="connsiteX39" fmla="*/ 1103 w 10000"/>
                    <a:gd name="connsiteY39" fmla="*/ 4593 h 10000"/>
                    <a:gd name="connsiteX40" fmla="*/ 1103 w 10000"/>
                    <a:gd name="connsiteY40" fmla="*/ 4497 h 10000"/>
                    <a:gd name="connsiteX41" fmla="*/ 1103 w 10000"/>
                    <a:gd name="connsiteY41" fmla="*/ 4497 h 10000"/>
                    <a:gd name="connsiteX42" fmla="*/ 845 w 10000"/>
                    <a:gd name="connsiteY42" fmla="*/ 4227 h 10000"/>
                    <a:gd name="connsiteX43" fmla="*/ 521 w 10000"/>
                    <a:gd name="connsiteY43" fmla="*/ 3860 h 10000"/>
                    <a:gd name="connsiteX44" fmla="*/ 261 w 10000"/>
                    <a:gd name="connsiteY44" fmla="*/ 3531 h 10000"/>
                    <a:gd name="connsiteX45" fmla="*/ 195 w 10000"/>
                    <a:gd name="connsiteY45" fmla="*/ 3435 h 10000"/>
                    <a:gd name="connsiteX46" fmla="*/ 195 w 10000"/>
                    <a:gd name="connsiteY46" fmla="*/ 3397 h 10000"/>
                    <a:gd name="connsiteX47" fmla="*/ 261 w 10000"/>
                    <a:gd name="connsiteY47" fmla="*/ 3376 h 10000"/>
                    <a:gd name="connsiteX48" fmla="*/ 261 w 10000"/>
                    <a:gd name="connsiteY48" fmla="*/ 3376 h 10000"/>
                    <a:gd name="connsiteX49" fmla="*/ 650 w 10000"/>
                    <a:gd name="connsiteY49" fmla="*/ 3358 h 10000"/>
                    <a:gd name="connsiteX50" fmla="*/ 908 w 10000"/>
                    <a:gd name="connsiteY50" fmla="*/ 3358 h 10000"/>
                    <a:gd name="connsiteX51" fmla="*/ 1103 w 10000"/>
                    <a:gd name="connsiteY51" fmla="*/ 3376 h 10000"/>
                    <a:gd name="connsiteX52" fmla="*/ 1103 w 10000"/>
                    <a:gd name="connsiteY52" fmla="*/ 3376 h 10000"/>
                    <a:gd name="connsiteX53" fmla="*/ 1168 w 10000"/>
                    <a:gd name="connsiteY53" fmla="*/ 3376 h 10000"/>
                    <a:gd name="connsiteX54" fmla="*/ 1235 w 10000"/>
                    <a:gd name="connsiteY54" fmla="*/ 3341 h 10000"/>
                    <a:gd name="connsiteX55" fmla="*/ 1559 w 10000"/>
                    <a:gd name="connsiteY55" fmla="*/ 3223 h 10000"/>
                    <a:gd name="connsiteX56" fmla="*/ 2402 w 10000"/>
                    <a:gd name="connsiteY56" fmla="*/ 2837 h 10000"/>
                    <a:gd name="connsiteX57" fmla="*/ 3507 w 10000"/>
                    <a:gd name="connsiteY57" fmla="*/ 2279 h 10000"/>
                    <a:gd name="connsiteX58" fmla="*/ 3507 w 10000"/>
                    <a:gd name="connsiteY58" fmla="*/ 2279 h 10000"/>
                    <a:gd name="connsiteX59" fmla="*/ 3507 w 10000"/>
                    <a:gd name="connsiteY59" fmla="*/ 2200 h 10000"/>
                    <a:gd name="connsiteX60" fmla="*/ 3507 w 10000"/>
                    <a:gd name="connsiteY60" fmla="*/ 2024 h 10000"/>
                    <a:gd name="connsiteX61" fmla="*/ 3573 w 10000"/>
                    <a:gd name="connsiteY61" fmla="*/ 1911 h 10000"/>
                    <a:gd name="connsiteX62" fmla="*/ 3702 w 10000"/>
                    <a:gd name="connsiteY62" fmla="*/ 1813 h 10000"/>
                    <a:gd name="connsiteX63" fmla="*/ 3896 w 10000"/>
                    <a:gd name="connsiteY63" fmla="*/ 1699 h 10000"/>
                    <a:gd name="connsiteX64" fmla="*/ 4156 w 10000"/>
                    <a:gd name="connsiteY64" fmla="*/ 1603 h 10000"/>
                    <a:gd name="connsiteX65" fmla="*/ 4156 w 10000"/>
                    <a:gd name="connsiteY65" fmla="*/ 1603 h 10000"/>
                    <a:gd name="connsiteX66" fmla="*/ 4806 w 10000"/>
                    <a:gd name="connsiteY66" fmla="*/ 1411 h 10000"/>
                    <a:gd name="connsiteX67" fmla="*/ 5455 w 10000"/>
                    <a:gd name="connsiteY67" fmla="*/ 1157 h 10000"/>
                    <a:gd name="connsiteX68" fmla="*/ 6104 w 10000"/>
                    <a:gd name="connsiteY68" fmla="*/ 926 h 10000"/>
                    <a:gd name="connsiteX69" fmla="*/ 6559 w 10000"/>
                    <a:gd name="connsiteY69" fmla="*/ 715 h 10000"/>
                    <a:gd name="connsiteX70" fmla="*/ 6559 w 10000"/>
                    <a:gd name="connsiteY70" fmla="*/ 715 h 10000"/>
                    <a:gd name="connsiteX71" fmla="*/ 6882 w 10000"/>
                    <a:gd name="connsiteY71" fmla="*/ 523 h 10000"/>
                    <a:gd name="connsiteX72" fmla="*/ 7273 w 10000"/>
                    <a:gd name="connsiteY72" fmla="*/ 288 h 10000"/>
                    <a:gd name="connsiteX73" fmla="*/ 7663 w 10000"/>
                    <a:gd name="connsiteY73" fmla="*/ 115 h 10000"/>
                    <a:gd name="connsiteX74" fmla="*/ 7856 w 10000"/>
                    <a:gd name="connsiteY74" fmla="*/ 35 h 10000"/>
                    <a:gd name="connsiteX75" fmla="*/ 8051 w 10000"/>
                    <a:gd name="connsiteY75" fmla="*/ 18 h 10000"/>
                    <a:gd name="connsiteX76" fmla="*/ 8051 w 10000"/>
                    <a:gd name="connsiteY76" fmla="*/ 18 h 10000"/>
                    <a:gd name="connsiteX77" fmla="*/ 8442 w 10000"/>
                    <a:gd name="connsiteY77" fmla="*/ 0 h 10000"/>
                    <a:gd name="connsiteX78" fmla="*/ 8961 w 10000"/>
                    <a:gd name="connsiteY78" fmla="*/ 0 h 10000"/>
                    <a:gd name="connsiteX79" fmla="*/ 10000 w 10000"/>
                    <a:gd name="connsiteY79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8702 w 10000"/>
                    <a:gd name="connsiteY3" fmla="*/ 9864 h 10000"/>
                    <a:gd name="connsiteX4" fmla="*/ 10000 w 10000"/>
                    <a:gd name="connsiteY4" fmla="*/ 7587 h 10000"/>
                    <a:gd name="connsiteX5" fmla="*/ 10000 w 10000"/>
                    <a:gd name="connsiteY5" fmla="*/ 7587 h 10000"/>
                    <a:gd name="connsiteX6" fmla="*/ 8661 w 10000"/>
                    <a:gd name="connsiteY6" fmla="*/ 7365 h 10000"/>
                    <a:gd name="connsiteX7" fmla="*/ 7404 w 10000"/>
                    <a:gd name="connsiteY7" fmla="*/ 7178 h 10000"/>
                    <a:gd name="connsiteX8" fmla="*/ 5975 w 10000"/>
                    <a:gd name="connsiteY8" fmla="*/ 6949 h 10000"/>
                    <a:gd name="connsiteX9" fmla="*/ 5975 w 10000"/>
                    <a:gd name="connsiteY9" fmla="*/ 6949 h 10000"/>
                    <a:gd name="connsiteX10" fmla="*/ 5975 w 10000"/>
                    <a:gd name="connsiteY10" fmla="*/ 6930 h 10000"/>
                    <a:gd name="connsiteX11" fmla="*/ 5975 w 10000"/>
                    <a:gd name="connsiteY11" fmla="*/ 6814 h 10000"/>
                    <a:gd name="connsiteX12" fmla="*/ 5975 w 10000"/>
                    <a:gd name="connsiteY12" fmla="*/ 6814 h 10000"/>
                    <a:gd name="connsiteX13" fmla="*/ 5779 w 10000"/>
                    <a:gd name="connsiteY13" fmla="*/ 6676 h 10000"/>
                    <a:gd name="connsiteX14" fmla="*/ 5389 w 10000"/>
                    <a:gd name="connsiteY14" fmla="*/ 6465 h 10000"/>
                    <a:gd name="connsiteX15" fmla="*/ 4545 w 10000"/>
                    <a:gd name="connsiteY15" fmla="*/ 6062 h 10000"/>
                    <a:gd name="connsiteX16" fmla="*/ 4545 w 10000"/>
                    <a:gd name="connsiteY16" fmla="*/ 6062 h 10000"/>
                    <a:gd name="connsiteX17" fmla="*/ 4352 w 10000"/>
                    <a:gd name="connsiteY17" fmla="*/ 6003 h 10000"/>
                    <a:gd name="connsiteX18" fmla="*/ 4026 w 10000"/>
                    <a:gd name="connsiteY18" fmla="*/ 5926 h 10000"/>
                    <a:gd name="connsiteX19" fmla="*/ 3052 w 10000"/>
                    <a:gd name="connsiteY19" fmla="*/ 5752 h 10000"/>
                    <a:gd name="connsiteX20" fmla="*/ 1689 w 10000"/>
                    <a:gd name="connsiteY20" fmla="*/ 5540 h 10000"/>
                    <a:gd name="connsiteX21" fmla="*/ 1689 w 10000"/>
                    <a:gd name="connsiteY21" fmla="*/ 5540 h 10000"/>
                    <a:gd name="connsiteX22" fmla="*/ 1103 w 10000"/>
                    <a:gd name="connsiteY22" fmla="*/ 5519 h 10000"/>
                    <a:gd name="connsiteX23" fmla="*/ 650 w 10000"/>
                    <a:gd name="connsiteY23" fmla="*/ 5501 h 10000"/>
                    <a:gd name="connsiteX24" fmla="*/ 521 w 10000"/>
                    <a:gd name="connsiteY24" fmla="*/ 5480 h 10000"/>
                    <a:gd name="connsiteX25" fmla="*/ 390 w 10000"/>
                    <a:gd name="connsiteY25" fmla="*/ 5462 h 10000"/>
                    <a:gd name="connsiteX26" fmla="*/ 390 w 10000"/>
                    <a:gd name="connsiteY26" fmla="*/ 5462 h 10000"/>
                    <a:gd name="connsiteX27" fmla="*/ 261 w 10000"/>
                    <a:gd name="connsiteY27" fmla="*/ 5383 h 10000"/>
                    <a:gd name="connsiteX28" fmla="*/ 65 w 10000"/>
                    <a:gd name="connsiteY28" fmla="*/ 5253 h 10000"/>
                    <a:gd name="connsiteX29" fmla="*/ 0 w 10000"/>
                    <a:gd name="connsiteY29" fmla="*/ 5174 h 10000"/>
                    <a:gd name="connsiteX30" fmla="*/ 0 w 10000"/>
                    <a:gd name="connsiteY30" fmla="*/ 5094 h 10000"/>
                    <a:gd name="connsiteX31" fmla="*/ 0 w 10000"/>
                    <a:gd name="connsiteY31" fmla="*/ 5038 h 10000"/>
                    <a:gd name="connsiteX32" fmla="*/ 131 w 10000"/>
                    <a:gd name="connsiteY32" fmla="*/ 4979 h 10000"/>
                    <a:gd name="connsiteX33" fmla="*/ 131 w 10000"/>
                    <a:gd name="connsiteY33" fmla="*/ 4979 h 10000"/>
                    <a:gd name="connsiteX34" fmla="*/ 455 w 10000"/>
                    <a:gd name="connsiteY34" fmla="*/ 4882 h 10000"/>
                    <a:gd name="connsiteX35" fmla="*/ 779 w 10000"/>
                    <a:gd name="connsiteY35" fmla="*/ 4788 h 10000"/>
                    <a:gd name="connsiteX36" fmla="*/ 975 w 10000"/>
                    <a:gd name="connsiteY36" fmla="*/ 4730 h 10000"/>
                    <a:gd name="connsiteX37" fmla="*/ 1103 w 10000"/>
                    <a:gd name="connsiteY37" fmla="*/ 4671 h 10000"/>
                    <a:gd name="connsiteX38" fmla="*/ 1103 w 10000"/>
                    <a:gd name="connsiteY38" fmla="*/ 4593 h 10000"/>
                    <a:gd name="connsiteX39" fmla="*/ 1103 w 10000"/>
                    <a:gd name="connsiteY39" fmla="*/ 4497 h 10000"/>
                    <a:gd name="connsiteX40" fmla="*/ 1103 w 10000"/>
                    <a:gd name="connsiteY40" fmla="*/ 4497 h 10000"/>
                    <a:gd name="connsiteX41" fmla="*/ 845 w 10000"/>
                    <a:gd name="connsiteY41" fmla="*/ 4227 h 10000"/>
                    <a:gd name="connsiteX42" fmla="*/ 521 w 10000"/>
                    <a:gd name="connsiteY42" fmla="*/ 3860 h 10000"/>
                    <a:gd name="connsiteX43" fmla="*/ 261 w 10000"/>
                    <a:gd name="connsiteY43" fmla="*/ 3531 h 10000"/>
                    <a:gd name="connsiteX44" fmla="*/ 195 w 10000"/>
                    <a:gd name="connsiteY44" fmla="*/ 3435 h 10000"/>
                    <a:gd name="connsiteX45" fmla="*/ 195 w 10000"/>
                    <a:gd name="connsiteY45" fmla="*/ 3397 h 10000"/>
                    <a:gd name="connsiteX46" fmla="*/ 261 w 10000"/>
                    <a:gd name="connsiteY46" fmla="*/ 3376 h 10000"/>
                    <a:gd name="connsiteX47" fmla="*/ 261 w 10000"/>
                    <a:gd name="connsiteY47" fmla="*/ 3376 h 10000"/>
                    <a:gd name="connsiteX48" fmla="*/ 650 w 10000"/>
                    <a:gd name="connsiteY48" fmla="*/ 3358 h 10000"/>
                    <a:gd name="connsiteX49" fmla="*/ 908 w 10000"/>
                    <a:gd name="connsiteY49" fmla="*/ 3358 h 10000"/>
                    <a:gd name="connsiteX50" fmla="*/ 1103 w 10000"/>
                    <a:gd name="connsiteY50" fmla="*/ 3376 h 10000"/>
                    <a:gd name="connsiteX51" fmla="*/ 1103 w 10000"/>
                    <a:gd name="connsiteY51" fmla="*/ 3376 h 10000"/>
                    <a:gd name="connsiteX52" fmla="*/ 1168 w 10000"/>
                    <a:gd name="connsiteY52" fmla="*/ 3376 h 10000"/>
                    <a:gd name="connsiteX53" fmla="*/ 1235 w 10000"/>
                    <a:gd name="connsiteY53" fmla="*/ 3341 h 10000"/>
                    <a:gd name="connsiteX54" fmla="*/ 1559 w 10000"/>
                    <a:gd name="connsiteY54" fmla="*/ 3223 h 10000"/>
                    <a:gd name="connsiteX55" fmla="*/ 2402 w 10000"/>
                    <a:gd name="connsiteY55" fmla="*/ 2837 h 10000"/>
                    <a:gd name="connsiteX56" fmla="*/ 3507 w 10000"/>
                    <a:gd name="connsiteY56" fmla="*/ 2279 h 10000"/>
                    <a:gd name="connsiteX57" fmla="*/ 3507 w 10000"/>
                    <a:gd name="connsiteY57" fmla="*/ 2279 h 10000"/>
                    <a:gd name="connsiteX58" fmla="*/ 3507 w 10000"/>
                    <a:gd name="connsiteY58" fmla="*/ 2200 h 10000"/>
                    <a:gd name="connsiteX59" fmla="*/ 3507 w 10000"/>
                    <a:gd name="connsiteY59" fmla="*/ 2024 h 10000"/>
                    <a:gd name="connsiteX60" fmla="*/ 3573 w 10000"/>
                    <a:gd name="connsiteY60" fmla="*/ 1911 h 10000"/>
                    <a:gd name="connsiteX61" fmla="*/ 3702 w 10000"/>
                    <a:gd name="connsiteY61" fmla="*/ 1813 h 10000"/>
                    <a:gd name="connsiteX62" fmla="*/ 3896 w 10000"/>
                    <a:gd name="connsiteY62" fmla="*/ 1699 h 10000"/>
                    <a:gd name="connsiteX63" fmla="*/ 4156 w 10000"/>
                    <a:gd name="connsiteY63" fmla="*/ 1603 h 10000"/>
                    <a:gd name="connsiteX64" fmla="*/ 4156 w 10000"/>
                    <a:gd name="connsiteY64" fmla="*/ 1603 h 10000"/>
                    <a:gd name="connsiteX65" fmla="*/ 4806 w 10000"/>
                    <a:gd name="connsiteY65" fmla="*/ 1411 h 10000"/>
                    <a:gd name="connsiteX66" fmla="*/ 5455 w 10000"/>
                    <a:gd name="connsiteY66" fmla="*/ 1157 h 10000"/>
                    <a:gd name="connsiteX67" fmla="*/ 6104 w 10000"/>
                    <a:gd name="connsiteY67" fmla="*/ 926 h 10000"/>
                    <a:gd name="connsiteX68" fmla="*/ 6559 w 10000"/>
                    <a:gd name="connsiteY68" fmla="*/ 715 h 10000"/>
                    <a:gd name="connsiteX69" fmla="*/ 6559 w 10000"/>
                    <a:gd name="connsiteY69" fmla="*/ 715 h 10000"/>
                    <a:gd name="connsiteX70" fmla="*/ 6882 w 10000"/>
                    <a:gd name="connsiteY70" fmla="*/ 523 h 10000"/>
                    <a:gd name="connsiteX71" fmla="*/ 7273 w 10000"/>
                    <a:gd name="connsiteY71" fmla="*/ 288 h 10000"/>
                    <a:gd name="connsiteX72" fmla="*/ 7663 w 10000"/>
                    <a:gd name="connsiteY72" fmla="*/ 115 h 10000"/>
                    <a:gd name="connsiteX73" fmla="*/ 7856 w 10000"/>
                    <a:gd name="connsiteY73" fmla="*/ 35 h 10000"/>
                    <a:gd name="connsiteX74" fmla="*/ 8051 w 10000"/>
                    <a:gd name="connsiteY74" fmla="*/ 18 h 10000"/>
                    <a:gd name="connsiteX75" fmla="*/ 8051 w 10000"/>
                    <a:gd name="connsiteY75" fmla="*/ 18 h 10000"/>
                    <a:gd name="connsiteX76" fmla="*/ 8442 w 10000"/>
                    <a:gd name="connsiteY76" fmla="*/ 0 h 10000"/>
                    <a:gd name="connsiteX77" fmla="*/ 8961 w 10000"/>
                    <a:gd name="connsiteY77" fmla="*/ 0 h 10000"/>
                    <a:gd name="connsiteX78" fmla="*/ 10000 w 10000"/>
                    <a:gd name="connsiteY78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8442 w 10000"/>
                    <a:gd name="connsiteY2" fmla="*/ 9961 h 10000"/>
                    <a:gd name="connsiteX3" fmla="*/ 10000 w 10000"/>
                    <a:gd name="connsiteY3" fmla="*/ 7587 h 10000"/>
                    <a:gd name="connsiteX4" fmla="*/ 10000 w 10000"/>
                    <a:gd name="connsiteY4" fmla="*/ 7587 h 10000"/>
                    <a:gd name="connsiteX5" fmla="*/ 8661 w 10000"/>
                    <a:gd name="connsiteY5" fmla="*/ 7365 h 10000"/>
                    <a:gd name="connsiteX6" fmla="*/ 7404 w 10000"/>
                    <a:gd name="connsiteY6" fmla="*/ 7178 h 10000"/>
                    <a:gd name="connsiteX7" fmla="*/ 5975 w 10000"/>
                    <a:gd name="connsiteY7" fmla="*/ 6949 h 10000"/>
                    <a:gd name="connsiteX8" fmla="*/ 5975 w 10000"/>
                    <a:gd name="connsiteY8" fmla="*/ 6949 h 10000"/>
                    <a:gd name="connsiteX9" fmla="*/ 5975 w 10000"/>
                    <a:gd name="connsiteY9" fmla="*/ 6930 h 10000"/>
                    <a:gd name="connsiteX10" fmla="*/ 5975 w 10000"/>
                    <a:gd name="connsiteY10" fmla="*/ 6814 h 10000"/>
                    <a:gd name="connsiteX11" fmla="*/ 5975 w 10000"/>
                    <a:gd name="connsiteY11" fmla="*/ 6814 h 10000"/>
                    <a:gd name="connsiteX12" fmla="*/ 5779 w 10000"/>
                    <a:gd name="connsiteY12" fmla="*/ 6676 h 10000"/>
                    <a:gd name="connsiteX13" fmla="*/ 5389 w 10000"/>
                    <a:gd name="connsiteY13" fmla="*/ 6465 h 10000"/>
                    <a:gd name="connsiteX14" fmla="*/ 4545 w 10000"/>
                    <a:gd name="connsiteY14" fmla="*/ 6062 h 10000"/>
                    <a:gd name="connsiteX15" fmla="*/ 4545 w 10000"/>
                    <a:gd name="connsiteY15" fmla="*/ 6062 h 10000"/>
                    <a:gd name="connsiteX16" fmla="*/ 4352 w 10000"/>
                    <a:gd name="connsiteY16" fmla="*/ 6003 h 10000"/>
                    <a:gd name="connsiteX17" fmla="*/ 4026 w 10000"/>
                    <a:gd name="connsiteY17" fmla="*/ 5926 h 10000"/>
                    <a:gd name="connsiteX18" fmla="*/ 3052 w 10000"/>
                    <a:gd name="connsiteY18" fmla="*/ 5752 h 10000"/>
                    <a:gd name="connsiteX19" fmla="*/ 1689 w 10000"/>
                    <a:gd name="connsiteY19" fmla="*/ 5540 h 10000"/>
                    <a:gd name="connsiteX20" fmla="*/ 1689 w 10000"/>
                    <a:gd name="connsiteY20" fmla="*/ 5540 h 10000"/>
                    <a:gd name="connsiteX21" fmla="*/ 1103 w 10000"/>
                    <a:gd name="connsiteY21" fmla="*/ 5519 h 10000"/>
                    <a:gd name="connsiteX22" fmla="*/ 650 w 10000"/>
                    <a:gd name="connsiteY22" fmla="*/ 5501 h 10000"/>
                    <a:gd name="connsiteX23" fmla="*/ 521 w 10000"/>
                    <a:gd name="connsiteY23" fmla="*/ 5480 h 10000"/>
                    <a:gd name="connsiteX24" fmla="*/ 390 w 10000"/>
                    <a:gd name="connsiteY24" fmla="*/ 5462 h 10000"/>
                    <a:gd name="connsiteX25" fmla="*/ 390 w 10000"/>
                    <a:gd name="connsiteY25" fmla="*/ 5462 h 10000"/>
                    <a:gd name="connsiteX26" fmla="*/ 261 w 10000"/>
                    <a:gd name="connsiteY26" fmla="*/ 5383 h 10000"/>
                    <a:gd name="connsiteX27" fmla="*/ 65 w 10000"/>
                    <a:gd name="connsiteY27" fmla="*/ 5253 h 10000"/>
                    <a:gd name="connsiteX28" fmla="*/ 0 w 10000"/>
                    <a:gd name="connsiteY28" fmla="*/ 5174 h 10000"/>
                    <a:gd name="connsiteX29" fmla="*/ 0 w 10000"/>
                    <a:gd name="connsiteY29" fmla="*/ 5094 h 10000"/>
                    <a:gd name="connsiteX30" fmla="*/ 0 w 10000"/>
                    <a:gd name="connsiteY30" fmla="*/ 5038 h 10000"/>
                    <a:gd name="connsiteX31" fmla="*/ 131 w 10000"/>
                    <a:gd name="connsiteY31" fmla="*/ 4979 h 10000"/>
                    <a:gd name="connsiteX32" fmla="*/ 131 w 10000"/>
                    <a:gd name="connsiteY32" fmla="*/ 4979 h 10000"/>
                    <a:gd name="connsiteX33" fmla="*/ 455 w 10000"/>
                    <a:gd name="connsiteY33" fmla="*/ 4882 h 10000"/>
                    <a:gd name="connsiteX34" fmla="*/ 779 w 10000"/>
                    <a:gd name="connsiteY34" fmla="*/ 4788 h 10000"/>
                    <a:gd name="connsiteX35" fmla="*/ 975 w 10000"/>
                    <a:gd name="connsiteY35" fmla="*/ 4730 h 10000"/>
                    <a:gd name="connsiteX36" fmla="*/ 1103 w 10000"/>
                    <a:gd name="connsiteY36" fmla="*/ 4671 h 10000"/>
                    <a:gd name="connsiteX37" fmla="*/ 1103 w 10000"/>
                    <a:gd name="connsiteY37" fmla="*/ 4593 h 10000"/>
                    <a:gd name="connsiteX38" fmla="*/ 1103 w 10000"/>
                    <a:gd name="connsiteY38" fmla="*/ 4497 h 10000"/>
                    <a:gd name="connsiteX39" fmla="*/ 1103 w 10000"/>
                    <a:gd name="connsiteY39" fmla="*/ 4497 h 10000"/>
                    <a:gd name="connsiteX40" fmla="*/ 845 w 10000"/>
                    <a:gd name="connsiteY40" fmla="*/ 4227 h 10000"/>
                    <a:gd name="connsiteX41" fmla="*/ 521 w 10000"/>
                    <a:gd name="connsiteY41" fmla="*/ 3860 h 10000"/>
                    <a:gd name="connsiteX42" fmla="*/ 261 w 10000"/>
                    <a:gd name="connsiteY42" fmla="*/ 3531 h 10000"/>
                    <a:gd name="connsiteX43" fmla="*/ 195 w 10000"/>
                    <a:gd name="connsiteY43" fmla="*/ 3435 h 10000"/>
                    <a:gd name="connsiteX44" fmla="*/ 195 w 10000"/>
                    <a:gd name="connsiteY44" fmla="*/ 3397 h 10000"/>
                    <a:gd name="connsiteX45" fmla="*/ 261 w 10000"/>
                    <a:gd name="connsiteY45" fmla="*/ 3376 h 10000"/>
                    <a:gd name="connsiteX46" fmla="*/ 261 w 10000"/>
                    <a:gd name="connsiteY46" fmla="*/ 3376 h 10000"/>
                    <a:gd name="connsiteX47" fmla="*/ 650 w 10000"/>
                    <a:gd name="connsiteY47" fmla="*/ 3358 h 10000"/>
                    <a:gd name="connsiteX48" fmla="*/ 908 w 10000"/>
                    <a:gd name="connsiteY48" fmla="*/ 3358 h 10000"/>
                    <a:gd name="connsiteX49" fmla="*/ 1103 w 10000"/>
                    <a:gd name="connsiteY49" fmla="*/ 3376 h 10000"/>
                    <a:gd name="connsiteX50" fmla="*/ 1103 w 10000"/>
                    <a:gd name="connsiteY50" fmla="*/ 3376 h 10000"/>
                    <a:gd name="connsiteX51" fmla="*/ 1168 w 10000"/>
                    <a:gd name="connsiteY51" fmla="*/ 3376 h 10000"/>
                    <a:gd name="connsiteX52" fmla="*/ 1235 w 10000"/>
                    <a:gd name="connsiteY52" fmla="*/ 3341 h 10000"/>
                    <a:gd name="connsiteX53" fmla="*/ 1559 w 10000"/>
                    <a:gd name="connsiteY53" fmla="*/ 3223 h 10000"/>
                    <a:gd name="connsiteX54" fmla="*/ 2402 w 10000"/>
                    <a:gd name="connsiteY54" fmla="*/ 2837 h 10000"/>
                    <a:gd name="connsiteX55" fmla="*/ 3507 w 10000"/>
                    <a:gd name="connsiteY55" fmla="*/ 2279 h 10000"/>
                    <a:gd name="connsiteX56" fmla="*/ 3507 w 10000"/>
                    <a:gd name="connsiteY56" fmla="*/ 2279 h 10000"/>
                    <a:gd name="connsiteX57" fmla="*/ 3507 w 10000"/>
                    <a:gd name="connsiteY57" fmla="*/ 2200 h 10000"/>
                    <a:gd name="connsiteX58" fmla="*/ 3507 w 10000"/>
                    <a:gd name="connsiteY58" fmla="*/ 2024 h 10000"/>
                    <a:gd name="connsiteX59" fmla="*/ 3573 w 10000"/>
                    <a:gd name="connsiteY59" fmla="*/ 1911 h 10000"/>
                    <a:gd name="connsiteX60" fmla="*/ 3702 w 10000"/>
                    <a:gd name="connsiteY60" fmla="*/ 1813 h 10000"/>
                    <a:gd name="connsiteX61" fmla="*/ 3896 w 10000"/>
                    <a:gd name="connsiteY61" fmla="*/ 1699 h 10000"/>
                    <a:gd name="connsiteX62" fmla="*/ 4156 w 10000"/>
                    <a:gd name="connsiteY62" fmla="*/ 1603 h 10000"/>
                    <a:gd name="connsiteX63" fmla="*/ 4156 w 10000"/>
                    <a:gd name="connsiteY63" fmla="*/ 1603 h 10000"/>
                    <a:gd name="connsiteX64" fmla="*/ 4806 w 10000"/>
                    <a:gd name="connsiteY64" fmla="*/ 1411 h 10000"/>
                    <a:gd name="connsiteX65" fmla="*/ 5455 w 10000"/>
                    <a:gd name="connsiteY65" fmla="*/ 1157 h 10000"/>
                    <a:gd name="connsiteX66" fmla="*/ 6104 w 10000"/>
                    <a:gd name="connsiteY66" fmla="*/ 926 h 10000"/>
                    <a:gd name="connsiteX67" fmla="*/ 6559 w 10000"/>
                    <a:gd name="connsiteY67" fmla="*/ 715 h 10000"/>
                    <a:gd name="connsiteX68" fmla="*/ 6559 w 10000"/>
                    <a:gd name="connsiteY68" fmla="*/ 715 h 10000"/>
                    <a:gd name="connsiteX69" fmla="*/ 6882 w 10000"/>
                    <a:gd name="connsiteY69" fmla="*/ 523 h 10000"/>
                    <a:gd name="connsiteX70" fmla="*/ 7273 w 10000"/>
                    <a:gd name="connsiteY70" fmla="*/ 288 h 10000"/>
                    <a:gd name="connsiteX71" fmla="*/ 7663 w 10000"/>
                    <a:gd name="connsiteY71" fmla="*/ 115 h 10000"/>
                    <a:gd name="connsiteX72" fmla="*/ 7856 w 10000"/>
                    <a:gd name="connsiteY72" fmla="*/ 35 h 10000"/>
                    <a:gd name="connsiteX73" fmla="*/ 8051 w 10000"/>
                    <a:gd name="connsiteY73" fmla="*/ 18 h 10000"/>
                    <a:gd name="connsiteX74" fmla="*/ 8051 w 10000"/>
                    <a:gd name="connsiteY74" fmla="*/ 18 h 10000"/>
                    <a:gd name="connsiteX75" fmla="*/ 8442 w 10000"/>
                    <a:gd name="connsiteY75" fmla="*/ 0 h 10000"/>
                    <a:gd name="connsiteX76" fmla="*/ 8961 w 10000"/>
                    <a:gd name="connsiteY76" fmla="*/ 0 h 10000"/>
                    <a:gd name="connsiteX77" fmla="*/ 10000 w 10000"/>
                    <a:gd name="connsiteY77" fmla="*/ 18 h 10000"/>
                    <a:gd name="connsiteX0" fmla="*/ 10000 w 10000"/>
                    <a:gd name="connsiteY0" fmla="*/ 18 h 10000"/>
                    <a:gd name="connsiteX1" fmla="*/ 8116 w 10000"/>
                    <a:gd name="connsiteY1" fmla="*/ 10000 h 10000"/>
                    <a:gd name="connsiteX2" fmla="*/ 10000 w 10000"/>
                    <a:gd name="connsiteY2" fmla="*/ 7587 h 10000"/>
                    <a:gd name="connsiteX3" fmla="*/ 10000 w 10000"/>
                    <a:gd name="connsiteY3" fmla="*/ 7587 h 10000"/>
                    <a:gd name="connsiteX4" fmla="*/ 8661 w 10000"/>
                    <a:gd name="connsiteY4" fmla="*/ 7365 h 10000"/>
                    <a:gd name="connsiteX5" fmla="*/ 7404 w 10000"/>
                    <a:gd name="connsiteY5" fmla="*/ 7178 h 10000"/>
                    <a:gd name="connsiteX6" fmla="*/ 5975 w 10000"/>
                    <a:gd name="connsiteY6" fmla="*/ 6949 h 10000"/>
                    <a:gd name="connsiteX7" fmla="*/ 5975 w 10000"/>
                    <a:gd name="connsiteY7" fmla="*/ 6949 h 10000"/>
                    <a:gd name="connsiteX8" fmla="*/ 5975 w 10000"/>
                    <a:gd name="connsiteY8" fmla="*/ 6930 h 10000"/>
                    <a:gd name="connsiteX9" fmla="*/ 5975 w 10000"/>
                    <a:gd name="connsiteY9" fmla="*/ 6814 h 10000"/>
                    <a:gd name="connsiteX10" fmla="*/ 5975 w 10000"/>
                    <a:gd name="connsiteY10" fmla="*/ 6814 h 10000"/>
                    <a:gd name="connsiteX11" fmla="*/ 5779 w 10000"/>
                    <a:gd name="connsiteY11" fmla="*/ 6676 h 10000"/>
                    <a:gd name="connsiteX12" fmla="*/ 5389 w 10000"/>
                    <a:gd name="connsiteY12" fmla="*/ 6465 h 10000"/>
                    <a:gd name="connsiteX13" fmla="*/ 4545 w 10000"/>
                    <a:gd name="connsiteY13" fmla="*/ 6062 h 10000"/>
                    <a:gd name="connsiteX14" fmla="*/ 4545 w 10000"/>
                    <a:gd name="connsiteY14" fmla="*/ 6062 h 10000"/>
                    <a:gd name="connsiteX15" fmla="*/ 4352 w 10000"/>
                    <a:gd name="connsiteY15" fmla="*/ 6003 h 10000"/>
                    <a:gd name="connsiteX16" fmla="*/ 4026 w 10000"/>
                    <a:gd name="connsiteY16" fmla="*/ 5926 h 10000"/>
                    <a:gd name="connsiteX17" fmla="*/ 3052 w 10000"/>
                    <a:gd name="connsiteY17" fmla="*/ 5752 h 10000"/>
                    <a:gd name="connsiteX18" fmla="*/ 1689 w 10000"/>
                    <a:gd name="connsiteY18" fmla="*/ 5540 h 10000"/>
                    <a:gd name="connsiteX19" fmla="*/ 1689 w 10000"/>
                    <a:gd name="connsiteY19" fmla="*/ 5540 h 10000"/>
                    <a:gd name="connsiteX20" fmla="*/ 1103 w 10000"/>
                    <a:gd name="connsiteY20" fmla="*/ 5519 h 10000"/>
                    <a:gd name="connsiteX21" fmla="*/ 650 w 10000"/>
                    <a:gd name="connsiteY21" fmla="*/ 5501 h 10000"/>
                    <a:gd name="connsiteX22" fmla="*/ 521 w 10000"/>
                    <a:gd name="connsiteY22" fmla="*/ 5480 h 10000"/>
                    <a:gd name="connsiteX23" fmla="*/ 390 w 10000"/>
                    <a:gd name="connsiteY23" fmla="*/ 5462 h 10000"/>
                    <a:gd name="connsiteX24" fmla="*/ 390 w 10000"/>
                    <a:gd name="connsiteY24" fmla="*/ 5462 h 10000"/>
                    <a:gd name="connsiteX25" fmla="*/ 261 w 10000"/>
                    <a:gd name="connsiteY25" fmla="*/ 5383 h 10000"/>
                    <a:gd name="connsiteX26" fmla="*/ 65 w 10000"/>
                    <a:gd name="connsiteY26" fmla="*/ 5253 h 10000"/>
                    <a:gd name="connsiteX27" fmla="*/ 0 w 10000"/>
                    <a:gd name="connsiteY27" fmla="*/ 5174 h 10000"/>
                    <a:gd name="connsiteX28" fmla="*/ 0 w 10000"/>
                    <a:gd name="connsiteY28" fmla="*/ 5094 h 10000"/>
                    <a:gd name="connsiteX29" fmla="*/ 0 w 10000"/>
                    <a:gd name="connsiteY29" fmla="*/ 5038 h 10000"/>
                    <a:gd name="connsiteX30" fmla="*/ 131 w 10000"/>
                    <a:gd name="connsiteY30" fmla="*/ 4979 h 10000"/>
                    <a:gd name="connsiteX31" fmla="*/ 131 w 10000"/>
                    <a:gd name="connsiteY31" fmla="*/ 4979 h 10000"/>
                    <a:gd name="connsiteX32" fmla="*/ 455 w 10000"/>
                    <a:gd name="connsiteY32" fmla="*/ 4882 h 10000"/>
                    <a:gd name="connsiteX33" fmla="*/ 779 w 10000"/>
                    <a:gd name="connsiteY33" fmla="*/ 4788 h 10000"/>
                    <a:gd name="connsiteX34" fmla="*/ 975 w 10000"/>
                    <a:gd name="connsiteY34" fmla="*/ 4730 h 10000"/>
                    <a:gd name="connsiteX35" fmla="*/ 1103 w 10000"/>
                    <a:gd name="connsiteY35" fmla="*/ 4671 h 10000"/>
                    <a:gd name="connsiteX36" fmla="*/ 1103 w 10000"/>
                    <a:gd name="connsiteY36" fmla="*/ 4593 h 10000"/>
                    <a:gd name="connsiteX37" fmla="*/ 1103 w 10000"/>
                    <a:gd name="connsiteY37" fmla="*/ 4497 h 10000"/>
                    <a:gd name="connsiteX38" fmla="*/ 1103 w 10000"/>
                    <a:gd name="connsiteY38" fmla="*/ 4497 h 10000"/>
                    <a:gd name="connsiteX39" fmla="*/ 845 w 10000"/>
                    <a:gd name="connsiteY39" fmla="*/ 4227 h 10000"/>
                    <a:gd name="connsiteX40" fmla="*/ 521 w 10000"/>
                    <a:gd name="connsiteY40" fmla="*/ 3860 h 10000"/>
                    <a:gd name="connsiteX41" fmla="*/ 261 w 10000"/>
                    <a:gd name="connsiteY41" fmla="*/ 3531 h 10000"/>
                    <a:gd name="connsiteX42" fmla="*/ 195 w 10000"/>
                    <a:gd name="connsiteY42" fmla="*/ 3435 h 10000"/>
                    <a:gd name="connsiteX43" fmla="*/ 195 w 10000"/>
                    <a:gd name="connsiteY43" fmla="*/ 3397 h 10000"/>
                    <a:gd name="connsiteX44" fmla="*/ 261 w 10000"/>
                    <a:gd name="connsiteY44" fmla="*/ 3376 h 10000"/>
                    <a:gd name="connsiteX45" fmla="*/ 261 w 10000"/>
                    <a:gd name="connsiteY45" fmla="*/ 3376 h 10000"/>
                    <a:gd name="connsiteX46" fmla="*/ 650 w 10000"/>
                    <a:gd name="connsiteY46" fmla="*/ 3358 h 10000"/>
                    <a:gd name="connsiteX47" fmla="*/ 908 w 10000"/>
                    <a:gd name="connsiteY47" fmla="*/ 3358 h 10000"/>
                    <a:gd name="connsiteX48" fmla="*/ 1103 w 10000"/>
                    <a:gd name="connsiteY48" fmla="*/ 3376 h 10000"/>
                    <a:gd name="connsiteX49" fmla="*/ 1103 w 10000"/>
                    <a:gd name="connsiteY49" fmla="*/ 3376 h 10000"/>
                    <a:gd name="connsiteX50" fmla="*/ 1168 w 10000"/>
                    <a:gd name="connsiteY50" fmla="*/ 3376 h 10000"/>
                    <a:gd name="connsiteX51" fmla="*/ 1235 w 10000"/>
                    <a:gd name="connsiteY51" fmla="*/ 3341 h 10000"/>
                    <a:gd name="connsiteX52" fmla="*/ 1559 w 10000"/>
                    <a:gd name="connsiteY52" fmla="*/ 3223 h 10000"/>
                    <a:gd name="connsiteX53" fmla="*/ 2402 w 10000"/>
                    <a:gd name="connsiteY53" fmla="*/ 2837 h 10000"/>
                    <a:gd name="connsiteX54" fmla="*/ 3507 w 10000"/>
                    <a:gd name="connsiteY54" fmla="*/ 2279 h 10000"/>
                    <a:gd name="connsiteX55" fmla="*/ 3507 w 10000"/>
                    <a:gd name="connsiteY55" fmla="*/ 2279 h 10000"/>
                    <a:gd name="connsiteX56" fmla="*/ 3507 w 10000"/>
                    <a:gd name="connsiteY56" fmla="*/ 2200 h 10000"/>
                    <a:gd name="connsiteX57" fmla="*/ 3507 w 10000"/>
                    <a:gd name="connsiteY57" fmla="*/ 2024 h 10000"/>
                    <a:gd name="connsiteX58" fmla="*/ 3573 w 10000"/>
                    <a:gd name="connsiteY58" fmla="*/ 1911 h 10000"/>
                    <a:gd name="connsiteX59" fmla="*/ 3702 w 10000"/>
                    <a:gd name="connsiteY59" fmla="*/ 1813 h 10000"/>
                    <a:gd name="connsiteX60" fmla="*/ 3896 w 10000"/>
                    <a:gd name="connsiteY60" fmla="*/ 1699 h 10000"/>
                    <a:gd name="connsiteX61" fmla="*/ 4156 w 10000"/>
                    <a:gd name="connsiteY61" fmla="*/ 1603 h 10000"/>
                    <a:gd name="connsiteX62" fmla="*/ 4156 w 10000"/>
                    <a:gd name="connsiteY62" fmla="*/ 1603 h 10000"/>
                    <a:gd name="connsiteX63" fmla="*/ 4806 w 10000"/>
                    <a:gd name="connsiteY63" fmla="*/ 1411 h 10000"/>
                    <a:gd name="connsiteX64" fmla="*/ 5455 w 10000"/>
                    <a:gd name="connsiteY64" fmla="*/ 1157 h 10000"/>
                    <a:gd name="connsiteX65" fmla="*/ 6104 w 10000"/>
                    <a:gd name="connsiteY65" fmla="*/ 926 h 10000"/>
                    <a:gd name="connsiteX66" fmla="*/ 6559 w 10000"/>
                    <a:gd name="connsiteY66" fmla="*/ 715 h 10000"/>
                    <a:gd name="connsiteX67" fmla="*/ 6559 w 10000"/>
                    <a:gd name="connsiteY67" fmla="*/ 715 h 10000"/>
                    <a:gd name="connsiteX68" fmla="*/ 6882 w 10000"/>
                    <a:gd name="connsiteY68" fmla="*/ 523 h 10000"/>
                    <a:gd name="connsiteX69" fmla="*/ 7273 w 10000"/>
                    <a:gd name="connsiteY69" fmla="*/ 288 h 10000"/>
                    <a:gd name="connsiteX70" fmla="*/ 7663 w 10000"/>
                    <a:gd name="connsiteY70" fmla="*/ 115 h 10000"/>
                    <a:gd name="connsiteX71" fmla="*/ 7856 w 10000"/>
                    <a:gd name="connsiteY71" fmla="*/ 35 h 10000"/>
                    <a:gd name="connsiteX72" fmla="*/ 8051 w 10000"/>
                    <a:gd name="connsiteY72" fmla="*/ 18 h 10000"/>
                    <a:gd name="connsiteX73" fmla="*/ 8051 w 10000"/>
                    <a:gd name="connsiteY73" fmla="*/ 18 h 10000"/>
                    <a:gd name="connsiteX74" fmla="*/ 8442 w 10000"/>
                    <a:gd name="connsiteY74" fmla="*/ 0 h 10000"/>
                    <a:gd name="connsiteX75" fmla="*/ 8961 w 10000"/>
                    <a:gd name="connsiteY75" fmla="*/ 0 h 10000"/>
                    <a:gd name="connsiteX76" fmla="*/ 10000 w 10000"/>
                    <a:gd name="connsiteY76" fmla="*/ 18 h 10000"/>
                    <a:gd name="connsiteX0" fmla="*/ 10000 w 10000"/>
                    <a:gd name="connsiteY0" fmla="*/ 18 h 7587"/>
                    <a:gd name="connsiteX1" fmla="*/ 10000 w 10000"/>
                    <a:gd name="connsiteY1" fmla="*/ 7587 h 7587"/>
                    <a:gd name="connsiteX2" fmla="*/ 10000 w 10000"/>
                    <a:gd name="connsiteY2" fmla="*/ 7587 h 7587"/>
                    <a:gd name="connsiteX3" fmla="*/ 8661 w 10000"/>
                    <a:gd name="connsiteY3" fmla="*/ 7365 h 7587"/>
                    <a:gd name="connsiteX4" fmla="*/ 7404 w 10000"/>
                    <a:gd name="connsiteY4" fmla="*/ 7178 h 7587"/>
                    <a:gd name="connsiteX5" fmla="*/ 5975 w 10000"/>
                    <a:gd name="connsiteY5" fmla="*/ 6949 h 7587"/>
                    <a:gd name="connsiteX6" fmla="*/ 5975 w 10000"/>
                    <a:gd name="connsiteY6" fmla="*/ 6949 h 7587"/>
                    <a:gd name="connsiteX7" fmla="*/ 5975 w 10000"/>
                    <a:gd name="connsiteY7" fmla="*/ 6930 h 7587"/>
                    <a:gd name="connsiteX8" fmla="*/ 5975 w 10000"/>
                    <a:gd name="connsiteY8" fmla="*/ 6814 h 7587"/>
                    <a:gd name="connsiteX9" fmla="*/ 5975 w 10000"/>
                    <a:gd name="connsiteY9" fmla="*/ 6814 h 7587"/>
                    <a:gd name="connsiteX10" fmla="*/ 5779 w 10000"/>
                    <a:gd name="connsiteY10" fmla="*/ 6676 h 7587"/>
                    <a:gd name="connsiteX11" fmla="*/ 5389 w 10000"/>
                    <a:gd name="connsiteY11" fmla="*/ 6465 h 7587"/>
                    <a:gd name="connsiteX12" fmla="*/ 4545 w 10000"/>
                    <a:gd name="connsiteY12" fmla="*/ 6062 h 7587"/>
                    <a:gd name="connsiteX13" fmla="*/ 4545 w 10000"/>
                    <a:gd name="connsiteY13" fmla="*/ 6062 h 7587"/>
                    <a:gd name="connsiteX14" fmla="*/ 4352 w 10000"/>
                    <a:gd name="connsiteY14" fmla="*/ 6003 h 7587"/>
                    <a:gd name="connsiteX15" fmla="*/ 4026 w 10000"/>
                    <a:gd name="connsiteY15" fmla="*/ 5926 h 7587"/>
                    <a:gd name="connsiteX16" fmla="*/ 3052 w 10000"/>
                    <a:gd name="connsiteY16" fmla="*/ 5752 h 7587"/>
                    <a:gd name="connsiteX17" fmla="*/ 1689 w 10000"/>
                    <a:gd name="connsiteY17" fmla="*/ 5540 h 7587"/>
                    <a:gd name="connsiteX18" fmla="*/ 1689 w 10000"/>
                    <a:gd name="connsiteY18" fmla="*/ 5540 h 7587"/>
                    <a:gd name="connsiteX19" fmla="*/ 1103 w 10000"/>
                    <a:gd name="connsiteY19" fmla="*/ 5519 h 7587"/>
                    <a:gd name="connsiteX20" fmla="*/ 650 w 10000"/>
                    <a:gd name="connsiteY20" fmla="*/ 5501 h 7587"/>
                    <a:gd name="connsiteX21" fmla="*/ 521 w 10000"/>
                    <a:gd name="connsiteY21" fmla="*/ 5480 h 7587"/>
                    <a:gd name="connsiteX22" fmla="*/ 390 w 10000"/>
                    <a:gd name="connsiteY22" fmla="*/ 5462 h 7587"/>
                    <a:gd name="connsiteX23" fmla="*/ 390 w 10000"/>
                    <a:gd name="connsiteY23" fmla="*/ 5462 h 7587"/>
                    <a:gd name="connsiteX24" fmla="*/ 261 w 10000"/>
                    <a:gd name="connsiteY24" fmla="*/ 5383 h 7587"/>
                    <a:gd name="connsiteX25" fmla="*/ 65 w 10000"/>
                    <a:gd name="connsiteY25" fmla="*/ 5253 h 7587"/>
                    <a:gd name="connsiteX26" fmla="*/ 0 w 10000"/>
                    <a:gd name="connsiteY26" fmla="*/ 5174 h 7587"/>
                    <a:gd name="connsiteX27" fmla="*/ 0 w 10000"/>
                    <a:gd name="connsiteY27" fmla="*/ 5094 h 7587"/>
                    <a:gd name="connsiteX28" fmla="*/ 0 w 10000"/>
                    <a:gd name="connsiteY28" fmla="*/ 5038 h 7587"/>
                    <a:gd name="connsiteX29" fmla="*/ 131 w 10000"/>
                    <a:gd name="connsiteY29" fmla="*/ 4979 h 7587"/>
                    <a:gd name="connsiteX30" fmla="*/ 131 w 10000"/>
                    <a:gd name="connsiteY30" fmla="*/ 4979 h 7587"/>
                    <a:gd name="connsiteX31" fmla="*/ 455 w 10000"/>
                    <a:gd name="connsiteY31" fmla="*/ 4882 h 7587"/>
                    <a:gd name="connsiteX32" fmla="*/ 779 w 10000"/>
                    <a:gd name="connsiteY32" fmla="*/ 4788 h 7587"/>
                    <a:gd name="connsiteX33" fmla="*/ 975 w 10000"/>
                    <a:gd name="connsiteY33" fmla="*/ 4730 h 7587"/>
                    <a:gd name="connsiteX34" fmla="*/ 1103 w 10000"/>
                    <a:gd name="connsiteY34" fmla="*/ 4671 h 7587"/>
                    <a:gd name="connsiteX35" fmla="*/ 1103 w 10000"/>
                    <a:gd name="connsiteY35" fmla="*/ 4593 h 7587"/>
                    <a:gd name="connsiteX36" fmla="*/ 1103 w 10000"/>
                    <a:gd name="connsiteY36" fmla="*/ 4497 h 7587"/>
                    <a:gd name="connsiteX37" fmla="*/ 1103 w 10000"/>
                    <a:gd name="connsiteY37" fmla="*/ 4497 h 7587"/>
                    <a:gd name="connsiteX38" fmla="*/ 845 w 10000"/>
                    <a:gd name="connsiteY38" fmla="*/ 4227 h 7587"/>
                    <a:gd name="connsiteX39" fmla="*/ 521 w 10000"/>
                    <a:gd name="connsiteY39" fmla="*/ 3860 h 7587"/>
                    <a:gd name="connsiteX40" fmla="*/ 261 w 10000"/>
                    <a:gd name="connsiteY40" fmla="*/ 3531 h 7587"/>
                    <a:gd name="connsiteX41" fmla="*/ 195 w 10000"/>
                    <a:gd name="connsiteY41" fmla="*/ 3435 h 7587"/>
                    <a:gd name="connsiteX42" fmla="*/ 195 w 10000"/>
                    <a:gd name="connsiteY42" fmla="*/ 3397 h 7587"/>
                    <a:gd name="connsiteX43" fmla="*/ 261 w 10000"/>
                    <a:gd name="connsiteY43" fmla="*/ 3376 h 7587"/>
                    <a:gd name="connsiteX44" fmla="*/ 261 w 10000"/>
                    <a:gd name="connsiteY44" fmla="*/ 3376 h 7587"/>
                    <a:gd name="connsiteX45" fmla="*/ 650 w 10000"/>
                    <a:gd name="connsiteY45" fmla="*/ 3358 h 7587"/>
                    <a:gd name="connsiteX46" fmla="*/ 908 w 10000"/>
                    <a:gd name="connsiteY46" fmla="*/ 3358 h 7587"/>
                    <a:gd name="connsiteX47" fmla="*/ 1103 w 10000"/>
                    <a:gd name="connsiteY47" fmla="*/ 3376 h 7587"/>
                    <a:gd name="connsiteX48" fmla="*/ 1103 w 10000"/>
                    <a:gd name="connsiteY48" fmla="*/ 3376 h 7587"/>
                    <a:gd name="connsiteX49" fmla="*/ 1168 w 10000"/>
                    <a:gd name="connsiteY49" fmla="*/ 3376 h 7587"/>
                    <a:gd name="connsiteX50" fmla="*/ 1235 w 10000"/>
                    <a:gd name="connsiteY50" fmla="*/ 3341 h 7587"/>
                    <a:gd name="connsiteX51" fmla="*/ 1559 w 10000"/>
                    <a:gd name="connsiteY51" fmla="*/ 3223 h 7587"/>
                    <a:gd name="connsiteX52" fmla="*/ 2402 w 10000"/>
                    <a:gd name="connsiteY52" fmla="*/ 2837 h 7587"/>
                    <a:gd name="connsiteX53" fmla="*/ 3507 w 10000"/>
                    <a:gd name="connsiteY53" fmla="*/ 2279 h 7587"/>
                    <a:gd name="connsiteX54" fmla="*/ 3507 w 10000"/>
                    <a:gd name="connsiteY54" fmla="*/ 2279 h 7587"/>
                    <a:gd name="connsiteX55" fmla="*/ 3507 w 10000"/>
                    <a:gd name="connsiteY55" fmla="*/ 2200 h 7587"/>
                    <a:gd name="connsiteX56" fmla="*/ 3507 w 10000"/>
                    <a:gd name="connsiteY56" fmla="*/ 2024 h 7587"/>
                    <a:gd name="connsiteX57" fmla="*/ 3573 w 10000"/>
                    <a:gd name="connsiteY57" fmla="*/ 1911 h 7587"/>
                    <a:gd name="connsiteX58" fmla="*/ 3702 w 10000"/>
                    <a:gd name="connsiteY58" fmla="*/ 1813 h 7587"/>
                    <a:gd name="connsiteX59" fmla="*/ 3896 w 10000"/>
                    <a:gd name="connsiteY59" fmla="*/ 1699 h 7587"/>
                    <a:gd name="connsiteX60" fmla="*/ 4156 w 10000"/>
                    <a:gd name="connsiteY60" fmla="*/ 1603 h 7587"/>
                    <a:gd name="connsiteX61" fmla="*/ 4156 w 10000"/>
                    <a:gd name="connsiteY61" fmla="*/ 1603 h 7587"/>
                    <a:gd name="connsiteX62" fmla="*/ 4806 w 10000"/>
                    <a:gd name="connsiteY62" fmla="*/ 1411 h 7587"/>
                    <a:gd name="connsiteX63" fmla="*/ 5455 w 10000"/>
                    <a:gd name="connsiteY63" fmla="*/ 1157 h 7587"/>
                    <a:gd name="connsiteX64" fmla="*/ 6104 w 10000"/>
                    <a:gd name="connsiteY64" fmla="*/ 926 h 7587"/>
                    <a:gd name="connsiteX65" fmla="*/ 6559 w 10000"/>
                    <a:gd name="connsiteY65" fmla="*/ 715 h 7587"/>
                    <a:gd name="connsiteX66" fmla="*/ 6559 w 10000"/>
                    <a:gd name="connsiteY66" fmla="*/ 715 h 7587"/>
                    <a:gd name="connsiteX67" fmla="*/ 6882 w 10000"/>
                    <a:gd name="connsiteY67" fmla="*/ 523 h 7587"/>
                    <a:gd name="connsiteX68" fmla="*/ 7273 w 10000"/>
                    <a:gd name="connsiteY68" fmla="*/ 288 h 7587"/>
                    <a:gd name="connsiteX69" fmla="*/ 7663 w 10000"/>
                    <a:gd name="connsiteY69" fmla="*/ 115 h 7587"/>
                    <a:gd name="connsiteX70" fmla="*/ 7856 w 10000"/>
                    <a:gd name="connsiteY70" fmla="*/ 35 h 7587"/>
                    <a:gd name="connsiteX71" fmla="*/ 8051 w 10000"/>
                    <a:gd name="connsiteY71" fmla="*/ 18 h 7587"/>
                    <a:gd name="connsiteX72" fmla="*/ 8051 w 10000"/>
                    <a:gd name="connsiteY72" fmla="*/ 18 h 7587"/>
                    <a:gd name="connsiteX73" fmla="*/ 8442 w 10000"/>
                    <a:gd name="connsiteY73" fmla="*/ 0 h 7587"/>
                    <a:gd name="connsiteX74" fmla="*/ 8961 w 10000"/>
                    <a:gd name="connsiteY74" fmla="*/ 0 h 7587"/>
                    <a:gd name="connsiteX75" fmla="*/ 10000 w 10000"/>
                    <a:gd name="connsiteY75" fmla="*/ 18 h 7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10000" h="7587">
                      <a:moveTo>
                        <a:pt x="10000" y="18"/>
                      </a:moveTo>
                      <a:lnTo>
                        <a:pt x="10000" y="7587"/>
                      </a:lnTo>
                      <a:lnTo>
                        <a:pt x="10000" y="7587"/>
                      </a:lnTo>
                      <a:lnTo>
                        <a:pt x="8661" y="7365"/>
                      </a:lnTo>
                      <a:lnTo>
                        <a:pt x="7404" y="7178"/>
                      </a:lnTo>
                      <a:lnTo>
                        <a:pt x="5975" y="6949"/>
                      </a:lnTo>
                      <a:lnTo>
                        <a:pt x="5975" y="6949"/>
                      </a:lnTo>
                      <a:lnTo>
                        <a:pt x="5975" y="6930"/>
                      </a:lnTo>
                      <a:lnTo>
                        <a:pt x="5975" y="6814"/>
                      </a:lnTo>
                      <a:lnTo>
                        <a:pt x="5975" y="6814"/>
                      </a:lnTo>
                      <a:lnTo>
                        <a:pt x="5779" y="6676"/>
                      </a:lnTo>
                      <a:lnTo>
                        <a:pt x="5389" y="6465"/>
                      </a:lnTo>
                      <a:lnTo>
                        <a:pt x="4545" y="6062"/>
                      </a:lnTo>
                      <a:lnTo>
                        <a:pt x="4545" y="6062"/>
                      </a:lnTo>
                      <a:lnTo>
                        <a:pt x="4352" y="6003"/>
                      </a:lnTo>
                      <a:lnTo>
                        <a:pt x="4026" y="5926"/>
                      </a:lnTo>
                      <a:lnTo>
                        <a:pt x="3052" y="5752"/>
                      </a:lnTo>
                      <a:lnTo>
                        <a:pt x="1689" y="5540"/>
                      </a:lnTo>
                      <a:lnTo>
                        <a:pt x="1689" y="5540"/>
                      </a:lnTo>
                      <a:lnTo>
                        <a:pt x="1103" y="5519"/>
                      </a:lnTo>
                      <a:lnTo>
                        <a:pt x="650" y="5501"/>
                      </a:lnTo>
                      <a:lnTo>
                        <a:pt x="521" y="5480"/>
                      </a:lnTo>
                      <a:lnTo>
                        <a:pt x="390" y="5462"/>
                      </a:lnTo>
                      <a:lnTo>
                        <a:pt x="390" y="5462"/>
                      </a:lnTo>
                      <a:cubicBezTo>
                        <a:pt x="346" y="5436"/>
                        <a:pt x="305" y="5409"/>
                        <a:pt x="261" y="5383"/>
                      </a:cubicBezTo>
                      <a:lnTo>
                        <a:pt x="65" y="5253"/>
                      </a:lnTo>
                      <a:cubicBezTo>
                        <a:pt x="44" y="5226"/>
                        <a:pt x="22" y="5200"/>
                        <a:pt x="0" y="5174"/>
                      </a:cubicBezTo>
                      <a:lnTo>
                        <a:pt x="0" y="5094"/>
                      </a:lnTo>
                      <a:lnTo>
                        <a:pt x="0" y="5038"/>
                      </a:lnTo>
                      <a:cubicBezTo>
                        <a:pt x="44" y="5018"/>
                        <a:pt x="86" y="5001"/>
                        <a:pt x="131" y="4979"/>
                      </a:cubicBezTo>
                      <a:lnTo>
                        <a:pt x="131" y="4979"/>
                      </a:lnTo>
                      <a:lnTo>
                        <a:pt x="455" y="4882"/>
                      </a:lnTo>
                      <a:lnTo>
                        <a:pt x="779" y="4788"/>
                      </a:lnTo>
                      <a:lnTo>
                        <a:pt x="975" y="4730"/>
                      </a:lnTo>
                      <a:cubicBezTo>
                        <a:pt x="1018" y="4711"/>
                        <a:pt x="1060" y="4691"/>
                        <a:pt x="1103" y="4671"/>
                      </a:cubicBezTo>
                      <a:lnTo>
                        <a:pt x="1103" y="4593"/>
                      </a:lnTo>
                      <a:lnTo>
                        <a:pt x="1103" y="4497"/>
                      </a:lnTo>
                      <a:lnTo>
                        <a:pt x="1103" y="4497"/>
                      </a:lnTo>
                      <a:lnTo>
                        <a:pt x="845" y="4227"/>
                      </a:lnTo>
                      <a:lnTo>
                        <a:pt x="521" y="3860"/>
                      </a:lnTo>
                      <a:lnTo>
                        <a:pt x="261" y="3531"/>
                      </a:lnTo>
                      <a:cubicBezTo>
                        <a:pt x="237" y="3499"/>
                        <a:pt x="217" y="3466"/>
                        <a:pt x="195" y="3435"/>
                      </a:cubicBezTo>
                      <a:lnTo>
                        <a:pt x="195" y="3397"/>
                      </a:lnTo>
                      <a:cubicBezTo>
                        <a:pt x="217" y="3390"/>
                        <a:pt x="237" y="3383"/>
                        <a:pt x="261" y="3376"/>
                      </a:cubicBezTo>
                      <a:lnTo>
                        <a:pt x="261" y="3376"/>
                      </a:lnTo>
                      <a:lnTo>
                        <a:pt x="650" y="3358"/>
                      </a:lnTo>
                      <a:lnTo>
                        <a:pt x="908" y="3358"/>
                      </a:lnTo>
                      <a:lnTo>
                        <a:pt x="1103" y="3376"/>
                      </a:lnTo>
                      <a:lnTo>
                        <a:pt x="1103" y="3376"/>
                      </a:lnTo>
                      <a:lnTo>
                        <a:pt x="1168" y="3376"/>
                      </a:lnTo>
                      <a:cubicBezTo>
                        <a:pt x="1192" y="3363"/>
                        <a:pt x="1212" y="3351"/>
                        <a:pt x="1235" y="3341"/>
                      </a:cubicBezTo>
                      <a:lnTo>
                        <a:pt x="1559" y="3223"/>
                      </a:lnTo>
                      <a:lnTo>
                        <a:pt x="2402" y="2837"/>
                      </a:lnTo>
                      <a:lnTo>
                        <a:pt x="3507" y="2279"/>
                      </a:lnTo>
                      <a:lnTo>
                        <a:pt x="3507" y="2279"/>
                      </a:lnTo>
                      <a:lnTo>
                        <a:pt x="3507" y="2200"/>
                      </a:lnTo>
                      <a:lnTo>
                        <a:pt x="3507" y="2024"/>
                      </a:lnTo>
                      <a:cubicBezTo>
                        <a:pt x="3528" y="1989"/>
                        <a:pt x="3550" y="1947"/>
                        <a:pt x="3573" y="1911"/>
                      </a:cubicBezTo>
                      <a:lnTo>
                        <a:pt x="3702" y="1813"/>
                      </a:lnTo>
                      <a:lnTo>
                        <a:pt x="3896" y="1699"/>
                      </a:lnTo>
                      <a:lnTo>
                        <a:pt x="4156" y="1603"/>
                      </a:lnTo>
                      <a:lnTo>
                        <a:pt x="4156" y="1603"/>
                      </a:lnTo>
                      <a:lnTo>
                        <a:pt x="4806" y="1411"/>
                      </a:lnTo>
                      <a:lnTo>
                        <a:pt x="5455" y="1157"/>
                      </a:lnTo>
                      <a:lnTo>
                        <a:pt x="6104" y="926"/>
                      </a:lnTo>
                      <a:lnTo>
                        <a:pt x="6559" y="715"/>
                      </a:lnTo>
                      <a:lnTo>
                        <a:pt x="6559" y="715"/>
                      </a:lnTo>
                      <a:lnTo>
                        <a:pt x="6882" y="523"/>
                      </a:lnTo>
                      <a:lnTo>
                        <a:pt x="7273" y="288"/>
                      </a:lnTo>
                      <a:lnTo>
                        <a:pt x="7663" y="115"/>
                      </a:lnTo>
                      <a:lnTo>
                        <a:pt x="7856" y="35"/>
                      </a:lnTo>
                      <a:lnTo>
                        <a:pt x="8051" y="18"/>
                      </a:lnTo>
                      <a:lnTo>
                        <a:pt x="8051" y="18"/>
                      </a:lnTo>
                      <a:lnTo>
                        <a:pt x="8442" y="0"/>
                      </a:lnTo>
                      <a:lnTo>
                        <a:pt x="8961" y="0"/>
                      </a:lnTo>
                      <a:lnTo>
                        <a:pt x="10000" y="18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81" name="Freeform 91">
                  <a:extLst>
                    <a:ext uri="{FF2B5EF4-FFF2-40B4-BE49-F238E27FC236}">
                      <a16:creationId xmlns:a16="http://schemas.microsoft.com/office/drawing/2014/main" id="{99AD7EF7-ADC2-43A0-8548-26C5D83361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2409" y="5006088"/>
                  <a:ext cx="273600" cy="223200"/>
                </a:xfrm>
                <a:custGeom>
                  <a:avLst/>
                  <a:gdLst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9111 w 10000"/>
                    <a:gd name="connsiteY141" fmla="*/ 0 h 10000"/>
                    <a:gd name="connsiteX142" fmla="*/ 10000 w 10000"/>
                    <a:gd name="connsiteY142" fmla="*/ 9013 h 10000"/>
                    <a:gd name="connsiteX143" fmla="*/ 10000 w 10000"/>
                    <a:gd name="connsiteY143" fmla="*/ 9013 h 10000"/>
                    <a:gd name="connsiteX144" fmla="*/ 9722 w 10000"/>
                    <a:gd name="connsiteY144" fmla="*/ 8999 h 10000"/>
                    <a:gd name="connsiteX145" fmla="*/ 9389 w 10000"/>
                    <a:gd name="connsiteY145" fmla="*/ 9013 h 10000"/>
                    <a:gd name="connsiteX146" fmla="*/ 9389 w 10000"/>
                    <a:gd name="connsiteY146" fmla="*/ 9013 h 10000"/>
                    <a:gd name="connsiteX147" fmla="*/ 9278 w 10000"/>
                    <a:gd name="connsiteY147" fmla="*/ 9028 h 10000"/>
                    <a:gd name="connsiteX148" fmla="*/ 9056 w 10000"/>
                    <a:gd name="connsiteY148" fmla="*/ 9013 h 10000"/>
                    <a:gd name="connsiteX149" fmla="*/ 8889 w 10000"/>
                    <a:gd name="connsiteY149" fmla="*/ 8999 h 10000"/>
                    <a:gd name="connsiteX150" fmla="*/ 8722 w 10000"/>
                    <a:gd name="connsiteY150" fmla="*/ 8969 h 10000"/>
                    <a:gd name="connsiteX151" fmla="*/ 8611 w 10000"/>
                    <a:gd name="connsiteY151" fmla="*/ 8925 h 10000"/>
                    <a:gd name="connsiteX152" fmla="*/ 8444 w 10000"/>
                    <a:gd name="connsiteY152" fmla="*/ 8851 h 10000"/>
                    <a:gd name="connsiteX153" fmla="*/ 8444 w 10000"/>
                    <a:gd name="connsiteY153" fmla="*/ 8851 h 10000"/>
                    <a:gd name="connsiteX154" fmla="*/ 8222 w 10000"/>
                    <a:gd name="connsiteY154" fmla="*/ 8719 h 10000"/>
                    <a:gd name="connsiteX155" fmla="*/ 8111 w 10000"/>
                    <a:gd name="connsiteY155" fmla="*/ 8660 h 10000"/>
                    <a:gd name="connsiteX156" fmla="*/ 7944 w 10000"/>
                    <a:gd name="connsiteY156" fmla="*/ 8616 h 10000"/>
                    <a:gd name="connsiteX157" fmla="*/ 7778 w 10000"/>
                    <a:gd name="connsiteY157" fmla="*/ 8586 h 10000"/>
                    <a:gd name="connsiteX158" fmla="*/ 7556 w 10000"/>
                    <a:gd name="connsiteY158" fmla="*/ 8571 h 10000"/>
                    <a:gd name="connsiteX159" fmla="*/ 7333 w 10000"/>
                    <a:gd name="connsiteY159" fmla="*/ 8557 h 10000"/>
                    <a:gd name="connsiteX160" fmla="*/ 7000 w 10000"/>
                    <a:gd name="connsiteY160" fmla="*/ 8542 h 10000"/>
                    <a:gd name="connsiteX161" fmla="*/ 7000 w 10000"/>
                    <a:gd name="connsiteY161" fmla="*/ 8542 h 10000"/>
                    <a:gd name="connsiteX162" fmla="*/ 6556 w 10000"/>
                    <a:gd name="connsiteY162" fmla="*/ 8557 h 10000"/>
                    <a:gd name="connsiteX163" fmla="*/ 6222 w 10000"/>
                    <a:gd name="connsiteY163" fmla="*/ 8557 h 10000"/>
                    <a:gd name="connsiteX164" fmla="*/ 6111 w 10000"/>
                    <a:gd name="connsiteY164" fmla="*/ 8542 h 10000"/>
                    <a:gd name="connsiteX165" fmla="*/ 6056 w 10000"/>
                    <a:gd name="connsiteY165" fmla="*/ 8527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262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03 h 10000"/>
                    <a:gd name="connsiteX170" fmla="*/ 5944 w 10000"/>
                    <a:gd name="connsiteY170" fmla="*/ 8130 h 10000"/>
                    <a:gd name="connsiteX171" fmla="*/ 5889 w 10000"/>
                    <a:gd name="connsiteY171" fmla="*/ 8115 h 10000"/>
                    <a:gd name="connsiteX172" fmla="*/ 5778 w 10000"/>
                    <a:gd name="connsiteY172" fmla="*/ 8100 h 10000"/>
                    <a:gd name="connsiteX173" fmla="*/ 5667 w 10000"/>
                    <a:gd name="connsiteY173" fmla="*/ 8100 h 10000"/>
                    <a:gd name="connsiteX174" fmla="*/ 5500 w 10000"/>
                    <a:gd name="connsiteY174" fmla="*/ 8115 h 10000"/>
                    <a:gd name="connsiteX175" fmla="*/ 5500 w 10000"/>
                    <a:gd name="connsiteY175" fmla="*/ 8115 h 10000"/>
                    <a:gd name="connsiteX176" fmla="*/ 4889 w 10000"/>
                    <a:gd name="connsiteY176" fmla="*/ 8218 h 10000"/>
                    <a:gd name="connsiteX177" fmla="*/ 4611 w 10000"/>
                    <a:gd name="connsiteY177" fmla="*/ 8247 h 10000"/>
                    <a:gd name="connsiteX178" fmla="*/ 4556 w 10000"/>
                    <a:gd name="connsiteY178" fmla="*/ 8262 h 10000"/>
                    <a:gd name="connsiteX179" fmla="*/ 4500 w 10000"/>
                    <a:gd name="connsiteY179" fmla="*/ 8247 h 10000"/>
                    <a:gd name="connsiteX180" fmla="*/ 4500 w 10000"/>
                    <a:gd name="connsiteY180" fmla="*/ 8247 h 10000"/>
                    <a:gd name="connsiteX181" fmla="*/ 4222 w 10000"/>
                    <a:gd name="connsiteY181" fmla="*/ 8100 h 10000"/>
                    <a:gd name="connsiteX182" fmla="*/ 4222 w 10000"/>
                    <a:gd name="connsiteY182" fmla="*/ 8100 h 10000"/>
                    <a:gd name="connsiteX183" fmla="*/ 4111 w 10000"/>
                    <a:gd name="connsiteY183" fmla="*/ 8027 h 10000"/>
                    <a:gd name="connsiteX184" fmla="*/ 4111 w 10000"/>
                    <a:gd name="connsiteY184" fmla="*/ 7982 h 10000"/>
                    <a:gd name="connsiteX185" fmla="*/ 4111 w 10000"/>
                    <a:gd name="connsiteY185" fmla="*/ 7938 h 10000"/>
                    <a:gd name="connsiteX186" fmla="*/ 4111 w 10000"/>
                    <a:gd name="connsiteY186" fmla="*/ 7938 h 10000"/>
                    <a:gd name="connsiteX187" fmla="*/ 4278 w 10000"/>
                    <a:gd name="connsiteY187" fmla="*/ 7894 h 10000"/>
                    <a:gd name="connsiteX188" fmla="*/ 4389 w 10000"/>
                    <a:gd name="connsiteY188" fmla="*/ 7879 h 10000"/>
                    <a:gd name="connsiteX189" fmla="*/ 4389 w 10000"/>
                    <a:gd name="connsiteY189" fmla="*/ 7879 h 10000"/>
                    <a:gd name="connsiteX190" fmla="*/ 4000 w 10000"/>
                    <a:gd name="connsiteY190" fmla="*/ 7879 h 10000"/>
                    <a:gd name="connsiteX191" fmla="*/ 3722 w 10000"/>
                    <a:gd name="connsiteY191" fmla="*/ 7894 h 10000"/>
                    <a:gd name="connsiteX192" fmla="*/ 3611 w 10000"/>
                    <a:gd name="connsiteY192" fmla="*/ 7909 h 10000"/>
                    <a:gd name="connsiteX193" fmla="*/ 3556 w 10000"/>
                    <a:gd name="connsiteY193" fmla="*/ 7923 h 10000"/>
                    <a:gd name="connsiteX194" fmla="*/ 3556 w 10000"/>
                    <a:gd name="connsiteY194" fmla="*/ 7923 h 10000"/>
                    <a:gd name="connsiteX195" fmla="*/ 3444 w 10000"/>
                    <a:gd name="connsiteY195" fmla="*/ 7982 h 10000"/>
                    <a:gd name="connsiteX196" fmla="*/ 3278 w 10000"/>
                    <a:gd name="connsiteY196" fmla="*/ 8071 h 10000"/>
                    <a:gd name="connsiteX197" fmla="*/ 3000 w 10000"/>
                    <a:gd name="connsiteY197" fmla="*/ 8174 h 10000"/>
                    <a:gd name="connsiteX198" fmla="*/ 2667 w 10000"/>
                    <a:gd name="connsiteY198" fmla="*/ 8247 h 10000"/>
                    <a:gd name="connsiteX199" fmla="*/ 2667 w 10000"/>
                    <a:gd name="connsiteY199" fmla="*/ 8247 h 10000"/>
                    <a:gd name="connsiteX200" fmla="*/ 2333 w 10000"/>
                    <a:gd name="connsiteY200" fmla="*/ 8306 h 10000"/>
                    <a:gd name="connsiteX201" fmla="*/ 1833 w 10000"/>
                    <a:gd name="connsiteY201" fmla="*/ 8365 h 10000"/>
                    <a:gd name="connsiteX202" fmla="*/ 1389 w 10000"/>
                    <a:gd name="connsiteY202" fmla="*/ 8395 h 10000"/>
                    <a:gd name="connsiteX203" fmla="*/ 889 w 10000"/>
                    <a:gd name="connsiteY203" fmla="*/ 8409 h 10000"/>
                    <a:gd name="connsiteX204" fmla="*/ 889 w 10000"/>
                    <a:gd name="connsiteY204" fmla="*/ 8409 h 10000"/>
                    <a:gd name="connsiteX205" fmla="*/ 500 w 10000"/>
                    <a:gd name="connsiteY205" fmla="*/ 8424 h 10000"/>
                    <a:gd name="connsiteX206" fmla="*/ 222 w 10000"/>
                    <a:gd name="connsiteY206" fmla="*/ 8439 h 10000"/>
                    <a:gd name="connsiteX207" fmla="*/ 0 w 10000"/>
                    <a:gd name="connsiteY207" fmla="*/ 8454 h 10000"/>
                    <a:gd name="connsiteX208" fmla="*/ 0 w 10000"/>
                    <a:gd name="connsiteY208" fmla="*/ 8454 h 10000"/>
                    <a:gd name="connsiteX209" fmla="*/ 278 w 10000"/>
                    <a:gd name="connsiteY209" fmla="*/ 8689 h 10000"/>
                    <a:gd name="connsiteX210" fmla="*/ 500 w 10000"/>
                    <a:gd name="connsiteY210" fmla="*/ 8866 h 10000"/>
                    <a:gd name="connsiteX211" fmla="*/ 722 w 10000"/>
                    <a:gd name="connsiteY211" fmla="*/ 9013 h 10000"/>
                    <a:gd name="connsiteX212" fmla="*/ 722 w 10000"/>
                    <a:gd name="connsiteY212" fmla="*/ 9013 h 10000"/>
                    <a:gd name="connsiteX213" fmla="*/ 889 w 10000"/>
                    <a:gd name="connsiteY213" fmla="*/ 9102 h 10000"/>
                    <a:gd name="connsiteX214" fmla="*/ 944 w 10000"/>
                    <a:gd name="connsiteY214" fmla="*/ 9175 h 10000"/>
                    <a:gd name="connsiteX215" fmla="*/ 1111 w 10000"/>
                    <a:gd name="connsiteY215" fmla="*/ 9249 h 10000"/>
                    <a:gd name="connsiteX216" fmla="*/ 1333 w 10000"/>
                    <a:gd name="connsiteY216" fmla="*/ 9367 h 10000"/>
                    <a:gd name="connsiteX217" fmla="*/ 1333 w 10000"/>
                    <a:gd name="connsiteY217" fmla="*/ 9367 h 10000"/>
                    <a:gd name="connsiteX218" fmla="*/ 1444 w 10000"/>
                    <a:gd name="connsiteY218" fmla="*/ 9426 h 10000"/>
                    <a:gd name="connsiteX219" fmla="*/ 1500 w 10000"/>
                    <a:gd name="connsiteY219" fmla="*/ 9470 h 10000"/>
                    <a:gd name="connsiteX220" fmla="*/ 1500 w 10000"/>
                    <a:gd name="connsiteY220" fmla="*/ 9514 h 10000"/>
                    <a:gd name="connsiteX221" fmla="*/ 1556 w 10000"/>
                    <a:gd name="connsiteY221" fmla="*/ 9529 h 10000"/>
                    <a:gd name="connsiteX222" fmla="*/ 1722 w 10000"/>
                    <a:gd name="connsiteY222" fmla="*/ 9543 h 10000"/>
                    <a:gd name="connsiteX223" fmla="*/ 1944 w 10000"/>
                    <a:gd name="connsiteY223" fmla="*/ 9558 h 10000"/>
                    <a:gd name="connsiteX224" fmla="*/ 2944 w 10000"/>
                    <a:gd name="connsiteY224" fmla="*/ 9573 h 10000"/>
                    <a:gd name="connsiteX225" fmla="*/ 2944 w 10000"/>
                    <a:gd name="connsiteY225" fmla="*/ 9573 h 10000"/>
                    <a:gd name="connsiteX226" fmla="*/ 4167 w 10000"/>
                    <a:gd name="connsiteY226" fmla="*/ 9602 h 10000"/>
                    <a:gd name="connsiteX227" fmla="*/ 4889 w 10000"/>
                    <a:gd name="connsiteY227" fmla="*/ 9647 h 10000"/>
                    <a:gd name="connsiteX228" fmla="*/ 5278 w 10000"/>
                    <a:gd name="connsiteY228" fmla="*/ 9691 h 10000"/>
                    <a:gd name="connsiteX229" fmla="*/ 5444 w 10000"/>
                    <a:gd name="connsiteY229" fmla="*/ 9705 h 10000"/>
                    <a:gd name="connsiteX230" fmla="*/ 5444 w 10000"/>
                    <a:gd name="connsiteY230" fmla="*/ 9705 h 10000"/>
                    <a:gd name="connsiteX231" fmla="*/ 5722 w 10000"/>
                    <a:gd name="connsiteY231" fmla="*/ 9735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50 h 10000"/>
                    <a:gd name="connsiteX234" fmla="*/ 5833 w 10000"/>
                    <a:gd name="connsiteY234" fmla="*/ 9735 h 10000"/>
                    <a:gd name="connsiteX235" fmla="*/ 5889 w 10000"/>
                    <a:gd name="connsiteY235" fmla="*/ 9720 h 10000"/>
                    <a:gd name="connsiteX236" fmla="*/ 6000 w 10000"/>
                    <a:gd name="connsiteY236" fmla="*/ 9705 h 10000"/>
                    <a:gd name="connsiteX237" fmla="*/ 6167 w 10000"/>
                    <a:gd name="connsiteY237" fmla="*/ 9691 h 10000"/>
                    <a:gd name="connsiteX238" fmla="*/ 6444 w 10000"/>
                    <a:gd name="connsiteY238" fmla="*/ 9691 h 10000"/>
                    <a:gd name="connsiteX239" fmla="*/ 6833 w 10000"/>
                    <a:gd name="connsiteY239" fmla="*/ 9705 h 10000"/>
                    <a:gd name="connsiteX240" fmla="*/ 7278 w 10000"/>
                    <a:gd name="connsiteY240" fmla="*/ 9750 h 10000"/>
                    <a:gd name="connsiteX241" fmla="*/ 7278 w 10000"/>
                    <a:gd name="connsiteY241" fmla="*/ 9750 h 10000"/>
                    <a:gd name="connsiteX242" fmla="*/ 8722 w 10000"/>
                    <a:gd name="connsiteY242" fmla="*/ 9882 h 10000"/>
                    <a:gd name="connsiteX243" fmla="*/ 10000 w 10000"/>
                    <a:gd name="connsiteY24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778 w 10000"/>
                    <a:gd name="connsiteY71" fmla="*/ 5479 h 10000"/>
                    <a:gd name="connsiteX72" fmla="*/ 6556 w 10000"/>
                    <a:gd name="connsiteY72" fmla="*/ 5302 h 10000"/>
                    <a:gd name="connsiteX73" fmla="*/ 6556 w 10000"/>
                    <a:gd name="connsiteY73" fmla="*/ 5302 h 10000"/>
                    <a:gd name="connsiteX74" fmla="*/ 6556 w 10000"/>
                    <a:gd name="connsiteY74" fmla="*/ 5287 h 10000"/>
                    <a:gd name="connsiteX75" fmla="*/ 6556 w 10000"/>
                    <a:gd name="connsiteY75" fmla="*/ 5199 h 10000"/>
                    <a:gd name="connsiteX76" fmla="*/ 6556 w 10000"/>
                    <a:gd name="connsiteY76" fmla="*/ 5199 h 10000"/>
                    <a:gd name="connsiteX77" fmla="*/ 6389 w 10000"/>
                    <a:gd name="connsiteY77" fmla="*/ 5096 h 10000"/>
                    <a:gd name="connsiteX78" fmla="*/ 6056 w 10000"/>
                    <a:gd name="connsiteY78" fmla="*/ 4934 h 10000"/>
                    <a:gd name="connsiteX79" fmla="*/ 5333 w 10000"/>
                    <a:gd name="connsiteY79" fmla="*/ 4624 h 10000"/>
                    <a:gd name="connsiteX80" fmla="*/ 5333 w 10000"/>
                    <a:gd name="connsiteY80" fmla="*/ 4624 h 10000"/>
                    <a:gd name="connsiteX81" fmla="*/ 5167 w 10000"/>
                    <a:gd name="connsiteY81" fmla="*/ 4580 h 10000"/>
                    <a:gd name="connsiteX82" fmla="*/ 4889 w 10000"/>
                    <a:gd name="connsiteY82" fmla="*/ 4521 h 10000"/>
                    <a:gd name="connsiteX83" fmla="*/ 4056 w 10000"/>
                    <a:gd name="connsiteY83" fmla="*/ 4389 h 10000"/>
                    <a:gd name="connsiteX84" fmla="*/ 2889 w 10000"/>
                    <a:gd name="connsiteY84" fmla="*/ 4227 h 10000"/>
                    <a:gd name="connsiteX85" fmla="*/ 2889 w 10000"/>
                    <a:gd name="connsiteY85" fmla="*/ 4227 h 10000"/>
                    <a:gd name="connsiteX86" fmla="*/ 2389 w 10000"/>
                    <a:gd name="connsiteY86" fmla="*/ 4212 h 10000"/>
                    <a:gd name="connsiteX87" fmla="*/ 2000 w 10000"/>
                    <a:gd name="connsiteY87" fmla="*/ 4197 h 10000"/>
                    <a:gd name="connsiteX88" fmla="*/ 1889 w 10000"/>
                    <a:gd name="connsiteY88" fmla="*/ 4183 h 10000"/>
                    <a:gd name="connsiteX89" fmla="*/ 1778 w 10000"/>
                    <a:gd name="connsiteY89" fmla="*/ 4168 h 10000"/>
                    <a:gd name="connsiteX90" fmla="*/ 1778 w 10000"/>
                    <a:gd name="connsiteY90" fmla="*/ 4168 h 10000"/>
                    <a:gd name="connsiteX91" fmla="*/ 1667 w 10000"/>
                    <a:gd name="connsiteY91" fmla="*/ 4109 h 10000"/>
                    <a:gd name="connsiteX92" fmla="*/ 1500 w 10000"/>
                    <a:gd name="connsiteY92" fmla="*/ 4006 h 10000"/>
                    <a:gd name="connsiteX93" fmla="*/ 1444 w 10000"/>
                    <a:gd name="connsiteY93" fmla="*/ 3947 h 10000"/>
                    <a:gd name="connsiteX94" fmla="*/ 1444 w 10000"/>
                    <a:gd name="connsiteY94" fmla="*/ 3888 h 10000"/>
                    <a:gd name="connsiteX95" fmla="*/ 1444 w 10000"/>
                    <a:gd name="connsiteY95" fmla="*/ 3844 h 10000"/>
                    <a:gd name="connsiteX96" fmla="*/ 1556 w 10000"/>
                    <a:gd name="connsiteY96" fmla="*/ 3800 h 10000"/>
                    <a:gd name="connsiteX97" fmla="*/ 1556 w 10000"/>
                    <a:gd name="connsiteY97" fmla="*/ 3800 h 10000"/>
                    <a:gd name="connsiteX98" fmla="*/ 1833 w 10000"/>
                    <a:gd name="connsiteY98" fmla="*/ 3726 h 10000"/>
                    <a:gd name="connsiteX99" fmla="*/ 2111 w 10000"/>
                    <a:gd name="connsiteY99" fmla="*/ 3652 h 10000"/>
                    <a:gd name="connsiteX100" fmla="*/ 2278 w 10000"/>
                    <a:gd name="connsiteY100" fmla="*/ 3608 h 10000"/>
                    <a:gd name="connsiteX101" fmla="*/ 2389 w 10000"/>
                    <a:gd name="connsiteY101" fmla="*/ 3564 h 10000"/>
                    <a:gd name="connsiteX102" fmla="*/ 2389 w 10000"/>
                    <a:gd name="connsiteY102" fmla="*/ 3505 h 10000"/>
                    <a:gd name="connsiteX103" fmla="*/ 2389 w 10000"/>
                    <a:gd name="connsiteY103" fmla="*/ 3432 h 10000"/>
                    <a:gd name="connsiteX104" fmla="*/ 2389 w 10000"/>
                    <a:gd name="connsiteY104" fmla="*/ 3432 h 10000"/>
                    <a:gd name="connsiteX105" fmla="*/ 2167 w 10000"/>
                    <a:gd name="connsiteY105" fmla="*/ 3225 h 10000"/>
                    <a:gd name="connsiteX106" fmla="*/ 1889 w 10000"/>
                    <a:gd name="connsiteY106" fmla="*/ 2946 h 10000"/>
                    <a:gd name="connsiteX107" fmla="*/ 1667 w 10000"/>
                    <a:gd name="connsiteY107" fmla="*/ 2695 h 10000"/>
                    <a:gd name="connsiteX108" fmla="*/ 1611 w 10000"/>
                    <a:gd name="connsiteY108" fmla="*/ 2622 h 10000"/>
                    <a:gd name="connsiteX109" fmla="*/ 1611 w 10000"/>
                    <a:gd name="connsiteY109" fmla="*/ 2592 h 10000"/>
                    <a:gd name="connsiteX110" fmla="*/ 1667 w 10000"/>
                    <a:gd name="connsiteY110" fmla="*/ 2577 h 10000"/>
                    <a:gd name="connsiteX111" fmla="*/ 1667 w 10000"/>
                    <a:gd name="connsiteY111" fmla="*/ 2577 h 10000"/>
                    <a:gd name="connsiteX112" fmla="*/ 2000 w 10000"/>
                    <a:gd name="connsiteY112" fmla="*/ 2563 h 10000"/>
                    <a:gd name="connsiteX113" fmla="*/ 2222 w 10000"/>
                    <a:gd name="connsiteY113" fmla="*/ 2563 h 10000"/>
                    <a:gd name="connsiteX114" fmla="*/ 2389 w 10000"/>
                    <a:gd name="connsiteY114" fmla="*/ 2577 h 10000"/>
                    <a:gd name="connsiteX115" fmla="*/ 2389 w 10000"/>
                    <a:gd name="connsiteY115" fmla="*/ 2577 h 10000"/>
                    <a:gd name="connsiteX116" fmla="*/ 2444 w 10000"/>
                    <a:gd name="connsiteY116" fmla="*/ 2577 h 10000"/>
                    <a:gd name="connsiteX117" fmla="*/ 2500 w 10000"/>
                    <a:gd name="connsiteY117" fmla="*/ 2548 h 10000"/>
                    <a:gd name="connsiteX118" fmla="*/ 2778 w 10000"/>
                    <a:gd name="connsiteY118" fmla="*/ 2459 h 10000"/>
                    <a:gd name="connsiteX119" fmla="*/ 3500 w 10000"/>
                    <a:gd name="connsiteY119" fmla="*/ 2165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738 h 10000"/>
                    <a:gd name="connsiteX122" fmla="*/ 4444 w 10000"/>
                    <a:gd name="connsiteY122" fmla="*/ 1679 h 10000"/>
                    <a:gd name="connsiteX123" fmla="*/ 4444 w 10000"/>
                    <a:gd name="connsiteY123" fmla="*/ 1546 h 10000"/>
                    <a:gd name="connsiteX124" fmla="*/ 4500 w 10000"/>
                    <a:gd name="connsiteY124" fmla="*/ 1458 h 10000"/>
                    <a:gd name="connsiteX125" fmla="*/ 4611 w 10000"/>
                    <a:gd name="connsiteY125" fmla="*/ 1384 h 10000"/>
                    <a:gd name="connsiteX126" fmla="*/ 4778 w 10000"/>
                    <a:gd name="connsiteY126" fmla="*/ 1296 h 10000"/>
                    <a:gd name="connsiteX127" fmla="*/ 5000 w 10000"/>
                    <a:gd name="connsiteY127" fmla="*/ 1222 h 10000"/>
                    <a:gd name="connsiteX128" fmla="*/ 5000 w 10000"/>
                    <a:gd name="connsiteY128" fmla="*/ 1222 h 10000"/>
                    <a:gd name="connsiteX129" fmla="*/ 5556 w 10000"/>
                    <a:gd name="connsiteY129" fmla="*/ 1075 h 10000"/>
                    <a:gd name="connsiteX130" fmla="*/ 6111 w 10000"/>
                    <a:gd name="connsiteY130" fmla="*/ 884 h 10000"/>
                    <a:gd name="connsiteX131" fmla="*/ 6667 w 10000"/>
                    <a:gd name="connsiteY131" fmla="*/ 707 h 10000"/>
                    <a:gd name="connsiteX132" fmla="*/ 7056 w 10000"/>
                    <a:gd name="connsiteY132" fmla="*/ 545 h 10000"/>
                    <a:gd name="connsiteX133" fmla="*/ 7056 w 10000"/>
                    <a:gd name="connsiteY133" fmla="*/ 545 h 10000"/>
                    <a:gd name="connsiteX134" fmla="*/ 7333 w 10000"/>
                    <a:gd name="connsiteY134" fmla="*/ 398 h 10000"/>
                    <a:gd name="connsiteX135" fmla="*/ 7667 w 10000"/>
                    <a:gd name="connsiteY135" fmla="*/ 221 h 10000"/>
                    <a:gd name="connsiteX136" fmla="*/ 8000 w 10000"/>
                    <a:gd name="connsiteY136" fmla="*/ 88 h 10000"/>
                    <a:gd name="connsiteX137" fmla="*/ 8167 w 10000"/>
                    <a:gd name="connsiteY137" fmla="*/ 29 h 10000"/>
                    <a:gd name="connsiteX138" fmla="*/ 8333 w 10000"/>
                    <a:gd name="connsiteY138" fmla="*/ 15 h 10000"/>
                    <a:gd name="connsiteX139" fmla="*/ 8333 w 10000"/>
                    <a:gd name="connsiteY139" fmla="*/ 15 h 10000"/>
                    <a:gd name="connsiteX140" fmla="*/ 8667 w 10000"/>
                    <a:gd name="connsiteY140" fmla="*/ 0 h 10000"/>
                    <a:gd name="connsiteX141" fmla="*/ 10000 w 10000"/>
                    <a:gd name="connsiteY141" fmla="*/ 9013 h 10000"/>
                    <a:gd name="connsiteX142" fmla="*/ 10000 w 10000"/>
                    <a:gd name="connsiteY142" fmla="*/ 9013 h 10000"/>
                    <a:gd name="connsiteX143" fmla="*/ 9722 w 10000"/>
                    <a:gd name="connsiteY143" fmla="*/ 8999 h 10000"/>
                    <a:gd name="connsiteX144" fmla="*/ 9389 w 10000"/>
                    <a:gd name="connsiteY144" fmla="*/ 9013 h 10000"/>
                    <a:gd name="connsiteX145" fmla="*/ 9389 w 10000"/>
                    <a:gd name="connsiteY145" fmla="*/ 9013 h 10000"/>
                    <a:gd name="connsiteX146" fmla="*/ 9278 w 10000"/>
                    <a:gd name="connsiteY146" fmla="*/ 9028 h 10000"/>
                    <a:gd name="connsiteX147" fmla="*/ 9056 w 10000"/>
                    <a:gd name="connsiteY147" fmla="*/ 9013 h 10000"/>
                    <a:gd name="connsiteX148" fmla="*/ 8889 w 10000"/>
                    <a:gd name="connsiteY148" fmla="*/ 8999 h 10000"/>
                    <a:gd name="connsiteX149" fmla="*/ 8722 w 10000"/>
                    <a:gd name="connsiteY149" fmla="*/ 8969 h 10000"/>
                    <a:gd name="connsiteX150" fmla="*/ 8611 w 10000"/>
                    <a:gd name="connsiteY150" fmla="*/ 8925 h 10000"/>
                    <a:gd name="connsiteX151" fmla="*/ 8444 w 10000"/>
                    <a:gd name="connsiteY151" fmla="*/ 8851 h 10000"/>
                    <a:gd name="connsiteX152" fmla="*/ 8444 w 10000"/>
                    <a:gd name="connsiteY152" fmla="*/ 8851 h 10000"/>
                    <a:gd name="connsiteX153" fmla="*/ 8222 w 10000"/>
                    <a:gd name="connsiteY153" fmla="*/ 8719 h 10000"/>
                    <a:gd name="connsiteX154" fmla="*/ 8111 w 10000"/>
                    <a:gd name="connsiteY154" fmla="*/ 8660 h 10000"/>
                    <a:gd name="connsiteX155" fmla="*/ 7944 w 10000"/>
                    <a:gd name="connsiteY155" fmla="*/ 8616 h 10000"/>
                    <a:gd name="connsiteX156" fmla="*/ 7778 w 10000"/>
                    <a:gd name="connsiteY156" fmla="*/ 8586 h 10000"/>
                    <a:gd name="connsiteX157" fmla="*/ 7556 w 10000"/>
                    <a:gd name="connsiteY157" fmla="*/ 8571 h 10000"/>
                    <a:gd name="connsiteX158" fmla="*/ 7333 w 10000"/>
                    <a:gd name="connsiteY158" fmla="*/ 8557 h 10000"/>
                    <a:gd name="connsiteX159" fmla="*/ 7000 w 10000"/>
                    <a:gd name="connsiteY159" fmla="*/ 8542 h 10000"/>
                    <a:gd name="connsiteX160" fmla="*/ 7000 w 10000"/>
                    <a:gd name="connsiteY160" fmla="*/ 8542 h 10000"/>
                    <a:gd name="connsiteX161" fmla="*/ 6556 w 10000"/>
                    <a:gd name="connsiteY161" fmla="*/ 8557 h 10000"/>
                    <a:gd name="connsiteX162" fmla="*/ 6222 w 10000"/>
                    <a:gd name="connsiteY162" fmla="*/ 8557 h 10000"/>
                    <a:gd name="connsiteX163" fmla="*/ 6111 w 10000"/>
                    <a:gd name="connsiteY163" fmla="*/ 8542 h 10000"/>
                    <a:gd name="connsiteX164" fmla="*/ 6056 w 10000"/>
                    <a:gd name="connsiteY164" fmla="*/ 8527 h 10000"/>
                    <a:gd name="connsiteX165" fmla="*/ 6056 w 10000"/>
                    <a:gd name="connsiteY165" fmla="*/ 8527 h 10000"/>
                    <a:gd name="connsiteX166" fmla="*/ 6056 w 10000"/>
                    <a:gd name="connsiteY166" fmla="*/ 8262 h 10000"/>
                    <a:gd name="connsiteX167" fmla="*/ 6056 w 10000"/>
                    <a:gd name="connsiteY167" fmla="*/ 8262 h 10000"/>
                    <a:gd name="connsiteX168" fmla="*/ 6056 w 10000"/>
                    <a:gd name="connsiteY168" fmla="*/ 8203 h 10000"/>
                    <a:gd name="connsiteX169" fmla="*/ 5944 w 10000"/>
                    <a:gd name="connsiteY169" fmla="*/ 8130 h 10000"/>
                    <a:gd name="connsiteX170" fmla="*/ 5889 w 10000"/>
                    <a:gd name="connsiteY170" fmla="*/ 8115 h 10000"/>
                    <a:gd name="connsiteX171" fmla="*/ 5778 w 10000"/>
                    <a:gd name="connsiteY171" fmla="*/ 8100 h 10000"/>
                    <a:gd name="connsiteX172" fmla="*/ 5667 w 10000"/>
                    <a:gd name="connsiteY172" fmla="*/ 8100 h 10000"/>
                    <a:gd name="connsiteX173" fmla="*/ 5500 w 10000"/>
                    <a:gd name="connsiteY173" fmla="*/ 8115 h 10000"/>
                    <a:gd name="connsiteX174" fmla="*/ 5500 w 10000"/>
                    <a:gd name="connsiteY174" fmla="*/ 8115 h 10000"/>
                    <a:gd name="connsiteX175" fmla="*/ 4889 w 10000"/>
                    <a:gd name="connsiteY175" fmla="*/ 8218 h 10000"/>
                    <a:gd name="connsiteX176" fmla="*/ 4611 w 10000"/>
                    <a:gd name="connsiteY176" fmla="*/ 8247 h 10000"/>
                    <a:gd name="connsiteX177" fmla="*/ 4556 w 10000"/>
                    <a:gd name="connsiteY177" fmla="*/ 8262 h 10000"/>
                    <a:gd name="connsiteX178" fmla="*/ 4500 w 10000"/>
                    <a:gd name="connsiteY178" fmla="*/ 8247 h 10000"/>
                    <a:gd name="connsiteX179" fmla="*/ 4500 w 10000"/>
                    <a:gd name="connsiteY179" fmla="*/ 8247 h 10000"/>
                    <a:gd name="connsiteX180" fmla="*/ 4222 w 10000"/>
                    <a:gd name="connsiteY180" fmla="*/ 8100 h 10000"/>
                    <a:gd name="connsiteX181" fmla="*/ 4222 w 10000"/>
                    <a:gd name="connsiteY181" fmla="*/ 8100 h 10000"/>
                    <a:gd name="connsiteX182" fmla="*/ 4111 w 10000"/>
                    <a:gd name="connsiteY182" fmla="*/ 8027 h 10000"/>
                    <a:gd name="connsiteX183" fmla="*/ 4111 w 10000"/>
                    <a:gd name="connsiteY183" fmla="*/ 7982 h 10000"/>
                    <a:gd name="connsiteX184" fmla="*/ 4111 w 10000"/>
                    <a:gd name="connsiteY184" fmla="*/ 7938 h 10000"/>
                    <a:gd name="connsiteX185" fmla="*/ 4111 w 10000"/>
                    <a:gd name="connsiteY185" fmla="*/ 7938 h 10000"/>
                    <a:gd name="connsiteX186" fmla="*/ 4278 w 10000"/>
                    <a:gd name="connsiteY186" fmla="*/ 7894 h 10000"/>
                    <a:gd name="connsiteX187" fmla="*/ 4389 w 10000"/>
                    <a:gd name="connsiteY187" fmla="*/ 7879 h 10000"/>
                    <a:gd name="connsiteX188" fmla="*/ 4389 w 10000"/>
                    <a:gd name="connsiteY188" fmla="*/ 7879 h 10000"/>
                    <a:gd name="connsiteX189" fmla="*/ 4000 w 10000"/>
                    <a:gd name="connsiteY189" fmla="*/ 7879 h 10000"/>
                    <a:gd name="connsiteX190" fmla="*/ 3722 w 10000"/>
                    <a:gd name="connsiteY190" fmla="*/ 7894 h 10000"/>
                    <a:gd name="connsiteX191" fmla="*/ 3611 w 10000"/>
                    <a:gd name="connsiteY191" fmla="*/ 7909 h 10000"/>
                    <a:gd name="connsiteX192" fmla="*/ 3556 w 10000"/>
                    <a:gd name="connsiteY192" fmla="*/ 7923 h 10000"/>
                    <a:gd name="connsiteX193" fmla="*/ 3556 w 10000"/>
                    <a:gd name="connsiteY193" fmla="*/ 7923 h 10000"/>
                    <a:gd name="connsiteX194" fmla="*/ 3444 w 10000"/>
                    <a:gd name="connsiteY194" fmla="*/ 7982 h 10000"/>
                    <a:gd name="connsiteX195" fmla="*/ 3278 w 10000"/>
                    <a:gd name="connsiteY195" fmla="*/ 8071 h 10000"/>
                    <a:gd name="connsiteX196" fmla="*/ 3000 w 10000"/>
                    <a:gd name="connsiteY196" fmla="*/ 8174 h 10000"/>
                    <a:gd name="connsiteX197" fmla="*/ 2667 w 10000"/>
                    <a:gd name="connsiteY197" fmla="*/ 8247 h 10000"/>
                    <a:gd name="connsiteX198" fmla="*/ 2667 w 10000"/>
                    <a:gd name="connsiteY198" fmla="*/ 8247 h 10000"/>
                    <a:gd name="connsiteX199" fmla="*/ 2333 w 10000"/>
                    <a:gd name="connsiteY199" fmla="*/ 8306 h 10000"/>
                    <a:gd name="connsiteX200" fmla="*/ 1833 w 10000"/>
                    <a:gd name="connsiteY200" fmla="*/ 8365 h 10000"/>
                    <a:gd name="connsiteX201" fmla="*/ 1389 w 10000"/>
                    <a:gd name="connsiteY201" fmla="*/ 8395 h 10000"/>
                    <a:gd name="connsiteX202" fmla="*/ 889 w 10000"/>
                    <a:gd name="connsiteY202" fmla="*/ 8409 h 10000"/>
                    <a:gd name="connsiteX203" fmla="*/ 889 w 10000"/>
                    <a:gd name="connsiteY203" fmla="*/ 8409 h 10000"/>
                    <a:gd name="connsiteX204" fmla="*/ 500 w 10000"/>
                    <a:gd name="connsiteY204" fmla="*/ 8424 h 10000"/>
                    <a:gd name="connsiteX205" fmla="*/ 222 w 10000"/>
                    <a:gd name="connsiteY205" fmla="*/ 8439 h 10000"/>
                    <a:gd name="connsiteX206" fmla="*/ 0 w 10000"/>
                    <a:gd name="connsiteY206" fmla="*/ 8454 h 10000"/>
                    <a:gd name="connsiteX207" fmla="*/ 0 w 10000"/>
                    <a:gd name="connsiteY207" fmla="*/ 8454 h 10000"/>
                    <a:gd name="connsiteX208" fmla="*/ 278 w 10000"/>
                    <a:gd name="connsiteY208" fmla="*/ 8689 h 10000"/>
                    <a:gd name="connsiteX209" fmla="*/ 500 w 10000"/>
                    <a:gd name="connsiteY209" fmla="*/ 8866 h 10000"/>
                    <a:gd name="connsiteX210" fmla="*/ 722 w 10000"/>
                    <a:gd name="connsiteY210" fmla="*/ 9013 h 10000"/>
                    <a:gd name="connsiteX211" fmla="*/ 722 w 10000"/>
                    <a:gd name="connsiteY211" fmla="*/ 9013 h 10000"/>
                    <a:gd name="connsiteX212" fmla="*/ 889 w 10000"/>
                    <a:gd name="connsiteY212" fmla="*/ 9102 h 10000"/>
                    <a:gd name="connsiteX213" fmla="*/ 944 w 10000"/>
                    <a:gd name="connsiteY213" fmla="*/ 9175 h 10000"/>
                    <a:gd name="connsiteX214" fmla="*/ 1111 w 10000"/>
                    <a:gd name="connsiteY214" fmla="*/ 9249 h 10000"/>
                    <a:gd name="connsiteX215" fmla="*/ 1333 w 10000"/>
                    <a:gd name="connsiteY215" fmla="*/ 9367 h 10000"/>
                    <a:gd name="connsiteX216" fmla="*/ 1333 w 10000"/>
                    <a:gd name="connsiteY216" fmla="*/ 9367 h 10000"/>
                    <a:gd name="connsiteX217" fmla="*/ 1444 w 10000"/>
                    <a:gd name="connsiteY217" fmla="*/ 9426 h 10000"/>
                    <a:gd name="connsiteX218" fmla="*/ 1500 w 10000"/>
                    <a:gd name="connsiteY218" fmla="*/ 9470 h 10000"/>
                    <a:gd name="connsiteX219" fmla="*/ 1500 w 10000"/>
                    <a:gd name="connsiteY219" fmla="*/ 9514 h 10000"/>
                    <a:gd name="connsiteX220" fmla="*/ 1556 w 10000"/>
                    <a:gd name="connsiteY220" fmla="*/ 9529 h 10000"/>
                    <a:gd name="connsiteX221" fmla="*/ 1722 w 10000"/>
                    <a:gd name="connsiteY221" fmla="*/ 9543 h 10000"/>
                    <a:gd name="connsiteX222" fmla="*/ 1944 w 10000"/>
                    <a:gd name="connsiteY222" fmla="*/ 9558 h 10000"/>
                    <a:gd name="connsiteX223" fmla="*/ 2944 w 10000"/>
                    <a:gd name="connsiteY223" fmla="*/ 9573 h 10000"/>
                    <a:gd name="connsiteX224" fmla="*/ 2944 w 10000"/>
                    <a:gd name="connsiteY224" fmla="*/ 9573 h 10000"/>
                    <a:gd name="connsiteX225" fmla="*/ 4167 w 10000"/>
                    <a:gd name="connsiteY225" fmla="*/ 9602 h 10000"/>
                    <a:gd name="connsiteX226" fmla="*/ 4889 w 10000"/>
                    <a:gd name="connsiteY226" fmla="*/ 9647 h 10000"/>
                    <a:gd name="connsiteX227" fmla="*/ 5278 w 10000"/>
                    <a:gd name="connsiteY227" fmla="*/ 9691 h 10000"/>
                    <a:gd name="connsiteX228" fmla="*/ 5444 w 10000"/>
                    <a:gd name="connsiteY228" fmla="*/ 9705 h 10000"/>
                    <a:gd name="connsiteX229" fmla="*/ 5444 w 10000"/>
                    <a:gd name="connsiteY229" fmla="*/ 9705 h 10000"/>
                    <a:gd name="connsiteX230" fmla="*/ 5722 w 10000"/>
                    <a:gd name="connsiteY230" fmla="*/ 9735 h 10000"/>
                    <a:gd name="connsiteX231" fmla="*/ 5833 w 10000"/>
                    <a:gd name="connsiteY231" fmla="*/ 9750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35 h 10000"/>
                    <a:gd name="connsiteX234" fmla="*/ 5889 w 10000"/>
                    <a:gd name="connsiteY234" fmla="*/ 9720 h 10000"/>
                    <a:gd name="connsiteX235" fmla="*/ 6000 w 10000"/>
                    <a:gd name="connsiteY235" fmla="*/ 9705 h 10000"/>
                    <a:gd name="connsiteX236" fmla="*/ 6167 w 10000"/>
                    <a:gd name="connsiteY236" fmla="*/ 9691 h 10000"/>
                    <a:gd name="connsiteX237" fmla="*/ 6444 w 10000"/>
                    <a:gd name="connsiteY237" fmla="*/ 9691 h 10000"/>
                    <a:gd name="connsiteX238" fmla="*/ 6833 w 10000"/>
                    <a:gd name="connsiteY238" fmla="*/ 9705 h 10000"/>
                    <a:gd name="connsiteX239" fmla="*/ 7278 w 10000"/>
                    <a:gd name="connsiteY239" fmla="*/ 9750 h 10000"/>
                    <a:gd name="connsiteX240" fmla="*/ 7278 w 10000"/>
                    <a:gd name="connsiteY240" fmla="*/ 9750 h 10000"/>
                    <a:gd name="connsiteX241" fmla="*/ 8722 w 10000"/>
                    <a:gd name="connsiteY241" fmla="*/ 9882 h 10000"/>
                    <a:gd name="connsiteX242" fmla="*/ 10000 w 10000"/>
                    <a:gd name="connsiteY242" fmla="*/ 10000 h 10000"/>
                    <a:gd name="connsiteX0" fmla="*/ 10000 w 10000"/>
                    <a:gd name="connsiteY0" fmla="*/ 8984 h 9985"/>
                    <a:gd name="connsiteX1" fmla="*/ 10000 w 10000"/>
                    <a:gd name="connsiteY1" fmla="*/ 8984 h 9985"/>
                    <a:gd name="connsiteX2" fmla="*/ 9222 w 10000"/>
                    <a:gd name="connsiteY2" fmla="*/ 8998 h 9985"/>
                    <a:gd name="connsiteX3" fmla="*/ 8944 w 10000"/>
                    <a:gd name="connsiteY3" fmla="*/ 8998 h 9985"/>
                    <a:gd name="connsiteX4" fmla="*/ 8833 w 10000"/>
                    <a:gd name="connsiteY4" fmla="*/ 8984 h 9985"/>
                    <a:gd name="connsiteX5" fmla="*/ 8778 w 10000"/>
                    <a:gd name="connsiteY5" fmla="*/ 8969 h 9985"/>
                    <a:gd name="connsiteX6" fmla="*/ 8778 w 10000"/>
                    <a:gd name="connsiteY6" fmla="*/ 8969 h 9985"/>
                    <a:gd name="connsiteX7" fmla="*/ 8444 w 10000"/>
                    <a:gd name="connsiteY7" fmla="*/ 8792 h 9985"/>
                    <a:gd name="connsiteX8" fmla="*/ 8167 w 10000"/>
                    <a:gd name="connsiteY8" fmla="*/ 8630 h 9985"/>
                    <a:gd name="connsiteX9" fmla="*/ 8167 w 10000"/>
                    <a:gd name="connsiteY9" fmla="*/ 8630 h 9985"/>
                    <a:gd name="connsiteX10" fmla="*/ 8056 w 10000"/>
                    <a:gd name="connsiteY10" fmla="*/ 8601 h 9985"/>
                    <a:gd name="connsiteX11" fmla="*/ 7889 w 10000"/>
                    <a:gd name="connsiteY11" fmla="*/ 8571 h 9985"/>
                    <a:gd name="connsiteX12" fmla="*/ 7444 w 10000"/>
                    <a:gd name="connsiteY12" fmla="*/ 8556 h 9985"/>
                    <a:gd name="connsiteX13" fmla="*/ 6889 w 10000"/>
                    <a:gd name="connsiteY13" fmla="*/ 8542 h 9985"/>
                    <a:gd name="connsiteX14" fmla="*/ 6389 w 10000"/>
                    <a:gd name="connsiteY14" fmla="*/ 8542 h 9985"/>
                    <a:gd name="connsiteX15" fmla="*/ 6389 w 10000"/>
                    <a:gd name="connsiteY15" fmla="*/ 8542 h 9985"/>
                    <a:gd name="connsiteX16" fmla="*/ 6167 w 10000"/>
                    <a:gd name="connsiteY16" fmla="*/ 8527 h 9985"/>
                    <a:gd name="connsiteX17" fmla="*/ 6056 w 10000"/>
                    <a:gd name="connsiteY17" fmla="*/ 8498 h 9985"/>
                    <a:gd name="connsiteX18" fmla="*/ 6000 w 10000"/>
                    <a:gd name="connsiteY18" fmla="*/ 8468 h 9985"/>
                    <a:gd name="connsiteX19" fmla="*/ 6000 w 10000"/>
                    <a:gd name="connsiteY19" fmla="*/ 8409 h 9985"/>
                    <a:gd name="connsiteX20" fmla="*/ 6056 w 10000"/>
                    <a:gd name="connsiteY20" fmla="*/ 8291 h 9985"/>
                    <a:gd name="connsiteX21" fmla="*/ 6111 w 10000"/>
                    <a:gd name="connsiteY21" fmla="*/ 8232 h 9985"/>
                    <a:gd name="connsiteX22" fmla="*/ 6056 w 10000"/>
                    <a:gd name="connsiteY22" fmla="*/ 8159 h 9985"/>
                    <a:gd name="connsiteX23" fmla="*/ 6056 w 10000"/>
                    <a:gd name="connsiteY23" fmla="*/ 8159 h 9985"/>
                    <a:gd name="connsiteX24" fmla="*/ 6000 w 10000"/>
                    <a:gd name="connsiteY24" fmla="*/ 8115 h 9985"/>
                    <a:gd name="connsiteX25" fmla="*/ 5944 w 10000"/>
                    <a:gd name="connsiteY25" fmla="*/ 8085 h 9985"/>
                    <a:gd name="connsiteX26" fmla="*/ 5833 w 10000"/>
                    <a:gd name="connsiteY26" fmla="*/ 8085 h 9985"/>
                    <a:gd name="connsiteX27" fmla="*/ 5667 w 10000"/>
                    <a:gd name="connsiteY27" fmla="*/ 8100 h 9985"/>
                    <a:gd name="connsiteX28" fmla="*/ 5333 w 10000"/>
                    <a:gd name="connsiteY28" fmla="*/ 8144 h 9985"/>
                    <a:gd name="connsiteX29" fmla="*/ 4889 w 10000"/>
                    <a:gd name="connsiteY29" fmla="*/ 8218 h 9985"/>
                    <a:gd name="connsiteX30" fmla="*/ 4889 w 10000"/>
                    <a:gd name="connsiteY30" fmla="*/ 8218 h 9985"/>
                    <a:gd name="connsiteX31" fmla="*/ 4611 w 10000"/>
                    <a:gd name="connsiteY31" fmla="*/ 8232 h 9985"/>
                    <a:gd name="connsiteX32" fmla="*/ 4500 w 10000"/>
                    <a:gd name="connsiteY32" fmla="*/ 8232 h 9985"/>
                    <a:gd name="connsiteX33" fmla="*/ 4444 w 10000"/>
                    <a:gd name="connsiteY33" fmla="*/ 8218 h 9985"/>
                    <a:gd name="connsiteX34" fmla="*/ 4389 w 10000"/>
                    <a:gd name="connsiteY34" fmla="*/ 8159 h 9985"/>
                    <a:gd name="connsiteX35" fmla="*/ 4222 w 10000"/>
                    <a:gd name="connsiteY35" fmla="*/ 8085 h 9985"/>
                    <a:gd name="connsiteX36" fmla="*/ 4222 w 10000"/>
                    <a:gd name="connsiteY36" fmla="*/ 8085 h 9985"/>
                    <a:gd name="connsiteX37" fmla="*/ 4111 w 10000"/>
                    <a:gd name="connsiteY37" fmla="*/ 8041 h 9985"/>
                    <a:gd name="connsiteX38" fmla="*/ 4111 w 10000"/>
                    <a:gd name="connsiteY38" fmla="*/ 7997 h 9985"/>
                    <a:gd name="connsiteX39" fmla="*/ 4111 w 10000"/>
                    <a:gd name="connsiteY39" fmla="*/ 7967 h 9985"/>
                    <a:gd name="connsiteX40" fmla="*/ 4167 w 10000"/>
                    <a:gd name="connsiteY40" fmla="*/ 7938 h 9985"/>
                    <a:gd name="connsiteX41" fmla="*/ 4278 w 10000"/>
                    <a:gd name="connsiteY41" fmla="*/ 7879 h 9985"/>
                    <a:gd name="connsiteX42" fmla="*/ 4389 w 10000"/>
                    <a:gd name="connsiteY42" fmla="*/ 7864 h 9985"/>
                    <a:gd name="connsiteX43" fmla="*/ 4389 w 10000"/>
                    <a:gd name="connsiteY43" fmla="*/ 7864 h 9985"/>
                    <a:gd name="connsiteX44" fmla="*/ 4389 w 10000"/>
                    <a:gd name="connsiteY44" fmla="*/ 7850 h 9985"/>
                    <a:gd name="connsiteX45" fmla="*/ 4444 w 10000"/>
                    <a:gd name="connsiteY45" fmla="*/ 7835 h 9985"/>
                    <a:gd name="connsiteX46" fmla="*/ 4667 w 10000"/>
                    <a:gd name="connsiteY46" fmla="*/ 7820 h 9985"/>
                    <a:gd name="connsiteX47" fmla="*/ 5333 w 10000"/>
                    <a:gd name="connsiteY47" fmla="*/ 7791 h 9985"/>
                    <a:gd name="connsiteX48" fmla="*/ 6500 w 10000"/>
                    <a:gd name="connsiteY48" fmla="*/ 7746 h 9985"/>
                    <a:gd name="connsiteX49" fmla="*/ 6500 w 10000"/>
                    <a:gd name="connsiteY49" fmla="*/ 7746 h 9985"/>
                    <a:gd name="connsiteX50" fmla="*/ 7167 w 10000"/>
                    <a:gd name="connsiteY50" fmla="*/ 7702 h 9985"/>
                    <a:gd name="connsiteX51" fmla="*/ 8389 w 10000"/>
                    <a:gd name="connsiteY51" fmla="*/ 7614 h 9985"/>
                    <a:gd name="connsiteX52" fmla="*/ 8389 w 10000"/>
                    <a:gd name="connsiteY52" fmla="*/ 7614 h 9985"/>
                    <a:gd name="connsiteX53" fmla="*/ 8667 w 10000"/>
                    <a:gd name="connsiteY53" fmla="*/ 7584 h 9985"/>
                    <a:gd name="connsiteX54" fmla="*/ 8778 w 10000"/>
                    <a:gd name="connsiteY54" fmla="*/ 7540 h 9985"/>
                    <a:gd name="connsiteX55" fmla="*/ 8889 w 10000"/>
                    <a:gd name="connsiteY55" fmla="*/ 7511 h 9985"/>
                    <a:gd name="connsiteX56" fmla="*/ 8833 w 10000"/>
                    <a:gd name="connsiteY56" fmla="*/ 7481 h 9985"/>
                    <a:gd name="connsiteX57" fmla="*/ 8833 w 10000"/>
                    <a:gd name="connsiteY57" fmla="*/ 7452 h 9985"/>
                    <a:gd name="connsiteX58" fmla="*/ 8722 w 10000"/>
                    <a:gd name="connsiteY58" fmla="*/ 7422 h 9985"/>
                    <a:gd name="connsiteX59" fmla="*/ 8556 w 10000"/>
                    <a:gd name="connsiteY59" fmla="*/ 7378 h 9985"/>
                    <a:gd name="connsiteX60" fmla="*/ 8556 w 10000"/>
                    <a:gd name="connsiteY60" fmla="*/ 7378 h 9985"/>
                    <a:gd name="connsiteX61" fmla="*/ 6556 w 10000"/>
                    <a:gd name="connsiteY61" fmla="*/ 7113 h 9985"/>
                    <a:gd name="connsiteX62" fmla="*/ 6556 w 10000"/>
                    <a:gd name="connsiteY62" fmla="*/ 7113 h 9985"/>
                    <a:gd name="connsiteX63" fmla="*/ 6333 w 10000"/>
                    <a:gd name="connsiteY63" fmla="*/ 7069 h 9985"/>
                    <a:gd name="connsiteX64" fmla="*/ 6167 w 10000"/>
                    <a:gd name="connsiteY64" fmla="*/ 7025 h 9985"/>
                    <a:gd name="connsiteX65" fmla="*/ 6056 w 10000"/>
                    <a:gd name="connsiteY65" fmla="*/ 6981 h 9985"/>
                    <a:gd name="connsiteX66" fmla="*/ 6056 w 10000"/>
                    <a:gd name="connsiteY66" fmla="*/ 6981 h 9985"/>
                    <a:gd name="connsiteX67" fmla="*/ 8056 w 10000"/>
                    <a:gd name="connsiteY67" fmla="*/ 6966 h 9985"/>
                    <a:gd name="connsiteX68" fmla="*/ 10000 w 10000"/>
                    <a:gd name="connsiteY68" fmla="*/ 7113 h 9985"/>
                    <a:gd name="connsiteX69" fmla="*/ 10000 w 10000"/>
                    <a:gd name="connsiteY69" fmla="*/ 5773 h 9985"/>
                    <a:gd name="connsiteX70" fmla="*/ 10000 w 10000"/>
                    <a:gd name="connsiteY70" fmla="*/ 5773 h 9985"/>
                    <a:gd name="connsiteX71" fmla="*/ 7778 w 10000"/>
                    <a:gd name="connsiteY71" fmla="*/ 5464 h 9985"/>
                    <a:gd name="connsiteX72" fmla="*/ 6556 w 10000"/>
                    <a:gd name="connsiteY72" fmla="*/ 5287 h 9985"/>
                    <a:gd name="connsiteX73" fmla="*/ 6556 w 10000"/>
                    <a:gd name="connsiteY73" fmla="*/ 5287 h 9985"/>
                    <a:gd name="connsiteX74" fmla="*/ 6556 w 10000"/>
                    <a:gd name="connsiteY74" fmla="*/ 5272 h 9985"/>
                    <a:gd name="connsiteX75" fmla="*/ 6556 w 10000"/>
                    <a:gd name="connsiteY75" fmla="*/ 5184 h 9985"/>
                    <a:gd name="connsiteX76" fmla="*/ 6556 w 10000"/>
                    <a:gd name="connsiteY76" fmla="*/ 5184 h 9985"/>
                    <a:gd name="connsiteX77" fmla="*/ 6389 w 10000"/>
                    <a:gd name="connsiteY77" fmla="*/ 5081 h 9985"/>
                    <a:gd name="connsiteX78" fmla="*/ 6056 w 10000"/>
                    <a:gd name="connsiteY78" fmla="*/ 4919 h 9985"/>
                    <a:gd name="connsiteX79" fmla="*/ 5333 w 10000"/>
                    <a:gd name="connsiteY79" fmla="*/ 4609 h 9985"/>
                    <a:gd name="connsiteX80" fmla="*/ 5333 w 10000"/>
                    <a:gd name="connsiteY80" fmla="*/ 4609 h 9985"/>
                    <a:gd name="connsiteX81" fmla="*/ 5167 w 10000"/>
                    <a:gd name="connsiteY81" fmla="*/ 4565 h 9985"/>
                    <a:gd name="connsiteX82" fmla="*/ 4889 w 10000"/>
                    <a:gd name="connsiteY82" fmla="*/ 4506 h 9985"/>
                    <a:gd name="connsiteX83" fmla="*/ 4056 w 10000"/>
                    <a:gd name="connsiteY83" fmla="*/ 4374 h 9985"/>
                    <a:gd name="connsiteX84" fmla="*/ 2889 w 10000"/>
                    <a:gd name="connsiteY84" fmla="*/ 4212 h 9985"/>
                    <a:gd name="connsiteX85" fmla="*/ 2889 w 10000"/>
                    <a:gd name="connsiteY85" fmla="*/ 4212 h 9985"/>
                    <a:gd name="connsiteX86" fmla="*/ 2389 w 10000"/>
                    <a:gd name="connsiteY86" fmla="*/ 4197 h 9985"/>
                    <a:gd name="connsiteX87" fmla="*/ 2000 w 10000"/>
                    <a:gd name="connsiteY87" fmla="*/ 4182 h 9985"/>
                    <a:gd name="connsiteX88" fmla="*/ 1889 w 10000"/>
                    <a:gd name="connsiteY88" fmla="*/ 4168 h 9985"/>
                    <a:gd name="connsiteX89" fmla="*/ 1778 w 10000"/>
                    <a:gd name="connsiteY89" fmla="*/ 4153 h 9985"/>
                    <a:gd name="connsiteX90" fmla="*/ 1778 w 10000"/>
                    <a:gd name="connsiteY90" fmla="*/ 4153 h 9985"/>
                    <a:gd name="connsiteX91" fmla="*/ 1667 w 10000"/>
                    <a:gd name="connsiteY91" fmla="*/ 4094 h 9985"/>
                    <a:gd name="connsiteX92" fmla="*/ 1500 w 10000"/>
                    <a:gd name="connsiteY92" fmla="*/ 3991 h 9985"/>
                    <a:gd name="connsiteX93" fmla="*/ 1444 w 10000"/>
                    <a:gd name="connsiteY93" fmla="*/ 3932 h 9985"/>
                    <a:gd name="connsiteX94" fmla="*/ 1444 w 10000"/>
                    <a:gd name="connsiteY94" fmla="*/ 3873 h 9985"/>
                    <a:gd name="connsiteX95" fmla="*/ 1444 w 10000"/>
                    <a:gd name="connsiteY95" fmla="*/ 3829 h 9985"/>
                    <a:gd name="connsiteX96" fmla="*/ 1556 w 10000"/>
                    <a:gd name="connsiteY96" fmla="*/ 3785 h 9985"/>
                    <a:gd name="connsiteX97" fmla="*/ 1556 w 10000"/>
                    <a:gd name="connsiteY97" fmla="*/ 3785 h 9985"/>
                    <a:gd name="connsiteX98" fmla="*/ 1833 w 10000"/>
                    <a:gd name="connsiteY98" fmla="*/ 3711 h 9985"/>
                    <a:gd name="connsiteX99" fmla="*/ 2111 w 10000"/>
                    <a:gd name="connsiteY99" fmla="*/ 3637 h 9985"/>
                    <a:gd name="connsiteX100" fmla="*/ 2278 w 10000"/>
                    <a:gd name="connsiteY100" fmla="*/ 3593 h 9985"/>
                    <a:gd name="connsiteX101" fmla="*/ 2389 w 10000"/>
                    <a:gd name="connsiteY101" fmla="*/ 3549 h 9985"/>
                    <a:gd name="connsiteX102" fmla="*/ 2389 w 10000"/>
                    <a:gd name="connsiteY102" fmla="*/ 3490 h 9985"/>
                    <a:gd name="connsiteX103" fmla="*/ 2389 w 10000"/>
                    <a:gd name="connsiteY103" fmla="*/ 3417 h 9985"/>
                    <a:gd name="connsiteX104" fmla="*/ 2389 w 10000"/>
                    <a:gd name="connsiteY104" fmla="*/ 3417 h 9985"/>
                    <a:gd name="connsiteX105" fmla="*/ 2167 w 10000"/>
                    <a:gd name="connsiteY105" fmla="*/ 3210 h 9985"/>
                    <a:gd name="connsiteX106" fmla="*/ 1889 w 10000"/>
                    <a:gd name="connsiteY106" fmla="*/ 2931 h 9985"/>
                    <a:gd name="connsiteX107" fmla="*/ 1667 w 10000"/>
                    <a:gd name="connsiteY107" fmla="*/ 2680 h 9985"/>
                    <a:gd name="connsiteX108" fmla="*/ 1611 w 10000"/>
                    <a:gd name="connsiteY108" fmla="*/ 2607 h 9985"/>
                    <a:gd name="connsiteX109" fmla="*/ 1611 w 10000"/>
                    <a:gd name="connsiteY109" fmla="*/ 2577 h 9985"/>
                    <a:gd name="connsiteX110" fmla="*/ 1667 w 10000"/>
                    <a:gd name="connsiteY110" fmla="*/ 2562 h 9985"/>
                    <a:gd name="connsiteX111" fmla="*/ 1667 w 10000"/>
                    <a:gd name="connsiteY111" fmla="*/ 2562 h 9985"/>
                    <a:gd name="connsiteX112" fmla="*/ 2000 w 10000"/>
                    <a:gd name="connsiteY112" fmla="*/ 2548 h 9985"/>
                    <a:gd name="connsiteX113" fmla="*/ 2222 w 10000"/>
                    <a:gd name="connsiteY113" fmla="*/ 2548 h 9985"/>
                    <a:gd name="connsiteX114" fmla="*/ 2389 w 10000"/>
                    <a:gd name="connsiteY114" fmla="*/ 2562 h 9985"/>
                    <a:gd name="connsiteX115" fmla="*/ 2389 w 10000"/>
                    <a:gd name="connsiteY115" fmla="*/ 2562 h 9985"/>
                    <a:gd name="connsiteX116" fmla="*/ 2444 w 10000"/>
                    <a:gd name="connsiteY116" fmla="*/ 2562 h 9985"/>
                    <a:gd name="connsiteX117" fmla="*/ 2500 w 10000"/>
                    <a:gd name="connsiteY117" fmla="*/ 2533 h 9985"/>
                    <a:gd name="connsiteX118" fmla="*/ 2778 w 10000"/>
                    <a:gd name="connsiteY118" fmla="*/ 2444 h 9985"/>
                    <a:gd name="connsiteX119" fmla="*/ 3500 w 10000"/>
                    <a:gd name="connsiteY119" fmla="*/ 2150 h 9985"/>
                    <a:gd name="connsiteX120" fmla="*/ 4444 w 10000"/>
                    <a:gd name="connsiteY120" fmla="*/ 1723 h 9985"/>
                    <a:gd name="connsiteX121" fmla="*/ 4444 w 10000"/>
                    <a:gd name="connsiteY121" fmla="*/ 1723 h 9985"/>
                    <a:gd name="connsiteX122" fmla="*/ 4444 w 10000"/>
                    <a:gd name="connsiteY122" fmla="*/ 1664 h 9985"/>
                    <a:gd name="connsiteX123" fmla="*/ 4444 w 10000"/>
                    <a:gd name="connsiteY123" fmla="*/ 1531 h 9985"/>
                    <a:gd name="connsiteX124" fmla="*/ 4500 w 10000"/>
                    <a:gd name="connsiteY124" fmla="*/ 1443 h 9985"/>
                    <a:gd name="connsiteX125" fmla="*/ 4611 w 10000"/>
                    <a:gd name="connsiteY125" fmla="*/ 1369 h 9985"/>
                    <a:gd name="connsiteX126" fmla="*/ 4778 w 10000"/>
                    <a:gd name="connsiteY126" fmla="*/ 1281 h 9985"/>
                    <a:gd name="connsiteX127" fmla="*/ 5000 w 10000"/>
                    <a:gd name="connsiteY127" fmla="*/ 1207 h 9985"/>
                    <a:gd name="connsiteX128" fmla="*/ 5000 w 10000"/>
                    <a:gd name="connsiteY128" fmla="*/ 1207 h 9985"/>
                    <a:gd name="connsiteX129" fmla="*/ 5556 w 10000"/>
                    <a:gd name="connsiteY129" fmla="*/ 1060 h 9985"/>
                    <a:gd name="connsiteX130" fmla="*/ 6111 w 10000"/>
                    <a:gd name="connsiteY130" fmla="*/ 869 h 9985"/>
                    <a:gd name="connsiteX131" fmla="*/ 6667 w 10000"/>
                    <a:gd name="connsiteY131" fmla="*/ 692 h 9985"/>
                    <a:gd name="connsiteX132" fmla="*/ 7056 w 10000"/>
                    <a:gd name="connsiteY132" fmla="*/ 530 h 9985"/>
                    <a:gd name="connsiteX133" fmla="*/ 7056 w 10000"/>
                    <a:gd name="connsiteY133" fmla="*/ 530 h 9985"/>
                    <a:gd name="connsiteX134" fmla="*/ 7333 w 10000"/>
                    <a:gd name="connsiteY134" fmla="*/ 383 h 9985"/>
                    <a:gd name="connsiteX135" fmla="*/ 7667 w 10000"/>
                    <a:gd name="connsiteY135" fmla="*/ 206 h 9985"/>
                    <a:gd name="connsiteX136" fmla="*/ 8000 w 10000"/>
                    <a:gd name="connsiteY136" fmla="*/ 73 h 9985"/>
                    <a:gd name="connsiteX137" fmla="*/ 8167 w 10000"/>
                    <a:gd name="connsiteY137" fmla="*/ 14 h 9985"/>
                    <a:gd name="connsiteX138" fmla="*/ 8333 w 10000"/>
                    <a:gd name="connsiteY138" fmla="*/ 0 h 9985"/>
                    <a:gd name="connsiteX139" fmla="*/ 8333 w 10000"/>
                    <a:gd name="connsiteY139" fmla="*/ 0 h 9985"/>
                    <a:gd name="connsiteX140" fmla="*/ 10000 w 10000"/>
                    <a:gd name="connsiteY140" fmla="*/ 8998 h 9985"/>
                    <a:gd name="connsiteX141" fmla="*/ 10000 w 10000"/>
                    <a:gd name="connsiteY141" fmla="*/ 8998 h 9985"/>
                    <a:gd name="connsiteX142" fmla="*/ 9722 w 10000"/>
                    <a:gd name="connsiteY142" fmla="*/ 8984 h 9985"/>
                    <a:gd name="connsiteX143" fmla="*/ 9389 w 10000"/>
                    <a:gd name="connsiteY143" fmla="*/ 8998 h 9985"/>
                    <a:gd name="connsiteX144" fmla="*/ 9389 w 10000"/>
                    <a:gd name="connsiteY144" fmla="*/ 8998 h 9985"/>
                    <a:gd name="connsiteX145" fmla="*/ 9278 w 10000"/>
                    <a:gd name="connsiteY145" fmla="*/ 9013 h 9985"/>
                    <a:gd name="connsiteX146" fmla="*/ 9056 w 10000"/>
                    <a:gd name="connsiteY146" fmla="*/ 8998 h 9985"/>
                    <a:gd name="connsiteX147" fmla="*/ 8889 w 10000"/>
                    <a:gd name="connsiteY147" fmla="*/ 8984 h 9985"/>
                    <a:gd name="connsiteX148" fmla="*/ 8722 w 10000"/>
                    <a:gd name="connsiteY148" fmla="*/ 8954 h 9985"/>
                    <a:gd name="connsiteX149" fmla="*/ 8611 w 10000"/>
                    <a:gd name="connsiteY149" fmla="*/ 8910 h 9985"/>
                    <a:gd name="connsiteX150" fmla="*/ 8444 w 10000"/>
                    <a:gd name="connsiteY150" fmla="*/ 8836 h 9985"/>
                    <a:gd name="connsiteX151" fmla="*/ 8444 w 10000"/>
                    <a:gd name="connsiteY151" fmla="*/ 8836 h 9985"/>
                    <a:gd name="connsiteX152" fmla="*/ 8222 w 10000"/>
                    <a:gd name="connsiteY152" fmla="*/ 8704 h 9985"/>
                    <a:gd name="connsiteX153" fmla="*/ 8111 w 10000"/>
                    <a:gd name="connsiteY153" fmla="*/ 8645 h 9985"/>
                    <a:gd name="connsiteX154" fmla="*/ 7944 w 10000"/>
                    <a:gd name="connsiteY154" fmla="*/ 8601 h 9985"/>
                    <a:gd name="connsiteX155" fmla="*/ 7778 w 10000"/>
                    <a:gd name="connsiteY155" fmla="*/ 8571 h 9985"/>
                    <a:gd name="connsiteX156" fmla="*/ 7556 w 10000"/>
                    <a:gd name="connsiteY156" fmla="*/ 8556 h 9985"/>
                    <a:gd name="connsiteX157" fmla="*/ 7333 w 10000"/>
                    <a:gd name="connsiteY157" fmla="*/ 8542 h 9985"/>
                    <a:gd name="connsiteX158" fmla="*/ 7000 w 10000"/>
                    <a:gd name="connsiteY158" fmla="*/ 8527 h 9985"/>
                    <a:gd name="connsiteX159" fmla="*/ 7000 w 10000"/>
                    <a:gd name="connsiteY159" fmla="*/ 8527 h 9985"/>
                    <a:gd name="connsiteX160" fmla="*/ 6556 w 10000"/>
                    <a:gd name="connsiteY160" fmla="*/ 8542 h 9985"/>
                    <a:gd name="connsiteX161" fmla="*/ 6222 w 10000"/>
                    <a:gd name="connsiteY161" fmla="*/ 8542 h 9985"/>
                    <a:gd name="connsiteX162" fmla="*/ 6111 w 10000"/>
                    <a:gd name="connsiteY162" fmla="*/ 8527 h 9985"/>
                    <a:gd name="connsiteX163" fmla="*/ 6056 w 10000"/>
                    <a:gd name="connsiteY163" fmla="*/ 8512 h 9985"/>
                    <a:gd name="connsiteX164" fmla="*/ 6056 w 10000"/>
                    <a:gd name="connsiteY164" fmla="*/ 8512 h 9985"/>
                    <a:gd name="connsiteX165" fmla="*/ 6056 w 10000"/>
                    <a:gd name="connsiteY165" fmla="*/ 8247 h 9985"/>
                    <a:gd name="connsiteX166" fmla="*/ 6056 w 10000"/>
                    <a:gd name="connsiteY166" fmla="*/ 8247 h 9985"/>
                    <a:gd name="connsiteX167" fmla="*/ 6056 w 10000"/>
                    <a:gd name="connsiteY167" fmla="*/ 8188 h 9985"/>
                    <a:gd name="connsiteX168" fmla="*/ 5944 w 10000"/>
                    <a:gd name="connsiteY168" fmla="*/ 8115 h 9985"/>
                    <a:gd name="connsiteX169" fmla="*/ 5889 w 10000"/>
                    <a:gd name="connsiteY169" fmla="*/ 8100 h 9985"/>
                    <a:gd name="connsiteX170" fmla="*/ 5778 w 10000"/>
                    <a:gd name="connsiteY170" fmla="*/ 8085 h 9985"/>
                    <a:gd name="connsiteX171" fmla="*/ 5667 w 10000"/>
                    <a:gd name="connsiteY171" fmla="*/ 8085 h 9985"/>
                    <a:gd name="connsiteX172" fmla="*/ 5500 w 10000"/>
                    <a:gd name="connsiteY172" fmla="*/ 8100 h 9985"/>
                    <a:gd name="connsiteX173" fmla="*/ 5500 w 10000"/>
                    <a:gd name="connsiteY173" fmla="*/ 8100 h 9985"/>
                    <a:gd name="connsiteX174" fmla="*/ 4889 w 10000"/>
                    <a:gd name="connsiteY174" fmla="*/ 8203 h 9985"/>
                    <a:gd name="connsiteX175" fmla="*/ 4611 w 10000"/>
                    <a:gd name="connsiteY175" fmla="*/ 8232 h 9985"/>
                    <a:gd name="connsiteX176" fmla="*/ 4556 w 10000"/>
                    <a:gd name="connsiteY176" fmla="*/ 8247 h 9985"/>
                    <a:gd name="connsiteX177" fmla="*/ 4500 w 10000"/>
                    <a:gd name="connsiteY177" fmla="*/ 8232 h 9985"/>
                    <a:gd name="connsiteX178" fmla="*/ 4500 w 10000"/>
                    <a:gd name="connsiteY178" fmla="*/ 8232 h 9985"/>
                    <a:gd name="connsiteX179" fmla="*/ 4222 w 10000"/>
                    <a:gd name="connsiteY179" fmla="*/ 8085 h 9985"/>
                    <a:gd name="connsiteX180" fmla="*/ 4222 w 10000"/>
                    <a:gd name="connsiteY180" fmla="*/ 8085 h 9985"/>
                    <a:gd name="connsiteX181" fmla="*/ 4111 w 10000"/>
                    <a:gd name="connsiteY181" fmla="*/ 8012 h 9985"/>
                    <a:gd name="connsiteX182" fmla="*/ 4111 w 10000"/>
                    <a:gd name="connsiteY182" fmla="*/ 7967 h 9985"/>
                    <a:gd name="connsiteX183" fmla="*/ 4111 w 10000"/>
                    <a:gd name="connsiteY183" fmla="*/ 7923 h 9985"/>
                    <a:gd name="connsiteX184" fmla="*/ 4111 w 10000"/>
                    <a:gd name="connsiteY184" fmla="*/ 7923 h 9985"/>
                    <a:gd name="connsiteX185" fmla="*/ 4278 w 10000"/>
                    <a:gd name="connsiteY185" fmla="*/ 7879 h 9985"/>
                    <a:gd name="connsiteX186" fmla="*/ 4389 w 10000"/>
                    <a:gd name="connsiteY186" fmla="*/ 7864 h 9985"/>
                    <a:gd name="connsiteX187" fmla="*/ 4389 w 10000"/>
                    <a:gd name="connsiteY187" fmla="*/ 7864 h 9985"/>
                    <a:gd name="connsiteX188" fmla="*/ 4000 w 10000"/>
                    <a:gd name="connsiteY188" fmla="*/ 7864 h 9985"/>
                    <a:gd name="connsiteX189" fmla="*/ 3722 w 10000"/>
                    <a:gd name="connsiteY189" fmla="*/ 7879 h 9985"/>
                    <a:gd name="connsiteX190" fmla="*/ 3611 w 10000"/>
                    <a:gd name="connsiteY190" fmla="*/ 7894 h 9985"/>
                    <a:gd name="connsiteX191" fmla="*/ 3556 w 10000"/>
                    <a:gd name="connsiteY191" fmla="*/ 7908 h 9985"/>
                    <a:gd name="connsiteX192" fmla="*/ 3556 w 10000"/>
                    <a:gd name="connsiteY192" fmla="*/ 7908 h 9985"/>
                    <a:gd name="connsiteX193" fmla="*/ 3444 w 10000"/>
                    <a:gd name="connsiteY193" fmla="*/ 7967 h 9985"/>
                    <a:gd name="connsiteX194" fmla="*/ 3278 w 10000"/>
                    <a:gd name="connsiteY194" fmla="*/ 8056 h 9985"/>
                    <a:gd name="connsiteX195" fmla="*/ 3000 w 10000"/>
                    <a:gd name="connsiteY195" fmla="*/ 8159 h 9985"/>
                    <a:gd name="connsiteX196" fmla="*/ 2667 w 10000"/>
                    <a:gd name="connsiteY196" fmla="*/ 8232 h 9985"/>
                    <a:gd name="connsiteX197" fmla="*/ 2667 w 10000"/>
                    <a:gd name="connsiteY197" fmla="*/ 8232 h 9985"/>
                    <a:gd name="connsiteX198" fmla="*/ 2333 w 10000"/>
                    <a:gd name="connsiteY198" fmla="*/ 8291 h 9985"/>
                    <a:gd name="connsiteX199" fmla="*/ 1833 w 10000"/>
                    <a:gd name="connsiteY199" fmla="*/ 8350 h 9985"/>
                    <a:gd name="connsiteX200" fmla="*/ 1389 w 10000"/>
                    <a:gd name="connsiteY200" fmla="*/ 8380 h 9985"/>
                    <a:gd name="connsiteX201" fmla="*/ 889 w 10000"/>
                    <a:gd name="connsiteY201" fmla="*/ 8394 h 9985"/>
                    <a:gd name="connsiteX202" fmla="*/ 889 w 10000"/>
                    <a:gd name="connsiteY202" fmla="*/ 8394 h 9985"/>
                    <a:gd name="connsiteX203" fmla="*/ 500 w 10000"/>
                    <a:gd name="connsiteY203" fmla="*/ 8409 h 9985"/>
                    <a:gd name="connsiteX204" fmla="*/ 222 w 10000"/>
                    <a:gd name="connsiteY204" fmla="*/ 8424 h 9985"/>
                    <a:gd name="connsiteX205" fmla="*/ 0 w 10000"/>
                    <a:gd name="connsiteY205" fmla="*/ 8439 h 9985"/>
                    <a:gd name="connsiteX206" fmla="*/ 0 w 10000"/>
                    <a:gd name="connsiteY206" fmla="*/ 8439 h 9985"/>
                    <a:gd name="connsiteX207" fmla="*/ 278 w 10000"/>
                    <a:gd name="connsiteY207" fmla="*/ 8674 h 9985"/>
                    <a:gd name="connsiteX208" fmla="*/ 500 w 10000"/>
                    <a:gd name="connsiteY208" fmla="*/ 8851 h 9985"/>
                    <a:gd name="connsiteX209" fmla="*/ 722 w 10000"/>
                    <a:gd name="connsiteY209" fmla="*/ 8998 h 9985"/>
                    <a:gd name="connsiteX210" fmla="*/ 722 w 10000"/>
                    <a:gd name="connsiteY210" fmla="*/ 8998 h 9985"/>
                    <a:gd name="connsiteX211" fmla="*/ 889 w 10000"/>
                    <a:gd name="connsiteY211" fmla="*/ 9087 h 9985"/>
                    <a:gd name="connsiteX212" fmla="*/ 944 w 10000"/>
                    <a:gd name="connsiteY212" fmla="*/ 9160 h 9985"/>
                    <a:gd name="connsiteX213" fmla="*/ 1111 w 10000"/>
                    <a:gd name="connsiteY213" fmla="*/ 9234 h 9985"/>
                    <a:gd name="connsiteX214" fmla="*/ 1333 w 10000"/>
                    <a:gd name="connsiteY214" fmla="*/ 9352 h 9985"/>
                    <a:gd name="connsiteX215" fmla="*/ 1333 w 10000"/>
                    <a:gd name="connsiteY215" fmla="*/ 9352 h 9985"/>
                    <a:gd name="connsiteX216" fmla="*/ 1444 w 10000"/>
                    <a:gd name="connsiteY216" fmla="*/ 9411 h 9985"/>
                    <a:gd name="connsiteX217" fmla="*/ 1500 w 10000"/>
                    <a:gd name="connsiteY217" fmla="*/ 9455 h 9985"/>
                    <a:gd name="connsiteX218" fmla="*/ 1500 w 10000"/>
                    <a:gd name="connsiteY218" fmla="*/ 9499 h 9985"/>
                    <a:gd name="connsiteX219" fmla="*/ 1556 w 10000"/>
                    <a:gd name="connsiteY219" fmla="*/ 9514 h 9985"/>
                    <a:gd name="connsiteX220" fmla="*/ 1722 w 10000"/>
                    <a:gd name="connsiteY220" fmla="*/ 9528 h 9985"/>
                    <a:gd name="connsiteX221" fmla="*/ 1944 w 10000"/>
                    <a:gd name="connsiteY221" fmla="*/ 9543 h 9985"/>
                    <a:gd name="connsiteX222" fmla="*/ 2944 w 10000"/>
                    <a:gd name="connsiteY222" fmla="*/ 9558 h 9985"/>
                    <a:gd name="connsiteX223" fmla="*/ 2944 w 10000"/>
                    <a:gd name="connsiteY223" fmla="*/ 9558 h 9985"/>
                    <a:gd name="connsiteX224" fmla="*/ 4167 w 10000"/>
                    <a:gd name="connsiteY224" fmla="*/ 9587 h 9985"/>
                    <a:gd name="connsiteX225" fmla="*/ 4889 w 10000"/>
                    <a:gd name="connsiteY225" fmla="*/ 9632 h 9985"/>
                    <a:gd name="connsiteX226" fmla="*/ 5278 w 10000"/>
                    <a:gd name="connsiteY226" fmla="*/ 9676 h 9985"/>
                    <a:gd name="connsiteX227" fmla="*/ 5444 w 10000"/>
                    <a:gd name="connsiteY227" fmla="*/ 9690 h 9985"/>
                    <a:gd name="connsiteX228" fmla="*/ 5444 w 10000"/>
                    <a:gd name="connsiteY228" fmla="*/ 9690 h 9985"/>
                    <a:gd name="connsiteX229" fmla="*/ 5722 w 10000"/>
                    <a:gd name="connsiteY229" fmla="*/ 9720 h 9985"/>
                    <a:gd name="connsiteX230" fmla="*/ 5833 w 10000"/>
                    <a:gd name="connsiteY230" fmla="*/ 9735 h 9985"/>
                    <a:gd name="connsiteX231" fmla="*/ 5833 w 10000"/>
                    <a:gd name="connsiteY231" fmla="*/ 9735 h 9985"/>
                    <a:gd name="connsiteX232" fmla="*/ 5833 w 10000"/>
                    <a:gd name="connsiteY232" fmla="*/ 9720 h 9985"/>
                    <a:gd name="connsiteX233" fmla="*/ 5889 w 10000"/>
                    <a:gd name="connsiteY233" fmla="*/ 9705 h 9985"/>
                    <a:gd name="connsiteX234" fmla="*/ 6000 w 10000"/>
                    <a:gd name="connsiteY234" fmla="*/ 9690 h 9985"/>
                    <a:gd name="connsiteX235" fmla="*/ 6167 w 10000"/>
                    <a:gd name="connsiteY235" fmla="*/ 9676 h 9985"/>
                    <a:gd name="connsiteX236" fmla="*/ 6444 w 10000"/>
                    <a:gd name="connsiteY236" fmla="*/ 9676 h 9985"/>
                    <a:gd name="connsiteX237" fmla="*/ 6833 w 10000"/>
                    <a:gd name="connsiteY237" fmla="*/ 9690 h 9985"/>
                    <a:gd name="connsiteX238" fmla="*/ 7278 w 10000"/>
                    <a:gd name="connsiteY238" fmla="*/ 9735 h 9985"/>
                    <a:gd name="connsiteX239" fmla="*/ 7278 w 10000"/>
                    <a:gd name="connsiteY239" fmla="*/ 9735 h 9985"/>
                    <a:gd name="connsiteX240" fmla="*/ 8722 w 10000"/>
                    <a:gd name="connsiteY240" fmla="*/ 9867 h 9985"/>
                    <a:gd name="connsiteX241" fmla="*/ 10000 w 10000"/>
                    <a:gd name="connsiteY241" fmla="*/ 9985 h 9985"/>
                    <a:gd name="connsiteX0" fmla="*/ 10000 w 10000"/>
                    <a:gd name="connsiteY0" fmla="*/ 8997 h 10000"/>
                    <a:gd name="connsiteX1" fmla="*/ 10000 w 10000"/>
                    <a:gd name="connsiteY1" fmla="*/ 8997 h 10000"/>
                    <a:gd name="connsiteX2" fmla="*/ 9222 w 10000"/>
                    <a:gd name="connsiteY2" fmla="*/ 9012 h 10000"/>
                    <a:gd name="connsiteX3" fmla="*/ 8944 w 10000"/>
                    <a:gd name="connsiteY3" fmla="*/ 9012 h 10000"/>
                    <a:gd name="connsiteX4" fmla="*/ 8833 w 10000"/>
                    <a:gd name="connsiteY4" fmla="*/ 8997 h 10000"/>
                    <a:gd name="connsiteX5" fmla="*/ 8778 w 10000"/>
                    <a:gd name="connsiteY5" fmla="*/ 8982 h 10000"/>
                    <a:gd name="connsiteX6" fmla="*/ 8778 w 10000"/>
                    <a:gd name="connsiteY6" fmla="*/ 8982 h 10000"/>
                    <a:gd name="connsiteX7" fmla="*/ 8444 w 10000"/>
                    <a:gd name="connsiteY7" fmla="*/ 8805 h 10000"/>
                    <a:gd name="connsiteX8" fmla="*/ 8167 w 10000"/>
                    <a:gd name="connsiteY8" fmla="*/ 8643 h 10000"/>
                    <a:gd name="connsiteX9" fmla="*/ 8167 w 10000"/>
                    <a:gd name="connsiteY9" fmla="*/ 8643 h 10000"/>
                    <a:gd name="connsiteX10" fmla="*/ 8056 w 10000"/>
                    <a:gd name="connsiteY10" fmla="*/ 8614 h 10000"/>
                    <a:gd name="connsiteX11" fmla="*/ 7889 w 10000"/>
                    <a:gd name="connsiteY11" fmla="*/ 8584 h 10000"/>
                    <a:gd name="connsiteX12" fmla="*/ 7444 w 10000"/>
                    <a:gd name="connsiteY12" fmla="*/ 8569 h 10000"/>
                    <a:gd name="connsiteX13" fmla="*/ 6889 w 10000"/>
                    <a:gd name="connsiteY13" fmla="*/ 8555 h 10000"/>
                    <a:gd name="connsiteX14" fmla="*/ 6389 w 10000"/>
                    <a:gd name="connsiteY14" fmla="*/ 8555 h 10000"/>
                    <a:gd name="connsiteX15" fmla="*/ 6389 w 10000"/>
                    <a:gd name="connsiteY15" fmla="*/ 8555 h 10000"/>
                    <a:gd name="connsiteX16" fmla="*/ 6167 w 10000"/>
                    <a:gd name="connsiteY16" fmla="*/ 8540 h 10000"/>
                    <a:gd name="connsiteX17" fmla="*/ 6056 w 10000"/>
                    <a:gd name="connsiteY17" fmla="*/ 8511 h 10000"/>
                    <a:gd name="connsiteX18" fmla="*/ 6000 w 10000"/>
                    <a:gd name="connsiteY18" fmla="*/ 8481 h 10000"/>
                    <a:gd name="connsiteX19" fmla="*/ 6000 w 10000"/>
                    <a:gd name="connsiteY19" fmla="*/ 8422 h 10000"/>
                    <a:gd name="connsiteX20" fmla="*/ 6056 w 10000"/>
                    <a:gd name="connsiteY20" fmla="*/ 8303 h 10000"/>
                    <a:gd name="connsiteX21" fmla="*/ 6111 w 10000"/>
                    <a:gd name="connsiteY21" fmla="*/ 8244 h 10000"/>
                    <a:gd name="connsiteX22" fmla="*/ 6056 w 10000"/>
                    <a:gd name="connsiteY22" fmla="*/ 8171 h 10000"/>
                    <a:gd name="connsiteX23" fmla="*/ 6056 w 10000"/>
                    <a:gd name="connsiteY23" fmla="*/ 8171 h 10000"/>
                    <a:gd name="connsiteX24" fmla="*/ 6000 w 10000"/>
                    <a:gd name="connsiteY24" fmla="*/ 8127 h 10000"/>
                    <a:gd name="connsiteX25" fmla="*/ 5944 w 10000"/>
                    <a:gd name="connsiteY25" fmla="*/ 8097 h 10000"/>
                    <a:gd name="connsiteX26" fmla="*/ 5833 w 10000"/>
                    <a:gd name="connsiteY26" fmla="*/ 8097 h 10000"/>
                    <a:gd name="connsiteX27" fmla="*/ 5667 w 10000"/>
                    <a:gd name="connsiteY27" fmla="*/ 8112 h 10000"/>
                    <a:gd name="connsiteX28" fmla="*/ 5333 w 10000"/>
                    <a:gd name="connsiteY28" fmla="*/ 8156 h 10000"/>
                    <a:gd name="connsiteX29" fmla="*/ 4889 w 10000"/>
                    <a:gd name="connsiteY29" fmla="*/ 8230 h 10000"/>
                    <a:gd name="connsiteX30" fmla="*/ 4889 w 10000"/>
                    <a:gd name="connsiteY30" fmla="*/ 8230 h 10000"/>
                    <a:gd name="connsiteX31" fmla="*/ 4611 w 10000"/>
                    <a:gd name="connsiteY31" fmla="*/ 8244 h 10000"/>
                    <a:gd name="connsiteX32" fmla="*/ 4500 w 10000"/>
                    <a:gd name="connsiteY32" fmla="*/ 8244 h 10000"/>
                    <a:gd name="connsiteX33" fmla="*/ 4444 w 10000"/>
                    <a:gd name="connsiteY33" fmla="*/ 8230 h 10000"/>
                    <a:gd name="connsiteX34" fmla="*/ 4389 w 10000"/>
                    <a:gd name="connsiteY34" fmla="*/ 8171 h 10000"/>
                    <a:gd name="connsiteX35" fmla="*/ 4222 w 10000"/>
                    <a:gd name="connsiteY35" fmla="*/ 8097 h 10000"/>
                    <a:gd name="connsiteX36" fmla="*/ 4222 w 10000"/>
                    <a:gd name="connsiteY36" fmla="*/ 8097 h 10000"/>
                    <a:gd name="connsiteX37" fmla="*/ 4111 w 10000"/>
                    <a:gd name="connsiteY37" fmla="*/ 8053 h 10000"/>
                    <a:gd name="connsiteX38" fmla="*/ 4111 w 10000"/>
                    <a:gd name="connsiteY38" fmla="*/ 8009 h 10000"/>
                    <a:gd name="connsiteX39" fmla="*/ 4111 w 10000"/>
                    <a:gd name="connsiteY39" fmla="*/ 7979 h 10000"/>
                    <a:gd name="connsiteX40" fmla="*/ 4167 w 10000"/>
                    <a:gd name="connsiteY40" fmla="*/ 7950 h 10000"/>
                    <a:gd name="connsiteX41" fmla="*/ 4278 w 10000"/>
                    <a:gd name="connsiteY41" fmla="*/ 7891 h 10000"/>
                    <a:gd name="connsiteX42" fmla="*/ 4389 w 10000"/>
                    <a:gd name="connsiteY42" fmla="*/ 7876 h 10000"/>
                    <a:gd name="connsiteX43" fmla="*/ 4389 w 10000"/>
                    <a:gd name="connsiteY43" fmla="*/ 7876 h 10000"/>
                    <a:gd name="connsiteX44" fmla="*/ 4389 w 10000"/>
                    <a:gd name="connsiteY44" fmla="*/ 7862 h 10000"/>
                    <a:gd name="connsiteX45" fmla="*/ 4444 w 10000"/>
                    <a:gd name="connsiteY45" fmla="*/ 7847 h 10000"/>
                    <a:gd name="connsiteX46" fmla="*/ 4667 w 10000"/>
                    <a:gd name="connsiteY46" fmla="*/ 7832 h 10000"/>
                    <a:gd name="connsiteX47" fmla="*/ 5333 w 10000"/>
                    <a:gd name="connsiteY47" fmla="*/ 7803 h 10000"/>
                    <a:gd name="connsiteX48" fmla="*/ 6500 w 10000"/>
                    <a:gd name="connsiteY48" fmla="*/ 7758 h 10000"/>
                    <a:gd name="connsiteX49" fmla="*/ 6500 w 10000"/>
                    <a:gd name="connsiteY49" fmla="*/ 7758 h 10000"/>
                    <a:gd name="connsiteX50" fmla="*/ 7167 w 10000"/>
                    <a:gd name="connsiteY50" fmla="*/ 7714 h 10000"/>
                    <a:gd name="connsiteX51" fmla="*/ 8389 w 10000"/>
                    <a:gd name="connsiteY51" fmla="*/ 7625 h 10000"/>
                    <a:gd name="connsiteX52" fmla="*/ 8389 w 10000"/>
                    <a:gd name="connsiteY52" fmla="*/ 7625 h 10000"/>
                    <a:gd name="connsiteX53" fmla="*/ 8667 w 10000"/>
                    <a:gd name="connsiteY53" fmla="*/ 7595 h 10000"/>
                    <a:gd name="connsiteX54" fmla="*/ 8778 w 10000"/>
                    <a:gd name="connsiteY54" fmla="*/ 7551 h 10000"/>
                    <a:gd name="connsiteX55" fmla="*/ 8889 w 10000"/>
                    <a:gd name="connsiteY55" fmla="*/ 7522 h 10000"/>
                    <a:gd name="connsiteX56" fmla="*/ 8833 w 10000"/>
                    <a:gd name="connsiteY56" fmla="*/ 7492 h 10000"/>
                    <a:gd name="connsiteX57" fmla="*/ 8833 w 10000"/>
                    <a:gd name="connsiteY57" fmla="*/ 7463 h 10000"/>
                    <a:gd name="connsiteX58" fmla="*/ 8722 w 10000"/>
                    <a:gd name="connsiteY58" fmla="*/ 7433 h 10000"/>
                    <a:gd name="connsiteX59" fmla="*/ 8556 w 10000"/>
                    <a:gd name="connsiteY59" fmla="*/ 7389 h 10000"/>
                    <a:gd name="connsiteX60" fmla="*/ 8556 w 10000"/>
                    <a:gd name="connsiteY60" fmla="*/ 7389 h 10000"/>
                    <a:gd name="connsiteX61" fmla="*/ 6556 w 10000"/>
                    <a:gd name="connsiteY61" fmla="*/ 7124 h 10000"/>
                    <a:gd name="connsiteX62" fmla="*/ 6556 w 10000"/>
                    <a:gd name="connsiteY62" fmla="*/ 7124 h 10000"/>
                    <a:gd name="connsiteX63" fmla="*/ 6333 w 10000"/>
                    <a:gd name="connsiteY63" fmla="*/ 7080 h 10000"/>
                    <a:gd name="connsiteX64" fmla="*/ 6167 w 10000"/>
                    <a:gd name="connsiteY64" fmla="*/ 7036 h 10000"/>
                    <a:gd name="connsiteX65" fmla="*/ 6056 w 10000"/>
                    <a:gd name="connsiteY65" fmla="*/ 6991 h 10000"/>
                    <a:gd name="connsiteX66" fmla="*/ 6056 w 10000"/>
                    <a:gd name="connsiteY66" fmla="*/ 6991 h 10000"/>
                    <a:gd name="connsiteX67" fmla="*/ 8056 w 10000"/>
                    <a:gd name="connsiteY67" fmla="*/ 6976 h 10000"/>
                    <a:gd name="connsiteX68" fmla="*/ 10000 w 10000"/>
                    <a:gd name="connsiteY68" fmla="*/ 7124 h 10000"/>
                    <a:gd name="connsiteX69" fmla="*/ 10000 w 10000"/>
                    <a:gd name="connsiteY69" fmla="*/ 5782 h 10000"/>
                    <a:gd name="connsiteX70" fmla="*/ 10000 w 10000"/>
                    <a:gd name="connsiteY70" fmla="*/ 5782 h 10000"/>
                    <a:gd name="connsiteX71" fmla="*/ 7778 w 10000"/>
                    <a:gd name="connsiteY71" fmla="*/ 5472 h 10000"/>
                    <a:gd name="connsiteX72" fmla="*/ 6556 w 10000"/>
                    <a:gd name="connsiteY72" fmla="*/ 5295 h 10000"/>
                    <a:gd name="connsiteX73" fmla="*/ 6556 w 10000"/>
                    <a:gd name="connsiteY73" fmla="*/ 5295 h 10000"/>
                    <a:gd name="connsiteX74" fmla="*/ 6556 w 10000"/>
                    <a:gd name="connsiteY74" fmla="*/ 5280 h 10000"/>
                    <a:gd name="connsiteX75" fmla="*/ 6556 w 10000"/>
                    <a:gd name="connsiteY75" fmla="*/ 5192 h 10000"/>
                    <a:gd name="connsiteX76" fmla="*/ 6556 w 10000"/>
                    <a:gd name="connsiteY76" fmla="*/ 5192 h 10000"/>
                    <a:gd name="connsiteX77" fmla="*/ 6389 w 10000"/>
                    <a:gd name="connsiteY77" fmla="*/ 5089 h 10000"/>
                    <a:gd name="connsiteX78" fmla="*/ 6056 w 10000"/>
                    <a:gd name="connsiteY78" fmla="*/ 4926 h 10000"/>
                    <a:gd name="connsiteX79" fmla="*/ 5333 w 10000"/>
                    <a:gd name="connsiteY79" fmla="*/ 4616 h 10000"/>
                    <a:gd name="connsiteX80" fmla="*/ 5333 w 10000"/>
                    <a:gd name="connsiteY80" fmla="*/ 4616 h 10000"/>
                    <a:gd name="connsiteX81" fmla="*/ 5167 w 10000"/>
                    <a:gd name="connsiteY81" fmla="*/ 4572 h 10000"/>
                    <a:gd name="connsiteX82" fmla="*/ 4889 w 10000"/>
                    <a:gd name="connsiteY82" fmla="*/ 4513 h 10000"/>
                    <a:gd name="connsiteX83" fmla="*/ 4056 w 10000"/>
                    <a:gd name="connsiteY83" fmla="*/ 4381 h 10000"/>
                    <a:gd name="connsiteX84" fmla="*/ 2889 w 10000"/>
                    <a:gd name="connsiteY84" fmla="*/ 4218 h 10000"/>
                    <a:gd name="connsiteX85" fmla="*/ 2889 w 10000"/>
                    <a:gd name="connsiteY85" fmla="*/ 4218 h 10000"/>
                    <a:gd name="connsiteX86" fmla="*/ 2389 w 10000"/>
                    <a:gd name="connsiteY86" fmla="*/ 4203 h 10000"/>
                    <a:gd name="connsiteX87" fmla="*/ 2000 w 10000"/>
                    <a:gd name="connsiteY87" fmla="*/ 4188 h 10000"/>
                    <a:gd name="connsiteX88" fmla="*/ 1889 w 10000"/>
                    <a:gd name="connsiteY88" fmla="*/ 4174 h 10000"/>
                    <a:gd name="connsiteX89" fmla="*/ 1778 w 10000"/>
                    <a:gd name="connsiteY89" fmla="*/ 4159 h 10000"/>
                    <a:gd name="connsiteX90" fmla="*/ 1778 w 10000"/>
                    <a:gd name="connsiteY90" fmla="*/ 4159 h 10000"/>
                    <a:gd name="connsiteX91" fmla="*/ 1667 w 10000"/>
                    <a:gd name="connsiteY91" fmla="*/ 4100 h 10000"/>
                    <a:gd name="connsiteX92" fmla="*/ 1500 w 10000"/>
                    <a:gd name="connsiteY92" fmla="*/ 3997 h 10000"/>
                    <a:gd name="connsiteX93" fmla="*/ 1444 w 10000"/>
                    <a:gd name="connsiteY93" fmla="*/ 3938 h 10000"/>
                    <a:gd name="connsiteX94" fmla="*/ 1444 w 10000"/>
                    <a:gd name="connsiteY94" fmla="*/ 3879 h 10000"/>
                    <a:gd name="connsiteX95" fmla="*/ 1444 w 10000"/>
                    <a:gd name="connsiteY95" fmla="*/ 3835 h 10000"/>
                    <a:gd name="connsiteX96" fmla="*/ 1556 w 10000"/>
                    <a:gd name="connsiteY96" fmla="*/ 3791 h 10000"/>
                    <a:gd name="connsiteX97" fmla="*/ 1556 w 10000"/>
                    <a:gd name="connsiteY97" fmla="*/ 3791 h 10000"/>
                    <a:gd name="connsiteX98" fmla="*/ 1833 w 10000"/>
                    <a:gd name="connsiteY98" fmla="*/ 3717 h 10000"/>
                    <a:gd name="connsiteX99" fmla="*/ 2111 w 10000"/>
                    <a:gd name="connsiteY99" fmla="*/ 3642 h 10000"/>
                    <a:gd name="connsiteX100" fmla="*/ 2278 w 10000"/>
                    <a:gd name="connsiteY100" fmla="*/ 3598 h 10000"/>
                    <a:gd name="connsiteX101" fmla="*/ 2389 w 10000"/>
                    <a:gd name="connsiteY101" fmla="*/ 3554 h 10000"/>
                    <a:gd name="connsiteX102" fmla="*/ 2389 w 10000"/>
                    <a:gd name="connsiteY102" fmla="*/ 3495 h 10000"/>
                    <a:gd name="connsiteX103" fmla="*/ 2389 w 10000"/>
                    <a:gd name="connsiteY103" fmla="*/ 3422 h 10000"/>
                    <a:gd name="connsiteX104" fmla="*/ 2389 w 10000"/>
                    <a:gd name="connsiteY104" fmla="*/ 3422 h 10000"/>
                    <a:gd name="connsiteX105" fmla="*/ 2167 w 10000"/>
                    <a:gd name="connsiteY105" fmla="*/ 3215 h 10000"/>
                    <a:gd name="connsiteX106" fmla="*/ 1889 w 10000"/>
                    <a:gd name="connsiteY106" fmla="*/ 2935 h 10000"/>
                    <a:gd name="connsiteX107" fmla="*/ 1667 w 10000"/>
                    <a:gd name="connsiteY107" fmla="*/ 2684 h 10000"/>
                    <a:gd name="connsiteX108" fmla="*/ 1611 w 10000"/>
                    <a:gd name="connsiteY108" fmla="*/ 2611 h 10000"/>
                    <a:gd name="connsiteX109" fmla="*/ 1611 w 10000"/>
                    <a:gd name="connsiteY109" fmla="*/ 2581 h 10000"/>
                    <a:gd name="connsiteX110" fmla="*/ 1667 w 10000"/>
                    <a:gd name="connsiteY110" fmla="*/ 2566 h 10000"/>
                    <a:gd name="connsiteX111" fmla="*/ 1667 w 10000"/>
                    <a:gd name="connsiteY111" fmla="*/ 2566 h 10000"/>
                    <a:gd name="connsiteX112" fmla="*/ 2000 w 10000"/>
                    <a:gd name="connsiteY112" fmla="*/ 2552 h 10000"/>
                    <a:gd name="connsiteX113" fmla="*/ 2222 w 10000"/>
                    <a:gd name="connsiteY113" fmla="*/ 2552 h 10000"/>
                    <a:gd name="connsiteX114" fmla="*/ 2389 w 10000"/>
                    <a:gd name="connsiteY114" fmla="*/ 2566 h 10000"/>
                    <a:gd name="connsiteX115" fmla="*/ 2389 w 10000"/>
                    <a:gd name="connsiteY115" fmla="*/ 2566 h 10000"/>
                    <a:gd name="connsiteX116" fmla="*/ 2444 w 10000"/>
                    <a:gd name="connsiteY116" fmla="*/ 2566 h 10000"/>
                    <a:gd name="connsiteX117" fmla="*/ 2500 w 10000"/>
                    <a:gd name="connsiteY117" fmla="*/ 2537 h 10000"/>
                    <a:gd name="connsiteX118" fmla="*/ 2778 w 10000"/>
                    <a:gd name="connsiteY118" fmla="*/ 2448 h 10000"/>
                    <a:gd name="connsiteX119" fmla="*/ 3500 w 10000"/>
                    <a:gd name="connsiteY119" fmla="*/ 2153 h 10000"/>
                    <a:gd name="connsiteX120" fmla="*/ 4444 w 10000"/>
                    <a:gd name="connsiteY120" fmla="*/ 1726 h 10000"/>
                    <a:gd name="connsiteX121" fmla="*/ 4444 w 10000"/>
                    <a:gd name="connsiteY121" fmla="*/ 1726 h 10000"/>
                    <a:gd name="connsiteX122" fmla="*/ 4444 w 10000"/>
                    <a:gd name="connsiteY122" fmla="*/ 1666 h 10000"/>
                    <a:gd name="connsiteX123" fmla="*/ 4444 w 10000"/>
                    <a:gd name="connsiteY123" fmla="*/ 1533 h 10000"/>
                    <a:gd name="connsiteX124" fmla="*/ 4500 w 10000"/>
                    <a:gd name="connsiteY124" fmla="*/ 1445 h 10000"/>
                    <a:gd name="connsiteX125" fmla="*/ 4611 w 10000"/>
                    <a:gd name="connsiteY125" fmla="*/ 1371 h 10000"/>
                    <a:gd name="connsiteX126" fmla="*/ 4778 w 10000"/>
                    <a:gd name="connsiteY126" fmla="*/ 1283 h 10000"/>
                    <a:gd name="connsiteX127" fmla="*/ 5000 w 10000"/>
                    <a:gd name="connsiteY127" fmla="*/ 1209 h 10000"/>
                    <a:gd name="connsiteX128" fmla="*/ 5000 w 10000"/>
                    <a:gd name="connsiteY128" fmla="*/ 1209 h 10000"/>
                    <a:gd name="connsiteX129" fmla="*/ 5556 w 10000"/>
                    <a:gd name="connsiteY129" fmla="*/ 1062 h 10000"/>
                    <a:gd name="connsiteX130" fmla="*/ 6111 w 10000"/>
                    <a:gd name="connsiteY130" fmla="*/ 870 h 10000"/>
                    <a:gd name="connsiteX131" fmla="*/ 6667 w 10000"/>
                    <a:gd name="connsiteY131" fmla="*/ 693 h 10000"/>
                    <a:gd name="connsiteX132" fmla="*/ 7056 w 10000"/>
                    <a:gd name="connsiteY132" fmla="*/ 531 h 10000"/>
                    <a:gd name="connsiteX133" fmla="*/ 7056 w 10000"/>
                    <a:gd name="connsiteY133" fmla="*/ 531 h 10000"/>
                    <a:gd name="connsiteX134" fmla="*/ 7333 w 10000"/>
                    <a:gd name="connsiteY134" fmla="*/ 384 h 10000"/>
                    <a:gd name="connsiteX135" fmla="*/ 7667 w 10000"/>
                    <a:gd name="connsiteY135" fmla="*/ 206 h 10000"/>
                    <a:gd name="connsiteX136" fmla="*/ 8000 w 10000"/>
                    <a:gd name="connsiteY136" fmla="*/ 73 h 10000"/>
                    <a:gd name="connsiteX137" fmla="*/ 8167 w 10000"/>
                    <a:gd name="connsiteY137" fmla="*/ 14 h 10000"/>
                    <a:gd name="connsiteX138" fmla="*/ 8333 w 10000"/>
                    <a:gd name="connsiteY138" fmla="*/ 0 h 10000"/>
                    <a:gd name="connsiteX139" fmla="*/ 10000 w 10000"/>
                    <a:gd name="connsiteY139" fmla="*/ 9012 h 10000"/>
                    <a:gd name="connsiteX140" fmla="*/ 10000 w 10000"/>
                    <a:gd name="connsiteY140" fmla="*/ 9012 h 10000"/>
                    <a:gd name="connsiteX141" fmla="*/ 9722 w 10000"/>
                    <a:gd name="connsiteY141" fmla="*/ 8997 h 10000"/>
                    <a:gd name="connsiteX142" fmla="*/ 9389 w 10000"/>
                    <a:gd name="connsiteY142" fmla="*/ 9012 h 10000"/>
                    <a:gd name="connsiteX143" fmla="*/ 9389 w 10000"/>
                    <a:gd name="connsiteY143" fmla="*/ 9012 h 10000"/>
                    <a:gd name="connsiteX144" fmla="*/ 9278 w 10000"/>
                    <a:gd name="connsiteY144" fmla="*/ 9027 h 10000"/>
                    <a:gd name="connsiteX145" fmla="*/ 9056 w 10000"/>
                    <a:gd name="connsiteY145" fmla="*/ 9012 h 10000"/>
                    <a:gd name="connsiteX146" fmla="*/ 8889 w 10000"/>
                    <a:gd name="connsiteY146" fmla="*/ 8997 h 10000"/>
                    <a:gd name="connsiteX147" fmla="*/ 8722 w 10000"/>
                    <a:gd name="connsiteY147" fmla="*/ 8967 h 10000"/>
                    <a:gd name="connsiteX148" fmla="*/ 8611 w 10000"/>
                    <a:gd name="connsiteY148" fmla="*/ 8923 h 10000"/>
                    <a:gd name="connsiteX149" fmla="*/ 8444 w 10000"/>
                    <a:gd name="connsiteY149" fmla="*/ 8849 h 10000"/>
                    <a:gd name="connsiteX150" fmla="*/ 8444 w 10000"/>
                    <a:gd name="connsiteY150" fmla="*/ 8849 h 10000"/>
                    <a:gd name="connsiteX151" fmla="*/ 8222 w 10000"/>
                    <a:gd name="connsiteY151" fmla="*/ 8717 h 10000"/>
                    <a:gd name="connsiteX152" fmla="*/ 8111 w 10000"/>
                    <a:gd name="connsiteY152" fmla="*/ 8658 h 10000"/>
                    <a:gd name="connsiteX153" fmla="*/ 7944 w 10000"/>
                    <a:gd name="connsiteY153" fmla="*/ 8614 h 10000"/>
                    <a:gd name="connsiteX154" fmla="*/ 7778 w 10000"/>
                    <a:gd name="connsiteY154" fmla="*/ 8584 h 10000"/>
                    <a:gd name="connsiteX155" fmla="*/ 7556 w 10000"/>
                    <a:gd name="connsiteY155" fmla="*/ 8569 h 10000"/>
                    <a:gd name="connsiteX156" fmla="*/ 7333 w 10000"/>
                    <a:gd name="connsiteY156" fmla="*/ 8555 h 10000"/>
                    <a:gd name="connsiteX157" fmla="*/ 7000 w 10000"/>
                    <a:gd name="connsiteY157" fmla="*/ 8540 h 10000"/>
                    <a:gd name="connsiteX158" fmla="*/ 7000 w 10000"/>
                    <a:gd name="connsiteY158" fmla="*/ 8540 h 10000"/>
                    <a:gd name="connsiteX159" fmla="*/ 6556 w 10000"/>
                    <a:gd name="connsiteY159" fmla="*/ 8555 h 10000"/>
                    <a:gd name="connsiteX160" fmla="*/ 6222 w 10000"/>
                    <a:gd name="connsiteY160" fmla="*/ 8555 h 10000"/>
                    <a:gd name="connsiteX161" fmla="*/ 6111 w 10000"/>
                    <a:gd name="connsiteY161" fmla="*/ 8540 h 10000"/>
                    <a:gd name="connsiteX162" fmla="*/ 6056 w 10000"/>
                    <a:gd name="connsiteY162" fmla="*/ 8525 h 10000"/>
                    <a:gd name="connsiteX163" fmla="*/ 6056 w 10000"/>
                    <a:gd name="connsiteY163" fmla="*/ 8525 h 10000"/>
                    <a:gd name="connsiteX164" fmla="*/ 6056 w 10000"/>
                    <a:gd name="connsiteY164" fmla="*/ 8259 h 10000"/>
                    <a:gd name="connsiteX165" fmla="*/ 6056 w 10000"/>
                    <a:gd name="connsiteY165" fmla="*/ 8259 h 10000"/>
                    <a:gd name="connsiteX166" fmla="*/ 6056 w 10000"/>
                    <a:gd name="connsiteY166" fmla="*/ 8200 h 10000"/>
                    <a:gd name="connsiteX167" fmla="*/ 5944 w 10000"/>
                    <a:gd name="connsiteY167" fmla="*/ 8127 h 10000"/>
                    <a:gd name="connsiteX168" fmla="*/ 5889 w 10000"/>
                    <a:gd name="connsiteY168" fmla="*/ 8112 h 10000"/>
                    <a:gd name="connsiteX169" fmla="*/ 5778 w 10000"/>
                    <a:gd name="connsiteY169" fmla="*/ 8097 h 10000"/>
                    <a:gd name="connsiteX170" fmla="*/ 5667 w 10000"/>
                    <a:gd name="connsiteY170" fmla="*/ 8097 h 10000"/>
                    <a:gd name="connsiteX171" fmla="*/ 5500 w 10000"/>
                    <a:gd name="connsiteY171" fmla="*/ 8112 h 10000"/>
                    <a:gd name="connsiteX172" fmla="*/ 5500 w 10000"/>
                    <a:gd name="connsiteY172" fmla="*/ 8112 h 10000"/>
                    <a:gd name="connsiteX173" fmla="*/ 4889 w 10000"/>
                    <a:gd name="connsiteY173" fmla="*/ 8215 h 10000"/>
                    <a:gd name="connsiteX174" fmla="*/ 4611 w 10000"/>
                    <a:gd name="connsiteY174" fmla="*/ 8244 h 10000"/>
                    <a:gd name="connsiteX175" fmla="*/ 4556 w 10000"/>
                    <a:gd name="connsiteY175" fmla="*/ 8259 h 10000"/>
                    <a:gd name="connsiteX176" fmla="*/ 4500 w 10000"/>
                    <a:gd name="connsiteY176" fmla="*/ 8244 h 10000"/>
                    <a:gd name="connsiteX177" fmla="*/ 4500 w 10000"/>
                    <a:gd name="connsiteY177" fmla="*/ 8244 h 10000"/>
                    <a:gd name="connsiteX178" fmla="*/ 4222 w 10000"/>
                    <a:gd name="connsiteY178" fmla="*/ 8097 h 10000"/>
                    <a:gd name="connsiteX179" fmla="*/ 4222 w 10000"/>
                    <a:gd name="connsiteY179" fmla="*/ 8097 h 10000"/>
                    <a:gd name="connsiteX180" fmla="*/ 4111 w 10000"/>
                    <a:gd name="connsiteY180" fmla="*/ 8024 h 10000"/>
                    <a:gd name="connsiteX181" fmla="*/ 4111 w 10000"/>
                    <a:gd name="connsiteY181" fmla="*/ 7979 h 10000"/>
                    <a:gd name="connsiteX182" fmla="*/ 4111 w 10000"/>
                    <a:gd name="connsiteY182" fmla="*/ 7935 h 10000"/>
                    <a:gd name="connsiteX183" fmla="*/ 4111 w 10000"/>
                    <a:gd name="connsiteY183" fmla="*/ 7935 h 10000"/>
                    <a:gd name="connsiteX184" fmla="*/ 4278 w 10000"/>
                    <a:gd name="connsiteY184" fmla="*/ 7891 h 10000"/>
                    <a:gd name="connsiteX185" fmla="*/ 4389 w 10000"/>
                    <a:gd name="connsiteY185" fmla="*/ 7876 h 10000"/>
                    <a:gd name="connsiteX186" fmla="*/ 4389 w 10000"/>
                    <a:gd name="connsiteY186" fmla="*/ 7876 h 10000"/>
                    <a:gd name="connsiteX187" fmla="*/ 4000 w 10000"/>
                    <a:gd name="connsiteY187" fmla="*/ 7876 h 10000"/>
                    <a:gd name="connsiteX188" fmla="*/ 3722 w 10000"/>
                    <a:gd name="connsiteY188" fmla="*/ 7891 h 10000"/>
                    <a:gd name="connsiteX189" fmla="*/ 3611 w 10000"/>
                    <a:gd name="connsiteY189" fmla="*/ 7906 h 10000"/>
                    <a:gd name="connsiteX190" fmla="*/ 3556 w 10000"/>
                    <a:gd name="connsiteY190" fmla="*/ 7920 h 10000"/>
                    <a:gd name="connsiteX191" fmla="*/ 3556 w 10000"/>
                    <a:gd name="connsiteY191" fmla="*/ 7920 h 10000"/>
                    <a:gd name="connsiteX192" fmla="*/ 3444 w 10000"/>
                    <a:gd name="connsiteY192" fmla="*/ 7979 h 10000"/>
                    <a:gd name="connsiteX193" fmla="*/ 3278 w 10000"/>
                    <a:gd name="connsiteY193" fmla="*/ 8068 h 10000"/>
                    <a:gd name="connsiteX194" fmla="*/ 3000 w 10000"/>
                    <a:gd name="connsiteY194" fmla="*/ 8171 h 10000"/>
                    <a:gd name="connsiteX195" fmla="*/ 2667 w 10000"/>
                    <a:gd name="connsiteY195" fmla="*/ 8244 h 10000"/>
                    <a:gd name="connsiteX196" fmla="*/ 2667 w 10000"/>
                    <a:gd name="connsiteY196" fmla="*/ 8244 h 10000"/>
                    <a:gd name="connsiteX197" fmla="*/ 2333 w 10000"/>
                    <a:gd name="connsiteY197" fmla="*/ 8303 h 10000"/>
                    <a:gd name="connsiteX198" fmla="*/ 1833 w 10000"/>
                    <a:gd name="connsiteY198" fmla="*/ 8363 h 10000"/>
                    <a:gd name="connsiteX199" fmla="*/ 1389 w 10000"/>
                    <a:gd name="connsiteY199" fmla="*/ 8393 h 10000"/>
                    <a:gd name="connsiteX200" fmla="*/ 889 w 10000"/>
                    <a:gd name="connsiteY200" fmla="*/ 8407 h 10000"/>
                    <a:gd name="connsiteX201" fmla="*/ 889 w 10000"/>
                    <a:gd name="connsiteY201" fmla="*/ 8407 h 10000"/>
                    <a:gd name="connsiteX202" fmla="*/ 500 w 10000"/>
                    <a:gd name="connsiteY202" fmla="*/ 8422 h 10000"/>
                    <a:gd name="connsiteX203" fmla="*/ 222 w 10000"/>
                    <a:gd name="connsiteY203" fmla="*/ 8437 h 10000"/>
                    <a:gd name="connsiteX204" fmla="*/ 0 w 10000"/>
                    <a:gd name="connsiteY204" fmla="*/ 8452 h 10000"/>
                    <a:gd name="connsiteX205" fmla="*/ 0 w 10000"/>
                    <a:gd name="connsiteY205" fmla="*/ 8452 h 10000"/>
                    <a:gd name="connsiteX206" fmla="*/ 278 w 10000"/>
                    <a:gd name="connsiteY206" fmla="*/ 8687 h 10000"/>
                    <a:gd name="connsiteX207" fmla="*/ 500 w 10000"/>
                    <a:gd name="connsiteY207" fmla="*/ 8864 h 10000"/>
                    <a:gd name="connsiteX208" fmla="*/ 722 w 10000"/>
                    <a:gd name="connsiteY208" fmla="*/ 9012 h 10000"/>
                    <a:gd name="connsiteX209" fmla="*/ 722 w 10000"/>
                    <a:gd name="connsiteY209" fmla="*/ 9012 h 10000"/>
                    <a:gd name="connsiteX210" fmla="*/ 889 w 10000"/>
                    <a:gd name="connsiteY210" fmla="*/ 9101 h 10000"/>
                    <a:gd name="connsiteX211" fmla="*/ 944 w 10000"/>
                    <a:gd name="connsiteY211" fmla="*/ 9174 h 10000"/>
                    <a:gd name="connsiteX212" fmla="*/ 1111 w 10000"/>
                    <a:gd name="connsiteY212" fmla="*/ 9248 h 10000"/>
                    <a:gd name="connsiteX213" fmla="*/ 1333 w 10000"/>
                    <a:gd name="connsiteY213" fmla="*/ 9366 h 10000"/>
                    <a:gd name="connsiteX214" fmla="*/ 1333 w 10000"/>
                    <a:gd name="connsiteY214" fmla="*/ 9366 h 10000"/>
                    <a:gd name="connsiteX215" fmla="*/ 1444 w 10000"/>
                    <a:gd name="connsiteY215" fmla="*/ 9425 h 10000"/>
                    <a:gd name="connsiteX216" fmla="*/ 1500 w 10000"/>
                    <a:gd name="connsiteY216" fmla="*/ 9469 h 10000"/>
                    <a:gd name="connsiteX217" fmla="*/ 1500 w 10000"/>
                    <a:gd name="connsiteY217" fmla="*/ 9513 h 10000"/>
                    <a:gd name="connsiteX218" fmla="*/ 1556 w 10000"/>
                    <a:gd name="connsiteY218" fmla="*/ 9528 h 10000"/>
                    <a:gd name="connsiteX219" fmla="*/ 1722 w 10000"/>
                    <a:gd name="connsiteY219" fmla="*/ 9542 h 10000"/>
                    <a:gd name="connsiteX220" fmla="*/ 1944 w 10000"/>
                    <a:gd name="connsiteY220" fmla="*/ 9557 h 10000"/>
                    <a:gd name="connsiteX221" fmla="*/ 2944 w 10000"/>
                    <a:gd name="connsiteY221" fmla="*/ 9572 h 10000"/>
                    <a:gd name="connsiteX222" fmla="*/ 2944 w 10000"/>
                    <a:gd name="connsiteY222" fmla="*/ 9572 h 10000"/>
                    <a:gd name="connsiteX223" fmla="*/ 4167 w 10000"/>
                    <a:gd name="connsiteY223" fmla="*/ 9601 h 10000"/>
                    <a:gd name="connsiteX224" fmla="*/ 4889 w 10000"/>
                    <a:gd name="connsiteY224" fmla="*/ 9646 h 10000"/>
                    <a:gd name="connsiteX225" fmla="*/ 5278 w 10000"/>
                    <a:gd name="connsiteY225" fmla="*/ 9691 h 10000"/>
                    <a:gd name="connsiteX226" fmla="*/ 5444 w 10000"/>
                    <a:gd name="connsiteY226" fmla="*/ 9705 h 10000"/>
                    <a:gd name="connsiteX227" fmla="*/ 5444 w 10000"/>
                    <a:gd name="connsiteY227" fmla="*/ 9705 h 10000"/>
                    <a:gd name="connsiteX228" fmla="*/ 5722 w 10000"/>
                    <a:gd name="connsiteY228" fmla="*/ 9735 h 10000"/>
                    <a:gd name="connsiteX229" fmla="*/ 5833 w 10000"/>
                    <a:gd name="connsiteY229" fmla="*/ 9750 h 10000"/>
                    <a:gd name="connsiteX230" fmla="*/ 5833 w 10000"/>
                    <a:gd name="connsiteY230" fmla="*/ 9750 h 10000"/>
                    <a:gd name="connsiteX231" fmla="*/ 5833 w 10000"/>
                    <a:gd name="connsiteY231" fmla="*/ 9735 h 10000"/>
                    <a:gd name="connsiteX232" fmla="*/ 5889 w 10000"/>
                    <a:gd name="connsiteY232" fmla="*/ 9720 h 10000"/>
                    <a:gd name="connsiteX233" fmla="*/ 6000 w 10000"/>
                    <a:gd name="connsiteY233" fmla="*/ 9705 h 10000"/>
                    <a:gd name="connsiteX234" fmla="*/ 6167 w 10000"/>
                    <a:gd name="connsiteY234" fmla="*/ 9691 h 10000"/>
                    <a:gd name="connsiteX235" fmla="*/ 6444 w 10000"/>
                    <a:gd name="connsiteY235" fmla="*/ 9691 h 10000"/>
                    <a:gd name="connsiteX236" fmla="*/ 6833 w 10000"/>
                    <a:gd name="connsiteY236" fmla="*/ 9705 h 10000"/>
                    <a:gd name="connsiteX237" fmla="*/ 7278 w 10000"/>
                    <a:gd name="connsiteY237" fmla="*/ 9750 h 10000"/>
                    <a:gd name="connsiteX238" fmla="*/ 7278 w 10000"/>
                    <a:gd name="connsiteY238" fmla="*/ 9750 h 10000"/>
                    <a:gd name="connsiteX239" fmla="*/ 8722 w 10000"/>
                    <a:gd name="connsiteY239" fmla="*/ 9882 h 10000"/>
                    <a:gd name="connsiteX240" fmla="*/ 10000 w 10000"/>
                    <a:gd name="connsiteY240" fmla="*/ 10000 h 10000"/>
                    <a:gd name="connsiteX0" fmla="*/ 10000 w 10000"/>
                    <a:gd name="connsiteY0" fmla="*/ 8983 h 9986"/>
                    <a:gd name="connsiteX1" fmla="*/ 10000 w 10000"/>
                    <a:gd name="connsiteY1" fmla="*/ 8983 h 9986"/>
                    <a:gd name="connsiteX2" fmla="*/ 9222 w 10000"/>
                    <a:gd name="connsiteY2" fmla="*/ 8998 h 9986"/>
                    <a:gd name="connsiteX3" fmla="*/ 8944 w 10000"/>
                    <a:gd name="connsiteY3" fmla="*/ 8998 h 9986"/>
                    <a:gd name="connsiteX4" fmla="*/ 8833 w 10000"/>
                    <a:gd name="connsiteY4" fmla="*/ 8983 h 9986"/>
                    <a:gd name="connsiteX5" fmla="*/ 8778 w 10000"/>
                    <a:gd name="connsiteY5" fmla="*/ 8968 h 9986"/>
                    <a:gd name="connsiteX6" fmla="*/ 8778 w 10000"/>
                    <a:gd name="connsiteY6" fmla="*/ 8968 h 9986"/>
                    <a:gd name="connsiteX7" fmla="*/ 8444 w 10000"/>
                    <a:gd name="connsiteY7" fmla="*/ 8791 h 9986"/>
                    <a:gd name="connsiteX8" fmla="*/ 8167 w 10000"/>
                    <a:gd name="connsiteY8" fmla="*/ 8629 h 9986"/>
                    <a:gd name="connsiteX9" fmla="*/ 8167 w 10000"/>
                    <a:gd name="connsiteY9" fmla="*/ 8629 h 9986"/>
                    <a:gd name="connsiteX10" fmla="*/ 8056 w 10000"/>
                    <a:gd name="connsiteY10" fmla="*/ 8600 h 9986"/>
                    <a:gd name="connsiteX11" fmla="*/ 7889 w 10000"/>
                    <a:gd name="connsiteY11" fmla="*/ 8570 h 9986"/>
                    <a:gd name="connsiteX12" fmla="*/ 7444 w 10000"/>
                    <a:gd name="connsiteY12" fmla="*/ 8555 h 9986"/>
                    <a:gd name="connsiteX13" fmla="*/ 6889 w 10000"/>
                    <a:gd name="connsiteY13" fmla="*/ 8541 h 9986"/>
                    <a:gd name="connsiteX14" fmla="*/ 6389 w 10000"/>
                    <a:gd name="connsiteY14" fmla="*/ 8541 h 9986"/>
                    <a:gd name="connsiteX15" fmla="*/ 6389 w 10000"/>
                    <a:gd name="connsiteY15" fmla="*/ 8541 h 9986"/>
                    <a:gd name="connsiteX16" fmla="*/ 6167 w 10000"/>
                    <a:gd name="connsiteY16" fmla="*/ 8526 h 9986"/>
                    <a:gd name="connsiteX17" fmla="*/ 6056 w 10000"/>
                    <a:gd name="connsiteY17" fmla="*/ 8497 h 9986"/>
                    <a:gd name="connsiteX18" fmla="*/ 6000 w 10000"/>
                    <a:gd name="connsiteY18" fmla="*/ 8467 h 9986"/>
                    <a:gd name="connsiteX19" fmla="*/ 6000 w 10000"/>
                    <a:gd name="connsiteY19" fmla="*/ 8408 h 9986"/>
                    <a:gd name="connsiteX20" fmla="*/ 6056 w 10000"/>
                    <a:gd name="connsiteY20" fmla="*/ 8289 h 9986"/>
                    <a:gd name="connsiteX21" fmla="*/ 6111 w 10000"/>
                    <a:gd name="connsiteY21" fmla="*/ 8230 h 9986"/>
                    <a:gd name="connsiteX22" fmla="*/ 6056 w 10000"/>
                    <a:gd name="connsiteY22" fmla="*/ 8157 h 9986"/>
                    <a:gd name="connsiteX23" fmla="*/ 6056 w 10000"/>
                    <a:gd name="connsiteY23" fmla="*/ 8157 h 9986"/>
                    <a:gd name="connsiteX24" fmla="*/ 6000 w 10000"/>
                    <a:gd name="connsiteY24" fmla="*/ 8113 h 9986"/>
                    <a:gd name="connsiteX25" fmla="*/ 5944 w 10000"/>
                    <a:gd name="connsiteY25" fmla="*/ 8083 h 9986"/>
                    <a:gd name="connsiteX26" fmla="*/ 5833 w 10000"/>
                    <a:gd name="connsiteY26" fmla="*/ 8083 h 9986"/>
                    <a:gd name="connsiteX27" fmla="*/ 5667 w 10000"/>
                    <a:gd name="connsiteY27" fmla="*/ 8098 h 9986"/>
                    <a:gd name="connsiteX28" fmla="*/ 5333 w 10000"/>
                    <a:gd name="connsiteY28" fmla="*/ 8142 h 9986"/>
                    <a:gd name="connsiteX29" fmla="*/ 4889 w 10000"/>
                    <a:gd name="connsiteY29" fmla="*/ 8216 h 9986"/>
                    <a:gd name="connsiteX30" fmla="*/ 4889 w 10000"/>
                    <a:gd name="connsiteY30" fmla="*/ 8216 h 9986"/>
                    <a:gd name="connsiteX31" fmla="*/ 4611 w 10000"/>
                    <a:gd name="connsiteY31" fmla="*/ 8230 h 9986"/>
                    <a:gd name="connsiteX32" fmla="*/ 4500 w 10000"/>
                    <a:gd name="connsiteY32" fmla="*/ 8230 h 9986"/>
                    <a:gd name="connsiteX33" fmla="*/ 4444 w 10000"/>
                    <a:gd name="connsiteY33" fmla="*/ 8216 h 9986"/>
                    <a:gd name="connsiteX34" fmla="*/ 4389 w 10000"/>
                    <a:gd name="connsiteY34" fmla="*/ 8157 h 9986"/>
                    <a:gd name="connsiteX35" fmla="*/ 4222 w 10000"/>
                    <a:gd name="connsiteY35" fmla="*/ 8083 h 9986"/>
                    <a:gd name="connsiteX36" fmla="*/ 4222 w 10000"/>
                    <a:gd name="connsiteY36" fmla="*/ 8083 h 9986"/>
                    <a:gd name="connsiteX37" fmla="*/ 4111 w 10000"/>
                    <a:gd name="connsiteY37" fmla="*/ 8039 h 9986"/>
                    <a:gd name="connsiteX38" fmla="*/ 4111 w 10000"/>
                    <a:gd name="connsiteY38" fmla="*/ 7995 h 9986"/>
                    <a:gd name="connsiteX39" fmla="*/ 4111 w 10000"/>
                    <a:gd name="connsiteY39" fmla="*/ 7965 h 9986"/>
                    <a:gd name="connsiteX40" fmla="*/ 4167 w 10000"/>
                    <a:gd name="connsiteY40" fmla="*/ 7936 h 9986"/>
                    <a:gd name="connsiteX41" fmla="*/ 4278 w 10000"/>
                    <a:gd name="connsiteY41" fmla="*/ 7877 h 9986"/>
                    <a:gd name="connsiteX42" fmla="*/ 4389 w 10000"/>
                    <a:gd name="connsiteY42" fmla="*/ 7862 h 9986"/>
                    <a:gd name="connsiteX43" fmla="*/ 4389 w 10000"/>
                    <a:gd name="connsiteY43" fmla="*/ 7862 h 9986"/>
                    <a:gd name="connsiteX44" fmla="*/ 4389 w 10000"/>
                    <a:gd name="connsiteY44" fmla="*/ 7848 h 9986"/>
                    <a:gd name="connsiteX45" fmla="*/ 4444 w 10000"/>
                    <a:gd name="connsiteY45" fmla="*/ 7833 h 9986"/>
                    <a:gd name="connsiteX46" fmla="*/ 4667 w 10000"/>
                    <a:gd name="connsiteY46" fmla="*/ 7818 h 9986"/>
                    <a:gd name="connsiteX47" fmla="*/ 5333 w 10000"/>
                    <a:gd name="connsiteY47" fmla="*/ 7789 h 9986"/>
                    <a:gd name="connsiteX48" fmla="*/ 6500 w 10000"/>
                    <a:gd name="connsiteY48" fmla="*/ 7744 h 9986"/>
                    <a:gd name="connsiteX49" fmla="*/ 6500 w 10000"/>
                    <a:gd name="connsiteY49" fmla="*/ 7744 h 9986"/>
                    <a:gd name="connsiteX50" fmla="*/ 7167 w 10000"/>
                    <a:gd name="connsiteY50" fmla="*/ 7700 h 9986"/>
                    <a:gd name="connsiteX51" fmla="*/ 8389 w 10000"/>
                    <a:gd name="connsiteY51" fmla="*/ 7611 h 9986"/>
                    <a:gd name="connsiteX52" fmla="*/ 8389 w 10000"/>
                    <a:gd name="connsiteY52" fmla="*/ 7611 h 9986"/>
                    <a:gd name="connsiteX53" fmla="*/ 8667 w 10000"/>
                    <a:gd name="connsiteY53" fmla="*/ 7581 h 9986"/>
                    <a:gd name="connsiteX54" fmla="*/ 8778 w 10000"/>
                    <a:gd name="connsiteY54" fmla="*/ 7537 h 9986"/>
                    <a:gd name="connsiteX55" fmla="*/ 8889 w 10000"/>
                    <a:gd name="connsiteY55" fmla="*/ 7508 h 9986"/>
                    <a:gd name="connsiteX56" fmla="*/ 8833 w 10000"/>
                    <a:gd name="connsiteY56" fmla="*/ 7478 h 9986"/>
                    <a:gd name="connsiteX57" fmla="*/ 8833 w 10000"/>
                    <a:gd name="connsiteY57" fmla="*/ 7449 h 9986"/>
                    <a:gd name="connsiteX58" fmla="*/ 8722 w 10000"/>
                    <a:gd name="connsiteY58" fmla="*/ 7419 h 9986"/>
                    <a:gd name="connsiteX59" fmla="*/ 8556 w 10000"/>
                    <a:gd name="connsiteY59" fmla="*/ 7375 h 9986"/>
                    <a:gd name="connsiteX60" fmla="*/ 8556 w 10000"/>
                    <a:gd name="connsiteY60" fmla="*/ 7375 h 9986"/>
                    <a:gd name="connsiteX61" fmla="*/ 6556 w 10000"/>
                    <a:gd name="connsiteY61" fmla="*/ 7110 h 9986"/>
                    <a:gd name="connsiteX62" fmla="*/ 6556 w 10000"/>
                    <a:gd name="connsiteY62" fmla="*/ 7110 h 9986"/>
                    <a:gd name="connsiteX63" fmla="*/ 6333 w 10000"/>
                    <a:gd name="connsiteY63" fmla="*/ 7066 h 9986"/>
                    <a:gd name="connsiteX64" fmla="*/ 6167 w 10000"/>
                    <a:gd name="connsiteY64" fmla="*/ 7022 h 9986"/>
                    <a:gd name="connsiteX65" fmla="*/ 6056 w 10000"/>
                    <a:gd name="connsiteY65" fmla="*/ 6977 h 9986"/>
                    <a:gd name="connsiteX66" fmla="*/ 6056 w 10000"/>
                    <a:gd name="connsiteY66" fmla="*/ 6977 h 9986"/>
                    <a:gd name="connsiteX67" fmla="*/ 8056 w 10000"/>
                    <a:gd name="connsiteY67" fmla="*/ 6962 h 9986"/>
                    <a:gd name="connsiteX68" fmla="*/ 10000 w 10000"/>
                    <a:gd name="connsiteY68" fmla="*/ 7110 h 9986"/>
                    <a:gd name="connsiteX69" fmla="*/ 10000 w 10000"/>
                    <a:gd name="connsiteY69" fmla="*/ 5768 h 9986"/>
                    <a:gd name="connsiteX70" fmla="*/ 10000 w 10000"/>
                    <a:gd name="connsiteY70" fmla="*/ 5768 h 9986"/>
                    <a:gd name="connsiteX71" fmla="*/ 7778 w 10000"/>
                    <a:gd name="connsiteY71" fmla="*/ 5458 h 9986"/>
                    <a:gd name="connsiteX72" fmla="*/ 6556 w 10000"/>
                    <a:gd name="connsiteY72" fmla="*/ 5281 h 9986"/>
                    <a:gd name="connsiteX73" fmla="*/ 6556 w 10000"/>
                    <a:gd name="connsiteY73" fmla="*/ 5281 h 9986"/>
                    <a:gd name="connsiteX74" fmla="*/ 6556 w 10000"/>
                    <a:gd name="connsiteY74" fmla="*/ 5266 h 9986"/>
                    <a:gd name="connsiteX75" fmla="*/ 6556 w 10000"/>
                    <a:gd name="connsiteY75" fmla="*/ 5178 h 9986"/>
                    <a:gd name="connsiteX76" fmla="*/ 6556 w 10000"/>
                    <a:gd name="connsiteY76" fmla="*/ 5178 h 9986"/>
                    <a:gd name="connsiteX77" fmla="*/ 6389 w 10000"/>
                    <a:gd name="connsiteY77" fmla="*/ 5075 h 9986"/>
                    <a:gd name="connsiteX78" fmla="*/ 6056 w 10000"/>
                    <a:gd name="connsiteY78" fmla="*/ 4912 h 9986"/>
                    <a:gd name="connsiteX79" fmla="*/ 5333 w 10000"/>
                    <a:gd name="connsiteY79" fmla="*/ 4602 h 9986"/>
                    <a:gd name="connsiteX80" fmla="*/ 5333 w 10000"/>
                    <a:gd name="connsiteY80" fmla="*/ 4602 h 9986"/>
                    <a:gd name="connsiteX81" fmla="*/ 5167 w 10000"/>
                    <a:gd name="connsiteY81" fmla="*/ 4558 h 9986"/>
                    <a:gd name="connsiteX82" fmla="*/ 4889 w 10000"/>
                    <a:gd name="connsiteY82" fmla="*/ 4499 h 9986"/>
                    <a:gd name="connsiteX83" fmla="*/ 4056 w 10000"/>
                    <a:gd name="connsiteY83" fmla="*/ 4367 h 9986"/>
                    <a:gd name="connsiteX84" fmla="*/ 2889 w 10000"/>
                    <a:gd name="connsiteY84" fmla="*/ 4204 h 9986"/>
                    <a:gd name="connsiteX85" fmla="*/ 2889 w 10000"/>
                    <a:gd name="connsiteY85" fmla="*/ 4204 h 9986"/>
                    <a:gd name="connsiteX86" fmla="*/ 2389 w 10000"/>
                    <a:gd name="connsiteY86" fmla="*/ 4189 h 9986"/>
                    <a:gd name="connsiteX87" fmla="*/ 2000 w 10000"/>
                    <a:gd name="connsiteY87" fmla="*/ 4174 h 9986"/>
                    <a:gd name="connsiteX88" fmla="*/ 1889 w 10000"/>
                    <a:gd name="connsiteY88" fmla="*/ 4160 h 9986"/>
                    <a:gd name="connsiteX89" fmla="*/ 1778 w 10000"/>
                    <a:gd name="connsiteY89" fmla="*/ 4145 h 9986"/>
                    <a:gd name="connsiteX90" fmla="*/ 1778 w 10000"/>
                    <a:gd name="connsiteY90" fmla="*/ 4145 h 9986"/>
                    <a:gd name="connsiteX91" fmla="*/ 1667 w 10000"/>
                    <a:gd name="connsiteY91" fmla="*/ 4086 h 9986"/>
                    <a:gd name="connsiteX92" fmla="*/ 1500 w 10000"/>
                    <a:gd name="connsiteY92" fmla="*/ 3983 h 9986"/>
                    <a:gd name="connsiteX93" fmla="*/ 1444 w 10000"/>
                    <a:gd name="connsiteY93" fmla="*/ 3924 h 9986"/>
                    <a:gd name="connsiteX94" fmla="*/ 1444 w 10000"/>
                    <a:gd name="connsiteY94" fmla="*/ 3865 h 9986"/>
                    <a:gd name="connsiteX95" fmla="*/ 1444 w 10000"/>
                    <a:gd name="connsiteY95" fmla="*/ 3821 h 9986"/>
                    <a:gd name="connsiteX96" fmla="*/ 1556 w 10000"/>
                    <a:gd name="connsiteY96" fmla="*/ 3777 h 9986"/>
                    <a:gd name="connsiteX97" fmla="*/ 1556 w 10000"/>
                    <a:gd name="connsiteY97" fmla="*/ 3777 h 9986"/>
                    <a:gd name="connsiteX98" fmla="*/ 1833 w 10000"/>
                    <a:gd name="connsiteY98" fmla="*/ 3703 h 9986"/>
                    <a:gd name="connsiteX99" fmla="*/ 2111 w 10000"/>
                    <a:gd name="connsiteY99" fmla="*/ 3628 h 9986"/>
                    <a:gd name="connsiteX100" fmla="*/ 2278 w 10000"/>
                    <a:gd name="connsiteY100" fmla="*/ 3584 h 9986"/>
                    <a:gd name="connsiteX101" fmla="*/ 2389 w 10000"/>
                    <a:gd name="connsiteY101" fmla="*/ 3540 h 9986"/>
                    <a:gd name="connsiteX102" fmla="*/ 2389 w 10000"/>
                    <a:gd name="connsiteY102" fmla="*/ 3481 h 9986"/>
                    <a:gd name="connsiteX103" fmla="*/ 2389 w 10000"/>
                    <a:gd name="connsiteY103" fmla="*/ 3408 h 9986"/>
                    <a:gd name="connsiteX104" fmla="*/ 2389 w 10000"/>
                    <a:gd name="connsiteY104" fmla="*/ 3408 h 9986"/>
                    <a:gd name="connsiteX105" fmla="*/ 2167 w 10000"/>
                    <a:gd name="connsiteY105" fmla="*/ 3201 h 9986"/>
                    <a:gd name="connsiteX106" fmla="*/ 1889 w 10000"/>
                    <a:gd name="connsiteY106" fmla="*/ 2921 h 9986"/>
                    <a:gd name="connsiteX107" fmla="*/ 1667 w 10000"/>
                    <a:gd name="connsiteY107" fmla="*/ 2670 h 9986"/>
                    <a:gd name="connsiteX108" fmla="*/ 1611 w 10000"/>
                    <a:gd name="connsiteY108" fmla="*/ 2597 h 9986"/>
                    <a:gd name="connsiteX109" fmla="*/ 1611 w 10000"/>
                    <a:gd name="connsiteY109" fmla="*/ 2567 h 9986"/>
                    <a:gd name="connsiteX110" fmla="*/ 1667 w 10000"/>
                    <a:gd name="connsiteY110" fmla="*/ 2552 h 9986"/>
                    <a:gd name="connsiteX111" fmla="*/ 1667 w 10000"/>
                    <a:gd name="connsiteY111" fmla="*/ 2552 h 9986"/>
                    <a:gd name="connsiteX112" fmla="*/ 2000 w 10000"/>
                    <a:gd name="connsiteY112" fmla="*/ 2538 h 9986"/>
                    <a:gd name="connsiteX113" fmla="*/ 2222 w 10000"/>
                    <a:gd name="connsiteY113" fmla="*/ 2538 h 9986"/>
                    <a:gd name="connsiteX114" fmla="*/ 2389 w 10000"/>
                    <a:gd name="connsiteY114" fmla="*/ 2552 h 9986"/>
                    <a:gd name="connsiteX115" fmla="*/ 2389 w 10000"/>
                    <a:gd name="connsiteY115" fmla="*/ 2552 h 9986"/>
                    <a:gd name="connsiteX116" fmla="*/ 2444 w 10000"/>
                    <a:gd name="connsiteY116" fmla="*/ 2552 h 9986"/>
                    <a:gd name="connsiteX117" fmla="*/ 2500 w 10000"/>
                    <a:gd name="connsiteY117" fmla="*/ 2523 h 9986"/>
                    <a:gd name="connsiteX118" fmla="*/ 2778 w 10000"/>
                    <a:gd name="connsiteY118" fmla="*/ 2434 h 9986"/>
                    <a:gd name="connsiteX119" fmla="*/ 3500 w 10000"/>
                    <a:gd name="connsiteY119" fmla="*/ 2139 h 9986"/>
                    <a:gd name="connsiteX120" fmla="*/ 4444 w 10000"/>
                    <a:gd name="connsiteY120" fmla="*/ 1712 h 9986"/>
                    <a:gd name="connsiteX121" fmla="*/ 4444 w 10000"/>
                    <a:gd name="connsiteY121" fmla="*/ 1712 h 9986"/>
                    <a:gd name="connsiteX122" fmla="*/ 4444 w 10000"/>
                    <a:gd name="connsiteY122" fmla="*/ 1652 h 9986"/>
                    <a:gd name="connsiteX123" fmla="*/ 4444 w 10000"/>
                    <a:gd name="connsiteY123" fmla="*/ 1519 h 9986"/>
                    <a:gd name="connsiteX124" fmla="*/ 4500 w 10000"/>
                    <a:gd name="connsiteY124" fmla="*/ 1431 h 9986"/>
                    <a:gd name="connsiteX125" fmla="*/ 4611 w 10000"/>
                    <a:gd name="connsiteY125" fmla="*/ 1357 h 9986"/>
                    <a:gd name="connsiteX126" fmla="*/ 4778 w 10000"/>
                    <a:gd name="connsiteY126" fmla="*/ 1269 h 9986"/>
                    <a:gd name="connsiteX127" fmla="*/ 5000 w 10000"/>
                    <a:gd name="connsiteY127" fmla="*/ 1195 h 9986"/>
                    <a:gd name="connsiteX128" fmla="*/ 5000 w 10000"/>
                    <a:gd name="connsiteY128" fmla="*/ 1195 h 9986"/>
                    <a:gd name="connsiteX129" fmla="*/ 5556 w 10000"/>
                    <a:gd name="connsiteY129" fmla="*/ 1048 h 9986"/>
                    <a:gd name="connsiteX130" fmla="*/ 6111 w 10000"/>
                    <a:gd name="connsiteY130" fmla="*/ 856 h 9986"/>
                    <a:gd name="connsiteX131" fmla="*/ 6667 w 10000"/>
                    <a:gd name="connsiteY131" fmla="*/ 679 h 9986"/>
                    <a:gd name="connsiteX132" fmla="*/ 7056 w 10000"/>
                    <a:gd name="connsiteY132" fmla="*/ 517 h 9986"/>
                    <a:gd name="connsiteX133" fmla="*/ 7056 w 10000"/>
                    <a:gd name="connsiteY133" fmla="*/ 517 h 9986"/>
                    <a:gd name="connsiteX134" fmla="*/ 7333 w 10000"/>
                    <a:gd name="connsiteY134" fmla="*/ 370 h 9986"/>
                    <a:gd name="connsiteX135" fmla="*/ 7667 w 10000"/>
                    <a:gd name="connsiteY135" fmla="*/ 192 h 9986"/>
                    <a:gd name="connsiteX136" fmla="*/ 8000 w 10000"/>
                    <a:gd name="connsiteY136" fmla="*/ 59 h 9986"/>
                    <a:gd name="connsiteX137" fmla="*/ 8167 w 10000"/>
                    <a:gd name="connsiteY137" fmla="*/ 0 h 9986"/>
                    <a:gd name="connsiteX138" fmla="*/ 10000 w 10000"/>
                    <a:gd name="connsiteY138" fmla="*/ 8998 h 9986"/>
                    <a:gd name="connsiteX139" fmla="*/ 10000 w 10000"/>
                    <a:gd name="connsiteY139" fmla="*/ 8998 h 9986"/>
                    <a:gd name="connsiteX140" fmla="*/ 9722 w 10000"/>
                    <a:gd name="connsiteY140" fmla="*/ 8983 h 9986"/>
                    <a:gd name="connsiteX141" fmla="*/ 9389 w 10000"/>
                    <a:gd name="connsiteY141" fmla="*/ 8998 h 9986"/>
                    <a:gd name="connsiteX142" fmla="*/ 9389 w 10000"/>
                    <a:gd name="connsiteY142" fmla="*/ 8998 h 9986"/>
                    <a:gd name="connsiteX143" fmla="*/ 9278 w 10000"/>
                    <a:gd name="connsiteY143" fmla="*/ 9013 h 9986"/>
                    <a:gd name="connsiteX144" fmla="*/ 9056 w 10000"/>
                    <a:gd name="connsiteY144" fmla="*/ 8998 h 9986"/>
                    <a:gd name="connsiteX145" fmla="*/ 8889 w 10000"/>
                    <a:gd name="connsiteY145" fmla="*/ 8983 h 9986"/>
                    <a:gd name="connsiteX146" fmla="*/ 8722 w 10000"/>
                    <a:gd name="connsiteY146" fmla="*/ 8953 h 9986"/>
                    <a:gd name="connsiteX147" fmla="*/ 8611 w 10000"/>
                    <a:gd name="connsiteY147" fmla="*/ 8909 h 9986"/>
                    <a:gd name="connsiteX148" fmla="*/ 8444 w 10000"/>
                    <a:gd name="connsiteY148" fmla="*/ 8835 h 9986"/>
                    <a:gd name="connsiteX149" fmla="*/ 8444 w 10000"/>
                    <a:gd name="connsiteY149" fmla="*/ 8835 h 9986"/>
                    <a:gd name="connsiteX150" fmla="*/ 8222 w 10000"/>
                    <a:gd name="connsiteY150" fmla="*/ 8703 h 9986"/>
                    <a:gd name="connsiteX151" fmla="*/ 8111 w 10000"/>
                    <a:gd name="connsiteY151" fmla="*/ 8644 h 9986"/>
                    <a:gd name="connsiteX152" fmla="*/ 7944 w 10000"/>
                    <a:gd name="connsiteY152" fmla="*/ 8600 h 9986"/>
                    <a:gd name="connsiteX153" fmla="*/ 7778 w 10000"/>
                    <a:gd name="connsiteY153" fmla="*/ 8570 h 9986"/>
                    <a:gd name="connsiteX154" fmla="*/ 7556 w 10000"/>
                    <a:gd name="connsiteY154" fmla="*/ 8555 h 9986"/>
                    <a:gd name="connsiteX155" fmla="*/ 7333 w 10000"/>
                    <a:gd name="connsiteY155" fmla="*/ 8541 h 9986"/>
                    <a:gd name="connsiteX156" fmla="*/ 7000 w 10000"/>
                    <a:gd name="connsiteY156" fmla="*/ 8526 h 9986"/>
                    <a:gd name="connsiteX157" fmla="*/ 7000 w 10000"/>
                    <a:gd name="connsiteY157" fmla="*/ 8526 h 9986"/>
                    <a:gd name="connsiteX158" fmla="*/ 6556 w 10000"/>
                    <a:gd name="connsiteY158" fmla="*/ 8541 h 9986"/>
                    <a:gd name="connsiteX159" fmla="*/ 6222 w 10000"/>
                    <a:gd name="connsiteY159" fmla="*/ 8541 h 9986"/>
                    <a:gd name="connsiteX160" fmla="*/ 6111 w 10000"/>
                    <a:gd name="connsiteY160" fmla="*/ 8526 h 9986"/>
                    <a:gd name="connsiteX161" fmla="*/ 6056 w 10000"/>
                    <a:gd name="connsiteY161" fmla="*/ 8511 h 9986"/>
                    <a:gd name="connsiteX162" fmla="*/ 6056 w 10000"/>
                    <a:gd name="connsiteY162" fmla="*/ 8511 h 9986"/>
                    <a:gd name="connsiteX163" fmla="*/ 6056 w 10000"/>
                    <a:gd name="connsiteY163" fmla="*/ 8245 h 9986"/>
                    <a:gd name="connsiteX164" fmla="*/ 6056 w 10000"/>
                    <a:gd name="connsiteY164" fmla="*/ 8245 h 9986"/>
                    <a:gd name="connsiteX165" fmla="*/ 6056 w 10000"/>
                    <a:gd name="connsiteY165" fmla="*/ 8186 h 9986"/>
                    <a:gd name="connsiteX166" fmla="*/ 5944 w 10000"/>
                    <a:gd name="connsiteY166" fmla="*/ 8113 h 9986"/>
                    <a:gd name="connsiteX167" fmla="*/ 5889 w 10000"/>
                    <a:gd name="connsiteY167" fmla="*/ 8098 h 9986"/>
                    <a:gd name="connsiteX168" fmla="*/ 5778 w 10000"/>
                    <a:gd name="connsiteY168" fmla="*/ 8083 h 9986"/>
                    <a:gd name="connsiteX169" fmla="*/ 5667 w 10000"/>
                    <a:gd name="connsiteY169" fmla="*/ 8083 h 9986"/>
                    <a:gd name="connsiteX170" fmla="*/ 5500 w 10000"/>
                    <a:gd name="connsiteY170" fmla="*/ 8098 h 9986"/>
                    <a:gd name="connsiteX171" fmla="*/ 5500 w 10000"/>
                    <a:gd name="connsiteY171" fmla="*/ 8098 h 9986"/>
                    <a:gd name="connsiteX172" fmla="*/ 4889 w 10000"/>
                    <a:gd name="connsiteY172" fmla="*/ 8201 h 9986"/>
                    <a:gd name="connsiteX173" fmla="*/ 4611 w 10000"/>
                    <a:gd name="connsiteY173" fmla="*/ 8230 h 9986"/>
                    <a:gd name="connsiteX174" fmla="*/ 4556 w 10000"/>
                    <a:gd name="connsiteY174" fmla="*/ 8245 h 9986"/>
                    <a:gd name="connsiteX175" fmla="*/ 4500 w 10000"/>
                    <a:gd name="connsiteY175" fmla="*/ 8230 h 9986"/>
                    <a:gd name="connsiteX176" fmla="*/ 4500 w 10000"/>
                    <a:gd name="connsiteY176" fmla="*/ 8230 h 9986"/>
                    <a:gd name="connsiteX177" fmla="*/ 4222 w 10000"/>
                    <a:gd name="connsiteY177" fmla="*/ 8083 h 9986"/>
                    <a:gd name="connsiteX178" fmla="*/ 4222 w 10000"/>
                    <a:gd name="connsiteY178" fmla="*/ 8083 h 9986"/>
                    <a:gd name="connsiteX179" fmla="*/ 4111 w 10000"/>
                    <a:gd name="connsiteY179" fmla="*/ 8010 h 9986"/>
                    <a:gd name="connsiteX180" fmla="*/ 4111 w 10000"/>
                    <a:gd name="connsiteY180" fmla="*/ 7965 h 9986"/>
                    <a:gd name="connsiteX181" fmla="*/ 4111 w 10000"/>
                    <a:gd name="connsiteY181" fmla="*/ 7921 h 9986"/>
                    <a:gd name="connsiteX182" fmla="*/ 4111 w 10000"/>
                    <a:gd name="connsiteY182" fmla="*/ 7921 h 9986"/>
                    <a:gd name="connsiteX183" fmla="*/ 4278 w 10000"/>
                    <a:gd name="connsiteY183" fmla="*/ 7877 h 9986"/>
                    <a:gd name="connsiteX184" fmla="*/ 4389 w 10000"/>
                    <a:gd name="connsiteY184" fmla="*/ 7862 h 9986"/>
                    <a:gd name="connsiteX185" fmla="*/ 4389 w 10000"/>
                    <a:gd name="connsiteY185" fmla="*/ 7862 h 9986"/>
                    <a:gd name="connsiteX186" fmla="*/ 4000 w 10000"/>
                    <a:gd name="connsiteY186" fmla="*/ 7862 h 9986"/>
                    <a:gd name="connsiteX187" fmla="*/ 3722 w 10000"/>
                    <a:gd name="connsiteY187" fmla="*/ 7877 h 9986"/>
                    <a:gd name="connsiteX188" fmla="*/ 3611 w 10000"/>
                    <a:gd name="connsiteY188" fmla="*/ 7892 h 9986"/>
                    <a:gd name="connsiteX189" fmla="*/ 3556 w 10000"/>
                    <a:gd name="connsiteY189" fmla="*/ 7906 h 9986"/>
                    <a:gd name="connsiteX190" fmla="*/ 3556 w 10000"/>
                    <a:gd name="connsiteY190" fmla="*/ 7906 h 9986"/>
                    <a:gd name="connsiteX191" fmla="*/ 3444 w 10000"/>
                    <a:gd name="connsiteY191" fmla="*/ 7965 h 9986"/>
                    <a:gd name="connsiteX192" fmla="*/ 3278 w 10000"/>
                    <a:gd name="connsiteY192" fmla="*/ 8054 h 9986"/>
                    <a:gd name="connsiteX193" fmla="*/ 3000 w 10000"/>
                    <a:gd name="connsiteY193" fmla="*/ 8157 h 9986"/>
                    <a:gd name="connsiteX194" fmla="*/ 2667 w 10000"/>
                    <a:gd name="connsiteY194" fmla="*/ 8230 h 9986"/>
                    <a:gd name="connsiteX195" fmla="*/ 2667 w 10000"/>
                    <a:gd name="connsiteY195" fmla="*/ 8230 h 9986"/>
                    <a:gd name="connsiteX196" fmla="*/ 2333 w 10000"/>
                    <a:gd name="connsiteY196" fmla="*/ 8289 h 9986"/>
                    <a:gd name="connsiteX197" fmla="*/ 1833 w 10000"/>
                    <a:gd name="connsiteY197" fmla="*/ 8349 h 9986"/>
                    <a:gd name="connsiteX198" fmla="*/ 1389 w 10000"/>
                    <a:gd name="connsiteY198" fmla="*/ 8379 h 9986"/>
                    <a:gd name="connsiteX199" fmla="*/ 889 w 10000"/>
                    <a:gd name="connsiteY199" fmla="*/ 8393 h 9986"/>
                    <a:gd name="connsiteX200" fmla="*/ 889 w 10000"/>
                    <a:gd name="connsiteY200" fmla="*/ 8393 h 9986"/>
                    <a:gd name="connsiteX201" fmla="*/ 500 w 10000"/>
                    <a:gd name="connsiteY201" fmla="*/ 8408 h 9986"/>
                    <a:gd name="connsiteX202" fmla="*/ 222 w 10000"/>
                    <a:gd name="connsiteY202" fmla="*/ 8423 h 9986"/>
                    <a:gd name="connsiteX203" fmla="*/ 0 w 10000"/>
                    <a:gd name="connsiteY203" fmla="*/ 8438 h 9986"/>
                    <a:gd name="connsiteX204" fmla="*/ 0 w 10000"/>
                    <a:gd name="connsiteY204" fmla="*/ 8438 h 9986"/>
                    <a:gd name="connsiteX205" fmla="*/ 278 w 10000"/>
                    <a:gd name="connsiteY205" fmla="*/ 8673 h 9986"/>
                    <a:gd name="connsiteX206" fmla="*/ 500 w 10000"/>
                    <a:gd name="connsiteY206" fmla="*/ 8850 h 9986"/>
                    <a:gd name="connsiteX207" fmla="*/ 722 w 10000"/>
                    <a:gd name="connsiteY207" fmla="*/ 8998 h 9986"/>
                    <a:gd name="connsiteX208" fmla="*/ 722 w 10000"/>
                    <a:gd name="connsiteY208" fmla="*/ 8998 h 9986"/>
                    <a:gd name="connsiteX209" fmla="*/ 889 w 10000"/>
                    <a:gd name="connsiteY209" fmla="*/ 9087 h 9986"/>
                    <a:gd name="connsiteX210" fmla="*/ 944 w 10000"/>
                    <a:gd name="connsiteY210" fmla="*/ 9160 h 9986"/>
                    <a:gd name="connsiteX211" fmla="*/ 1111 w 10000"/>
                    <a:gd name="connsiteY211" fmla="*/ 9234 h 9986"/>
                    <a:gd name="connsiteX212" fmla="*/ 1333 w 10000"/>
                    <a:gd name="connsiteY212" fmla="*/ 9352 h 9986"/>
                    <a:gd name="connsiteX213" fmla="*/ 1333 w 10000"/>
                    <a:gd name="connsiteY213" fmla="*/ 9352 h 9986"/>
                    <a:gd name="connsiteX214" fmla="*/ 1444 w 10000"/>
                    <a:gd name="connsiteY214" fmla="*/ 9411 h 9986"/>
                    <a:gd name="connsiteX215" fmla="*/ 1500 w 10000"/>
                    <a:gd name="connsiteY215" fmla="*/ 9455 h 9986"/>
                    <a:gd name="connsiteX216" fmla="*/ 1500 w 10000"/>
                    <a:gd name="connsiteY216" fmla="*/ 9499 h 9986"/>
                    <a:gd name="connsiteX217" fmla="*/ 1556 w 10000"/>
                    <a:gd name="connsiteY217" fmla="*/ 9514 h 9986"/>
                    <a:gd name="connsiteX218" fmla="*/ 1722 w 10000"/>
                    <a:gd name="connsiteY218" fmla="*/ 9528 h 9986"/>
                    <a:gd name="connsiteX219" fmla="*/ 1944 w 10000"/>
                    <a:gd name="connsiteY219" fmla="*/ 9543 h 9986"/>
                    <a:gd name="connsiteX220" fmla="*/ 2944 w 10000"/>
                    <a:gd name="connsiteY220" fmla="*/ 9558 h 9986"/>
                    <a:gd name="connsiteX221" fmla="*/ 2944 w 10000"/>
                    <a:gd name="connsiteY221" fmla="*/ 9558 h 9986"/>
                    <a:gd name="connsiteX222" fmla="*/ 4167 w 10000"/>
                    <a:gd name="connsiteY222" fmla="*/ 9587 h 9986"/>
                    <a:gd name="connsiteX223" fmla="*/ 4889 w 10000"/>
                    <a:gd name="connsiteY223" fmla="*/ 9632 h 9986"/>
                    <a:gd name="connsiteX224" fmla="*/ 5278 w 10000"/>
                    <a:gd name="connsiteY224" fmla="*/ 9677 h 9986"/>
                    <a:gd name="connsiteX225" fmla="*/ 5444 w 10000"/>
                    <a:gd name="connsiteY225" fmla="*/ 9691 h 9986"/>
                    <a:gd name="connsiteX226" fmla="*/ 5444 w 10000"/>
                    <a:gd name="connsiteY226" fmla="*/ 9691 h 9986"/>
                    <a:gd name="connsiteX227" fmla="*/ 5722 w 10000"/>
                    <a:gd name="connsiteY227" fmla="*/ 9721 h 9986"/>
                    <a:gd name="connsiteX228" fmla="*/ 5833 w 10000"/>
                    <a:gd name="connsiteY228" fmla="*/ 9736 h 9986"/>
                    <a:gd name="connsiteX229" fmla="*/ 5833 w 10000"/>
                    <a:gd name="connsiteY229" fmla="*/ 9736 h 9986"/>
                    <a:gd name="connsiteX230" fmla="*/ 5833 w 10000"/>
                    <a:gd name="connsiteY230" fmla="*/ 9721 h 9986"/>
                    <a:gd name="connsiteX231" fmla="*/ 5889 w 10000"/>
                    <a:gd name="connsiteY231" fmla="*/ 9706 h 9986"/>
                    <a:gd name="connsiteX232" fmla="*/ 6000 w 10000"/>
                    <a:gd name="connsiteY232" fmla="*/ 9691 h 9986"/>
                    <a:gd name="connsiteX233" fmla="*/ 6167 w 10000"/>
                    <a:gd name="connsiteY233" fmla="*/ 9677 h 9986"/>
                    <a:gd name="connsiteX234" fmla="*/ 6444 w 10000"/>
                    <a:gd name="connsiteY234" fmla="*/ 9677 h 9986"/>
                    <a:gd name="connsiteX235" fmla="*/ 6833 w 10000"/>
                    <a:gd name="connsiteY235" fmla="*/ 9691 h 9986"/>
                    <a:gd name="connsiteX236" fmla="*/ 7278 w 10000"/>
                    <a:gd name="connsiteY236" fmla="*/ 9736 h 9986"/>
                    <a:gd name="connsiteX237" fmla="*/ 7278 w 10000"/>
                    <a:gd name="connsiteY237" fmla="*/ 9736 h 9986"/>
                    <a:gd name="connsiteX238" fmla="*/ 8722 w 10000"/>
                    <a:gd name="connsiteY238" fmla="*/ 9868 h 9986"/>
                    <a:gd name="connsiteX239" fmla="*/ 10000 w 10000"/>
                    <a:gd name="connsiteY239" fmla="*/ 9986 h 9986"/>
                    <a:gd name="connsiteX0" fmla="*/ 10000 w 10000"/>
                    <a:gd name="connsiteY0" fmla="*/ 8937 h 9941"/>
                    <a:gd name="connsiteX1" fmla="*/ 10000 w 10000"/>
                    <a:gd name="connsiteY1" fmla="*/ 8937 h 9941"/>
                    <a:gd name="connsiteX2" fmla="*/ 9222 w 10000"/>
                    <a:gd name="connsiteY2" fmla="*/ 8952 h 9941"/>
                    <a:gd name="connsiteX3" fmla="*/ 8944 w 10000"/>
                    <a:gd name="connsiteY3" fmla="*/ 8952 h 9941"/>
                    <a:gd name="connsiteX4" fmla="*/ 8833 w 10000"/>
                    <a:gd name="connsiteY4" fmla="*/ 8937 h 9941"/>
                    <a:gd name="connsiteX5" fmla="*/ 8778 w 10000"/>
                    <a:gd name="connsiteY5" fmla="*/ 8922 h 9941"/>
                    <a:gd name="connsiteX6" fmla="*/ 8778 w 10000"/>
                    <a:gd name="connsiteY6" fmla="*/ 8922 h 9941"/>
                    <a:gd name="connsiteX7" fmla="*/ 8444 w 10000"/>
                    <a:gd name="connsiteY7" fmla="*/ 8744 h 9941"/>
                    <a:gd name="connsiteX8" fmla="*/ 8167 w 10000"/>
                    <a:gd name="connsiteY8" fmla="*/ 8582 h 9941"/>
                    <a:gd name="connsiteX9" fmla="*/ 8167 w 10000"/>
                    <a:gd name="connsiteY9" fmla="*/ 8582 h 9941"/>
                    <a:gd name="connsiteX10" fmla="*/ 8056 w 10000"/>
                    <a:gd name="connsiteY10" fmla="*/ 8553 h 9941"/>
                    <a:gd name="connsiteX11" fmla="*/ 7889 w 10000"/>
                    <a:gd name="connsiteY11" fmla="*/ 8523 h 9941"/>
                    <a:gd name="connsiteX12" fmla="*/ 7444 w 10000"/>
                    <a:gd name="connsiteY12" fmla="*/ 8508 h 9941"/>
                    <a:gd name="connsiteX13" fmla="*/ 6889 w 10000"/>
                    <a:gd name="connsiteY13" fmla="*/ 8494 h 9941"/>
                    <a:gd name="connsiteX14" fmla="*/ 6389 w 10000"/>
                    <a:gd name="connsiteY14" fmla="*/ 8494 h 9941"/>
                    <a:gd name="connsiteX15" fmla="*/ 6389 w 10000"/>
                    <a:gd name="connsiteY15" fmla="*/ 8494 h 9941"/>
                    <a:gd name="connsiteX16" fmla="*/ 6167 w 10000"/>
                    <a:gd name="connsiteY16" fmla="*/ 8479 h 9941"/>
                    <a:gd name="connsiteX17" fmla="*/ 6056 w 10000"/>
                    <a:gd name="connsiteY17" fmla="*/ 8450 h 9941"/>
                    <a:gd name="connsiteX18" fmla="*/ 6000 w 10000"/>
                    <a:gd name="connsiteY18" fmla="*/ 8420 h 9941"/>
                    <a:gd name="connsiteX19" fmla="*/ 6000 w 10000"/>
                    <a:gd name="connsiteY19" fmla="*/ 8361 h 9941"/>
                    <a:gd name="connsiteX20" fmla="*/ 6056 w 10000"/>
                    <a:gd name="connsiteY20" fmla="*/ 8242 h 9941"/>
                    <a:gd name="connsiteX21" fmla="*/ 6111 w 10000"/>
                    <a:gd name="connsiteY21" fmla="*/ 8183 h 9941"/>
                    <a:gd name="connsiteX22" fmla="*/ 6056 w 10000"/>
                    <a:gd name="connsiteY22" fmla="*/ 8109 h 9941"/>
                    <a:gd name="connsiteX23" fmla="*/ 6056 w 10000"/>
                    <a:gd name="connsiteY23" fmla="*/ 8109 h 9941"/>
                    <a:gd name="connsiteX24" fmla="*/ 6000 w 10000"/>
                    <a:gd name="connsiteY24" fmla="*/ 8065 h 9941"/>
                    <a:gd name="connsiteX25" fmla="*/ 5944 w 10000"/>
                    <a:gd name="connsiteY25" fmla="*/ 8035 h 9941"/>
                    <a:gd name="connsiteX26" fmla="*/ 5833 w 10000"/>
                    <a:gd name="connsiteY26" fmla="*/ 8035 h 9941"/>
                    <a:gd name="connsiteX27" fmla="*/ 5667 w 10000"/>
                    <a:gd name="connsiteY27" fmla="*/ 8050 h 9941"/>
                    <a:gd name="connsiteX28" fmla="*/ 5333 w 10000"/>
                    <a:gd name="connsiteY28" fmla="*/ 8094 h 9941"/>
                    <a:gd name="connsiteX29" fmla="*/ 4889 w 10000"/>
                    <a:gd name="connsiteY29" fmla="*/ 8169 h 9941"/>
                    <a:gd name="connsiteX30" fmla="*/ 4889 w 10000"/>
                    <a:gd name="connsiteY30" fmla="*/ 8169 h 9941"/>
                    <a:gd name="connsiteX31" fmla="*/ 4611 w 10000"/>
                    <a:gd name="connsiteY31" fmla="*/ 8183 h 9941"/>
                    <a:gd name="connsiteX32" fmla="*/ 4500 w 10000"/>
                    <a:gd name="connsiteY32" fmla="*/ 8183 h 9941"/>
                    <a:gd name="connsiteX33" fmla="*/ 4444 w 10000"/>
                    <a:gd name="connsiteY33" fmla="*/ 8169 h 9941"/>
                    <a:gd name="connsiteX34" fmla="*/ 4389 w 10000"/>
                    <a:gd name="connsiteY34" fmla="*/ 8109 h 9941"/>
                    <a:gd name="connsiteX35" fmla="*/ 4222 w 10000"/>
                    <a:gd name="connsiteY35" fmla="*/ 8035 h 9941"/>
                    <a:gd name="connsiteX36" fmla="*/ 4222 w 10000"/>
                    <a:gd name="connsiteY36" fmla="*/ 8035 h 9941"/>
                    <a:gd name="connsiteX37" fmla="*/ 4111 w 10000"/>
                    <a:gd name="connsiteY37" fmla="*/ 7991 h 9941"/>
                    <a:gd name="connsiteX38" fmla="*/ 4111 w 10000"/>
                    <a:gd name="connsiteY38" fmla="*/ 7947 h 9941"/>
                    <a:gd name="connsiteX39" fmla="*/ 4111 w 10000"/>
                    <a:gd name="connsiteY39" fmla="*/ 7917 h 9941"/>
                    <a:gd name="connsiteX40" fmla="*/ 4167 w 10000"/>
                    <a:gd name="connsiteY40" fmla="*/ 7888 h 9941"/>
                    <a:gd name="connsiteX41" fmla="*/ 4278 w 10000"/>
                    <a:gd name="connsiteY41" fmla="*/ 7829 h 9941"/>
                    <a:gd name="connsiteX42" fmla="*/ 4389 w 10000"/>
                    <a:gd name="connsiteY42" fmla="*/ 7814 h 9941"/>
                    <a:gd name="connsiteX43" fmla="*/ 4389 w 10000"/>
                    <a:gd name="connsiteY43" fmla="*/ 7814 h 9941"/>
                    <a:gd name="connsiteX44" fmla="*/ 4389 w 10000"/>
                    <a:gd name="connsiteY44" fmla="*/ 7800 h 9941"/>
                    <a:gd name="connsiteX45" fmla="*/ 4444 w 10000"/>
                    <a:gd name="connsiteY45" fmla="*/ 7785 h 9941"/>
                    <a:gd name="connsiteX46" fmla="*/ 4667 w 10000"/>
                    <a:gd name="connsiteY46" fmla="*/ 7770 h 9941"/>
                    <a:gd name="connsiteX47" fmla="*/ 5333 w 10000"/>
                    <a:gd name="connsiteY47" fmla="*/ 7741 h 9941"/>
                    <a:gd name="connsiteX48" fmla="*/ 6500 w 10000"/>
                    <a:gd name="connsiteY48" fmla="*/ 7696 h 9941"/>
                    <a:gd name="connsiteX49" fmla="*/ 6500 w 10000"/>
                    <a:gd name="connsiteY49" fmla="*/ 7696 h 9941"/>
                    <a:gd name="connsiteX50" fmla="*/ 7167 w 10000"/>
                    <a:gd name="connsiteY50" fmla="*/ 7652 h 9941"/>
                    <a:gd name="connsiteX51" fmla="*/ 8389 w 10000"/>
                    <a:gd name="connsiteY51" fmla="*/ 7563 h 9941"/>
                    <a:gd name="connsiteX52" fmla="*/ 8389 w 10000"/>
                    <a:gd name="connsiteY52" fmla="*/ 7563 h 9941"/>
                    <a:gd name="connsiteX53" fmla="*/ 8667 w 10000"/>
                    <a:gd name="connsiteY53" fmla="*/ 7533 h 9941"/>
                    <a:gd name="connsiteX54" fmla="*/ 8778 w 10000"/>
                    <a:gd name="connsiteY54" fmla="*/ 7489 h 9941"/>
                    <a:gd name="connsiteX55" fmla="*/ 8889 w 10000"/>
                    <a:gd name="connsiteY55" fmla="*/ 7460 h 9941"/>
                    <a:gd name="connsiteX56" fmla="*/ 8833 w 10000"/>
                    <a:gd name="connsiteY56" fmla="*/ 7429 h 9941"/>
                    <a:gd name="connsiteX57" fmla="*/ 8833 w 10000"/>
                    <a:gd name="connsiteY57" fmla="*/ 7400 h 9941"/>
                    <a:gd name="connsiteX58" fmla="*/ 8722 w 10000"/>
                    <a:gd name="connsiteY58" fmla="*/ 7370 h 9941"/>
                    <a:gd name="connsiteX59" fmla="*/ 8556 w 10000"/>
                    <a:gd name="connsiteY59" fmla="*/ 7326 h 9941"/>
                    <a:gd name="connsiteX60" fmla="*/ 8556 w 10000"/>
                    <a:gd name="connsiteY60" fmla="*/ 7326 h 9941"/>
                    <a:gd name="connsiteX61" fmla="*/ 6556 w 10000"/>
                    <a:gd name="connsiteY61" fmla="*/ 7061 h 9941"/>
                    <a:gd name="connsiteX62" fmla="*/ 6556 w 10000"/>
                    <a:gd name="connsiteY62" fmla="*/ 7061 h 9941"/>
                    <a:gd name="connsiteX63" fmla="*/ 6333 w 10000"/>
                    <a:gd name="connsiteY63" fmla="*/ 7017 h 9941"/>
                    <a:gd name="connsiteX64" fmla="*/ 6167 w 10000"/>
                    <a:gd name="connsiteY64" fmla="*/ 6973 h 9941"/>
                    <a:gd name="connsiteX65" fmla="*/ 6056 w 10000"/>
                    <a:gd name="connsiteY65" fmla="*/ 6928 h 9941"/>
                    <a:gd name="connsiteX66" fmla="*/ 6056 w 10000"/>
                    <a:gd name="connsiteY66" fmla="*/ 6928 h 9941"/>
                    <a:gd name="connsiteX67" fmla="*/ 8056 w 10000"/>
                    <a:gd name="connsiteY67" fmla="*/ 6913 h 9941"/>
                    <a:gd name="connsiteX68" fmla="*/ 10000 w 10000"/>
                    <a:gd name="connsiteY68" fmla="*/ 7061 h 9941"/>
                    <a:gd name="connsiteX69" fmla="*/ 10000 w 10000"/>
                    <a:gd name="connsiteY69" fmla="*/ 5717 h 9941"/>
                    <a:gd name="connsiteX70" fmla="*/ 10000 w 10000"/>
                    <a:gd name="connsiteY70" fmla="*/ 5717 h 9941"/>
                    <a:gd name="connsiteX71" fmla="*/ 7778 w 10000"/>
                    <a:gd name="connsiteY71" fmla="*/ 5407 h 9941"/>
                    <a:gd name="connsiteX72" fmla="*/ 6556 w 10000"/>
                    <a:gd name="connsiteY72" fmla="*/ 5229 h 9941"/>
                    <a:gd name="connsiteX73" fmla="*/ 6556 w 10000"/>
                    <a:gd name="connsiteY73" fmla="*/ 5229 h 9941"/>
                    <a:gd name="connsiteX74" fmla="*/ 6556 w 10000"/>
                    <a:gd name="connsiteY74" fmla="*/ 5214 h 9941"/>
                    <a:gd name="connsiteX75" fmla="*/ 6556 w 10000"/>
                    <a:gd name="connsiteY75" fmla="*/ 5126 h 9941"/>
                    <a:gd name="connsiteX76" fmla="*/ 6556 w 10000"/>
                    <a:gd name="connsiteY76" fmla="*/ 5126 h 9941"/>
                    <a:gd name="connsiteX77" fmla="*/ 6389 w 10000"/>
                    <a:gd name="connsiteY77" fmla="*/ 5023 h 9941"/>
                    <a:gd name="connsiteX78" fmla="*/ 6056 w 10000"/>
                    <a:gd name="connsiteY78" fmla="*/ 4860 h 9941"/>
                    <a:gd name="connsiteX79" fmla="*/ 5333 w 10000"/>
                    <a:gd name="connsiteY79" fmla="*/ 4549 h 9941"/>
                    <a:gd name="connsiteX80" fmla="*/ 5333 w 10000"/>
                    <a:gd name="connsiteY80" fmla="*/ 4549 h 9941"/>
                    <a:gd name="connsiteX81" fmla="*/ 5167 w 10000"/>
                    <a:gd name="connsiteY81" fmla="*/ 4505 h 9941"/>
                    <a:gd name="connsiteX82" fmla="*/ 4889 w 10000"/>
                    <a:gd name="connsiteY82" fmla="*/ 4446 h 9941"/>
                    <a:gd name="connsiteX83" fmla="*/ 4056 w 10000"/>
                    <a:gd name="connsiteY83" fmla="*/ 4314 h 9941"/>
                    <a:gd name="connsiteX84" fmla="*/ 2889 w 10000"/>
                    <a:gd name="connsiteY84" fmla="*/ 4151 h 9941"/>
                    <a:gd name="connsiteX85" fmla="*/ 2889 w 10000"/>
                    <a:gd name="connsiteY85" fmla="*/ 4151 h 9941"/>
                    <a:gd name="connsiteX86" fmla="*/ 2389 w 10000"/>
                    <a:gd name="connsiteY86" fmla="*/ 4136 h 9941"/>
                    <a:gd name="connsiteX87" fmla="*/ 2000 w 10000"/>
                    <a:gd name="connsiteY87" fmla="*/ 4121 h 9941"/>
                    <a:gd name="connsiteX88" fmla="*/ 1889 w 10000"/>
                    <a:gd name="connsiteY88" fmla="*/ 4107 h 9941"/>
                    <a:gd name="connsiteX89" fmla="*/ 1778 w 10000"/>
                    <a:gd name="connsiteY89" fmla="*/ 4092 h 9941"/>
                    <a:gd name="connsiteX90" fmla="*/ 1778 w 10000"/>
                    <a:gd name="connsiteY90" fmla="*/ 4092 h 9941"/>
                    <a:gd name="connsiteX91" fmla="*/ 1667 w 10000"/>
                    <a:gd name="connsiteY91" fmla="*/ 4033 h 9941"/>
                    <a:gd name="connsiteX92" fmla="*/ 1500 w 10000"/>
                    <a:gd name="connsiteY92" fmla="*/ 3930 h 9941"/>
                    <a:gd name="connsiteX93" fmla="*/ 1444 w 10000"/>
                    <a:gd name="connsiteY93" fmla="*/ 3871 h 9941"/>
                    <a:gd name="connsiteX94" fmla="*/ 1444 w 10000"/>
                    <a:gd name="connsiteY94" fmla="*/ 3811 h 9941"/>
                    <a:gd name="connsiteX95" fmla="*/ 1444 w 10000"/>
                    <a:gd name="connsiteY95" fmla="*/ 3767 h 9941"/>
                    <a:gd name="connsiteX96" fmla="*/ 1556 w 10000"/>
                    <a:gd name="connsiteY96" fmla="*/ 3723 h 9941"/>
                    <a:gd name="connsiteX97" fmla="*/ 1556 w 10000"/>
                    <a:gd name="connsiteY97" fmla="*/ 3723 h 9941"/>
                    <a:gd name="connsiteX98" fmla="*/ 1833 w 10000"/>
                    <a:gd name="connsiteY98" fmla="*/ 3649 h 9941"/>
                    <a:gd name="connsiteX99" fmla="*/ 2111 w 10000"/>
                    <a:gd name="connsiteY99" fmla="*/ 3574 h 9941"/>
                    <a:gd name="connsiteX100" fmla="*/ 2278 w 10000"/>
                    <a:gd name="connsiteY100" fmla="*/ 3530 h 9941"/>
                    <a:gd name="connsiteX101" fmla="*/ 2389 w 10000"/>
                    <a:gd name="connsiteY101" fmla="*/ 3486 h 9941"/>
                    <a:gd name="connsiteX102" fmla="*/ 2389 w 10000"/>
                    <a:gd name="connsiteY102" fmla="*/ 3427 h 9941"/>
                    <a:gd name="connsiteX103" fmla="*/ 2389 w 10000"/>
                    <a:gd name="connsiteY103" fmla="*/ 3354 h 9941"/>
                    <a:gd name="connsiteX104" fmla="*/ 2389 w 10000"/>
                    <a:gd name="connsiteY104" fmla="*/ 3354 h 9941"/>
                    <a:gd name="connsiteX105" fmla="*/ 2167 w 10000"/>
                    <a:gd name="connsiteY105" fmla="*/ 3146 h 9941"/>
                    <a:gd name="connsiteX106" fmla="*/ 1889 w 10000"/>
                    <a:gd name="connsiteY106" fmla="*/ 2866 h 9941"/>
                    <a:gd name="connsiteX107" fmla="*/ 1667 w 10000"/>
                    <a:gd name="connsiteY107" fmla="*/ 2615 h 9941"/>
                    <a:gd name="connsiteX108" fmla="*/ 1611 w 10000"/>
                    <a:gd name="connsiteY108" fmla="*/ 2542 h 9941"/>
                    <a:gd name="connsiteX109" fmla="*/ 1611 w 10000"/>
                    <a:gd name="connsiteY109" fmla="*/ 2512 h 9941"/>
                    <a:gd name="connsiteX110" fmla="*/ 1667 w 10000"/>
                    <a:gd name="connsiteY110" fmla="*/ 2497 h 9941"/>
                    <a:gd name="connsiteX111" fmla="*/ 1667 w 10000"/>
                    <a:gd name="connsiteY111" fmla="*/ 2497 h 9941"/>
                    <a:gd name="connsiteX112" fmla="*/ 2000 w 10000"/>
                    <a:gd name="connsiteY112" fmla="*/ 2483 h 9941"/>
                    <a:gd name="connsiteX113" fmla="*/ 2222 w 10000"/>
                    <a:gd name="connsiteY113" fmla="*/ 2483 h 9941"/>
                    <a:gd name="connsiteX114" fmla="*/ 2389 w 10000"/>
                    <a:gd name="connsiteY114" fmla="*/ 2497 h 9941"/>
                    <a:gd name="connsiteX115" fmla="*/ 2389 w 10000"/>
                    <a:gd name="connsiteY115" fmla="*/ 2497 h 9941"/>
                    <a:gd name="connsiteX116" fmla="*/ 2444 w 10000"/>
                    <a:gd name="connsiteY116" fmla="*/ 2497 h 9941"/>
                    <a:gd name="connsiteX117" fmla="*/ 2500 w 10000"/>
                    <a:gd name="connsiteY117" fmla="*/ 2468 h 9941"/>
                    <a:gd name="connsiteX118" fmla="*/ 2778 w 10000"/>
                    <a:gd name="connsiteY118" fmla="*/ 2378 h 9941"/>
                    <a:gd name="connsiteX119" fmla="*/ 3500 w 10000"/>
                    <a:gd name="connsiteY119" fmla="*/ 2083 h 9941"/>
                    <a:gd name="connsiteX120" fmla="*/ 4444 w 10000"/>
                    <a:gd name="connsiteY120" fmla="*/ 1655 h 9941"/>
                    <a:gd name="connsiteX121" fmla="*/ 4444 w 10000"/>
                    <a:gd name="connsiteY121" fmla="*/ 1655 h 9941"/>
                    <a:gd name="connsiteX122" fmla="*/ 4444 w 10000"/>
                    <a:gd name="connsiteY122" fmla="*/ 1595 h 9941"/>
                    <a:gd name="connsiteX123" fmla="*/ 4444 w 10000"/>
                    <a:gd name="connsiteY123" fmla="*/ 1462 h 9941"/>
                    <a:gd name="connsiteX124" fmla="*/ 4500 w 10000"/>
                    <a:gd name="connsiteY124" fmla="*/ 1374 h 9941"/>
                    <a:gd name="connsiteX125" fmla="*/ 4611 w 10000"/>
                    <a:gd name="connsiteY125" fmla="*/ 1300 h 9941"/>
                    <a:gd name="connsiteX126" fmla="*/ 4778 w 10000"/>
                    <a:gd name="connsiteY126" fmla="*/ 1212 h 9941"/>
                    <a:gd name="connsiteX127" fmla="*/ 5000 w 10000"/>
                    <a:gd name="connsiteY127" fmla="*/ 1138 h 9941"/>
                    <a:gd name="connsiteX128" fmla="*/ 5000 w 10000"/>
                    <a:gd name="connsiteY128" fmla="*/ 1138 h 9941"/>
                    <a:gd name="connsiteX129" fmla="*/ 5556 w 10000"/>
                    <a:gd name="connsiteY129" fmla="*/ 990 h 9941"/>
                    <a:gd name="connsiteX130" fmla="*/ 6111 w 10000"/>
                    <a:gd name="connsiteY130" fmla="*/ 798 h 9941"/>
                    <a:gd name="connsiteX131" fmla="*/ 6667 w 10000"/>
                    <a:gd name="connsiteY131" fmla="*/ 621 h 9941"/>
                    <a:gd name="connsiteX132" fmla="*/ 7056 w 10000"/>
                    <a:gd name="connsiteY132" fmla="*/ 459 h 9941"/>
                    <a:gd name="connsiteX133" fmla="*/ 7056 w 10000"/>
                    <a:gd name="connsiteY133" fmla="*/ 459 h 9941"/>
                    <a:gd name="connsiteX134" fmla="*/ 7333 w 10000"/>
                    <a:gd name="connsiteY134" fmla="*/ 312 h 9941"/>
                    <a:gd name="connsiteX135" fmla="*/ 7667 w 10000"/>
                    <a:gd name="connsiteY135" fmla="*/ 133 h 9941"/>
                    <a:gd name="connsiteX136" fmla="*/ 8000 w 10000"/>
                    <a:gd name="connsiteY136" fmla="*/ 0 h 9941"/>
                    <a:gd name="connsiteX137" fmla="*/ 10000 w 10000"/>
                    <a:gd name="connsiteY137" fmla="*/ 8952 h 9941"/>
                    <a:gd name="connsiteX138" fmla="*/ 10000 w 10000"/>
                    <a:gd name="connsiteY138" fmla="*/ 8952 h 9941"/>
                    <a:gd name="connsiteX139" fmla="*/ 9722 w 10000"/>
                    <a:gd name="connsiteY139" fmla="*/ 8937 h 9941"/>
                    <a:gd name="connsiteX140" fmla="*/ 9389 w 10000"/>
                    <a:gd name="connsiteY140" fmla="*/ 8952 h 9941"/>
                    <a:gd name="connsiteX141" fmla="*/ 9389 w 10000"/>
                    <a:gd name="connsiteY141" fmla="*/ 8952 h 9941"/>
                    <a:gd name="connsiteX142" fmla="*/ 9278 w 10000"/>
                    <a:gd name="connsiteY142" fmla="*/ 8967 h 9941"/>
                    <a:gd name="connsiteX143" fmla="*/ 9056 w 10000"/>
                    <a:gd name="connsiteY143" fmla="*/ 8952 h 9941"/>
                    <a:gd name="connsiteX144" fmla="*/ 8889 w 10000"/>
                    <a:gd name="connsiteY144" fmla="*/ 8937 h 9941"/>
                    <a:gd name="connsiteX145" fmla="*/ 8722 w 10000"/>
                    <a:gd name="connsiteY145" fmla="*/ 8907 h 9941"/>
                    <a:gd name="connsiteX146" fmla="*/ 8611 w 10000"/>
                    <a:gd name="connsiteY146" fmla="*/ 8862 h 9941"/>
                    <a:gd name="connsiteX147" fmla="*/ 8444 w 10000"/>
                    <a:gd name="connsiteY147" fmla="*/ 8788 h 9941"/>
                    <a:gd name="connsiteX148" fmla="*/ 8444 w 10000"/>
                    <a:gd name="connsiteY148" fmla="*/ 8788 h 9941"/>
                    <a:gd name="connsiteX149" fmla="*/ 8222 w 10000"/>
                    <a:gd name="connsiteY149" fmla="*/ 8656 h 9941"/>
                    <a:gd name="connsiteX150" fmla="*/ 8111 w 10000"/>
                    <a:gd name="connsiteY150" fmla="*/ 8597 h 9941"/>
                    <a:gd name="connsiteX151" fmla="*/ 7944 w 10000"/>
                    <a:gd name="connsiteY151" fmla="*/ 8553 h 9941"/>
                    <a:gd name="connsiteX152" fmla="*/ 7778 w 10000"/>
                    <a:gd name="connsiteY152" fmla="*/ 8523 h 9941"/>
                    <a:gd name="connsiteX153" fmla="*/ 7556 w 10000"/>
                    <a:gd name="connsiteY153" fmla="*/ 8508 h 9941"/>
                    <a:gd name="connsiteX154" fmla="*/ 7333 w 10000"/>
                    <a:gd name="connsiteY154" fmla="*/ 8494 h 9941"/>
                    <a:gd name="connsiteX155" fmla="*/ 7000 w 10000"/>
                    <a:gd name="connsiteY155" fmla="*/ 8479 h 9941"/>
                    <a:gd name="connsiteX156" fmla="*/ 7000 w 10000"/>
                    <a:gd name="connsiteY156" fmla="*/ 8479 h 9941"/>
                    <a:gd name="connsiteX157" fmla="*/ 6556 w 10000"/>
                    <a:gd name="connsiteY157" fmla="*/ 8494 h 9941"/>
                    <a:gd name="connsiteX158" fmla="*/ 6222 w 10000"/>
                    <a:gd name="connsiteY158" fmla="*/ 8494 h 9941"/>
                    <a:gd name="connsiteX159" fmla="*/ 6111 w 10000"/>
                    <a:gd name="connsiteY159" fmla="*/ 8479 h 9941"/>
                    <a:gd name="connsiteX160" fmla="*/ 6056 w 10000"/>
                    <a:gd name="connsiteY160" fmla="*/ 8464 h 9941"/>
                    <a:gd name="connsiteX161" fmla="*/ 6056 w 10000"/>
                    <a:gd name="connsiteY161" fmla="*/ 8464 h 9941"/>
                    <a:gd name="connsiteX162" fmla="*/ 6056 w 10000"/>
                    <a:gd name="connsiteY162" fmla="*/ 8198 h 9941"/>
                    <a:gd name="connsiteX163" fmla="*/ 6056 w 10000"/>
                    <a:gd name="connsiteY163" fmla="*/ 8198 h 9941"/>
                    <a:gd name="connsiteX164" fmla="*/ 6056 w 10000"/>
                    <a:gd name="connsiteY164" fmla="*/ 8138 h 9941"/>
                    <a:gd name="connsiteX165" fmla="*/ 5944 w 10000"/>
                    <a:gd name="connsiteY165" fmla="*/ 8065 h 9941"/>
                    <a:gd name="connsiteX166" fmla="*/ 5889 w 10000"/>
                    <a:gd name="connsiteY166" fmla="*/ 8050 h 9941"/>
                    <a:gd name="connsiteX167" fmla="*/ 5778 w 10000"/>
                    <a:gd name="connsiteY167" fmla="*/ 8035 h 9941"/>
                    <a:gd name="connsiteX168" fmla="*/ 5667 w 10000"/>
                    <a:gd name="connsiteY168" fmla="*/ 8035 h 9941"/>
                    <a:gd name="connsiteX169" fmla="*/ 5500 w 10000"/>
                    <a:gd name="connsiteY169" fmla="*/ 8050 h 9941"/>
                    <a:gd name="connsiteX170" fmla="*/ 5500 w 10000"/>
                    <a:gd name="connsiteY170" fmla="*/ 8050 h 9941"/>
                    <a:gd name="connsiteX171" fmla="*/ 4889 w 10000"/>
                    <a:gd name="connsiteY171" fmla="*/ 8153 h 9941"/>
                    <a:gd name="connsiteX172" fmla="*/ 4611 w 10000"/>
                    <a:gd name="connsiteY172" fmla="*/ 8183 h 9941"/>
                    <a:gd name="connsiteX173" fmla="*/ 4556 w 10000"/>
                    <a:gd name="connsiteY173" fmla="*/ 8198 h 9941"/>
                    <a:gd name="connsiteX174" fmla="*/ 4500 w 10000"/>
                    <a:gd name="connsiteY174" fmla="*/ 8183 h 9941"/>
                    <a:gd name="connsiteX175" fmla="*/ 4500 w 10000"/>
                    <a:gd name="connsiteY175" fmla="*/ 8183 h 9941"/>
                    <a:gd name="connsiteX176" fmla="*/ 4222 w 10000"/>
                    <a:gd name="connsiteY176" fmla="*/ 8035 h 9941"/>
                    <a:gd name="connsiteX177" fmla="*/ 4222 w 10000"/>
                    <a:gd name="connsiteY177" fmla="*/ 8035 h 9941"/>
                    <a:gd name="connsiteX178" fmla="*/ 4111 w 10000"/>
                    <a:gd name="connsiteY178" fmla="*/ 7962 h 9941"/>
                    <a:gd name="connsiteX179" fmla="*/ 4111 w 10000"/>
                    <a:gd name="connsiteY179" fmla="*/ 7917 h 9941"/>
                    <a:gd name="connsiteX180" fmla="*/ 4111 w 10000"/>
                    <a:gd name="connsiteY180" fmla="*/ 7873 h 9941"/>
                    <a:gd name="connsiteX181" fmla="*/ 4111 w 10000"/>
                    <a:gd name="connsiteY181" fmla="*/ 7873 h 9941"/>
                    <a:gd name="connsiteX182" fmla="*/ 4278 w 10000"/>
                    <a:gd name="connsiteY182" fmla="*/ 7829 h 9941"/>
                    <a:gd name="connsiteX183" fmla="*/ 4389 w 10000"/>
                    <a:gd name="connsiteY183" fmla="*/ 7814 h 9941"/>
                    <a:gd name="connsiteX184" fmla="*/ 4389 w 10000"/>
                    <a:gd name="connsiteY184" fmla="*/ 7814 h 9941"/>
                    <a:gd name="connsiteX185" fmla="*/ 4000 w 10000"/>
                    <a:gd name="connsiteY185" fmla="*/ 7814 h 9941"/>
                    <a:gd name="connsiteX186" fmla="*/ 3722 w 10000"/>
                    <a:gd name="connsiteY186" fmla="*/ 7829 h 9941"/>
                    <a:gd name="connsiteX187" fmla="*/ 3611 w 10000"/>
                    <a:gd name="connsiteY187" fmla="*/ 7844 h 9941"/>
                    <a:gd name="connsiteX188" fmla="*/ 3556 w 10000"/>
                    <a:gd name="connsiteY188" fmla="*/ 7858 h 9941"/>
                    <a:gd name="connsiteX189" fmla="*/ 3556 w 10000"/>
                    <a:gd name="connsiteY189" fmla="*/ 7858 h 9941"/>
                    <a:gd name="connsiteX190" fmla="*/ 3444 w 10000"/>
                    <a:gd name="connsiteY190" fmla="*/ 7917 h 9941"/>
                    <a:gd name="connsiteX191" fmla="*/ 3278 w 10000"/>
                    <a:gd name="connsiteY191" fmla="*/ 8006 h 9941"/>
                    <a:gd name="connsiteX192" fmla="*/ 3000 w 10000"/>
                    <a:gd name="connsiteY192" fmla="*/ 8109 h 9941"/>
                    <a:gd name="connsiteX193" fmla="*/ 2667 w 10000"/>
                    <a:gd name="connsiteY193" fmla="*/ 8183 h 9941"/>
                    <a:gd name="connsiteX194" fmla="*/ 2667 w 10000"/>
                    <a:gd name="connsiteY194" fmla="*/ 8183 h 9941"/>
                    <a:gd name="connsiteX195" fmla="*/ 2333 w 10000"/>
                    <a:gd name="connsiteY195" fmla="*/ 8242 h 9941"/>
                    <a:gd name="connsiteX196" fmla="*/ 1833 w 10000"/>
                    <a:gd name="connsiteY196" fmla="*/ 8302 h 9941"/>
                    <a:gd name="connsiteX197" fmla="*/ 1389 w 10000"/>
                    <a:gd name="connsiteY197" fmla="*/ 8332 h 9941"/>
                    <a:gd name="connsiteX198" fmla="*/ 889 w 10000"/>
                    <a:gd name="connsiteY198" fmla="*/ 8346 h 9941"/>
                    <a:gd name="connsiteX199" fmla="*/ 889 w 10000"/>
                    <a:gd name="connsiteY199" fmla="*/ 8346 h 9941"/>
                    <a:gd name="connsiteX200" fmla="*/ 500 w 10000"/>
                    <a:gd name="connsiteY200" fmla="*/ 8361 h 9941"/>
                    <a:gd name="connsiteX201" fmla="*/ 222 w 10000"/>
                    <a:gd name="connsiteY201" fmla="*/ 8376 h 9941"/>
                    <a:gd name="connsiteX202" fmla="*/ 0 w 10000"/>
                    <a:gd name="connsiteY202" fmla="*/ 8391 h 9941"/>
                    <a:gd name="connsiteX203" fmla="*/ 0 w 10000"/>
                    <a:gd name="connsiteY203" fmla="*/ 8391 h 9941"/>
                    <a:gd name="connsiteX204" fmla="*/ 278 w 10000"/>
                    <a:gd name="connsiteY204" fmla="*/ 8626 h 9941"/>
                    <a:gd name="connsiteX205" fmla="*/ 500 w 10000"/>
                    <a:gd name="connsiteY205" fmla="*/ 8803 h 9941"/>
                    <a:gd name="connsiteX206" fmla="*/ 722 w 10000"/>
                    <a:gd name="connsiteY206" fmla="*/ 8952 h 9941"/>
                    <a:gd name="connsiteX207" fmla="*/ 722 w 10000"/>
                    <a:gd name="connsiteY207" fmla="*/ 8952 h 9941"/>
                    <a:gd name="connsiteX208" fmla="*/ 889 w 10000"/>
                    <a:gd name="connsiteY208" fmla="*/ 9041 h 9941"/>
                    <a:gd name="connsiteX209" fmla="*/ 944 w 10000"/>
                    <a:gd name="connsiteY209" fmla="*/ 9114 h 9941"/>
                    <a:gd name="connsiteX210" fmla="*/ 1111 w 10000"/>
                    <a:gd name="connsiteY210" fmla="*/ 9188 h 9941"/>
                    <a:gd name="connsiteX211" fmla="*/ 1333 w 10000"/>
                    <a:gd name="connsiteY211" fmla="*/ 9306 h 9941"/>
                    <a:gd name="connsiteX212" fmla="*/ 1333 w 10000"/>
                    <a:gd name="connsiteY212" fmla="*/ 9306 h 9941"/>
                    <a:gd name="connsiteX213" fmla="*/ 1444 w 10000"/>
                    <a:gd name="connsiteY213" fmla="*/ 9365 h 9941"/>
                    <a:gd name="connsiteX214" fmla="*/ 1500 w 10000"/>
                    <a:gd name="connsiteY214" fmla="*/ 9409 h 9941"/>
                    <a:gd name="connsiteX215" fmla="*/ 1500 w 10000"/>
                    <a:gd name="connsiteY215" fmla="*/ 9453 h 9941"/>
                    <a:gd name="connsiteX216" fmla="*/ 1556 w 10000"/>
                    <a:gd name="connsiteY216" fmla="*/ 9468 h 9941"/>
                    <a:gd name="connsiteX217" fmla="*/ 1722 w 10000"/>
                    <a:gd name="connsiteY217" fmla="*/ 9482 h 9941"/>
                    <a:gd name="connsiteX218" fmla="*/ 1944 w 10000"/>
                    <a:gd name="connsiteY218" fmla="*/ 9497 h 9941"/>
                    <a:gd name="connsiteX219" fmla="*/ 2944 w 10000"/>
                    <a:gd name="connsiteY219" fmla="*/ 9512 h 9941"/>
                    <a:gd name="connsiteX220" fmla="*/ 2944 w 10000"/>
                    <a:gd name="connsiteY220" fmla="*/ 9512 h 9941"/>
                    <a:gd name="connsiteX221" fmla="*/ 4167 w 10000"/>
                    <a:gd name="connsiteY221" fmla="*/ 9541 h 9941"/>
                    <a:gd name="connsiteX222" fmla="*/ 4889 w 10000"/>
                    <a:gd name="connsiteY222" fmla="*/ 9587 h 9941"/>
                    <a:gd name="connsiteX223" fmla="*/ 5278 w 10000"/>
                    <a:gd name="connsiteY223" fmla="*/ 9632 h 9941"/>
                    <a:gd name="connsiteX224" fmla="*/ 5444 w 10000"/>
                    <a:gd name="connsiteY224" fmla="*/ 9646 h 9941"/>
                    <a:gd name="connsiteX225" fmla="*/ 5444 w 10000"/>
                    <a:gd name="connsiteY225" fmla="*/ 9646 h 9941"/>
                    <a:gd name="connsiteX226" fmla="*/ 5722 w 10000"/>
                    <a:gd name="connsiteY226" fmla="*/ 9676 h 9941"/>
                    <a:gd name="connsiteX227" fmla="*/ 5833 w 10000"/>
                    <a:gd name="connsiteY227" fmla="*/ 9691 h 9941"/>
                    <a:gd name="connsiteX228" fmla="*/ 5833 w 10000"/>
                    <a:gd name="connsiteY228" fmla="*/ 9691 h 9941"/>
                    <a:gd name="connsiteX229" fmla="*/ 5833 w 10000"/>
                    <a:gd name="connsiteY229" fmla="*/ 9676 h 9941"/>
                    <a:gd name="connsiteX230" fmla="*/ 5889 w 10000"/>
                    <a:gd name="connsiteY230" fmla="*/ 9661 h 9941"/>
                    <a:gd name="connsiteX231" fmla="*/ 6000 w 10000"/>
                    <a:gd name="connsiteY231" fmla="*/ 9646 h 9941"/>
                    <a:gd name="connsiteX232" fmla="*/ 6167 w 10000"/>
                    <a:gd name="connsiteY232" fmla="*/ 9632 h 9941"/>
                    <a:gd name="connsiteX233" fmla="*/ 6444 w 10000"/>
                    <a:gd name="connsiteY233" fmla="*/ 9632 h 9941"/>
                    <a:gd name="connsiteX234" fmla="*/ 6833 w 10000"/>
                    <a:gd name="connsiteY234" fmla="*/ 9646 h 9941"/>
                    <a:gd name="connsiteX235" fmla="*/ 7278 w 10000"/>
                    <a:gd name="connsiteY235" fmla="*/ 9691 h 9941"/>
                    <a:gd name="connsiteX236" fmla="*/ 7278 w 10000"/>
                    <a:gd name="connsiteY236" fmla="*/ 9691 h 9941"/>
                    <a:gd name="connsiteX237" fmla="*/ 8722 w 10000"/>
                    <a:gd name="connsiteY237" fmla="*/ 9823 h 9941"/>
                    <a:gd name="connsiteX238" fmla="*/ 10000 w 10000"/>
                    <a:gd name="connsiteY238" fmla="*/ 9941 h 9941"/>
                    <a:gd name="connsiteX0" fmla="*/ 10000 w 10000"/>
                    <a:gd name="connsiteY0" fmla="*/ 8856 h 9866"/>
                    <a:gd name="connsiteX1" fmla="*/ 10000 w 10000"/>
                    <a:gd name="connsiteY1" fmla="*/ 8856 h 9866"/>
                    <a:gd name="connsiteX2" fmla="*/ 9222 w 10000"/>
                    <a:gd name="connsiteY2" fmla="*/ 8871 h 9866"/>
                    <a:gd name="connsiteX3" fmla="*/ 8944 w 10000"/>
                    <a:gd name="connsiteY3" fmla="*/ 8871 h 9866"/>
                    <a:gd name="connsiteX4" fmla="*/ 8833 w 10000"/>
                    <a:gd name="connsiteY4" fmla="*/ 8856 h 9866"/>
                    <a:gd name="connsiteX5" fmla="*/ 8778 w 10000"/>
                    <a:gd name="connsiteY5" fmla="*/ 8841 h 9866"/>
                    <a:gd name="connsiteX6" fmla="*/ 8778 w 10000"/>
                    <a:gd name="connsiteY6" fmla="*/ 8841 h 9866"/>
                    <a:gd name="connsiteX7" fmla="*/ 8444 w 10000"/>
                    <a:gd name="connsiteY7" fmla="*/ 8662 h 9866"/>
                    <a:gd name="connsiteX8" fmla="*/ 8167 w 10000"/>
                    <a:gd name="connsiteY8" fmla="*/ 8499 h 9866"/>
                    <a:gd name="connsiteX9" fmla="*/ 8167 w 10000"/>
                    <a:gd name="connsiteY9" fmla="*/ 8499 h 9866"/>
                    <a:gd name="connsiteX10" fmla="*/ 8056 w 10000"/>
                    <a:gd name="connsiteY10" fmla="*/ 8470 h 9866"/>
                    <a:gd name="connsiteX11" fmla="*/ 7889 w 10000"/>
                    <a:gd name="connsiteY11" fmla="*/ 8440 h 9866"/>
                    <a:gd name="connsiteX12" fmla="*/ 7444 w 10000"/>
                    <a:gd name="connsiteY12" fmla="*/ 8424 h 9866"/>
                    <a:gd name="connsiteX13" fmla="*/ 6889 w 10000"/>
                    <a:gd name="connsiteY13" fmla="*/ 8410 h 9866"/>
                    <a:gd name="connsiteX14" fmla="*/ 6389 w 10000"/>
                    <a:gd name="connsiteY14" fmla="*/ 8410 h 9866"/>
                    <a:gd name="connsiteX15" fmla="*/ 6389 w 10000"/>
                    <a:gd name="connsiteY15" fmla="*/ 8410 h 9866"/>
                    <a:gd name="connsiteX16" fmla="*/ 6167 w 10000"/>
                    <a:gd name="connsiteY16" fmla="*/ 8395 h 9866"/>
                    <a:gd name="connsiteX17" fmla="*/ 6056 w 10000"/>
                    <a:gd name="connsiteY17" fmla="*/ 8366 h 9866"/>
                    <a:gd name="connsiteX18" fmla="*/ 6000 w 10000"/>
                    <a:gd name="connsiteY18" fmla="*/ 8336 h 9866"/>
                    <a:gd name="connsiteX19" fmla="*/ 6000 w 10000"/>
                    <a:gd name="connsiteY19" fmla="*/ 8277 h 9866"/>
                    <a:gd name="connsiteX20" fmla="*/ 6056 w 10000"/>
                    <a:gd name="connsiteY20" fmla="*/ 8157 h 9866"/>
                    <a:gd name="connsiteX21" fmla="*/ 6111 w 10000"/>
                    <a:gd name="connsiteY21" fmla="*/ 8098 h 9866"/>
                    <a:gd name="connsiteX22" fmla="*/ 6056 w 10000"/>
                    <a:gd name="connsiteY22" fmla="*/ 8023 h 9866"/>
                    <a:gd name="connsiteX23" fmla="*/ 6056 w 10000"/>
                    <a:gd name="connsiteY23" fmla="*/ 8023 h 9866"/>
                    <a:gd name="connsiteX24" fmla="*/ 6000 w 10000"/>
                    <a:gd name="connsiteY24" fmla="*/ 7979 h 9866"/>
                    <a:gd name="connsiteX25" fmla="*/ 5944 w 10000"/>
                    <a:gd name="connsiteY25" fmla="*/ 7949 h 9866"/>
                    <a:gd name="connsiteX26" fmla="*/ 5833 w 10000"/>
                    <a:gd name="connsiteY26" fmla="*/ 7949 h 9866"/>
                    <a:gd name="connsiteX27" fmla="*/ 5667 w 10000"/>
                    <a:gd name="connsiteY27" fmla="*/ 7964 h 9866"/>
                    <a:gd name="connsiteX28" fmla="*/ 5333 w 10000"/>
                    <a:gd name="connsiteY28" fmla="*/ 8008 h 9866"/>
                    <a:gd name="connsiteX29" fmla="*/ 4889 w 10000"/>
                    <a:gd name="connsiteY29" fmla="*/ 8083 h 9866"/>
                    <a:gd name="connsiteX30" fmla="*/ 4889 w 10000"/>
                    <a:gd name="connsiteY30" fmla="*/ 8083 h 9866"/>
                    <a:gd name="connsiteX31" fmla="*/ 4611 w 10000"/>
                    <a:gd name="connsiteY31" fmla="*/ 8098 h 9866"/>
                    <a:gd name="connsiteX32" fmla="*/ 4500 w 10000"/>
                    <a:gd name="connsiteY32" fmla="*/ 8098 h 9866"/>
                    <a:gd name="connsiteX33" fmla="*/ 4444 w 10000"/>
                    <a:gd name="connsiteY33" fmla="*/ 8083 h 9866"/>
                    <a:gd name="connsiteX34" fmla="*/ 4389 w 10000"/>
                    <a:gd name="connsiteY34" fmla="*/ 8023 h 9866"/>
                    <a:gd name="connsiteX35" fmla="*/ 4222 w 10000"/>
                    <a:gd name="connsiteY35" fmla="*/ 7949 h 9866"/>
                    <a:gd name="connsiteX36" fmla="*/ 4222 w 10000"/>
                    <a:gd name="connsiteY36" fmla="*/ 7949 h 9866"/>
                    <a:gd name="connsiteX37" fmla="*/ 4111 w 10000"/>
                    <a:gd name="connsiteY37" fmla="*/ 7904 h 9866"/>
                    <a:gd name="connsiteX38" fmla="*/ 4111 w 10000"/>
                    <a:gd name="connsiteY38" fmla="*/ 7860 h 9866"/>
                    <a:gd name="connsiteX39" fmla="*/ 4111 w 10000"/>
                    <a:gd name="connsiteY39" fmla="*/ 7830 h 9866"/>
                    <a:gd name="connsiteX40" fmla="*/ 4167 w 10000"/>
                    <a:gd name="connsiteY40" fmla="*/ 7801 h 9866"/>
                    <a:gd name="connsiteX41" fmla="*/ 4278 w 10000"/>
                    <a:gd name="connsiteY41" fmla="*/ 7741 h 9866"/>
                    <a:gd name="connsiteX42" fmla="*/ 4389 w 10000"/>
                    <a:gd name="connsiteY42" fmla="*/ 7726 h 9866"/>
                    <a:gd name="connsiteX43" fmla="*/ 4389 w 10000"/>
                    <a:gd name="connsiteY43" fmla="*/ 7726 h 9866"/>
                    <a:gd name="connsiteX44" fmla="*/ 4389 w 10000"/>
                    <a:gd name="connsiteY44" fmla="*/ 7712 h 9866"/>
                    <a:gd name="connsiteX45" fmla="*/ 4444 w 10000"/>
                    <a:gd name="connsiteY45" fmla="*/ 7697 h 9866"/>
                    <a:gd name="connsiteX46" fmla="*/ 4667 w 10000"/>
                    <a:gd name="connsiteY46" fmla="*/ 7682 h 9866"/>
                    <a:gd name="connsiteX47" fmla="*/ 5333 w 10000"/>
                    <a:gd name="connsiteY47" fmla="*/ 7653 h 9866"/>
                    <a:gd name="connsiteX48" fmla="*/ 6500 w 10000"/>
                    <a:gd name="connsiteY48" fmla="*/ 7608 h 9866"/>
                    <a:gd name="connsiteX49" fmla="*/ 6500 w 10000"/>
                    <a:gd name="connsiteY49" fmla="*/ 7608 h 9866"/>
                    <a:gd name="connsiteX50" fmla="*/ 7167 w 10000"/>
                    <a:gd name="connsiteY50" fmla="*/ 7563 h 9866"/>
                    <a:gd name="connsiteX51" fmla="*/ 8389 w 10000"/>
                    <a:gd name="connsiteY51" fmla="*/ 7474 h 9866"/>
                    <a:gd name="connsiteX52" fmla="*/ 8389 w 10000"/>
                    <a:gd name="connsiteY52" fmla="*/ 7474 h 9866"/>
                    <a:gd name="connsiteX53" fmla="*/ 8667 w 10000"/>
                    <a:gd name="connsiteY53" fmla="*/ 7444 h 9866"/>
                    <a:gd name="connsiteX54" fmla="*/ 8778 w 10000"/>
                    <a:gd name="connsiteY54" fmla="*/ 7399 h 9866"/>
                    <a:gd name="connsiteX55" fmla="*/ 8889 w 10000"/>
                    <a:gd name="connsiteY55" fmla="*/ 7370 h 9866"/>
                    <a:gd name="connsiteX56" fmla="*/ 8833 w 10000"/>
                    <a:gd name="connsiteY56" fmla="*/ 7339 h 9866"/>
                    <a:gd name="connsiteX57" fmla="*/ 8833 w 10000"/>
                    <a:gd name="connsiteY57" fmla="*/ 7310 h 9866"/>
                    <a:gd name="connsiteX58" fmla="*/ 8722 w 10000"/>
                    <a:gd name="connsiteY58" fmla="*/ 7280 h 9866"/>
                    <a:gd name="connsiteX59" fmla="*/ 8556 w 10000"/>
                    <a:gd name="connsiteY59" fmla="*/ 7235 h 9866"/>
                    <a:gd name="connsiteX60" fmla="*/ 8556 w 10000"/>
                    <a:gd name="connsiteY60" fmla="*/ 7235 h 9866"/>
                    <a:gd name="connsiteX61" fmla="*/ 6556 w 10000"/>
                    <a:gd name="connsiteY61" fmla="*/ 6969 h 9866"/>
                    <a:gd name="connsiteX62" fmla="*/ 6556 w 10000"/>
                    <a:gd name="connsiteY62" fmla="*/ 6969 h 9866"/>
                    <a:gd name="connsiteX63" fmla="*/ 6333 w 10000"/>
                    <a:gd name="connsiteY63" fmla="*/ 6925 h 9866"/>
                    <a:gd name="connsiteX64" fmla="*/ 6167 w 10000"/>
                    <a:gd name="connsiteY64" fmla="*/ 6880 h 9866"/>
                    <a:gd name="connsiteX65" fmla="*/ 6056 w 10000"/>
                    <a:gd name="connsiteY65" fmla="*/ 6835 h 9866"/>
                    <a:gd name="connsiteX66" fmla="*/ 6056 w 10000"/>
                    <a:gd name="connsiteY66" fmla="*/ 6835 h 9866"/>
                    <a:gd name="connsiteX67" fmla="*/ 8056 w 10000"/>
                    <a:gd name="connsiteY67" fmla="*/ 6820 h 9866"/>
                    <a:gd name="connsiteX68" fmla="*/ 10000 w 10000"/>
                    <a:gd name="connsiteY68" fmla="*/ 6969 h 9866"/>
                    <a:gd name="connsiteX69" fmla="*/ 10000 w 10000"/>
                    <a:gd name="connsiteY69" fmla="*/ 5617 h 9866"/>
                    <a:gd name="connsiteX70" fmla="*/ 10000 w 10000"/>
                    <a:gd name="connsiteY70" fmla="*/ 5617 h 9866"/>
                    <a:gd name="connsiteX71" fmla="*/ 7778 w 10000"/>
                    <a:gd name="connsiteY71" fmla="*/ 5305 h 9866"/>
                    <a:gd name="connsiteX72" fmla="*/ 6556 w 10000"/>
                    <a:gd name="connsiteY72" fmla="*/ 5126 h 9866"/>
                    <a:gd name="connsiteX73" fmla="*/ 6556 w 10000"/>
                    <a:gd name="connsiteY73" fmla="*/ 5126 h 9866"/>
                    <a:gd name="connsiteX74" fmla="*/ 6556 w 10000"/>
                    <a:gd name="connsiteY74" fmla="*/ 5111 h 9866"/>
                    <a:gd name="connsiteX75" fmla="*/ 6556 w 10000"/>
                    <a:gd name="connsiteY75" fmla="*/ 5022 h 9866"/>
                    <a:gd name="connsiteX76" fmla="*/ 6556 w 10000"/>
                    <a:gd name="connsiteY76" fmla="*/ 5022 h 9866"/>
                    <a:gd name="connsiteX77" fmla="*/ 6389 w 10000"/>
                    <a:gd name="connsiteY77" fmla="*/ 4919 h 9866"/>
                    <a:gd name="connsiteX78" fmla="*/ 6056 w 10000"/>
                    <a:gd name="connsiteY78" fmla="*/ 4755 h 9866"/>
                    <a:gd name="connsiteX79" fmla="*/ 5333 w 10000"/>
                    <a:gd name="connsiteY79" fmla="*/ 4442 h 9866"/>
                    <a:gd name="connsiteX80" fmla="*/ 5333 w 10000"/>
                    <a:gd name="connsiteY80" fmla="*/ 4442 h 9866"/>
                    <a:gd name="connsiteX81" fmla="*/ 5167 w 10000"/>
                    <a:gd name="connsiteY81" fmla="*/ 4398 h 9866"/>
                    <a:gd name="connsiteX82" fmla="*/ 4889 w 10000"/>
                    <a:gd name="connsiteY82" fmla="*/ 4338 h 9866"/>
                    <a:gd name="connsiteX83" fmla="*/ 4056 w 10000"/>
                    <a:gd name="connsiteY83" fmla="*/ 4206 h 9866"/>
                    <a:gd name="connsiteX84" fmla="*/ 2889 w 10000"/>
                    <a:gd name="connsiteY84" fmla="*/ 4042 h 9866"/>
                    <a:gd name="connsiteX85" fmla="*/ 2889 w 10000"/>
                    <a:gd name="connsiteY85" fmla="*/ 4042 h 9866"/>
                    <a:gd name="connsiteX86" fmla="*/ 2389 w 10000"/>
                    <a:gd name="connsiteY86" fmla="*/ 4027 h 9866"/>
                    <a:gd name="connsiteX87" fmla="*/ 2000 w 10000"/>
                    <a:gd name="connsiteY87" fmla="*/ 4011 h 9866"/>
                    <a:gd name="connsiteX88" fmla="*/ 1889 w 10000"/>
                    <a:gd name="connsiteY88" fmla="*/ 3997 h 9866"/>
                    <a:gd name="connsiteX89" fmla="*/ 1778 w 10000"/>
                    <a:gd name="connsiteY89" fmla="*/ 3982 h 9866"/>
                    <a:gd name="connsiteX90" fmla="*/ 1778 w 10000"/>
                    <a:gd name="connsiteY90" fmla="*/ 3982 h 9866"/>
                    <a:gd name="connsiteX91" fmla="*/ 1667 w 10000"/>
                    <a:gd name="connsiteY91" fmla="*/ 3923 h 9866"/>
                    <a:gd name="connsiteX92" fmla="*/ 1500 w 10000"/>
                    <a:gd name="connsiteY92" fmla="*/ 3819 h 9866"/>
                    <a:gd name="connsiteX93" fmla="*/ 1444 w 10000"/>
                    <a:gd name="connsiteY93" fmla="*/ 3760 h 9866"/>
                    <a:gd name="connsiteX94" fmla="*/ 1444 w 10000"/>
                    <a:gd name="connsiteY94" fmla="*/ 3700 h 9866"/>
                    <a:gd name="connsiteX95" fmla="*/ 1444 w 10000"/>
                    <a:gd name="connsiteY95" fmla="*/ 3655 h 9866"/>
                    <a:gd name="connsiteX96" fmla="*/ 1556 w 10000"/>
                    <a:gd name="connsiteY96" fmla="*/ 3611 h 9866"/>
                    <a:gd name="connsiteX97" fmla="*/ 1556 w 10000"/>
                    <a:gd name="connsiteY97" fmla="*/ 3611 h 9866"/>
                    <a:gd name="connsiteX98" fmla="*/ 1833 w 10000"/>
                    <a:gd name="connsiteY98" fmla="*/ 3537 h 9866"/>
                    <a:gd name="connsiteX99" fmla="*/ 2111 w 10000"/>
                    <a:gd name="connsiteY99" fmla="*/ 3461 h 9866"/>
                    <a:gd name="connsiteX100" fmla="*/ 2278 w 10000"/>
                    <a:gd name="connsiteY100" fmla="*/ 3417 h 9866"/>
                    <a:gd name="connsiteX101" fmla="*/ 2389 w 10000"/>
                    <a:gd name="connsiteY101" fmla="*/ 3373 h 9866"/>
                    <a:gd name="connsiteX102" fmla="*/ 2389 w 10000"/>
                    <a:gd name="connsiteY102" fmla="*/ 3313 h 9866"/>
                    <a:gd name="connsiteX103" fmla="*/ 2389 w 10000"/>
                    <a:gd name="connsiteY103" fmla="*/ 3240 h 9866"/>
                    <a:gd name="connsiteX104" fmla="*/ 2389 w 10000"/>
                    <a:gd name="connsiteY104" fmla="*/ 3240 h 9866"/>
                    <a:gd name="connsiteX105" fmla="*/ 2167 w 10000"/>
                    <a:gd name="connsiteY105" fmla="*/ 3031 h 9866"/>
                    <a:gd name="connsiteX106" fmla="*/ 1889 w 10000"/>
                    <a:gd name="connsiteY106" fmla="*/ 2749 h 9866"/>
                    <a:gd name="connsiteX107" fmla="*/ 1667 w 10000"/>
                    <a:gd name="connsiteY107" fmla="*/ 2497 h 9866"/>
                    <a:gd name="connsiteX108" fmla="*/ 1611 w 10000"/>
                    <a:gd name="connsiteY108" fmla="*/ 2423 h 9866"/>
                    <a:gd name="connsiteX109" fmla="*/ 1611 w 10000"/>
                    <a:gd name="connsiteY109" fmla="*/ 2393 h 9866"/>
                    <a:gd name="connsiteX110" fmla="*/ 1667 w 10000"/>
                    <a:gd name="connsiteY110" fmla="*/ 2378 h 9866"/>
                    <a:gd name="connsiteX111" fmla="*/ 1667 w 10000"/>
                    <a:gd name="connsiteY111" fmla="*/ 2378 h 9866"/>
                    <a:gd name="connsiteX112" fmla="*/ 2000 w 10000"/>
                    <a:gd name="connsiteY112" fmla="*/ 2364 h 9866"/>
                    <a:gd name="connsiteX113" fmla="*/ 2222 w 10000"/>
                    <a:gd name="connsiteY113" fmla="*/ 2364 h 9866"/>
                    <a:gd name="connsiteX114" fmla="*/ 2389 w 10000"/>
                    <a:gd name="connsiteY114" fmla="*/ 2378 h 9866"/>
                    <a:gd name="connsiteX115" fmla="*/ 2389 w 10000"/>
                    <a:gd name="connsiteY115" fmla="*/ 2378 h 9866"/>
                    <a:gd name="connsiteX116" fmla="*/ 2444 w 10000"/>
                    <a:gd name="connsiteY116" fmla="*/ 2378 h 9866"/>
                    <a:gd name="connsiteX117" fmla="*/ 2500 w 10000"/>
                    <a:gd name="connsiteY117" fmla="*/ 2349 h 9866"/>
                    <a:gd name="connsiteX118" fmla="*/ 2778 w 10000"/>
                    <a:gd name="connsiteY118" fmla="*/ 2258 h 9866"/>
                    <a:gd name="connsiteX119" fmla="*/ 3500 w 10000"/>
                    <a:gd name="connsiteY119" fmla="*/ 1961 h 9866"/>
                    <a:gd name="connsiteX120" fmla="*/ 4444 w 10000"/>
                    <a:gd name="connsiteY120" fmla="*/ 1531 h 9866"/>
                    <a:gd name="connsiteX121" fmla="*/ 4444 w 10000"/>
                    <a:gd name="connsiteY121" fmla="*/ 1531 h 9866"/>
                    <a:gd name="connsiteX122" fmla="*/ 4444 w 10000"/>
                    <a:gd name="connsiteY122" fmla="*/ 1470 h 9866"/>
                    <a:gd name="connsiteX123" fmla="*/ 4444 w 10000"/>
                    <a:gd name="connsiteY123" fmla="*/ 1337 h 9866"/>
                    <a:gd name="connsiteX124" fmla="*/ 4500 w 10000"/>
                    <a:gd name="connsiteY124" fmla="*/ 1248 h 9866"/>
                    <a:gd name="connsiteX125" fmla="*/ 4611 w 10000"/>
                    <a:gd name="connsiteY125" fmla="*/ 1174 h 9866"/>
                    <a:gd name="connsiteX126" fmla="*/ 4778 w 10000"/>
                    <a:gd name="connsiteY126" fmla="*/ 1085 h 9866"/>
                    <a:gd name="connsiteX127" fmla="*/ 5000 w 10000"/>
                    <a:gd name="connsiteY127" fmla="*/ 1011 h 9866"/>
                    <a:gd name="connsiteX128" fmla="*/ 5000 w 10000"/>
                    <a:gd name="connsiteY128" fmla="*/ 1011 h 9866"/>
                    <a:gd name="connsiteX129" fmla="*/ 5556 w 10000"/>
                    <a:gd name="connsiteY129" fmla="*/ 862 h 9866"/>
                    <a:gd name="connsiteX130" fmla="*/ 6111 w 10000"/>
                    <a:gd name="connsiteY130" fmla="*/ 669 h 9866"/>
                    <a:gd name="connsiteX131" fmla="*/ 6667 w 10000"/>
                    <a:gd name="connsiteY131" fmla="*/ 491 h 9866"/>
                    <a:gd name="connsiteX132" fmla="*/ 7056 w 10000"/>
                    <a:gd name="connsiteY132" fmla="*/ 328 h 9866"/>
                    <a:gd name="connsiteX133" fmla="*/ 7056 w 10000"/>
                    <a:gd name="connsiteY133" fmla="*/ 328 h 9866"/>
                    <a:gd name="connsiteX134" fmla="*/ 7333 w 10000"/>
                    <a:gd name="connsiteY134" fmla="*/ 180 h 9866"/>
                    <a:gd name="connsiteX135" fmla="*/ 7667 w 10000"/>
                    <a:gd name="connsiteY135" fmla="*/ 0 h 9866"/>
                    <a:gd name="connsiteX136" fmla="*/ 10000 w 10000"/>
                    <a:gd name="connsiteY136" fmla="*/ 8871 h 9866"/>
                    <a:gd name="connsiteX137" fmla="*/ 10000 w 10000"/>
                    <a:gd name="connsiteY137" fmla="*/ 8871 h 9866"/>
                    <a:gd name="connsiteX138" fmla="*/ 9722 w 10000"/>
                    <a:gd name="connsiteY138" fmla="*/ 8856 h 9866"/>
                    <a:gd name="connsiteX139" fmla="*/ 9389 w 10000"/>
                    <a:gd name="connsiteY139" fmla="*/ 8871 h 9866"/>
                    <a:gd name="connsiteX140" fmla="*/ 9389 w 10000"/>
                    <a:gd name="connsiteY140" fmla="*/ 8871 h 9866"/>
                    <a:gd name="connsiteX141" fmla="*/ 9278 w 10000"/>
                    <a:gd name="connsiteY141" fmla="*/ 8886 h 9866"/>
                    <a:gd name="connsiteX142" fmla="*/ 9056 w 10000"/>
                    <a:gd name="connsiteY142" fmla="*/ 8871 h 9866"/>
                    <a:gd name="connsiteX143" fmla="*/ 8889 w 10000"/>
                    <a:gd name="connsiteY143" fmla="*/ 8856 h 9866"/>
                    <a:gd name="connsiteX144" fmla="*/ 8722 w 10000"/>
                    <a:gd name="connsiteY144" fmla="*/ 8826 h 9866"/>
                    <a:gd name="connsiteX145" fmla="*/ 8611 w 10000"/>
                    <a:gd name="connsiteY145" fmla="*/ 8781 h 9866"/>
                    <a:gd name="connsiteX146" fmla="*/ 8444 w 10000"/>
                    <a:gd name="connsiteY146" fmla="*/ 8706 h 9866"/>
                    <a:gd name="connsiteX147" fmla="*/ 8444 w 10000"/>
                    <a:gd name="connsiteY147" fmla="*/ 8706 h 9866"/>
                    <a:gd name="connsiteX148" fmla="*/ 8222 w 10000"/>
                    <a:gd name="connsiteY148" fmla="*/ 8573 h 9866"/>
                    <a:gd name="connsiteX149" fmla="*/ 8111 w 10000"/>
                    <a:gd name="connsiteY149" fmla="*/ 8514 h 9866"/>
                    <a:gd name="connsiteX150" fmla="*/ 7944 w 10000"/>
                    <a:gd name="connsiteY150" fmla="*/ 8470 h 9866"/>
                    <a:gd name="connsiteX151" fmla="*/ 7778 w 10000"/>
                    <a:gd name="connsiteY151" fmla="*/ 8440 h 9866"/>
                    <a:gd name="connsiteX152" fmla="*/ 7556 w 10000"/>
                    <a:gd name="connsiteY152" fmla="*/ 8424 h 9866"/>
                    <a:gd name="connsiteX153" fmla="*/ 7333 w 10000"/>
                    <a:gd name="connsiteY153" fmla="*/ 8410 h 9866"/>
                    <a:gd name="connsiteX154" fmla="*/ 7000 w 10000"/>
                    <a:gd name="connsiteY154" fmla="*/ 8395 h 9866"/>
                    <a:gd name="connsiteX155" fmla="*/ 7000 w 10000"/>
                    <a:gd name="connsiteY155" fmla="*/ 8395 h 9866"/>
                    <a:gd name="connsiteX156" fmla="*/ 6556 w 10000"/>
                    <a:gd name="connsiteY156" fmla="*/ 8410 h 9866"/>
                    <a:gd name="connsiteX157" fmla="*/ 6222 w 10000"/>
                    <a:gd name="connsiteY157" fmla="*/ 8410 h 9866"/>
                    <a:gd name="connsiteX158" fmla="*/ 6111 w 10000"/>
                    <a:gd name="connsiteY158" fmla="*/ 8395 h 9866"/>
                    <a:gd name="connsiteX159" fmla="*/ 6056 w 10000"/>
                    <a:gd name="connsiteY159" fmla="*/ 8380 h 9866"/>
                    <a:gd name="connsiteX160" fmla="*/ 6056 w 10000"/>
                    <a:gd name="connsiteY160" fmla="*/ 8380 h 9866"/>
                    <a:gd name="connsiteX161" fmla="*/ 6056 w 10000"/>
                    <a:gd name="connsiteY161" fmla="*/ 8113 h 9866"/>
                    <a:gd name="connsiteX162" fmla="*/ 6056 w 10000"/>
                    <a:gd name="connsiteY162" fmla="*/ 8113 h 9866"/>
                    <a:gd name="connsiteX163" fmla="*/ 6056 w 10000"/>
                    <a:gd name="connsiteY163" fmla="*/ 8052 h 9866"/>
                    <a:gd name="connsiteX164" fmla="*/ 5944 w 10000"/>
                    <a:gd name="connsiteY164" fmla="*/ 7979 h 9866"/>
                    <a:gd name="connsiteX165" fmla="*/ 5889 w 10000"/>
                    <a:gd name="connsiteY165" fmla="*/ 7964 h 9866"/>
                    <a:gd name="connsiteX166" fmla="*/ 5778 w 10000"/>
                    <a:gd name="connsiteY166" fmla="*/ 7949 h 9866"/>
                    <a:gd name="connsiteX167" fmla="*/ 5667 w 10000"/>
                    <a:gd name="connsiteY167" fmla="*/ 7949 h 9866"/>
                    <a:gd name="connsiteX168" fmla="*/ 5500 w 10000"/>
                    <a:gd name="connsiteY168" fmla="*/ 7964 h 9866"/>
                    <a:gd name="connsiteX169" fmla="*/ 5500 w 10000"/>
                    <a:gd name="connsiteY169" fmla="*/ 7964 h 9866"/>
                    <a:gd name="connsiteX170" fmla="*/ 4889 w 10000"/>
                    <a:gd name="connsiteY170" fmla="*/ 8067 h 9866"/>
                    <a:gd name="connsiteX171" fmla="*/ 4611 w 10000"/>
                    <a:gd name="connsiteY171" fmla="*/ 8098 h 9866"/>
                    <a:gd name="connsiteX172" fmla="*/ 4556 w 10000"/>
                    <a:gd name="connsiteY172" fmla="*/ 8113 h 9866"/>
                    <a:gd name="connsiteX173" fmla="*/ 4500 w 10000"/>
                    <a:gd name="connsiteY173" fmla="*/ 8098 h 9866"/>
                    <a:gd name="connsiteX174" fmla="*/ 4500 w 10000"/>
                    <a:gd name="connsiteY174" fmla="*/ 8098 h 9866"/>
                    <a:gd name="connsiteX175" fmla="*/ 4222 w 10000"/>
                    <a:gd name="connsiteY175" fmla="*/ 7949 h 9866"/>
                    <a:gd name="connsiteX176" fmla="*/ 4222 w 10000"/>
                    <a:gd name="connsiteY176" fmla="*/ 7949 h 9866"/>
                    <a:gd name="connsiteX177" fmla="*/ 4111 w 10000"/>
                    <a:gd name="connsiteY177" fmla="*/ 7875 h 9866"/>
                    <a:gd name="connsiteX178" fmla="*/ 4111 w 10000"/>
                    <a:gd name="connsiteY178" fmla="*/ 7830 h 9866"/>
                    <a:gd name="connsiteX179" fmla="*/ 4111 w 10000"/>
                    <a:gd name="connsiteY179" fmla="*/ 7786 h 9866"/>
                    <a:gd name="connsiteX180" fmla="*/ 4111 w 10000"/>
                    <a:gd name="connsiteY180" fmla="*/ 7786 h 9866"/>
                    <a:gd name="connsiteX181" fmla="*/ 4278 w 10000"/>
                    <a:gd name="connsiteY181" fmla="*/ 7741 h 9866"/>
                    <a:gd name="connsiteX182" fmla="*/ 4389 w 10000"/>
                    <a:gd name="connsiteY182" fmla="*/ 7726 h 9866"/>
                    <a:gd name="connsiteX183" fmla="*/ 4389 w 10000"/>
                    <a:gd name="connsiteY183" fmla="*/ 7726 h 9866"/>
                    <a:gd name="connsiteX184" fmla="*/ 4000 w 10000"/>
                    <a:gd name="connsiteY184" fmla="*/ 7726 h 9866"/>
                    <a:gd name="connsiteX185" fmla="*/ 3722 w 10000"/>
                    <a:gd name="connsiteY185" fmla="*/ 7741 h 9866"/>
                    <a:gd name="connsiteX186" fmla="*/ 3611 w 10000"/>
                    <a:gd name="connsiteY186" fmla="*/ 7757 h 9866"/>
                    <a:gd name="connsiteX187" fmla="*/ 3556 w 10000"/>
                    <a:gd name="connsiteY187" fmla="*/ 7771 h 9866"/>
                    <a:gd name="connsiteX188" fmla="*/ 3556 w 10000"/>
                    <a:gd name="connsiteY188" fmla="*/ 7771 h 9866"/>
                    <a:gd name="connsiteX189" fmla="*/ 3444 w 10000"/>
                    <a:gd name="connsiteY189" fmla="*/ 7830 h 9866"/>
                    <a:gd name="connsiteX190" fmla="*/ 3278 w 10000"/>
                    <a:gd name="connsiteY190" fmla="*/ 7920 h 9866"/>
                    <a:gd name="connsiteX191" fmla="*/ 3000 w 10000"/>
                    <a:gd name="connsiteY191" fmla="*/ 8023 h 9866"/>
                    <a:gd name="connsiteX192" fmla="*/ 2667 w 10000"/>
                    <a:gd name="connsiteY192" fmla="*/ 8098 h 9866"/>
                    <a:gd name="connsiteX193" fmla="*/ 2667 w 10000"/>
                    <a:gd name="connsiteY193" fmla="*/ 8098 h 9866"/>
                    <a:gd name="connsiteX194" fmla="*/ 2333 w 10000"/>
                    <a:gd name="connsiteY194" fmla="*/ 8157 h 9866"/>
                    <a:gd name="connsiteX195" fmla="*/ 1833 w 10000"/>
                    <a:gd name="connsiteY195" fmla="*/ 8217 h 9866"/>
                    <a:gd name="connsiteX196" fmla="*/ 1389 w 10000"/>
                    <a:gd name="connsiteY196" fmla="*/ 8247 h 9866"/>
                    <a:gd name="connsiteX197" fmla="*/ 889 w 10000"/>
                    <a:gd name="connsiteY197" fmla="*/ 8262 h 9866"/>
                    <a:gd name="connsiteX198" fmla="*/ 889 w 10000"/>
                    <a:gd name="connsiteY198" fmla="*/ 8262 h 9866"/>
                    <a:gd name="connsiteX199" fmla="*/ 500 w 10000"/>
                    <a:gd name="connsiteY199" fmla="*/ 8277 h 9866"/>
                    <a:gd name="connsiteX200" fmla="*/ 222 w 10000"/>
                    <a:gd name="connsiteY200" fmla="*/ 8292 h 9866"/>
                    <a:gd name="connsiteX201" fmla="*/ 0 w 10000"/>
                    <a:gd name="connsiteY201" fmla="*/ 8307 h 9866"/>
                    <a:gd name="connsiteX202" fmla="*/ 0 w 10000"/>
                    <a:gd name="connsiteY202" fmla="*/ 8307 h 9866"/>
                    <a:gd name="connsiteX203" fmla="*/ 278 w 10000"/>
                    <a:gd name="connsiteY203" fmla="*/ 8543 h 9866"/>
                    <a:gd name="connsiteX204" fmla="*/ 500 w 10000"/>
                    <a:gd name="connsiteY204" fmla="*/ 8721 h 9866"/>
                    <a:gd name="connsiteX205" fmla="*/ 722 w 10000"/>
                    <a:gd name="connsiteY205" fmla="*/ 8871 h 9866"/>
                    <a:gd name="connsiteX206" fmla="*/ 722 w 10000"/>
                    <a:gd name="connsiteY206" fmla="*/ 8871 h 9866"/>
                    <a:gd name="connsiteX207" fmla="*/ 889 w 10000"/>
                    <a:gd name="connsiteY207" fmla="*/ 8961 h 9866"/>
                    <a:gd name="connsiteX208" fmla="*/ 944 w 10000"/>
                    <a:gd name="connsiteY208" fmla="*/ 9034 h 9866"/>
                    <a:gd name="connsiteX209" fmla="*/ 1111 w 10000"/>
                    <a:gd name="connsiteY209" fmla="*/ 9109 h 9866"/>
                    <a:gd name="connsiteX210" fmla="*/ 1333 w 10000"/>
                    <a:gd name="connsiteY210" fmla="*/ 9227 h 9866"/>
                    <a:gd name="connsiteX211" fmla="*/ 1333 w 10000"/>
                    <a:gd name="connsiteY211" fmla="*/ 9227 h 9866"/>
                    <a:gd name="connsiteX212" fmla="*/ 1444 w 10000"/>
                    <a:gd name="connsiteY212" fmla="*/ 9287 h 9866"/>
                    <a:gd name="connsiteX213" fmla="*/ 1500 w 10000"/>
                    <a:gd name="connsiteY213" fmla="*/ 9331 h 9866"/>
                    <a:gd name="connsiteX214" fmla="*/ 1500 w 10000"/>
                    <a:gd name="connsiteY214" fmla="*/ 9375 h 9866"/>
                    <a:gd name="connsiteX215" fmla="*/ 1556 w 10000"/>
                    <a:gd name="connsiteY215" fmla="*/ 9390 h 9866"/>
                    <a:gd name="connsiteX216" fmla="*/ 1722 w 10000"/>
                    <a:gd name="connsiteY216" fmla="*/ 9404 h 9866"/>
                    <a:gd name="connsiteX217" fmla="*/ 1944 w 10000"/>
                    <a:gd name="connsiteY217" fmla="*/ 9419 h 9866"/>
                    <a:gd name="connsiteX218" fmla="*/ 2944 w 10000"/>
                    <a:gd name="connsiteY218" fmla="*/ 9434 h 9866"/>
                    <a:gd name="connsiteX219" fmla="*/ 2944 w 10000"/>
                    <a:gd name="connsiteY219" fmla="*/ 9434 h 9866"/>
                    <a:gd name="connsiteX220" fmla="*/ 4167 w 10000"/>
                    <a:gd name="connsiteY220" fmla="*/ 9464 h 9866"/>
                    <a:gd name="connsiteX221" fmla="*/ 4889 w 10000"/>
                    <a:gd name="connsiteY221" fmla="*/ 9510 h 9866"/>
                    <a:gd name="connsiteX222" fmla="*/ 5278 w 10000"/>
                    <a:gd name="connsiteY222" fmla="*/ 9555 h 9866"/>
                    <a:gd name="connsiteX223" fmla="*/ 5444 w 10000"/>
                    <a:gd name="connsiteY223" fmla="*/ 9569 h 9866"/>
                    <a:gd name="connsiteX224" fmla="*/ 5444 w 10000"/>
                    <a:gd name="connsiteY224" fmla="*/ 9569 h 9866"/>
                    <a:gd name="connsiteX225" fmla="*/ 5722 w 10000"/>
                    <a:gd name="connsiteY225" fmla="*/ 9599 h 9866"/>
                    <a:gd name="connsiteX226" fmla="*/ 5833 w 10000"/>
                    <a:gd name="connsiteY226" fmla="*/ 9615 h 9866"/>
                    <a:gd name="connsiteX227" fmla="*/ 5833 w 10000"/>
                    <a:gd name="connsiteY227" fmla="*/ 9615 h 9866"/>
                    <a:gd name="connsiteX228" fmla="*/ 5833 w 10000"/>
                    <a:gd name="connsiteY228" fmla="*/ 9599 h 9866"/>
                    <a:gd name="connsiteX229" fmla="*/ 5889 w 10000"/>
                    <a:gd name="connsiteY229" fmla="*/ 9584 h 9866"/>
                    <a:gd name="connsiteX230" fmla="*/ 6000 w 10000"/>
                    <a:gd name="connsiteY230" fmla="*/ 9569 h 9866"/>
                    <a:gd name="connsiteX231" fmla="*/ 6167 w 10000"/>
                    <a:gd name="connsiteY231" fmla="*/ 9555 h 9866"/>
                    <a:gd name="connsiteX232" fmla="*/ 6444 w 10000"/>
                    <a:gd name="connsiteY232" fmla="*/ 9555 h 9866"/>
                    <a:gd name="connsiteX233" fmla="*/ 6833 w 10000"/>
                    <a:gd name="connsiteY233" fmla="*/ 9569 h 9866"/>
                    <a:gd name="connsiteX234" fmla="*/ 7278 w 10000"/>
                    <a:gd name="connsiteY234" fmla="*/ 9615 h 9866"/>
                    <a:gd name="connsiteX235" fmla="*/ 7278 w 10000"/>
                    <a:gd name="connsiteY235" fmla="*/ 9615 h 9866"/>
                    <a:gd name="connsiteX236" fmla="*/ 8722 w 10000"/>
                    <a:gd name="connsiteY236" fmla="*/ 9747 h 9866"/>
                    <a:gd name="connsiteX237" fmla="*/ 10000 w 10000"/>
                    <a:gd name="connsiteY237" fmla="*/ 9866 h 9866"/>
                    <a:gd name="connsiteX0" fmla="*/ 10000 w 10000"/>
                    <a:gd name="connsiteY0" fmla="*/ 8794 h 9818"/>
                    <a:gd name="connsiteX1" fmla="*/ 10000 w 10000"/>
                    <a:gd name="connsiteY1" fmla="*/ 8794 h 9818"/>
                    <a:gd name="connsiteX2" fmla="*/ 9222 w 10000"/>
                    <a:gd name="connsiteY2" fmla="*/ 8809 h 9818"/>
                    <a:gd name="connsiteX3" fmla="*/ 8944 w 10000"/>
                    <a:gd name="connsiteY3" fmla="*/ 8809 h 9818"/>
                    <a:gd name="connsiteX4" fmla="*/ 8833 w 10000"/>
                    <a:gd name="connsiteY4" fmla="*/ 8794 h 9818"/>
                    <a:gd name="connsiteX5" fmla="*/ 8778 w 10000"/>
                    <a:gd name="connsiteY5" fmla="*/ 8779 h 9818"/>
                    <a:gd name="connsiteX6" fmla="*/ 8778 w 10000"/>
                    <a:gd name="connsiteY6" fmla="*/ 8779 h 9818"/>
                    <a:gd name="connsiteX7" fmla="*/ 8444 w 10000"/>
                    <a:gd name="connsiteY7" fmla="*/ 8598 h 9818"/>
                    <a:gd name="connsiteX8" fmla="*/ 8167 w 10000"/>
                    <a:gd name="connsiteY8" fmla="*/ 8432 h 9818"/>
                    <a:gd name="connsiteX9" fmla="*/ 8167 w 10000"/>
                    <a:gd name="connsiteY9" fmla="*/ 8432 h 9818"/>
                    <a:gd name="connsiteX10" fmla="*/ 8056 w 10000"/>
                    <a:gd name="connsiteY10" fmla="*/ 8403 h 9818"/>
                    <a:gd name="connsiteX11" fmla="*/ 7889 w 10000"/>
                    <a:gd name="connsiteY11" fmla="*/ 8373 h 9818"/>
                    <a:gd name="connsiteX12" fmla="*/ 7444 w 10000"/>
                    <a:gd name="connsiteY12" fmla="*/ 8356 h 9818"/>
                    <a:gd name="connsiteX13" fmla="*/ 6889 w 10000"/>
                    <a:gd name="connsiteY13" fmla="*/ 8342 h 9818"/>
                    <a:gd name="connsiteX14" fmla="*/ 6389 w 10000"/>
                    <a:gd name="connsiteY14" fmla="*/ 8342 h 9818"/>
                    <a:gd name="connsiteX15" fmla="*/ 6389 w 10000"/>
                    <a:gd name="connsiteY15" fmla="*/ 8342 h 9818"/>
                    <a:gd name="connsiteX16" fmla="*/ 6167 w 10000"/>
                    <a:gd name="connsiteY16" fmla="*/ 8327 h 9818"/>
                    <a:gd name="connsiteX17" fmla="*/ 6056 w 10000"/>
                    <a:gd name="connsiteY17" fmla="*/ 8298 h 9818"/>
                    <a:gd name="connsiteX18" fmla="*/ 6000 w 10000"/>
                    <a:gd name="connsiteY18" fmla="*/ 8267 h 9818"/>
                    <a:gd name="connsiteX19" fmla="*/ 6000 w 10000"/>
                    <a:gd name="connsiteY19" fmla="*/ 8207 h 9818"/>
                    <a:gd name="connsiteX20" fmla="*/ 6056 w 10000"/>
                    <a:gd name="connsiteY20" fmla="*/ 8086 h 9818"/>
                    <a:gd name="connsiteX21" fmla="*/ 6111 w 10000"/>
                    <a:gd name="connsiteY21" fmla="*/ 8026 h 9818"/>
                    <a:gd name="connsiteX22" fmla="*/ 6056 w 10000"/>
                    <a:gd name="connsiteY22" fmla="*/ 7950 h 9818"/>
                    <a:gd name="connsiteX23" fmla="*/ 6056 w 10000"/>
                    <a:gd name="connsiteY23" fmla="*/ 7950 h 9818"/>
                    <a:gd name="connsiteX24" fmla="*/ 6000 w 10000"/>
                    <a:gd name="connsiteY24" fmla="*/ 7905 h 9818"/>
                    <a:gd name="connsiteX25" fmla="*/ 5944 w 10000"/>
                    <a:gd name="connsiteY25" fmla="*/ 7875 h 9818"/>
                    <a:gd name="connsiteX26" fmla="*/ 5833 w 10000"/>
                    <a:gd name="connsiteY26" fmla="*/ 7875 h 9818"/>
                    <a:gd name="connsiteX27" fmla="*/ 5667 w 10000"/>
                    <a:gd name="connsiteY27" fmla="*/ 7890 h 9818"/>
                    <a:gd name="connsiteX28" fmla="*/ 5333 w 10000"/>
                    <a:gd name="connsiteY28" fmla="*/ 7935 h 9818"/>
                    <a:gd name="connsiteX29" fmla="*/ 4889 w 10000"/>
                    <a:gd name="connsiteY29" fmla="*/ 8011 h 9818"/>
                    <a:gd name="connsiteX30" fmla="*/ 4889 w 10000"/>
                    <a:gd name="connsiteY30" fmla="*/ 8011 h 9818"/>
                    <a:gd name="connsiteX31" fmla="*/ 4611 w 10000"/>
                    <a:gd name="connsiteY31" fmla="*/ 8026 h 9818"/>
                    <a:gd name="connsiteX32" fmla="*/ 4500 w 10000"/>
                    <a:gd name="connsiteY32" fmla="*/ 8026 h 9818"/>
                    <a:gd name="connsiteX33" fmla="*/ 4444 w 10000"/>
                    <a:gd name="connsiteY33" fmla="*/ 8011 h 9818"/>
                    <a:gd name="connsiteX34" fmla="*/ 4389 w 10000"/>
                    <a:gd name="connsiteY34" fmla="*/ 7950 h 9818"/>
                    <a:gd name="connsiteX35" fmla="*/ 4222 w 10000"/>
                    <a:gd name="connsiteY35" fmla="*/ 7875 h 9818"/>
                    <a:gd name="connsiteX36" fmla="*/ 4222 w 10000"/>
                    <a:gd name="connsiteY36" fmla="*/ 7875 h 9818"/>
                    <a:gd name="connsiteX37" fmla="*/ 4111 w 10000"/>
                    <a:gd name="connsiteY37" fmla="*/ 7829 h 9818"/>
                    <a:gd name="connsiteX38" fmla="*/ 4111 w 10000"/>
                    <a:gd name="connsiteY38" fmla="*/ 7785 h 9818"/>
                    <a:gd name="connsiteX39" fmla="*/ 4111 w 10000"/>
                    <a:gd name="connsiteY39" fmla="*/ 7754 h 9818"/>
                    <a:gd name="connsiteX40" fmla="*/ 4167 w 10000"/>
                    <a:gd name="connsiteY40" fmla="*/ 7725 h 9818"/>
                    <a:gd name="connsiteX41" fmla="*/ 4278 w 10000"/>
                    <a:gd name="connsiteY41" fmla="*/ 7664 h 9818"/>
                    <a:gd name="connsiteX42" fmla="*/ 4389 w 10000"/>
                    <a:gd name="connsiteY42" fmla="*/ 7649 h 9818"/>
                    <a:gd name="connsiteX43" fmla="*/ 4389 w 10000"/>
                    <a:gd name="connsiteY43" fmla="*/ 7649 h 9818"/>
                    <a:gd name="connsiteX44" fmla="*/ 4389 w 10000"/>
                    <a:gd name="connsiteY44" fmla="*/ 7635 h 9818"/>
                    <a:gd name="connsiteX45" fmla="*/ 4444 w 10000"/>
                    <a:gd name="connsiteY45" fmla="*/ 7620 h 9818"/>
                    <a:gd name="connsiteX46" fmla="*/ 4667 w 10000"/>
                    <a:gd name="connsiteY46" fmla="*/ 7604 h 9818"/>
                    <a:gd name="connsiteX47" fmla="*/ 5333 w 10000"/>
                    <a:gd name="connsiteY47" fmla="*/ 7575 h 9818"/>
                    <a:gd name="connsiteX48" fmla="*/ 6500 w 10000"/>
                    <a:gd name="connsiteY48" fmla="*/ 7529 h 9818"/>
                    <a:gd name="connsiteX49" fmla="*/ 6500 w 10000"/>
                    <a:gd name="connsiteY49" fmla="*/ 7529 h 9818"/>
                    <a:gd name="connsiteX50" fmla="*/ 7167 w 10000"/>
                    <a:gd name="connsiteY50" fmla="*/ 7484 h 9818"/>
                    <a:gd name="connsiteX51" fmla="*/ 8389 w 10000"/>
                    <a:gd name="connsiteY51" fmla="*/ 7394 h 9818"/>
                    <a:gd name="connsiteX52" fmla="*/ 8389 w 10000"/>
                    <a:gd name="connsiteY52" fmla="*/ 7394 h 9818"/>
                    <a:gd name="connsiteX53" fmla="*/ 8667 w 10000"/>
                    <a:gd name="connsiteY53" fmla="*/ 7363 h 9818"/>
                    <a:gd name="connsiteX54" fmla="*/ 8778 w 10000"/>
                    <a:gd name="connsiteY54" fmla="*/ 7317 h 9818"/>
                    <a:gd name="connsiteX55" fmla="*/ 8889 w 10000"/>
                    <a:gd name="connsiteY55" fmla="*/ 7288 h 9818"/>
                    <a:gd name="connsiteX56" fmla="*/ 8833 w 10000"/>
                    <a:gd name="connsiteY56" fmla="*/ 7257 h 9818"/>
                    <a:gd name="connsiteX57" fmla="*/ 8833 w 10000"/>
                    <a:gd name="connsiteY57" fmla="*/ 7227 h 9818"/>
                    <a:gd name="connsiteX58" fmla="*/ 8722 w 10000"/>
                    <a:gd name="connsiteY58" fmla="*/ 7197 h 9818"/>
                    <a:gd name="connsiteX59" fmla="*/ 8556 w 10000"/>
                    <a:gd name="connsiteY59" fmla="*/ 7151 h 9818"/>
                    <a:gd name="connsiteX60" fmla="*/ 8556 w 10000"/>
                    <a:gd name="connsiteY60" fmla="*/ 7151 h 9818"/>
                    <a:gd name="connsiteX61" fmla="*/ 6556 w 10000"/>
                    <a:gd name="connsiteY61" fmla="*/ 6882 h 9818"/>
                    <a:gd name="connsiteX62" fmla="*/ 6556 w 10000"/>
                    <a:gd name="connsiteY62" fmla="*/ 6882 h 9818"/>
                    <a:gd name="connsiteX63" fmla="*/ 6333 w 10000"/>
                    <a:gd name="connsiteY63" fmla="*/ 6837 h 9818"/>
                    <a:gd name="connsiteX64" fmla="*/ 6167 w 10000"/>
                    <a:gd name="connsiteY64" fmla="*/ 6791 h 9818"/>
                    <a:gd name="connsiteX65" fmla="*/ 6056 w 10000"/>
                    <a:gd name="connsiteY65" fmla="*/ 6746 h 9818"/>
                    <a:gd name="connsiteX66" fmla="*/ 6056 w 10000"/>
                    <a:gd name="connsiteY66" fmla="*/ 6746 h 9818"/>
                    <a:gd name="connsiteX67" fmla="*/ 8056 w 10000"/>
                    <a:gd name="connsiteY67" fmla="*/ 6731 h 9818"/>
                    <a:gd name="connsiteX68" fmla="*/ 10000 w 10000"/>
                    <a:gd name="connsiteY68" fmla="*/ 6882 h 9818"/>
                    <a:gd name="connsiteX69" fmla="*/ 10000 w 10000"/>
                    <a:gd name="connsiteY69" fmla="*/ 5511 h 9818"/>
                    <a:gd name="connsiteX70" fmla="*/ 10000 w 10000"/>
                    <a:gd name="connsiteY70" fmla="*/ 5511 h 9818"/>
                    <a:gd name="connsiteX71" fmla="*/ 7778 w 10000"/>
                    <a:gd name="connsiteY71" fmla="*/ 5195 h 9818"/>
                    <a:gd name="connsiteX72" fmla="*/ 6556 w 10000"/>
                    <a:gd name="connsiteY72" fmla="*/ 5014 h 9818"/>
                    <a:gd name="connsiteX73" fmla="*/ 6556 w 10000"/>
                    <a:gd name="connsiteY73" fmla="*/ 5014 h 9818"/>
                    <a:gd name="connsiteX74" fmla="*/ 6556 w 10000"/>
                    <a:gd name="connsiteY74" fmla="*/ 4998 h 9818"/>
                    <a:gd name="connsiteX75" fmla="*/ 6556 w 10000"/>
                    <a:gd name="connsiteY75" fmla="*/ 4908 h 9818"/>
                    <a:gd name="connsiteX76" fmla="*/ 6556 w 10000"/>
                    <a:gd name="connsiteY76" fmla="*/ 4908 h 9818"/>
                    <a:gd name="connsiteX77" fmla="*/ 6389 w 10000"/>
                    <a:gd name="connsiteY77" fmla="*/ 4804 h 9818"/>
                    <a:gd name="connsiteX78" fmla="*/ 6056 w 10000"/>
                    <a:gd name="connsiteY78" fmla="*/ 4638 h 9818"/>
                    <a:gd name="connsiteX79" fmla="*/ 5333 w 10000"/>
                    <a:gd name="connsiteY79" fmla="*/ 4320 h 9818"/>
                    <a:gd name="connsiteX80" fmla="*/ 5333 w 10000"/>
                    <a:gd name="connsiteY80" fmla="*/ 4320 h 9818"/>
                    <a:gd name="connsiteX81" fmla="*/ 5167 w 10000"/>
                    <a:gd name="connsiteY81" fmla="*/ 4276 h 9818"/>
                    <a:gd name="connsiteX82" fmla="*/ 4889 w 10000"/>
                    <a:gd name="connsiteY82" fmla="*/ 4215 h 9818"/>
                    <a:gd name="connsiteX83" fmla="*/ 4056 w 10000"/>
                    <a:gd name="connsiteY83" fmla="*/ 4081 h 9818"/>
                    <a:gd name="connsiteX84" fmla="*/ 2889 w 10000"/>
                    <a:gd name="connsiteY84" fmla="*/ 3915 h 9818"/>
                    <a:gd name="connsiteX85" fmla="*/ 2889 w 10000"/>
                    <a:gd name="connsiteY85" fmla="*/ 3915 h 9818"/>
                    <a:gd name="connsiteX86" fmla="*/ 2389 w 10000"/>
                    <a:gd name="connsiteY86" fmla="*/ 3900 h 9818"/>
                    <a:gd name="connsiteX87" fmla="*/ 2000 w 10000"/>
                    <a:gd name="connsiteY87" fmla="*/ 3883 h 9818"/>
                    <a:gd name="connsiteX88" fmla="*/ 1889 w 10000"/>
                    <a:gd name="connsiteY88" fmla="*/ 3869 h 9818"/>
                    <a:gd name="connsiteX89" fmla="*/ 1778 w 10000"/>
                    <a:gd name="connsiteY89" fmla="*/ 3854 h 9818"/>
                    <a:gd name="connsiteX90" fmla="*/ 1778 w 10000"/>
                    <a:gd name="connsiteY90" fmla="*/ 3854 h 9818"/>
                    <a:gd name="connsiteX91" fmla="*/ 1667 w 10000"/>
                    <a:gd name="connsiteY91" fmla="*/ 3794 h 9818"/>
                    <a:gd name="connsiteX92" fmla="*/ 1500 w 10000"/>
                    <a:gd name="connsiteY92" fmla="*/ 3689 h 9818"/>
                    <a:gd name="connsiteX93" fmla="*/ 1444 w 10000"/>
                    <a:gd name="connsiteY93" fmla="*/ 3629 h 9818"/>
                    <a:gd name="connsiteX94" fmla="*/ 1444 w 10000"/>
                    <a:gd name="connsiteY94" fmla="*/ 3568 h 9818"/>
                    <a:gd name="connsiteX95" fmla="*/ 1444 w 10000"/>
                    <a:gd name="connsiteY95" fmla="*/ 3523 h 9818"/>
                    <a:gd name="connsiteX96" fmla="*/ 1556 w 10000"/>
                    <a:gd name="connsiteY96" fmla="*/ 3478 h 9818"/>
                    <a:gd name="connsiteX97" fmla="*/ 1556 w 10000"/>
                    <a:gd name="connsiteY97" fmla="*/ 3478 h 9818"/>
                    <a:gd name="connsiteX98" fmla="*/ 1833 w 10000"/>
                    <a:gd name="connsiteY98" fmla="*/ 3403 h 9818"/>
                    <a:gd name="connsiteX99" fmla="*/ 2111 w 10000"/>
                    <a:gd name="connsiteY99" fmla="*/ 3326 h 9818"/>
                    <a:gd name="connsiteX100" fmla="*/ 2278 w 10000"/>
                    <a:gd name="connsiteY100" fmla="*/ 3281 h 9818"/>
                    <a:gd name="connsiteX101" fmla="*/ 2389 w 10000"/>
                    <a:gd name="connsiteY101" fmla="*/ 3237 h 9818"/>
                    <a:gd name="connsiteX102" fmla="*/ 2389 w 10000"/>
                    <a:gd name="connsiteY102" fmla="*/ 3176 h 9818"/>
                    <a:gd name="connsiteX103" fmla="*/ 2389 w 10000"/>
                    <a:gd name="connsiteY103" fmla="*/ 3102 h 9818"/>
                    <a:gd name="connsiteX104" fmla="*/ 2389 w 10000"/>
                    <a:gd name="connsiteY104" fmla="*/ 3102 h 9818"/>
                    <a:gd name="connsiteX105" fmla="*/ 2167 w 10000"/>
                    <a:gd name="connsiteY105" fmla="*/ 2890 h 9818"/>
                    <a:gd name="connsiteX106" fmla="*/ 1889 w 10000"/>
                    <a:gd name="connsiteY106" fmla="*/ 2604 h 9818"/>
                    <a:gd name="connsiteX107" fmla="*/ 1667 w 10000"/>
                    <a:gd name="connsiteY107" fmla="*/ 2349 h 9818"/>
                    <a:gd name="connsiteX108" fmla="*/ 1611 w 10000"/>
                    <a:gd name="connsiteY108" fmla="*/ 2274 h 9818"/>
                    <a:gd name="connsiteX109" fmla="*/ 1611 w 10000"/>
                    <a:gd name="connsiteY109" fmla="*/ 2244 h 9818"/>
                    <a:gd name="connsiteX110" fmla="*/ 1667 w 10000"/>
                    <a:gd name="connsiteY110" fmla="*/ 2228 h 9818"/>
                    <a:gd name="connsiteX111" fmla="*/ 1667 w 10000"/>
                    <a:gd name="connsiteY111" fmla="*/ 2228 h 9818"/>
                    <a:gd name="connsiteX112" fmla="*/ 2000 w 10000"/>
                    <a:gd name="connsiteY112" fmla="*/ 2214 h 9818"/>
                    <a:gd name="connsiteX113" fmla="*/ 2222 w 10000"/>
                    <a:gd name="connsiteY113" fmla="*/ 2214 h 9818"/>
                    <a:gd name="connsiteX114" fmla="*/ 2389 w 10000"/>
                    <a:gd name="connsiteY114" fmla="*/ 2228 h 9818"/>
                    <a:gd name="connsiteX115" fmla="*/ 2389 w 10000"/>
                    <a:gd name="connsiteY115" fmla="*/ 2228 h 9818"/>
                    <a:gd name="connsiteX116" fmla="*/ 2444 w 10000"/>
                    <a:gd name="connsiteY116" fmla="*/ 2228 h 9818"/>
                    <a:gd name="connsiteX117" fmla="*/ 2500 w 10000"/>
                    <a:gd name="connsiteY117" fmla="*/ 2199 h 9818"/>
                    <a:gd name="connsiteX118" fmla="*/ 2778 w 10000"/>
                    <a:gd name="connsiteY118" fmla="*/ 2107 h 9818"/>
                    <a:gd name="connsiteX119" fmla="*/ 3500 w 10000"/>
                    <a:gd name="connsiteY119" fmla="*/ 1806 h 9818"/>
                    <a:gd name="connsiteX120" fmla="*/ 4444 w 10000"/>
                    <a:gd name="connsiteY120" fmla="*/ 1370 h 9818"/>
                    <a:gd name="connsiteX121" fmla="*/ 4444 w 10000"/>
                    <a:gd name="connsiteY121" fmla="*/ 1370 h 9818"/>
                    <a:gd name="connsiteX122" fmla="*/ 4444 w 10000"/>
                    <a:gd name="connsiteY122" fmla="*/ 1308 h 9818"/>
                    <a:gd name="connsiteX123" fmla="*/ 4444 w 10000"/>
                    <a:gd name="connsiteY123" fmla="*/ 1173 h 9818"/>
                    <a:gd name="connsiteX124" fmla="*/ 4500 w 10000"/>
                    <a:gd name="connsiteY124" fmla="*/ 1083 h 9818"/>
                    <a:gd name="connsiteX125" fmla="*/ 4611 w 10000"/>
                    <a:gd name="connsiteY125" fmla="*/ 1008 h 9818"/>
                    <a:gd name="connsiteX126" fmla="*/ 4778 w 10000"/>
                    <a:gd name="connsiteY126" fmla="*/ 918 h 9818"/>
                    <a:gd name="connsiteX127" fmla="*/ 5000 w 10000"/>
                    <a:gd name="connsiteY127" fmla="*/ 843 h 9818"/>
                    <a:gd name="connsiteX128" fmla="*/ 5000 w 10000"/>
                    <a:gd name="connsiteY128" fmla="*/ 843 h 9818"/>
                    <a:gd name="connsiteX129" fmla="*/ 5556 w 10000"/>
                    <a:gd name="connsiteY129" fmla="*/ 692 h 9818"/>
                    <a:gd name="connsiteX130" fmla="*/ 6111 w 10000"/>
                    <a:gd name="connsiteY130" fmla="*/ 496 h 9818"/>
                    <a:gd name="connsiteX131" fmla="*/ 6667 w 10000"/>
                    <a:gd name="connsiteY131" fmla="*/ 316 h 9818"/>
                    <a:gd name="connsiteX132" fmla="*/ 7056 w 10000"/>
                    <a:gd name="connsiteY132" fmla="*/ 150 h 9818"/>
                    <a:gd name="connsiteX133" fmla="*/ 7056 w 10000"/>
                    <a:gd name="connsiteY133" fmla="*/ 150 h 9818"/>
                    <a:gd name="connsiteX134" fmla="*/ 7333 w 10000"/>
                    <a:gd name="connsiteY134" fmla="*/ 0 h 9818"/>
                    <a:gd name="connsiteX135" fmla="*/ 10000 w 10000"/>
                    <a:gd name="connsiteY135" fmla="*/ 8809 h 9818"/>
                    <a:gd name="connsiteX136" fmla="*/ 10000 w 10000"/>
                    <a:gd name="connsiteY136" fmla="*/ 8809 h 9818"/>
                    <a:gd name="connsiteX137" fmla="*/ 9722 w 10000"/>
                    <a:gd name="connsiteY137" fmla="*/ 8794 h 9818"/>
                    <a:gd name="connsiteX138" fmla="*/ 9389 w 10000"/>
                    <a:gd name="connsiteY138" fmla="*/ 8809 h 9818"/>
                    <a:gd name="connsiteX139" fmla="*/ 9389 w 10000"/>
                    <a:gd name="connsiteY139" fmla="*/ 8809 h 9818"/>
                    <a:gd name="connsiteX140" fmla="*/ 9278 w 10000"/>
                    <a:gd name="connsiteY140" fmla="*/ 8825 h 9818"/>
                    <a:gd name="connsiteX141" fmla="*/ 9056 w 10000"/>
                    <a:gd name="connsiteY141" fmla="*/ 8809 h 9818"/>
                    <a:gd name="connsiteX142" fmla="*/ 8889 w 10000"/>
                    <a:gd name="connsiteY142" fmla="*/ 8794 h 9818"/>
                    <a:gd name="connsiteX143" fmla="*/ 8722 w 10000"/>
                    <a:gd name="connsiteY143" fmla="*/ 8764 h 9818"/>
                    <a:gd name="connsiteX144" fmla="*/ 8611 w 10000"/>
                    <a:gd name="connsiteY144" fmla="*/ 8718 h 9818"/>
                    <a:gd name="connsiteX145" fmla="*/ 8444 w 10000"/>
                    <a:gd name="connsiteY145" fmla="*/ 8642 h 9818"/>
                    <a:gd name="connsiteX146" fmla="*/ 8444 w 10000"/>
                    <a:gd name="connsiteY146" fmla="*/ 8642 h 9818"/>
                    <a:gd name="connsiteX147" fmla="*/ 8222 w 10000"/>
                    <a:gd name="connsiteY147" fmla="*/ 8507 h 9818"/>
                    <a:gd name="connsiteX148" fmla="*/ 8111 w 10000"/>
                    <a:gd name="connsiteY148" fmla="*/ 8448 h 9818"/>
                    <a:gd name="connsiteX149" fmla="*/ 7944 w 10000"/>
                    <a:gd name="connsiteY149" fmla="*/ 8403 h 9818"/>
                    <a:gd name="connsiteX150" fmla="*/ 7778 w 10000"/>
                    <a:gd name="connsiteY150" fmla="*/ 8373 h 9818"/>
                    <a:gd name="connsiteX151" fmla="*/ 7556 w 10000"/>
                    <a:gd name="connsiteY151" fmla="*/ 8356 h 9818"/>
                    <a:gd name="connsiteX152" fmla="*/ 7333 w 10000"/>
                    <a:gd name="connsiteY152" fmla="*/ 8342 h 9818"/>
                    <a:gd name="connsiteX153" fmla="*/ 7000 w 10000"/>
                    <a:gd name="connsiteY153" fmla="*/ 8327 h 9818"/>
                    <a:gd name="connsiteX154" fmla="*/ 7000 w 10000"/>
                    <a:gd name="connsiteY154" fmla="*/ 8327 h 9818"/>
                    <a:gd name="connsiteX155" fmla="*/ 6556 w 10000"/>
                    <a:gd name="connsiteY155" fmla="*/ 8342 h 9818"/>
                    <a:gd name="connsiteX156" fmla="*/ 6222 w 10000"/>
                    <a:gd name="connsiteY156" fmla="*/ 8342 h 9818"/>
                    <a:gd name="connsiteX157" fmla="*/ 6111 w 10000"/>
                    <a:gd name="connsiteY157" fmla="*/ 8327 h 9818"/>
                    <a:gd name="connsiteX158" fmla="*/ 6056 w 10000"/>
                    <a:gd name="connsiteY158" fmla="*/ 8312 h 9818"/>
                    <a:gd name="connsiteX159" fmla="*/ 6056 w 10000"/>
                    <a:gd name="connsiteY159" fmla="*/ 8312 h 9818"/>
                    <a:gd name="connsiteX160" fmla="*/ 6056 w 10000"/>
                    <a:gd name="connsiteY160" fmla="*/ 8041 h 9818"/>
                    <a:gd name="connsiteX161" fmla="*/ 6056 w 10000"/>
                    <a:gd name="connsiteY161" fmla="*/ 8041 h 9818"/>
                    <a:gd name="connsiteX162" fmla="*/ 6056 w 10000"/>
                    <a:gd name="connsiteY162" fmla="*/ 7979 h 9818"/>
                    <a:gd name="connsiteX163" fmla="*/ 5944 w 10000"/>
                    <a:gd name="connsiteY163" fmla="*/ 7905 h 9818"/>
                    <a:gd name="connsiteX164" fmla="*/ 5889 w 10000"/>
                    <a:gd name="connsiteY164" fmla="*/ 7890 h 9818"/>
                    <a:gd name="connsiteX165" fmla="*/ 5778 w 10000"/>
                    <a:gd name="connsiteY165" fmla="*/ 7875 h 9818"/>
                    <a:gd name="connsiteX166" fmla="*/ 5667 w 10000"/>
                    <a:gd name="connsiteY166" fmla="*/ 7875 h 9818"/>
                    <a:gd name="connsiteX167" fmla="*/ 5500 w 10000"/>
                    <a:gd name="connsiteY167" fmla="*/ 7890 h 9818"/>
                    <a:gd name="connsiteX168" fmla="*/ 5500 w 10000"/>
                    <a:gd name="connsiteY168" fmla="*/ 7890 h 9818"/>
                    <a:gd name="connsiteX169" fmla="*/ 4889 w 10000"/>
                    <a:gd name="connsiteY169" fmla="*/ 7995 h 9818"/>
                    <a:gd name="connsiteX170" fmla="*/ 4611 w 10000"/>
                    <a:gd name="connsiteY170" fmla="*/ 8026 h 9818"/>
                    <a:gd name="connsiteX171" fmla="*/ 4556 w 10000"/>
                    <a:gd name="connsiteY171" fmla="*/ 8041 h 9818"/>
                    <a:gd name="connsiteX172" fmla="*/ 4500 w 10000"/>
                    <a:gd name="connsiteY172" fmla="*/ 8026 h 9818"/>
                    <a:gd name="connsiteX173" fmla="*/ 4500 w 10000"/>
                    <a:gd name="connsiteY173" fmla="*/ 8026 h 9818"/>
                    <a:gd name="connsiteX174" fmla="*/ 4222 w 10000"/>
                    <a:gd name="connsiteY174" fmla="*/ 7875 h 9818"/>
                    <a:gd name="connsiteX175" fmla="*/ 4222 w 10000"/>
                    <a:gd name="connsiteY175" fmla="*/ 7875 h 9818"/>
                    <a:gd name="connsiteX176" fmla="*/ 4111 w 10000"/>
                    <a:gd name="connsiteY176" fmla="*/ 7800 h 9818"/>
                    <a:gd name="connsiteX177" fmla="*/ 4111 w 10000"/>
                    <a:gd name="connsiteY177" fmla="*/ 7754 h 9818"/>
                    <a:gd name="connsiteX178" fmla="*/ 4111 w 10000"/>
                    <a:gd name="connsiteY178" fmla="*/ 7710 h 9818"/>
                    <a:gd name="connsiteX179" fmla="*/ 4111 w 10000"/>
                    <a:gd name="connsiteY179" fmla="*/ 7710 h 9818"/>
                    <a:gd name="connsiteX180" fmla="*/ 4278 w 10000"/>
                    <a:gd name="connsiteY180" fmla="*/ 7664 h 9818"/>
                    <a:gd name="connsiteX181" fmla="*/ 4389 w 10000"/>
                    <a:gd name="connsiteY181" fmla="*/ 7649 h 9818"/>
                    <a:gd name="connsiteX182" fmla="*/ 4389 w 10000"/>
                    <a:gd name="connsiteY182" fmla="*/ 7649 h 9818"/>
                    <a:gd name="connsiteX183" fmla="*/ 4000 w 10000"/>
                    <a:gd name="connsiteY183" fmla="*/ 7649 h 9818"/>
                    <a:gd name="connsiteX184" fmla="*/ 3722 w 10000"/>
                    <a:gd name="connsiteY184" fmla="*/ 7664 h 9818"/>
                    <a:gd name="connsiteX185" fmla="*/ 3611 w 10000"/>
                    <a:gd name="connsiteY185" fmla="*/ 7680 h 9818"/>
                    <a:gd name="connsiteX186" fmla="*/ 3556 w 10000"/>
                    <a:gd name="connsiteY186" fmla="*/ 7695 h 9818"/>
                    <a:gd name="connsiteX187" fmla="*/ 3556 w 10000"/>
                    <a:gd name="connsiteY187" fmla="*/ 7695 h 9818"/>
                    <a:gd name="connsiteX188" fmla="*/ 3444 w 10000"/>
                    <a:gd name="connsiteY188" fmla="*/ 7754 h 9818"/>
                    <a:gd name="connsiteX189" fmla="*/ 3278 w 10000"/>
                    <a:gd name="connsiteY189" fmla="*/ 7846 h 9818"/>
                    <a:gd name="connsiteX190" fmla="*/ 3000 w 10000"/>
                    <a:gd name="connsiteY190" fmla="*/ 7950 h 9818"/>
                    <a:gd name="connsiteX191" fmla="*/ 2667 w 10000"/>
                    <a:gd name="connsiteY191" fmla="*/ 8026 h 9818"/>
                    <a:gd name="connsiteX192" fmla="*/ 2667 w 10000"/>
                    <a:gd name="connsiteY192" fmla="*/ 8026 h 9818"/>
                    <a:gd name="connsiteX193" fmla="*/ 2333 w 10000"/>
                    <a:gd name="connsiteY193" fmla="*/ 8086 h 9818"/>
                    <a:gd name="connsiteX194" fmla="*/ 1833 w 10000"/>
                    <a:gd name="connsiteY194" fmla="*/ 8147 h 9818"/>
                    <a:gd name="connsiteX195" fmla="*/ 1389 w 10000"/>
                    <a:gd name="connsiteY195" fmla="*/ 8177 h 9818"/>
                    <a:gd name="connsiteX196" fmla="*/ 889 w 10000"/>
                    <a:gd name="connsiteY196" fmla="*/ 8192 h 9818"/>
                    <a:gd name="connsiteX197" fmla="*/ 889 w 10000"/>
                    <a:gd name="connsiteY197" fmla="*/ 8192 h 9818"/>
                    <a:gd name="connsiteX198" fmla="*/ 500 w 10000"/>
                    <a:gd name="connsiteY198" fmla="*/ 8207 h 9818"/>
                    <a:gd name="connsiteX199" fmla="*/ 222 w 10000"/>
                    <a:gd name="connsiteY199" fmla="*/ 8223 h 9818"/>
                    <a:gd name="connsiteX200" fmla="*/ 0 w 10000"/>
                    <a:gd name="connsiteY200" fmla="*/ 8238 h 9818"/>
                    <a:gd name="connsiteX201" fmla="*/ 0 w 10000"/>
                    <a:gd name="connsiteY201" fmla="*/ 8238 h 9818"/>
                    <a:gd name="connsiteX202" fmla="*/ 278 w 10000"/>
                    <a:gd name="connsiteY202" fmla="*/ 8477 h 9818"/>
                    <a:gd name="connsiteX203" fmla="*/ 500 w 10000"/>
                    <a:gd name="connsiteY203" fmla="*/ 8657 h 9818"/>
                    <a:gd name="connsiteX204" fmla="*/ 722 w 10000"/>
                    <a:gd name="connsiteY204" fmla="*/ 8809 h 9818"/>
                    <a:gd name="connsiteX205" fmla="*/ 722 w 10000"/>
                    <a:gd name="connsiteY205" fmla="*/ 8809 h 9818"/>
                    <a:gd name="connsiteX206" fmla="*/ 889 w 10000"/>
                    <a:gd name="connsiteY206" fmla="*/ 8901 h 9818"/>
                    <a:gd name="connsiteX207" fmla="*/ 944 w 10000"/>
                    <a:gd name="connsiteY207" fmla="*/ 8975 h 9818"/>
                    <a:gd name="connsiteX208" fmla="*/ 1111 w 10000"/>
                    <a:gd name="connsiteY208" fmla="*/ 9051 h 9818"/>
                    <a:gd name="connsiteX209" fmla="*/ 1333 w 10000"/>
                    <a:gd name="connsiteY209" fmla="*/ 9170 h 9818"/>
                    <a:gd name="connsiteX210" fmla="*/ 1333 w 10000"/>
                    <a:gd name="connsiteY210" fmla="*/ 9170 h 9818"/>
                    <a:gd name="connsiteX211" fmla="*/ 1444 w 10000"/>
                    <a:gd name="connsiteY211" fmla="*/ 9231 h 9818"/>
                    <a:gd name="connsiteX212" fmla="*/ 1500 w 10000"/>
                    <a:gd name="connsiteY212" fmla="*/ 9276 h 9818"/>
                    <a:gd name="connsiteX213" fmla="*/ 1500 w 10000"/>
                    <a:gd name="connsiteY213" fmla="*/ 9320 h 9818"/>
                    <a:gd name="connsiteX214" fmla="*/ 1556 w 10000"/>
                    <a:gd name="connsiteY214" fmla="*/ 9336 h 9818"/>
                    <a:gd name="connsiteX215" fmla="*/ 1722 w 10000"/>
                    <a:gd name="connsiteY215" fmla="*/ 9350 h 9818"/>
                    <a:gd name="connsiteX216" fmla="*/ 1944 w 10000"/>
                    <a:gd name="connsiteY216" fmla="*/ 9365 h 9818"/>
                    <a:gd name="connsiteX217" fmla="*/ 2944 w 10000"/>
                    <a:gd name="connsiteY217" fmla="*/ 9380 h 9818"/>
                    <a:gd name="connsiteX218" fmla="*/ 2944 w 10000"/>
                    <a:gd name="connsiteY218" fmla="*/ 9380 h 9818"/>
                    <a:gd name="connsiteX219" fmla="*/ 4167 w 10000"/>
                    <a:gd name="connsiteY219" fmla="*/ 9411 h 9818"/>
                    <a:gd name="connsiteX220" fmla="*/ 4889 w 10000"/>
                    <a:gd name="connsiteY220" fmla="*/ 9457 h 9818"/>
                    <a:gd name="connsiteX221" fmla="*/ 5278 w 10000"/>
                    <a:gd name="connsiteY221" fmla="*/ 9503 h 9818"/>
                    <a:gd name="connsiteX222" fmla="*/ 5444 w 10000"/>
                    <a:gd name="connsiteY222" fmla="*/ 9517 h 9818"/>
                    <a:gd name="connsiteX223" fmla="*/ 5444 w 10000"/>
                    <a:gd name="connsiteY223" fmla="*/ 9517 h 9818"/>
                    <a:gd name="connsiteX224" fmla="*/ 5722 w 10000"/>
                    <a:gd name="connsiteY224" fmla="*/ 9547 h 9818"/>
                    <a:gd name="connsiteX225" fmla="*/ 5833 w 10000"/>
                    <a:gd name="connsiteY225" fmla="*/ 9564 h 9818"/>
                    <a:gd name="connsiteX226" fmla="*/ 5833 w 10000"/>
                    <a:gd name="connsiteY226" fmla="*/ 9564 h 9818"/>
                    <a:gd name="connsiteX227" fmla="*/ 5833 w 10000"/>
                    <a:gd name="connsiteY227" fmla="*/ 9547 h 9818"/>
                    <a:gd name="connsiteX228" fmla="*/ 5889 w 10000"/>
                    <a:gd name="connsiteY228" fmla="*/ 9532 h 9818"/>
                    <a:gd name="connsiteX229" fmla="*/ 6000 w 10000"/>
                    <a:gd name="connsiteY229" fmla="*/ 9517 h 9818"/>
                    <a:gd name="connsiteX230" fmla="*/ 6167 w 10000"/>
                    <a:gd name="connsiteY230" fmla="*/ 9503 h 9818"/>
                    <a:gd name="connsiteX231" fmla="*/ 6444 w 10000"/>
                    <a:gd name="connsiteY231" fmla="*/ 9503 h 9818"/>
                    <a:gd name="connsiteX232" fmla="*/ 6833 w 10000"/>
                    <a:gd name="connsiteY232" fmla="*/ 9517 h 9818"/>
                    <a:gd name="connsiteX233" fmla="*/ 7278 w 10000"/>
                    <a:gd name="connsiteY233" fmla="*/ 9564 h 9818"/>
                    <a:gd name="connsiteX234" fmla="*/ 7278 w 10000"/>
                    <a:gd name="connsiteY234" fmla="*/ 9564 h 9818"/>
                    <a:gd name="connsiteX235" fmla="*/ 8722 w 10000"/>
                    <a:gd name="connsiteY235" fmla="*/ 9697 h 9818"/>
                    <a:gd name="connsiteX236" fmla="*/ 10000 w 10000"/>
                    <a:gd name="connsiteY236" fmla="*/ 9818 h 9818"/>
                    <a:gd name="connsiteX0" fmla="*/ 10000 w 10000"/>
                    <a:gd name="connsiteY0" fmla="*/ 8804 h 9847"/>
                    <a:gd name="connsiteX1" fmla="*/ 10000 w 10000"/>
                    <a:gd name="connsiteY1" fmla="*/ 8804 h 9847"/>
                    <a:gd name="connsiteX2" fmla="*/ 9222 w 10000"/>
                    <a:gd name="connsiteY2" fmla="*/ 8819 h 9847"/>
                    <a:gd name="connsiteX3" fmla="*/ 8944 w 10000"/>
                    <a:gd name="connsiteY3" fmla="*/ 8819 h 9847"/>
                    <a:gd name="connsiteX4" fmla="*/ 8833 w 10000"/>
                    <a:gd name="connsiteY4" fmla="*/ 8804 h 9847"/>
                    <a:gd name="connsiteX5" fmla="*/ 8778 w 10000"/>
                    <a:gd name="connsiteY5" fmla="*/ 8789 h 9847"/>
                    <a:gd name="connsiteX6" fmla="*/ 8778 w 10000"/>
                    <a:gd name="connsiteY6" fmla="*/ 8789 h 9847"/>
                    <a:gd name="connsiteX7" fmla="*/ 8444 w 10000"/>
                    <a:gd name="connsiteY7" fmla="*/ 8604 h 9847"/>
                    <a:gd name="connsiteX8" fmla="*/ 8167 w 10000"/>
                    <a:gd name="connsiteY8" fmla="*/ 8435 h 9847"/>
                    <a:gd name="connsiteX9" fmla="*/ 8167 w 10000"/>
                    <a:gd name="connsiteY9" fmla="*/ 8435 h 9847"/>
                    <a:gd name="connsiteX10" fmla="*/ 8056 w 10000"/>
                    <a:gd name="connsiteY10" fmla="*/ 8406 h 9847"/>
                    <a:gd name="connsiteX11" fmla="*/ 7889 w 10000"/>
                    <a:gd name="connsiteY11" fmla="*/ 8375 h 9847"/>
                    <a:gd name="connsiteX12" fmla="*/ 7444 w 10000"/>
                    <a:gd name="connsiteY12" fmla="*/ 8358 h 9847"/>
                    <a:gd name="connsiteX13" fmla="*/ 6889 w 10000"/>
                    <a:gd name="connsiteY13" fmla="*/ 8344 h 9847"/>
                    <a:gd name="connsiteX14" fmla="*/ 6389 w 10000"/>
                    <a:gd name="connsiteY14" fmla="*/ 8344 h 9847"/>
                    <a:gd name="connsiteX15" fmla="*/ 6389 w 10000"/>
                    <a:gd name="connsiteY15" fmla="*/ 8344 h 9847"/>
                    <a:gd name="connsiteX16" fmla="*/ 6167 w 10000"/>
                    <a:gd name="connsiteY16" fmla="*/ 8328 h 9847"/>
                    <a:gd name="connsiteX17" fmla="*/ 6056 w 10000"/>
                    <a:gd name="connsiteY17" fmla="*/ 8299 h 9847"/>
                    <a:gd name="connsiteX18" fmla="*/ 6000 w 10000"/>
                    <a:gd name="connsiteY18" fmla="*/ 8267 h 9847"/>
                    <a:gd name="connsiteX19" fmla="*/ 6000 w 10000"/>
                    <a:gd name="connsiteY19" fmla="*/ 8206 h 9847"/>
                    <a:gd name="connsiteX20" fmla="*/ 6056 w 10000"/>
                    <a:gd name="connsiteY20" fmla="*/ 8083 h 9847"/>
                    <a:gd name="connsiteX21" fmla="*/ 6111 w 10000"/>
                    <a:gd name="connsiteY21" fmla="*/ 8022 h 9847"/>
                    <a:gd name="connsiteX22" fmla="*/ 6056 w 10000"/>
                    <a:gd name="connsiteY22" fmla="*/ 7944 h 9847"/>
                    <a:gd name="connsiteX23" fmla="*/ 6056 w 10000"/>
                    <a:gd name="connsiteY23" fmla="*/ 7944 h 9847"/>
                    <a:gd name="connsiteX24" fmla="*/ 6000 w 10000"/>
                    <a:gd name="connsiteY24" fmla="*/ 7899 h 9847"/>
                    <a:gd name="connsiteX25" fmla="*/ 5944 w 10000"/>
                    <a:gd name="connsiteY25" fmla="*/ 7868 h 9847"/>
                    <a:gd name="connsiteX26" fmla="*/ 5833 w 10000"/>
                    <a:gd name="connsiteY26" fmla="*/ 7868 h 9847"/>
                    <a:gd name="connsiteX27" fmla="*/ 5667 w 10000"/>
                    <a:gd name="connsiteY27" fmla="*/ 7883 h 9847"/>
                    <a:gd name="connsiteX28" fmla="*/ 5333 w 10000"/>
                    <a:gd name="connsiteY28" fmla="*/ 7929 h 9847"/>
                    <a:gd name="connsiteX29" fmla="*/ 4889 w 10000"/>
                    <a:gd name="connsiteY29" fmla="*/ 8007 h 9847"/>
                    <a:gd name="connsiteX30" fmla="*/ 4889 w 10000"/>
                    <a:gd name="connsiteY30" fmla="*/ 8007 h 9847"/>
                    <a:gd name="connsiteX31" fmla="*/ 4611 w 10000"/>
                    <a:gd name="connsiteY31" fmla="*/ 8022 h 9847"/>
                    <a:gd name="connsiteX32" fmla="*/ 4500 w 10000"/>
                    <a:gd name="connsiteY32" fmla="*/ 8022 h 9847"/>
                    <a:gd name="connsiteX33" fmla="*/ 4444 w 10000"/>
                    <a:gd name="connsiteY33" fmla="*/ 8007 h 9847"/>
                    <a:gd name="connsiteX34" fmla="*/ 4389 w 10000"/>
                    <a:gd name="connsiteY34" fmla="*/ 7944 h 9847"/>
                    <a:gd name="connsiteX35" fmla="*/ 4222 w 10000"/>
                    <a:gd name="connsiteY35" fmla="*/ 7868 h 9847"/>
                    <a:gd name="connsiteX36" fmla="*/ 4222 w 10000"/>
                    <a:gd name="connsiteY36" fmla="*/ 7868 h 9847"/>
                    <a:gd name="connsiteX37" fmla="*/ 4111 w 10000"/>
                    <a:gd name="connsiteY37" fmla="*/ 7821 h 9847"/>
                    <a:gd name="connsiteX38" fmla="*/ 4111 w 10000"/>
                    <a:gd name="connsiteY38" fmla="*/ 7776 h 9847"/>
                    <a:gd name="connsiteX39" fmla="*/ 4111 w 10000"/>
                    <a:gd name="connsiteY39" fmla="*/ 7745 h 9847"/>
                    <a:gd name="connsiteX40" fmla="*/ 4167 w 10000"/>
                    <a:gd name="connsiteY40" fmla="*/ 7715 h 9847"/>
                    <a:gd name="connsiteX41" fmla="*/ 4278 w 10000"/>
                    <a:gd name="connsiteY41" fmla="*/ 7653 h 9847"/>
                    <a:gd name="connsiteX42" fmla="*/ 4389 w 10000"/>
                    <a:gd name="connsiteY42" fmla="*/ 7638 h 9847"/>
                    <a:gd name="connsiteX43" fmla="*/ 4389 w 10000"/>
                    <a:gd name="connsiteY43" fmla="*/ 7638 h 9847"/>
                    <a:gd name="connsiteX44" fmla="*/ 4389 w 10000"/>
                    <a:gd name="connsiteY44" fmla="*/ 7624 h 9847"/>
                    <a:gd name="connsiteX45" fmla="*/ 4444 w 10000"/>
                    <a:gd name="connsiteY45" fmla="*/ 7608 h 9847"/>
                    <a:gd name="connsiteX46" fmla="*/ 4667 w 10000"/>
                    <a:gd name="connsiteY46" fmla="*/ 7592 h 9847"/>
                    <a:gd name="connsiteX47" fmla="*/ 5333 w 10000"/>
                    <a:gd name="connsiteY47" fmla="*/ 7562 h 9847"/>
                    <a:gd name="connsiteX48" fmla="*/ 6500 w 10000"/>
                    <a:gd name="connsiteY48" fmla="*/ 7516 h 9847"/>
                    <a:gd name="connsiteX49" fmla="*/ 6500 w 10000"/>
                    <a:gd name="connsiteY49" fmla="*/ 7516 h 9847"/>
                    <a:gd name="connsiteX50" fmla="*/ 7167 w 10000"/>
                    <a:gd name="connsiteY50" fmla="*/ 7470 h 9847"/>
                    <a:gd name="connsiteX51" fmla="*/ 8389 w 10000"/>
                    <a:gd name="connsiteY51" fmla="*/ 7378 h 9847"/>
                    <a:gd name="connsiteX52" fmla="*/ 8389 w 10000"/>
                    <a:gd name="connsiteY52" fmla="*/ 7378 h 9847"/>
                    <a:gd name="connsiteX53" fmla="*/ 8667 w 10000"/>
                    <a:gd name="connsiteY53" fmla="*/ 7346 h 9847"/>
                    <a:gd name="connsiteX54" fmla="*/ 8778 w 10000"/>
                    <a:gd name="connsiteY54" fmla="*/ 7300 h 9847"/>
                    <a:gd name="connsiteX55" fmla="*/ 8889 w 10000"/>
                    <a:gd name="connsiteY55" fmla="*/ 7270 h 9847"/>
                    <a:gd name="connsiteX56" fmla="*/ 8833 w 10000"/>
                    <a:gd name="connsiteY56" fmla="*/ 7239 h 9847"/>
                    <a:gd name="connsiteX57" fmla="*/ 8833 w 10000"/>
                    <a:gd name="connsiteY57" fmla="*/ 7208 h 9847"/>
                    <a:gd name="connsiteX58" fmla="*/ 8722 w 10000"/>
                    <a:gd name="connsiteY58" fmla="*/ 7177 h 9847"/>
                    <a:gd name="connsiteX59" fmla="*/ 8556 w 10000"/>
                    <a:gd name="connsiteY59" fmla="*/ 7131 h 9847"/>
                    <a:gd name="connsiteX60" fmla="*/ 8556 w 10000"/>
                    <a:gd name="connsiteY60" fmla="*/ 7131 h 9847"/>
                    <a:gd name="connsiteX61" fmla="*/ 6556 w 10000"/>
                    <a:gd name="connsiteY61" fmla="*/ 6857 h 9847"/>
                    <a:gd name="connsiteX62" fmla="*/ 6556 w 10000"/>
                    <a:gd name="connsiteY62" fmla="*/ 6857 h 9847"/>
                    <a:gd name="connsiteX63" fmla="*/ 6333 w 10000"/>
                    <a:gd name="connsiteY63" fmla="*/ 6811 h 9847"/>
                    <a:gd name="connsiteX64" fmla="*/ 6167 w 10000"/>
                    <a:gd name="connsiteY64" fmla="*/ 6764 h 9847"/>
                    <a:gd name="connsiteX65" fmla="*/ 6056 w 10000"/>
                    <a:gd name="connsiteY65" fmla="*/ 6718 h 9847"/>
                    <a:gd name="connsiteX66" fmla="*/ 6056 w 10000"/>
                    <a:gd name="connsiteY66" fmla="*/ 6718 h 9847"/>
                    <a:gd name="connsiteX67" fmla="*/ 8056 w 10000"/>
                    <a:gd name="connsiteY67" fmla="*/ 6703 h 9847"/>
                    <a:gd name="connsiteX68" fmla="*/ 10000 w 10000"/>
                    <a:gd name="connsiteY68" fmla="*/ 6857 h 9847"/>
                    <a:gd name="connsiteX69" fmla="*/ 10000 w 10000"/>
                    <a:gd name="connsiteY69" fmla="*/ 5460 h 9847"/>
                    <a:gd name="connsiteX70" fmla="*/ 10000 w 10000"/>
                    <a:gd name="connsiteY70" fmla="*/ 5460 h 9847"/>
                    <a:gd name="connsiteX71" fmla="*/ 7778 w 10000"/>
                    <a:gd name="connsiteY71" fmla="*/ 5138 h 9847"/>
                    <a:gd name="connsiteX72" fmla="*/ 6556 w 10000"/>
                    <a:gd name="connsiteY72" fmla="*/ 4954 h 9847"/>
                    <a:gd name="connsiteX73" fmla="*/ 6556 w 10000"/>
                    <a:gd name="connsiteY73" fmla="*/ 4954 h 9847"/>
                    <a:gd name="connsiteX74" fmla="*/ 6556 w 10000"/>
                    <a:gd name="connsiteY74" fmla="*/ 4938 h 9847"/>
                    <a:gd name="connsiteX75" fmla="*/ 6556 w 10000"/>
                    <a:gd name="connsiteY75" fmla="*/ 4846 h 9847"/>
                    <a:gd name="connsiteX76" fmla="*/ 6556 w 10000"/>
                    <a:gd name="connsiteY76" fmla="*/ 4846 h 9847"/>
                    <a:gd name="connsiteX77" fmla="*/ 6389 w 10000"/>
                    <a:gd name="connsiteY77" fmla="*/ 4740 h 9847"/>
                    <a:gd name="connsiteX78" fmla="*/ 6056 w 10000"/>
                    <a:gd name="connsiteY78" fmla="*/ 4571 h 9847"/>
                    <a:gd name="connsiteX79" fmla="*/ 5333 w 10000"/>
                    <a:gd name="connsiteY79" fmla="*/ 4247 h 9847"/>
                    <a:gd name="connsiteX80" fmla="*/ 5333 w 10000"/>
                    <a:gd name="connsiteY80" fmla="*/ 4247 h 9847"/>
                    <a:gd name="connsiteX81" fmla="*/ 5167 w 10000"/>
                    <a:gd name="connsiteY81" fmla="*/ 4202 h 9847"/>
                    <a:gd name="connsiteX82" fmla="*/ 4889 w 10000"/>
                    <a:gd name="connsiteY82" fmla="*/ 4140 h 9847"/>
                    <a:gd name="connsiteX83" fmla="*/ 4056 w 10000"/>
                    <a:gd name="connsiteY83" fmla="*/ 4004 h 9847"/>
                    <a:gd name="connsiteX84" fmla="*/ 2889 w 10000"/>
                    <a:gd name="connsiteY84" fmla="*/ 3835 h 9847"/>
                    <a:gd name="connsiteX85" fmla="*/ 2889 w 10000"/>
                    <a:gd name="connsiteY85" fmla="*/ 3835 h 9847"/>
                    <a:gd name="connsiteX86" fmla="*/ 2389 w 10000"/>
                    <a:gd name="connsiteY86" fmla="*/ 3819 h 9847"/>
                    <a:gd name="connsiteX87" fmla="*/ 2000 w 10000"/>
                    <a:gd name="connsiteY87" fmla="*/ 3802 h 9847"/>
                    <a:gd name="connsiteX88" fmla="*/ 1889 w 10000"/>
                    <a:gd name="connsiteY88" fmla="*/ 3788 h 9847"/>
                    <a:gd name="connsiteX89" fmla="*/ 1778 w 10000"/>
                    <a:gd name="connsiteY89" fmla="*/ 3772 h 9847"/>
                    <a:gd name="connsiteX90" fmla="*/ 1778 w 10000"/>
                    <a:gd name="connsiteY90" fmla="*/ 3772 h 9847"/>
                    <a:gd name="connsiteX91" fmla="*/ 1667 w 10000"/>
                    <a:gd name="connsiteY91" fmla="*/ 3711 h 9847"/>
                    <a:gd name="connsiteX92" fmla="*/ 1500 w 10000"/>
                    <a:gd name="connsiteY92" fmla="*/ 3604 h 9847"/>
                    <a:gd name="connsiteX93" fmla="*/ 1444 w 10000"/>
                    <a:gd name="connsiteY93" fmla="*/ 3543 h 9847"/>
                    <a:gd name="connsiteX94" fmla="*/ 1444 w 10000"/>
                    <a:gd name="connsiteY94" fmla="*/ 3481 h 9847"/>
                    <a:gd name="connsiteX95" fmla="*/ 1444 w 10000"/>
                    <a:gd name="connsiteY95" fmla="*/ 3435 h 9847"/>
                    <a:gd name="connsiteX96" fmla="*/ 1556 w 10000"/>
                    <a:gd name="connsiteY96" fmla="*/ 3389 h 9847"/>
                    <a:gd name="connsiteX97" fmla="*/ 1556 w 10000"/>
                    <a:gd name="connsiteY97" fmla="*/ 3389 h 9847"/>
                    <a:gd name="connsiteX98" fmla="*/ 1833 w 10000"/>
                    <a:gd name="connsiteY98" fmla="*/ 3313 h 9847"/>
                    <a:gd name="connsiteX99" fmla="*/ 2111 w 10000"/>
                    <a:gd name="connsiteY99" fmla="*/ 3235 h 9847"/>
                    <a:gd name="connsiteX100" fmla="*/ 2278 w 10000"/>
                    <a:gd name="connsiteY100" fmla="*/ 3189 h 9847"/>
                    <a:gd name="connsiteX101" fmla="*/ 2389 w 10000"/>
                    <a:gd name="connsiteY101" fmla="*/ 3144 h 9847"/>
                    <a:gd name="connsiteX102" fmla="*/ 2389 w 10000"/>
                    <a:gd name="connsiteY102" fmla="*/ 3082 h 9847"/>
                    <a:gd name="connsiteX103" fmla="*/ 2389 w 10000"/>
                    <a:gd name="connsiteY103" fmla="*/ 3007 h 9847"/>
                    <a:gd name="connsiteX104" fmla="*/ 2389 w 10000"/>
                    <a:gd name="connsiteY104" fmla="*/ 3007 h 9847"/>
                    <a:gd name="connsiteX105" fmla="*/ 2167 w 10000"/>
                    <a:gd name="connsiteY105" fmla="*/ 2791 h 9847"/>
                    <a:gd name="connsiteX106" fmla="*/ 1889 w 10000"/>
                    <a:gd name="connsiteY106" fmla="*/ 2499 h 9847"/>
                    <a:gd name="connsiteX107" fmla="*/ 1667 w 10000"/>
                    <a:gd name="connsiteY107" fmla="*/ 2240 h 9847"/>
                    <a:gd name="connsiteX108" fmla="*/ 1611 w 10000"/>
                    <a:gd name="connsiteY108" fmla="*/ 2163 h 9847"/>
                    <a:gd name="connsiteX109" fmla="*/ 1611 w 10000"/>
                    <a:gd name="connsiteY109" fmla="*/ 2133 h 9847"/>
                    <a:gd name="connsiteX110" fmla="*/ 1667 w 10000"/>
                    <a:gd name="connsiteY110" fmla="*/ 2116 h 9847"/>
                    <a:gd name="connsiteX111" fmla="*/ 1667 w 10000"/>
                    <a:gd name="connsiteY111" fmla="*/ 2116 h 9847"/>
                    <a:gd name="connsiteX112" fmla="*/ 2000 w 10000"/>
                    <a:gd name="connsiteY112" fmla="*/ 2102 h 9847"/>
                    <a:gd name="connsiteX113" fmla="*/ 2222 w 10000"/>
                    <a:gd name="connsiteY113" fmla="*/ 2102 h 9847"/>
                    <a:gd name="connsiteX114" fmla="*/ 2389 w 10000"/>
                    <a:gd name="connsiteY114" fmla="*/ 2116 h 9847"/>
                    <a:gd name="connsiteX115" fmla="*/ 2389 w 10000"/>
                    <a:gd name="connsiteY115" fmla="*/ 2116 h 9847"/>
                    <a:gd name="connsiteX116" fmla="*/ 2444 w 10000"/>
                    <a:gd name="connsiteY116" fmla="*/ 2116 h 9847"/>
                    <a:gd name="connsiteX117" fmla="*/ 2500 w 10000"/>
                    <a:gd name="connsiteY117" fmla="*/ 2087 h 9847"/>
                    <a:gd name="connsiteX118" fmla="*/ 2778 w 10000"/>
                    <a:gd name="connsiteY118" fmla="*/ 1993 h 9847"/>
                    <a:gd name="connsiteX119" fmla="*/ 3500 w 10000"/>
                    <a:gd name="connsiteY119" fmla="*/ 1686 h 9847"/>
                    <a:gd name="connsiteX120" fmla="*/ 4444 w 10000"/>
                    <a:gd name="connsiteY120" fmla="*/ 1242 h 9847"/>
                    <a:gd name="connsiteX121" fmla="*/ 4444 w 10000"/>
                    <a:gd name="connsiteY121" fmla="*/ 1242 h 9847"/>
                    <a:gd name="connsiteX122" fmla="*/ 4444 w 10000"/>
                    <a:gd name="connsiteY122" fmla="*/ 1179 h 9847"/>
                    <a:gd name="connsiteX123" fmla="*/ 4444 w 10000"/>
                    <a:gd name="connsiteY123" fmla="*/ 1042 h 9847"/>
                    <a:gd name="connsiteX124" fmla="*/ 4500 w 10000"/>
                    <a:gd name="connsiteY124" fmla="*/ 950 h 9847"/>
                    <a:gd name="connsiteX125" fmla="*/ 4611 w 10000"/>
                    <a:gd name="connsiteY125" fmla="*/ 874 h 9847"/>
                    <a:gd name="connsiteX126" fmla="*/ 4778 w 10000"/>
                    <a:gd name="connsiteY126" fmla="*/ 782 h 9847"/>
                    <a:gd name="connsiteX127" fmla="*/ 5000 w 10000"/>
                    <a:gd name="connsiteY127" fmla="*/ 706 h 9847"/>
                    <a:gd name="connsiteX128" fmla="*/ 5000 w 10000"/>
                    <a:gd name="connsiteY128" fmla="*/ 706 h 9847"/>
                    <a:gd name="connsiteX129" fmla="*/ 5556 w 10000"/>
                    <a:gd name="connsiteY129" fmla="*/ 552 h 9847"/>
                    <a:gd name="connsiteX130" fmla="*/ 6111 w 10000"/>
                    <a:gd name="connsiteY130" fmla="*/ 352 h 9847"/>
                    <a:gd name="connsiteX131" fmla="*/ 6667 w 10000"/>
                    <a:gd name="connsiteY131" fmla="*/ 169 h 9847"/>
                    <a:gd name="connsiteX132" fmla="*/ 7056 w 10000"/>
                    <a:gd name="connsiteY132" fmla="*/ 0 h 9847"/>
                    <a:gd name="connsiteX133" fmla="*/ 7056 w 10000"/>
                    <a:gd name="connsiteY133" fmla="*/ 0 h 9847"/>
                    <a:gd name="connsiteX134" fmla="*/ 10000 w 10000"/>
                    <a:gd name="connsiteY134" fmla="*/ 8819 h 9847"/>
                    <a:gd name="connsiteX135" fmla="*/ 10000 w 10000"/>
                    <a:gd name="connsiteY135" fmla="*/ 8819 h 9847"/>
                    <a:gd name="connsiteX136" fmla="*/ 9722 w 10000"/>
                    <a:gd name="connsiteY136" fmla="*/ 8804 h 9847"/>
                    <a:gd name="connsiteX137" fmla="*/ 9389 w 10000"/>
                    <a:gd name="connsiteY137" fmla="*/ 8819 h 9847"/>
                    <a:gd name="connsiteX138" fmla="*/ 9389 w 10000"/>
                    <a:gd name="connsiteY138" fmla="*/ 8819 h 9847"/>
                    <a:gd name="connsiteX139" fmla="*/ 9278 w 10000"/>
                    <a:gd name="connsiteY139" fmla="*/ 8836 h 9847"/>
                    <a:gd name="connsiteX140" fmla="*/ 9056 w 10000"/>
                    <a:gd name="connsiteY140" fmla="*/ 8819 h 9847"/>
                    <a:gd name="connsiteX141" fmla="*/ 8889 w 10000"/>
                    <a:gd name="connsiteY141" fmla="*/ 8804 h 9847"/>
                    <a:gd name="connsiteX142" fmla="*/ 8722 w 10000"/>
                    <a:gd name="connsiteY142" fmla="*/ 8773 h 9847"/>
                    <a:gd name="connsiteX143" fmla="*/ 8611 w 10000"/>
                    <a:gd name="connsiteY143" fmla="*/ 8727 h 9847"/>
                    <a:gd name="connsiteX144" fmla="*/ 8444 w 10000"/>
                    <a:gd name="connsiteY144" fmla="*/ 8649 h 9847"/>
                    <a:gd name="connsiteX145" fmla="*/ 8444 w 10000"/>
                    <a:gd name="connsiteY145" fmla="*/ 8649 h 9847"/>
                    <a:gd name="connsiteX146" fmla="*/ 8222 w 10000"/>
                    <a:gd name="connsiteY146" fmla="*/ 8512 h 9847"/>
                    <a:gd name="connsiteX147" fmla="*/ 8111 w 10000"/>
                    <a:gd name="connsiteY147" fmla="*/ 8452 h 9847"/>
                    <a:gd name="connsiteX148" fmla="*/ 7944 w 10000"/>
                    <a:gd name="connsiteY148" fmla="*/ 8406 h 9847"/>
                    <a:gd name="connsiteX149" fmla="*/ 7778 w 10000"/>
                    <a:gd name="connsiteY149" fmla="*/ 8375 h 9847"/>
                    <a:gd name="connsiteX150" fmla="*/ 7556 w 10000"/>
                    <a:gd name="connsiteY150" fmla="*/ 8358 h 9847"/>
                    <a:gd name="connsiteX151" fmla="*/ 7333 w 10000"/>
                    <a:gd name="connsiteY151" fmla="*/ 8344 h 9847"/>
                    <a:gd name="connsiteX152" fmla="*/ 7000 w 10000"/>
                    <a:gd name="connsiteY152" fmla="*/ 8328 h 9847"/>
                    <a:gd name="connsiteX153" fmla="*/ 7000 w 10000"/>
                    <a:gd name="connsiteY153" fmla="*/ 8328 h 9847"/>
                    <a:gd name="connsiteX154" fmla="*/ 6556 w 10000"/>
                    <a:gd name="connsiteY154" fmla="*/ 8344 h 9847"/>
                    <a:gd name="connsiteX155" fmla="*/ 6222 w 10000"/>
                    <a:gd name="connsiteY155" fmla="*/ 8344 h 9847"/>
                    <a:gd name="connsiteX156" fmla="*/ 6111 w 10000"/>
                    <a:gd name="connsiteY156" fmla="*/ 8328 h 9847"/>
                    <a:gd name="connsiteX157" fmla="*/ 6056 w 10000"/>
                    <a:gd name="connsiteY157" fmla="*/ 8313 h 9847"/>
                    <a:gd name="connsiteX158" fmla="*/ 6056 w 10000"/>
                    <a:gd name="connsiteY158" fmla="*/ 8313 h 9847"/>
                    <a:gd name="connsiteX159" fmla="*/ 6056 w 10000"/>
                    <a:gd name="connsiteY159" fmla="*/ 8037 h 9847"/>
                    <a:gd name="connsiteX160" fmla="*/ 6056 w 10000"/>
                    <a:gd name="connsiteY160" fmla="*/ 8037 h 9847"/>
                    <a:gd name="connsiteX161" fmla="*/ 6056 w 10000"/>
                    <a:gd name="connsiteY161" fmla="*/ 7974 h 9847"/>
                    <a:gd name="connsiteX162" fmla="*/ 5944 w 10000"/>
                    <a:gd name="connsiteY162" fmla="*/ 7899 h 9847"/>
                    <a:gd name="connsiteX163" fmla="*/ 5889 w 10000"/>
                    <a:gd name="connsiteY163" fmla="*/ 7883 h 9847"/>
                    <a:gd name="connsiteX164" fmla="*/ 5778 w 10000"/>
                    <a:gd name="connsiteY164" fmla="*/ 7868 h 9847"/>
                    <a:gd name="connsiteX165" fmla="*/ 5667 w 10000"/>
                    <a:gd name="connsiteY165" fmla="*/ 7868 h 9847"/>
                    <a:gd name="connsiteX166" fmla="*/ 5500 w 10000"/>
                    <a:gd name="connsiteY166" fmla="*/ 7883 h 9847"/>
                    <a:gd name="connsiteX167" fmla="*/ 5500 w 10000"/>
                    <a:gd name="connsiteY167" fmla="*/ 7883 h 9847"/>
                    <a:gd name="connsiteX168" fmla="*/ 4889 w 10000"/>
                    <a:gd name="connsiteY168" fmla="*/ 7990 h 9847"/>
                    <a:gd name="connsiteX169" fmla="*/ 4611 w 10000"/>
                    <a:gd name="connsiteY169" fmla="*/ 8022 h 9847"/>
                    <a:gd name="connsiteX170" fmla="*/ 4556 w 10000"/>
                    <a:gd name="connsiteY170" fmla="*/ 8037 h 9847"/>
                    <a:gd name="connsiteX171" fmla="*/ 4500 w 10000"/>
                    <a:gd name="connsiteY171" fmla="*/ 8022 h 9847"/>
                    <a:gd name="connsiteX172" fmla="*/ 4500 w 10000"/>
                    <a:gd name="connsiteY172" fmla="*/ 8022 h 9847"/>
                    <a:gd name="connsiteX173" fmla="*/ 4222 w 10000"/>
                    <a:gd name="connsiteY173" fmla="*/ 7868 h 9847"/>
                    <a:gd name="connsiteX174" fmla="*/ 4222 w 10000"/>
                    <a:gd name="connsiteY174" fmla="*/ 7868 h 9847"/>
                    <a:gd name="connsiteX175" fmla="*/ 4111 w 10000"/>
                    <a:gd name="connsiteY175" fmla="*/ 7792 h 9847"/>
                    <a:gd name="connsiteX176" fmla="*/ 4111 w 10000"/>
                    <a:gd name="connsiteY176" fmla="*/ 7745 h 9847"/>
                    <a:gd name="connsiteX177" fmla="*/ 4111 w 10000"/>
                    <a:gd name="connsiteY177" fmla="*/ 7700 h 9847"/>
                    <a:gd name="connsiteX178" fmla="*/ 4111 w 10000"/>
                    <a:gd name="connsiteY178" fmla="*/ 7700 h 9847"/>
                    <a:gd name="connsiteX179" fmla="*/ 4278 w 10000"/>
                    <a:gd name="connsiteY179" fmla="*/ 7653 h 9847"/>
                    <a:gd name="connsiteX180" fmla="*/ 4389 w 10000"/>
                    <a:gd name="connsiteY180" fmla="*/ 7638 h 9847"/>
                    <a:gd name="connsiteX181" fmla="*/ 4389 w 10000"/>
                    <a:gd name="connsiteY181" fmla="*/ 7638 h 9847"/>
                    <a:gd name="connsiteX182" fmla="*/ 4000 w 10000"/>
                    <a:gd name="connsiteY182" fmla="*/ 7638 h 9847"/>
                    <a:gd name="connsiteX183" fmla="*/ 3722 w 10000"/>
                    <a:gd name="connsiteY183" fmla="*/ 7653 h 9847"/>
                    <a:gd name="connsiteX184" fmla="*/ 3611 w 10000"/>
                    <a:gd name="connsiteY184" fmla="*/ 7669 h 9847"/>
                    <a:gd name="connsiteX185" fmla="*/ 3556 w 10000"/>
                    <a:gd name="connsiteY185" fmla="*/ 7685 h 9847"/>
                    <a:gd name="connsiteX186" fmla="*/ 3556 w 10000"/>
                    <a:gd name="connsiteY186" fmla="*/ 7685 h 9847"/>
                    <a:gd name="connsiteX187" fmla="*/ 3444 w 10000"/>
                    <a:gd name="connsiteY187" fmla="*/ 7745 h 9847"/>
                    <a:gd name="connsiteX188" fmla="*/ 3278 w 10000"/>
                    <a:gd name="connsiteY188" fmla="*/ 7838 h 9847"/>
                    <a:gd name="connsiteX189" fmla="*/ 3000 w 10000"/>
                    <a:gd name="connsiteY189" fmla="*/ 7944 h 9847"/>
                    <a:gd name="connsiteX190" fmla="*/ 2667 w 10000"/>
                    <a:gd name="connsiteY190" fmla="*/ 8022 h 9847"/>
                    <a:gd name="connsiteX191" fmla="*/ 2667 w 10000"/>
                    <a:gd name="connsiteY191" fmla="*/ 8022 h 9847"/>
                    <a:gd name="connsiteX192" fmla="*/ 2333 w 10000"/>
                    <a:gd name="connsiteY192" fmla="*/ 8083 h 9847"/>
                    <a:gd name="connsiteX193" fmla="*/ 1833 w 10000"/>
                    <a:gd name="connsiteY193" fmla="*/ 8145 h 9847"/>
                    <a:gd name="connsiteX194" fmla="*/ 1389 w 10000"/>
                    <a:gd name="connsiteY194" fmla="*/ 8176 h 9847"/>
                    <a:gd name="connsiteX195" fmla="*/ 889 w 10000"/>
                    <a:gd name="connsiteY195" fmla="*/ 8191 h 9847"/>
                    <a:gd name="connsiteX196" fmla="*/ 889 w 10000"/>
                    <a:gd name="connsiteY196" fmla="*/ 8191 h 9847"/>
                    <a:gd name="connsiteX197" fmla="*/ 500 w 10000"/>
                    <a:gd name="connsiteY197" fmla="*/ 8206 h 9847"/>
                    <a:gd name="connsiteX198" fmla="*/ 222 w 10000"/>
                    <a:gd name="connsiteY198" fmla="*/ 8222 h 9847"/>
                    <a:gd name="connsiteX199" fmla="*/ 0 w 10000"/>
                    <a:gd name="connsiteY199" fmla="*/ 8238 h 9847"/>
                    <a:gd name="connsiteX200" fmla="*/ 0 w 10000"/>
                    <a:gd name="connsiteY200" fmla="*/ 8238 h 9847"/>
                    <a:gd name="connsiteX201" fmla="*/ 278 w 10000"/>
                    <a:gd name="connsiteY201" fmla="*/ 8481 h 9847"/>
                    <a:gd name="connsiteX202" fmla="*/ 500 w 10000"/>
                    <a:gd name="connsiteY202" fmla="*/ 8664 h 9847"/>
                    <a:gd name="connsiteX203" fmla="*/ 722 w 10000"/>
                    <a:gd name="connsiteY203" fmla="*/ 8819 h 9847"/>
                    <a:gd name="connsiteX204" fmla="*/ 722 w 10000"/>
                    <a:gd name="connsiteY204" fmla="*/ 8819 h 9847"/>
                    <a:gd name="connsiteX205" fmla="*/ 889 w 10000"/>
                    <a:gd name="connsiteY205" fmla="*/ 8913 h 9847"/>
                    <a:gd name="connsiteX206" fmla="*/ 944 w 10000"/>
                    <a:gd name="connsiteY206" fmla="*/ 8988 h 9847"/>
                    <a:gd name="connsiteX207" fmla="*/ 1111 w 10000"/>
                    <a:gd name="connsiteY207" fmla="*/ 9066 h 9847"/>
                    <a:gd name="connsiteX208" fmla="*/ 1333 w 10000"/>
                    <a:gd name="connsiteY208" fmla="*/ 9187 h 9847"/>
                    <a:gd name="connsiteX209" fmla="*/ 1333 w 10000"/>
                    <a:gd name="connsiteY209" fmla="*/ 9187 h 9847"/>
                    <a:gd name="connsiteX210" fmla="*/ 1444 w 10000"/>
                    <a:gd name="connsiteY210" fmla="*/ 9249 h 9847"/>
                    <a:gd name="connsiteX211" fmla="*/ 1500 w 10000"/>
                    <a:gd name="connsiteY211" fmla="*/ 9295 h 9847"/>
                    <a:gd name="connsiteX212" fmla="*/ 1500 w 10000"/>
                    <a:gd name="connsiteY212" fmla="*/ 9340 h 9847"/>
                    <a:gd name="connsiteX213" fmla="*/ 1556 w 10000"/>
                    <a:gd name="connsiteY213" fmla="*/ 9356 h 9847"/>
                    <a:gd name="connsiteX214" fmla="*/ 1722 w 10000"/>
                    <a:gd name="connsiteY214" fmla="*/ 9370 h 9847"/>
                    <a:gd name="connsiteX215" fmla="*/ 1944 w 10000"/>
                    <a:gd name="connsiteY215" fmla="*/ 9386 h 9847"/>
                    <a:gd name="connsiteX216" fmla="*/ 2944 w 10000"/>
                    <a:gd name="connsiteY216" fmla="*/ 9401 h 9847"/>
                    <a:gd name="connsiteX217" fmla="*/ 2944 w 10000"/>
                    <a:gd name="connsiteY217" fmla="*/ 9401 h 9847"/>
                    <a:gd name="connsiteX218" fmla="*/ 4167 w 10000"/>
                    <a:gd name="connsiteY218" fmla="*/ 9432 h 9847"/>
                    <a:gd name="connsiteX219" fmla="*/ 4889 w 10000"/>
                    <a:gd name="connsiteY219" fmla="*/ 9479 h 9847"/>
                    <a:gd name="connsiteX220" fmla="*/ 5278 w 10000"/>
                    <a:gd name="connsiteY220" fmla="*/ 9526 h 9847"/>
                    <a:gd name="connsiteX221" fmla="*/ 5444 w 10000"/>
                    <a:gd name="connsiteY221" fmla="*/ 9540 h 9847"/>
                    <a:gd name="connsiteX222" fmla="*/ 5444 w 10000"/>
                    <a:gd name="connsiteY222" fmla="*/ 9540 h 9847"/>
                    <a:gd name="connsiteX223" fmla="*/ 5722 w 10000"/>
                    <a:gd name="connsiteY223" fmla="*/ 9571 h 9847"/>
                    <a:gd name="connsiteX224" fmla="*/ 5833 w 10000"/>
                    <a:gd name="connsiteY224" fmla="*/ 9588 h 9847"/>
                    <a:gd name="connsiteX225" fmla="*/ 5833 w 10000"/>
                    <a:gd name="connsiteY225" fmla="*/ 9588 h 9847"/>
                    <a:gd name="connsiteX226" fmla="*/ 5833 w 10000"/>
                    <a:gd name="connsiteY226" fmla="*/ 9571 h 9847"/>
                    <a:gd name="connsiteX227" fmla="*/ 5889 w 10000"/>
                    <a:gd name="connsiteY227" fmla="*/ 9556 h 9847"/>
                    <a:gd name="connsiteX228" fmla="*/ 6000 w 10000"/>
                    <a:gd name="connsiteY228" fmla="*/ 9540 h 9847"/>
                    <a:gd name="connsiteX229" fmla="*/ 6167 w 10000"/>
                    <a:gd name="connsiteY229" fmla="*/ 9526 h 9847"/>
                    <a:gd name="connsiteX230" fmla="*/ 6444 w 10000"/>
                    <a:gd name="connsiteY230" fmla="*/ 9526 h 9847"/>
                    <a:gd name="connsiteX231" fmla="*/ 6833 w 10000"/>
                    <a:gd name="connsiteY231" fmla="*/ 9540 h 9847"/>
                    <a:gd name="connsiteX232" fmla="*/ 7278 w 10000"/>
                    <a:gd name="connsiteY232" fmla="*/ 9588 h 9847"/>
                    <a:gd name="connsiteX233" fmla="*/ 7278 w 10000"/>
                    <a:gd name="connsiteY233" fmla="*/ 9588 h 9847"/>
                    <a:gd name="connsiteX234" fmla="*/ 8722 w 10000"/>
                    <a:gd name="connsiteY234" fmla="*/ 9724 h 9847"/>
                    <a:gd name="connsiteX235" fmla="*/ 10000 w 10000"/>
                    <a:gd name="connsiteY235" fmla="*/ 9847 h 9847"/>
                    <a:gd name="connsiteX0" fmla="*/ 10000 w 10000"/>
                    <a:gd name="connsiteY0" fmla="*/ 8941 h 10000"/>
                    <a:gd name="connsiteX1" fmla="*/ 10000 w 10000"/>
                    <a:gd name="connsiteY1" fmla="*/ 8941 h 10000"/>
                    <a:gd name="connsiteX2" fmla="*/ 9222 w 10000"/>
                    <a:gd name="connsiteY2" fmla="*/ 8956 h 10000"/>
                    <a:gd name="connsiteX3" fmla="*/ 8944 w 10000"/>
                    <a:gd name="connsiteY3" fmla="*/ 8956 h 10000"/>
                    <a:gd name="connsiteX4" fmla="*/ 8833 w 10000"/>
                    <a:gd name="connsiteY4" fmla="*/ 8941 h 10000"/>
                    <a:gd name="connsiteX5" fmla="*/ 8778 w 10000"/>
                    <a:gd name="connsiteY5" fmla="*/ 8926 h 10000"/>
                    <a:gd name="connsiteX6" fmla="*/ 8778 w 10000"/>
                    <a:gd name="connsiteY6" fmla="*/ 8926 h 10000"/>
                    <a:gd name="connsiteX7" fmla="*/ 8444 w 10000"/>
                    <a:gd name="connsiteY7" fmla="*/ 8738 h 10000"/>
                    <a:gd name="connsiteX8" fmla="*/ 8167 w 10000"/>
                    <a:gd name="connsiteY8" fmla="*/ 8566 h 10000"/>
                    <a:gd name="connsiteX9" fmla="*/ 8167 w 10000"/>
                    <a:gd name="connsiteY9" fmla="*/ 8566 h 10000"/>
                    <a:gd name="connsiteX10" fmla="*/ 8056 w 10000"/>
                    <a:gd name="connsiteY10" fmla="*/ 8537 h 10000"/>
                    <a:gd name="connsiteX11" fmla="*/ 7889 w 10000"/>
                    <a:gd name="connsiteY11" fmla="*/ 8505 h 10000"/>
                    <a:gd name="connsiteX12" fmla="*/ 7444 w 10000"/>
                    <a:gd name="connsiteY12" fmla="*/ 8488 h 10000"/>
                    <a:gd name="connsiteX13" fmla="*/ 6889 w 10000"/>
                    <a:gd name="connsiteY13" fmla="*/ 8474 h 10000"/>
                    <a:gd name="connsiteX14" fmla="*/ 6389 w 10000"/>
                    <a:gd name="connsiteY14" fmla="*/ 8474 h 10000"/>
                    <a:gd name="connsiteX15" fmla="*/ 6389 w 10000"/>
                    <a:gd name="connsiteY15" fmla="*/ 8474 h 10000"/>
                    <a:gd name="connsiteX16" fmla="*/ 6167 w 10000"/>
                    <a:gd name="connsiteY16" fmla="*/ 8457 h 10000"/>
                    <a:gd name="connsiteX17" fmla="*/ 6056 w 10000"/>
                    <a:gd name="connsiteY17" fmla="*/ 8428 h 10000"/>
                    <a:gd name="connsiteX18" fmla="*/ 6000 w 10000"/>
                    <a:gd name="connsiteY18" fmla="*/ 8395 h 10000"/>
                    <a:gd name="connsiteX19" fmla="*/ 6000 w 10000"/>
                    <a:gd name="connsiteY19" fmla="*/ 8334 h 10000"/>
                    <a:gd name="connsiteX20" fmla="*/ 6056 w 10000"/>
                    <a:gd name="connsiteY20" fmla="*/ 8209 h 10000"/>
                    <a:gd name="connsiteX21" fmla="*/ 6111 w 10000"/>
                    <a:gd name="connsiteY21" fmla="*/ 8147 h 10000"/>
                    <a:gd name="connsiteX22" fmla="*/ 6056 w 10000"/>
                    <a:gd name="connsiteY22" fmla="*/ 8067 h 10000"/>
                    <a:gd name="connsiteX23" fmla="*/ 6056 w 10000"/>
                    <a:gd name="connsiteY23" fmla="*/ 8067 h 10000"/>
                    <a:gd name="connsiteX24" fmla="*/ 6000 w 10000"/>
                    <a:gd name="connsiteY24" fmla="*/ 8022 h 10000"/>
                    <a:gd name="connsiteX25" fmla="*/ 5944 w 10000"/>
                    <a:gd name="connsiteY25" fmla="*/ 7990 h 10000"/>
                    <a:gd name="connsiteX26" fmla="*/ 5833 w 10000"/>
                    <a:gd name="connsiteY26" fmla="*/ 7990 h 10000"/>
                    <a:gd name="connsiteX27" fmla="*/ 5667 w 10000"/>
                    <a:gd name="connsiteY27" fmla="*/ 8005 h 10000"/>
                    <a:gd name="connsiteX28" fmla="*/ 5333 w 10000"/>
                    <a:gd name="connsiteY28" fmla="*/ 8052 h 10000"/>
                    <a:gd name="connsiteX29" fmla="*/ 4889 w 10000"/>
                    <a:gd name="connsiteY29" fmla="*/ 8131 h 10000"/>
                    <a:gd name="connsiteX30" fmla="*/ 4889 w 10000"/>
                    <a:gd name="connsiteY30" fmla="*/ 8131 h 10000"/>
                    <a:gd name="connsiteX31" fmla="*/ 4611 w 10000"/>
                    <a:gd name="connsiteY31" fmla="*/ 8147 h 10000"/>
                    <a:gd name="connsiteX32" fmla="*/ 4500 w 10000"/>
                    <a:gd name="connsiteY32" fmla="*/ 8147 h 10000"/>
                    <a:gd name="connsiteX33" fmla="*/ 4444 w 10000"/>
                    <a:gd name="connsiteY33" fmla="*/ 8131 h 10000"/>
                    <a:gd name="connsiteX34" fmla="*/ 4389 w 10000"/>
                    <a:gd name="connsiteY34" fmla="*/ 8067 h 10000"/>
                    <a:gd name="connsiteX35" fmla="*/ 4222 w 10000"/>
                    <a:gd name="connsiteY35" fmla="*/ 7990 h 10000"/>
                    <a:gd name="connsiteX36" fmla="*/ 4222 w 10000"/>
                    <a:gd name="connsiteY36" fmla="*/ 7990 h 10000"/>
                    <a:gd name="connsiteX37" fmla="*/ 4111 w 10000"/>
                    <a:gd name="connsiteY37" fmla="*/ 7943 h 10000"/>
                    <a:gd name="connsiteX38" fmla="*/ 4111 w 10000"/>
                    <a:gd name="connsiteY38" fmla="*/ 7897 h 10000"/>
                    <a:gd name="connsiteX39" fmla="*/ 4111 w 10000"/>
                    <a:gd name="connsiteY39" fmla="*/ 7865 h 10000"/>
                    <a:gd name="connsiteX40" fmla="*/ 4167 w 10000"/>
                    <a:gd name="connsiteY40" fmla="*/ 7835 h 10000"/>
                    <a:gd name="connsiteX41" fmla="*/ 4278 w 10000"/>
                    <a:gd name="connsiteY41" fmla="*/ 7772 h 10000"/>
                    <a:gd name="connsiteX42" fmla="*/ 4389 w 10000"/>
                    <a:gd name="connsiteY42" fmla="*/ 7757 h 10000"/>
                    <a:gd name="connsiteX43" fmla="*/ 4389 w 10000"/>
                    <a:gd name="connsiteY43" fmla="*/ 7757 h 10000"/>
                    <a:gd name="connsiteX44" fmla="*/ 4389 w 10000"/>
                    <a:gd name="connsiteY44" fmla="*/ 7742 h 10000"/>
                    <a:gd name="connsiteX45" fmla="*/ 4444 w 10000"/>
                    <a:gd name="connsiteY45" fmla="*/ 7726 h 10000"/>
                    <a:gd name="connsiteX46" fmla="*/ 4667 w 10000"/>
                    <a:gd name="connsiteY46" fmla="*/ 7710 h 10000"/>
                    <a:gd name="connsiteX47" fmla="*/ 5333 w 10000"/>
                    <a:gd name="connsiteY47" fmla="*/ 7679 h 10000"/>
                    <a:gd name="connsiteX48" fmla="*/ 6500 w 10000"/>
                    <a:gd name="connsiteY48" fmla="*/ 7633 h 10000"/>
                    <a:gd name="connsiteX49" fmla="*/ 6500 w 10000"/>
                    <a:gd name="connsiteY49" fmla="*/ 7633 h 10000"/>
                    <a:gd name="connsiteX50" fmla="*/ 7167 w 10000"/>
                    <a:gd name="connsiteY50" fmla="*/ 7586 h 10000"/>
                    <a:gd name="connsiteX51" fmla="*/ 8389 w 10000"/>
                    <a:gd name="connsiteY51" fmla="*/ 7493 h 10000"/>
                    <a:gd name="connsiteX52" fmla="*/ 8389 w 10000"/>
                    <a:gd name="connsiteY52" fmla="*/ 7493 h 10000"/>
                    <a:gd name="connsiteX53" fmla="*/ 8667 w 10000"/>
                    <a:gd name="connsiteY53" fmla="*/ 7460 h 10000"/>
                    <a:gd name="connsiteX54" fmla="*/ 8778 w 10000"/>
                    <a:gd name="connsiteY54" fmla="*/ 7413 h 10000"/>
                    <a:gd name="connsiteX55" fmla="*/ 8889 w 10000"/>
                    <a:gd name="connsiteY55" fmla="*/ 7383 h 10000"/>
                    <a:gd name="connsiteX56" fmla="*/ 8833 w 10000"/>
                    <a:gd name="connsiteY56" fmla="*/ 7351 h 10000"/>
                    <a:gd name="connsiteX57" fmla="*/ 8833 w 10000"/>
                    <a:gd name="connsiteY57" fmla="*/ 7320 h 10000"/>
                    <a:gd name="connsiteX58" fmla="*/ 8722 w 10000"/>
                    <a:gd name="connsiteY58" fmla="*/ 7289 h 10000"/>
                    <a:gd name="connsiteX59" fmla="*/ 8556 w 10000"/>
                    <a:gd name="connsiteY59" fmla="*/ 7242 h 10000"/>
                    <a:gd name="connsiteX60" fmla="*/ 8556 w 10000"/>
                    <a:gd name="connsiteY60" fmla="*/ 7242 h 10000"/>
                    <a:gd name="connsiteX61" fmla="*/ 6556 w 10000"/>
                    <a:gd name="connsiteY61" fmla="*/ 6964 h 10000"/>
                    <a:gd name="connsiteX62" fmla="*/ 6556 w 10000"/>
                    <a:gd name="connsiteY62" fmla="*/ 6964 h 10000"/>
                    <a:gd name="connsiteX63" fmla="*/ 6333 w 10000"/>
                    <a:gd name="connsiteY63" fmla="*/ 6917 h 10000"/>
                    <a:gd name="connsiteX64" fmla="*/ 6167 w 10000"/>
                    <a:gd name="connsiteY64" fmla="*/ 6869 h 10000"/>
                    <a:gd name="connsiteX65" fmla="*/ 6056 w 10000"/>
                    <a:gd name="connsiteY65" fmla="*/ 6822 h 10000"/>
                    <a:gd name="connsiteX66" fmla="*/ 6056 w 10000"/>
                    <a:gd name="connsiteY66" fmla="*/ 6822 h 10000"/>
                    <a:gd name="connsiteX67" fmla="*/ 8056 w 10000"/>
                    <a:gd name="connsiteY67" fmla="*/ 6807 h 10000"/>
                    <a:gd name="connsiteX68" fmla="*/ 10000 w 10000"/>
                    <a:gd name="connsiteY68" fmla="*/ 6964 h 10000"/>
                    <a:gd name="connsiteX69" fmla="*/ 10000 w 10000"/>
                    <a:gd name="connsiteY69" fmla="*/ 5545 h 10000"/>
                    <a:gd name="connsiteX70" fmla="*/ 10000 w 10000"/>
                    <a:gd name="connsiteY70" fmla="*/ 5545 h 10000"/>
                    <a:gd name="connsiteX71" fmla="*/ 7778 w 10000"/>
                    <a:gd name="connsiteY71" fmla="*/ 5218 h 10000"/>
                    <a:gd name="connsiteX72" fmla="*/ 6556 w 10000"/>
                    <a:gd name="connsiteY72" fmla="*/ 5031 h 10000"/>
                    <a:gd name="connsiteX73" fmla="*/ 6556 w 10000"/>
                    <a:gd name="connsiteY73" fmla="*/ 5031 h 10000"/>
                    <a:gd name="connsiteX74" fmla="*/ 6556 w 10000"/>
                    <a:gd name="connsiteY74" fmla="*/ 5015 h 10000"/>
                    <a:gd name="connsiteX75" fmla="*/ 6556 w 10000"/>
                    <a:gd name="connsiteY75" fmla="*/ 4921 h 10000"/>
                    <a:gd name="connsiteX76" fmla="*/ 6556 w 10000"/>
                    <a:gd name="connsiteY76" fmla="*/ 4921 h 10000"/>
                    <a:gd name="connsiteX77" fmla="*/ 6389 w 10000"/>
                    <a:gd name="connsiteY77" fmla="*/ 4814 h 10000"/>
                    <a:gd name="connsiteX78" fmla="*/ 6056 w 10000"/>
                    <a:gd name="connsiteY78" fmla="*/ 4642 h 10000"/>
                    <a:gd name="connsiteX79" fmla="*/ 5333 w 10000"/>
                    <a:gd name="connsiteY79" fmla="*/ 4313 h 10000"/>
                    <a:gd name="connsiteX80" fmla="*/ 5333 w 10000"/>
                    <a:gd name="connsiteY80" fmla="*/ 4313 h 10000"/>
                    <a:gd name="connsiteX81" fmla="*/ 5167 w 10000"/>
                    <a:gd name="connsiteY81" fmla="*/ 4267 h 10000"/>
                    <a:gd name="connsiteX82" fmla="*/ 4889 w 10000"/>
                    <a:gd name="connsiteY82" fmla="*/ 4204 h 10000"/>
                    <a:gd name="connsiteX83" fmla="*/ 4056 w 10000"/>
                    <a:gd name="connsiteY83" fmla="*/ 4066 h 10000"/>
                    <a:gd name="connsiteX84" fmla="*/ 2889 w 10000"/>
                    <a:gd name="connsiteY84" fmla="*/ 3895 h 10000"/>
                    <a:gd name="connsiteX85" fmla="*/ 2889 w 10000"/>
                    <a:gd name="connsiteY85" fmla="*/ 3895 h 10000"/>
                    <a:gd name="connsiteX86" fmla="*/ 2389 w 10000"/>
                    <a:gd name="connsiteY86" fmla="*/ 3878 h 10000"/>
                    <a:gd name="connsiteX87" fmla="*/ 2000 w 10000"/>
                    <a:gd name="connsiteY87" fmla="*/ 3861 h 10000"/>
                    <a:gd name="connsiteX88" fmla="*/ 1889 w 10000"/>
                    <a:gd name="connsiteY88" fmla="*/ 3847 h 10000"/>
                    <a:gd name="connsiteX89" fmla="*/ 1778 w 10000"/>
                    <a:gd name="connsiteY89" fmla="*/ 3831 h 10000"/>
                    <a:gd name="connsiteX90" fmla="*/ 1778 w 10000"/>
                    <a:gd name="connsiteY90" fmla="*/ 3831 h 10000"/>
                    <a:gd name="connsiteX91" fmla="*/ 1667 w 10000"/>
                    <a:gd name="connsiteY91" fmla="*/ 3769 h 10000"/>
                    <a:gd name="connsiteX92" fmla="*/ 1500 w 10000"/>
                    <a:gd name="connsiteY92" fmla="*/ 3660 h 10000"/>
                    <a:gd name="connsiteX93" fmla="*/ 1444 w 10000"/>
                    <a:gd name="connsiteY93" fmla="*/ 3598 h 10000"/>
                    <a:gd name="connsiteX94" fmla="*/ 1444 w 10000"/>
                    <a:gd name="connsiteY94" fmla="*/ 3535 h 10000"/>
                    <a:gd name="connsiteX95" fmla="*/ 1444 w 10000"/>
                    <a:gd name="connsiteY95" fmla="*/ 3488 h 10000"/>
                    <a:gd name="connsiteX96" fmla="*/ 1556 w 10000"/>
                    <a:gd name="connsiteY96" fmla="*/ 3442 h 10000"/>
                    <a:gd name="connsiteX97" fmla="*/ 1556 w 10000"/>
                    <a:gd name="connsiteY97" fmla="*/ 3442 h 10000"/>
                    <a:gd name="connsiteX98" fmla="*/ 1833 w 10000"/>
                    <a:gd name="connsiteY98" fmla="*/ 3364 h 10000"/>
                    <a:gd name="connsiteX99" fmla="*/ 2111 w 10000"/>
                    <a:gd name="connsiteY99" fmla="*/ 3285 h 10000"/>
                    <a:gd name="connsiteX100" fmla="*/ 2278 w 10000"/>
                    <a:gd name="connsiteY100" fmla="*/ 3239 h 10000"/>
                    <a:gd name="connsiteX101" fmla="*/ 2389 w 10000"/>
                    <a:gd name="connsiteY101" fmla="*/ 3193 h 10000"/>
                    <a:gd name="connsiteX102" fmla="*/ 2389 w 10000"/>
                    <a:gd name="connsiteY102" fmla="*/ 3130 h 10000"/>
                    <a:gd name="connsiteX103" fmla="*/ 2389 w 10000"/>
                    <a:gd name="connsiteY103" fmla="*/ 3054 h 10000"/>
                    <a:gd name="connsiteX104" fmla="*/ 2389 w 10000"/>
                    <a:gd name="connsiteY104" fmla="*/ 3054 h 10000"/>
                    <a:gd name="connsiteX105" fmla="*/ 2167 w 10000"/>
                    <a:gd name="connsiteY105" fmla="*/ 2834 h 10000"/>
                    <a:gd name="connsiteX106" fmla="*/ 1889 w 10000"/>
                    <a:gd name="connsiteY106" fmla="*/ 2538 h 10000"/>
                    <a:gd name="connsiteX107" fmla="*/ 1667 w 10000"/>
                    <a:gd name="connsiteY107" fmla="*/ 2275 h 10000"/>
                    <a:gd name="connsiteX108" fmla="*/ 1611 w 10000"/>
                    <a:gd name="connsiteY108" fmla="*/ 2197 h 10000"/>
                    <a:gd name="connsiteX109" fmla="*/ 1611 w 10000"/>
                    <a:gd name="connsiteY109" fmla="*/ 2166 h 10000"/>
                    <a:gd name="connsiteX110" fmla="*/ 1667 w 10000"/>
                    <a:gd name="connsiteY110" fmla="*/ 2149 h 10000"/>
                    <a:gd name="connsiteX111" fmla="*/ 1667 w 10000"/>
                    <a:gd name="connsiteY111" fmla="*/ 2149 h 10000"/>
                    <a:gd name="connsiteX112" fmla="*/ 2000 w 10000"/>
                    <a:gd name="connsiteY112" fmla="*/ 2135 h 10000"/>
                    <a:gd name="connsiteX113" fmla="*/ 2222 w 10000"/>
                    <a:gd name="connsiteY113" fmla="*/ 2135 h 10000"/>
                    <a:gd name="connsiteX114" fmla="*/ 2389 w 10000"/>
                    <a:gd name="connsiteY114" fmla="*/ 2149 h 10000"/>
                    <a:gd name="connsiteX115" fmla="*/ 2389 w 10000"/>
                    <a:gd name="connsiteY115" fmla="*/ 2149 h 10000"/>
                    <a:gd name="connsiteX116" fmla="*/ 2444 w 10000"/>
                    <a:gd name="connsiteY116" fmla="*/ 2149 h 10000"/>
                    <a:gd name="connsiteX117" fmla="*/ 2500 w 10000"/>
                    <a:gd name="connsiteY117" fmla="*/ 2119 h 10000"/>
                    <a:gd name="connsiteX118" fmla="*/ 2778 w 10000"/>
                    <a:gd name="connsiteY118" fmla="*/ 2024 h 10000"/>
                    <a:gd name="connsiteX119" fmla="*/ 3500 w 10000"/>
                    <a:gd name="connsiteY119" fmla="*/ 1712 h 10000"/>
                    <a:gd name="connsiteX120" fmla="*/ 4444 w 10000"/>
                    <a:gd name="connsiteY120" fmla="*/ 1261 h 10000"/>
                    <a:gd name="connsiteX121" fmla="*/ 4444 w 10000"/>
                    <a:gd name="connsiteY121" fmla="*/ 1261 h 10000"/>
                    <a:gd name="connsiteX122" fmla="*/ 4444 w 10000"/>
                    <a:gd name="connsiteY122" fmla="*/ 1197 h 10000"/>
                    <a:gd name="connsiteX123" fmla="*/ 4444 w 10000"/>
                    <a:gd name="connsiteY123" fmla="*/ 1058 h 10000"/>
                    <a:gd name="connsiteX124" fmla="*/ 4500 w 10000"/>
                    <a:gd name="connsiteY124" fmla="*/ 965 h 10000"/>
                    <a:gd name="connsiteX125" fmla="*/ 4611 w 10000"/>
                    <a:gd name="connsiteY125" fmla="*/ 888 h 10000"/>
                    <a:gd name="connsiteX126" fmla="*/ 4778 w 10000"/>
                    <a:gd name="connsiteY126" fmla="*/ 794 h 10000"/>
                    <a:gd name="connsiteX127" fmla="*/ 5000 w 10000"/>
                    <a:gd name="connsiteY127" fmla="*/ 717 h 10000"/>
                    <a:gd name="connsiteX128" fmla="*/ 5000 w 10000"/>
                    <a:gd name="connsiteY128" fmla="*/ 717 h 10000"/>
                    <a:gd name="connsiteX129" fmla="*/ 5556 w 10000"/>
                    <a:gd name="connsiteY129" fmla="*/ 561 h 10000"/>
                    <a:gd name="connsiteX130" fmla="*/ 6111 w 10000"/>
                    <a:gd name="connsiteY130" fmla="*/ 357 h 10000"/>
                    <a:gd name="connsiteX131" fmla="*/ 6667 w 10000"/>
                    <a:gd name="connsiteY131" fmla="*/ 172 h 10000"/>
                    <a:gd name="connsiteX132" fmla="*/ 7056 w 10000"/>
                    <a:gd name="connsiteY132" fmla="*/ 0 h 10000"/>
                    <a:gd name="connsiteX133" fmla="*/ 10000 w 10000"/>
                    <a:gd name="connsiteY133" fmla="*/ 8956 h 10000"/>
                    <a:gd name="connsiteX134" fmla="*/ 10000 w 10000"/>
                    <a:gd name="connsiteY134" fmla="*/ 8956 h 10000"/>
                    <a:gd name="connsiteX135" fmla="*/ 9722 w 10000"/>
                    <a:gd name="connsiteY135" fmla="*/ 8941 h 10000"/>
                    <a:gd name="connsiteX136" fmla="*/ 9389 w 10000"/>
                    <a:gd name="connsiteY136" fmla="*/ 8956 h 10000"/>
                    <a:gd name="connsiteX137" fmla="*/ 9389 w 10000"/>
                    <a:gd name="connsiteY137" fmla="*/ 8956 h 10000"/>
                    <a:gd name="connsiteX138" fmla="*/ 9278 w 10000"/>
                    <a:gd name="connsiteY138" fmla="*/ 8973 h 10000"/>
                    <a:gd name="connsiteX139" fmla="*/ 9056 w 10000"/>
                    <a:gd name="connsiteY139" fmla="*/ 8956 h 10000"/>
                    <a:gd name="connsiteX140" fmla="*/ 8889 w 10000"/>
                    <a:gd name="connsiteY140" fmla="*/ 8941 h 10000"/>
                    <a:gd name="connsiteX141" fmla="*/ 8722 w 10000"/>
                    <a:gd name="connsiteY141" fmla="*/ 8909 h 10000"/>
                    <a:gd name="connsiteX142" fmla="*/ 8611 w 10000"/>
                    <a:gd name="connsiteY142" fmla="*/ 8863 h 10000"/>
                    <a:gd name="connsiteX143" fmla="*/ 8444 w 10000"/>
                    <a:gd name="connsiteY143" fmla="*/ 8783 h 10000"/>
                    <a:gd name="connsiteX144" fmla="*/ 8444 w 10000"/>
                    <a:gd name="connsiteY144" fmla="*/ 8783 h 10000"/>
                    <a:gd name="connsiteX145" fmla="*/ 8222 w 10000"/>
                    <a:gd name="connsiteY145" fmla="*/ 8644 h 10000"/>
                    <a:gd name="connsiteX146" fmla="*/ 8111 w 10000"/>
                    <a:gd name="connsiteY146" fmla="*/ 8583 h 10000"/>
                    <a:gd name="connsiteX147" fmla="*/ 7944 w 10000"/>
                    <a:gd name="connsiteY147" fmla="*/ 8537 h 10000"/>
                    <a:gd name="connsiteX148" fmla="*/ 7778 w 10000"/>
                    <a:gd name="connsiteY148" fmla="*/ 8505 h 10000"/>
                    <a:gd name="connsiteX149" fmla="*/ 7556 w 10000"/>
                    <a:gd name="connsiteY149" fmla="*/ 8488 h 10000"/>
                    <a:gd name="connsiteX150" fmla="*/ 7333 w 10000"/>
                    <a:gd name="connsiteY150" fmla="*/ 8474 h 10000"/>
                    <a:gd name="connsiteX151" fmla="*/ 7000 w 10000"/>
                    <a:gd name="connsiteY151" fmla="*/ 8457 h 10000"/>
                    <a:gd name="connsiteX152" fmla="*/ 7000 w 10000"/>
                    <a:gd name="connsiteY152" fmla="*/ 8457 h 10000"/>
                    <a:gd name="connsiteX153" fmla="*/ 6556 w 10000"/>
                    <a:gd name="connsiteY153" fmla="*/ 8474 h 10000"/>
                    <a:gd name="connsiteX154" fmla="*/ 6222 w 10000"/>
                    <a:gd name="connsiteY154" fmla="*/ 8474 h 10000"/>
                    <a:gd name="connsiteX155" fmla="*/ 6111 w 10000"/>
                    <a:gd name="connsiteY155" fmla="*/ 8457 h 10000"/>
                    <a:gd name="connsiteX156" fmla="*/ 6056 w 10000"/>
                    <a:gd name="connsiteY156" fmla="*/ 8442 h 10000"/>
                    <a:gd name="connsiteX157" fmla="*/ 6056 w 10000"/>
                    <a:gd name="connsiteY157" fmla="*/ 8442 h 10000"/>
                    <a:gd name="connsiteX158" fmla="*/ 6056 w 10000"/>
                    <a:gd name="connsiteY158" fmla="*/ 8162 h 10000"/>
                    <a:gd name="connsiteX159" fmla="*/ 6056 w 10000"/>
                    <a:gd name="connsiteY159" fmla="*/ 8162 h 10000"/>
                    <a:gd name="connsiteX160" fmla="*/ 6056 w 10000"/>
                    <a:gd name="connsiteY160" fmla="*/ 8098 h 10000"/>
                    <a:gd name="connsiteX161" fmla="*/ 5944 w 10000"/>
                    <a:gd name="connsiteY161" fmla="*/ 8022 h 10000"/>
                    <a:gd name="connsiteX162" fmla="*/ 5889 w 10000"/>
                    <a:gd name="connsiteY162" fmla="*/ 8005 h 10000"/>
                    <a:gd name="connsiteX163" fmla="*/ 5778 w 10000"/>
                    <a:gd name="connsiteY163" fmla="*/ 7990 h 10000"/>
                    <a:gd name="connsiteX164" fmla="*/ 5667 w 10000"/>
                    <a:gd name="connsiteY164" fmla="*/ 7990 h 10000"/>
                    <a:gd name="connsiteX165" fmla="*/ 5500 w 10000"/>
                    <a:gd name="connsiteY165" fmla="*/ 8005 h 10000"/>
                    <a:gd name="connsiteX166" fmla="*/ 5500 w 10000"/>
                    <a:gd name="connsiteY166" fmla="*/ 8005 h 10000"/>
                    <a:gd name="connsiteX167" fmla="*/ 4889 w 10000"/>
                    <a:gd name="connsiteY167" fmla="*/ 8114 h 10000"/>
                    <a:gd name="connsiteX168" fmla="*/ 4611 w 10000"/>
                    <a:gd name="connsiteY168" fmla="*/ 8147 h 10000"/>
                    <a:gd name="connsiteX169" fmla="*/ 4556 w 10000"/>
                    <a:gd name="connsiteY169" fmla="*/ 8162 h 10000"/>
                    <a:gd name="connsiteX170" fmla="*/ 4500 w 10000"/>
                    <a:gd name="connsiteY170" fmla="*/ 8147 h 10000"/>
                    <a:gd name="connsiteX171" fmla="*/ 4500 w 10000"/>
                    <a:gd name="connsiteY171" fmla="*/ 8147 h 10000"/>
                    <a:gd name="connsiteX172" fmla="*/ 4222 w 10000"/>
                    <a:gd name="connsiteY172" fmla="*/ 7990 h 10000"/>
                    <a:gd name="connsiteX173" fmla="*/ 4222 w 10000"/>
                    <a:gd name="connsiteY173" fmla="*/ 7990 h 10000"/>
                    <a:gd name="connsiteX174" fmla="*/ 4111 w 10000"/>
                    <a:gd name="connsiteY174" fmla="*/ 7913 h 10000"/>
                    <a:gd name="connsiteX175" fmla="*/ 4111 w 10000"/>
                    <a:gd name="connsiteY175" fmla="*/ 7865 h 10000"/>
                    <a:gd name="connsiteX176" fmla="*/ 4111 w 10000"/>
                    <a:gd name="connsiteY176" fmla="*/ 7820 h 10000"/>
                    <a:gd name="connsiteX177" fmla="*/ 4111 w 10000"/>
                    <a:gd name="connsiteY177" fmla="*/ 7820 h 10000"/>
                    <a:gd name="connsiteX178" fmla="*/ 4278 w 10000"/>
                    <a:gd name="connsiteY178" fmla="*/ 7772 h 10000"/>
                    <a:gd name="connsiteX179" fmla="*/ 4389 w 10000"/>
                    <a:gd name="connsiteY179" fmla="*/ 7757 h 10000"/>
                    <a:gd name="connsiteX180" fmla="*/ 4389 w 10000"/>
                    <a:gd name="connsiteY180" fmla="*/ 7757 h 10000"/>
                    <a:gd name="connsiteX181" fmla="*/ 4000 w 10000"/>
                    <a:gd name="connsiteY181" fmla="*/ 7757 h 10000"/>
                    <a:gd name="connsiteX182" fmla="*/ 3722 w 10000"/>
                    <a:gd name="connsiteY182" fmla="*/ 7772 h 10000"/>
                    <a:gd name="connsiteX183" fmla="*/ 3611 w 10000"/>
                    <a:gd name="connsiteY183" fmla="*/ 7788 h 10000"/>
                    <a:gd name="connsiteX184" fmla="*/ 3556 w 10000"/>
                    <a:gd name="connsiteY184" fmla="*/ 7804 h 10000"/>
                    <a:gd name="connsiteX185" fmla="*/ 3556 w 10000"/>
                    <a:gd name="connsiteY185" fmla="*/ 7804 h 10000"/>
                    <a:gd name="connsiteX186" fmla="*/ 3444 w 10000"/>
                    <a:gd name="connsiteY186" fmla="*/ 7865 h 10000"/>
                    <a:gd name="connsiteX187" fmla="*/ 3278 w 10000"/>
                    <a:gd name="connsiteY187" fmla="*/ 7960 h 10000"/>
                    <a:gd name="connsiteX188" fmla="*/ 3000 w 10000"/>
                    <a:gd name="connsiteY188" fmla="*/ 8067 h 10000"/>
                    <a:gd name="connsiteX189" fmla="*/ 2667 w 10000"/>
                    <a:gd name="connsiteY189" fmla="*/ 8147 h 10000"/>
                    <a:gd name="connsiteX190" fmla="*/ 2667 w 10000"/>
                    <a:gd name="connsiteY190" fmla="*/ 8147 h 10000"/>
                    <a:gd name="connsiteX191" fmla="*/ 2333 w 10000"/>
                    <a:gd name="connsiteY191" fmla="*/ 8209 h 10000"/>
                    <a:gd name="connsiteX192" fmla="*/ 1833 w 10000"/>
                    <a:gd name="connsiteY192" fmla="*/ 8272 h 10000"/>
                    <a:gd name="connsiteX193" fmla="*/ 1389 w 10000"/>
                    <a:gd name="connsiteY193" fmla="*/ 8303 h 10000"/>
                    <a:gd name="connsiteX194" fmla="*/ 889 w 10000"/>
                    <a:gd name="connsiteY194" fmla="*/ 8318 h 10000"/>
                    <a:gd name="connsiteX195" fmla="*/ 889 w 10000"/>
                    <a:gd name="connsiteY195" fmla="*/ 8318 h 10000"/>
                    <a:gd name="connsiteX196" fmla="*/ 500 w 10000"/>
                    <a:gd name="connsiteY196" fmla="*/ 8334 h 10000"/>
                    <a:gd name="connsiteX197" fmla="*/ 222 w 10000"/>
                    <a:gd name="connsiteY197" fmla="*/ 8350 h 10000"/>
                    <a:gd name="connsiteX198" fmla="*/ 0 w 10000"/>
                    <a:gd name="connsiteY198" fmla="*/ 8366 h 10000"/>
                    <a:gd name="connsiteX199" fmla="*/ 0 w 10000"/>
                    <a:gd name="connsiteY199" fmla="*/ 8366 h 10000"/>
                    <a:gd name="connsiteX200" fmla="*/ 278 w 10000"/>
                    <a:gd name="connsiteY200" fmla="*/ 8613 h 10000"/>
                    <a:gd name="connsiteX201" fmla="*/ 500 w 10000"/>
                    <a:gd name="connsiteY201" fmla="*/ 8799 h 10000"/>
                    <a:gd name="connsiteX202" fmla="*/ 722 w 10000"/>
                    <a:gd name="connsiteY202" fmla="*/ 8956 h 10000"/>
                    <a:gd name="connsiteX203" fmla="*/ 722 w 10000"/>
                    <a:gd name="connsiteY203" fmla="*/ 8956 h 10000"/>
                    <a:gd name="connsiteX204" fmla="*/ 889 w 10000"/>
                    <a:gd name="connsiteY204" fmla="*/ 9051 h 10000"/>
                    <a:gd name="connsiteX205" fmla="*/ 944 w 10000"/>
                    <a:gd name="connsiteY205" fmla="*/ 9128 h 10000"/>
                    <a:gd name="connsiteX206" fmla="*/ 1111 w 10000"/>
                    <a:gd name="connsiteY206" fmla="*/ 9207 h 10000"/>
                    <a:gd name="connsiteX207" fmla="*/ 1333 w 10000"/>
                    <a:gd name="connsiteY207" fmla="*/ 9330 h 10000"/>
                    <a:gd name="connsiteX208" fmla="*/ 1333 w 10000"/>
                    <a:gd name="connsiteY208" fmla="*/ 9330 h 10000"/>
                    <a:gd name="connsiteX209" fmla="*/ 1444 w 10000"/>
                    <a:gd name="connsiteY209" fmla="*/ 9393 h 10000"/>
                    <a:gd name="connsiteX210" fmla="*/ 1500 w 10000"/>
                    <a:gd name="connsiteY210" fmla="*/ 9439 h 10000"/>
                    <a:gd name="connsiteX211" fmla="*/ 1500 w 10000"/>
                    <a:gd name="connsiteY211" fmla="*/ 9485 h 10000"/>
                    <a:gd name="connsiteX212" fmla="*/ 1556 w 10000"/>
                    <a:gd name="connsiteY212" fmla="*/ 9501 h 10000"/>
                    <a:gd name="connsiteX213" fmla="*/ 1722 w 10000"/>
                    <a:gd name="connsiteY213" fmla="*/ 9516 h 10000"/>
                    <a:gd name="connsiteX214" fmla="*/ 1944 w 10000"/>
                    <a:gd name="connsiteY214" fmla="*/ 9532 h 10000"/>
                    <a:gd name="connsiteX215" fmla="*/ 2944 w 10000"/>
                    <a:gd name="connsiteY215" fmla="*/ 9547 h 10000"/>
                    <a:gd name="connsiteX216" fmla="*/ 2944 w 10000"/>
                    <a:gd name="connsiteY216" fmla="*/ 9547 h 10000"/>
                    <a:gd name="connsiteX217" fmla="*/ 4167 w 10000"/>
                    <a:gd name="connsiteY217" fmla="*/ 9579 h 10000"/>
                    <a:gd name="connsiteX218" fmla="*/ 4889 w 10000"/>
                    <a:gd name="connsiteY218" fmla="*/ 9626 h 10000"/>
                    <a:gd name="connsiteX219" fmla="*/ 5278 w 10000"/>
                    <a:gd name="connsiteY219" fmla="*/ 9674 h 10000"/>
                    <a:gd name="connsiteX220" fmla="*/ 5444 w 10000"/>
                    <a:gd name="connsiteY220" fmla="*/ 9688 h 10000"/>
                    <a:gd name="connsiteX221" fmla="*/ 5444 w 10000"/>
                    <a:gd name="connsiteY221" fmla="*/ 9688 h 10000"/>
                    <a:gd name="connsiteX222" fmla="*/ 5722 w 10000"/>
                    <a:gd name="connsiteY222" fmla="*/ 9720 h 10000"/>
                    <a:gd name="connsiteX223" fmla="*/ 5833 w 10000"/>
                    <a:gd name="connsiteY223" fmla="*/ 9737 h 10000"/>
                    <a:gd name="connsiteX224" fmla="*/ 5833 w 10000"/>
                    <a:gd name="connsiteY224" fmla="*/ 9737 h 10000"/>
                    <a:gd name="connsiteX225" fmla="*/ 5833 w 10000"/>
                    <a:gd name="connsiteY225" fmla="*/ 9720 h 10000"/>
                    <a:gd name="connsiteX226" fmla="*/ 5889 w 10000"/>
                    <a:gd name="connsiteY226" fmla="*/ 9704 h 10000"/>
                    <a:gd name="connsiteX227" fmla="*/ 6000 w 10000"/>
                    <a:gd name="connsiteY227" fmla="*/ 9688 h 10000"/>
                    <a:gd name="connsiteX228" fmla="*/ 6167 w 10000"/>
                    <a:gd name="connsiteY228" fmla="*/ 9674 h 10000"/>
                    <a:gd name="connsiteX229" fmla="*/ 6444 w 10000"/>
                    <a:gd name="connsiteY229" fmla="*/ 9674 h 10000"/>
                    <a:gd name="connsiteX230" fmla="*/ 6833 w 10000"/>
                    <a:gd name="connsiteY230" fmla="*/ 9688 h 10000"/>
                    <a:gd name="connsiteX231" fmla="*/ 7278 w 10000"/>
                    <a:gd name="connsiteY231" fmla="*/ 9737 h 10000"/>
                    <a:gd name="connsiteX232" fmla="*/ 7278 w 10000"/>
                    <a:gd name="connsiteY232" fmla="*/ 9737 h 10000"/>
                    <a:gd name="connsiteX233" fmla="*/ 8722 w 10000"/>
                    <a:gd name="connsiteY233" fmla="*/ 9875 h 10000"/>
                    <a:gd name="connsiteX234" fmla="*/ 10000 w 10000"/>
                    <a:gd name="connsiteY234" fmla="*/ 10000 h 10000"/>
                    <a:gd name="connsiteX0" fmla="*/ 10000 w 10000"/>
                    <a:gd name="connsiteY0" fmla="*/ 8941 h 10000"/>
                    <a:gd name="connsiteX1" fmla="*/ 10000 w 10000"/>
                    <a:gd name="connsiteY1" fmla="*/ 8941 h 10000"/>
                    <a:gd name="connsiteX2" fmla="*/ 9222 w 10000"/>
                    <a:gd name="connsiteY2" fmla="*/ 8956 h 10000"/>
                    <a:gd name="connsiteX3" fmla="*/ 8944 w 10000"/>
                    <a:gd name="connsiteY3" fmla="*/ 8956 h 10000"/>
                    <a:gd name="connsiteX4" fmla="*/ 8833 w 10000"/>
                    <a:gd name="connsiteY4" fmla="*/ 8941 h 10000"/>
                    <a:gd name="connsiteX5" fmla="*/ 8778 w 10000"/>
                    <a:gd name="connsiteY5" fmla="*/ 8926 h 10000"/>
                    <a:gd name="connsiteX6" fmla="*/ 8778 w 10000"/>
                    <a:gd name="connsiteY6" fmla="*/ 8926 h 10000"/>
                    <a:gd name="connsiteX7" fmla="*/ 8444 w 10000"/>
                    <a:gd name="connsiteY7" fmla="*/ 8738 h 10000"/>
                    <a:gd name="connsiteX8" fmla="*/ 8167 w 10000"/>
                    <a:gd name="connsiteY8" fmla="*/ 8566 h 10000"/>
                    <a:gd name="connsiteX9" fmla="*/ 8167 w 10000"/>
                    <a:gd name="connsiteY9" fmla="*/ 8566 h 10000"/>
                    <a:gd name="connsiteX10" fmla="*/ 8056 w 10000"/>
                    <a:gd name="connsiteY10" fmla="*/ 8537 h 10000"/>
                    <a:gd name="connsiteX11" fmla="*/ 7889 w 10000"/>
                    <a:gd name="connsiteY11" fmla="*/ 8505 h 10000"/>
                    <a:gd name="connsiteX12" fmla="*/ 7444 w 10000"/>
                    <a:gd name="connsiteY12" fmla="*/ 8488 h 10000"/>
                    <a:gd name="connsiteX13" fmla="*/ 6889 w 10000"/>
                    <a:gd name="connsiteY13" fmla="*/ 8474 h 10000"/>
                    <a:gd name="connsiteX14" fmla="*/ 6389 w 10000"/>
                    <a:gd name="connsiteY14" fmla="*/ 8474 h 10000"/>
                    <a:gd name="connsiteX15" fmla="*/ 6389 w 10000"/>
                    <a:gd name="connsiteY15" fmla="*/ 8474 h 10000"/>
                    <a:gd name="connsiteX16" fmla="*/ 6167 w 10000"/>
                    <a:gd name="connsiteY16" fmla="*/ 8457 h 10000"/>
                    <a:gd name="connsiteX17" fmla="*/ 6056 w 10000"/>
                    <a:gd name="connsiteY17" fmla="*/ 8428 h 10000"/>
                    <a:gd name="connsiteX18" fmla="*/ 6000 w 10000"/>
                    <a:gd name="connsiteY18" fmla="*/ 8395 h 10000"/>
                    <a:gd name="connsiteX19" fmla="*/ 6000 w 10000"/>
                    <a:gd name="connsiteY19" fmla="*/ 8334 h 10000"/>
                    <a:gd name="connsiteX20" fmla="*/ 6056 w 10000"/>
                    <a:gd name="connsiteY20" fmla="*/ 8209 h 10000"/>
                    <a:gd name="connsiteX21" fmla="*/ 6111 w 10000"/>
                    <a:gd name="connsiteY21" fmla="*/ 8147 h 10000"/>
                    <a:gd name="connsiteX22" fmla="*/ 6056 w 10000"/>
                    <a:gd name="connsiteY22" fmla="*/ 8067 h 10000"/>
                    <a:gd name="connsiteX23" fmla="*/ 6056 w 10000"/>
                    <a:gd name="connsiteY23" fmla="*/ 8067 h 10000"/>
                    <a:gd name="connsiteX24" fmla="*/ 6000 w 10000"/>
                    <a:gd name="connsiteY24" fmla="*/ 8022 h 10000"/>
                    <a:gd name="connsiteX25" fmla="*/ 5944 w 10000"/>
                    <a:gd name="connsiteY25" fmla="*/ 7990 h 10000"/>
                    <a:gd name="connsiteX26" fmla="*/ 5833 w 10000"/>
                    <a:gd name="connsiteY26" fmla="*/ 7990 h 10000"/>
                    <a:gd name="connsiteX27" fmla="*/ 5667 w 10000"/>
                    <a:gd name="connsiteY27" fmla="*/ 8005 h 10000"/>
                    <a:gd name="connsiteX28" fmla="*/ 5333 w 10000"/>
                    <a:gd name="connsiteY28" fmla="*/ 8052 h 10000"/>
                    <a:gd name="connsiteX29" fmla="*/ 4889 w 10000"/>
                    <a:gd name="connsiteY29" fmla="*/ 8131 h 10000"/>
                    <a:gd name="connsiteX30" fmla="*/ 4889 w 10000"/>
                    <a:gd name="connsiteY30" fmla="*/ 8131 h 10000"/>
                    <a:gd name="connsiteX31" fmla="*/ 4611 w 10000"/>
                    <a:gd name="connsiteY31" fmla="*/ 8147 h 10000"/>
                    <a:gd name="connsiteX32" fmla="*/ 4500 w 10000"/>
                    <a:gd name="connsiteY32" fmla="*/ 8147 h 10000"/>
                    <a:gd name="connsiteX33" fmla="*/ 4444 w 10000"/>
                    <a:gd name="connsiteY33" fmla="*/ 8131 h 10000"/>
                    <a:gd name="connsiteX34" fmla="*/ 4389 w 10000"/>
                    <a:gd name="connsiteY34" fmla="*/ 8067 h 10000"/>
                    <a:gd name="connsiteX35" fmla="*/ 4222 w 10000"/>
                    <a:gd name="connsiteY35" fmla="*/ 7990 h 10000"/>
                    <a:gd name="connsiteX36" fmla="*/ 4222 w 10000"/>
                    <a:gd name="connsiteY36" fmla="*/ 7990 h 10000"/>
                    <a:gd name="connsiteX37" fmla="*/ 4111 w 10000"/>
                    <a:gd name="connsiteY37" fmla="*/ 7943 h 10000"/>
                    <a:gd name="connsiteX38" fmla="*/ 4111 w 10000"/>
                    <a:gd name="connsiteY38" fmla="*/ 7897 h 10000"/>
                    <a:gd name="connsiteX39" fmla="*/ 4111 w 10000"/>
                    <a:gd name="connsiteY39" fmla="*/ 7865 h 10000"/>
                    <a:gd name="connsiteX40" fmla="*/ 4167 w 10000"/>
                    <a:gd name="connsiteY40" fmla="*/ 7835 h 10000"/>
                    <a:gd name="connsiteX41" fmla="*/ 4278 w 10000"/>
                    <a:gd name="connsiteY41" fmla="*/ 7772 h 10000"/>
                    <a:gd name="connsiteX42" fmla="*/ 4389 w 10000"/>
                    <a:gd name="connsiteY42" fmla="*/ 7757 h 10000"/>
                    <a:gd name="connsiteX43" fmla="*/ 4389 w 10000"/>
                    <a:gd name="connsiteY43" fmla="*/ 7757 h 10000"/>
                    <a:gd name="connsiteX44" fmla="*/ 4389 w 10000"/>
                    <a:gd name="connsiteY44" fmla="*/ 7742 h 10000"/>
                    <a:gd name="connsiteX45" fmla="*/ 4444 w 10000"/>
                    <a:gd name="connsiteY45" fmla="*/ 7726 h 10000"/>
                    <a:gd name="connsiteX46" fmla="*/ 4667 w 10000"/>
                    <a:gd name="connsiteY46" fmla="*/ 7710 h 10000"/>
                    <a:gd name="connsiteX47" fmla="*/ 5333 w 10000"/>
                    <a:gd name="connsiteY47" fmla="*/ 7679 h 10000"/>
                    <a:gd name="connsiteX48" fmla="*/ 6500 w 10000"/>
                    <a:gd name="connsiteY48" fmla="*/ 7633 h 10000"/>
                    <a:gd name="connsiteX49" fmla="*/ 6500 w 10000"/>
                    <a:gd name="connsiteY49" fmla="*/ 7633 h 10000"/>
                    <a:gd name="connsiteX50" fmla="*/ 7167 w 10000"/>
                    <a:gd name="connsiteY50" fmla="*/ 7586 h 10000"/>
                    <a:gd name="connsiteX51" fmla="*/ 8389 w 10000"/>
                    <a:gd name="connsiteY51" fmla="*/ 7493 h 10000"/>
                    <a:gd name="connsiteX52" fmla="*/ 8389 w 10000"/>
                    <a:gd name="connsiteY52" fmla="*/ 7493 h 10000"/>
                    <a:gd name="connsiteX53" fmla="*/ 8667 w 10000"/>
                    <a:gd name="connsiteY53" fmla="*/ 7460 h 10000"/>
                    <a:gd name="connsiteX54" fmla="*/ 8778 w 10000"/>
                    <a:gd name="connsiteY54" fmla="*/ 7413 h 10000"/>
                    <a:gd name="connsiteX55" fmla="*/ 8889 w 10000"/>
                    <a:gd name="connsiteY55" fmla="*/ 7383 h 10000"/>
                    <a:gd name="connsiteX56" fmla="*/ 8833 w 10000"/>
                    <a:gd name="connsiteY56" fmla="*/ 7351 h 10000"/>
                    <a:gd name="connsiteX57" fmla="*/ 8833 w 10000"/>
                    <a:gd name="connsiteY57" fmla="*/ 7320 h 10000"/>
                    <a:gd name="connsiteX58" fmla="*/ 8722 w 10000"/>
                    <a:gd name="connsiteY58" fmla="*/ 7289 h 10000"/>
                    <a:gd name="connsiteX59" fmla="*/ 8556 w 10000"/>
                    <a:gd name="connsiteY59" fmla="*/ 7242 h 10000"/>
                    <a:gd name="connsiteX60" fmla="*/ 8556 w 10000"/>
                    <a:gd name="connsiteY60" fmla="*/ 7242 h 10000"/>
                    <a:gd name="connsiteX61" fmla="*/ 6556 w 10000"/>
                    <a:gd name="connsiteY61" fmla="*/ 6964 h 10000"/>
                    <a:gd name="connsiteX62" fmla="*/ 6556 w 10000"/>
                    <a:gd name="connsiteY62" fmla="*/ 6964 h 10000"/>
                    <a:gd name="connsiteX63" fmla="*/ 6333 w 10000"/>
                    <a:gd name="connsiteY63" fmla="*/ 6917 h 10000"/>
                    <a:gd name="connsiteX64" fmla="*/ 6167 w 10000"/>
                    <a:gd name="connsiteY64" fmla="*/ 6869 h 10000"/>
                    <a:gd name="connsiteX65" fmla="*/ 6056 w 10000"/>
                    <a:gd name="connsiteY65" fmla="*/ 6822 h 10000"/>
                    <a:gd name="connsiteX66" fmla="*/ 6056 w 10000"/>
                    <a:gd name="connsiteY66" fmla="*/ 6822 h 10000"/>
                    <a:gd name="connsiteX67" fmla="*/ 8056 w 10000"/>
                    <a:gd name="connsiteY67" fmla="*/ 6807 h 10000"/>
                    <a:gd name="connsiteX68" fmla="*/ 10000 w 10000"/>
                    <a:gd name="connsiteY68" fmla="*/ 6964 h 10000"/>
                    <a:gd name="connsiteX69" fmla="*/ 10000 w 10000"/>
                    <a:gd name="connsiteY69" fmla="*/ 5545 h 10000"/>
                    <a:gd name="connsiteX70" fmla="*/ 10000 w 10000"/>
                    <a:gd name="connsiteY70" fmla="*/ 5545 h 10000"/>
                    <a:gd name="connsiteX71" fmla="*/ 7778 w 10000"/>
                    <a:gd name="connsiteY71" fmla="*/ 5218 h 10000"/>
                    <a:gd name="connsiteX72" fmla="*/ 6556 w 10000"/>
                    <a:gd name="connsiteY72" fmla="*/ 5031 h 10000"/>
                    <a:gd name="connsiteX73" fmla="*/ 6556 w 10000"/>
                    <a:gd name="connsiteY73" fmla="*/ 5031 h 10000"/>
                    <a:gd name="connsiteX74" fmla="*/ 6556 w 10000"/>
                    <a:gd name="connsiteY74" fmla="*/ 5015 h 10000"/>
                    <a:gd name="connsiteX75" fmla="*/ 6556 w 10000"/>
                    <a:gd name="connsiteY75" fmla="*/ 4921 h 10000"/>
                    <a:gd name="connsiteX76" fmla="*/ 6556 w 10000"/>
                    <a:gd name="connsiteY76" fmla="*/ 4921 h 10000"/>
                    <a:gd name="connsiteX77" fmla="*/ 6389 w 10000"/>
                    <a:gd name="connsiteY77" fmla="*/ 4814 h 10000"/>
                    <a:gd name="connsiteX78" fmla="*/ 6056 w 10000"/>
                    <a:gd name="connsiteY78" fmla="*/ 4642 h 10000"/>
                    <a:gd name="connsiteX79" fmla="*/ 5333 w 10000"/>
                    <a:gd name="connsiteY79" fmla="*/ 4313 h 10000"/>
                    <a:gd name="connsiteX80" fmla="*/ 5333 w 10000"/>
                    <a:gd name="connsiteY80" fmla="*/ 4313 h 10000"/>
                    <a:gd name="connsiteX81" fmla="*/ 5167 w 10000"/>
                    <a:gd name="connsiteY81" fmla="*/ 4267 h 10000"/>
                    <a:gd name="connsiteX82" fmla="*/ 4889 w 10000"/>
                    <a:gd name="connsiteY82" fmla="*/ 4204 h 10000"/>
                    <a:gd name="connsiteX83" fmla="*/ 4056 w 10000"/>
                    <a:gd name="connsiteY83" fmla="*/ 4066 h 10000"/>
                    <a:gd name="connsiteX84" fmla="*/ 2889 w 10000"/>
                    <a:gd name="connsiteY84" fmla="*/ 3895 h 10000"/>
                    <a:gd name="connsiteX85" fmla="*/ 2889 w 10000"/>
                    <a:gd name="connsiteY85" fmla="*/ 3895 h 10000"/>
                    <a:gd name="connsiteX86" fmla="*/ 2389 w 10000"/>
                    <a:gd name="connsiteY86" fmla="*/ 3878 h 10000"/>
                    <a:gd name="connsiteX87" fmla="*/ 2000 w 10000"/>
                    <a:gd name="connsiteY87" fmla="*/ 3861 h 10000"/>
                    <a:gd name="connsiteX88" fmla="*/ 1889 w 10000"/>
                    <a:gd name="connsiteY88" fmla="*/ 3847 h 10000"/>
                    <a:gd name="connsiteX89" fmla="*/ 1778 w 10000"/>
                    <a:gd name="connsiteY89" fmla="*/ 3831 h 10000"/>
                    <a:gd name="connsiteX90" fmla="*/ 1778 w 10000"/>
                    <a:gd name="connsiteY90" fmla="*/ 3831 h 10000"/>
                    <a:gd name="connsiteX91" fmla="*/ 1667 w 10000"/>
                    <a:gd name="connsiteY91" fmla="*/ 3769 h 10000"/>
                    <a:gd name="connsiteX92" fmla="*/ 1500 w 10000"/>
                    <a:gd name="connsiteY92" fmla="*/ 3660 h 10000"/>
                    <a:gd name="connsiteX93" fmla="*/ 1444 w 10000"/>
                    <a:gd name="connsiteY93" fmla="*/ 3598 h 10000"/>
                    <a:gd name="connsiteX94" fmla="*/ 1444 w 10000"/>
                    <a:gd name="connsiteY94" fmla="*/ 3535 h 10000"/>
                    <a:gd name="connsiteX95" fmla="*/ 1444 w 10000"/>
                    <a:gd name="connsiteY95" fmla="*/ 3488 h 10000"/>
                    <a:gd name="connsiteX96" fmla="*/ 1556 w 10000"/>
                    <a:gd name="connsiteY96" fmla="*/ 3442 h 10000"/>
                    <a:gd name="connsiteX97" fmla="*/ 1556 w 10000"/>
                    <a:gd name="connsiteY97" fmla="*/ 3442 h 10000"/>
                    <a:gd name="connsiteX98" fmla="*/ 1833 w 10000"/>
                    <a:gd name="connsiteY98" fmla="*/ 3364 h 10000"/>
                    <a:gd name="connsiteX99" fmla="*/ 2111 w 10000"/>
                    <a:gd name="connsiteY99" fmla="*/ 3285 h 10000"/>
                    <a:gd name="connsiteX100" fmla="*/ 2278 w 10000"/>
                    <a:gd name="connsiteY100" fmla="*/ 3239 h 10000"/>
                    <a:gd name="connsiteX101" fmla="*/ 2389 w 10000"/>
                    <a:gd name="connsiteY101" fmla="*/ 3193 h 10000"/>
                    <a:gd name="connsiteX102" fmla="*/ 2389 w 10000"/>
                    <a:gd name="connsiteY102" fmla="*/ 3130 h 10000"/>
                    <a:gd name="connsiteX103" fmla="*/ 2389 w 10000"/>
                    <a:gd name="connsiteY103" fmla="*/ 3054 h 10000"/>
                    <a:gd name="connsiteX104" fmla="*/ 2389 w 10000"/>
                    <a:gd name="connsiteY104" fmla="*/ 3054 h 10000"/>
                    <a:gd name="connsiteX105" fmla="*/ 2167 w 10000"/>
                    <a:gd name="connsiteY105" fmla="*/ 2834 h 10000"/>
                    <a:gd name="connsiteX106" fmla="*/ 1889 w 10000"/>
                    <a:gd name="connsiteY106" fmla="*/ 2538 h 10000"/>
                    <a:gd name="connsiteX107" fmla="*/ 1667 w 10000"/>
                    <a:gd name="connsiteY107" fmla="*/ 2275 h 10000"/>
                    <a:gd name="connsiteX108" fmla="*/ 1611 w 10000"/>
                    <a:gd name="connsiteY108" fmla="*/ 2197 h 10000"/>
                    <a:gd name="connsiteX109" fmla="*/ 1611 w 10000"/>
                    <a:gd name="connsiteY109" fmla="*/ 2166 h 10000"/>
                    <a:gd name="connsiteX110" fmla="*/ 1667 w 10000"/>
                    <a:gd name="connsiteY110" fmla="*/ 2149 h 10000"/>
                    <a:gd name="connsiteX111" fmla="*/ 1667 w 10000"/>
                    <a:gd name="connsiteY111" fmla="*/ 2149 h 10000"/>
                    <a:gd name="connsiteX112" fmla="*/ 2000 w 10000"/>
                    <a:gd name="connsiteY112" fmla="*/ 2135 h 10000"/>
                    <a:gd name="connsiteX113" fmla="*/ 2222 w 10000"/>
                    <a:gd name="connsiteY113" fmla="*/ 2135 h 10000"/>
                    <a:gd name="connsiteX114" fmla="*/ 2389 w 10000"/>
                    <a:gd name="connsiteY114" fmla="*/ 2149 h 10000"/>
                    <a:gd name="connsiteX115" fmla="*/ 2389 w 10000"/>
                    <a:gd name="connsiteY115" fmla="*/ 2149 h 10000"/>
                    <a:gd name="connsiteX116" fmla="*/ 2444 w 10000"/>
                    <a:gd name="connsiteY116" fmla="*/ 2149 h 10000"/>
                    <a:gd name="connsiteX117" fmla="*/ 2500 w 10000"/>
                    <a:gd name="connsiteY117" fmla="*/ 2119 h 10000"/>
                    <a:gd name="connsiteX118" fmla="*/ 2778 w 10000"/>
                    <a:gd name="connsiteY118" fmla="*/ 2024 h 10000"/>
                    <a:gd name="connsiteX119" fmla="*/ 3500 w 10000"/>
                    <a:gd name="connsiteY119" fmla="*/ 1712 h 10000"/>
                    <a:gd name="connsiteX120" fmla="*/ 4444 w 10000"/>
                    <a:gd name="connsiteY120" fmla="*/ 1261 h 10000"/>
                    <a:gd name="connsiteX121" fmla="*/ 4444 w 10000"/>
                    <a:gd name="connsiteY121" fmla="*/ 1261 h 10000"/>
                    <a:gd name="connsiteX122" fmla="*/ 4444 w 10000"/>
                    <a:gd name="connsiteY122" fmla="*/ 1197 h 10000"/>
                    <a:gd name="connsiteX123" fmla="*/ 4444 w 10000"/>
                    <a:gd name="connsiteY123" fmla="*/ 1058 h 10000"/>
                    <a:gd name="connsiteX124" fmla="*/ 4500 w 10000"/>
                    <a:gd name="connsiteY124" fmla="*/ 965 h 10000"/>
                    <a:gd name="connsiteX125" fmla="*/ 4611 w 10000"/>
                    <a:gd name="connsiteY125" fmla="*/ 888 h 10000"/>
                    <a:gd name="connsiteX126" fmla="*/ 4778 w 10000"/>
                    <a:gd name="connsiteY126" fmla="*/ 794 h 10000"/>
                    <a:gd name="connsiteX127" fmla="*/ 5000 w 10000"/>
                    <a:gd name="connsiteY127" fmla="*/ 717 h 10000"/>
                    <a:gd name="connsiteX128" fmla="*/ 5000 w 10000"/>
                    <a:gd name="connsiteY128" fmla="*/ 717 h 10000"/>
                    <a:gd name="connsiteX129" fmla="*/ 5556 w 10000"/>
                    <a:gd name="connsiteY129" fmla="*/ 561 h 10000"/>
                    <a:gd name="connsiteX130" fmla="*/ 6111 w 10000"/>
                    <a:gd name="connsiteY130" fmla="*/ 357 h 10000"/>
                    <a:gd name="connsiteX131" fmla="*/ 7056 w 10000"/>
                    <a:gd name="connsiteY131" fmla="*/ 0 h 10000"/>
                    <a:gd name="connsiteX132" fmla="*/ 10000 w 10000"/>
                    <a:gd name="connsiteY132" fmla="*/ 8956 h 10000"/>
                    <a:gd name="connsiteX133" fmla="*/ 10000 w 10000"/>
                    <a:gd name="connsiteY133" fmla="*/ 8956 h 10000"/>
                    <a:gd name="connsiteX134" fmla="*/ 9722 w 10000"/>
                    <a:gd name="connsiteY134" fmla="*/ 8941 h 10000"/>
                    <a:gd name="connsiteX135" fmla="*/ 9389 w 10000"/>
                    <a:gd name="connsiteY135" fmla="*/ 8956 h 10000"/>
                    <a:gd name="connsiteX136" fmla="*/ 9389 w 10000"/>
                    <a:gd name="connsiteY136" fmla="*/ 8956 h 10000"/>
                    <a:gd name="connsiteX137" fmla="*/ 9278 w 10000"/>
                    <a:gd name="connsiteY137" fmla="*/ 8973 h 10000"/>
                    <a:gd name="connsiteX138" fmla="*/ 9056 w 10000"/>
                    <a:gd name="connsiteY138" fmla="*/ 8956 h 10000"/>
                    <a:gd name="connsiteX139" fmla="*/ 8889 w 10000"/>
                    <a:gd name="connsiteY139" fmla="*/ 8941 h 10000"/>
                    <a:gd name="connsiteX140" fmla="*/ 8722 w 10000"/>
                    <a:gd name="connsiteY140" fmla="*/ 8909 h 10000"/>
                    <a:gd name="connsiteX141" fmla="*/ 8611 w 10000"/>
                    <a:gd name="connsiteY141" fmla="*/ 8863 h 10000"/>
                    <a:gd name="connsiteX142" fmla="*/ 8444 w 10000"/>
                    <a:gd name="connsiteY142" fmla="*/ 8783 h 10000"/>
                    <a:gd name="connsiteX143" fmla="*/ 8444 w 10000"/>
                    <a:gd name="connsiteY143" fmla="*/ 8783 h 10000"/>
                    <a:gd name="connsiteX144" fmla="*/ 8222 w 10000"/>
                    <a:gd name="connsiteY144" fmla="*/ 8644 h 10000"/>
                    <a:gd name="connsiteX145" fmla="*/ 8111 w 10000"/>
                    <a:gd name="connsiteY145" fmla="*/ 8583 h 10000"/>
                    <a:gd name="connsiteX146" fmla="*/ 7944 w 10000"/>
                    <a:gd name="connsiteY146" fmla="*/ 8537 h 10000"/>
                    <a:gd name="connsiteX147" fmla="*/ 7778 w 10000"/>
                    <a:gd name="connsiteY147" fmla="*/ 8505 h 10000"/>
                    <a:gd name="connsiteX148" fmla="*/ 7556 w 10000"/>
                    <a:gd name="connsiteY148" fmla="*/ 8488 h 10000"/>
                    <a:gd name="connsiteX149" fmla="*/ 7333 w 10000"/>
                    <a:gd name="connsiteY149" fmla="*/ 8474 h 10000"/>
                    <a:gd name="connsiteX150" fmla="*/ 7000 w 10000"/>
                    <a:gd name="connsiteY150" fmla="*/ 8457 h 10000"/>
                    <a:gd name="connsiteX151" fmla="*/ 7000 w 10000"/>
                    <a:gd name="connsiteY151" fmla="*/ 8457 h 10000"/>
                    <a:gd name="connsiteX152" fmla="*/ 6556 w 10000"/>
                    <a:gd name="connsiteY152" fmla="*/ 8474 h 10000"/>
                    <a:gd name="connsiteX153" fmla="*/ 6222 w 10000"/>
                    <a:gd name="connsiteY153" fmla="*/ 8474 h 10000"/>
                    <a:gd name="connsiteX154" fmla="*/ 6111 w 10000"/>
                    <a:gd name="connsiteY154" fmla="*/ 8457 h 10000"/>
                    <a:gd name="connsiteX155" fmla="*/ 6056 w 10000"/>
                    <a:gd name="connsiteY155" fmla="*/ 8442 h 10000"/>
                    <a:gd name="connsiteX156" fmla="*/ 6056 w 10000"/>
                    <a:gd name="connsiteY156" fmla="*/ 8442 h 10000"/>
                    <a:gd name="connsiteX157" fmla="*/ 6056 w 10000"/>
                    <a:gd name="connsiteY157" fmla="*/ 8162 h 10000"/>
                    <a:gd name="connsiteX158" fmla="*/ 6056 w 10000"/>
                    <a:gd name="connsiteY158" fmla="*/ 8162 h 10000"/>
                    <a:gd name="connsiteX159" fmla="*/ 6056 w 10000"/>
                    <a:gd name="connsiteY159" fmla="*/ 8098 h 10000"/>
                    <a:gd name="connsiteX160" fmla="*/ 5944 w 10000"/>
                    <a:gd name="connsiteY160" fmla="*/ 8022 h 10000"/>
                    <a:gd name="connsiteX161" fmla="*/ 5889 w 10000"/>
                    <a:gd name="connsiteY161" fmla="*/ 8005 h 10000"/>
                    <a:gd name="connsiteX162" fmla="*/ 5778 w 10000"/>
                    <a:gd name="connsiteY162" fmla="*/ 7990 h 10000"/>
                    <a:gd name="connsiteX163" fmla="*/ 5667 w 10000"/>
                    <a:gd name="connsiteY163" fmla="*/ 7990 h 10000"/>
                    <a:gd name="connsiteX164" fmla="*/ 5500 w 10000"/>
                    <a:gd name="connsiteY164" fmla="*/ 8005 h 10000"/>
                    <a:gd name="connsiteX165" fmla="*/ 5500 w 10000"/>
                    <a:gd name="connsiteY165" fmla="*/ 8005 h 10000"/>
                    <a:gd name="connsiteX166" fmla="*/ 4889 w 10000"/>
                    <a:gd name="connsiteY166" fmla="*/ 8114 h 10000"/>
                    <a:gd name="connsiteX167" fmla="*/ 4611 w 10000"/>
                    <a:gd name="connsiteY167" fmla="*/ 8147 h 10000"/>
                    <a:gd name="connsiteX168" fmla="*/ 4556 w 10000"/>
                    <a:gd name="connsiteY168" fmla="*/ 8162 h 10000"/>
                    <a:gd name="connsiteX169" fmla="*/ 4500 w 10000"/>
                    <a:gd name="connsiteY169" fmla="*/ 8147 h 10000"/>
                    <a:gd name="connsiteX170" fmla="*/ 4500 w 10000"/>
                    <a:gd name="connsiteY170" fmla="*/ 8147 h 10000"/>
                    <a:gd name="connsiteX171" fmla="*/ 4222 w 10000"/>
                    <a:gd name="connsiteY171" fmla="*/ 7990 h 10000"/>
                    <a:gd name="connsiteX172" fmla="*/ 4222 w 10000"/>
                    <a:gd name="connsiteY172" fmla="*/ 7990 h 10000"/>
                    <a:gd name="connsiteX173" fmla="*/ 4111 w 10000"/>
                    <a:gd name="connsiteY173" fmla="*/ 7913 h 10000"/>
                    <a:gd name="connsiteX174" fmla="*/ 4111 w 10000"/>
                    <a:gd name="connsiteY174" fmla="*/ 7865 h 10000"/>
                    <a:gd name="connsiteX175" fmla="*/ 4111 w 10000"/>
                    <a:gd name="connsiteY175" fmla="*/ 7820 h 10000"/>
                    <a:gd name="connsiteX176" fmla="*/ 4111 w 10000"/>
                    <a:gd name="connsiteY176" fmla="*/ 7820 h 10000"/>
                    <a:gd name="connsiteX177" fmla="*/ 4278 w 10000"/>
                    <a:gd name="connsiteY177" fmla="*/ 7772 h 10000"/>
                    <a:gd name="connsiteX178" fmla="*/ 4389 w 10000"/>
                    <a:gd name="connsiteY178" fmla="*/ 7757 h 10000"/>
                    <a:gd name="connsiteX179" fmla="*/ 4389 w 10000"/>
                    <a:gd name="connsiteY179" fmla="*/ 7757 h 10000"/>
                    <a:gd name="connsiteX180" fmla="*/ 4000 w 10000"/>
                    <a:gd name="connsiteY180" fmla="*/ 7757 h 10000"/>
                    <a:gd name="connsiteX181" fmla="*/ 3722 w 10000"/>
                    <a:gd name="connsiteY181" fmla="*/ 7772 h 10000"/>
                    <a:gd name="connsiteX182" fmla="*/ 3611 w 10000"/>
                    <a:gd name="connsiteY182" fmla="*/ 7788 h 10000"/>
                    <a:gd name="connsiteX183" fmla="*/ 3556 w 10000"/>
                    <a:gd name="connsiteY183" fmla="*/ 7804 h 10000"/>
                    <a:gd name="connsiteX184" fmla="*/ 3556 w 10000"/>
                    <a:gd name="connsiteY184" fmla="*/ 7804 h 10000"/>
                    <a:gd name="connsiteX185" fmla="*/ 3444 w 10000"/>
                    <a:gd name="connsiteY185" fmla="*/ 7865 h 10000"/>
                    <a:gd name="connsiteX186" fmla="*/ 3278 w 10000"/>
                    <a:gd name="connsiteY186" fmla="*/ 7960 h 10000"/>
                    <a:gd name="connsiteX187" fmla="*/ 3000 w 10000"/>
                    <a:gd name="connsiteY187" fmla="*/ 8067 h 10000"/>
                    <a:gd name="connsiteX188" fmla="*/ 2667 w 10000"/>
                    <a:gd name="connsiteY188" fmla="*/ 8147 h 10000"/>
                    <a:gd name="connsiteX189" fmla="*/ 2667 w 10000"/>
                    <a:gd name="connsiteY189" fmla="*/ 8147 h 10000"/>
                    <a:gd name="connsiteX190" fmla="*/ 2333 w 10000"/>
                    <a:gd name="connsiteY190" fmla="*/ 8209 h 10000"/>
                    <a:gd name="connsiteX191" fmla="*/ 1833 w 10000"/>
                    <a:gd name="connsiteY191" fmla="*/ 8272 h 10000"/>
                    <a:gd name="connsiteX192" fmla="*/ 1389 w 10000"/>
                    <a:gd name="connsiteY192" fmla="*/ 8303 h 10000"/>
                    <a:gd name="connsiteX193" fmla="*/ 889 w 10000"/>
                    <a:gd name="connsiteY193" fmla="*/ 8318 h 10000"/>
                    <a:gd name="connsiteX194" fmla="*/ 889 w 10000"/>
                    <a:gd name="connsiteY194" fmla="*/ 8318 h 10000"/>
                    <a:gd name="connsiteX195" fmla="*/ 500 w 10000"/>
                    <a:gd name="connsiteY195" fmla="*/ 8334 h 10000"/>
                    <a:gd name="connsiteX196" fmla="*/ 222 w 10000"/>
                    <a:gd name="connsiteY196" fmla="*/ 8350 h 10000"/>
                    <a:gd name="connsiteX197" fmla="*/ 0 w 10000"/>
                    <a:gd name="connsiteY197" fmla="*/ 8366 h 10000"/>
                    <a:gd name="connsiteX198" fmla="*/ 0 w 10000"/>
                    <a:gd name="connsiteY198" fmla="*/ 8366 h 10000"/>
                    <a:gd name="connsiteX199" fmla="*/ 278 w 10000"/>
                    <a:gd name="connsiteY199" fmla="*/ 8613 h 10000"/>
                    <a:gd name="connsiteX200" fmla="*/ 500 w 10000"/>
                    <a:gd name="connsiteY200" fmla="*/ 8799 h 10000"/>
                    <a:gd name="connsiteX201" fmla="*/ 722 w 10000"/>
                    <a:gd name="connsiteY201" fmla="*/ 8956 h 10000"/>
                    <a:gd name="connsiteX202" fmla="*/ 722 w 10000"/>
                    <a:gd name="connsiteY202" fmla="*/ 8956 h 10000"/>
                    <a:gd name="connsiteX203" fmla="*/ 889 w 10000"/>
                    <a:gd name="connsiteY203" fmla="*/ 9051 h 10000"/>
                    <a:gd name="connsiteX204" fmla="*/ 944 w 10000"/>
                    <a:gd name="connsiteY204" fmla="*/ 9128 h 10000"/>
                    <a:gd name="connsiteX205" fmla="*/ 1111 w 10000"/>
                    <a:gd name="connsiteY205" fmla="*/ 9207 h 10000"/>
                    <a:gd name="connsiteX206" fmla="*/ 1333 w 10000"/>
                    <a:gd name="connsiteY206" fmla="*/ 9330 h 10000"/>
                    <a:gd name="connsiteX207" fmla="*/ 1333 w 10000"/>
                    <a:gd name="connsiteY207" fmla="*/ 9330 h 10000"/>
                    <a:gd name="connsiteX208" fmla="*/ 1444 w 10000"/>
                    <a:gd name="connsiteY208" fmla="*/ 9393 h 10000"/>
                    <a:gd name="connsiteX209" fmla="*/ 1500 w 10000"/>
                    <a:gd name="connsiteY209" fmla="*/ 9439 h 10000"/>
                    <a:gd name="connsiteX210" fmla="*/ 1500 w 10000"/>
                    <a:gd name="connsiteY210" fmla="*/ 9485 h 10000"/>
                    <a:gd name="connsiteX211" fmla="*/ 1556 w 10000"/>
                    <a:gd name="connsiteY211" fmla="*/ 9501 h 10000"/>
                    <a:gd name="connsiteX212" fmla="*/ 1722 w 10000"/>
                    <a:gd name="connsiteY212" fmla="*/ 9516 h 10000"/>
                    <a:gd name="connsiteX213" fmla="*/ 1944 w 10000"/>
                    <a:gd name="connsiteY213" fmla="*/ 9532 h 10000"/>
                    <a:gd name="connsiteX214" fmla="*/ 2944 w 10000"/>
                    <a:gd name="connsiteY214" fmla="*/ 9547 h 10000"/>
                    <a:gd name="connsiteX215" fmla="*/ 2944 w 10000"/>
                    <a:gd name="connsiteY215" fmla="*/ 9547 h 10000"/>
                    <a:gd name="connsiteX216" fmla="*/ 4167 w 10000"/>
                    <a:gd name="connsiteY216" fmla="*/ 9579 h 10000"/>
                    <a:gd name="connsiteX217" fmla="*/ 4889 w 10000"/>
                    <a:gd name="connsiteY217" fmla="*/ 9626 h 10000"/>
                    <a:gd name="connsiteX218" fmla="*/ 5278 w 10000"/>
                    <a:gd name="connsiteY218" fmla="*/ 9674 h 10000"/>
                    <a:gd name="connsiteX219" fmla="*/ 5444 w 10000"/>
                    <a:gd name="connsiteY219" fmla="*/ 9688 h 10000"/>
                    <a:gd name="connsiteX220" fmla="*/ 5444 w 10000"/>
                    <a:gd name="connsiteY220" fmla="*/ 9688 h 10000"/>
                    <a:gd name="connsiteX221" fmla="*/ 5722 w 10000"/>
                    <a:gd name="connsiteY221" fmla="*/ 9720 h 10000"/>
                    <a:gd name="connsiteX222" fmla="*/ 5833 w 10000"/>
                    <a:gd name="connsiteY222" fmla="*/ 9737 h 10000"/>
                    <a:gd name="connsiteX223" fmla="*/ 5833 w 10000"/>
                    <a:gd name="connsiteY223" fmla="*/ 9737 h 10000"/>
                    <a:gd name="connsiteX224" fmla="*/ 5833 w 10000"/>
                    <a:gd name="connsiteY224" fmla="*/ 9720 h 10000"/>
                    <a:gd name="connsiteX225" fmla="*/ 5889 w 10000"/>
                    <a:gd name="connsiteY225" fmla="*/ 9704 h 10000"/>
                    <a:gd name="connsiteX226" fmla="*/ 6000 w 10000"/>
                    <a:gd name="connsiteY226" fmla="*/ 9688 h 10000"/>
                    <a:gd name="connsiteX227" fmla="*/ 6167 w 10000"/>
                    <a:gd name="connsiteY227" fmla="*/ 9674 h 10000"/>
                    <a:gd name="connsiteX228" fmla="*/ 6444 w 10000"/>
                    <a:gd name="connsiteY228" fmla="*/ 9674 h 10000"/>
                    <a:gd name="connsiteX229" fmla="*/ 6833 w 10000"/>
                    <a:gd name="connsiteY229" fmla="*/ 9688 h 10000"/>
                    <a:gd name="connsiteX230" fmla="*/ 7278 w 10000"/>
                    <a:gd name="connsiteY230" fmla="*/ 9737 h 10000"/>
                    <a:gd name="connsiteX231" fmla="*/ 7278 w 10000"/>
                    <a:gd name="connsiteY231" fmla="*/ 9737 h 10000"/>
                    <a:gd name="connsiteX232" fmla="*/ 8722 w 10000"/>
                    <a:gd name="connsiteY232" fmla="*/ 9875 h 10000"/>
                    <a:gd name="connsiteX233" fmla="*/ 10000 w 10000"/>
                    <a:gd name="connsiteY233" fmla="*/ 10000 h 10000"/>
                    <a:gd name="connsiteX0" fmla="*/ 10000 w 10000"/>
                    <a:gd name="connsiteY0" fmla="*/ 8584 h 9643"/>
                    <a:gd name="connsiteX1" fmla="*/ 10000 w 10000"/>
                    <a:gd name="connsiteY1" fmla="*/ 8584 h 9643"/>
                    <a:gd name="connsiteX2" fmla="*/ 9222 w 10000"/>
                    <a:gd name="connsiteY2" fmla="*/ 8599 h 9643"/>
                    <a:gd name="connsiteX3" fmla="*/ 8944 w 10000"/>
                    <a:gd name="connsiteY3" fmla="*/ 8599 h 9643"/>
                    <a:gd name="connsiteX4" fmla="*/ 8833 w 10000"/>
                    <a:gd name="connsiteY4" fmla="*/ 8584 h 9643"/>
                    <a:gd name="connsiteX5" fmla="*/ 8778 w 10000"/>
                    <a:gd name="connsiteY5" fmla="*/ 8569 h 9643"/>
                    <a:gd name="connsiteX6" fmla="*/ 8778 w 10000"/>
                    <a:gd name="connsiteY6" fmla="*/ 8569 h 9643"/>
                    <a:gd name="connsiteX7" fmla="*/ 8444 w 10000"/>
                    <a:gd name="connsiteY7" fmla="*/ 8381 h 9643"/>
                    <a:gd name="connsiteX8" fmla="*/ 8167 w 10000"/>
                    <a:gd name="connsiteY8" fmla="*/ 8209 h 9643"/>
                    <a:gd name="connsiteX9" fmla="*/ 8167 w 10000"/>
                    <a:gd name="connsiteY9" fmla="*/ 8209 h 9643"/>
                    <a:gd name="connsiteX10" fmla="*/ 8056 w 10000"/>
                    <a:gd name="connsiteY10" fmla="*/ 8180 h 9643"/>
                    <a:gd name="connsiteX11" fmla="*/ 7889 w 10000"/>
                    <a:gd name="connsiteY11" fmla="*/ 8148 h 9643"/>
                    <a:gd name="connsiteX12" fmla="*/ 7444 w 10000"/>
                    <a:gd name="connsiteY12" fmla="*/ 8131 h 9643"/>
                    <a:gd name="connsiteX13" fmla="*/ 6889 w 10000"/>
                    <a:gd name="connsiteY13" fmla="*/ 8117 h 9643"/>
                    <a:gd name="connsiteX14" fmla="*/ 6389 w 10000"/>
                    <a:gd name="connsiteY14" fmla="*/ 8117 h 9643"/>
                    <a:gd name="connsiteX15" fmla="*/ 6389 w 10000"/>
                    <a:gd name="connsiteY15" fmla="*/ 8117 h 9643"/>
                    <a:gd name="connsiteX16" fmla="*/ 6167 w 10000"/>
                    <a:gd name="connsiteY16" fmla="*/ 8100 h 9643"/>
                    <a:gd name="connsiteX17" fmla="*/ 6056 w 10000"/>
                    <a:gd name="connsiteY17" fmla="*/ 8071 h 9643"/>
                    <a:gd name="connsiteX18" fmla="*/ 6000 w 10000"/>
                    <a:gd name="connsiteY18" fmla="*/ 8038 h 9643"/>
                    <a:gd name="connsiteX19" fmla="*/ 6000 w 10000"/>
                    <a:gd name="connsiteY19" fmla="*/ 7977 h 9643"/>
                    <a:gd name="connsiteX20" fmla="*/ 6056 w 10000"/>
                    <a:gd name="connsiteY20" fmla="*/ 7852 h 9643"/>
                    <a:gd name="connsiteX21" fmla="*/ 6111 w 10000"/>
                    <a:gd name="connsiteY21" fmla="*/ 7790 h 9643"/>
                    <a:gd name="connsiteX22" fmla="*/ 6056 w 10000"/>
                    <a:gd name="connsiteY22" fmla="*/ 7710 h 9643"/>
                    <a:gd name="connsiteX23" fmla="*/ 6056 w 10000"/>
                    <a:gd name="connsiteY23" fmla="*/ 7710 h 9643"/>
                    <a:gd name="connsiteX24" fmla="*/ 6000 w 10000"/>
                    <a:gd name="connsiteY24" fmla="*/ 7665 h 9643"/>
                    <a:gd name="connsiteX25" fmla="*/ 5944 w 10000"/>
                    <a:gd name="connsiteY25" fmla="*/ 7633 h 9643"/>
                    <a:gd name="connsiteX26" fmla="*/ 5833 w 10000"/>
                    <a:gd name="connsiteY26" fmla="*/ 7633 h 9643"/>
                    <a:gd name="connsiteX27" fmla="*/ 5667 w 10000"/>
                    <a:gd name="connsiteY27" fmla="*/ 7648 h 9643"/>
                    <a:gd name="connsiteX28" fmla="*/ 5333 w 10000"/>
                    <a:gd name="connsiteY28" fmla="*/ 7695 h 9643"/>
                    <a:gd name="connsiteX29" fmla="*/ 4889 w 10000"/>
                    <a:gd name="connsiteY29" fmla="*/ 7774 h 9643"/>
                    <a:gd name="connsiteX30" fmla="*/ 4889 w 10000"/>
                    <a:gd name="connsiteY30" fmla="*/ 7774 h 9643"/>
                    <a:gd name="connsiteX31" fmla="*/ 4611 w 10000"/>
                    <a:gd name="connsiteY31" fmla="*/ 7790 h 9643"/>
                    <a:gd name="connsiteX32" fmla="*/ 4500 w 10000"/>
                    <a:gd name="connsiteY32" fmla="*/ 7790 h 9643"/>
                    <a:gd name="connsiteX33" fmla="*/ 4444 w 10000"/>
                    <a:gd name="connsiteY33" fmla="*/ 7774 h 9643"/>
                    <a:gd name="connsiteX34" fmla="*/ 4389 w 10000"/>
                    <a:gd name="connsiteY34" fmla="*/ 7710 h 9643"/>
                    <a:gd name="connsiteX35" fmla="*/ 4222 w 10000"/>
                    <a:gd name="connsiteY35" fmla="*/ 7633 h 9643"/>
                    <a:gd name="connsiteX36" fmla="*/ 4222 w 10000"/>
                    <a:gd name="connsiteY36" fmla="*/ 7633 h 9643"/>
                    <a:gd name="connsiteX37" fmla="*/ 4111 w 10000"/>
                    <a:gd name="connsiteY37" fmla="*/ 7586 h 9643"/>
                    <a:gd name="connsiteX38" fmla="*/ 4111 w 10000"/>
                    <a:gd name="connsiteY38" fmla="*/ 7540 h 9643"/>
                    <a:gd name="connsiteX39" fmla="*/ 4111 w 10000"/>
                    <a:gd name="connsiteY39" fmla="*/ 7508 h 9643"/>
                    <a:gd name="connsiteX40" fmla="*/ 4167 w 10000"/>
                    <a:gd name="connsiteY40" fmla="*/ 7478 h 9643"/>
                    <a:gd name="connsiteX41" fmla="*/ 4278 w 10000"/>
                    <a:gd name="connsiteY41" fmla="*/ 7415 h 9643"/>
                    <a:gd name="connsiteX42" fmla="*/ 4389 w 10000"/>
                    <a:gd name="connsiteY42" fmla="*/ 7400 h 9643"/>
                    <a:gd name="connsiteX43" fmla="*/ 4389 w 10000"/>
                    <a:gd name="connsiteY43" fmla="*/ 7400 h 9643"/>
                    <a:gd name="connsiteX44" fmla="*/ 4389 w 10000"/>
                    <a:gd name="connsiteY44" fmla="*/ 7385 h 9643"/>
                    <a:gd name="connsiteX45" fmla="*/ 4444 w 10000"/>
                    <a:gd name="connsiteY45" fmla="*/ 7369 h 9643"/>
                    <a:gd name="connsiteX46" fmla="*/ 4667 w 10000"/>
                    <a:gd name="connsiteY46" fmla="*/ 7353 h 9643"/>
                    <a:gd name="connsiteX47" fmla="*/ 5333 w 10000"/>
                    <a:gd name="connsiteY47" fmla="*/ 7322 h 9643"/>
                    <a:gd name="connsiteX48" fmla="*/ 6500 w 10000"/>
                    <a:gd name="connsiteY48" fmla="*/ 7276 h 9643"/>
                    <a:gd name="connsiteX49" fmla="*/ 6500 w 10000"/>
                    <a:gd name="connsiteY49" fmla="*/ 7276 h 9643"/>
                    <a:gd name="connsiteX50" fmla="*/ 7167 w 10000"/>
                    <a:gd name="connsiteY50" fmla="*/ 7229 h 9643"/>
                    <a:gd name="connsiteX51" fmla="*/ 8389 w 10000"/>
                    <a:gd name="connsiteY51" fmla="*/ 7136 h 9643"/>
                    <a:gd name="connsiteX52" fmla="*/ 8389 w 10000"/>
                    <a:gd name="connsiteY52" fmla="*/ 7136 h 9643"/>
                    <a:gd name="connsiteX53" fmla="*/ 8667 w 10000"/>
                    <a:gd name="connsiteY53" fmla="*/ 7103 h 9643"/>
                    <a:gd name="connsiteX54" fmla="*/ 8778 w 10000"/>
                    <a:gd name="connsiteY54" fmla="*/ 7056 h 9643"/>
                    <a:gd name="connsiteX55" fmla="*/ 8889 w 10000"/>
                    <a:gd name="connsiteY55" fmla="*/ 7026 h 9643"/>
                    <a:gd name="connsiteX56" fmla="*/ 8833 w 10000"/>
                    <a:gd name="connsiteY56" fmla="*/ 6994 h 9643"/>
                    <a:gd name="connsiteX57" fmla="*/ 8833 w 10000"/>
                    <a:gd name="connsiteY57" fmla="*/ 6963 h 9643"/>
                    <a:gd name="connsiteX58" fmla="*/ 8722 w 10000"/>
                    <a:gd name="connsiteY58" fmla="*/ 6932 h 9643"/>
                    <a:gd name="connsiteX59" fmla="*/ 8556 w 10000"/>
                    <a:gd name="connsiteY59" fmla="*/ 6885 h 9643"/>
                    <a:gd name="connsiteX60" fmla="*/ 8556 w 10000"/>
                    <a:gd name="connsiteY60" fmla="*/ 6885 h 9643"/>
                    <a:gd name="connsiteX61" fmla="*/ 6556 w 10000"/>
                    <a:gd name="connsiteY61" fmla="*/ 6607 h 9643"/>
                    <a:gd name="connsiteX62" fmla="*/ 6556 w 10000"/>
                    <a:gd name="connsiteY62" fmla="*/ 6607 h 9643"/>
                    <a:gd name="connsiteX63" fmla="*/ 6333 w 10000"/>
                    <a:gd name="connsiteY63" fmla="*/ 6560 h 9643"/>
                    <a:gd name="connsiteX64" fmla="*/ 6167 w 10000"/>
                    <a:gd name="connsiteY64" fmla="*/ 6512 h 9643"/>
                    <a:gd name="connsiteX65" fmla="*/ 6056 w 10000"/>
                    <a:gd name="connsiteY65" fmla="*/ 6465 h 9643"/>
                    <a:gd name="connsiteX66" fmla="*/ 6056 w 10000"/>
                    <a:gd name="connsiteY66" fmla="*/ 6465 h 9643"/>
                    <a:gd name="connsiteX67" fmla="*/ 8056 w 10000"/>
                    <a:gd name="connsiteY67" fmla="*/ 6450 h 9643"/>
                    <a:gd name="connsiteX68" fmla="*/ 10000 w 10000"/>
                    <a:gd name="connsiteY68" fmla="*/ 6607 h 9643"/>
                    <a:gd name="connsiteX69" fmla="*/ 10000 w 10000"/>
                    <a:gd name="connsiteY69" fmla="*/ 5188 h 9643"/>
                    <a:gd name="connsiteX70" fmla="*/ 10000 w 10000"/>
                    <a:gd name="connsiteY70" fmla="*/ 5188 h 9643"/>
                    <a:gd name="connsiteX71" fmla="*/ 7778 w 10000"/>
                    <a:gd name="connsiteY71" fmla="*/ 4861 h 9643"/>
                    <a:gd name="connsiteX72" fmla="*/ 6556 w 10000"/>
                    <a:gd name="connsiteY72" fmla="*/ 4674 h 9643"/>
                    <a:gd name="connsiteX73" fmla="*/ 6556 w 10000"/>
                    <a:gd name="connsiteY73" fmla="*/ 4674 h 9643"/>
                    <a:gd name="connsiteX74" fmla="*/ 6556 w 10000"/>
                    <a:gd name="connsiteY74" fmla="*/ 4658 h 9643"/>
                    <a:gd name="connsiteX75" fmla="*/ 6556 w 10000"/>
                    <a:gd name="connsiteY75" fmla="*/ 4564 h 9643"/>
                    <a:gd name="connsiteX76" fmla="*/ 6556 w 10000"/>
                    <a:gd name="connsiteY76" fmla="*/ 4564 h 9643"/>
                    <a:gd name="connsiteX77" fmla="*/ 6389 w 10000"/>
                    <a:gd name="connsiteY77" fmla="*/ 4457 h 9643"/>
                    <a:gd name="connsiteX78" fmla="*/ 6056 w 10000"/>
                    <a:gd name="connsiteY78" fmla="*/ 4285 h 9643"/>
                    <a:gd name="connsiteX79" fmla="*/ 5333 w 10000"/>
                    <a:gd name="connsiteY79" fmla="*/ 3956 h 9643"/>
                    <a:gd name="connsiteX80" fmla="*/ 5333 w 10000"/>
                    <a:gd name="connsiteY80" fmla="*/ 3956 h 9643"/>
                    <a:gd name="connsiteX81" fmla="*/ 5167 w 10000"/>
                    <a:gd name="connsiteY81" fmla="*/ 3910 h 9643"/>
                    <a:gd name="connsiteX82" fmla="*/ 4889 w 10000"/>
                    <a:gd name="connsiteY82" fmla="*/ 3847 h 9643"/>
                    <a:gd name="connsiteX83" fmla="*/ 4056 w 10000"/>
                    <a:gd name="connsiteY83" fmla="*/ 3709 h 9643"/>
                    <a:gd name="connsiteX84" fmla="*/ 2889 w 10000"/>
                    <a:gd name="connsiteY84" fmla="*/ 3538 h 9643"/>
                    <a:gd name="connsiteX85" fmla="*/ 2889 w 10000"/>
                    <a:gd name="connsiteY85" fmla="*/ 3538 h 9643"/>
                    <a:gd name="connsiteX86" fmla="*/ 2389 w 10000"/>
                    <a:gd name="connsiteY86" fmla="*/ 3521 h 9643"/>
                    <a:gd name="connsiteX87" fmla="*/ 2000 w 10000"/>
                    <a:gd name="connsiteY87" fmla="*/ 3504 h 9643"/>
                    <a:gd name="connsiteX88" fmla="*/ 1889 w 10000"/>
                    <a:gd name="connsiteY88" fmla="*/ 3490 h 9643"/>
                    <a:gd name="connsiteX89" fmla="*/ 1778 w 10000"/>
                    <a:gd name="connsiteY89" fmla="*/ 3474 h 9643"/>
                    <a:gd name="connsiteX90" fmla="*/ 1778 w 10000"/>
                    <a:gd name="connsiteY90" fmla="*/ 3474 h 9643"/>
                    <a:gd name="connsiteX91" fmla="*/ 1667 w 10000"/>
                    <a:gd name="connsiteY91" fmla="*/ 3412 h 9643"/>
                    <a:gd name="connsiteX92" fmla="*/ 1500 w 10000"/>
                    <a:gd name="connsiteY92" fmla="*/ 3303 h 9643"/>
                    <a:gd name="connsiteX93" fmla="*/ 1444 w 10000"/>
                    <a:gd name="connsiteY93" fmla="*/ 3241 h 9643"/>
                    <a:gd name="connsiteX94" fmla="*/ 1444 w 10000"/>
                    <a:gd name="connsiteY94" fmla="*/ 3178 h 9643"/>
                    <a:gd name="connsiteX95" fmla="*/ 1444 w 10000"/>
                    <a:gd name="connsiteY95" fmla="*/ 3131 h 9643"/>
                    <a:gd name="connsiteX96" fmla="*/ 1556 w 10000"/>
                    <a:gd name="connsiteY96" fmla="*/ 3085 h 9643"/>
                    <a:gd name="connsiteX97" fmla="*/ 1556 w 10000"/>
                    <a:gd name="connsiteY97" fmla="*/ 3085 h 9643"/>
                    <a:gd name="connsiteX98" fmla="*/ 1833 w 10000"/>
                    <a:gd name="connsiteY98" fmla="*/ 3007 h 9643"/>
                    <a:gd name="connsiteX99" fmla="*/ 2111 w 10000"/>
                    <a:gd name="connsiteY99" fmla="*/ 2928 h 9643"/>
                    <a:gd name="connsiteX100" fmla="*/ 2278 w 10000"/>
                    <a:gd name="connsiteY100" fmla="*/ 2882 h 9643"/>
                    <a:gd name="connsiteX101" fmla="*/ 2389 w 10000"/>
                    <a:gd name="connsiteY101" fmla="*/ 2836 h 9643"/>
                    <a:gd name="connsiteX102" fmla="*/ 2389 w 10000"/>
                    <a:gd name="connsiteY102" fmla="*/ 2773 h 9643"/>
                    <a:gd name="connsiteX103" fmla="*/ 2389 w 10000"/>
                    <a:gd name="connsiteY103" fmla="*/ 2697 h 9643"/>
                    <a:gd name="connsiteX104" fmla="*/ 2389 w 10000"/>
                    <a:gd name="connsiteY104" fmla="*/ 2697 h 9643"/>
                    <a:gd name="connsiteX105" fmla="*/ 2167 w 10000"/>
                    <a:gd name="connsiteY105" fmla="*/ 2477 h 9643"/>
                    <a:gd name="connsiteX106" fmla="*/ 1889 w 10000"/>
                    <a:gd name="connsiteY106" fmla="*/ 2181 h 9643"/>
                    <a:gd name="connsiteX107" fmla="*/ 1667 w 10000"/>
                    <a:gd name="connsiteY107" fmla="*/ 1918 h 9643"/>
                    <a:gd name="connsiteX108" fmla="*/ 1611 w 10000"/>
                    <a:gd name="connsiteY108" fmla="*/ 1840 h 9643"/>
                    <a:gd name="connsiteX109" fmla="*/ 1611 w 10000"/>
                    <a:gd name="connsiteY109" fmla="*/ 1809 h 9643"/>
                    <a:gd name="connsiteX110" fmla="*/ 1667 w 10000"/>
                    <a:gd name="connsiteY110" fmla="*/ 1792 h 9643"/>
                    <a:gd name="connsiteX111" fmla="*/ 1667 w 10000"/>
                    <a:gd name="connsiteY111" fmla="*/ 1792 h 9643"/>
                    <a:gd name="connsiteX112" fmla="*/ 2000 w 10000"/>
                    <a:gd name="connsiteY112" fmla="*/ 1778 h 9643"/>
                    <a:gd name="connsiteX113" fmla="*/ 2222 w 10000"/>
                    <a:gd name="connsiteY113" fmla="*/ 1778 h 9643"/>
                    <a:gd name="connsiteX114" fmla="*/ 2389 w 10000"/>
                    <a:gd name="connsiteY114" fmla="*/ 1792 h 9643"/>
                    <a:gd name="connsiteX115" fmla="*/ 2389 w 10000"/>
                    <a:gd name="connsiteY115" fmla="*/ 1792 h 9643"/>
                    <a:gd name="connsiteX116" fmla="*/ 2444 w 10000"/>
                    <a:gd name="connsiteY116" fmla="*/ 1792 h 9643"/>
                    <a:gd name="connsiteX117" fmla="*/ 2500 w 10000"/>
                    <a:gd name="connsiteY117" fmla="*/ 1762 h 9643"/>
                    <a:gd name="connsiteX118" fmla="*/ 2778 w 10000"/>
                    <a:gd name="connsiteY118" fmla="*/ 1667 h 9643"/>
                    <a:gd name="connsiteX119" fmla="*/ 3500 w 10000"/>
                    <a:gd name="connsiteY119" fmla="*/ 1355 h 9643"/>
                    <a:gd name="connsiteX120" fmla="*/ 4444 w 10000"/>
                    <a:gd name="connsiteY120" fmla="*/ 904 h 9643"/>
                    <a:gd name="connsiteX121" fmla="*/ 4444 w 10000"/>
                    <a:gd name="connsiteY121" fmla="*/ 904 h 9643"/>
                    <a:gd name="connsiteX122" fmla="*/ 4444 w 10000"/>
                    <a:gd name="connsiteY122" fmla="*/ 840 h 9643"/>
                    <a:gd name="connsiteX123" fmla="*/ 4444 w 10000"/>
                    <a:gd name="connsiteY123" fmla="*/ 701 h 9643"/>
                    <a:gd name="connsiteX124" fmla="*/ 4500 w 10000"/>
                    <a:gd name="connsiteY124" fmla="*/ 608 h 9643"/>
                    <a:gd name="connsiteX125" fmla="*/ 4611 w 10000"/>
                    <a:gd name="connsiteY125" fmla="*/ 531 h 9643"/>
                    <a:gd name="connsiteX126" fmla="*/ 4778 w 10000"/>
                    <a:gd name="connsiteY126" fmla="*/ 437 h 9643"/>
                    <a:gd name="connsiteX127" fmla="*/ 5000 w 10000"/>
                    <a:gd name="connsiteY127" fmla="*/ 360 h 9643"/>
                    <a:gd name="connsiteX128" fmla="*/ 5000 w 10000"/>
                    <a:gd name="connsiteY128" fmla="*/ 360 h 9643"/>
                    <a:gd name="connsiteX129" fmla="*/ 5556 w 10000"/>
                    <a:gd name="connsiteY129" fmla="*/ 204 h 9643"/>
                    <a:gd name="connsiteX130" fmla="*/ 6111 w 10000"/>
                    <a:gd name="connsiteY130" fmla="*/ 0 h 9643"/>
                    <a:gd name="connsiteX131" fmla="*/ 10000 w 10000"/>
                    <a:gd name="connsiteY131" fmla="*/ 8599 h 9643"/>
                    <a:gd name="connsiteX132" fmla="*/ 10000 w 10000"/>
                    <a:gd name="connsiteY132" fmla="*/ 8599 h 9643"/>
                    <a:gd name="connsiteX133" fmla="*/ 9722 w 10000"/>
                    <a:gd name="connsiteY133" fmla="*/ 8584 h 9643"/>
                    <a:gd name="connsiteX134" fmla="*/ 9389 w 10000"/>
                    <a:gd name="connsiteY134" fmla="*/ 8599 h 9643"/>
                    <a:gd name="connsiteX135" fmla="*/ 9389 w 10000"/>
                    <a:gd name="connsiteY135" fmla="*/ 8599 h 9643"/>
                    <a:gd name="connsiteX136" fmla="*/ 9278 w 10000"/>
                    <a:gd name="connsiteY136" fmla="*/ 8616 h 9643"/>
                    <a:gd name="connsiteX137" fmla="*/ 9056 w 10000"/>
                    <a:gd name="connsiteY137" fmla="*/ 8599 h 9643"/>
                    <a:gd name="connsiteX138" fmla="*/ 8889 w 10000"/>
                    <a:gd name="connsiteY138" fmla="*/ 8584 h 9643"/>
                    <a:gd name="connsiteX139" fmla="*/ 8722 w 10000"/>
                    <a:gd name="connsiteY139" fmla="*/ 8552 h 9643"/>
                    <a:gd name="connsiteX140" fmla="*/ 8611 w 10000"/>
                    <a:gd name="connsiteY140" fmla="*/ 8506 h 9643"/>
                    <a:gd name="connsiteX141" fmla="*/ 8444 w 10000"/>
                    <a:gd name="connsiteY141" fmla="*/ 8426 h 9643"/>
                    <a:gd name="connsiteX142" fmla="*/ 8444 w 10000"/>
                    <a:gd name="connsiteY142" fmla="*/ 8426 h 9643"/>
                    <a:gd name="connsiteX143" fmla="*/ 8222 w 10000"/>
                    <a:gd name="connsiteY143" fmla="*/ 8287 h 9643"/>
                    <a:gd name="connsiteX144" fmla="*/ 8111 w 10000"/>
                    <a:gd name="connsiteY144" fmla="*/ 8226 h 9643"/>
                    <a:gd name="connsiteX145" fmla="*/ 7944 w 10000"/>
                    <a:gd name="connsiteY145" fmla="*/ 8180 h 9643"/>
                    <a:gd name="connsiteX146" fmla="*/ 7778 w 10000"/>
                    <a:gd name="connsiteY146" fmla="*/ 8148 h 9643"/>
                    <a:gd name="connsiteX147" fmla="*/ 7556 w 10000"/>
                    <a:gd name="connsiteY147" fmla="*/ 8131 h 9643"/>
                    <a:gd name="connsiteX148" fmla="*/ 7333 w 10000"/>
                    <a:gd name="connsiteY148" fmla="*/ 8117 h 9643"/>
                    <a:gd name="connsiteX149" fmla="*/ 7000 w 10000"/>
                    <a:gd name="connsiteY149" fmla="*/ 8100 h 9643"/>
                    <a:gd name="connsiteX150" fmla="*/ 7000 w 10000"/>
                    <a:gd name="connsiteY150" fmla="*/ 8100 h 9643"/>
                    <a:gd name="connsiteX151" fmla="*/ 6556 w 10000"/>
                    <a:gd name="connsiteY151" fmla="*/ 8117 h 9643"/>
                    <a:gd name="connsiteX152" fmla="*/ 6222 w 10000"/>
                    <a:gd name="connsiteY152" fmla="*/ 8117 h 9643"/>
                    <a:gd name="connsiteX153" fmla="*/ 6111 w 10000"/>
                    <a:gd name="connsiteY153" fmla="*/ 8100 h 9643"/>
                    <a:gd name="connsiteX154" fmla="*/ 6056 w 10000"/>
                    <a:gd name="connsiteY154" fmla="*/ 8085 h 9643"/>
                    <a:gd name="connsiteX155" fmla="*/ 6056 w 10000"/>
                    <a:gd name="connsiteY155" fmla="*/ 8085 h 9643"/>
                    <a:gd name="connsiteX156" fmla="*/ 6056 w 10000"/>
                    <a:gd name="connsiteY156" fmla="*/ 7805 h 9643"/>
                    <a:gd name="connsiteX157" fmla="*/ 6056 w 10000"/>
                    <a:gd name="connsiteY157" fmla="*/ 7805 h 9643"/>
                    <a:gd name="connsiteX158" fmla="*/ 6056 w 10000"/>
                    <a:gd name="connsiteY158" fmla="*/ 7741 h 9643"/>
                    <a:gd name="connsiteX159" fmla="*/ 5944 w 10000"/>
                    <a:gd name="connsiteY159" fmla="*/ 7665 h 9643"/>
                    <a:gd name="connsiteX160" fmla="*/ 5889 w 10000"/>
                    <a:gd name="connsiteY160" fmla="*/ 7648 h 9643"/>
                    <a:gd name="connsiteX161" fmla="*/ 5778 w 10000"/>
                    <a:gd name="connsiteY161" fmla="*/ 7633 h 9643"/>
                    <a:gd name="connsiteX162" fmla="*/ 5667 w 10000"/>
                    <a:gd name="connsiteY162" fmla="*/ 7633 h 9643"/>
                    <a:gd name="connsiteX163" fmla="*/ 5500 w 10000"/>
                    <a:gd name="connsiteY163" fmla="*/ 7648 h 9643"/>
                    <a:gd name="connsiteX164" fmla="*/ 5500 w 10000"/>
                    <a:gd name="connsiteY164" fmla="*/ 7648 h 9643"/>
                    <a:gd name="connsiteX165" fmla="*/ 4889 w 10000"/>
                    <a:gd name="connsiteY165" fmla="*/ 7757 h 9643"/>
                    <a:gd name="connsiteX166" fmla="*/ 4611 w 10000"/>
                    <a:gd name="connsiteY166" fmla="*/ 7790 h 9643"/>
                    <a:gd name="connsiteX167" fmla="*/ 4556 w 10000"/>
                    <a:gd name="connsiteY167" fmla="*/ 7805 h 9643"/>
                    <a:gd name="connsiteX168" fmla="*/ 4500 w 10000"/>
                    <a:gd name="connsiteY168" fmla="*/ 7790 h 9643"/>
                    <a:gd name="connsiteX169" fmla="*/ 4500 w 10000"/>
                    <a:gd name="connsiteY169" fmla="*/ 7790 h 9643"/>
                    <a:gd name="connsiteX170" fmla="*/ 4222 w 10000"/>
                    <a:gd name="connsiteY170" fmla="*/ 7633 h 9643"/>
                    <a:gd name="connsiteX171" fmla="*/ 4222 w 10000"/>
                    <a:gd name="connsiteY171" fmla="*/ 7633 h 9643"/>
                    <a:gd name="connsiteX172" fmla="*/ 4111 w 10000"/>
                    <a:gd name="connsiteY172" fmla="*/ 7556 h 9643"/>
                    <a:gd name="connsiteX173" fmla="*/ 4111 w 10000"/>
                    <a:gd name="connsiteY173" fmla="*/ 7508 h 9643"/>
                    <a:gd name="connsiteX174" fmla="*/ 4111 w 10000"/>
                    <a:gd name="connsiteY174" fmla="*/ 7463 h 9643"/>
                    <a:gd name="connsiteX175" fmla="*/ 4111 w 10000"/>
                    <a:gd name="connsiteY175" fmla="*/ 7463 h 9643"/>
                    <a:gd name="connsiteX176" fmla="*/ 4278 w 10000"/>
                    <a:gd name="connsiteY176" fmla="*/ 7415 h 9643"/>
                    <a:gd name="connsiteX177" fmla="*/ 4389 w 10000"/>
                    <a:gd name="connsiteY177" fmla="*/ 7400 h 9643"/>
                    <a:gd name="connsiteX178" fmla="*/ 4389 w 10000"/>
                    <a:gd name="connsiteY178" fmla="*/ 7400 h 9643"/>
                    <a:gd name="connsiteX179" fmla="*/ 4000 w 10000"/>
                    <a:gd name="connsiteY179" fmla="*/ 7400 h 9643"/>
                    <a:gd name="connsiteX180" fmla="*/ 3722 w 10000"/>
                    <a:gd name="connsiteY180" fmla="*/ 7415 h 9643"/>
                    <a:gd name="connsiteX181" fmla="*/ 3611 w 10000"/>
                    <a:gd name="connsiteY181" fmla="*/ 7431 h 9643"/>
                    <a:gd name="connsiteX182" fmla="*/ 3556 w 10000"/>
                    <a:gd name="connsiteY182" fmla="*/ 7447 h 9643"/>
                    <a:gd name="connsiteX183" fmla="*/ 3556 w 10000"/>
                    <a:gd name="connsiteY183" fmla="*/ 7447 h 9643"/>
                    <a:gd name="connsiteX184" fmla="*/ 3444 w 10000"/>
                    <a:gd name="connsiteY184" fmla="*/ 7508 h 9643"/>
                    <a:gd name="connsiteX185" fmla="*/ 3278 w 10000"/>
                    <a:gd name="connsiteY185" fmla="*/ 7603 h 9643"/>
                    <a:gd name="connsiteX186" fmla="*/ 3000 w 10000"/>
                    <a:gd name="connsiteY186" fmla="*/ 7710 h 9643"/>
                    <a:gd name="connsiteX187" fmla="*/ 2667 w 10000"/>
                    <a:gd name="connsiteY187" fmla="*/ 7790 h 9643"/>
                    <a:gd name="connsiteX188" fmla="*/ 2667 w 10000"/>
                    <a:gd name="connsiteY188" fmla="*/ 7790 h 9643"/>
                    <a:gd name="connsiteX189" fmla="*/ 2333 w 10000"/>
                    <a:gd name="connsiteY189" fmla="*/ 7852 h 9643"/>
                    <a:gd name="connsiteX190" fmla="*/ 1833 w 10000"/>
                    <a:gd name="connsiteY190" fmla="*/ 7915 h 9643"/>
                    <a:gd name="connsiteX191" fmla="*/ 1389 w 10000"/>
                    <a:gd name="connsiteY191" fmla="*/ 7946 h 9643"/>
                    <a:gd name="connsiteX192" fmla="*/ 889 w 10000"/>
                    <a:gd name="connsiteY192" fmla="*/ 7961 h 9643"/>
                    <a:gd name="connsiteX193" fmla="*/ 889 w 10000"/>
                    <a:gd name="connsiteY193" fmla="*/ 7961 h 9643"/>
                    <a:gd name="connsiteX194" fmla="*/ 500 w 10000"/>
                    <a:gd name="connsiteY194" fmla="*/ 7977 h 9643"/>
                    <a:gd name="connsiteX195" fmla="*/ 222 w 10000"/>
                    <a:gd name="connsiteY195" fmla="*/ 7993 h 9643"/>
                    <a:gd name="connsiteX196" fmla="*/ 0 w 10000"/>
                    <a:gd name="connsiteY196" fmla="*/ 8009 h 9643"/>
                    <a:gd name="connsiteX197" fmla="*/ 0 w 10000"/>
                    <a:gd name="connsiteY197" fmla="*/ 8009 h 9643"/>
                    <a:gd name="connsiteX198" fmla="*/ 278 w 10000"/>
                    <a:gd name="connsiteY198" fmla="*/ 8256 h 9643"/>
                    <a:gd name="connsiteX199" fmla="*/ 500 w 10000"/>
                    <a:gd name="connsiteY199" fmla="*/ 8442 h 9643"/>
                    <a:gd name="connsiteX200" fmla="*/ 722 w 10000"/>
                    <a:gd name="connsiteY200" fmla="*/ 8599 h 9643"/>
                    <a:gd name="connsiteX201" fmla="*/ 722 w 10000"/>
                    <a:gd name="connsiteY201" fmla="*/ 8599 h 9643"/>
                    <a:gd name="connsiteX202" fmla="*/ 889 w 10000"/>
                    <a:gd name="connsiteY202" fmla="*/ 8694 h 9643"/>
                    <a:gd name="connsiteX203" fmla="*/ 944 w 10000"/>
                    <a:gd name="connsiteY203" fmla="*/ 8771 h 9643"/>
                    <a:gd name="connsiteX204" fmla="*/ 1111 w 10000"/>
                    <a:gd name="connsiteY204" fmla="*/ 8850 h 9643"/>
                    <a:gd name="connsiteX205" fmla="*/ 1333 w 10000"/>
                    <a:gd name="connsiteY205" fmla="*/ 8973 h 9643"/>
                    <a:gd name="connsiteX206" fmla="*/ 1333 w 10000"/>
                    <a:gd name="connsiteY206" fmla="*/ 8973 h 9643"/>
                    <a:gd name="connsiteX207" fmla="*/ 1444 w 10000"/>
                    <a:gd name="connsiteY207" fmla="*/ 9036 h 9643"/>
                    <a:gd name="connsiteX208" fmla="*/ 1500 w 10000"/>
                    <a:gd name="connsiteY208" fmla="*/ 9082 h 9643"/>
                    <a:gd name="connsiteX209" fmla="*/ 1500 w 10000"/>
                    <a:gd name="connsiteY209" fmla="*/ 9128 h 9643"/>
                    <a:gd name="connsiteX210" fmla="*/ 1556 w 10000"/>
                    <a:gd name="connsiteY210" fmla="*/ 9144 h 9643"/>
                    <a:gd name="connsiteX211" fmla="*/ 1722 w 10000"/>
                    <a:gd name="connsiteY211" fmla="*/ 9159 h 9643"/>
                    <a:gd name="connsiteX212" fmla="*/ 1944 w 10000"/>
                    <a:gd name="connsiteY212" fmla="*/ 9175 h 9643"/>
                    <a:gd name="connsiteX213" fmla="*/ 2944 w 10000"/>
                    <a:gd name="connsiteY213" fmla="*/ 9190 h 9643"/>
                    <a:gd name="connsiteX214" fmla="*/ 2944 w 10000"/>
                    <a:gd name="connsiteY214" fmla="*/ 9190 h 9643"/>
                    <a:gd name="connsiteX215" fmla="*/ 4167 w 10000"/>
                    <a:gd name="connsiteY215" fmla="*/ 9222 h 9643"/>
                    <a:gd name="connsiteX216" fmla="*/ 4889 w 10000"/>
                    <a:gd name="connsiteY216" fmla="*/ 9269 h 9643"/>
                    <a:gd name="connsiteX217" fmla="*/ 5278 w 10000"/>
                    <a:gd name="connsiteY217" fmla="*/ 9317 h 9643"/>
                    <a:gd name="connsiteX218" fmla="*/ 5444 w 10000"/>
                    <a:gd name="connsiteY218" fmla="*/ 9331 h 9643"/>
                    <a:gd name="connsiteX219" fmla="*/ 5444 w 10000"/>
                    <a:gd name="connsiteY219" fmla="*/ 9331 h 9643"/>
                    <a:gd name="connsiteX220" fmla="*/ 5722 w 10000"/>
                    <a:gd name="connsiteY220" fmla="*/ 9363 h 9643"/>
                    <a:gd name="connsiteX221" fmla="*/ 5833 w 10000"/>
                    <a:gd name="connsiteY221" fmla="*/ 9380 h 9643"/>
                    <a:gd name="connsiteX222" fmla="*/ 5833 w 10000"/>
                    <a:gd name="connsiteY222" fmla="*/ 9380 h 9643"/>
                    <a:gd name="connsiteX223" fmla="*/ 5833 w 10000"/>
                    <a:gd name="connsiteY223" fmla="*/ 9363 h 9643"/>
                    <a:gd name="connsiteX224" fmla="*/ 5889 w 10000"/>
                    <a:gd name="connsiteY224" fmla="*/ 9347 h 9643"/>
                    <a:gd name="connsiteX225" fmla="*/ 6000 w 10000"/>
                    <a:gd name="connsiteY225" fmla="*/ 9331 h 9643"/>
                    <a:gd name="connsiteX226" fmla="*/ 6167 w 10000"/>
                    <a:gd name="connsiteY226" fmla="*/ 9317 h 9643"/>
                    <a:gd name="connsiteX227" fmla="*/ 6444 w 10000"/>
                    <a:gd name="connsiteY227" fmla="*/ 9317 h 9643"/>
                    <a:gd name="connsiteX228" fmla="*/ 6833 w 10000"/>
                    <a:gd name="connsiteY228" fmla="*/ 9331 h 9643"/>
                    <a:gd name="connsiteX229" fmla="*/ 7278 w 10000"/>
                    <a:gd name="connsiteY229" fmla="*/ 9380 h 9643"/>
                    <a:gd name="connsiteX230" fmla="*/ 7278 w 10000"/>
                    <a:gd name="connsiteY230" fmla="*/ 9380 h 9643"/>
                    <a:gd name="connsiteX231" fmla="*/ 8722 w 10000"/>
                    <a:gd name="connsiteY231" fmla="*/ 9518 h 9643"/>
                    <a:gd name="connsiteX232" fmla="*/ 10000 w 10000"/>
                    <a:gd name="connsiteY232" fmla="*/ 9643 h 9643"/>
                    <a:gd name="connsiteX0" fmla="*/ 10000 w 10000"/>
                    <a:gd name="connsiteY0" fmla="*/ 8690 h 9788"/>
                    <a:gd name="connsiteX1" fmla="*/ 10000 w 10000"/>
                    <a:gd name="connsiteY1" fmla="*/ 8690 h 9788"/>
                    <a:gd name="connsiteX2" fmla="*/ 9222 w 10000"/>
                    <a:gd name="connsiteY2" fmla="*/ 8705 h 9788"/>
                    <a:gd name="connsiteX3" fmla="*/ 8944 w 10000"/>
                    <a:gd name="connsiteY3" fmla="*/ 8705 h 9788"/>
                    <a:gd name="connsiteX4" fmla="*/ 8833 w 10000"/>
                    <a:gd name="connsiteY4" fmla="*/ 8690 h 9788"/>
                    <a:gd name="connsiteX5" fmla="*/ 8778 w 10000"/>
                    <a:gd name="connsiteY5" fmla="*/ 8674 h 9788"/>
                    <a:gd name="connsiteX6" fmla="*/ 8778 w 10000"/>
                    <a:gd name="connsiteY6" fmla="*/ 8674 h 9788"/>
                    <a:gd name="connsiteX7" fmla="*/ 8444 w 10000"/>
                    <a:gd name="connsiteY7" fmla="*/ 8479 h 9788"/>
                    <a:gd name="connsiteX8" fmla="*/ 8167 w 10000"/>
                    <a:gd name="connsiteY8" fmla="*/ 8301 h 9788"/>
                    <a:gd name="connsiteX9" fmla="*/ 8167 w 10000"/>
                    <a:gd name="connsiteY9" fmla="*/ 8301 h 9788"/>
                    <a:gd name="connsiteX10" fmla="*/ 8056 w 10000"/>
                    <a:gd name="connsiteY10" fmla="*/ 8271 h 9788"/>
                    <a:gd name="connsiteX11" fmla="*/ 7889 w 10000"/>
                    <a:gd name="connsiteY11" fmla="*/ 8238 h 9788"/>
                    <a:gd name="connsiteX12" fmla="*/ 7444 w 10000"/>
                    <a:gd name="connsiteY12" fmla="*/ 8220 h 9788"/>
                    <a:gd name="connsiteX13" fmla="*/ 6889 w 10000"/>
                    <a:gd name="connsiteY13" fmla="*/ 8206 h 9788"/>
                    <a:gd name="connsiteX14" fmla="*/ 6389 w 10000"/>
                    <a:gd name="connsiteY14" fmla="*/ 8206 h 9788"/>
                    <a:gd name="connsiteX15" fmla="*/ 6389 w 10000"/>
                    <a:gd name="connsiteY15" fmla="*/ 8206 h 9788"/>
                    <a:gd name="connsiteX16" fmla="*/ 6167 w 10000"/>
                    <a:gd name="connsiteY16" fmla="*/ 8188 h 9788"/>
                    <a:gd name="connsiteX17" fmla="*/ 6056 w 10000"/>
                    <a:gd name="connsiteY17" fmla="*/ 8158 h 9788"/>
                    <a:gd name="connsiteX18" fmla="*/ 6000 w 10000"/>
                    <a:gd name="connsiteY18" fmla="*/ 8124 h 9788"/>
                    <a:gd name="connsiteX19" fmla="*/ 6000 w 10000"/>
                    <a:gd name="connsiteY19" fmla="*/ 8060 h 9788"/>
                    <a:gd name="connsiteX20" fmla="*/ 6056 w 10000"/>
                    <a:gd name="connsiteY20" fmla="*/ 7931 h 9788"/>
                    <a:gd name="connsiteX21" fmla="*/ 6111 w 10000"/>
                    <a:gd name="connsiteY21" fmla="*/ 7866 h 9788"/>
                    <a:gd name="connsiteX22" fmla="*/ 6056 w 10000"/>
                    <a:gd name="connsiteY22" fmla="*/ 7783 h 9788"/>
                    <a:gd name="connsiteX23" fmla="*/ 6056 w 10000"/>
                    <a:gd name="connsiteY23" fmla="*/ 7783 h 9788"/>
                    <a:gd name="connsiteX24" fmla="*/ 6000 w 10000"/>
                    <a:gd name="connsiteY24" fmla="*/ 7737 h 9788"/>
                    <a:gd name="connsiteX25" fmla="*/ 5944 w 10000"/>
                    <a:gd name="connsiteY25" fmla="*/ 7704 h 9788"/>
                    <a:gd name="connsiteX26" fmla="*/ 5833 w 10000"/>
                    <a:gd name="connsiteY26" fmla="*/ 7704 h 9788"/>
                    <a:gd name="connsiteX27" fmla="*/ 5667 w 10000"/>
                    <a:gd name="connsiteY27" fmla="*/ 7719 h 9788"/>
                    <a:gd name="connsiteX28" fmla="*/ 5333 w 10000"/>
                    <a:gd name="connsiteY28" fmla="*/ 7768 h 9788"/>
                    <a:gd name="connsiteX29" fmla="*/ 4889 w 10000"/>
                    <a:gd name="connsiteY29" fmla="*/ 7850 h 9788"/>
                    <a:gd name="connsiteX30" fmla="*/ 4889 w 10000"/>
                    <a:gd name="connsiteY30" fmla="*/ 7850 h 9788"/>
                    <a:gd name="connsiteX31" fmla="*/ 4611 w 10000"/>
                    <a:gd name="connsiteY31" fmla="*/ 7866 h 9788"/>
                    <a:gd name="connsiteX32" fmla="*/ 4500 w 10000"/>
                    <a:gd name="connsiteY32" fmla="*/ 7866 h 9788"/>
                    <a:gd name="connsiteX33" fmla="*/ 4444 w 10000"/>
                    <a:gd name="connsiteY33" fmla="*/ 7850 h 9788"/>
                    <a:gd name="connsiteX34" fmla="*/ 4389 w 10000"/>
                    <a:gd name="connsiteY34" fmla="*/ 7783 h 9788"/>
                    <a:gd name="connsiteX35" fmla="*/ 4222 w 10000"/>
                    <a:gd name="connsiteY35" fmla="*/ 7704 h 9788"/>
                    <a:gd name="connsiteX36" fmla="*/ 4222 w 10000"/>
                    <a:gd name="connsiteY36" fmla="*/ 7704 h 9788"/>
                    <a:gd name="connsiteX37" fmla="*/ 4111 w 10000"/>
                    <a:gd name="connsiteY37" fmla="*/ 7655 h 9788"/>
                    <a:gd name="connsiteX38" fmla="*/ 4111 w 10000"/>
                    <a:gd name="connsiteY38" fmla="*/ 7607 h 9788"/>
                    <a:gd name="connsiteX39" fmla="*/ 4111 w 10000"/>
                    <a:gd name="connsiteY39" fmla="*/ 7574 h 9788"/>
                    <a:gd name="connsiteX40" fmla="*/ 4167 w 10000"/>
                    <a:gd name="connsiteY40" fmla="*/ 7543 h 9788"/>
                    <a:gd name="connsiteX41" fmla="*/ 4278 w 10000"/>
                    <a:gd name="connsiteY41" fmla="*/ 7478 h 9788"/>
                    <a:gd name="connsiteX42" fmla="*/ 4389 w 10000"/>
                    <a:gd name="connsiteY42" fmla="*/ 7462 h 9788"/>
                    <a:gd name="connsiteX43" fmla="*/ 4389 w 10000"/>
                    <a:gd name="connsiteY43" fmla="*/ 7462 h 9788"/>
                    <a:gd name="connsiteX44" fmla="*/ 4389 w 10000"/>
                    <a:gd name="connsiteY44" fmla="*/ 7446 h 9788"/>
                    <a:gd name="connsiteX45" fmla="*/ 4444 w 10000"/>
                    <a:gd name="connsiteY45" fmla="*/ 7430 h 9788"/>
                    <a:gd name="connsiteX46" fmla="*/ 4667 w 10000"/>
                    <a:gd name="connsiteY46" fmla="*/ 7413 h 9788"/>
                    <a:gd name="connsiteX47" fmla="*/ 5333 w 10000"/>
                    <a:gd name="connsiteY47" fmla="*/ 7381 h 9788"/>
                    <a:gd name="connsiteX48" fmla="*/ 6500 w 10000"/>
                    <a:gd name="connsiteY48" fmla="*/ 7333 h 9788"/>
                    <a:gd name="connsiteX49" fmla="*/ 6500 w 10000"/>
                    <a:gd name="connsiteY49" fmla="*/ 7333 h 9788"/>
                    <a:gd name="connsiteX50" fmla="*/ 7167 w 10000"/>
                    <a:gd name="connsiteY50" fmla="*/ 7285 h 9788"/>
                    <a:gd name="connsiteX51" fmla="*/ 8389 w 10000"/>
                    <a:gd name="connsiteY51" fmla="*/ 7188 h 9788"/>
                    <a:gd name="connsiteX52" fmla="*/ 8389 w 10000"/>
                    <a:gd name="connsiteY52" fmla="*/ 7188 h 9788"/>
                    <a:gd name="connsiteX53" fmla="*/ 8667 w 10000"/>
                    <a:gd name="connsiteY53" fmla="*/ 7154 h 9788"/>
                    <a:gd name="connsiteX54" fmla="*/ 8778 w 10000"/>
                    <a:gd name="connsiteY54" fmla="*/ 7105 h 9788"/>
                    <a:gd name="connsiteX55" fmla="*/ 8889 w 10000"/>
                    <a:gd name="connsiteY55" fmla="*/ 7074 h 9788"/>
                    <a:gd name="connsiteX56" fmla="*/ 8833 w 10000"/>
                    <a:gd name="connsiteY56" fmla="*/ 7041 h 9788"/>
                    <a:gd name="connsiteX57" fmla="*/ 8833 w 10000"/>
                    <a:gd name="connsiteY57" fmla="*/ 7009 h 9788"/>
                    <a:gd name="connsiteX58" fmla="*/ 8722 w 10000"/>
                    <a:gd name="connsiteY58" fmla="*/ 6977 h 9788"/>
                    <a:gd name="connsiteX59" fmla="*/ 8556 w 10000"/>
                    <a:gd name="connsiteY59" fmla="*/ 6928 h 9788"/>
                    <a:gd name="connsiteX60" fmla="*/ 8556 w 10000"/>
                    <a:gd name="connsiteY60" fmla="*/ 6928 h 9788"/>
                    <a:gd name="connsiteX61" fmla="*/ 6556 w 10000"/>
                    <a:gd name="connsiteY61" fmla="*/ 6640 h 9788"/>
                    <a:gd name="connsiteX62" fmla="*/ 6556 w 10000"/>
                    <a:gd name="connsiteY62" fmla="*/ 6640 h 9788"/>
                    <a:gd name="connsiteX63" fmla="*/ 6333 w 10000"/>
                    <a:gd name="connsiteY63" fmla="*/ 6591 h 9788"/>
                    <a:gd name="connsiteX64" fmla="*/ 6167 w 10000"/>
                    <a:gd name="connsiteY64" fmla="*/ 6541 h 9788"/>
                    <a:gd name="connsiteX65" fmla="*/ 6056 w 10000"/>
                    <a:gd name="connsiteY65" fmla="*/ 6492 h 9788"/>
                    <a:gd name="connsiteX66" fmla="*/ 6056 w 10000"/>
                    <a:gd name="connsiteY66" fmla="*/ 6492 h 9788"/>
                    <a:gd name="connsiteX67" fmla="*/ 8056 w 10000"/>
                    <a:gd name="connsiteY67" fmla="*/ 6477 h 9788"/>
                    <a:gd name="connsiteX68" fmla="*/ 10000 w 10000"/>
                    <a:gd name="connsiteY68" fmla="*/ 6640 h 9788"/>
                    <a:gd name="connsiteX69" fmla="*/ 10000 w 10000"/>
                    <a:gd name="connsiteY69" fmla="*/ 5168 h 9788"/>
                    <a:gd name="connsiteX70" fmla="*/ 10000 w 10000"/>
                    <a:gd name="connsiteY70" fmla="*/ 5168 h 9788"/>
                    <a:gd name="connsiteX71" fmla="*/ 7778 w 10000"/>
                    <a:gd name="connsiteY71" fmla="*/ 4829 h 9788"/>
                    <a:gd name="connsiteX72" fmla="*/ 6556 w 10000"/>
                    <a:gd name="connsiteY72" fmla="*/ 4635 h 9788"/>
                    <a:gd name="connsiteX73" fmla="*/ 6556 w 10000"/>
                    <a:gd name="connsiteY73" fmla="*/ 4635 h 9788"/>
                    <a:gd name="connsiteX74" fmla="*/ 6556 w 10000"/>
                    <a:gd name="connsiteY74" fmla="*/ 4618 h 9788"/>
                    <a:gd name="connsiteX75" fmla="*/ 6556 w 10000"/>
                    <a:gd name="connsiteY75" fmla="*/ 4521 h 9788"/>
                    <a:gd name="connsiteX76" fmla="*/ 6556 w 10000"/>
                    <a:gd name="connsiteY76" fmla="*/ 4521 h 9788"/>
                    <a:gd name="connsiteX77" fmla="*/ 6389 w 10000"/>
                    <a:gd name="connsiteY77" fmla="*/ 4410 h 9788"/>
                    <a:gd name="connsiteX78" fmla="*/ 6056 w 10000"/>
                    <a:gd name="connsiteY78" fmla="*/ 4232 h 9788"/>
                    <a:gd name="connsiteX79" fmla="*/ 5333 w 10000"/>
                    <a:gd name="connsiteY79" fmla="*/ 3890 h 9788"/>
                    <a:gd name="connsiteX80" fmla="*/ 5333 w 10000"/>
                    <a:gd name="connsiteY80" fmla="*/ 3890 h 9788"/>
                    <a:gd name="connsiteX81" fmla="*/ 5167 w 10000"/>
                    <a:gd name="connsiteY81" fmla="*/ 3843 h 9788"/>
                    <a:gd name="connsiteX82" fmla="*/ 4889 w 10000"/>
                    <a:gd name="connsiteY82" fmla="*/ 3777 h 9788"/>
                    <a:gd name="connsiteX83" fmla="*/ 4056 w 10000"/>
                    <a:gd name="connsiteY83" fmla="*/ 3634 h 9788"/>
                    <a:gd name="connsiteX84" fmla="*/ 2889 w 10000"/>
                    <a:gd name="connsiteY84" fmla="*/ 3457 h 9788"/>
                    <a:gd name="connsiteX85" fmla="*/ 2889 w 10000"/>
                    <a:gd name="connsiteY85" fmla="*/ 3457 h 9788"/>
                    <a:gd name="connsiteX86" fmla="*/ 2389 w 10000"/>
                    <a:gd name="connsiteY86" fmla="*/ 3439 h 9788"/>
                    <a:gd name="connsiteX87" fmla="*/ 2000 w 10000"/>
                    <a:gd name="connsiteY87" fmla="*/ 3422 h 9788"/>
                    <a:gd name="connsiteX88" fmla="*/ 1889 w 10000"/>
                    <a:gd name="connsiteY88" fmla="*/ 3407 h 9788"/>
                    <a:gd name="connsiteX89" fmla="*/ 1778 w 10000"/>
                    <a:gd name="connsiteY89" fmla="*/ 3391 h 9788"/>
                    <a:gd name="connsiteX90" fmla="*/ 1778 w 10000"/>
                    <a:gd name="connsiteY90" fmla="*/ 3391 h 9788"/>
                    <a:gd name="connsiteX91" fmla="*/ 1667 w 10000"/>
                    <a:gd name="connsiteY91" fmla="*/ 3326 h 9788"/>
                    <a:gd name="connsiteX92" fmla="*/ 1500 w 10000"/>
                    <a:gd name="connsiteY92" fmla="*/ 3213 h 9788"/>
                    <a:gd name="connsiteX93" fmla="*/ 1444 w 10000"/>
                    <a:gd name="connsiteY93" fmla="*/ 3149 h 9788"/>
                    <a:gd name="connsiteX94" fmla="*/ 1444 w 10000"/>
                    <a:gd name="connsiteY94" fmla="*/ 3084 h 9788"/>
                    <a:gd name="connsiteX95" fmla="*/ 1444 w 10000"/>
                    <a:gd name="connsiteY95" fmla="*/ 3035 h 9788"/>
                    <a:gd name="connsiteX96" fmla="*/ 1556 w 10000"/>
                    <a:gd name="connsiteY96" fmla="*/ 2987 h 9788"/>
                    <a:gd name="connsiteX97" fmla="*/ 1556 w 10000"/>
                    <a:gd name="connsiteY97" fmla="*/ 2987 h 9788"/>
                    <a:gd name="connsiteX98" fmla="*/ 1833 w 10000"/>
                    <a:gd name="connsiteY98" fmla="*/ 2906 h 9788"/>
                    <a:gd name="connsiteX99" fmla="*/ 2111 w 10000"/>
                    <a:gd name="connsiteY99" fmla="*/ 2824 h 9788"/>
                    <a:gd name="connsiteX100" fmla="*/ 2278 w 10000"/>
                    <a:gd name="connsiteY100" fmla="*/ 2777 h 9788"/>
                    <a:gd name="connsiteX101" fmla="*/ 2389 w 10000"/>
                    <a:gd name="connsiteY101" fmla="*/ 2729 h 9788"/>
                    <a:gd name="connsiteX102" fmla="*/ 2389 w 10000"/>
                    <a:gd name="connsiteY102" fmla="*/ 2664 h 9788"/>
                    <a:gd name="connsiteX103" fmla="*/ 2389 w 10000"/>
                    <a:gd name="connsiteY103" fmla="*/ 2585 h 9788"/>
                    <a:gd name="connsiteX104" fmla="*/ 2389 w 10000"/>
                    <a:gd name="connsiteY104" fmla="*/ 2585 h 9788"/>
                    <a:gd name="connsiteX105" fmla="*/ 2167 w 10000"/>
                    <a:gd name="connsiteY105" fmla="*/ 2357 h 9788"/>
                    <a:gd name="connsiteX106" fmla="*/ 1889 w 10000"/>
                    <a:gd name="connsiteY106" fmla="*/ 2050 h 9788"/>
                    <a:gd name="connsiteX107" fmla="*/ 1667 w 10000"/>
                    <a:gd name="connsiteY107" fmla="*/ 1777 h 9788"/>
                    <a:gd name="connsiteX108" fmla="*/ 1611 w 10000"/>
                    <a:gd name="connsiteY108" fmla="*/ 1696 h 9788"/>
                    <a:gd name="connsiteX109" fmla="*/ 1611 w 10000"/>
                    <a:gd name="connsiteY109" fmla="*/ 1664 h 9788"/>
                    <a:gd name="connsiteX110" fmla="*/ 1667 w 10000"/>
                    <a:gd name="connsiteY110" fmla="*/ 1646 h 9788"/>
                    <a:gd name="connsiteX111" fmla="*/ 1667 w 10000"/>
                    <a:gd name="connsiteY111" fmla="*/ 1646 h 9788"/>
                    <a:gd name="connsiteX112" fmla="*/ 2000 w 10000"/>
                    <a:gd name="connsiteY112" fmla="*/ 1632 h 9788"/>
                    <a:gd name="connsiteX113" fmla="*/ 2222 w 10000"/>
                    <a:gd name="connsiteY113" fmla="*/ 1632 h 9788"/>
                    <a:gd name="connsiteX114" fmla="*/ 2389 w 10000"/>
                    <a:gd name="connsiteY114" fmla="*/ 1646 h 9788"/>
                    <a:gd name="connsiteX115" fmla="*/ 2389 w 10000"/>
                    <a:gd name="connsiteY115" fmla="*/ 1646 h 9788"/>
                    <a:gd name="connsiteX116" fmla="*/ 2444 w 10000"/>
                    <a:gd name="connsiteY116" fmla="*/ 1646 h 9788"/>
                    <a:gd name="connsiteX117" fmla="*/ 2500 w 10000"/>
                    <a:gd name="connsiteY117" fmla="*/ 1615 h 9788"/>
                    <a:gd name="connsiteX118" fmla="*/ 2778 w 10000"/>
                    <a:gd name="connsiteY118" fmla="*/ 1517 h 9788"/>
                    <a:gd name="connsiteX119" fmla="*/ 3500 w 10000"/>
                    <a:gd name="connsiteY119" fmla="*/ 1193 h 9788"/>
                    <a:gd name="connsiteX120" fmla="*/ 4444 w 10000"/>
                    <a:gd name="connsiteY120" fmla="*/ 725 h 9788"/>
                    <a:gd name="connsiteX121" fmla="*/ 4444 w 10000"/>
                    <a:gd name="connsiteY121" fmla="*/ 725 h 9788"/>
                    <a:gd name="connsiteX122" fmla="*/ 4444 w 10000"/>
                    <a:gd name="connsiteY122" fmla="*/ 659 h 9788"/>
                    <a:gd name="connsiteX123" fmla="*/ 4444 w 10000"/>
                    <a:gd name="connsiteY123" fmla="*/ 515 h 9788"/>
                    <a:gd name="connsiteX124" fmla="*/ 4500 w 10000"/>
                    <a:gd name="connsiteY124" fmla="*/ 419 h 9788"/>
                    <a:gd name="connsiteX125" fmla="*/ 4611 w 10000"/>
                    <a:gd name="connsiteY125" fmla="*/ 339 h 9788"/>
                    <a:gd name="connsiteX126" fmla="*/ 4778 w 10000"/>
                    <a:gd name="connsiteY126" fmla="*/ 241 h 9788"/>
                    <a:gd name="connsiteX127" fmla="*/ 5000 w 10000"/>
                    <a:gd name="connsiteY127" fmla="*/ 161 h 9788"/>
                    <a:gd name="connsiteX128" fmla="*/ 5000 w 10000"/>
                    <a:gd name="connsiteY128" fmla="*/ 161 h 9788"/>
                    <a:gd name="connsiteX129" fmla="*/ 5556 w 10000"/>
                    <a:gd name="connsiteY129" fmla="*/ 0 h 9788"/>
                    <a:gd name="connsiteX130" fmla="*/ 10000 w 10000"/>
                    <a:gd name="connsiteY130" fmla="*/ 8705 h 9788"/>
                    <a:gd name="connsiteX131" fmla="*/ 10000 w 10000"/>
                    <a:gd name="connsiteY131" fmla="*/ 8705 h 9788"/>
                    <a:gd name="connsiteX132" fmla="*/ 9722 w 10000"/>
                    <a:gd name="connsiteY132" fmla="*/ 8690 h 9788"/>
                    <a:gd name="connsiteX133" fmla="*/ 9389 w 10000"/>
                    <a:gd name="connsiteY133" fmla="*/ 8705 h 9788"/>
                    <a:gd name="connsiteX134" fmla="*/ 9389 w 10000"/>
                    <a:gd name="connsiteY134" fmla="*/ 8705 h 9788"/>
                    <a:gd name="connsiteX135" fmla="*/ 9278 w 10000"/>
                    <a:gd name="connsiteY135" fmla="*/ 8723 h 9788"/>
                    <a:gd name="connsiteX136" fmla="*/ 9056 w 10000"/>
                    <a:gd name="connsiteY136" fmla="*/ 8705 h 9788"/>
                    <a:gd name="connsiteX137" fmla="*/ 8889 w 10000"/>
                    <a:gd name="connsiteY137" fmla="*/ 8690 h 9788"/>
                    <a:gd name="connsiteX138" fmla="*/ 8722 w 10000"/>
                    <a:gd name="connsiteY138" fmla="*/ 8657 h 9788"/>
                    <a:gd name="connsiteX139" fmla="*/ 8611 w 10000"/>
                    <a:gd name="connsiteY139" fmla="*/ 8609 h 9788"/>
                    <a:gd name="connsiteX140" fmla="*/ 8444 w 10000"/>
                    <a:gd name="connsiteY140" fmla="*/ 8526 h 9788"/>
                    <a:gd name="connsiteX141" fmla="*/ 8444 w 10000"/>
                    <a:gd name="connsiteY141" fmla="*/ 8526 h 9788"/>
                    <a:gd name="connsiteX142" fmla="*/ 8222 w 10000"/>
                    <a:gd name="connsiteY142" fmla="*/ 8382 h 9788"/>
                    <a:gd name="connsiteX143" fmla="*/ 8111 w 10000"/>
                    <a:gd name="connsiteY143" fmla="*/ 8319 h 9788"/>
                    <a:gd name="connsiteX144" fmla="*/ 7944 w 10000"/>
                    <a:gd name="connsiteY144" fmla="*/ 8271 h 9788"/>
                    <a:gd name="connsiteX145" fmla="*/ 7778 w 10000"/>
                    <a:gd name="connsiteY145" fmla="*/ 8238 h 9788"/>
                    <a:gd name="connsiteX146" fmla="*/ 7556 w 10000"/>
                    <a:gd name="connsiteY146" fmla="*/ 8220 h 9788"/>
                    <a:gd name="connsiteX147" fmla="*/ 7333 w 10000"/>
                    <a:gd name="connsiteY147" fmla="*/ 8206 h 9788"/>
                    <a:gd name="connsiteX148" fmla="*/ 7000 w 10000"/>
                    <a:gd name="connsiteY148" fmla="*/ 8188 h 9788"/>
                    <a:gd name="connsiteX149" fmla="*/ 7000 w 10000"/>
                    <a:gd name="connsiteY149" fmla="*/ 8188 h 9788"/>
                    <a:gd name="connsiteX150" fmla="*/ 6556 w 10000"/>
                    <a:gd name="connsiteY150" fmla="*/ 8206 h 9788"/>
                    <a:gd name="connsiteX151" fmla="*/ 6222 w 10000"/>
                    <a:gd name="connsiteY151" fmla="*/ 8206 h 9788"/>
                    <a:gd name="connsiteX152" fmla="*/ 6111 w 10000"/>
                    <a:gd name="connsiteY152" fmla="*/ 8188 h 9788"/>
                    <a:gd name="connsiteX153" fmla="*/ 6056 w 10000"/>
                    <a:gd name="connsiteY153" fmla="*/ 8172 h 9788"/>
                    <a:gd name="connsiteX154" fmla="*/ 6056 w 10000"/>
                    <a:gd name="connsiteY154" fmla="*/ 8172 h 9788"/>
                    <a:gd name="connsiteX155" fmla="*/ 6056 w 10000"/>
                    <a:gd name="connsiteY155" fmla="*/ 7882 h 9788"/>
                    <a:gd name="connsiteX156" fmla="*/ 6056 w 10000"/>
                    <a:gd name="connsiteY156" fmla="*/ 7882 h 9788"/>
                    <a:gd name="connsiteX157" fmla="*/ 6056 w 10000"/>
                    <a:gd name="connsiteY157" fmla="*/ 7816 h 9788"/>
                    <a:gd name="connsiteX158" fmla="*/ 5944 w 10000"/>
                    <a:gd name="connsiteY158" fmla="*/ 7737 h 9788"/>
                    <a:gd name="connsiteX159" fmla="*/ 5889 w 10000"/>
                    <a:gd name="connsiteY159" fmla="*/ 7719 h 9788"/>
                    <a:gd name="connsiteX160" fmla="*/ 5778 w 10000"/>
                    <a:gd name="connsiteY160" fmla="*/ 7704 h 9788"/>
                    <a:gd name="connsiteX161" fmla="*/ 5667 w 10000"/>
                    <a:gd name="connsiteY161" fmla="*/ 7704 h 9788"/>
                    <a:gd name="connsiteX162" fmla="*/ 5500 w 10000"/>
                    <a:gd name="connsiteY162" fmla="*/ 7719 h 9788"/>
                    <a:gd name="connsiteX163" fmla="*/ 5500 w 10000"/>
                    <a:gd name="connsiteY163" fmla="*/ 7719 h 9788"/>
                    <a:gd name="connsiteX164" fmla="*/ 4889 w 10000"/>
                    <a:gd name="connsiteY164" fmla="*/ 7832 h 9788"/>
                    <a:gd name="connsiteX165" fmla="*/ 4611 w 10000"/>
                    <a:gd name="connsiteY165" fmla="*/ 7866 h 9788"/>
                    <a:gd name="connsiteX166" fmla="*/ 4556 w 10000"/>
                    <a:gd name="connsiteY166" fmla="*/ 7882 h 9788"/>
                    <a:gd name="connsiteX167" fmla="*/ 4500 w 10000"/>
                    <a:gd name="connsiteY167" fmla="*/ 7866 h 9788"/>
                    <a:gd name="connsiteX168" fmla="*/ 4500 w 10000"/>
                    <a:gd name="connsiteY168" fmla="*/ 7866 h 9788"/>
                    <a:gd name="connsiteX169" fmla="*/ 4222 w 10000"/>
                    <a:gd name="connsiteY169" fmla="*/ 7704 h 9788"/>
                    <a:gd name="connsiteX170" fmla="*/ 4222 w 10000"/>
                    <a:gd name="connsiteY170" fmla="*/ 7704 h 9788"/>
                    <a:gd name="connsiteX171" fmla="*/ 4111 w 10000"/>
                    <a:gd name="connsiteY171" fmla="*/ 7624 h 9788"/>
                    <a:gd name="connsiteX172" fmla="*/ 4111 w 10000"/>
                    <a:gd name="connsiteY172" fmla="*/ 7574 h 9788"/>
                    <a:gd name="connsiteX173" fmla="*/ 4111 w 10000"/>
                    <a:gd name="connsiteY173" fmla="*/ 7527 h 9788"/>
                    <a:gd name="connsiteX174" fmla="*/ 4111 w 10000"/>
                    <a:gd name="connsiteY174" fmla="*/ 7527 h 9788"/>
                    <a:gd name="connsiteX175" fmla="*/ 4278 w 10000"/>
                    <a:gd name="connsiteY175" fmla="*/ 7478 h 9788"/>
                    <a:gd name="connsiteX176" fmla="*/ 4389 w 10000"/>
                    <a:gd name="connsiteY176" fmla="*/ 7462 h 9788"/>
                    <a:gd name="connsiteX177" fmla="*/ 4389 w 10000"/>
                    <a:gd name="connsiteY177" fmla="*/ 7462 h 9788"/>
                    <a:gd name="connsiteX178" fmla="*/ 4000 w 10000"/>
                    <a:gd name="connsiteY178" fmla="*/ 7462 h 9788"/>
                    <a:gd name="connsiteX179" fmla="*/ 3722 w 10000"/>
                    <a:gd name="connsiteY179" fmla="*/ 7478 h 9788"/>
                    <a:gd name="connsiteX180" fmla="*/ 3611 w 10000"/>
                    <a:gd name="connsiteY180" fmla="*/ 7494 h 9788"/>
                    <a:gd name="connsiteX181" fmla="*/ 3556 w 10000"/>
                    <a:gd name="connsiteY181" fmla="*/ 7511 h 9788"/>
                    <a:gd name="connsiteX182" fmla="*/ 3556 w 10000"/>
                    <a:gd name="connsiteY182" fmla="*/ 7511 h 9788"/>
                    <a:gd name="connsiteX183" fmla="*/ 3444 w 10000"/>
                    <a:gd name="connsiteY183" fmla="*/ 7574 h 9788"/>
                    <a:gd name="connsiteX184" fmla="*/ 3278 w 10000"/>
                    <a:gd name="connsiteY184" fmla="*/ 7672 h 9788"/>
                    <a:gd name="connsiteX185" fmla="*/ 3000 w 10000"/>
                    <a:gd name="connsiteY185" fmla="*/ 7783 h 9788"/>
                    <a:gd name="connsiteX186" fmla="*/ 2667 w 10000"/>
                    <a:gd name="connsiteY186" fmla="*/ 7866 h 9788"/>
                    <a:gd name="connsiteX187" fmla="*/ 2667 w 10000"/>
                    <a:gd name="connsiteY187" fmla="*/ 7866 h 9788"/>
                    <a:gd name="connsiteX188" fmla="*/ 2333 w 10000"/>
                    <a:gd name="connsiteY188" fmla="*/ 7931 h 9788"/>
                    <a:gd name="connsiteX189" fmla="*/ 1833 w 10000"/>
                    <a:gd name="connsiteY189" fmla="*/ 7996 h 9788"/>
                    <a:gd name="connsiteX190" fmla="*/ 1389 w 10000"/>
                    <a:gd name="connsiteY190" fmla="*/ 8028 h 9788"/>
                    <a:gd name="connsiteX191" fmla="*/ 889 w 10000"/>
                    <a:gd name="connsiteY191" fmla="*/ 8044 h 9788"/>
                    <a:gd name="connsiteX192" fmla="*/ 889 w 10000"/>
                    <a:gd name="connsiteY192" fmla="*/ 8044 h 9788"/>
                    <a:gd name="connsiteX193" fmla="*/ 500 w 10000"/>
                    <a:gd name="connsiteY193" fmla="*/ 8060 h 9788"/>
                    <a:gd name="connsiteX194" fmla="*/ 222 w 10000"/>
                    <a:gd name="connsiteY194" fmla="*/ 8077 h 9788"/>
                    <a:gd name="connsiteX195" fmla="*/ 0 w 10000"/>
                    <a:gd name="connsiteY195" fmla="*/ 8094 h 9788"/>
                    <a:gd name="connsiteX196" fmla="*/ 0 w 10000"/>
                    <a:gd name="connsiteY196" fmla="*/ 8094 h 9788"/>
                    <a:gd name="connsiteX197" fmla="*/ 278 w 10000"/>
                    <a:gd name="connsiteY197" fmla="*/ 8350 h 9788"/>
                    <a:gd name="connsiteX198" fmla="*/ 500 w 10000"/>
                    <a:gd name="connsiteY198" fmla="*/ 8543 h 9788"/>
                    <a:gd name="connsiteX199" fmla="*/ 722 w 10000"/>
                    <a:gd name="connsiteY199" fmla="*/ 8705 h 9788"/>
                    <a:gd name="connsiteX200" fmla="*/ 722 w 10000"/>
                    <a:gd name="connsiteY200" fmla="*/ 8705 h 9788"/>
                    <a:gd name="connsiteX201" fmla="*/ 889 w 10000"/>
                    <a:gd name="connsiteY201" fmla="*/ 8804 h 9788"/>
                    <a:gd name="connsiteX202" fmla="*/ 944 w 10000"/>
                    <a:gd name="connsiteY202" fmla="*/ 8884 h 9788"/>
                    <a:gd name="connsiteX203" fmla="*/ 1111 w 10000"/>
                    <a:gd name="connsiteY203" fmla="*/ 8966 h 9788"/>
                    <a:gd name="connsiteX204" fmla="*/ 1333 w 10000"/>
                    <a:gd name="connsiteY204" fmla="*/ 9093 h 9788"/>
                    <a:gd name="connsiteX205" fmla="*/ 1333 w 10000"/>
                    <a:gd name="connsiteY205" fmla="*/ 9093 h 9788"/>
                    <a:gd name="connsiteX206" fmla="*/ 1444 w 10000"/>
                    <a:gd name="connsiteY206" fmla="*/ 9159 h 9788"/>
                    <a:gd name="connsiteX207" fmla="*/ 1500 w 10000"/>
                    <a:gd name="connsiteY207" fmla="*/ 9206 h 9788"/>
                    <a:gd name="connsiteX208" fmla="*/ 1500 w 10000"/>
                    <a:gd name="connsiteY208" fmla="*/ 9254 h 9788"/>
                    <a:gd name="connsiteX209" fmla="*/ 1556 w 10000"/>
                    <a:gd name="connsiteY209" fmla="*/ 9271 h 9788"/>
                    <a:gd name="connsiteX210" fmla="*/ 1722 w 10000"/>
                    <a:gd name="connsiteY210" fmla="*/ 9286 h 9788"/>
                    <a:gd name="connsiteX211" fmla="*/ 1944 w 10000"/>
                    <a:gd name="connsiteY211" fmla="*/ 9303 h 9788"/>
                    <a:gd name="connsiteX212" fmla="*/ 2944 w 10000"/>
                    <a:gd name="connsiteY212" fmla="*/ 9318 h 9788"/>
                    <a:gd name="connsiteX213" fmla="*/ 2944 w 10000"/>
                    <a:gd name="connsiteY213" fmla="*/ 9318 h 9788"/>
                    <a:gd name="connsiteX214" fmla="*/ 4167 w 10000"/>
                    <a:gd name="connsiteY214" fmla="*/ 9351 h 9788"/>
                    <a:gd name="connsiteX215" fmla="*/ 4889 w 10000"/>
                    <a:gd name="connsiteY215" fmla="*/ 9400 h 9788"/>
                    <a:gd name="connsiteX216" fmla="*/ 5278 w 10000"/>
                    <a:gd name="connsiteY216" fmla="*/ 9450 h 9788"/>
                    <a:gd name="connsiteX217" fmla="*/ 5444 w 10000"/>
                    <a:gd name="connsiteY217" fmla="*/ 9464 h 9788"/>
                    <a:gd name="connsiteX218" fmla="*/ 5444 w 10000"/>
                    <a:gd name="connsiteY218" fmla="*/ 9464 h 9788"/>
                    <a:gd name="connsiteX219" fmla="*/ 5722 w 10000"/>
                    <a:gd name="connsiteY219" fmla="*/ 9498 h 9788"/>
                    <a:gd name="connsiteX220" fmla="*/ 5833 w 10000"/>
                    <a:gd name="connsiteY220" fmla="*/ 9515 h 9788"/>
                    <a:gd name="connsiteX221" fmla="*/ 5833 w 10000"/>
                    <a:gd name="connsiteY221" fmla="*/ 9515 h 9788"/>
                    <a:gd name="connsiteX222" fmla="*/ 5833 w 10000"/>
                    <a:gd name="connsiteY222" fmla="*/ 9498 h 9788"/>
                    <a:gd name="connsiteX223" fmla="*/ 5889 w 10000"/>
                    <a:gd name="connsiteY223" fmla="*/ 9481 h 9788"/>
                    <a:gd name="connsiteX224" fmla="*/ 6000 w 10000"/>
                    <a:gd name="connsiteY224" fmla="*/ 9464 h 9788"/>
                    <a:gd name="connsiteX225" fmla="*/ 6167 w 10000"/>
                    <a:gd name="connsiteY225" fmla="*/ 9450 h 9788"/>
                    <a:gd name="connsiteX226" fmla="*/ 6444 w 10000"/>
                    <a:gd name="connsiteY226" fmla="*/ 9450 h 9788"/>
                    <a:gd name="connsiteX227" fmla="*/ 6833 w 10000"/>
                    <a:gd name="connsiteY227" fmla="*/ 9464 h 9788"/>
                    <a:gd name="connsiteX228" fmla="*/ 7278 w 10000"/>
                    <a:gd name="connsiteY228" fmla="*/ 9515 h 9788"/>
                    <a:gd name="connsiteX229" fmla="*/ 7278 w 10000"/>
                    <a:gd name="connsiteY229" fmla="*/ 9515 h 9788"/>
                    <a:gd name="connsiteX230" fmla="*/ 8722 w 10000"/>
                    <a:gd name="connsiteY230" fmla="*/ 9658 h 9788"/>
                    <a:gd name="connsiteX231" fmla="*/ 10000 w 10000"/>
                    <a:gd name="connsiteY231" fmla="*/ 9788 h 9788"/>
                    <a:gd name="connsiteX0" fmla="*/ 10000 w 10000"/>
                    <a:gd name="connsiteY0" fmla="*/ 8714 h 9836"/>
                    <a:gd name="connsiteX1" fmla="*/ 10000 w 10000"/>
                    <a:gd name="connsiteY1" fmla="*/ 8714 h 9836"/>
                    <a:gd name="connsiteX2" fmla="*/ 9222 w 10000"/>
                    <a:gd name="connsiteY2" fmla="*/ 8730 h 9836"/>
                    <a:gd name="connsiteX3" fmla="*/ 8944 w 10000"/>
                    <a:gd name="connsiteY3" fmla="*/ 8730 h 9836"/>
                    <a:gd name="connsiteX4" fmla="*/ 8833 w 10000"/>
                    <a:gd name="connsiteY4" fmla="*/ 8714 h 9836"/>
                    <a:gd name="connsiteX5" fmla="*/ 8778 w 10000"/>
                    <a:gd name="connsiteY5" fmla="*/ 8698 h 9836"/>
                    <a:gd name="connsiteX6" fmla="*/ 8778 w 10000"/>
                    <a:gd name="connsiteY6" fmla="*/ 8698 h 9836"/>
                    <a:gd name="connsiteX7" fmla="*/ 8444 w 10000"/>
                    <a:gd name="connsiteY7" fmla="*/ 8499 h 9836"/>
                    <a:gd name="connsiteX8" fmla="*/ 8167 w 10000"/>
                    <a:gd name="connsiteY8" fmla="*/ 8317 h 9836"/>
                    <a:gd name="connsiteX9" fmla="*/ 8167 w 10000"/>
                    <a:gd name="connsiteY9" fmla="*/ 8317 h 9836"/>
                    <a:gd name="connsiteX10" fmla="*/ 8056 w 10000"/>
                    <a:gd name="connsiteY10" fmla="*/ 8286 h 9836"/>
                    <a:gd name="connsiteX11" fmla="*/ 7889 w 10000"/>
                    <a:gd name="connsiteY11" fmla="*/ 8252 h 9836"/>
                    <a:gd name="connsiteX12" fmla="*/ 7444 w 10000"/>
                    <a:gd name="connsiteY12" fmla="*/ 8234 h 9836"/>
                    <a:gd name="connsiteX13" fmla="*/ 6889 w 10000"/>
                    <a:gd name="connsiteY13" fmla="*/ 8220 h 9836"/>
                    <a:gd name="connsiteX14" fmla="*/ 6389 w 10000"/>
                    <a:gd name="connsiteY14" fmla="*/ 8220 h 9836"/>
                    <a:gd name="connsiteX15" fmla="*/ 6389 w 10000"/>
                    <a:gd name="connsiteY15" fmla="*/ 8220 h 9836"/>
                    <a:gd name="connsiteX16" fmla="*/ 6167 w 10000"/>
                    <a:gd name="connsiteY16" fmla="*/ 8201 h 9836"/>
                    <a:gd name="connsiteX17" fmla="*/ 6056 w 10000"/>
                    <a:gd name="connsiteY17" fmla="*/ 8171 h 9836"/>
                    <a:gd name="connsiteX18" fmla="*/ 6000 w 10000"/>
                    <a:gd name="connsiteY18" fmla="*/ 8136 h 9836"/>
                    <a:gd name="connsiteX19" fmla="*/ 6000 w 10000"/>
                    <a:gd name="connsiteY19" fmla="*/ 8071 h 9836"/>
                    <a:gd name="connsiteX20" fmla="*/ 6056 w 10000"/>
                    <a:gd name="connsiteY20" fmla="*/ 7939 h 9836"/>
                    <a:gd name="connsiteX21" fmla="*/ 6111 w 10000"/>
                    <a:gd name="connsiteY21" fmla="*/ 7872 h 9836"/>
                    <a:gd name="connsiteX22" fmla="*/ 6056 w 10000"/>
                    <a:gd name="connsiteY22" fmla="*/ 7788 h 9836"/>
                    <a:gd name="connsiteX23" fmla="*/ 6056 w 10000"/>
                    <a:gd name="connsiteY23" fmla="*/ 7788 h 9836"/>
                    <a:gd name="connsiteX24" fmla="*/ 6000 w 10000"/>
                    <a:gd name="connsiteY24" fmla="*/ 7741 h 9836"/>
                    <a:gd name="connsiteX25" fmla="*/ 5944 w 10000"/>
                    <a:gd name="connsiteY25" fmla="*/ 7707 h 9836"/>
                    <a:gd name="connsiteX26" fmla="*/ 5833 w 10000"/>
                    <a:gd name="connsiteY26" fmla="*/ 7707 h 9836"/>
                    <a:gd name="connsiteX27" fmla="*/ 5667 w 10000"/>
                    <a:gd name="connsiteY27" fmla="*/ 7722 h 9836"/>
                    <a:gd name="connsiteX28" fmla="*/ 5333 w 10000"/>
                    <a:gd name="connsiteY28" fmla="*/ 7772 h 9836"/>
                    <a:gd name="connsiteX29" fmla="*/ 4889 w 10000"/>
                    <a:gd name="connsiteY29" fmla="*/ 7856 h 9836"/>
                    <a:gd name="connsiteX30" fmla="*/ 4889 w 10000"/>
                    <a:gd name="connsiteY30" fmla="*/ 7856 h 9836"/>
                    <a:gd name="connsiteX31" fmla="*/ 4611 w 10000"/>
                    <a:gd name="connsiteY31" fmla="*/ 7872 h 9836"/>
                    <a:gd name="connsiteX32" fmla="*/ 4500 w 10000"/>
                    <a:gd name="connsiteY32" fmla="*/ 7872 h 9836"/>
                    <a:gd name="connsiteX33" fmla="*/ 4444 w 10000"/>
                    <a:gd name="connsiteY33" fmla="*/ 7856 h 9836"/>
                    <a:gd name="connsiteX34" fmla="*/ 4389 w 10000"/>
                    <a:gd name="connsiteY34" fmla="*/ 7788 h 9836"/>
                    <a:gd name="connsiteX35" fmla="*/ 4222 w 10000"/>
                    <a:gd name="connsiteY35" fmla="*/ 7707 h 9836"/>
                    <a:gd name="connsiteX36" fmla="*/ 4222 w 10000"/>
                    <a:gd name="connsiteY36" fmla="*/ 7707 h 9836"/>
                    <a:gd name="connsiteX37" fmla="*/ 4111 w 10000"/>
                    <a:gd name="connsiteY37" fmla="*/ 7657 h 9836"/>
                    <a:gd name="connsiteX38" fmla="*/ 4111 w 10000"/>
                    <a:gd name="connsiteY38" fmla="*/ 7608 h 9836"/>
                    <a:gd name="connsiteX39" fmla="*/ 4111 w 10000"/>
                    <a:gd name="connsiteY39" fmla="*/ 7574 h 9836"/>
                    <a:gd name="connsiteX40" fmla="*/ 4167 w 10000"/>
                    <a:gd name="connsiteY40" fmla="*/ 7542 h 9836"/>
                    <a:gd name="connsiteX41" fmla="*/ 4278 w 10000"/>
                    <a:gd name="connsiteY41" fmla="*/ 7476 h 9836"/>
                    <a:gd name="connsiteX42" fmla="*/ 4389 w 10000"/>
                    <a:gd name="connsiteY42" fmla="*/ 7460 h 9836"/>
                    <a:gd name="connsiteX43" fmla="*/ 4389 w 10000"/>
                    <a:gd name="connsiteY43" fmla="*/ 7460 h 9836"/>
                    <a:gd name="connsiteX44" fmla="*/ 4389 w 10000"/>
                    <a:gd name="connsiteY44" fmla="*/ 7443 h 9836"/>
                    <a:gd name="connsiteX45" fmla="*/ 4444 w 10000"/>
                    <a:gd name="connsiteY45" fmla="*/ 7427 h 9836"/>
                    <a:gd name="connsiteX46" fmla="*/ 4667 w 10000"/>
                    <a:gd name="connsiteY46" fmla="*/ 7410 h 9836"/>
                    <a:gd name="connsiteX47" fmla="*/ 5333 w 10000"/>
                    <a:gd name="connsiteY47" fmla="*/ 7377 h 9836"/>
                    <a:gd name="connsiteX48" fmla="*/ 6500 w 10000"/>
                    <a:gd name="connsiteY48" fmla="*/ 7328 h 9836"/>
                    <a:gd name="connsiteX49" fmla="*/ 6500 w 10000"/>
                    <a:gd name="connsiteY49" fmla="*/ 7328 h 9836"/>
                    <a:gd name="connsiteX50" fmla="*/ 7167 w 10000"/>
                    <a:gd name="connsiteY50" fmla="*/ 7279 h 9836"/>
                    <a:gd name="connsiteX51" fmla="*/ 8389 w 10000"/>
                    <a:gd name="connsiteY51" fmla="*/ 7180 h 9836"/>
                    <a:gd name="connsiteX52" fmla="*/ 8389 w 10000"/>
                    <a:gd name="connsiteY52" fmla="*/ 7180 h 9836"/>
                    <a:gd name="connsiteX53" fmla="*/ 8667 w 10000"/>
                    <a:gd name="connsiteY53" fmla="*/ 7145 h 9836"/>
                    <a:gd name="connsiteX54" fmla="*/ 8778 w 10000"/>
                    <a:gd name="connsiteY54" fmla="*/ 7095 h 9836"/>
                    <a:gd name="connsiteX55" fmla="*/ 8889 w 10000"/>
                    <a:gd name="connsiteY55" fmla="*/ 7063 h 9836"/>
                    <a:gd name="connsiteX56" fmla="*/ 8833 w 10000"/>
                    <a:gd name="connsiteY56" fmla="*/ 7030 h 9836"/>
                    <a:gd name="connsiteX57" fmla="*/ 8833 w 10000"/>
                    <a:gd name="connsiteY57" fmla="*/ 6997 h 9836"/>
                    <a:gd name="connsiteX58" fmla="*/ 8722 w 10000"/>
                    <a:gd name="connsiteY58" fmla="*/ 6964 h 9836"/>
                    <a:gd name="connsiteX59" fmla="*/ 8556 w 10000"/>
                    <a:gd name="connsiteY59" fmla="*/ 6914 h 9836"/>
                    <a:gd name="connsiteX60" fmla="*/ 8556 w 10000"/>
                    <a:gd name="connsiteY60" fmla="*/ 6914 h 9836"/>
                    <a:gd name="connsiteX61" fmla="*/ 6556 w 10000"/>
                    <a:gd name="connsiteY61" fmla="*/ 6620 h 9836"/>
                    <a:gd name="connsiteX62" fmla="*/ 6556 w 10000"/>
                    <a:gd name="connsiteY62" fmla="*/ 6620 h 9836"/>
                    <a:gd name="connsiteX63" fmla="*/ 6333 w 10000"/>
                    <a:gd name="connsiteY63" fmla="*/ 6570 h 9836"/>
                    <a:gd name="connsiteX64" fmla="*/ 6167 w 10000"/>
                    <a:gd name="connsiteY64" fmla="*/ 6519 h 9836"/>
                    <a:gd name="connsiteX65" fmla="*/ 6056 w 10000"/>
                    <a:gd name="connsiteY65" fmla="*/ 6469 h 9836"/>
                    <a:gd name="connsiteX66" fmla="*/ 6056 w 10000"/>
                    <a:gd name="connsiteY66" fmla="*/ 6469 h 9836"/>
                    <a:gd name="connsiteX67" fmla="*/ 8056 w 10000"/>
                    <a:gd name="connsiteY67" fmla="*/ 6453 h 9836"/>
                    <a:gd name="connsiteX68" fmla="*/ 10000 w 10000"/>
                    <a:gd name="connsiteY68" fmla="*/ 6620 h 9836"/>
                    <a:gd name="connsiteX69" fmla="*/ 10000 w 10000"/>
                    <a:gd name="connsiteY69" fmla="*/ 5116 h 9836"/>
                    <a:gd name="connsiteX70" fmla="*/ 10000 w 10000"/>
                    <a:gd name="connsiteY70" fmla="*/ 5116 h 9836"/>
                    <a:gd name="connsiteX71" fmla="*/ 7778 w 10000"/>
                    <a:gd name="connsiteY71" fmla="*/ 4770 h 9836"/>
                    <a:gd name="connsiteX72" fmla="*/ 6556 w 10000"/>
                    <a:gd name="connsiteY72" fmla="*/ 4571 h 9836"/>
                    <a:gd name="connsiteX73" fmla="*/ 6556 w 10000"/>
                    <a:gd name="connsiteY73" fmla="*/ 4571 h 9836"/>
                    <a:gd name="connsiteX74" fmla="*/ 6556 w 10000"/>
                    <a:gd name="connsiteY74" fmla="*/ 4554 h 9836"/>
                    <a:gd name="connsiteX75" fmla="*/ 6556 w 10000"/>
                    <a:gd name="connsiteY75" fmla="*/ 4455 h 9836"/>
                    <a:gd name="connsiteX76" fmla="*/ 6556 w 10000"/>
                    <a:gd name="connsiteY76" fmla="*/ 4455 h 9836"/>
                    <a:gd name="connsiteX77" fmla="*/ 6389 w 10000"/>
                    <a:gd name="connsiteY77" fmla="*/ 4342 h 9836"/>
                    <a:gd name="connsiteX78" fmla="*/ 6056 w 10000"/>
                    <a:gd name="connsiteY78" fmla="*/ 4160 h 9836"/>
                    <a:gd name="connsiteX79" fmla="*/ 5333 w 10000"/>
                    <a:gd name="connsiteY79" fmla="*/ 3810 h 9836"/>
                    <a:gd name="connsiteX80" fmla="*/ 5333 w 10000"/>
                    <a:gd name="connsiteY80" fmla="*/ 3810 h 9836"/>
                    <a:gd name="connsiteX81" fmla="*/ 5167 w 10000"/>
                    <a:gd name="connsiteY81" fmla="*/ 3762 h 9836"/>
                    <a:gd name="connsiteX82" fmla="*/ 4889 w 10000"/>
                    <a:gd name="connsiteY82" fmla="*/ 3695 h 9836"/>
                    <a:gd name="connsiteX83" fmla="*/ 4056 w 10000"/>
                    <a:gd name="connsiteY83" fmla="*/ 3549 h 9836"/>
                    <a:gd name="connsiteX84" fmla="*/ 2889 w 10000"/>
                    <a:gd name="connsiteY84" fmla="*/ 3368 h 9836"/>
                    <a:gd name="connsiteX85" fmla="*/ 2889 w 10000"/>
                    <a:gd name="connsiteY85" fmla="*/ 3368 h 9836"/>
                    <a:gd name="connsiteX86" fmla="*/ 2389 w 10000"/>
                    <a:gd name="connsiteY86" fmla="*/ 3349 h 9836"/>
                    <a:gd name="connsiteX87" fmla="*/ 2000 w 10000"/>
                    <a:gd name="connsiteY87" fmla="*/ 3332 h 9836"/>
                    <a:gd name="connsiteX88" fmla="*/ 1889 w 10000"/>
                    <a:gd name="connsiteY88" fmla="*/ 3317 h 9836"/>
                    <a:gd name="connsiteX89" fmla="*/ 1778 w 10000"/>
                    <a:gd name="connsiteY89" fmla="*/ 3300 h 9836"/>
                    <a:gd name="connsiteX90" fmla="*/ 1778 w 10000"/>
                    <a:gd name="connsiteY90" fmla="*/ 3300 h 9836"/>
                    <a:gd name="connsiteX91" fmla="*/ 1667 w 10000"/>
                    <a:gd name="connsiteY91" fmla="*/ 3234 h 9836"/>
                    <a:gd name="connsiteX92" fmla="*/ 1500 w 10000"/>
                    <a:gd name="connsiteY92" fmla="*/ 3119 h 9836"/>
                    <a:gd name="connsiteX93" fmla="*/ 1444 w 10000"/>
                    <a:gd name="connsiteY93" fmla="*/ 3053 h 9836"/>
                    <a:gd name="connsiteX94" fmla="*/ 1444 w 10000"/>
                    <a:gd name="connsiteY94" fmla="*/ 2987 h 9836"/>
                    <a:gd name="connsiteX95" fmla="*/ 1444 w 10000"/>
                    <a:gd name="connsiteY95" fmla="*/ 2937 h 9836"/>
                    <a:gd name="connsiteX96" fmla="*/ 1556 w 10000"/>
                    <a:gd name="connsiteY96" fmla="*/ 2888 h 9836"/>
                    <a:gd name="connsiteX97" fmla="*/ 1556 w 10000"/>
                    <a:gd name="connsiteY97" fmla="*/ 2888 h 9836"/>
                    <a:gd name="connsiteX98" fmla="*/ 1833 w 10000"/>
                    <a:gd name="connsiteY98" fmla="*/ 2805 h 9836"/>
                    <a:gd name="connsiteX99" fmla="*/ 2111 w 10000"/>
                    <a:gd name="connsiteY99" fmla="*/ 2721 h 9836"/>
                    <a:gd name="connsiteX100" fmla="*/ 2278 w 10000"/>
                    <a:gd name="connsiteY100" fmla="*/ 2673 h 9836"/>
                    <a:gd name="connsiteX101" fmla="*/ 2389 w 10000"/>
                    <a:gd name="connsiteY101" fmla="*/ 2624 h 9836"/>
                    <a:gd name="connsiteX102" fmla="*/ 2389 w 10000"/>
                    <a:gd name="connsiteY102" fmla="*/ 2558 h 9836"/>
                    <a:gd name="connsiteX103" fmla="*/ 2389 w 10000"/>
                    <a:gd name="connsiteY103" fmla="*/ 2477 h 9836"/>
                    <a:gd name="connsiteX104" fmla="*/ 2389 w 10000"/>
                    <a:gd name="connsiteY104" fmla="*/ 2477 h 9836"/>
                    <a:gd name="connsiteX105" fmla="*/ 2167 w 10000"/>
                    <a:gd name="connsiteY105" fmla="*/ 2244 h 9836"/>
                    <a:gd name="connsiteX106" fmla="*/ 1889 w 10000"/>
                    <a:gd name="connsiteY106" fmla="*/ 1930 h 9836"/>
                    <a:gd name="connsiteX107" fmla="*/ 1667 w 10000"/>
                    <a:gd name="connsiteY107" fmla="*/ 1651 h 9836"/>
                    <a:gd name="connsiteX108" fmla="*/ 1611 w 10000"/>
                    <a:gd name="connsiteY108" fmla="*/ 1569 h 9836"/>
                    <a:gd name="connsiteX109" fmla="*/ 1611 w 10000"/>
                    <a:gd name="connsiteY109" fmla="*/ 1536 h 9836"/>
                    <a:gd name="connsiteX110" fmla="*/ 1667 w 10000"/>
                    <a:gd name="connsiteY110" fmla="*/ 1518 h 9836"/>
                    <a:gd name="connsiteX111" fmla="*/ 1667 w 10000"/>
                    <a:gd name="connsiteY111" fmla="*/ 1518 h 9836"/>
                    <a:gd name="connsiteX112" fmla="*/ 2000 w 10000"/>
                    <a:gd name="connsiteY112" fmla="*/ 1503 h 9836"/>
                    <a:gd name="connsiteX113" fmla="*/ 2222 w 10000"/>
                    <a:gd name="connsiteY113" fmla="*/ 1503 h 9836"/>
                    <a:gd name="connsiteX114" fmla="*/ 2389 w 10000"/>
                    <a:gd name="connsiteY114" fmla="*/ 1518 h 9836"/>
                    <a:gd name="connsiteX115" fmla="*/ 2389 w 10000"/>
                    <a:gd name="connsiteY115" fmla="*/ 1518 h 9836"/>
                    <a:gd name="connsiteX116" fmla="*/ 2444 w 10000"/>
                    <a:gd name="connsiteY116" fmla="*/ 1518 h 9836"/>
                    <a:gd name="connsiteX117" fmla="*/ 2500 w 10000"/>
                    <a:gd name="connsiteY117" fmla="*/ 1486 h 9836"/>
                    <a:gd name="connsiteX118" fmla="*/ 2778 w 10000"/>
                    <a:gd name="connsiteY118" fmla="*/ 1386 h 9836"/>
                    <a:gd name="connsiteX119" fmla="*/ 3500 w 10000"/>
                    <a:gd name="connsiteY119" fmla="*/ 1055 h 9836"/>
                    <a:gd name="connsiteX120" fmla="*/ 4444 w 10000"/>
                    <a:gd name="connsiteY120" fmla="*/ 577 h 9836"/>
                    <a:gd name="connsiteX121" fmla="*/ 4444 w 10000"/>
                    <a:gd name="connsiteY121" fmla="*/ 577 h 9836"/>
                    <a:gd name="connsiteX122" fmla="*/ 4444 w 10000"/>
                    <a:gd name="connsiteY122" fmla="*/ 509 h 9836"/>
                    <a:gd name="connsiteX123" fmla="*/ 4444 w 10000"/>
                    <a:gd name="connsiteY123" fmla="*/ 362 h 9836"/>
                    <a:gd name="connsiteX124" fmla="*/ 4500 w 10000"/>
                    <a:gd name="connsiteY124" fmla="*/ 264 h 9836"/>
                    <a:gd name="connsiteX125" fmla="*/ 4611 w 10000"/>
                    <a:gd name="connsiteY125" fmla="*/ 182 h 9836"/>
                    <a:gd name="connsiteX126" fmla="*/ 4778 w 10000"/>
                    <a:gd name="connsiteY126" fmla="*/ 82 h 9836"/>
                    <a:gd name="connsiteX127" fmla="*/ 5000 w 10000"/>
                    <a:gd name="connsiteY127" fmla="*/ 0 h 9836"/>
                    <a:gd name="connsiteX128" fmla="*/ 5000 w 10000"/>
                    <a:gd name="connsiteY128" fmla="*/ 0 h 9836"/>
                    <a:gd name="connsiteX129" fmla="*/ 10000 w 10000"/>
                    <a:gd name="connsiteY129" fmla="*/ 8730 h 9836"/>
                    <a:gd name="connsiteX130" fmla="*/ 10000 w 10000"/>
                    <a:gd name="connsiteY130" fmla="*/ 8730 h 9836"/>
                    <a:gd name="connsiteX131" fmla="*/ 9722 w 10000"/>
                    <a:gd name="connsiteY131" fmla="*/ 8714 h 9836"/>
                    <a:gd name="connsiteX132" fmla="*/ 9389 w 10000"/>
                    <a:gd name="connsiteY132" fmla="*/ 8730 h 9836"/>
                    <a:gd name="connsiteX133" fmla="*/ 9389 w 10000"/>
                    <a:gd name="connsiteY133" fmla="*/ 8730 h 9836"/>
                    <a:gd name="connsiteX134" fmla="*/ 9278 w 10000"/>
                    <a:gd name="connsiteY134" fmla="*/ 8748 h 9836"/>
                    <a:gd name="connsiteX135" fmla="*/ 9056 w 10000"/>
                    <a:gd name="connsiteY135" fmla="*/ 8730 h 9836"/>
                    <a:gd name="connsiteX136" fmla="*/ 8889 w 10000"/>
                    <a:gd name="connsiteY136" fmla="*/ 8714 h 9836"/>
                    <a:gd name="connsiteX137" fmla="*/ 8722 w 10000"/>
                    <a:gd name="connsiteY137" fmla="*/ 8681 h 9836"/>
                    <a:gd name="connsiteX138" fmla="*/ 8611 w 10000"/>
                    <a:gd name="connsiteY138" fmla="*/ 8631 h 9836"/>
                    <a:gd name="connsiteX139" fmla="*/ 8444 w 10000"/>
                    <a:gd name="connsiteY139" fmla="*/ 8547 h 9836"/>
                    <a:gd name="connsiteX140" fmla="*/ 8444 w 10000"/>
                    <a:gd name="connsiteY140" fmla="*/ 8547 h 9836"/>
                    <a:gd name="connsiteX141" fmla="*/ 8222 w 10000"/>
                    <a:gd name="connsiteY141" fmla="*/ 8400 h 9836"/>
                    <a:gd name="connsiteX142" fmla="*/ 8111 w 10000"/>
                    <a:gd name="connsiteY142" fmla="*/ 8335 h 9836"/>
                    <a:gd name="connsiteX143" fmla="*/ 7944 w 10000"/>
                    <a:gd name="connsiteY143" fmla="*/ 8286 h 9836"/>
                    <a:gd name="connsiteX144" fmla="*/ 7778 w 10000"/>
                    <a:gd name="connsiteY144" fmla="*/ 8252 h 9836"/>
                    <a:gd name="connsiteX145" fmla="*/ 7556 w 10000"/>
                    <a:gd name="connsiteY145" fmla="*/ 8234 h 9836"/>
                    <a:gd name="connsiteX146" fmla="*/ 7333 w 10000"/>
                    <a:gd name="connsiteY146" fmla="*/ 8220 h 9836"/>
                    <a:gd name="connsiteX147" fmla="*/ 7000 w 10000"/>
                    <a:gd name="connsiteY147" fmla="*/ 8201 h 9836"/>
                    <a:gd name="connsiteX148" fmla="*/ 7000 w 10000"/>
                    <a:gd name="connsiteY148" fmla="*/ 8201 h 9836"/>
                    <a:gd name="connsiteX149" fmla="*/ 6556 w 10000"/>
                    <a:gd name="connsiteY149" fmla="*/ 8220 h 9836"/>
                    <a:gd name="connsiteX150" fmla="*/ 6222 w 10000"/>
                    <a:gd name="connsiteY150" fmla="*/ 8220 h 9836"/>
                    <a:gd name="connsiteX151" fmla="*/ 6111 w 10000"/>
                    <a:gd name="connsiteY151" fmla="*/ 8201 h 9836"/>
                    <a:gd name="connsiteX152" fmla="*/ 6056 w 10000"/>
                    <a:gd name="connsiteY152" fmla="*/ 8185 h 9836"/>
                    <a:gd name="connsiteX153" fmla="*/ 6056 w 10000"/>
                    <a:gd name="connsiteY153" fmla="*/ 8185 h 9836"/>
                    <a:gd name="connsiteX154" fmla="*/ 6056 w 10000"/>
                    <a:gd name="connsiteY154" fmla="*/ 7889 h 9836"/>
                    <a:gd name="connsiteX155" fmla="*/ 6056 w 10000"/>
                    <a:gd name="connsiteY155" fmla="*/ 7889 h 9836"/>
                    <a:gd name="connsiteX156" fmla="*/ 6056 w 10000"/>
                    <a:gd name="connsiteY156" fmla="*/ 7821 h 9836"/>
                    <a:gd name="connsiteX157" fmla="*/ 5944 w 10000"/>
                    <a:gd name="connsiteY157" fmla="*/ 7741 h 9836"/>
                    <a:gd name="connsiteX158" fmla="*/ 5889 w 10000"/>
                    <a:gd name="connsiteY158" fmla="*/ 7722 h 9836"/>
                    <a:gd name="connsiteX159" fmla="*/ 5778 w 10000"/>
                    <a:gd name="connsiteY159" fmla="*/ 7707 h 9836"/>
                    <a:gd name="connsiteX160" fmla="*/ 5667 w 10000"/>
                    <a:gd name="connsiteY160" fmla="*/ 7707 h 9836"/>
                    <a:gd name="connsiteX161" fmla="*/ 5500 w 10000"/>
                    <a:gd name="connsiteY161" fmla="*/ 7722 h 9836"/>
                    <a:gd name="connsiteX162" fmla="*/ 5500 w 10000"/>
                    <a:gd name="connsiteY162" fmla="*/ 7722 h 9836"/>
                    <a:gd name="connsiteX163" fmla="*/ 4889 w 10000"/>
                    <a:gd name="connsiteY163" fmla="*/ 7838 h 9836"/>
                    <a:gd name="connsiteX164" fmla="*/ 4611 w 10000"/>
                    <a:gd name="connsiteY164" fmla="*/ 7872 h 9836"/>
                    <a:gd name="connsiteX165" fmla="*/ 4556 w 10000"/>
                    <a:gd name="connsiteY165" fmla="*/ 7889 h 9836"/>
                    <a:gd name="connsiteX166" fmla="*/ 4500 w 10000"/>
                    <a:gd name="connsiteY166" fmla="*/ 7872 h 9836"/>
                    <a:gd name="connsiteX167" fmla="*/ 4500 w 10000"/>
                    <a:gd name="connsiteY167" fmla="*/ 7872 h 9836"/>
                    <a:gd name="connsiteX168" fmla="*/ 4222 w 10000"/>
                    <a:gd name="connsiteY168" fmla="*/ 7707 h 9836"/>
                    <a:gd name="connsiteX169" fmla="*/ 4222 w 10000"/>
                    <a:gd name="connsiteY169" fmla="*/ 7707 h 9836"/>
                    <a:gd name="connsiteX170" fmla="*/ 4111 w 10000"/>
                    <a:gd name="connsiteY170" fmla="*/ 7625 h 9836"/>
                    <a:gd name="connsiteX171" fmla="*/ 4111 w 10000"/>
                    <a:gd name="connsiteY171" fmla="*/ 7574 h 9836"/>
                    <a:gd name="connsiteX172" fmla="*/ 4111 w 10000"/>
                    <a:gd name="connsiteY172" fmla="*/ 7526 h 9836"/>
                    <a:gd name="connsiteX173" fmla="*/ 4111 w 10000"/>
                    <a:gd name="connsiteY173" fmla="*/ 7526 h 9836"/>
                    <a:gd name="connsiteX174" fmla="*/ 4278 w 10000"/>
                    <a:gd name="connsiteY174" fmla="*/ 7476 h 9836"/>
                    <a:gd name="connsiteX175" fmla="*/ 4389 w 10000"/>
                    <a:gd name="connsiteY175" fmla="*/ 7460 h 9836"/>
                    <a:gd name="connsiteX176" fmla="*/ 4389 w 10000"/>
                    <a:gd name="connsiteY176" fmla="*/ 7460 h 9836"/>
                    <a:gd name="connsiteX177" fmla="*/ 4000 w 10000"/>
                    <a:gd name="connsiteY177" fmla="*/ 7460 h 9836"/>
                    <a:gd name="connsiteX178" fmla="*/ 3722 w 10000"/>
                    <a:gd name="connsiteY178" fmla="*/ 7476 h 9836"/>
                    <a:gd name="connsiteX179" fmla="*/ 3611 w 10000"/>
                    <a:gd name="connsiteY179" fmla="*/ 7492 h 9836"/>
                    <a:gd name="connsiteX180" fmla="*/ 3556 w 10000"/>
                    <a:gd name="connsiteY180" fmla="*/ 7510 h 9836"/>
                    <a:gd name="connsiteX181" fmla="*/ 3556 w 10000"/>
                    <a:gd name="connsiteY181" fmla="*/ 7510 h 9836"/>
                    <a:gd name="connsiteX182" fmla="*/ 3444 w 10000"/>
                    <a:gd name="connsiteY182" fmla="*/ 7574 h 9836"/>
                    <a:gd name="connsiteX183" fmla="*/ 3278 w 10000"/>
                    <a:gd name="connsiteY183" fmla="*/ 7674 h 9836"/>
                    <a:gd name="connsiteX184" fmla="*/ 3000 w 10000"/>
                    <a:gd name="connsiteY184" fmla="*/ 7788 h 9836"/>
                    <a:gd name="connsiteX185" fmla="*/ 2667 w 10000"/>
                    <a:gd name="connsiteY185" fmla="*/ 7872 h 9836"/>
                    <a:gd name="connsiteX186" fmla="*/ 2667 w 10000"/>
                    <a:gd name="connsiteY186" fmla="*/ 7872 h 9836"/>
                    <a:gd name="connsiteX187" fmla="*/ 2333 w 10000"/>
                    <a:gd name="connsiteY187" fmla="*/ 7939 h 9836"/>
                    <a:gd name="connsiteX188" fmla="*/ 1833 w 10000"/>
                    <a:gd name="connsiteY188" fmla="*/ 8005 h 9836"/>
                    <a:gd name="connsiteX189" fmla="*/ 1389 w 10000"/>
                    <a:gd name="connsiteY189" fmla="*/ 8038 h 9836"/>
                    <a:gd name="connsiteX190" fmla="*/ 889 w 10000"/>
                    <a:gd name="connsiteY190" fmla="*/ 8054 h 9836"/>
                    <a:gd name="connsiteX191" fmla="*/ 889 w 10000"/>
                    <a:gd name="connsiteY191" fmla="*/ 8054 h 9836"/>
                    <a:gd name="connsiteX192" fmla="*/ 500 w 10000"/>
                    <a:gd name="connsiteY192" fmla="*/ 8071 h 9836"/>
                    <a:gd name="connsiteX193" fmla="*/ 222 w 10000"/>
                    <a:gd name="connsiteY193" fmla="*/ 8088 h 9836"/>
                    <a:gd name="connsiteX194" fmla="*/ 0 w 10000"/>
                    <a:gd name="connsiteY194" fmla="*/ 8105 h 9836"/>
                    <a:gd name="connsiteX195" fmla="*/ 0 w 10000"/>
                    <a:gd name="connsiteY195" fmla="*/ 8105 h 9836"/>
                    <a:gd name="connsiteX196" fmla="*/ 278 w 10000"/>
                    <a:gd name="connsiteY196" fmla="*/ 8367 h 9836"/>
                    <a:gd name="connsiteX197" fmla="*/ 500 w 10000"/>
                    <a:gd name="connsiteY197" fmla="*/ 8564 h 9836"/>
                    <a:gd name="connsiteX198" fmla="*/ 722 w 10000"/>
                    <a:gd name="connsiteY198" fmla="*/ 8730 h 9836"/>
                    <a:gd name="connsiteX199" fmla="*/ 722 w 10000"/>
                    <a:gd name="connsiteY199" fmla="*/ 8730 h 9836"/>
                    <a:gd name="connsiteX200" fmla="*/ 889 w 10000"/>
                    <a:gd name="connsiteY200" fmla="*/ 8831 h 9836"/>
                    <a:gd name="connsiteX201" fmla="*/ 944 w 10000"/>
                    <a:gd name="connsiteY201" fmla="*/ 8912 h 9836"/>
                    <a:gd name="connsiteX202" fmla="*/ 1111 w 10000"/>
                    <a:gd name="connsiteY202" fmla="*/ 8996 h 9836"/>
                    <a:gd name="connsiteX203" fmla="*/ 1333 w 10000"/>
                    <a:gd name="connsiteY203" fmla="*/ 9126 h 9836"/>
                    <a:gd name="connsiteX204" fmla="*/ 1333 w 10000"/>
                    <a:gd name="connsiteY204" fmla="*/ 9126 h 9836"/>
                    <a:gd name="connsiteX205" fmla="*/ 1444 w 10000"/>
                    <a:gd name="connsiteY205" fmla="*/ 9193 h 9836"/>
                    <a:gd name="connsiteX206" fmla="*/ 1500 w 10000"/>
                    <a:gd name="connsiteY206" fmla="*/ 9241 h 9836"/>
                    <a:gd name="connsiteX207" fmla="*/ 1500 w 10000"/>
                    <a:gd name="connsiteY207" fmla="*/ 9290 h 9836"/>
                    <a:gd name="connsiteX208" fmla="*/ 1556 w 10000"/>
                    <a:gd name="connsiteY208" fmla="*/ 9308 h 9836"/>
                    <a:gd name="connsiteX209" fmla="*/ 1722 w 10000"/>
                    <a:gd name="connsiteY209" fmla="*/ 9323 h 9836"/>
                    <a:gd name="connsiteX210" fmla="*/ 1944 w 10000"/>
                    <a:gd name="connsiteY210" fmla="*/ 9340 h 9836"/>
                    <a:gd name="connsiteX211" fmla="*/ 2944 w 10000"/>
                    <a:gd name="connsiteY211" fmla="*/ 9356 h 9836"/>
                    <a:gd name="connsiteX212" fmla="*/ 2944 w 10000"/>
                    <a:gd name="connsiteY212" fmla="*/ 9356 h 9836"/>
                    <a:gd name="connsiteX213" fmla="*/ 4167 w 10000"/>
                    <a:gd name="connsiteY213" fmla="*/ 9390 h 9836"/>
                    <a:gd name="connsiteX214" fmla="*/ 4889 w 10000"/>
                    <a:gd name="connsiteY214" fmla="*/ 9440 h 9836"/>
                    <a:gd name="connsiteX215" fmla="*/ 5278 w 10000"/>
                    <a:gd name="connsiteY215" fmla="*/ 9491 h 9836"/>
                    <a:gd name="connsiteX216" fmla="*/ 5444 w 10000"/>
                    <a:gd name="connsiteY216" fmla="*/ 9505 h 9836"/>
                    <a:gd name="connsiteX217" fmla="*/ 5444 w 10000"/>
                    <a:gd name="connsiteY217" fmla="*/ 9505 h 9836"/>
                    <a:gd name="connsiteX218" fmla="*/ 5722 w 10000"/>
                    <a:gd name="connsiteY218" fmla="*/ 9540 h 9836"/>
                    <a:gd name="connsiteX219" fmla="*/ 5833 w 10000"/>
                    <a:gd name="connsiteY219" fmla="*/ 9557 h 9836"/>
                    <a:gd name="connsiteX220" fmla="*/ 5833 w 10000"/>
                    <a:gd name="connsiteY220" fmla="*/ 9557 h 9836"/>
                    <a:gd name="connsiteX221" fmla="*/ 5833 w 10000"/>
                    <a:gd name="connsiteY221" fmla="*/ 9540 h 9836"/>
                    <a:gd name="connsiteX222" fmla="*/ 5889 w 10000"/>
                    <a:gd name="connsiteY222" fmla="*/ 9522 h 9836"/>
                    <a:gd name="connsiteX223" fmla="*/ 6000 w 10000"/>
                    <a:gd name="connsiteY223" fmla="*/ 9505 h 9836"/>
                    <a:gd name="connsiteX224" fmla="*/ 6167 w 10000"/>
                    <a:gd name="connsiteY224" fmla="*/ 9491 h 9836"/>
                    <a:gd name="connsiteX225" fmla="*/ 6444 w 10000"/>
                    <a:gd name="connsiteY225" fmla="*/ 9491 h 9836"/>
                    <a:gd name="connsiteX226" fmla="*/ 6833 w 10000"/>
                    <a:gd name="connsiteY226" fmla="*/ 9505 h 9836"/>
                    <a:gd name="connsiteX227" fmla="*/ 7278 w 10000"/>
                    <a:gd name="connsiteY227" fmla="*/ 9557 h 9836"/>
                    <a:gd name="connsiteX228" fmla="*/ 7278 w 10000"/>
                    <a:gd name="connsiteY228" fmla="*/ 9557 h 9836"/>
                    <a:gd name="connsiteX229" fmla="*/ 8722 w 10000"/>
                    <a:gd name="connsiteY229" fmla="*/ 9703 h 9836"/>
                    <a:gd name="connsiteX230" fmla="*/ 10000 w 10000"/>
                    <a:gd name="connsiteY230" fmla="*/ 9836 h 9836"/>
                    <a:gd name="connsiteX0" fmla="*/ 10000 w 10000"/>
                    <a:gd name="connsiteY0" fmla="*/ 8859 h 10000"/>
                    <a:gd name="connsiteX1" fmla="*/ 10000 w 10000"/>
                    <a:gd name="connsiteY1" fmla="*/ 8859 h 10000"/>
                    <a:gd name="connsiteX2" fmla="*/ 9222 w 10000"/>
                    <a:gd name="connsiteY2" fmla="*/ 8876 h 10000"/>
                    <a:gd name="connsiteX3" fmla="*/ 8944 w 10000"/>
                    <a:gd name="connsiteY3" fmla="*/ 8876 h 10000"/>
                    <a:gd name="connsiteX4" fmla="*/ 8833 w 10000"/>
                    <a:gd name="connsiteY4" fmla="*/ 8859 h 10000"/>
                    <a:gd name="connsiteX5" fmla="*/ 8778 w 10000"/>
                    <a:gd name="connsiteY5" fmla="*/ 8843 h 10000"/>
                    <a:gd name="connsiteX6" fmla="*/ 8778 w 10000"/>
                    <a:gd name="connsiteY6" fmla="*/ 8843 h 10000"/>
                    <a:gd name="connsiteX7" fmla="*/ 8444 w 10000"/>
                    <a:gd name="connsiteY7" fmla="*/ 8641 h 10000"/>
                    <a:gd name="connsiteX8" fmla="*/ 8167 w 10000"/>
                    <a:gd name="connsiteY8" fmla="*/ 8456 h 10000"/>
                    <a:gd name="connsiteX9" fmla="*/ 8167 w 10000"/>
                    <a:gd name="connsiteY9" fmla="*/ 8456 h 10000"/>
                    <a:gd name="connsiteX10" fmla="*/ 8056 w 10000"/>
                    <a:gd name="connsiteY10" fmla="*/ 8424 h 10000"/>
                    <a:gd name="connsiteX11" fmla="*/ 7889 w 10000"/>
                    <a:gd name="connsiteY11" fmla="*/ 8390 h 10000"/>
                    <a:gd name="connsiteX12" fmla="*/ 7444 w 10000"/>
                    <a:gd name="connsiteY12" fmla="*/ 8371 h 10000"/>
                    <a:gd name="connsiteX13" fmla="*/ 6889 w 10000"/>
                    <a:gd name="connsiteY13" fmla="*/ 8357 h 10000"/>
                    <a:gd name="connsiteX14" fmla="*/ 6389 w 10000"/>
                    <a:gd name="connsiteY14" fmla="*/ 8357 h 10000"/>
                    <a:gd name="connsiteX15" fmla="*/ 6389 w 10000"/>
                    <a:gd name="connsiteY15" fmla="*/ 8357 h 10000"/>
                    <a:gd name="connsiteX16" fmla="*/ 6167 w 10000"/>
                    <a:gd name="connsiteY16" fmla="*/ 8338 h 10000"/>
                    <a:gd name="connsiteX17" fmla="*/ 6056 w 10000"/>
                    <a:gd name="connsiteY17" fmla="*/ 8307 h 10000"/>
                    <a:gd name="connsiteX18" fmla="*/ 6000 w 10000"/>
                    <a:gd name="connsiteY18" fmla="*/ 8272 h 10000"/>
                    <a:gd name="connsiteX19" fmla="*/ 6000 w 10000"/>
                    <a:gd name="connsiteY19" fmla="*/ 8206 h 10000"/>
                    <a:gd name="connsiteX20" fmla="*/ 6056 w 10000"/>
                    <a:gd name="connsiteY20" fmla="*/ 8071 h 10000"/>
                    <a:gd name="connsiteX21" fmla="*/ 6111 w 10000"/>
                    <a:gd name="connsiteY21" fmla="*/ 8003 h 10000"/>
                    <a:gd name="connsiteX22" fmla="*/ 6056 w 10000"/>
                    <a:gd name="connsiteY22" fmla="*/ 7918 h 10000"/>
                    <a:gd name="connsiteX23" fmla="*/ 6056 w 10000"/>
                    <a:gd name="connsiteY23" fmla="*/ 7918 h 10000"/>
                    <a:gd name="connsiteX24" fmla="*/ 6000 w 10000"/>
                    <a:gd name="connsiteY24" fmla="*/ 7870 h 10000"/>
                    <a:gd name="connsiteX25" fmla="*/ 5944 w 10000"/>
                    <a:gd name="connsiteY25" fmla="*/ 7836 h 10000"/>
                    <a:gd name="connsiteX26" fmla="*/ 5833 w 10000"/>
                    <a:gd name="connsiteY26" fmla="*/ 7836 h 10000"/>
                    <a:gd name="connsiteX27" fmla="*/ 5667 w 10000"/>
                    <a:gd name="connsiteY27" fmla="*/ 7851 h 10000"/>
                    <a:gd name="connsiteX28" fmla="*/ 5333 w 10000"/>
                    <a:gd name="connsiteY28" fmla="*/ 7902 h 10000"/>
                    <a:gd name="connsiteX29" fmla="*/ 4889 w 10000"/>
                    <a:gd name="connsiteY29" fmla="*/ 7987 h 10000"/>
                    <a:gd name="connsiteX30" fmla="*/ 4889 w 10000"/>
                    <a:gd name="connsiteY30" fmla="*/ 7987 h 10000"/>
                    <a:gd name="connsiteX31" fmla="*/ 4611 w 10000"/>
                    <a:gd name="connsiteY31" fmla="*/ 8003 h 10000"/>
                    <a:gd name="connsiteX32" fmla="*/ 4500 w 10000"/>
                    <a:gd name="connsiteY32" fmla="*/ 8003 h 10000"/>
                    <a:gd name="connsiteX33" fmla="*/ 4444 w 10000"/>
                    <a:gd name="connsiteY33" fmla="*/ 7987 h 10000"/>
                    <a:gd name="connsiteX34" fmla="*/ 4389 w 10000"/>
                    <a:gd name="connsiteY34" fmla="*/ 7918 h 10000"/>
                    <a:gd name="connsiteX35" fmla="*/ 4222 w 10000"/>
                    <a:gd name="connsiteY35" fmla="*/ 7836 h 10000"/>
                    <a:gd name="connsiteX36" fmla="*/ 4222 w 10000"/>
                    <a:gd name="connsiteY36" fmla="*/ 7836 h 10000"/>
                    <a:gd name="connsiteX37" fmla="*/ 4111 w 10000"/>
                    <a:gd name="connsiteY37" fmla="*/ 7785 h 10000"/>
                    <a:gd name="connsiteX38" fmla="*/ 4111 w 10000"/>
                    <a:gd name="connsiteY38" fmla="*/ 7735 h 10000"/>
                    <a:gd name="connsiteX39" fmla="*/ 4111 w 10000"/>
                    <a:gd name="connsiteY39" fmla="*/ 7700 h 10000"/>
                    <a:gd name="connsiteX40" fmla="*/ 4167 w 10000"/>
                    <a:gd name="connsiteY40" fmla="*/ 7668 h 10000"/>
                    <a:gd name="connsiteX41" fmla="*/ 4278 w 10000"/>
                    <a:gd name="connsiteY41" fmla="*/ 7601 h 10000"/>
                    <a:gd name="connsiteX42" fmla="*/ 4389 w 10000"/>
                    <a:gd name="connsiteY42" fmla="*/ 7584 h 10000"/>
                    <a:gd name="connsiteX43" fmla="*/ 4389 w 10000"/>
                    <a:gd name="connsiteY43" fmla="*/ 7584 h 10000"/>
                    <a:gd name="connsiteX44" fmla="*/ 4389 w 10000"/>
                    <a:gd name="connsiteY44" fmla="*/ 7567 h 10000"/>
                    <a:gd name="connsiteX45" fmla="*/ 4444 w 10000"/>
                    <a:gd name="connsiteY45" fmla="*/ 7551 h 10000"/>
                    <a:gd name="connsiteX46" fmla="*/ 4667 w 10000"/>
                    <a:gd name="connsiteY46" fmla="*/ 7534 h 10000"/>
                    <a:gd name="connsiteX47" fmla="*/ 5333 w 10000"/>
                    <a:gd name="connsiteY47" fmla="*/ 7500 h 10000"/>
                    <a:gd name="connsiteX48" fmla="*/ 6500 w 10000"/>
                    <a:gd name="connsiteY48" fmla="*/ 7450 h 10000"/>
                    <a:gd name="connsiteX49" fmla="*/ 6500 w 10000"/>
                    <a:gd name="connsiteY49" fmla="*/ 7450 h 10000"/>
                    <a:gd name="connsiteX50" fmla="*/ 7167 w 10000"/>
                    <a:gd name="connsiteY50" fmla="*/ 7400 h 10000"/>
                    <a:gd name="connsiteX51" fmla="*/ 8389 w 10000"/>
                    <a:gd name="connsiteY51" fmla="*/ 7300 h 10000"/>
                    <a:gd name="connsiteX52" fmla="*/ 8389 w 10000"/>
                    <a:gd name="connsiteY52" fmla="*/ 7300 h 10000"/>
                    <a:gd name="connsiteX53" fmla="*/ 8667 w 10000"/>
                    <a:gd name="connsiteY53" fmla="*/ 7264 h 10000"/>
                    <a:gd name="connsiteX54" fmla="*/ 8778 w 10000"/>
                    <a:gd name="connsiteY54" fmla="*/ 7213 h 10000"/>
                    <a:gd name="connsiteX55" fmla="*/ 8889 w 10000"/>
                    <a:gd name="connsiteY55" fmla="*/ 7181 h 10000"/>
                    <a:gd name="connsiteX56" fmla="*/ 8833 w 10000"/>
                    <a:gd name="connsiteY56" fmla="*/ 7147 h 10000"/>
                    <a:gd name="connsiteX57" fmla="*/ 8833 w 10000"/>
                    <a:gd name="connsiteY57" fmla="*/ 7114 h 10000"/>
                    <a:gd name="connsiteX58" fmla="*/ 8722 w 10000"/>
                    <a:gd name="connsiteY58" fmla="*/ 7080 h 10000"/>
                    <a:gd name="connsiteX59" fmla="*/ 8556 w 10000"/>
                    <a:gd name="connsiteY59" fmla="*/ 7029 h 10000"/>
                    <a:gd name="connsiteX60" fmla="*/ 8556 w 10000"/>
                    <a:gd name="connsiteY60" fmla="*/ 7029 h 10000"/>
                    <a:gd name="connsiteX61" fmla="*/ 6556 w 10000"/>
                    <a:gd name="connsiteY61" fmla="*/ 6730 h 10000"/>
                    <a:gd name="connsiteX62" fmla="*/ 6556 w 10000"/>
                    <a:gd name="connsiteY62" fmla="*/ 6730 h 10000"/>
                    <a:gd name="connsiteX63" fmla="*/ 6333 w 10000"/>
                    <a:gd name="connsiteY63" fmla="*/ 6680 h 10000"/>
                    <a:gd name="connsiteX64" fmla="*/ 6167 w 10000"/>
                    <a:gd name="connsiteY64" fmla="*/ 6628 h 10000"/>
                    <a:gd name="connsiteX65" fmla="*/ 6056 w 10000"/>
                    <a:gd name="connsiteY65" fmla="*/ 6577 h 10000"/>
                    <a:gd name="connsiteX66" fmla="*/ 6056 w 10000"/>
                    <a:gd name="connsiteY66" fmla="*/ 6577 h 10000"/>
                    <a:gd name="connsiteX67" fmla="*/ 8056 w 10000"/>
                    <a:gd name="connsiteY67" fmla="*/ 6561 h 10000"/>
                    <a:gd name="connsiteX68" fmla="*/ 10000 w 10000"/>
                    <a:gd name="connsiteY68" fmla="*/ 6730 h 10000"/>
                    <a:gd name="connsiteX69" fmla="*/ 10000 w 10000"/>
                    <a:gd name="connsiteY69" fmla="*/ 5201 h 10000"/>
                    <a:gd name="connsiteX70" fmla="*/ 10000 w 10000"/>
                    <a:gd name="connsiteY70" fmla="*/ 5201 h 10000"/>
                    <a:gd name="connsiteX71" fmla="*/ 7778 w 10000"/>
                    <a:gd name="connsiteY71" fmla="*/ 4850 h 10000"/>
                    <a:gd name="connsiteX72" fmla="*/ 6556 w 10000"/>
                    <a:gd name="connsiteY72" fmla="*/ 4647 h 10000"/>
                    <a:gd name="connsiteX73" fmla="*/ 6556 w 10000"/>
                    <a:gd name="connsiteY73" fmla="*/ 4647 h 10000"/>
                    <a:gd name="connsiteX74" fmla="*/ 6556 w 10000"/>
                    <a:gd name="connsiteY74" fmla="*/ 4630 h 10000"/>
                    <a:gd name="connsiteX75" fmla="*/ 6556 w 10000"/>
                    <a:gd name="connsiteY75" fmla="*/ 4529 h 10000"/>
                    <a:gd name="connsiteX76" fmla="*/ 6556 w 10000"/>
                    <a:gd name="connsiteY76" fmla="*/ 4529 h 10000"/>
                    <a:gd name="connsiteX77" fmla="*/ 6389 w 10000"/>
                    <a:gd name="connsiteY77" fmla="*/ 4414 h 10000"/>
                    <a:gd name="connsiteX78" fmla="*/ 6056 w 10000"/>
                    <a:gd name="connsiteY78" fmla="*/ 4229 h 10000"/>
                    <a:gd name="connsiteX79" fmla="*/ 5333 w 10000"/>
                    <a:gd name="connsiteY79" fmla="*/ 3874 h 10000"/>
                    <a:gd name="connsiteX80" fmla="*/ 5333 w 10000"/>
                    <a:gd name="connsiteY80" fmla="*/ 3874 h 10000"/>
                    <a:gd name="connsiteX81" fmla="*/ 5167 w 10000"/>
                    <a:gd name="connsiteY81" fmla="*/ 3825 h 10000"/>
                    <a:gd name="connsiteX82" fmla="*/ 4889 w 10000"/>
                    <a:gd name="connsiteY82" fmla="*/ 3757 h 10000"/>
                    <a:gd name="connsiteX83" fmla="*/ 4056 w 10000"/>
                    <a:gd name="connsiteY83" fmla="*/ 3608 h 10000"/>
                    <a:gd name="connsiteX84" fmla="*/ 2889 w 10000"/>
                    <a:gd name="connsiteY84" fmla="*/ 3424 h 10000"/>
                    <a:gd name="connsiteX85" fmla="*/ 2889 w 10000"/>
                    <a:gd name="connsiteY85" fmla="*/ 3424 h 10000"/>
                    <a:gd name="connsiteX86" fmla="*/ 2389 w 10000"/>
                    <a:gd name="connsiteY86" fmla="*/ 3405 h 10000"/>
                    <a:gd name="connsiteX87" fmla="*/ 2000 w 10000"/>
                    <a:gd name="connsiteY87" fmla="*/ 3388 h 10000"/>
                    <a:gd name="connsiteX88" fmla="*/ 1889 w 10000"/>
                    <a:gd name="connsiteY88" fmla="*/ 3372 h 10000"/>
                    <a:gd name="connsiteX89" fmla="*/ 1778 w 10000"/>
                    <a:gd name="connsiteY89" fmla="*/ 3355 h 10000"/>
                    <a:gd name="connsiteX90" fmla="*/ 1778 w 10000"/>
                    <a:gd name="connsiteY90" fmla="*/ 3355 h 10000"/>
                    <a:gd name="connsiteX91" fmla="*/ 1667 w 10000"/>
                    <a:gd name="connsiteY91" fmla="*/ 3288 h 10000"/>
                    <a:gd name="connsiteX92" fmla="*/ 1500 w 10000"/>
                    <a:gd name="connsiteY92" fmla="*/ 3171 h 10000"/>
                    <a:gd name="connsiteX93" fmla="*/ 1444 w 10000"/>
                    <a:gd name="connsiteY93" fmla="*/ 3104 h 10000"/>
                    <a:gd name="connsiteX94" fmla="*/ 1444 w 10000"/>
                    <a:gd name="connsiteY94" fmla="*/ 3037 h 10000"/>
                    <a:gd name="connsiteX95" fmla="*/ 1444 w 10000"/>
                    <a:gd name="connsiteY95" fmla="*/ 2986 h 10000"/>
                    <a:gd name="connsiteX96" fmla="*/ 1556 w 10000"/>
                    <a:gd name="connsiteY96" fmla="*/ 2936 h 10000"/>
                    <a:gd name="connsiteX97" fmla="*/ 1556 w 10000"/>
                    <a:gd name="connsiteY97" fmla="*/ 2936 h 10000"/>
                    <a:gd name="connsiteX98" fmla="*/ 1833 w 10000"/>
                    <a:gd name="connsiteY98" fmla="*/ 2852 h 10000"/>
                    <a:gd name="connsiteX99" fmla="*/ 2111 w 10000"/>
                    <a:gd name="connsiteY99" fmla="*/ 2766 h 10000"/>
                    <a:gd name="connsiteX100" fmla="*/ 2278 w 10000"/>
                    <a:gd name="connsiteY100" fmla="*/ 2718 h 10000"/>
                    <a:gd name="connsiteX101" fmla="*/ 2389 w 10000"/>
                    <a:gd name="connsiteY101" fmla="*/ 2668 h 10000"/>
                    <a:gd name="connsiteX102" fmla="*/ 2389 w 10000"/>
                    <a:gd name="connsiteY102" fmla="*/ 2601 h 10000"/>
                    <a:gd name="connsiteX103" fmla="*/ 2389 w 10000"/>
                    <a:gd name="connsiteY103" fmla="*/ 2518 h 10000"/>
                    <a:gd name="connsiteX104" fmla="*/ 2389 w 10000"/>
                    <a:gd name="connsiteY104" fmla="*/ 2518 h 10000"/>
                    <a:gd name="connsiteX105" fmla="*/ 2167 w 10000"/>
                    <a:gd name="connsiteY105" fmla="*/ 2281 h 10000"/>
                    <a:gd name="connsiteX106" fmla="*/ 1889 w 10000"/>
                    <a:gd name="connsiteY106" fmla="*/ 1962 h 10000"/>
                    <a:gd name="connsiteX107" fmla="*/ 1667 w 10000"/>
                    <a:gd name="connsiteY107" fmla="*/ 1679 h 10000"/>
                    <a:gd name="connsiteX108" fmla="*/ 1611 w 10000"/>
                    <a:gd name="connsiteY108" fmla="*/ 1595 h 10000"/>
                    <a:gd name="connsiteX109" fmla="*/ 1611 w 10000"/>
                    <a:gd name="connsiteY109" fmla="*/ 1562 h 10000"/>
                    <a:gd name="connsiteX110" fmla="*/ 1667 w 10000"/>
                    <a:gd name="connsiteY110" fmla="*/ 1543 h 10000"/>
                    <a:gd name="connsiteX111" fmla="*/ 1667 w 10000"/>
                    <a:gd name="connsiteY111" fmla="*/ 1543 h 10000"/>
                    <a:gd name="connsiteX112" fmla="*/ 2000 w 10000"/>
                    <a:gd name="connsiteY112" fmla="*/ 1528 h 10000"/>
                    <a:gd name="connsiteX113" fmla="*/ 2222 w 10000"/>
                    <a:gd name="connsiteY113" fmla="*/ 1528 h 10000"/>
                    <a:gd name="connsiteX114" fmla="*/ 2389 w 10000"/>
                    <a:gd name="connsiteY114" fmla="*/ 1543 h 10000"/>
                    <a:gd name="connsiteX115" fmla="*/ 2389 w 10000"/>
                    <a:gd name="connsiteY115" fmla="*/ 1543 h 10000"/>
                    <a:gd name="connsiteX116" fmla="*/ 2444 w 10000"/>
                    <a:gd name="connsiteY116" fmla="*/ 1543 h 10000"/>
                    <a:gd name="connsiteX117" fmla="*/ 2500 w 10000"/>
                    <a:gd name="connsiteY117" fmla="*/ 1511 h 10000"/>
                    <a:gd name="connsiteX118" fmla="*/ 2778 w 10000"/>
                    <a:gd name="connsiteY118" fmla="*/ 1409 h 10000"/>
                    <a:gd name="connsiteX119" fmla="*/ 3500 w 10000"/>
                    <a:gd name="connsiteY119" fmla="*/ 1073 h 10000"/>
                    <a:gd name="connsiteX120" fmla="*/ 4444 w 10000"/>
                    <a:gd name="connsiteY120" fmla="*/ 587 h 10000"/>
                    <a:gd name="connsiteX121" fmla="*/ 4444 w 10000"/>
                    <a:gd name="connsiteY121" fmla="*/ 587 h 10000"/>
                    <a:gd name="connsiteX122" fmla="*/ 4444 w 10000"/>
                    <a:gd name="connsiteY122" fmla="*/ 517 h 10000"/>
                    <a:gd name="connsiteX123" fmla="*/ 4444 w 10000"/>
                    <a:gd name="connsiteY123" fmla="*/ 368 h 10000"/>
                    <a:gd name="connsiteX124" fmla="*/ 4500 w 10000"/>
                    <a:gd name="connsiteY124" fmla="*/ 268 h 10000"/>
                    <a:gd name="connsiteX125" fmla="*/ 4611 w 10000"/>
                    <a:gd name="connsiteY125" fmla="*/ 185 h 10000"/>
                    <a:gd name="connsiteX126" fmla="*/ 4778 w 10000"/>
                    <a:gd name="connsiteY126" fmla="*/ 83 h 10000"/>
                    <a:gd name="connsiteX127" fmla="*/ 5000 w 10000"/>
                    <a:gd name="connsiteY127" fmla="*/ 0 h 10000"/>
                    <a:gd name="connsiteX128" fmla="*/ 10000 w 10000"/>
                    <a:gd name="connsiteY128" fmla="*/ 8876 h 10000"/>
                    <a:gd name="connsiteX129" fmla="*/ 10000 w 10000"/>
                    <a:gd name="connsiteY129" fmla="*/ 8876 h 10000"/>
                    <a:gd name="connsiteX130" fmla="*/ 9722 w 10000"/>
                    <a:gd name="connsiteY130" fmla="*/ 8859 h 10000"/>
                    <a:gd name="connsiteX131" fmla="*/ 9389 w 10000"/>
                    <a:gd name="connsiteY131" fmla="*/ 8876 h 10000"/>
                    <a:gd name="connsiteX132" fmla="*/ 9389 w 10000"/>
                    <a:gd name="connsiteY132" fmla="*/ 8876 h 10000"/>
                    <a:gd name="connsiteX133" fmla="*/ 9278 w 10000"/>
                    <a:gd name="connsiteY133" fmla="*/ 8894 h 10000"/>
                    <a:gd name="connsiteX134" fmla="*/ 9056 w 10000"/>
                    <a:gd name="connsiteY134" fmla="*/ 8876 h 10000"/>
                    <a:gd name="connsiteX135" fmla="*/ 8889 w 10000"/>
                    <a:gd name="connsiteY135" fmla="*/ 8859 h 10000"/>
                    <a:gd name="connsiteX136" fmla="*/ 8722 w 10000"/>
                    <a:gd name="connsiteY136" fmla="*/ 8826 h 10000"/>
                    <a:gd name="connsiteX137" fmla="*/ 8611 w 10000"/>
                    <a:gd name="connsiteY137" fmla="*/ 8775 h 10000"/>
                    <a:gd name="connsiteX138" fmla="*/ 8444 w 10000"/>
                    <a:gd name="connsiteY138" fmla="*/ 8690 h 10000"/>
                    <a:gd name="connsiteX139" fmla="*/ 8444 w 10000"/>
                    <a:gd name="connsiteY139" fmla="*/ 8690 h 10000"/>
                    <a:gd name="connsiteX140" fmla="*/ 8222 w 10000"/>
                    <a:gd name="connsiteY140" fmla="*/ 8540 h 10000"/>
                    <a:gd name="connsiteX141" fmla="*/ 8111 w 10000"/>
                    <a:gd name="connsiteY141" fmla="*/ 8474 h 10000"/>
                    <a:gd name="connsiteX142" fmla="*/ 7944 w 10000"/>
                    <a:gd name="connsiteY142" fmla="*/ 8424 h 10000"/>
                    <a:gd name="connsiteX143" fmla="*/ 7778 w 10000"/>
                    <a:gd name="connsiteY143" fmla="*/ 8390 h 10000"/>
                    <a:gd name="connsiteX144" fmla="*/ 7556 w 10000"/>
                    <a:gd name="connsiteY144" fmla="*/ 8371 h 10000"/>
                    <a:gd name="connsiteX145" fmla="*/ 7333 w 10000"/>
                    <a:gd name="connsiteY145" fmla="*/ 8357 h 10000"/>
                    <a:gd name="connsiteX146" fmla="*/ 7000 w 10000"/>
                    <a:gd name="connsiteY146" fmla="*/ 8338 h 10000"/>
                    <a:gd name="connsiteX147" fmla="*/ 7000 w 10000"/>
                    <a:gd name="connsiteY147" fmla="*/ 8338 h 10000"/>
                    <a:gd name="connsiteX148" fmla="*/ 6556 w 10000"/>
                    <a:gd name="connsiteY148" fmla="*/ 8357 h 10000"/>
                    <a:gd name="connsiteX149" fmla="*/ 6222 w 10000"/>
                    <a:gd name="connsiteY149" fmla="*/ 8357 h 10000"/>
                    <a:gd name="connsiteX150" fmla="*/ 6111 w 10000"/>
                    <a:gd name="connsiteY150" fmla="*/ 8338 h 10000"/>
                    <a:gd name="connsiteX151" fmla="*/ 6056 w 10000"/>
                    <a:gd name="connsiteY151" fmla="*/ 8321 h 10000"/>
                    <a:gd name="connsiteX152" fmla="*/ 6056 w 10000"/>
                    <a:gd name="connsiteY152" fmla="*/ 8321 h 10000"/>
                    <a:gd name="connsiteX153" fmla="*/ 6056 w 10000"/>
                    <a:gd name="connsiteY153" fmla="*/ 8021 h 10000"/>
                    <a:gd name="connsiteX154" fmla="*/ 6056 w 10000"/>
                    <a:gd name="connsiteY154" fmla="*/ 8021 h 10000"/>
                    <a:gd name="connsiteX155" fmla="*/ 6056 w 10000"/>
                    <a:gd name="connsiteY155" fmla="*/ 7951 h 10000"/>
                    <a:gd name="connsiteX156" fmla="*/ 5944 w 10000"/>
                    <a:gd name="connsiteY156" fmla="*/ 7870 h 10000"/>
                    <a:gd name="connsiteX157" fmla="*/ 5889 w 10000"/>
                    <a:gd name="connsiteY157" fmla="*/ 7851 h 10000"/>
                    <a:gd name="connsiteX158" fmla="*/ 5778 w 10000"/>
                    <a:gd name="connsiteY158" fmla="*/ 7836 h 10000"/>
                    <a:gd name="connsiteX159" fmla="*/ 5667 w 10000"/>
                    <a:gd name="connsiteY159" fmla="*/ 7836 h 10000"/>
                    <a:gd name="connsiteX160" fmla="*/ 5500 w 10000"/>
                    <a:gd name="connsiteY160" fmla="*/ 7851 h 10000"/>
                    <a:gd name="connsiteX161" fmla="*/ 5500 w 10000"/>
                    <a:gd name="connsiteY161" fmla="*/ 7851 h 10000"/>
                    <a:gd name="connsiteX162" fmla="*/ 4889 w 10000"/>
                    <a:gd name="connsiteY162" fmla="*/ 7969 h 10000"/>
                    <a:gd name="connsiteX163" fmla="*/ 4611 w 10000"/>
                    <a:gd name="connsiteY163" fmla="*/ 8003 h 10000"/>
                    <a:gd name="connsiteX164" fmla="*/ 4556 w 10000"/>
                    <a:gd name="connsiteY164" fmla="*/ 8021 h 10000"/>
                    <a:gd name="connsiteX165" fmla="*/ 4500 w 10000"/>
                    <a:gd name="connsiteY165" fmla="*/ 8003 h 10000"/>
                    <a:gd name="connsiteX166" fmla="*/ 4500 w 10000"/>
                    <a:gd name="connsiteY166" fmla="*/ 8003 h 10000"/>
                    <a:gd name="connsiteX167" fmla="*/ 4222 w 10000"/>
                    <a:gd name="connsiteY167" fmla="*/ 7836 h 10000"/>
                    <a:gd name="connsiteX168" fmla="*/ 4222 w 10000"/>
                    <a:gd name="connsiteY168" fmla="*/ 7836 h 10000"/>
                    <a:gd name="connsiteX169" fmla="*/ 4111 w 10000"/>
                    <a:gd name="connsiteY169" fmla="*/ 7752 h 10000"/>
                    <a:gd name="connsiteX170" fmla="*/ 4111 w 10000"/>
                    <a:gd name="connsiteY170" fmla="*/ 7700 h 10000"/>
                    <a:gd name="connsiteX171" fmla="*/ 4111 w 10000"/>
                    <a:gd name="connsiteY171" fmla="*/ 7651 h 10000"/>
                    <a:gd name="connsiteX172" fmla="*/ 4111 w 10000"/>
                    <a:gd name="connsiteY172" fmla="*/ 7651 h 10000"/>
                    <a:gd name="connsiteX173" fmla="*/ 4278 w 10000"/>
                    <a:gd name="connsiteY173" fmla="*/ 7601 h 10000"/>
                    <a:gd name="connsiteX174" fmla="*/ 4389 w 10000"/>
                    <a:gd name="connsiteY174" fmla="*/ 7584 h 10000"/>
                    <a:gd name="connsiteX175" fmla="*/ 4389 w 10000"/>
                    <a:gd name="connsiteY175" fmla="*/ 7584 h 10000"/>
                    <a:gd name="connsiteX176" fmla="*/ 4000 w 10000"/>
                    <a:gd name="connsiteY176" fmla="*/ 7584 h 10000"/>
                    <a:gd name="connsiteX177" fmla="*/ 3722 w 10000"/>
                    <a:gd name="connsiteY177" fmla="*/ 7601 h 10000"/>
                    <a:gd name="connsiteX178" fmla="*/ 3611 w 10000"/>
                    <a:gd name="connsiteY178" fmla="*/ 7617 h 10000"/>
                    <a:gd name="connsiteX179" fmla="*/ 3556 w 10000"/>
                    <a:gd name="connsiteY179" fmla="*/ 7635 h 10000"/>
                    <a:gd name="connsiteX180" fmla="*/ 3556 w 10000"/>
                    <a:gd name="connsiteY180" fmla="*/ 7635 h 10000"/>
                    <a:gd name="connsiteX181" fmla="*/ 3444 w 10000"/>
                    <a:gd name="connsiteY181" fmla="*/ 7700 h 10000"/>
                    <a:gd name="connsiteX182" fmla="*/ 3278 w 10000"/>
                    <a:gd name="connsiteY182" fmla="*/ 7802 h 10000"/>
                    <a:gd name="connsiteX183" fmla="*/ 3000 w 10000"/>
                    <a:gd name="connsiteY183" fmla="*/ 7918 h 10000"/>
                    <a:gd name="connsiteX184" fmla="*/ 2667 w 10000"/>
                    <a:gd name="connsiteY184" fmla="*/ 8003 h 10000"/>
                    <a:gd name="connsiteX185" fmla="*/ 2667 w 10000"/>
                    <a:gd name="connsiteY185" fmla="*/ 8003 h 10000"/>
                    <a:gd name="connsiteX186" fmla="*/ 2333 w 10000"/>
                    <a:gd name="connsiteY186" fmla="*/ 8071 h 10000"/>
                    <a:gd name="connsiteX187" fmla="*/ 1833 w 10000"/>
                    <a:gd name="connsiteY187" fmla="*/ 8138 h 10000"/>
                    <a:gd name="connsiteX188" fmla="*/ 1389 w 10000"/>
                    <a:gd name="connsiteY188" fmla="*/ 8172 h 10000"/>
                    <a:gd name="connsiteX189" fmla="*/ 889 w 10000"/>
                    <a:gd name="connsiteY189" fmla="*/ 8188 h 10000"/>
                    <a:gd name="connsiteX190" fmla="*/ 889 w 10000"/>
                    <a:gd name="connsiteY190" fmla="*/ 8188 h 10000"/>
                    <a:gd name="connsiteX191" fmla="*/ 500 w 10000"/>
                    <a:gd name="connsiteY191" fmla="*/ 8206 h 10000"/>
                    <a:gd name="connsiteX192" fmla="*/ 222 w 10000"/>
                    <a:gd name="connsiteY192" fmla="*/ 8223 h 10000"/>
                    <a:gd name="connsiteX193" fmla="*/ 0 w 10000"/>
                    <a:gd name="connsiteY193" fmla="*/ 8240 h 10000"/>
                    <a:gd name="connsiteX194" fmla="*/ 0 w 10000"/>
                    <a:gd name="connsiteY194" fmla="*/ 8240 h 10000"/>
                    <a:gd name="connsiteX195" fmla="*/ 278 w 10000"/>
                    <a:gd name="connsiteY195" fmla="*/ 8507 h 10000"/>
                    <a:gd name="connsiteX196" fmla="*/ 500 w 10000"/>
                    <a:gd name="connsiteY196" fmla="*/ 8707 h 10000"/>
                    <a:gd name="connsiteX197" fmla="*/ 722 w 10000"/>
                    <a:gd name="connsiteY197" fmla="*/ 8876 h 10000"/>
                    <a:gd name="connsiteX198" fmla="*/ 722 w 10000"/>
                    <a:gd name="connsiteY198" fmla="*/ 8876 h 10000"/>
                    <a:gd name="connsiteX199" fmla="*/ 889 w 10000"/>
                    <a:gd name="connsiteY199" fmla="*/ 8978 h 10000"/>
                    <a:gd name="connsiteX200" fmla="*/ 944 w 10000"/>
                    <a:gd name="connsiteY200" fmla="*/ 9061 h 10000"/>
                    <a:gd name="connsiteX201" fmla="*/ 1111 w 10000"/>
                    <a:gd name="connsiteY201" fmla="*/ 9146 h 10000"/>
                    <a:gd name="connsiteX202" fmla="*/ 1333 w 10000"/>
                    <a:gd name="connsiteY202" fmla="*/ 9278 h 10000"/>
                    <a:gd name="connsiteX203" fmla="*/ 1333 w 10000"/>
                    <a:gd name="connsiteY203" fmla="*/ 9278 h 10000"/>
                    <a:gd name="connsiteX204" fmla="*/ 1444 w 10000"/>
                    <a:gd name="connsiteY204" fmla="*/ 9346 h 10000"/>
                    <a:gd name="connsiteX205" fmla="*/ 1500 w 10000"/>
                    <a:gd name="connsiteY205" fmla="*/ 9395 h 10000"/>
                    <a:gd name="connsiteX206" fmla="*/ 1500 w 10000"/>
                    <a:gd name="connsiteY206" fmla="*/ 9445 h 10000"/>
                    <a:gd name="connsiteX207" fmla="*/ 1556 w 10000"/>
                    <a:gd name="connsiteY207" fmla="*/ 9463 h 10000"/>
                    <a:gd name="connsiteX208" fmla="*/ 1722 w 10000"/>
                    <a:gd name="connsiteY208" fmla="*/ 9478 h 10000"/>
                    <a:gd name="connsiteX209" fmla="*/ 1944 w 10000"/>
                    <a:gd name="connsiteY209" fmla="*/ 9496 h 10000"/>
                    <a:gd name="connsiteX210" fmla="*/ 2944 w 10000"/>
                    <a:gd name="connsiteY210" fmla="*/ 9512 h 10000"/>
                    <a:gd name="connsiteX211" fmla="*/ 2944 w 10000"/>
                    <a:gd name="connsiteY211" fmla="*/ 9512 h 10000"/>
                    <a:gd name="connsiteX212" fmla="*/ 4167 w 10000"/>
                    <a:gd name="connsiteY212" fmla="*/ 9547 h 10000"/>
                    <a:gd name="connsiteX213" fmla="*/ 4889 w 10000"/>
                    <a:gd name="connsiteY213" fmla="*/ 9597 h 10000"/>
                    <a:gd name="connsiteX214" fmla="*/ 5278 w 10000"/>
                    <a:gd name="connsiteY214" fmla="*/ 9649 h 10000"/>
                    <a:gd name="connsiteX215" fmla="*/ 5444 w 10000"/>
                    <a:gd name="connsiteY215" fmla="*/ 9663 h 10000"/>
                    <a:gd name="connsiteX216" fmla="*/ 5444 w 10000"/>
                    <a:gd name="connsiteY216" fmla="*/ 9663 h 10000"/>
                    <a:gd name="connsiteX217" fmla="*/ 5722 w 10000"/>
                    <a:gd name="connsiteY217" fmla="*/ 9699 h 10000"/>
                    <a:gd name="connsiteX218" fmla="*/ 5833 w 10000"/>
                    <a:gd name="connsiteY218" fmla="*/ 9716 h 10000"/>
                    <a:gd name="connsiteX219" fmla="*/ 5833 w 10000"/>
                    <a:gd name="connsiteY219" fmla="*/ 9716 h 10000"/>
                    <a:gd name="connsiteX220" fmla="*/ 5833 w 10000"/>
                    <a:gd name="connsiteY220" fmla="*/ 9699 h 10000"/>
                    <a:gd name="connsiteX221" fmla="*/ 5889 w 10000"/>
                    <a:gd name="connsiteY221" fmla="*/ 9681 h 10000"/>
                    <a:gd name="connsiteX222" fmla="*/ 6000 w 10000"/>
                    <a:gd name="connsiteY222" fmla="*/ 9663 h 10000"/>
                    <a:gd name="connsiteX223" fmla="*/ 6167 w 10000"/>
                    <a:gd name="connsiteY223" fmla="*/ 9649 h 10000"/>
                    <a:gd name="connsiteX224" fmla="*/ 6444 w 10000"/>
                    <a:gd name="connsiteY224" fmla="*/ 9649 h 10000"/>
                    <a:gd name="connsiteX225" fmla="*/ 6833 w 10000"/>
                    <a:gd name="connsiteY225" fmla="*/ 9663 h 10000"/>
                    <a:gd name="connsiteX226" fmla="*/ 7278 w 10000"/>
                    <a:gd name="connsiteY226" fmla="*/ 9716 h 10000"/>
                    <a:gd name="connsiteX227" fmla="*/ 7278 w 10000"/>
                    <a:gd name="connsiteY227" fmla="*/ 9716 h 10000"/>
                    <a:gd name="connsiteX228" fmla="*/ 8722 w 10000"/>
                    <a:gd name="connsiteY228" fmla="*/ 9865 h 10000"/>
                    <a:gd name="connsiteX229" fmla="*/ 10000 w 10000"/>
                    <a:gd name="connsiteY229" fmla="*/ 10000 h 10000"/>
                    <a:gd name="connsiteX0" fmla="*/ 10000 w 10000"/>
                    <a:gd name="connsiteY0" fmla="*/ 8859 h 10000"/>
                    <a:gd name="connsiteX1" fmla="*/ 10000 w 10000"/>
                    <a:gd name="connsiteY1" fmla="*/ 8859 h 10000"/>
                    <a:gd name="connsiteX2" fmla="*/ 9222 w 10000"/>
                    <a:gd name="connsiteY2" fmla="*/ 8876 h 10000"/>
                    <a:gd name="connsiteX3" fmla="*/ 8944 w 10000"/>
                    <a:gd name="connsiteY3" fmla="*/ 8876 h 10000"/>
                    <a:gd name="connsiteX4" fmla="*/ 8833 w 10000"/>
                    <a:gd name="connsiteY4" fmla="*/ 8859 h 10000"/>
                    <a:gd name="connsiteX5" fmla="*/ 8778 w 10000"/>
                    <a:gd name="connsiteY5" fmla="*/ 8843 h 10000"/>
                    <a:gd name="connsiteX6" fmla="*/ 8778 w 10000"/>
                    <a:gd name="connsiteY6" fmla="*/ 8843 h 10000"/>
                    <a:gd name="connsiteX7" fmla="*/ 8444 w 10000"/>
                    <a:gd name="connsiteY7" fmla="*/ 8641 h 10000"/>
                    <a:gd name="connsiteX8" fmla="*/ 8167 w 10000"/>
                    <a:gd name="connsiteY8" fmla="*/ 8456 h 10000"/>
                    <a:gd name="connsiteX9" fmla="*/ 8167 w 10000"/>
                    <a:gd name="connsiteY9" fmla="*/ 8456 h 10000"/>
                    <a:gd name="connsiteX10" fmla="*/ 8056 w 10000"/>
                    <a:gd name="connsiteY10" fmla="*/ 8424 h 10000"/>
                    <a:gd name="connsiteX11" fmla="*/ 7889 w 10000"/>
                    <a:gd name="connsiteY11" fmla="*/ 8390 h 10000"/>
                    <a:gd name="connsiteX12" fmla="*/ 7444 w 10000"/>
                    <a:gd name="connsiteY12" fmla="*/ 8371 h 10000"/>
                    <a:gd name="connsiteX13" fmla="*/ 6889 w 10000"/>
                    <a:gd name="connsiteY13" fmla="*/ 8357 h 10000"/>
                    <a:gd name="connsiteX14" fmla="*/ 6389 w 10000"/>
                    <a:gd name="connsiteY14" fmla="*/ 8357 h 10000"/>
                    <a:gd name="connsiteX15" fmla="*/ 6389 w 10000"/>
                    <a:gd name="connsiteY15" fmla="*/ 8357 h 10000"/>
                    <a:gd name="connsiteX16" fmla="*/ 6167 w 10000"/>
                    <a:gd name="connsiteY16" fmla="*/ 8338 h 10000"/>
                    <a:gd name="connsiteX17" fmla="*/ 6056 w 10000"/>
                    <a:gd name="connsiteY17" fmla="*/ 8307 h 10000"/>
                    <a:gd name="connsiteX18" fmla="*/ 6000 w 10000"/>
                    <a:gd name="connsiteY18" fmla="*/ 8272 h 10000"/>
                    <a:gd name="connsiteX19" fmla="*/ 6000 w 10000"/>
                    <a:gd name="connsiteY19" fmla="*/ 8206 h 10000"/>
                    <a:gd name="connsiteX20" fmla="*/ 6056 w 10000"/>
                    <a:gd name="connsiteY20" fmla="*/ 8071 h 10000"/>
                    <a:gd name="connsiteX21" fmla="*/ 6111 w 10000"/>
                    <a:gd name="connsiteY21" fmla="*/ 8003 h 10000"/>
                    <a:gd name="connsiteX22" fmla="*/ 6056 w 10000"/>
                    <a:gd name="connsiteY22" fmla="*/ 7918 h 10000"/>
                    <a:gd name="connsiteX23" fmla="*/ 6056 w 10000"/>
                    <a:gd name="connsiteY23" fmla="*/ 7918 h 10000"/>
                    <a:gd name="connsiteX24" fmla="*/ 6000 w 10000"/>
                    <a:gd name="connsiteY24" fmla="*/ 7870 h 10000"/>
                    <a:gd name="connsiteX25" fmla="*/ 5944 w 10000"/>
                    <a:gd name="connsiteY25" fmla="*/ 7836 h 10000"/>
                    <a:gd name="connsiteX26" fmla="*/ 5833 w 10000"/>
                    <a:gd name="connsiteY26" fmla="*/ 7836 h 10000"/>
                    <a:gd name="connsiteX27" fmla="*/ 5667 w 10000"/>
                    <a:gd name="connsiteY27" fmla="*/ 7851 h 10000"/>
                    <a:gd name="connsiteX28" fmla="*/ 5333 w 10000"/>
                    <a:gd name="connsiteY28" fmla="*/ 7902 h 10000"/>
                    <a:gd name="connsiteX29" fmla="*/ 4889 w 10000"/>
                    <a:gd name="connsiteY29" fmla="*/ 7987 h 10000"/>
                    <a:gd name="connsiteX30" fmla="*/ 4889 w 10000"/>
                    <a:gd name="connsiteY30" fmla="*/ 7987 h 10000"/>
                    <a:gd name="connsiteX31" fmla="*/ 4611 w 10000"/>
                    <a:gd name="connsiteY31" fmla="*/ 8003 h 10000"/>
                    <a:gd name="connsiteX32" fmla="*/ 4500 w 10000"/>
                    <a:gd name="connsiteY32" fmla="*/ 8003 h 10000"/>
                    <a:gd name="connsiteX33" fmla="*/ 4444 w 10000"/>
                    <a:gd name="connsiteY33" fmla="*/ 7987 h 10000"/>
                    <a:gd name="connsiteX34" fmla="*/ 4389 w 10000"/>
                    <a:gd name="connsiteY34" fmla="*/ 7918 h 10000"/>
                    <a:gd name="connsiteX35" fmla="*/ 4222 w 10000"/>
                    <a:gd name="connsiteY35" fmla="*/ 7836 h 10000"/>
                    <a:gd name="connsiteX36" fmla="*/ 4222 w 10000"/>
                    <a:gd name="connsiteY36" fmla="*/ 7836 h 10000"/>
                    <a:gd name="connsiteX37" fmla="*/ 4111 w 10000"/>
                    <a:gd name="connsiteY37" fmla="*/ 7785 h 10000"/>
                    <a:gd name="connsiteX38" fmla="*/ 4111 w 10000"/>
                    <a:gd name="connsiteY38" fmla="*/ 7735 h 10000"/>
                    <a:gd name="connsiteX39" fmla="*/ 4111 w 10000"/>
                    <a:gd name="connsiteY39" fmla="*/ 7700 h 10000"/>
                    <a:gd name="connsiteX40" fmla="*/ 4167 w 10000"/>
                    <a:gd name="connsiteY40" fmla="*/ 7668 h 10000"/>
                    <a:gd name="connsiteX41" fmla="*/ 4278 w 10000"/>
                    <a:gd name="connsiteY41" fmla="*/ 7601 h 10000"/>
                    <a:gd name="connsiteX42" fmla="*/ 4389 w 10000"/>
                    <a:gd name="connsiteY42" fmla="*/ 7584 h 10000"/>
                    <a:gd name="connsiteX43" fmla="*/ 4389 w 10000"/>
                    <a:gd name="connsiteY43" fmla="*/ 7584 h 10000"/>
                    <a:gd name="connsiteX44" fmla="*/ 4389 w 10000"/>
                    <a:gd name="connsiteY44" fmla="*/ 7567 h 10000"/>
                    <a:gd name="connsiteX45" fmla="*/ 4444 w 10000"/>
                    <a:gd name="connsiteY45" fmla="*/ 7551 h 10000"/>
                    <a:gd name="connsiteX46" fmla="*/ 4667 w 10000"/>
                    <a:gd name="connsiteY46" fmla="*/ 7534 h 10000"/>
                    <a:gd name="connsiteX47" fmla="*/ 5333 w 10000"/>
                    <a:gd name="connsiteY47" fmla="*/ 7500 h 10000"/>
                    <a:gd name="connsiteX48" fmla="*/ 6500 w 10000"/>
                    <a:gd name="connsiteY48" fmla="*/ 7450 h 10000"/>
                    <a:gd name="connsiteX49" fmla="*/ 6500 w 10000"/>
                    <a:gd name="connsiteY49" fmla="*/ 7450 h 10000"/>
                    <a:gd name="connsiteX50" fmla="*/ 7167 w 10000"/>
                    <a:gd name="connsiteY50" fmla="*/ 7400 h 10000"/>
                    <a:gd name="connsiteX51" fmla="*/ 8389 w 10000"/>
                    <a:gd name="connsiteY51" fmla="*/ 7300 h 10000"/>
                    <a:gd name="connsiteX52" fmla="*/ 8389 w 10000"/>
                    <a:gd name="connsiteY52" fmla="*/ 7300 h 10000"/>
                    <a:gd name="connsiteX53" fmla="*/ 8667 w 10000"/>
                    <a:gd name="connsiteY53" fmla="*/ 7264 h 10000"/>
                    <a:gd name="connsiteX54" fmla="*/ 8778 w 10000"/>
                    <a:gd name="connsiteY54" fmla="*/ 7213 h 10000"/>
                    <a:gd name="connsiteX55" fmla="*/ 8889 w 10000"/>
                    <a:gd name="connsiteY55" fmla="*/ 7181 h 10000"/>
                    <a:gd name="connsiteX56" fmla="*/ 8833 w 10000"/>
                    <a:gd name="connsiteY56" fmla="*/ 7147 h 10000"/>
                    <a:gd name="connsiteX57" fmla="*/ 8833 w 10000"/>
                    <a:gd name="connsiteY57" fmla="*/ 7114 h 10000"/>
                    <a:gd name="connsiteX58" fmla="*/ 8722 w 10000"/>
                    <a:gd name="connsiteY58" fmla="*/ 7080 h 10000"/>
                    <a:gd name="connsiteX59" fmla="*/ 8556 w 10000"/>
                    <a:gd name="connsiteY59" fmla="*/ 7029 h 10000"/>
                    <a:gd name="connsiteX60" fmla="*/ 8556 w 10000"/>
                    <a:gd name="connsiteY60" fmla="*/ 7029 h 10000"/>
                    <a:gd name="connsiteX61" fmla="*/ 6556 w 10000"/>
                    <a:gd name="connsiteY61" fmla="*/ 6730 h 10000"/>
                    <a:gd name="connsiteX62" fmla="*/ 6556 w 10000"/>
                    <a:gd name="connsiteY62" fmla="*/ 6730 h 10000"/>
                    <a:gd name="connsiteX63" fmla="*/ 6333 w 10000"/>
                    <a:gd name="connsiteY63" fmla="*/ 6680 h 10000"/>
                    <a:gd name="connsiteX64" fmla="*/ 6167 w 10000"/>
                    <a:gd name="connsiteY64" fmla="*/ 6628 h 10000"/>
                    <a:gd name="connsiteX65" fmla="*/ 6056 w 10000"/>
                    <a:gd name="connsiteY65" fmla="*/ 6577 h 10000"/>
                    <a:gd name="connsiteX66" fmla="*/ 6056 w 10000"/>
                    <a:gd name="connsiteY66" fmla="*/ 6577 h 10000"/>
                    <a:gd name="connsiteX67" fmla="*/ 8056 w 10000"/>
                    <a:gd name="connsiteY67" fmla="*/ 6561 h 10000"/>
                    <a:gd name="connsiteX68" fmla="*/ 10000 w 10000"/>
                    <a:gd name="connsiteY68" fmla="*/ 6730 h 10000"/>
                    <a:gd name="connsiteX69" fmla="*/ 10000 w 10000"/>
                    <a:gd name="connsiteY69" fmla="*/ 5201 h 10000"/>
                    <a:gd name="connsiteX70" fmla="*/ 10000 w 10000"/>
                    <a:gd name="connsiteY70" fmla="*/ 5201 h 10000"/>
                    <a:gd name="connsiteX71" fmla="*/ 7778 w 10000"/>
                    <a:gd name="connsiteY71" fmla="*/ 4850 h 10000"/>
                    <a:gd name="connsiteX72" fmla="*/ 6556 w 10000"/>
                    <a:gd name="connsiteY72" fmla="*/ 4647 h 10000"/>
                    <a:gd name="connsiteX73" fmla="*/ 6556 w 10000"/>
                    <a:gd name="connsiteY73" fmla="*/ 4647 h 10000"/>
                    <a:gd name="connsiteX74" fmla="*/ 6556 w 10000"/>
                    <a:gd name="connsiteY74" fmla="*/ 4630 h 10000"/>
                    <a:gd name="connsiteX75" fmla="*/ 6556 w 10000"/>
                    <a:gd name="connsiteY75" fmla="*/ 4529 h 10000"/>
                    <a:gd name="connsiteX76" fmla="*/ 6556 w 10000"/>
                    <a:gd name="connsiteY76" fmla="*/ 4529 h 10000"/>
                    <a:gd name="connsiteX77" fmla="*/ 6389 w 10000"/>
                    <a:gd name="connsiteY77" fmla="*/ 4414 h 10000"/>
                    <a:gd name="connsiteX78" fmla="*/ 6056 w 10000"/>
                    <a:gd name="connsiteY78" fmla="*/ 4229 h 10000"/>
                    <a:gd name="connsiteX79" fmla="*/ 5333 w 10000"/>
                    <a:gd name="connsiteY79" fmla="*/ 3874 h 10000"/>
                    <a:gd name="connsiteX80" fmla="*/ 5333 w 10000"/>
                    <a:gd name="connsiteY80" fmla="*/ 3874 h 10000"/>
                    <a:gd name="connsiteX81" fmla="*/ 5167 w 10000"/>
                    <a:gd name="connsiteY81" fmla="*/ 3825 h 10000"/>
                    <a:gd name="connsiteX82" fmla="*/ 4889 w 10000"/>
                    <a:gd name="connsiteY82" fmla="*/ 3757 h 10000"/>
                    <a:gd name="connsiteX83" fmla="*/ 4056 w 10000"/>
                    <a:gd name="connsiteY83" fmla="*/ 3608 h 10000"/>
                    <a:gd name="connsiteX84" fmla="*/ 2889 w 10000"/>
                    <a:gd name="connsiteY84" fmla="*/ 3424 h 10000"/>
                    <a:gd name="connsiteX85" fmla="*/ 2889 w 10000"/>
                    <a:gd name="connsiteY85" fmla="*/ 3424 h 10000"/>
                    <a:gd name="connsiteX86" fmla="*/ 2389 w 10000"/>
                    <a:gd name="connsiteY86" fmla="*/ 3405 h 10000"/>
                    <a:gd name="connsiteX87" fmla="*/ 2000 w 10000"/>
                    <a:gd name="connsiteY87" fmla="*/ 3388 h 10000"/>
                    <a:gd name="connsiteX88" fmla="*/ 1889 w 10000"/>
                    <a:gd name="connsiteY88" fmla="*/ 3372 h 10000"/>
                    <a:gd name="connsiteX89" fmla="*/ 1778 w 10000"/>
                    <a:gd name="connsiteY89" fmla="*/ 3355 h 10000"/>
                    <a:gd name="connsiteX90" fmla="*/ 1778 w 10000"/>
                    <a:gd name="connsiteY90" fmla="*/ 3355 h 10000"/>
                    <a:gd name="connsiteX91" fmla="*/ 1667 w 10000"/>
                    <a:gd name="connsiteY91" fmla="*/ 3288 h 10000"/>
                    <a:gd name="connsiteX92" fmla="*/ 1500 w 10000"/>
                    <a:gd name="connsiteY92" fmla="*/ 3171 h 10000"/>
                    <a:gd name="connsiteX93" fmla="*/ 1444 w 10000"/>
                    <a:gd name="connsiteY93" fmla="*/ 3104 h 10000"/>
                    <a:gd name="connsiteX94" fmla="*/ 1444 w 10000"/>
                    <a:gd name="connsiteY94" fmla="*/ 3037 h 10000"/>
                    <a:gd name="connsiteX95" fmla="*/ 1444 w 10000"/>
                    <a:gd name="connsiteY95" fmla="*/ 2986 h 10000"/>
                    <a:gd name="connsiteX96" fmla="*/ 1556 w 10000"/>
                    <a:gd name="connsiteY96" fmla="*/ 2936 h 10000"/>
                    <a:gd name="connsiteX97" fmla="*/ 1556 w 10000"/>
                    <a:gd name="connsiteY97" fmla="*/ 2936 h 10000"/>
                    <a:gd name="connsiteX98" fmla="*/ 1833 w 10000"/>
                    <a:gd name="connsiteY98" fmla="*/ 2852 h 10000"/>
                    <a:gd name="connsiteX99" fmla="*/ 2111 w 10000"/>
                    <a:gd name="connsiteY99" fmla="*/ 2766 h 10000"/>
                    <a:gd name="connsiteX100" fmla="*/ 2278 w 10000"/>
                    <a:gd name="connsiteY100" fmla="*/ 2718 h 10000"/>
                    <a:gd name="connsiteX101" fmla="*/ 2389 w 10000"/>
                    <a:gd name="connsiteY101" fmla="*/ 2668 h 10000"/>
                    <a:gd name="connsiteX102" fmla="*/ 2389 w 10000"/>
                    <a:gd name="connsiteY102" fmla="*/ 2601 h 10000"/>
                    <a:gd name="connsiteX103" fmla="*/ 2389 w 10000"/>
                    <a:gd name="connsiteY103" fmla="*/ 2518 h 10000"/>
                    <a:gd name="connsiteX104" fmla="*/ 2389 w 10000"/>
                    <a:gd name="connsiteY104" fmla="*/ 2518 h 10000"/>
                    <a:gd name="connsiteX105" fmla="*/ 2167 w 10000"/>
                    <a:gd name="connsiteY105" fmla="*/ 2281 h 10000"/>
                    <a:gd name="connsiteX106" fmla="*/ 1889 w 10000"/>
                    <a:gd name="connsiteY106" fmla="*/ 1962 h 10000"/>
                    <a:gd name="connsiteX107" fmla="*/ 1667 w 10000"/>
                    <a:gd name="connsiteY107" fmla="*/ 1679 h 10000"/>
                    <a:gd name="connsiteX108" fmla="*/ 1611 w 10000"/>
                    <a:gd name="connsiteY108" fmla="*/ 1595 h 10000"/>
                    <a:gd name="connsiteX109" fmla="*/ 1611 w 10000"/>
                    <a:gd name="connsiteY109" fmla="*/ 1562 h 10000"/>
                    <a:gd name="connsiteX110" fmla="*/ 1667 w 10000"/>
                    <a:gd name="connsiteY110" fmla="*/ 1543 h 10000"/>
                    <a:gd name="connsiteX111" fmla="*/ 1667 w 10000"/>
                    <a:gd name="connsiteY111" fmla="*/ 1543 h 10000"/>
                    <a:gd name="connsiteX112" fmla="*/ 2000 w 10000"/>
                    <a:gd name="connsiteY112" fmla="*/ 1528 h 10000"/>
                    <a:gd name="connsiteX113" fmla="*/ 2222 w 10000"/>
                    <a:gd name="connsiteY113" fmla="*/ 1528 h 10000"/>
                    <a:gd name="connsiteX114" fmla="*/ 2389 w 10000"/>
                    <a:gd name="connsiteY114" fmla="*/ 1543 h 10000"/>
                    <a:gd name="connsiteX115" fmla="*/ 2389 w 10000"/>
                    <a:gd name="connsiteY115" fmla="*/ 1543 h 10000"/>
                    <a:gd name="connsiteX116" fmla="*/ 2444 w 10000"/>
                    <a:gd name="connsiteY116" fmla="*/ 1543 h 10000"/>
                    <a:gd name="connsiteX117" fmla="*/ 2500 w 10000"/>
                    <a:gd name="connsiteY117" fmla="*/ 1511 h 10000"/>
                    <a:gd name="connsiteX118" fmla="*/ 2778 w 10000"/>
                    <a:gd name="connsiteY118" fmla="*/ 1409 h 10000"/>
                    <a:gd name="connsiteX119" fmla="*/ 3500 w 10000"/>
                    <a:gd name="connsiteY119" fmla="*/ 1073 h 10000"/>
                    <a:gd name="connsiteX120" fmla="*/ 4444 w 10000"/>
                    <a:gd name="connsiteY120" fmla="*/ 587 h 10000"/>
                    <a:gd name="connsiteX121" fmla="*/ 4444 w 10000"/>
                    <a:gd name="connsiteY121" fmla="*/ 587 h 10000"/>
                    <a:gd name="connsiteX122" fmla="*/ 4444 w 10000"/>
                    <a:gd name="connsiteY122" fmla="*/ 517 h 10000"/>
                    <a:gd name="connsiteX123" fmla="*/ 4444 w 10000"/>
                    <a:gd name="connsiteY123" fmla="*/ 368 h 10000"/>
                    <a:gd name="connsiteX124" fmla="*/ 4500 w 10000"/>
                    <a:gd name="connsiteY124" fmla="*/ 268 h 10000"/>
                    <a:gd name="connsiteX125" fmla="*/ 4778 w 10000"/>
                    <a:gd name="connsiteY125" fmla="*/ 83 h 10000"/>
                    <a:gd name="connsiteX126" fmla="*/ 5000 w 10000"/>
                    <a:gd name="connsiteY126" fmla="*/ 0 h 10000"/>
                    <a:gd name="connsiteX127" fmla="*/ 10000 w 10000"/>
                    <a:gd name="connsiteY127" fmla="*/ 8876 h 10000"/>
                    <a:gd name="connsiteX128" fmla="*/ 10000 w 10000"/>
                    <a:gd name="connsiteY128" fmla="*/ 8876 h 10000"/>
                    <a:gd name="connsiteX129" fmla="*/ 9722 w 10000"/>
                    <a:gd name="connsiteY129" fmla="*/ 8859 h 10000"/>
                    <a:gd name="connsiteX130" fmla="*/ 9389 w 10000"/>
                    <a:gd name="connsiteY130" fmla="*/ 8876 h 10000"/>
                    <a:gd name="connsiteX131" fmla="*/ 9389 w 10000"/>
                    <a:gd name="connsiteY131" fmla="*/ 8876 h 10000"/>
                    <a:gd name="connsiteX132" fmla="*/ 9278 w 10000"/>
                    <a:gd name="connsiteY132" fmla="*/ 8894 h 10000"/>
                    <a:gd name="connsiteX133" fmla="*/ 9056 w 10000"/>
                    <a:gd name="connsiteY133" fmla="*/ 8876 h 10000"/>
                    <a:gd name="connsiteX134" fmla="*/ 8889 w 10000"/>
                    <a:gd name="connsiteY134" fmla="*/ 8859 h 10000"/>
                    <a:gd name="connsiteX135" fmla="*/ 8722 w 10000"/>
                    <a:gd name="connsiteY135" fmla="*/ 8826 h 10000"/>
                    <a:gd name="connsiteX136" fmla="*/ 8611 w 10000"/>
                    <a:gd name="connsiteY136" fmla="*/ 8775 h 10000"/>
                    <a:gd name="connsiteX137" fmla="*/ 8444 w 10000"/>
                    <a:gd name="connsiteY137" fmla="*/ 8690 h 10000"/>
                    <a:gd name="connsiteX138" fmla="*/ 8444 w 10000"/>
                    <a:gd name="connsiteY138" fmla="*/ 8690 h 10000"/>
                    <a:gd name="connsiteX139" fmla="*/ 8222 w 10000"/>
                    <a:gd name="connsiteY139" fmla="*/ 8540 h 10000"/>
                    <a:gd name="connsiteX140" fmla="*/ 8111 w 10000"/>
                    <a:gd name="connsiteY140" fmla="*/ 8474 h 10000"/>
                    <a:gd name="connsiteX141" fmla="*/ 7944 w 10000"/>
                    <a:gd name="connsiteY141" fmla="*/ 8424 h 10000"/>
                    <a:gd name="connsiteX142" fmla="*/ 7778 w 10000"/>
                    <a:gd name="connsiteY142" fmla="*/ 8390 h 10000"/>
                    <a:gd name="connsiteX143" fmla="*/ 7556 w 10000"/>
                    <a:gd name="connsiteY143" fmla="*/ 8371 h 10000"/>
                    <a:gd name="connsiteX144" fmla="*/ 7333 w 10000"/>
                    <a:gd name="connsiteY144" fmla="*/ 8357 h 10000"/>
                    <a:gd name="connsiteX145" fmla="*/ 7000 w 10000"/>
                    <a:gd name="connsiteY145" fmla="*/ 8338 h 10000"/>
                    <a:gd name="connsiteX146" fmla="*/ 7000 w 10000"/>
                    <a:gd name="connsiteY146" fmla="*/ 8338 h 10000"/>
                    <a:gd name="connsiteX147" fmla="*/ 6556 w 10000"/>
                    <a:gd name="connsiteY147" fmla="*/ 8357 h 10000"/>
                    <a:gd name="connsiteX148" fmla="*/ 6222 w 10000"/>
                    <a:gd name="connsiteY148" fmla="*/ 8357 h 10000"/>
                    <a:gd name="connsiteX149" fmla="*/ 6111 w 10000"/>
                    <a:gd name="connsiteY149" fmla="*/ 8338 h 10000"/>
                    <a:gd name="connsiteX150" fmla="*/ 6056 w 10000"/>
                    <a:gd name="connsiteY150" fmla="*/ 8321 h 10000"/>
                    <a:gd name="connsiteX151" fmla="*/ 6056 w 10000"/>
                    <a:gd name="connsiteY151" fmla="*/ 8321 h 10000"/>
                    <a:gd name="connsiteX152" fmla="*/ 6056 w 10000"/>
                    <a:gd name="connsiteY152" fmla="*/ 8021 h 10000"/>
                    <a:gd name="connsiteX153" fmla="*/ 6056 w 10000"/>
                    <a:gd name="connsiteY153" fmla="*/ 8021 h 10000"/>
                    <a:gd name="connsiteX154" fmla="*/ 6056 w 10000"/>
                    <a:gd name="connsiteY154" fmla="*/ 7951 h 10000"/>
                    <a:gd name="connsiteX155" fmla="*/ 5944 w 10000"/>
                    <a:gd name="connsiteY155" fmla="*/ 7870 h 10000"/>
                    <a:gd name="connsiteX156" fmla="*/ 5889 w 10000"/>
                    <a:gd name="connsiteY156" fmla="*/ 7851 h 10000"/>
                    <a:gd name="connsiteX157" fmla="*/ 5778 w 10000"/>
                    <a:gd name="connsiteY157" fmla="*/ 7836 h 10000"/>
                    <a:gd name="connsiteX158" fmla="*/ 5667 w 10000"/>
                    <a:gd name="connsiteY158" fmla="*/ 7836 h 10000"/>
                    <a:gd name="connsiteX159" fmla="*/ 5500 w 10000"/>
                    <a:gd name="connsiteY159" fmla="*/ 7851 h 10000"/>
                    <a:gd name="connsiteX160" fmla="*/ 5500 w 10000"/>
                    <a:gd name="connsiteY160" fmla="*/ 7851 h 10000"/>
                    <a:gd name="connsiteX161" fmla="*/ 4889 w 10000"/>
                    <a:gd name="connsiteY161" fmla="*/ 7969 h 10000"/>
                    <a:gd name="connsiteX162" fmla="*/ 4611 w 10000"/>
                    <a:gd name="connsiteY162" fmla="*/ 8003 h 10000"/>
                    <a:gd name="connsiteX163" fmla="*/ 4556 w 10000"/>
                    <a:gd name="connsiteY163" fmla="*/ 8021 h 10000"/>
                    <a:gd name="connsiteX164" fmla="*/ 4500 w 10000"/>
                    <a:gd name="connsiteY164" fmla="*/ 8003 h 10000"/>
                    <a:gd name="connsiteX165" fmla="*/ 4500 w 10000"/>
                    <a:gd name="connsiteY165" fmla="*/ 8003 h 10000"/>
                    <a:gd name="connsiteX166" fmla="*/ 4222 w 10000"/>
                    <a:gd name="connsiteY166" fmla="*/ 7836 h 10000"/>
                    <a:gd name="connsiteX167" fmla="*/ 4222 w 10000"/>
                    <a:gd name="connsiteY167" fmla="*/ 7836 h 10000"/>
                    <a:gd name="connsiteX168" fmla="*/ 4111 w 10000"/>
                    <a:gd name="connsiteY168" fmla="*/ 7752 h 10000"/>
                    <a:gd name="connsiteX169" fmla="*/ 4111 w 10000"/>
                    <a:gd name="connsiteY169" fmla="*/ 7700 h 10000"/>
                    <a:gd name="connsiteX170" fmla="*/ 4111 w 10000"/>
                    <a:gd name="connsiteY170" fmla="*/ 7651 h 10000"/>
                    <a:gd name="connsiteX171" fmla="*/ 4111 w 10000"/>
                    <a:gd name="connsiteY171" fmla="*/ 7651 h 10000"/>
                    <a:gd name="connsiteX172" fmla="*/ 4278 w 10000"/>
                    <a:gd name="connsiteY172" fmla="*/ 7601 h 10000"/>
                    <a:gd name="connsiteX173" fmla="*/ 4389 w 10000"/>
                    <a:gd name="connsiteY173" fmla="*/ 7584 h 10000"/>
                    <a:gd name="connsiteX174" fmla="*/ 4389 w 10000"/>
                    <a:gd name="connsiteY174" fmla="*/ 7584 h 10000"/>
                    <a:gd name="connsiteX175" fmla="*/ 4000 w 10000"/>
                    <a:gd name="connsiteY175" fmla="*/ 7584 h 10000"/>
                    <a:gd name="connsiteX176" fmla="*/ 3722 w 10000"/>
                    <a:gd name="connsiteY176" fmla="*/ 7601 h 10000"/>
                    <a:gd name="connsiteX177" fmla="*/ 3611 w 10000"/>
                    <a:gd name="connsiteY177" fmla="*/ 7617 h 10000"/>
                    <a:gd name="connsiteX178" fmla="*/ 3556 w 10000"/>
                    <a:gd name="connsiteY178" fmla="*/ 7635 h 10000"/>
                    <a:gd name="connsiteX179" fmla="*/ 3556 w 10000"/>
                    <a:gd name="connsiteY179" fmla="*/ 7635 h 10000"/>
                    <a:gd name="connsiteX180" fmla="*/ 3444 w 10000"/>
                    <a:gd name="connsiteY180" fmla="*/ 7700 h 10000"/>
                    <a:gd name="connsiteX181" fmla="*/ 3278 w 10000"/>
                    <a:gd name="connsiteY181" fmla="*/ 7802 h 10000"/>
                    <a:gd name="connsiteX182" fmla="*/ 3000 w 10000"/>
                    <a:gd name="connsiteY182" fmla="*/ 7918 h 10000"/>
                    <a:gd name="connsiteX183" fmla="*/ 2667 w 10000"/>
                    <a:gd name="connsiteY183" fmla="*/ 8003 h 10000"/>
                    <a:gd name="connsiteX184" fmla="*/ 2667 w 10000"/>
                    <a:gd name="connsiteY184" fmla="*/ 8003 h 10000"/>
                    <a:gd name="connsiteX185" fmla="*/ 2333 w 10000"/>
                    <a:gd name="connsiteY185" fmla="*/ 8071 h 10000"/>
                    <a:gd name="connsiteX186" fmla="*/ 1833 w 10000"/>
                    <a:gd name="connsiteY186" fmla="*/ 8138 h 10000"/>
                    <a:gd name="connsiteX187" fmla="*/ 1389 w 10000"/>
                    <a:gd name="connsiteY187" fmla="*/ 8172 h 10000"/>
                    <a:gd name="connsiteX188" fmla="*/ 889 w 10000"/>
                    <a:gd name="connsiteY188" fmla="*/ 8188 h 10000"/>
                    <a:gd name="connsiteX189" fmla="*/ 889 w 10000"/>
                    <a:gd name="connsiteY189" fmla="*/ 8188 h 10000"/>
                    <a:gd name="connsiteX190" fmla="*/ 500 w 10000"/>
                    <a:gd name="connsiteY190" fmla="*/ 8206 h 10000"/>
                    <a:gd name="connsiteX191" fmla="*/ 222 w 10000"/>
                    <a:gd name="connsiteY191" fmla="*/ 8223 h 10000"/>
                    <a:gd name="connsiteX192" fmla="*/ 0 w 10000"/>
                    <a:gd name="connsiteY192" fmla="*/ 8240 h 10000"/>
                    <a:gd name="connsiteX193" fmla="*/ 0 w 10000"/>
                    <a:gd name="connsiteY193" fmla="*/ 8240 h 10000"/>
                    <a:gd name="connsiteX194" fmla="*/ 278 w 10000"/>
                    <a:gd name="connsiteY194" fmla="*/ 8507 h 10000"/>
                    <a:gd name="connsiteX195" fmla="*/ 500 w 10000"/>
                    <a:gd name="connsiteY195" fmla="*/ 8707 h 10000"/>
                    <a:gd name="connsiteX196" fmla="*/ 722 w 10000"/>
                    <a:gd name="connsiteY196" fmla="*/ 8876 h 10000"/>
                    <a:gd name="connsiteX197" fmla="*/ 722 w 10000"/>
                    <a:gd name="connsiteY197" fmla="*/ 8876 h 10000"/>
                    <a:gd name="connsiteX198" fmla="*/ 889 w 10000"/>
                    <a:gd name="connsiteY198" fmla="*/ 8978 h 10000"/>
                    <a:gd name="connsiteX199" fmla="*/ 944 w 10000"/>
                    <a:gd name="connsiteY199" fmla="*/ 9061 h 10000"/>
                    <a:gd name="connsiteX200" fmla="*/ 1111 w 10000"/>
                    <a:gd name="connsiteY200" fmla="*/ 9146 h 10000"/>
                    <a:gd name="connsiteX201" fmla="*/ 1333 w 10000"/>
                    <a:gd name="connsiteY201" fmla="*/ 9278 h 10000"/>
                    <a:gd name="connsiteX202" fmla="*/ 1333 w 10000"/>
                    <a:gd name="connsiteY202" fmla="*/ 9278 h 10000"/>
                    <a:gd name="connsiteX203" fmla="*/ 1444 w 10000"/>
                    <a:gd name="connsiteY203" fmla="*/ 9346 h 10000"/>
                    <a:gd name="connsiteX204" fmla="*/ 1500 w 10000"/>
                    <a:gd name="connsiteY204" fmla="*/ 9395 h 10000"/>
                    <a:gd name="connsiteX205" fmla="*/ 1500 w 10000"/>
                    <a:gd name="connsiteY205" fmla="*/ 9445 h 10000"/>
                    <a:gd name="connsiteX206" fmla="*/ 1556 w 10000"/>
                    <a:gd name="connsiteY206" fmla="*/ 9463 h 10000"/>
                    <a:gd name="connsiteX207" fmla="*/ 1722 w 10000"/>
                    <a:gd name="connsiteY207" fmla="*/ 9478 h 10000"/>
                    <a:gd name="connsiteX208" fmla="*/ 1944 w 10000"/>
                    <a:gd name="connsiteY208" fmla="*/ 9496 h 10000"/>
                    <a:gd name="connsiteX209" fmla="*/ 2944 w 10000"/>
                    <a:gd name="connsiteY209" fmla="*/ 9512 h 10000"/>
                    <a:gd name="connsiteX210" fmla="*/ 2944 w 10000"/>
                    <a:gd name="connsiteY210" fmla="*/ 9512 h 10000"/>
                    <a:gd name="connsiteX211" fmla="*/ 4167 w 10000"/>
                    <a:gd name="connsiteY211" fmla="*/ 9547 h 10000"/>
                    <a:gd name="connsiteX212" fmla="*/ 4889 w 10000"/>
                    <a:gd name="connsiteY212" fmla="*/ 9597 h 10000"/>
                    <a:gd name="connsiteX213" fmla="*/ 5278 w 10000"/>
                    <a:gd name="connsiteY213" fmla="*/ 9649 h 10000"/>
                    <a:gd name="connsiteX214" fmla="*/ 5444 w 10000"/>
                    <a:gd name="connsiteY214" fmla="*/ 9663 h 10000"/>
                    <a:gd name="connsiteX215" fmla="*/ 5444 w 10000"/>
                    <a:gd name="connsiteY215" fmla="*/ 9663 h 10000"/>
                    <a:gd name="connsiteX216" fmla="*/ 5722 w 10000"/>
                    <a:gd name="connsiteY216" fmla="*/ 9699 h 10000"/>
                    <a:gd name="connsiteX217" fmla="*/ 5833 w 10000"/>
                    <a:gd name="connsiteY217" fmla="*/ 9716 h 10000"/>
                    <a:gd name="connsiteX218" fmla="*/ 5833 w 10000"/>
                    <a:gd name="connsiteY218" fmla="*/ 9716 h 10000"/>
                    <a:gd name="connsiteX219" fmla="*/ 5833 w 10000"/>
                    <a:gd name="connsiteY219" fmla="*/ 9699 h 10000"/>
                    <a:gd name="connsiteX220" fmla="*/ 5889 w 10000"/>
                    <a:gd name="connsiteY220" fmla="*/ 9681 h 10000"/>
                    <a:gd name="connsiteX221" fmla="*/ 6000 w 10000"/>
                    <a:gd name="connsiteY221" fmla="*/ 9663 h 10000"/>
                    <a:gd name="connsiteX222" fmla="*/ 6167 w 10000"/>
                    <a:gd name="connsiteY222" fmla="*/ 9649 h 10000"/>
                    <a:gd name="connsiteX223" fmla="*/ 6444 w 10000"/>
                    <a:gd name="connsiteY223" fmla="*/ 9649 h 10000"/>
                    <a:gd name="connsiteX224" fmla="*/ 6833 w 10000"/>
                    <a:gd name="connsiteY224" fmla="*/ 9663 h 10000"/>
                    <a:gd name="connsiteX225" fmla="*/ 7278 w 10000"/>
                    <a:gd name="connsiteY225" fmla="*/ 9716 h 10000"/>
                    <a:gd name="connsiteX226" fmla="*/ 7278 w 10000"/>
                    <a:gd name="connsiteY226" fmla="*/ 9716 h 10000"/>
                    <a:gd name="connsiteX227" fmla="*/ 8722 w 10000"/>
                    <a:gd name="connsiteY227" fmla="*/ 9865 h 10000"/>
                    <a:gd name="connsiteX228" fmla="*/ 10000 w 10000"/>
                    <a:gd name="connsiteY228" fmla="*/ 10000 h 10000"/>
                    <a:gd name="connsiteX0" fmla="*/ 10000 w 10000"/>
                    <a:gd name="connsiteY0" fmla="*/ 8859 h 10000"/>
                    <a:gd name="connsiteX1" fmla="*/ 10000 w 10000"/>
                    <a:gd name="connsiteY1" fmla="*/ 8859 h 10000"/>
                    <a:gd name="connsiteX2" fmla="*/ 9222 w 10000"/>
                    <a:gd name="connsiteY2" fmla="*/ 8876 h 10000"/>
                    <a:gd name="connsiteX3" fmla="*/ 8944 w 10000"/>
                    <a:gd name="connsiteY3" fmla="*/ 8876 h 10000"/>
                    <a:gd name="connsiteX4" fmla="*/ 8833 w 10000"/>
                    <a:gd name="connsiteY4" fmla="*/ 8859 h 10000"/>
                    <a:gd name="connsiteX5" fmla="*/ 8778 w 10000"/>
                    <a:gd name="connsiteY5" fmla="*/ 8843 h 10000"/>
                    <a:gd name="connsiteX6" fmla="*/ 8778 w 10000"/>
                    <a:gd name="connsiteY6" fmla="*/ 8843 h 10000"/>
                    <a:gd name="connsiteX7" fmla="*/ 8444 w 10000"/>
                    <a:gd name="connsiteY7" fmla="*/ 8641 h 10000"/>
                    <a:gd name="connsiteX8" fmla="*/ 8167 w 10000"/>
                    <a:gd name="connsiteY8" fmla="*/ 8456 h 10000"/>
                    <a:gd name="connsiteX9" fmla="*/ 8167 w 10000"/>
                    <a:gd name="connsiteY9" fmla="*/ 8456 h 10000"/>
                    <a:gd name="connsiteX10" fmla="*/ 8056 w 10000"/>
                    <a:gd name="connsiteY10" fmla="*/ 8424 h 10000"/>
                    <a:gd name="connsiteX11" fmla="*/ 7889 w 10000"/>
                    <a:gd name="connsiteY11" fmla="*/ 8390 h 10000"/>
                    <a:gd name="connsiteX12" fmla="*/ 7444 w 10000"/>
                    <a:gd name="connsiteY12" fmla="*/ 8371 h 10000"/>
                    <a:gd name="connsiteX13" fmla="*/ 6889 w 10000"/>
                    <a:gd name="connsiteY13" fmla="*/ 8357 h 10000"/>
                    <a:gd name="connsiteX14" fmla="*/ 6389 w 10000"/>
                    <a:gd name="connsiteY14" fmla="*/ 8357 h 10000"/>
                    <a:gd name="connsiteX15" fmla="*/ 6389 w 10000"/>
                    <a:gd name="connsiteY15" fmla="*/ 8357 h 10000"/>
                    <a:gd name="connsiteX16" fmla="*/ 6167 w 10000"/>
                    <a:gd name="connsiteY16" fmla="*/ 8338 h 10000"/>
                    <a:gd name="connsiteX17" fmla="*/ 6056 w 10000"/>
                    <a:gd name="connsiteY17" fmla="*/ 8307 h 10000"/>
                    <a:gd name="connsiteX18" fmla="*/ 6000 w 10000"/>
                    <a:gd name="connsiteY18" fmla="*/ 8272 h 10000"/>
                    <a:gd name="connsiteX19" fmla="*/ 6000 w 10000"/>
                    <a:gd name="connsiteY19" fmla="*/ 8206 h 10000"/>
                    <a:gd name="connsiteX20" fmla="*/ 6056 w 10000"/>
                    <a:gd name="connsiteY20" fmla="*/ 8071 h 10000"/>
                    <a:gd name="connsiteX21" fmla="*/ 6111 w 10000"/>
                    <a:gd name="connsiteY21" fmla="*/ 8003 h 10000"/>
                    <a:gd name="connsiteX22" fmla="*/ 6056 w 10000"/>
                    <a:gd name="connsiteY22" fmla="*/ 7918 h 10000"/>
                    <a:gd name="connsiteX23" fmla="*/ 6056 w 10000"/>
                    <a:gd name="connsiteY23" fmla="*/ 7918 h 10000"/>
                    <a:gd name="connsiteX24" fmla="*/ 6000 w 10000"/>
                    <a:gd name="connsiteY24" fmla="*/ 7870 h 10000"/>
                    <a:gd name="connsiteX25" fmla="*/ 5944 w 10000"/>
                    <a:gd name="connsiteY25" fmla="*/ 7836 h 10000"/>
                    <a:gd name="connsiteX26" fmla="*/ 5833 w 10000"/>
                    <a:gd name="connsiteY26" fmla="*/ 7836 h 10000"/>
                    <a:gd name="connsiteX27" fmla="*/ 5667 w 10000"/>
                    <a:gd name="connsiteY27" fmla="*/ 7851 h 10000"/>
                    <a:gd name="connsiteX28" fmla="*/ 5333 w 10000"/>
                    <a:gd name="connsiteY28" fmla="*/ 7902 h 10000"/>
                    <a:gd name="connsiteX29" fmla="*/ 4889 w 10000"/>
                    <a:gd name="connsiteY29" fmla="*/ 7987 h 10000"/>
                    <a:gd name="connsiteX30" fmla="*/ 4889 w 10000"/>
                    <a:gd name="connsiteY30" fmla="*/ 7987 h 10000"/>
                    <a:gd name="connsiteX31" fmla="*/ 4611 w 10000"/>
                    <a:gd name="connsiteY31" fmla="*/ 8003 h 10000"/>
                    <a:gd name="connsiteX32" fmla="*/ 4500 w 10000"/>
                    <a:gd name="connsiteY32" fmla="*/ 8003 h 10000"/>
                    <a:gd name="connsiteX33" fmla="*/ 4444 w 10000"/>
                    <a:gd name="connsiteY33" fmla="*/ 7987 h 10000"/>
                    <a:gd name="connsiteX34" fmla="*/ 4389 w 10000"/>
                    <a:gd name="connsiteY34" fmla="*/ 7918 h 10000"/>
                    <a:gd name="connsiteX35" fmla="*/ 4222 w 10000"/>
                    <a:gd name="connsiteY35" fmla="*/ 7836 h 10000"/>
                    <a:gd name="connsiteX36" fmla="*/ 4222 w 10000"/>
                    <a:gd name="connsiteY36" fmla="*/ 7836 h 10000"/>
                    <a:gd name="connsiteX37" fmla="*/ 4111 w 10000"/>
                    <a:gd name="connsiteY37" fmla="*/ 7785 h 10000"/>
                    <a:gd name="connsiteX38" fmla="*/ 4111 w 10000"/>
                    <a:gd name="connsiteY38" fmla="*/ 7735 h 10000"/>
                    <a:gd name="connsiteX39" fmla="*/ 4111 w 10000"/>
                    <a:gd name="connsiteY39" fmla="*/ 7700 h 10000"/>
                    <a:gd name="connsiteX40" fmla="*/ 4167 w 10000"/>
                    <a:gd name="connsiteY40" fmla="*/ 7668 h 10000"/>
                    <a:gd name="connsiteX41" fmla="*/ 4278 w 10000"/>
                    <a:gd name="connsiteY41" fmla="*/ 7601 h 10000"/>
                    <a:gd name="connsiteX42" fmla="*/ 4389 w 10000"/>
                    <a:gd name="connsiteY42" fmla="*/ 7584 h 10000"/>
                    <a:gd name="connsiteX43" fmla="*/ 4389 w 10000"/>
                    <a:gd name="connsiteY43" fmla="*/ 7584 h 10000"/>
                    <a:gd name="connsiteX44" fmla="*/ 4389 w 10000"/>
                    <a:gd name="connsiteY44" fmla="*/ 7567 h 10000"/>
                    <a:gd name="connsiteX45" fmla="*/ 4444 w 10000"/>
                    <a:gd name="connsiteY45" fmla="*/ 7551 h 10000"/>
                    <a:gd name="connsiteX46" fmla="*/ 4667 w 10000"/>
                    <a:gd name="connsiteY46" fmla="*/ 7534 h 10000"/>
                    <a:gd name="connsiteX47" fmla="*/ 5333 w 10000"/>
                    <a:gd name="connsiteY47" fmla="*/ 7500 h 10000"/>
                    <a:gd name="connsiteX48" fmla="*/ 6500 w 10000"/>
                    <a:gd name="connsiteY48" fmla="*/ 7450 h 10000"/>
                    <a:gd name="connsiteX49" fmla="*/ 6500 w 10000"/>
                    <a:gd name="connsiteY49" fmla="*/ 7450 h 10000"/>
                    <a:gd name="connsiteX50" fmla="*/ 7167 w 10000"/>
                    <a:gd name="connsiteY50" fmla="*/ 7400 h 10000"/>
                    <a:gd name="connsiteX51" fmla="*/ 8389 w 10000"/>
                    <a:gd name="connsiteY51" fmla="*/ 7300 h 10000"/>
                    <a:gd name="connsiteX52" fmla="*/ 8389 w 10000"/>
                    <a:gd name="connsiteY52" fmla="*/ 7300 h 10000"/>
                    <a:gd name="connsiteX53" fmla="*/ 8667 w 10000"/>
                    <a:gd name="connsiteY53" fmla="*/ 7264 h 10000"/>
                    <a:gd name="connsiteX54" fmla="*/ 8778 w 10000"/>
                    <a:gd name="connsiteY54" fmla="*/ 7213 h 10000"/>
                    <a:gd name="connsiteX55" fmla="*/ 8889 w 10000"/>
                    <a:gd name="connsiteY55" fmla="*/ 7181 h 10000"/>
                    <a:gd name="connsiteX56" fmla="*/ 8833 w 10000"/>
                    <a:gd name="connsiteY56" fmla="*/ 7147 h 10000"/>
                    <a:gd name="connsiteX57" fmla="*/ 8833 w 10000"/>
                    <a:gd name="connsiteY57" fmla="*/ 7114 h 10000"/>
                    <a:gd name="connsiteX58" fmla="*/ 8722 w 10000"/>
                    <a:gd name="connsiteY58" fmla="*/ 7080 h 10000"/>
                    <a:gd name="connsiteX59" fmla="*/ 8556 w 10000"/>
                    <a:gd name="connsiteY59" fmla="*/ 7029 h 10000"/>
                    <a:gd name="connsiteX60" fmla="*/ 8556 w 10000"/>
                    <a:gd name="connsiteY60" fmla="*/ 7029 h 10000"/>
                    <a:gd name="connsiteX61" fmla="*/ 6556 w 10000"/>
                    <a:gd name="connsiteY61" fmla="*/ 6730 h 10000"/>
                    <a:gd name="connsiteX62" fmla="*/ 6556 w 10000"/>
                    <a:gd name="connsiteY62" fmla="*/ 6730 h 10000"/>
                    <a:gd name="connsiteX63" fmla="*/ 6333 w 10000"/>
                    <a:gd name="connsiteY63" fmla="*/ 6680 h 10000"/>
                    <a:gd name="connsiteX64" fmla="*/ 6167 w 10000"/>
                    <a:gd name="connsiteY64" fmla="*/ 6628 h 10000"/>
                    <a:gd name="connsiteX65" fmla="*/ 6056 w 10000"/>
                    <a:gd name="connsiteY65" fmla="*/ 6577 h 10000"/>
                    <a:gd name="connsiteX66" fmla="*/ 6056 w 10000"/>
                    <a:gd name="connsiteY66" fmla="*/ 6577 h 10000"/>
                    <a:gd name="connsiteX67" fmla="*/ 8056 w 10000"/>
                    <a:gd name="connsiteY67" fmla="*/ 6561 h 10000"/>
                    <a:gd name="connsiteX68" fmla="*/ 10000 w 10000"/>
                    <a:gd name="connsiteY68" fmla="*/ 6730 h 10000"/>
                    <a:gd name="connsiteX69" fmla="*/ 10000 w 10000"/>
                    <a:gd name="connsiteY69" fmla="*/ 5201 h 10000"/>
                    <a:gd name="connsiteX70" fmla="*/ 10000 w 10000"/>
                    <a:gd name="connsiteY70" fmla="*/ 5201 h 10000"/>
                    <a:gd name="connsiteX71" fmla="*/ 7778 w 10000"/>
                    <a:gd name="connsiteY71" fmla="*/ 4850 h 10000"/>
                    <a:gd name="connsiteX72" fmla="*/ 6556 w 10000"/>
                    <a:gd name="connsiteY72" fmla="*/ 4647 h 10000"/>
                    <a:gd name="connsiteX73" fmla="*/ 6556 w 10000"/>
                    <a:gd name="connsiteY73" fmla="*/ 4647 h 10000"/>
                    <a:gd name="connsiteX74" fmla="*/ 6556 w 10000"/>
                    <a:gd name="connsiteY74" fmla="*/ 4630 h 10000"/>
                    <a:gd name="connsiteX75" fmla="*/ 6556 w 10000"/>
                    <a:gd name="connsiteY75" fmla="*/ 4529 h 10000"/>
                    <a:gd name="connsiteX76" fmla="*/ 6556 w 10000"/>
                    <a:gd name="connsiteY76" fmla="*/ 4529 h 10000"/>
                    <a:gd name="connsiteX77" fmla="*/ 6389 w 10000"/>
                    <a:gd name="connsiteY77" fmla="*/ 4414 h 10000"/>
                    <a:gd name="connsiteX78" fmla="*/ 6056 w 10000"/>
                    <a:gd name="connsiteY78" fmla="*/ 4229 h 10000"/>
                    <a:gd name="connsiteX79" fmla="*/ 5333 w 10000"/>
                    <a:gd name="connsiteY79" fmla="*/ 3874 h 10000"/>
                    <a:gd name="connsiteX80" fmla="*/ 5333 w 10000"/>
                    <a:gd name="connsiteY80" fmla="*/ 3874 h 10000"/>
                    <a:gd name="connsiteX81" fmla="*/ 5167 w 10000"/>
                    <a:gd name="connsiteY81" fmla="*/ 3825 h 10000"/>
                    <a:gd name="connsiteX82" fmla="*/ 4889 w 10000"/>
                    <a:gd name="connsiteY82" fmla="*/ 3757 h 10000"/>
                    <a:gd name="connsiteX83" fmla="*/ 4056 w 10000"/>
                    <a:gd name="connsiteY83" fmla="*/ 3608 h 10000"/>
                    <a:gd name="connsiteX84" fmla="*/ 2889 w 10000"/>
                    <a:gd name="connsiteY84" fmla="*/ 3424 h 10000"/>
                    <a:gd name="connsiteX85" fmla="*/ 2889 w 10000"/>
                    <a:gd name="connsiteY85" fmla="*/ 3424 h 10000"/>
                    <a:gd name="connsiteX86" fmla="*/ 2389 w 10000"/>
                    <a:gd name="connsiteY86" fmla="*/ 3405 h 10000"/>
                    <a:gd name="connsiteX87" fmla="*/ 2000 w 10000"/>
                    <a:gd name="connsiteY87" fmla="*/ 3388 h 10000"/>
                    <a:gd name="connsiteX88" fmla="*/ 1889 w 10000"/>
                    <a:gd name="connsiteY88" fmla="*/ 3372 h 10000"/>
                    <a:gd name="connsiteX89" fmla="*/ 1778 w 10000"/>
                    <a:gd name="connsiteY89" fmla="*/ 3355 h 10000"/>
                    <a:gd name="connsiteX90" fmla="*/ 1778 w 10000"/>
                    <a:gd name="connsiteY90" fmla="*/ 3355 h 10000"/>
                    <a:gd name="connsiteX91" fmla="*/ 1667 w 10000"/>
                    <a:gd name="connsiteY91" fmla="*/ 3288 h 10000"/>
                    <a:gd name="connsiteX92" fmla="*/ 1500 w 10000"/>
                    <a:gd name="connsiteY92" fmla="*/ 3171 h 10000"/>
                    <a:gd name="connsiteX93" fmla="*/ 1444 w 10000"/>
                    <a:gd name="connsiteY93" fmla="*/ 3104 h 10000"/>
                    <a:gd name="connsiteX94" fmla="*/ 1444 w 10000"/>
                    <a:gd name="connsiteY94" fmla="*/ 3037 h 10000"/>
                    <a:gd name="connsiteX95" fmla="*/ 1444 w 10000"/>
                    <a:gd name="connsiteY95" fmla="*/ 2986 h 10000"/>
                    <a:gd name="connsiteX96" fmla="*/ 1556 w 10000"/>
                    <a:gd name="connsiteY96" fmla="*/ 2936 h 10000"/>
                    <a:gd name="connsiteX97" fmla="*/ 1556 w 10000"/>
                    <a:gd name="connsiteY97" fmla="*/ 2936 h 10000"/>
                    <a:gd name="connsiteX98" fmla="*/ 1833 w 10000"/>
                    <a:gd name="connsiteY98" fmla="*/ 2852 h 10000"/>
                    <a:gd name="connsiteX99" fmla="*/ 2111 w 10000"/>
                    <a:gd name="connsiteY99" fmla="*/ 2766 h 10000"/>
                    <a:gd name="connsiteX100" fmla="*/ 2278 w 10000"/>
                    <a:gd name="connsiteY100" fmla="*/ 2718 h 10000"/>
                    <a:gd name="connsiteX101" fmla="*/ 2389 w 10000"/>
                    <a:gd name="connsiteY101" fmla="*/ 2668 h 10000"/>
                    <a:gd name="connsiteX102" fmla="*/ 2389 w 10000"/>
                    <a:gd name="connsiteY102" fmla="*/ 2601 h 10000"/>
                    <a:gd name="connsiteX103" fmla="*/ 2389 w 10000"/>
                    <a:gd name="connsiteY103" fmla="*/ 2518 h 10000"/>
                    <a:gd name="connsiteX104" fmla="*/ 2389 w 10000"/>
                    <a:gd name="connsiteY104" fmla="*/ 2518 h 10000"/>
                    <a:gd name="connsiteX105" fmla="*/ 2167 w 10000"/>
                    <a:gd name="connsiteY105" fmla="*/ 2281 h 10000"/>
                    <a:gd name="connsiteX106" fmla="*/ 1889 w 10000"/>
                    <a:gd name="connsiteY106" fmla="*/ 1962 h 10000"/>
                    <a:gd name="connsiteX107" fmla="*/ 1667 w 10000"/>
                    <a:gd name="connsiteY107" fmla="*/ 1679 h 10000"/>
                    <a:gd name="connsiteX108" fmla="*/ 1611 w 10000"/>
                    <a:gd name="connsiteY108" fmla="*/ 1595 h 10000"/>
                    <a:gd name="connsiteX109" fmla="*/ 1611 w 10000"/>
                    <a:gd name="connsiteY109" fmla="*/ 1562 h 10000"/>
                    <a:gd name="connsiteX110" fmla="*/ 1667 w 10000"/>
                    <a:gd name="connsiteY110" fmla="*/ 1543 h 10000"/>
                    <a:gd name="connsiteX111" fmla="*/ 1667 w 10000"/>
                    <a:gd name="connsiteY111" fmla="*/ 1543 h 10000"/>
                    <a:gd name="connsiteX112" fmla="*/ 2000 w 10000"/>
                    <a:gd name="connsiteY112" fmla="*/ 1528 h 10000"/>
                    <a:gd name="connsiteX113" fmla="*/ 2222 w 10000"/>
                    <a:gd name="connsiteY113" fmla="*/ 1528 h 10000"/>
                    <a:gd name="connsiteX114" fmla="*/ 2389 w 10000"/>
                    <a:gd name="connsiteY114" fmla="*/ 1543 h 10000"/>
                    <a:gd name="connsiteX115" fmla="*/ 2389 w 10000"/>
                    <a:gd name="connsiteY115" fmla="*/ 1543 h 10000"/>
                    <a:gd name="connsiteX116" fmla="*/ 2444 w 10000"/>
                    <a:gd name="connsiteY116" fmla="*/ 1543 h 10000"/>
                    <a:gd name="connsiteX117" fmla="*/ 2500 w 10000"/>
                    <a:gd name="connsiteY117" fmla="*/ 1511 h 10000"/>
                    <a:gd name="connsiteX118" fmla="*/ 2778 w 10000"/>
                    <a:gd name="connsiteY118" fmla="*/ 1409 h 10000"/>
                    <a:gd name="connsiteX119" fmla="*/ 3500 w 10000"/>
                    <a:gd name="connsiteY119" fmla="*/ 1073 h 10000"/>
                    <a:gd name="connsiteX120" fmla="*/ 4444 w 10000"/>
                    <a:gd name="connsiteY120" fmla="*/ 587 h 10000"/>
                    <a:gd name="connsiteX121" fmla="*/ 4444 w 10000"/>
                    <a:gd name="connsiteY121" fmla="*/ 587 h 10000"/>
                    <a:gd name="connsiteX122" fmla="*/ 4444 w 10000"/>
                    <a:gd name="connsiteY122" fmla="*/ 517 h 10000"/>
                    <a:gd name="connsiteX123" fmla="*/ 4500 w 10000"/>
                    <a:gd name="connsiteY123" fmla="*/ 268 h 10000"/>
                    <a:gd name="connsiteX124" fmla="*/ 4778 w 10000"/>
                    <a:gd name="connsiteY124" fmla="*/ 83 h 10000"/>
                    <a:gd name="connsiteX125" fmla="*/ 5000 w 10000"/>
                    <a:gd name="connsiteY125" fmla="*/ 0 h 10000"/>
                    <a:gd name="connsiteX126" fmla="*/ 10000 w 10000"/>
                    <a:gd name="connsiteY126" fmla="*/ 8876 h 10000"/>
                    <a:gd name="connsiteX127" fmla="*/ 10000 w 10000"/>
                    <a:gd name="connsiteY127" fmla="*/ 8876 h 10000"/>
                    <a:gd name="connsiteX128" fmla="*/ 9722 w 10000"/>
                    <a:gd name="connsiteY128" fmla="*/ 8859 h 10000"/>
                    <a:gd name="connsiteX129" fmla="*/ 9389 w 10000"/>
                    <a:gd name="connsiteY129" fmla="*/ 8876 h 10000"/>
                    <a:gd name="connsiteX130" fmla="*/ 9389 w 10000"/>
                    <a:gd name="connsiteY130" fmla="*/ 8876 h 10000"/>
                    <a:gd name="connsiteX131" fmla="*/ 9278 w 10000"/>
                    <a:gd name="connsiteY131" fmla="*/ 8894 h 10000"/>
                    <a:gd name="connsiteX132" fmla="*/ 9056 w 10000"/>
                    <a:gd name="connsiteY132" fmla="*/ 8876 h 10000"/>
                    <a:gd name="connsiteX133" fmla="*/ 8889 w 10000"/>
                    <a:gd name="connsiteY133" fmla="*/ 8859 h 10000"/>
                    <a:gd name="connsiteX134" fmla="*/ 8722 w 10000"/>
                    <a:gd name="connsiteY134" fmla="*/ 8826 h 10000"/>
                    <a:gd name="connsiteX135" fmla="*/ 8611 w 10000"/>
                    <a:gd name="connsiteY135" fmla="*/ 8775 h 10000"/>
                    <a:gd name="connsiteX136" fmla="*/ 8444 w 10000"/>
                    <a:gd name="connsiteY136" fmla="*/ 8690 h 10000"/>
                    <a:gd name="connsiteX137" fmla="*/ 8444 w 10000"/>
                    <a:gd name="connsiteY137" fmla="*/ 8690 h 10000"/>
                    <a:gd name="connsiteX138" fmla="*/ 8222 w 10000"/>
                    <a:gd name="connsiteY138" fmla="*/ 8540 h 10000"/>
                    <a:gd name="connsiteX139" fmla="*/ 8111 w 10000"/>
                    <a:gd name="connsiteY139" fmla="*/ 8474 h 10000"/>
                    <a:gd name="connsiteX140" fmla="*/ 7944 w 10000"/>
                    <a:gd name="connsiteY140" fmla="*/ 8424 h 10000"/>
                    <a:gd name="connsiteX141" fmla="*/ 7778 w 10000"/>
                    <a:gd name="connsiteY141" fmla="*/ 8390 h 10000"/>
                    <a:gd name="connsiteX142" fmla="*/ 7556 w 10000"/>
                    <a:gd name="connsiteY142" fmla="*/ 8371 h 10000"/>
                    <a:gd name="connsiteX143" fmla="*/ 7333 w 10000"/>
                    <a:gd name="connsiteY143" fmla="*/ 8357 h 10000"/>
                    <a:gd name="connsiteX144" fmla="*/ 7000 w 10000"/>
                    <a:gd name="connsiteY144" fmla="*/ 8338 h 10000"/>
                    <a:gd name="connsiteX145" fmla="*/ 7000 w 10000"/>
                    <a:gd name="connsiteY145" fmla="*/ 8338 h 10000"/>
                    <a:gd name="connsiteX146" fmla="*/ 6556 w 10000"/>
                    <a:gd name="connsiteY146" fmla="*/ 8357 h 10000"/>
                    <a:gd name="connsiteX147" fmla="*/ 6222 w 10000"/>
                    <a:gd name="connsiteY147" fmla="*/ 8357 h 10000"/>
                    <a:gd name="connsiteX148" fmla="*/ 6111 w 10000"/>
                    <a:gd name="connsiteY148" fmla="*/ 8338 h 10000"/>
                    <a:gd name="connsiteX149" fmla="*/ 6056 w 10000"/>
                    <a:gd name="connsiteY149" fmla="*/ 8321 h 10000"/>
                    <a:gd name="connsiteX150" fmla="*/ 6056 w 10000"/>
                    <a:gd name="connsiteY150" fmla="*/ 8321 h 10000"/>
                    <a:gd name="connsiteX151" fmla="*/ 6056 w 10000"/>
                    <a:gd name="connsiteY151" fmla="*/ 8021 h 10000"/>
                    <a:gd name="connsiteX152" fmla="*/ 6056 w 10000"/>
                    <a:gd name="connsiteY152" fmla="*/ 8021 h 10000"/>
                    <a:gd name="connsiteX153" fmla="*/ 6056 w 10000"/>
                    <a:gd name="connsiteY153" fmla="*/ 7951 h 10000"/>
                    <a:gd name="connsiteX154" fmla="*/ 5944 w 10000"/>
                    <a:gd name="connsiteY154" fmla="*/ 7870 h 10000"/>
                    <a:gd name="connsiteX155" fmla="*/ 5889 w 10000"/>
                    <a:gd name="connsiteY155" fmla="*/ 7851 h 10000"/>
                    <a:gd name="connsiteX156" fmla="*/ 5778 w 10000"/>
                    <a:gd name="connsiteY156" fmla="*/ 7836 h 10000"/>
                    <a:gd name="connsiteX157" fmla="*/ 5667 w 10000"/>
                    <a:gd name="connsiteY157" fmla="*/ 7836 h 10000"/>
                    <a:gd name="connsiteX158" fmla="*/ 5500 w 10000"/>
                    <a:gd name="connsiteY158" fmla="*/ 7851 h 10000"/>
                    <a:gd name="connsiteX159" fmla="*/ 5500 w 10000"/>
                    <a:gd name="connsiteY159" fmla="*/ 7851 h 10000"/>
                    <a:gd name="connsiteX160" fmla="*/ 4889 w 10000"/>
                    <a:gd name="connsiteY160" fmla="*/ 7969 h 10000"/>
                    <a:gd name="connsiteX161" fmla="*/ 4611 w 10000"/>
                    <a:gd name="connsiteY161" fmla="*/ 8003 h 10000"/>
                    <a:gd name="connsiteX162" fmla="*/ 4556 w 10000"/>
                    <a:gd name="connsiteY162" fmla="*/ 8021 h 10000"/>
                    <a:gd name="connsiteX163" fmla="*/ 4500 w 10000"/>
                    <a:gd name="connsiteY163" fmla="*/ 8003 h 10000"/>
                    <a:gd name="connsiteX164" fmla="*/ 4500 w 10000"/>
                    <a:gd name="connsiteY164" fmla="*/ 8003 h 10000"/>
                    <a:gd name="connsiteX165" fmla="*/ 4222 w 10000"/>
                    <a:gd name="connsiteY165" fmla="*/ 7836 h 10000"/>
                    <a:gd name="connsiteX166" fmla="*/ 4222 w 10000"/>
                    <a:gd name="connsiteY166" fmla="*/ 7836 h 10000"/>
                    <a:gd name="connsiteX167" fmla="*/ 4111 w 10000"/>
                    <a:gd name="connsiteY167" fmla="*/ 7752 h 10000"/>
                    <a:gd name="connsiteX168" fmla="*/ 4111 w 10000"/>
                    <a:gd name="connsiteY168" fmla="*/ 7700 h 10000"/>
                    <a:gd name="connsiteX169" fmla="*/ 4111 w 10000"/>
                    <a:gd name="connsiteY169" fmla="*/ 7651 h 10000"/>
                    <a:gd name="connsiteX170" fmla="*/ 4111 w 10000"/>
                    <a:gd name="connsiteY170" fmla="*/ 7651 h 10000"/>
                    <a:gd name="connsiteX171" fmla="*/ 4278 w 10000"/>
                    <a:gd name="connsiteY171" fmla="*/ 7601 h 10000"/>
                    <a:gd name="connsiteX172" fmla="*/ 4389 w 10000"/>
                    <a:gd name="connsiteY172" fmla="*/ 7584 h 10000"/>
                    <a:gd name="connsiteX173" fmla="*/ 4389 w 10000"/>
                    <a:gd name="connsiteY173" fmla="*/ 7584 h 10000"/>
                    <a:gd name="connsiteX174" fmla="*/ 4000 w 10000"/>
                    <a:gd name="connsiteY174" fmla="*/ 7584 h 10000"/>
                    <a:gd name="connsiteX175" fmla="*/ 3722 w 10000"/>
                    <a:gd name="connsiteY175" fmla="*/ 7601 h 10000"/>
                    <a:gd name="connsiteX176" fmla="*/ 3611 w 10000"/>
                    <a:gd name="connsiteY176" fmla="*/ 7617 h 10000"/>
                    <a:gd name="connsiteX177" fmla="*/ 3556 w 10000"/>
                    <a:gd name="connsiteY177" fmla="*/ 7635 h 10000"/>
                    <a:gd name="connsiteX178" fmla="*/ 3556 w 10000"/>
                    <a:gd name="connsiteY178" fmla="*/ 7635 h 10000"/>
                    <a:gd name="connsiteX179" fmla="*/ 3444 w 10000"/>
                    <a:gd name="connsiteY179" fmla="*/ 7700 h 10000"/>
                    <a:gd name="connsiteX180" fmla="*/ 3278 w 10000"/>
                    <a:gd name="connsiteY180" fmla="*/ 7802 h 10000"/>
                    <a:gd name="connsiteX181" fmla="*/ 3000 w 10000"/>
                    <a:gd name="connsiteY181" fmla="*/ 7918 h 10000"/>
                    <a:gd name="connsiteX182" fmla="*/ 2667 w 10000"/>
                    <a:gd name="connsiteY182" fmla="*/ 8003 h 10000"/>
                    <a:gd name="connsiteX183" fmla="*/ 2667 w 10000"/>
                    <a:gd name="connsiteY183" fmla="*/ 8003 h 10000"/>
                    <a:gd name="connsiteX184" fmla="*/ 2333 w 10000"/>
                    <a:gd name="connsiteY184" fmla="*/ 8071 h 10000"/>
                    <a:gd name="connsiteX185" fmla="*/ 1833 w 10000"/>
                    <a:gd name="connsiteY185" fmla="*/ 8138 h 10000"/>
                    <a:gd name="connsiteX186" fmla="*/ 1389 w 10000"/>
                    <a:gd name="connsiteY186" fmla="*/ 8172 h 10000"/>
                    <a:gd name="connsiteX187" fmla="*/ 889 w 10000"/>
                    <a:gd name="connsiteY187" fmla="*/ 8188 h 10000"/>
                    <a:gd name="connsiteX188" fmla="*/ 889 w 10000"/>
                    <a:gd name="connsiteY188" fmla="*/ 8188 h 10000"/>
                    <a:gd name="connsiteX189" fmla="*/ 500 w 10000"/>
                    <a:gd name="connsiteY189" fmla="*/ 8206 h 10000"/>
                    <a:gd name="connsiteX190" fmla="*/ 222 w 10000"/>
                    <a:gd name="connsiteY190" fmla="*/ 8223 h 10000"/>
                    <a:gd name="connsiteX191" fmla="*/ 0 w 10000"/>
                    <a:gd name="connsiteY191" fmla="*/ 8240 h 10000"/>
                    <a:gd name="connsiteX192" fmla="*/ 0 w 10000"/>
                    <a:gd name="connsiteY192" fmla="*/ 8240 h 10000"/>
                    <a:gd name="connsiteX193" fmla="*/ 278 w 10000"/>
                    <a:gd name="connsiteY193" fmla="*/ 8507 h 10000"/>
                    <a:gd name="connsiteX194" fmla="*/ 500 w 10000"/>
                    <a:gd name="connsiteY194" fmla="*/ 8707 h 10000"/>
                    <a:gd name="connsiteX195" fmla="*/ 722 w 10000"/>
                    <a:gd name="connsiteY195" fmla="*/ 8876 h 10000"/>
                    <a:gd name="connsiteX196" fmla="*/ 722 w 10000"/>
                    <a:gd name="connsiteY196" fmla="*/ 8876 h 10000"/>
                    <a:gd name="connsiteX197" fmla="*/ 889 w 10000"/>
                    <a:gd name="connsiteY197" fmla="*/ 8978 h 10000"/>
                    <a:gd name="connsiteX198" fmla="*/ 944 w 10000"/>
                    <a:gd name="connsiteY198" fmla="*/ 9061 h 10000"/>
                    <a:gd name="connsiteX199" fmla="*/ 1111 w 10000"/>
                    <a:gd name="connsiteY199" fmla="*/ 9146 h 10000"/>
                    <a:gd name="connsiteX200" fmla="*/ 1333 w 10000"/>
                    <a:gd name="connsiteY200" fmla="*/ 9278 h 10000"/>
                    <a:gd name="connsiteX201" fmla="*/ 1333 w 10000"/>
                    <a:gd name="connsiteY201" fmla="*/ 9278 h 10000"/>
                    <a:gd name="connsiteX202" fmla="*/ 1444 w 10000"/>
                    <a:gd name="connsiteY202" fmla="*/ 9346 h 10000"/>
                    <a:gd name="connsiteX203" fmla="*/ 1500 w 10000"/>
                    <a:gd name="connsiteY203" fmla="*/ 9395 h 10000"/>
                    <a:gd name="connsiteX204" fmla="*/ 1500 w 10000"/>
                    <a:gd name="connsiteY204" fmla="*/ 9445 h 10000"/>
                    <a:gd name="connsiteX205" fmla="*/ 1556 w 10000"/>
                    <a:gd name="connsiteY205" fmla="*/ 9463 h 10000"/>
                    <a:gd name="connsiteX206" fmla="*/ 1722 w 10000"/>
                    <a:gd name="connsiteY206" fmla="*/ 9478 h 10000"/>
                    <a:gd name="connsiteX207" fmla="*/ 1944 w 10000"/>
                    <a:gd name="connsiteY207" fmla="*/ 9496 h 10000"/>
                    <a:gd name="connsiteX208" fmla="*/ 2944 w 10000"/>
                    <a:gd name="connsiteY208" fmla="*/ 9512 h 10000"/>
                    <a:gd name="connsiteX209" fmla="*/ 2944 w 10000"/>
                    <a:gd name="connsiteY209" fmla="*/ 9512 h 10000"/>
                    <a:gd name="connsiteX210" fmla="*/ 4167 w 10000"/>
                    <a:gd name="connsiteY210" fmla="*/ 9547 h 10000"/>
                    <a:gd name="connsiteX211" fmla="*/ 4889 w 10000"/>
                    <a:gd name="connsiteY211" fmla="*/ 9597 h 10000"/>
                    <a:gd name="connsiteX212" fmla="*/ 5278 w 10000"/>
                    <a:gd name="connsiteY212" fmla="*/ 9649 h 10000"/>
                    <a:gd name="connsiteX213" fmla="*/ 5444 w 10000"/>
                    <a:gd name="connsiteY213" fmla="*/ 9663 h 10000"/>
                    <a:gd name="connsiteX214" fmla="*/ 5444 w 10000"/>
                    <a:gd name="connsiteY214" fmla="*/ 9663 h 10000"/>
                    <a:gd name="connsiteX215" fmla="*/ 5722 w 10000"/>
                    <a:gd name="connsiteY215" fmla="*/ 9699 h 10000"/>
                    <a:gd name="connsiteX216" fmla="*/ 5833 w 10000"/>
                    <a:gd name="connsiteY216" fmla="*/ 9716 h 10000"/>
                    <a:gd name="connsiteX217" fmla="*/ 5833 w 10000"/>
                    <a:gd name="connsiteY217" fmla="*/ 9716 h 10000"/>
                    <a:gd name="connsiteX218" fmla="*/ 5833 w 10000"/>
                    <a:gd name="connsiteY218" fmla="*/ 9699 h 10000"/>
                    <a:gd name="connsiteX219" fmla="*/ 5889 w 10000"/>
                    <a:gd name="connsiteY219" fmla="*/ 9681 h 10000"/>
                    <a:gd name="connsiteX220" fmla="*/ 6000 w 10000"/>
                    <a:gd name="connsiteY220" fmla="*/ 9663 h 10000"/>
                    <a:gd name="connsiteX221" fmla="*/ 6167 w 10000"/>
                    <a:gd name="connsiteY221" fmla="*/ 9649 h 10000"/>
                    <a:gd name="connsiteX222" fmla="*/ 6444 w 10000"/>
                    <a:gd name="connsiteY222" fmla="*/ 9649 h 10000"/>
                    <a:gd name="connsiteX223" fmla="*/ 6833 w 10000"/>
                    <a:gd name="connsiteY223" fmla="*/ 9663 h 10000"/>
                    <a:gd name="connsiteX224" fmla="*/ 7278 w 10000"/>
                    <a:gd name="connsiteY224" fmla="*/ 9716 h 10000"/>
                    <a:gd name="connsiteX225" fmla="*/ 7278 w 10000"/>
                    <a:gd name="connsiteY225" fmla="*/ 9716 h 10000"/>
                    <a:gd name="connsiteX226" fmla="*/ 8722 w 10000"/>
                    <a:gd name="connsiteY226" fmla="*/ 9865 h 10000"/>
                    <a:gd name="connsiteX227" fmla="*/ 10000 w 10000"/>
                    <a:gd name="connsiteY227" fmla="*/ 10000 h 10000"/>
                    <a:gd name="connsiteX0" fmla="*/ 10000 w 10000"/>
                    <a:gd name="connsiteY0" fmla="*/ 8859 h 10000"/>
                    <a:gd name="connsiteX1" fmla="*/ 10000 w 10000"/>
                    <a:gd name="connsiteY1" fmla="*/ 8859 h 10000"/>
                    <a:gd name="connsiteX2" fmla="*/ 9222 w 10000"/>
                    <a:gd name="connsiteY2" fmla="*/ 8876 h 10000"/>
                    <a:gd name="connsiteX3" fmla="*/ 8944 w 10000"/>
                    <a:gd name="connsiteY3" fmla="*/ 8876 h 10000"/>
                    <a:gd name="connsiteX4" fmla="*/ 8833 w 10000"/>
                    <a:gd name="connsiteY4" fmla="*/ 8859 h 10000"/>
                    <a:gd name="connsiteX5" fmla="*/ 8778 w 10000"/>
                    <a:gd name="connsiteY5" fmla="*/ 8843 h 10000"/>
                    <a:gd name="connsiteX6" fmla="*/ 8778 w 10000"/>
                    <a:gd name="connsiteY6" fmla="*/ 8843 h 10000"/>
                    <a:gd name="connsiteX7" fmla="*/ 8444 w 10000"/>
                    <a:gd name="connsiteY7" fmla="*/ 8641 h 10000"/>
                    <a:gd name="connsiteX8" fmla="*/ 8167 w 10000"/>
                    <a:gd name="connsiteY8" fmla="*/ 8456 h 10000"/>
                    <a:gd name="connsiteX9" fmla="*/ 8167 w 10000"/>
                    <a:gd name="connsiteY9" fmla="*/ 8456 h 10000"/>
                    <a:gd name="connsiteX10" fmla="*/ 8056 w 10000"/>
                    <a:gd name="connsiteY10" fmla="*/ 8424 h 10000"/>
                    <a:gd name="connsiteX11" fmla="*/ 7889 w 10000"/>
                    <a:gd name="connsiteY11" fmla="*/ 8390 h 10000"/>
                    <a:gd name="connsiteX12" fmla="*/ 7444 w 10000"/>
                    <a:gd name="connsiteY12" fmla="*/ 8371 h 10000"/>
                    <a:gd name="connsiteX13" fmla="*/ 6889 w 10000"/>
                    <a:gd name="connsiteY13" fmla="*/ 8357 h 10000"/>
                    <a:gd name="connsiteX14" fmla="*/ 6389 w 10000"/>
                    <a:gd name="connsiteY14" fmla="*/ 8357 h 10000"/>
                    <a:gd name="connsiteX15" fmla="*/ 6389 w 10000"/>
                    <a:gd name="connsiteY15" fmla="*/ 8357 h 10000"/>
                    <a:gd name="connsiteX16" fmla="*/ 6167 w 10000"/>
                    <a:gd name="connsiteY16" fmla="*/ 8338 h 10000"/>
                    <a:gd name="connsiteX17" fmla="*/ 6056 w 10000"/>
                    <a:gd name="connsiteY17" fmla="*/ 8307 h 10000"/>
                    <a:gd name="connsiteX18" fmla="*/ 6000 w 10000"/>
                    <a:gd name="connsiteY18" fmla="*/ 8272 h 10000"/>
                    <a:gd name="connsiteX19" fmla="*/ 6000 w 10000"/>
                    <a:gd name="connsiteY19" fmla="*/ 8206 h 10000"/>
                    <a:gd name="connsiteX20" fmla="*/ 6056 w 10000"/>
                    <a:gd name="connsiteY20" fmla="*/ 8071 h 10000"/>
                    <a:gd name="connsiteX21" fmla="*/ 6111 w 10000"/>
                    <a:gd name="connsiteY21" fmla="*/ 8003 h 10000"/>
                    <a:gd name="connsiteX22" fmla="*/ 6056 w 10000"/>
                    <a:gd name="connsiteY22" fmla="*/ 7918 h 10000"/>
                    <a:gd name="connsiteX23" fmla="*/ 6056 w 10000"/>
                    <a:gd name="connsiteY23" fmla="*/ 7918 h 10000"/>
                    <a:gd name="connsiteX24" fmla="*/ 6000 w 10000"/>
                    <a:gd name="connsiteY24" fmla="*/ 7870 h 10000"/>
                    <a:gd name="connsiteX25" fmla="*/ 5944 w 10000"/>
                    <a:gd name="connsiteY25" fmla="*/ 7836 h 10000"/>
                    <a:gd name="connsiteX26" fmla="*/ 5833 w 10000"/>
                    <a:gd name="connsiteY26" fmla="*/ 7836 h 10000"/>
                    <a:gd name="connsiteX27" fmla="*/ 5667 w 10000"/>
                    <a:gd name="connsiteY27" fmla="*/ 7851 h 10000"/>
                    <a:gd name="connsiteX28" fmla="*/ 5333 w 10000"/>
                    <a:gd name="connsiteY28" fmla="*/ 7902 h 10000"/>
                    <a:gd name="connsiteX29" fmla="*/ 4889 w 10000"/>
                    <a:gd name="connsiteY29" fmla="*/ 7987 h 10000"/>
                    <a:gd name="connsiteX30" fmla="*/ 4889 w 10000"/>
                    <a:gd name="connsiteY30" fmla="*/ 7987 h 10000"/>
                    <a:gd name="connsiteX31" fmla="*/ 4611 w 10000"/>
                    <a:gd name="connsiteY31" fmla="*/ 8003 h 10000"/>
                    <a:gd name="connsiteX32" fmla="*/ 4500 w 10000"/>
                    <a:gd name="connsiteY32" fmla="*/ 8003 h 10000"/>
                    <a:gd name="connsiteX33" fmla="*/ 4444 w 10000"/>
                    <a:gd name="connsiteY33" fmla="*/ 7987 h 10000"/>
                    <a:gd name="connsiteX34" fmla="*/ 4389 w 10000"/>
                    <a:gd name="connsiteY34" fmla="*/ 7918 h 10000"/>
                    <a:gd name="connsiteX35" fmla="*/ 4222 w 10000"/>
                    <a:gd name="connsiteY35" fmla="*/ 7836 h 10000"/>
                    <a:gd name="connsiteX36" fmla="*/ 4222 w 10000"/>
                    <a:gd name="connsiteY36" fmla="*/ 7836 h 10000"/>
                    <a:gd name="connsiteX37" fmla="*/ 4111 w 10000"/>
                    <a:gd name="connsiteY37" fmla="*/ 7785 h 10000"/>
                    <a:gd name="connsiteX38" fmla="*/ 4111 w 10000"/>
                    <a:gd name="connsiteY38" fmla="*/ 7735 h 10000"/>
                    <a:gd name="connsiteX39" fmla="*/ 4111 w 10000"/>
                    <a:gd name="connsiteY39" fmla="*/ 7700 h 10000"/>
                    <a:gd name="connsiteX40" fmla="*/ 4167 w 10000"/>
                    <a:gd name="connsiteY40" fmla="*/ 7668 h 10000"/>
                    <a:gd name="connsiteX41" fmla="*/ 4278 w 10000"/>
                    <a:gd name="connsiteY41" fmla="*/ 7601 h 10000"/>
                    <a:gd name="connsiteX42" fmla="*/ 4389 w 10000"/>
                    <a:gd name="connsiteY42" fmla="*/ 7584 h 10000"/>
                    <a:gd name="connsiteX43" fmla="*/ 4389 w 10000"/>
                    <a:gd name="connsiteY43" fmla="*/ 7584 h 10000"/>
                    <a:gd name="connsiteX44" fmla="*/ 4389 w 10000"/>
                    <a:gd name="connsiteY44" fmla="*/ 7567 h 10000"/>
                    <a:gd name="connsiteX45" fmla="*/ 4444 w 10000"/>
                    <a:gd name="connsiteY45" fmla="*/ 7551 h 10000"/>
                    <a:gd name="connsiteX46" fmla="*/ 4667 w 10000"/>
                    <a:gd name="connsiteY46" fmla="*/ 7534 h 10000"/>
                    <a:gd name="connsiteX47" fmla="*/ 5333 w 10000"/>
                    <a:gd name="connsiteY47" fmla="*/ 7500 h 10000"/>
                    <a:gd name="connsiteX48" fmla="*/ 6500 w 10000"/>
                    <a:gd name="connsiteY48" fmla="*/ 7450 h 10000"/>
                    <a:gd name="connsiteX49" fmla="*/ 6500 w 10000"/>
                    <a:gd name="connsiteY49" fmla="*/ 7450 h 10000"/>
                    <a:gd name="connsiteX50" fmla="*/ 7167 w 10000"/>
                    <a:gd name="connsiteY50" fmla="*/ 7400 h 10000"/>
                    <a:gd name="connsiteX51" fmla="*/ 8389 w 10000"/>
                    <a:gd name="connsiteY51" fmla="*/ 7300 h 10000"/>
                    <a:gd name="connsiteX52" fmla="*/ 8389 w 10000"/>
                    <a:gd name="connsiteY52" fmla="*/ 7300 h 10000"/>
                    <a:gd name="connsiteX53" fmla="*/ 8667 w 10000"/>
                    <a:gd name="connsiteY53" fmla="*/ 7264 h 10000"/>
                    <a:gd name="connsiteX54" fmla="*/ 8778 w 10000"/>
                    <a:gd name="connsiteY54" fmla="*/ 7213 h 10000"/>
                    <a:gd name="connsiteX55" fmla="*/ 8889 w 10000"/>
                    <a:gd name="connsiteY55" fmla="*/ 7181 h 10000"/>
                    <a:gd name="connsiteX56" fmla="*/ 8833 w 10000"/>
                    <a:gd name="connsiteY56" fmla="*/ 7147 h 10000"/>
                    <a:gd name="connsiteX57" fmla="*/ 8833 w 10000"/>
                    <a:gd name="connsiteY57" fmla="*/ 7114 h 10000"/>
                    <a:gd name="connsiteX58" fmla="*/ 8722 w 10000"/>
                    <a:gd name="connsiteY58" fmla="*/ 7080 h 10000"/>
                    <a:gd name="connsiteX59" fmla="*/ 8556 w 10000"/>
                    <a:gd name="connsiteY59" fmla="*/ 7029 h 10000"/>
                    <a:gd name="connsiteX60" fmla="*/ 8556 w 10000"/>
                    <a:gd name="connsiteY60" fmla="*/ 7029 h 10000"/>
                    <a:gd name="connsiteX61" fmla="*/ 6556 w 10000"/>
                    <a:gd name="connsiteY61" fmla="*/ 6730 h 10000"/>
                    <a:gd name="connsiteX62" fmla="*/ 6556 w 10000"/>
                    <a:gd name="connsiteY62" fmla="*/ 6730 h 10000"/>
                    <a:gd name="connsiteX63" fmla="*/ 6333 w 10000"/>
                    <a:gd name="connsiteY63" fmla="*/ 6680 h 10000"/>
                    <a:gd name="connsiteX64" fmla="*/ 6167 w 10000"/>
                    <a:gd name="connsiteY64" fmla="*/ 6628 h 10000"/>
                    <a:gd name="connsiteX65" fmla="*/ 6056 w 10000"/>
                    <a:gd name="connsiteY65" fmla="*/ 6577 h 10000"/>
                    <a:gd name="connsiteX66" fmla="*/ 6056 w 10000"/>
                    <a:gd name="connsiteY66" fmla="*/ 6577 h 10000"/>
                    <a:gd name="connsiteX67" fmla="*/ 8056 w 10000"/>
                    <a:gd name="connsiteY67" fmla="*/ 6561 h 10000"/>
                    <a:gd name="connsiteX68" fmla="*/ 10000 w 10000"/>
                    <a:gd name="connsiteY68" fmla="*/ 6730 h 10000"/>
                    <a:gd name="connsiteX69" fmla="*/ 10000 w 10000"/>
                    <a:gd name="connsiteY69" fmla="*/ 5201 h 10000"/>
                    <a:gd name="connsiteX70" fmla="*/ 10000 w 10000"/>
                    <a:gd name="connsiteY70" fmla="*/ 5201 h 10000"/>
                    <a:gd name="connsiteX71" fmla="*/ 7778 w 10000"/>
                    <a:gd name="connsiteY71" fmla="*/ 4850 h 10000"/>
                    <a:gd name="connsiteX72" fmla="*/ 6556 w 10000"/>
                    <a:gd name="connsiteY72" fmla="*/ 4647 h 10000"/>
                    <a:gd name="connsiteX73" fmla="*/ 6556 w 10000"/>
                    <a:gd name="connsiteY73" fmla="*/ 4647 h 10000"/>
                    <a:gd name="connsiteX74" fmla="*/ 6556 w 10000"/>
                    <a:gd name="connsiteY74" fmla="*/ 4630 h 10000"/>
                    <a:gd name="connsiteX75" fmla="*/ 6556 w 10000"/>
                    <a:gd name="connsiteY75" fmla="*/ 4529 h 10000"/>
                    <a:gd name="connsiteX76" fmla="*/ 6556 w 10000"/>
                    <a:gd name="connsiteY76" fmla="*/ 4529 h 10000"/>
                    <a:gd name="connsiteX77" fmla="*/ 6389 w 10000"/>
                    <a:gd name="connsiteY77" fmla="*/ 4414 h 10000"/>
                    <a:gd name="connsiteX78" fmla="*/ 6056 w 10000"/>
                    <a:gd name="connsiteY78" fmla="*/ 4229 h 10000"/>
                    <a:gd name="connsiteX79" fmla="*/ 5333 w 10000"/>
                    <a:gd name="connsiteY79" fmla="*/ 3874 h 10000"/>
                    <a:gd name="connsiteX80" fmla="*/ 5333 w 10000"/>
                    <a:gd name="connsiteY80" fmla="*/ 3874 h 10000"/>
                    <a:gd name="connsiteX81" fmla="*/ 5167 w 10000"/>
                    <a:gd name="connsiteY81" fmla="*/ 3825 h 10000"/>
                    <a:gd name="connsiteX82" fmla="*/ 4889 w 10000"/>
                    <a:gd name="connsiteY82" fmla="*/ 3757 h 10000"/>
                    <a:gd name="connsiteX83" fmla="*/ 4056 w 10000"/>
                    <a:gd name="connsiteY83" fmla="*/ 3608 h 10000"/>
                    <a:gd name="connsiteX84" fmla="*/ 2889 w 10000"/>
                    <a:gd name="connsiteY84" fmla="*/ 3424 h 10000"/>
                    <a:gd name="connsiteX85" fmla="*/ 2889 w 10000"/>
                    <a:gd name="connsiteY85" fmla="*/ 3424 h 10000"/>
                    <a:gd name="connsiteX86" fmla="*/ 2389 w 10000"/>
                    <a:gd name="connsiteY86" fmla="*/ 3405 h 10000"/>
                    <a:gd name="connsiteX87" fmla="*/ 2000 w 10000"/>
                    <a:gd name="connsiteY87" fmla="*/ 3388 h 10000"/>
                    <a:gd name="connsiteX88" fmla="*/ 1889 w 10000"/>
                    <a:gd name="connsiteY88" fmla="*/ 3372 h 10000"/>
                    <a:gd name="connsiteX89" fmla="*/ 1778 w 10000"/>
                    <a:gd name="connsiteY89" fmla="*/ 3355 h 10000"/>
                    <a:gd name="connsiteX90" fmla="*/ 1778 w 10000"/>
                    <a:gd name="connsiteY90" fmla="*/ 3355 h 10000"/>
                    <a:gd name="connsiteX91" fmla="*/ 1667 w 10000"/>
                    <a:gd name="connsiteY91" fmla="*/ 3288 h 10000"/>
                    <a:gd name="connsiteX92" fmla="*/ 1500 w 10000"/>
                    <a:gd name="connsiteY92" fmla="*/ 3171 h 10000"/>
                    <a:gd name="connsiteX93" fmla="*/ 1444 w 10000"/>
                    <a:gd name="connsiteY93" fmla="*/ 3104 h 10000"/>
                    <a:gd name="connsiteX94" fmla="*/ 1444 w 10000"/>
                    <a:gd name="connsiteY94" fmla="*/ 3037 h 10000"/>
                    <a:gd name="connsiteX95" fmla="*/ 1444 w 10000"/>
                    <a:gd name="connsiteY95" fmla="*/ 2986 h 10000"/>
                    <a:gd name="connsiteX96" fmla="*/ 1556 w 10000"/>
                    <a:gd name="connsiteY96" fmla="*/ 2936 h 10000"/>
                    <a:gd name="connsiteX97" fmla="*/ 1556 w 10000"/>
                    <a:gd name="connsiteY97" fmla="*/ 2936 h 10000"/>
                    <a:gd name="connsiteX98" fmla="*/ 1833 w 10000"/>
                    <a:gd name="connsiteY98" fmla="*/ 2852 h 10000"/>
                    <a:gd name="connsiteX99" fmla="*/ 2111 w 10000"/>
                    <a:gd name="connsiteY99" fmla="*/ 2766 h 10000"/>
                    <a:gd name="connsiteX100" fmla="*/ 2278 w 10000"/>
                    <a:gd name="connsiteY100" fmla="*/ 2718 h 10000"/>
                    <a:gd name="connsiteX101" fmla="*/ 2389 w 10000"/>
                    <a:gd name="connsiteY101" fmla="*/ 2668 h 10000"/>
                    <a:gd name="connsiteX102" fmla="*/ 2389 w 10000"/>
                    <a:gd name="connsiteY102" fmla="*/ 2601 h 10000"/>
                    <a:gd name="connsiteX103" fmla="*/ 2389 w 10000"/>
                    <a:gd name="connsiteY103" fmla="*/ 2518 h 10000"/>
                    <a:gd name="connsiteX104" fmla="*/ 2389 w 10000"/>
                    <a:gd name="connsiteY104" fmla="*/ 2518 h 10000"/>
                    <a:gd name="connsiteX105" fmla="*/ 2167 w 10000"/>
                    <a:gd name="connsiteY105" fmla="*/ 2281 h 10000"/>
                    <a:gd name="connsiteX106" fmla="*/ 1889 w 10000"/>
                    <a:gd name="connsiteY106" fmla="*/ 1962 h 10000"/>
                    <a:gd name="connsiteX107" fmla="*/ 1667 w 10000"/>
                    <a:gd name="connsiteY107" fmla="*/ 1679 h 10000"/>
                    <a:gd name="connsiteX108" fmla="*/ 1611 w 10000"/>
                    <a:gd name="connsiteY108" fmla="*/ 1595 h 10000"/>
                    <a:gd name="connsiteX109" fmla="*/ 1611 w 10000"/>
                    <a:gd name="connsiteY109" fmla="*/ 1562 h 10000"/>
                    <a:gd name="connsiteX110" fmla="*/ 1667 w 10000"/>
                    <a:gd name="connsiteY110" fmla="*/ 1543 h 10000"/>
                    <a:gd name="connsiteX111" fmla="*/ 1667 w 10000"/>
                    <a:gd name="connsiteY111" fmla="*/ 1543 h 10000"/>
                    <a:gd name="connsiteX112" fmla="*/ 2000 w 10000"/>
                    <a:gd name="connsiteY112" fmla="*/ 1528 h 10000"/>
                    <a:gd name="connsiteX113" fmla="*/ 2222 w 10000"/>
                    <a:gd name="connsiteY113" fmla="*/ 1528 h 10000"/>
                    <a:gd name="connsiteX114" fmla="*/ 2389 w 10000"/>
                    <a:gd name="connsiteY114" fmla="*/ 1543 h 10000"/>
                    <a:gd name="connsiteX115" fmla="*/ 2389 w 10000"/>
                    <a:gd name="connsiteY115" fmla="*/ 1543 h 10000"/>
                    <a:gd name="connsiteX116" fmla="*/ 2444 w 10000"/>
                    <a:gd name="connsiteY116" fmla="*/ 1543 h 10000"/>
                    <a:gd name="connsiteX117" fmla="*/ 2500 w 10000"/>
                    <a:gd name="connsiteY117" fmla="*/ 1511 h 10000"/>
                    <a:gd name="connsiteX118" fmla="*/ 2778 w 10000"/>
                    <a:gd name="connsiteY118" fmla="*/ 1409 h 10000"/>
                    <a:gd name="connsiteX119" fmla="*/ 3500 w 10000"/>
                    <a:gd name="connsiteY119" fmla="*/ 1073 h 10000"/>
                    <a:gd name="connsiteX120" fmla="*/ 4444 w 10000"/>
                    <a:gd name="connsiteY120" fmla="*/ 587 h 10000"/>
                    <a:gd name="connsiteX121" fmla="*/ 4444 w 10000"/>
                    <a:gd name="connsiteY121" fmla="*/ 517 h 10000"/>
                    <a:gd name="connsiteX122" fmla="*/ 4500 w 10000"/>
                    <a:gd name="connsiteY122" fmla="*/ 268 h 10000"/>
                    <a:gd name="connsiteX123" fmla="*/ 4778 w 10000"/>
                    <a:gd name="connsiteY123" fmla="*/ 83 h 10000"/>
                    <a:gd name="connsiteX124" fmla="*/ 5000 w 10000"/>
                    <a:gd name="connsiteY124" fmla="*/ 0 h 10000"/>
                    <a:gd name="connsiteX125" fmla="*/ 10000 w 10000"/>
                    <a:gd name="connsiteY125" fmla="*/ 8876 h 10000"/>
                    <a:gd name="connsiteX126" fmla="*/ 10000 w 10000"/>
                    <a:gd name="connsiteY126" fmla="*/ 8876 h 10000"/>
                    <a:gd name="connsiteX127" fmla="*/ 9722 w 10000"/>
                    <a:gd name="connsiteY127" fmla="*/ 8859 h 10000"/>
                    <a:gd name="connsiteX128" fmla="*/ 9389 w 10000"/>
                    <a:gd name="connsiteY128" fmla="*/ 8876 h 10000"/>
                    <a:gd name="connsiteX129" fmla="*/ 9389 w 10000"/>
                    <a:gd name="connsiteY129" fmla="*/ 8876 h 10000"/>
                    <a:gd name="connsiteX130" fmla="*/ 9278 w 10000"/>
                    <a:gd name="connsiteY130" fmla="*/ 8894 h 10000"/>
                    <a:gd name="connsiteX131" fmla="*/ 9056 w 10000"/>
                    <a:gd name="connsiteY131" fmla="*/ 8876 h 10000"/>
                    <a:gd name="connsiteX132" fmla="*/ 8889 w 10000"/>
                    <a:gd name="connsiteY132" fmla="*/ 8859 h 10000"/>
                    <a:gd name="connsiteX133" fmla="*/ 8722 w 10000"/>
                    <a:gd name="connsiteY133" fmla="*/ 8826 h 10000"/>
                    <a:gd name="connsiteX134" fmla="*/ 8611 w 10000"/>
                    <a:gd name="connsiteY134" fmla="*/ 8775 h 10000"/>
                    <a:gd name="connsiteX135" fmla="*/ 8444 w 10000"/>
                    <a:gd name="connsiteY135" fmla="*/ 8690 h 10000"/>
                    <a:gd name="connsiteX136" fmla="*/ 8444 w 10000"/>
                    <a:gd name="connsiteY136" fmla="*/ 8690 h 10000"/>
                    <a:gd name="connsiteX137" fmla="*/ 8222 w 10000"/>
                    <a:gd name="connsiteY137" fmla="*/ 8540 h 10000"/>
                    <a:gd name="connsiteX138" fmla="*/ 8111 w 10000"/>
                    <a:gd name="connsiteY138" fmla="*/ 8474 h 10000"/>
                    <a:gd name="connsiteX139" fmla="*/ 7944 w 10000"/>
                    <a:gd name="connsiteY139" fmla="*/ 8424 h 10000"/>
                    <a:gd name="connsiteX140" fmla="*/ 7778 w 10000"/>
                    <a:gd name="connsiteY140" fmla="*/ 8390 h 10000"/>
                    <a:gd name="connsiteX141" fmla="*/ 7556 w 10000"/>
                    <a:gd name="connsiteY141" fmla="*/ 8371 h 10000"/>
                    <a:gd name="connsiteX142" fmla="*/ 7333 w 10000"/>
                    <a:gd name="connsiteY142" fmla="*/ 8357 h 10000"/>
                    <a:gd name="connsiteX143" fmla="*/ 7000 w 10000"/>
                    <a:gd name="connsiteY143" fmla="*/ 8338 h 10000"/>
                    <a:gd name="connsiteX144" fmla="*/ 7000 w 10000"/>
                    <a:gd name="connsiteY144" fmla="*/ 8338 h 10000"/>
                    <a:gd name="connsiteX145" fmla="*/ 6556 w 10000"/>
                    <a:gd name="connsiteY145" fmla="*/ 8357 h 10000"/>
                    <a:gd name="connsiteX146" fmla="*/ 6222 w 10000"/>
                    <a:gd name="connsiteY146" fmla="*/ 8357 h 10000"/>
                    <a:gd name="connsiteX147" fmla="*/ 6111 w 10000"/>
                    <a:gd name="connsiteY147" fmla="*/ 8338 h 10000"/>
                    <a:gd name="connsiteX148" fmla="*/ 6056 w 10000"/>
                    <a:gd name="connsiteY148" fmla="*/ 8321 h 10000"/>
                    <a:gd name="connsiteX149" fmla="*/ 6056 w 10000"/>
                    <a:gd name="connsiteY149" fmla="*/ 8321 h 10000"/>
                    <a:gd name="connsiteX150" fmla="*/ 6056 w 10000"/>
                    <a:gd name="connsiteY150" fmla="*/ 8021 h 10000"/>
                    <a:gd name="connsiteX151" fmla="*/ 6056 w 10000"/>
                    <a:gd name="connsiteY151" fmla="*/ 8021 h 10000"/>
                    <a:gd name="connsiteX152" fmla="*/ 6056 w 10000"/>
                    <a:gd name="connsiteY152" fmla="*/ 7951 h 10000"/>
                    <a:gd name="connsiteX153" fmla="*/ 5944 w 10000"/>
                    <a:gd name="connsiteY153" fmla="*/ 7870 h 10000"/>
                    <a:gd name="connsiteX154" fmla="*/ 5889 w 10000"/>
                    <a:gd name="connsiteY154" fmla="*/ 7851 h 10000"/>
                    <a:gd name="connsiteX155" fmla="*/ 5778 w 10000"/>
                    <a:gd name="connsiteY155" fmla="*/ 7836 h 10000"/>
                    <a:gd name="connsiteX156" fmla="*/ 5667 w 10000"/>
                    <a:gd name="connsiteY156" fmla="*/ 7836 h 10000"/>
                    <a:gd name="connsiteX157" fmla="*/ 5500 w 10000"/>
                    <a:gd name="connsiteY157" fmla="*/ 7851 h 10000"/>
                    <a:gd name="connsiteX158" fmla="*/ 5500 w 10000"/>
                    <a:gd name="connsiteY158" fmla="*/ 7851 h 10000"/>
                    <a:gd name="connsiteX159" fmla="*/ 4889 w 10000"/>
                    <a:gd name="connsiteY159" fmla="*/ 7969 h 10000"/>
                    <a:gd name="connsiteX160" fmla="*/ 4611 w 10000"/>
                    <a:gd name="connsiteY160" fmla="*/ 8003 h 10000"/>
                    <a:gd name="connsiteX161" fmla="*/ 4556 w 10000"/>
                    <a:gd name="connsiteY161" fmla="*/ 8021 h 10000"/>
                    <a:gd name="connsiteX162" fmla="*/ 4500 w 10000"/>
                    <a:gd name="connsiteY162" fmla="*/ 8003 h 10000"/>
                    <a:gd name="connsiteX163" fmla="*/ 4500 w 10000"/>
                    <a:gd name="connsiteY163" fmla="*/ 8003 h 10000"/>
                    <a:gd name="connsiteX164" fmla="*/ 4222 w 10000"/>
                    <a:gd name="connsiteY164" fmla="*/ 7836 h 10000"/>
                    <a:gd name="connsiteX165" fmla="*/ 4222 w 10000"/>
                    <a:gd name="connsiteY165" fmla="*/ 7836 h 10000"/>
                    <a:gd name="connsiteX166" fmla="*/ 4111 w 10000"/>
                    <a:gd name="connsiteY166" fmla="*/ 7752 h 10000"/>
                    <a:gd name="connsiteX167" fmla="*/ 4111 w 10000"/>
                    <a:gd name="connsiteY167" fmla="*/ 7700 h 10000"/>
                    <a:gd name="connsiteX168" fmla="*/ 4111 w 10000"/>
                    <a:gd name="connsiteY168" fmla="*/ 7651 h 10000"/>
                    <a:gd name="connsiteX169" fmla="*/ 4111 w 10000"/>
                    <a:gd name="connsiteY169" fmla="*/ 7651 h 10000"/>
                    <a:gd name="connsiteX170" fmla="*/ 4278 w 10000"/>
                    <a:gd name="connsiteY170" fmla="*/ 7601 h 10000"/>
                    <a:gd name="connsiteX171" fmla="*/ 4389 w 10000"/>
                    <a:gd name="connsiteY171" fmla="*/ 7584 h 10000"/>
                    <a:gd name="connsiteX172" fmla="*/ 4389 w 10000"/>
                    <a:gd name="connsiteY172" fmla="*/ 7584 h 10000"/>
                    <a:gd name="connsiteX173" fmla="*/ 4000 w 10000"/>
                    <a:gd name="connsiteY173" fmla="*/ 7584 h 10000"/>
                    <a:gd name="connsiteX174" fmla="*/ 3722 w 10000"/>
                    <a:gd name="connsiteY174" fmla="*/ 7601 h 10000"/>
                    <a:gd name="connsiteX175" fmla="*/ 3611 w 10000"/>
                    <a:gd name="connsiteY175" fmla="*/ 7617 h 10000"/>
                    <a:gd name="connsiteX176" fmla="*/ 3556 w 10000"/>
                    <a:gd name="connsiteY176" fmla="*/ 7635 h 10000"/>
                    <a:gd name="connsiteX177" fmla="*/ 3556 w 10000"/>
                    <a:gd name="connsiteY177" fmla="*/ 7635 h 10000"/>
                    <a:gd name="connsiteX178" fmla="*/ 3444 w 10000"/>
                    <a:gd name="connsiteY178" fmla="*/ 7700 h 10000"/>
                    <a:gd name="connsiteX179" fmla="*/ 3278 w 10000"/>
                    <a:gd name="connsiteY179" fmla="*/ 7802 h 10000"/>
                    <a:gd name="connsiteX180" fmla="*/ 3000 w 10000"/>
                    <a:gd name="connsiteY180" fmla="*/ 7918 h 10000"/>
                    <a:gd name="connsiteX181" fmla="*/ 2667 w 10000"/>
                    <a:gd name="connsiteY181" fmla="*/ 8003 h 10000"/>
                    <a:gd name="connsiteX182" fmla="*/ 2667 w 10000"/>
                    <a:gd name="connsiteY182" fmla="*/ 8003 h 10000"/>
                    <a:gd name="connsiteX183" fmla="*/ 2333 w 10000"/>
                    <a:gd name="connsiteY183" fmla="*/ 8071 h 10000"/>
                    <a:gd name="connsiteX184" fmla="*/ 1833 w 10000"/>
                    <a:gd name="connsiteY184" fmla="*/ 8138 h 10000"/>
                    <a:gd name="connsiteX185" fmla="*/ 1389 w 10000"/>
                    <a:gd name="connsiteY185" fmla="*/ 8172 h 10000"/>
                    <a:gd name="connsiteX186" fmla="*/ 889 w 10000"/>
                    <a:gd name="connsiteY186" fmla="*/ 8188 h 10000"/>
                    <a:gd name="connsiteX187" fmla="*/ 889 w 10000"/>
                    <a:gd name="connsiteY187" fmla="*/ 8188 h 10000"/>
                    <a:gd name="connsiteX188" fmla="*/ 500 w 10000"/>
                    <a:gd name="connsiteY188" fmla="*/ 8206 h 10000"/>
                    <a:gd name="connsiteX189" fmla="*/ 222 w 10000"/>
                    <a:gd name="connsiteY189" fmla="*/ 8223 h 10000"/>
                    <a:gd name="connsiteX190" fmla="*/ 0 w 10000"/>
                    <a:gd name="connsiteY190" fmla="*/ 8240 h 10000"/>
                    <a:gd name="connsiteX191" fmla="*/ 0 w 10000"/>
                    <a:gd name="connsiteY191" fmla="*/ 8240 h 10000"/>
                    <a:gd name="connsiteX192" fmla="*/ 278 w 10000"/>
                    <a:gd name="connsiteY192" fmla="*/ 8507 h 10000"/>
                    <a:gd name="connsiteX193" fmla="*/ 500 w 10000"/>
                    <a:gd name="connsiteY193" fmla="*/ 8707 h 10000"/>
                    <a:gd name="connsiteX194" fmla="*/ 722 w 10000"/>
                    <a:gd name="connsiteY194" fmla="*/ 8876 h 10000"/>
                    <a:gd name="connsiteX195" fmla="*/ 722 w 10000"/>
                    <a:gd name="connsiteY195" fmla="*/ 8876 h 10000"/>
                    <a:gd name="connsiteX196" fmla="*/ 889 w 10000"/>
                    <a:gd name="connsiteY196" fmla="*/ 8978 h 10000"/>
                    <a:gd name="connsiteX197" fmla="*/ 944 w 10000"/>
                    <a:gd name="connsiteY197" fmla="*/ 9061 h 10000"/>
                    <a:gd name="connsiteX198" fmla="*/ 1111 w 10000"/>
                    <a:gd name="connsiteY198" fmla="*/ 9146 h 10000"/>
                    <a:gd name="connsiteX199" fmla="*/ 1333 w 10000"/>
                    <a:gd name="connsiteY199" fmla="*/ 9278 h 10000"/>
                    <a:gd name="connsiteX200" fmla="*/ 1333 w 10000"/>
                    <a:gd name="connsiteY200" fmla="*/ 9278 h 10000"/>
                    <a:gd name="connsiteX201" fmla="*/ 1444 w 10000"/>
                    <a:gd name="connsiteY201" fmla="*/ 9346 h 10000"/>
                    <a:gd name="connsiteX202" fmla="*/ 1500 w 10000"/>
                    <a:gd name="connsiteY202" fmla="*/ 9395 h 10000"/>
                    <a:gd name="connsiteX203" fmla="*/ 1500 w 10000"/>
                    <a:gd name="connsiteY203" fmla="*/ 9445 h 10000"/>
                    <a:gd name="connsiteX204" fmla="*/ 1556 w 10000"/>
                    <a:gd name="connsiteY204" fmla="*/ 9463 h 10000"/>
                    <a:gd name="connsiteX205" fmla="*/ 1722 w 10000"/>
                    <a:gd name="connsiteY205" fmla="*/ 9478 h 10000"/>
                    <a:gd name="connsiteX206" fmla="*/ 1944 w 10000"/>
                    <a:gd name="connsiteY206" fmla="*/ 9496 h 10000"/>
                    <a:gd name="connsiteX207" fmla="*/ 2944 w 10000"/>
                    <a:gd name="connsiteY207" fmla="*/ 9512 h 10000"/>
                    <a:gd name="connsiteX208" fmla="*/ 2944 w 10000"/>
                    <a:gd name="connsiteY208" fmla="*/ 9512 h 10000"/>
                    <a:gd name="connsiteX209" fmla="*/ 4167 w 10000"/>
                    <a:gd name="connsiteY209" fmla="*/ 9547 h 10000"/>
                    <a:gd name="connsiteX210" fmla="*/ 4889 w 10000"/>
                    <a:gd name="connsiteY210" fmla="*/ 9597 h 10000"/>
                    <a:gd name="connsiteX211" fmla="*/ 5278 w 10000"/>
                    <a:gd name="connsiteY211" fmla="*/ 9649 h 10000"/>
                    <a:gd name="connsiteX212" fmla="*/ 5444 w 10000"/>
                    <a:gd name="connsiteY212" fmla="*/ 9663 h 10000"/>
                    <a:gd name="connsiteX213" fmla="*/ 5444 w 10000"/>
                    <a:gd name="connsiteY213" fmla="*/ 9663 h 10000"/>
                    <a:gd name="connsiteX214" fmla="*/ 5722 w 10000"/>
                    <a:gd name="connsiteY214" fmla="*/ 9699 h 10000"/>
                    <a:gd name="connsiteX215" fmla="*/ 5833 w 10000"/>
                    <a:gd name="connsiteY215" fmla="*/ 9716 h 10000"/>
                    <a:gd name="connsiteX216" fmla="*/ 5833 w 10000"/>
                    <a:gd name="connsiteY216" fmla="*/ 9716 h 10000"/>
                    <a:gd name="connsiteX217" fmla="*/ 5833 w 10000"/>
                    <a:gd name="connsiteY217" fmla="*/ 9699 h 10000"/>
                    <a:gd name="connsiteX218" fmla="*/ 5889 w 10000"/>
                    <a:gd name="connsiteY218" fmla="*/ 9681 h 10000"/>
                    <a:gd name="connsiteX219" fmla="*/ 6000 w 10000"/>
                    <a:gd name="connsiteY219" fmla="*/ 9663 h 10000"/>
                    <a:gd name="connsiteX220" fmla="*/ 6167 w 10000"/>
                    <a:gd name="connsiteY220" fmla="*/ 9649 h 10000"/>
                    <a:gd name="connsiteX221" fmla="*/ 6444 w 10000"/>
                    <a:gd name="connsiteY221" fmla="*/ 9649 h 10000"/>
                    <a:gd name="connsiteX222" fmla="*/ 6833 w 10000"/>
                    <a:gd name="connsiteY222" fmla="*/ 9663 h 10000"/>
                    <a:gd name="connsiteX223" fmla="*/ 7278 w 10000"/>
                    <a:gd name="connsiteY223" fmla="*/ 9716 h 10000"/>
                    <a:gd name="connsiteX224" fmla="*/ 7278 w 10000"/>
                    <a:gd name="connsiteY224" fmla="*/ 9716 h 10000"/>
                    <a:gd name="connsiteX225" fmla="*/ 8722 w 10000"/>
                    <a:gd name="connsiteY225" fmla="*/ 9865 h 10000"/>
                    <a:gd name="connsiteX226" fmla="*/ 10000 w 10000"/>
                    <a:gd name="connsiteY226" fmla="*/ 10000 h 10000"/>
                    <a:gd name="connsiteX0" fmla="*/ 10000 w 10000"/>
                    <a:gd name="connsiteY0" fmla="*/ 8776 h 9917"/>
                    <a:gd name="connsiteX1" fmla="*/ 10000 w 10000"/>
                    <a:gd name="connsiteY1" fmla="*/ 8776 h 9917"/>
                    <a:gd name="connsiteX2" fmla="*/ 9222 w 10000"/>
                    <a:gd name="connsiteY2" fmla="*/ 8793 h 9917"/>
                    <a:gd name="connsiteX3" fmla="*/ 8944 w 10000"/>
                    <a:gd name="connsiteY3" fmla="*/ 8793 h 9917"/>
                    <a:gd name="connsiteX4" fmla="*/ 8833 w 10000"/>
                    <a:gd name="connsiteY4" fmla="*/ 8776 h 9917"/>
                    <a:gd name="connsiteX5" fmla="*/ 8778 w 10000"/>
                    <a:gd name="connsiteY5" fmla="*/ 8760 h 9917"/>
                    <a:gd name="connsiteX6" fmla="*/ 8778 w 10000"/>
                    <a:gd name="connsiteY6" fmla="*/ 8760 h 9917"/>
                    <a:gd name="connsiteX7" fmla="*/ 8444 w 10000"/>
                    <a:gd name="connsiteY7" fmla="*/ 8558 h 9917"/>
                    <a:gd name="connsiteX8" fmla="*/ 8167 w 10000"/>
                    <a:gd name="connsiteY8" fmla="*/ 8373 h 9917"/>
                    <a:gd name="connsiteX9" fmla="*/ 8167 w 10000"/>
                    <a:gd name="connsiteY9" fmla="*/ 8373 h 9917"/>
                    <a:gd name="connsiteX10" fmla="*/ 8056 w 10000"/>
                    <a:gd name="connsiteY10" fmla="*/ 8341 h 9917"/>
                    <a:gd name="connsiteX11" fmla="*/ 7889 w 10000"/>
                    <a:gd name="connsiteY11" fmla="*/ 8307 h 9917"/>
                    <a:gd name="connsiteX12" fmla="*/ 7444 w 10000"/>
                    <a:gd name="connsiteY12" fmla="*/ 8288 h 9917"/>
                    <a:gd name="connsiteX13" fmla="*/ 6889 w 10000"/>
                    <a:gd name="connsiteY13" fmla="*/ 8274 h 9917"/>
                    <a:gd name="connsiteX14" fmla="*/ 6389 w 10000"/>
                    <a:gd name="connsiteY14" fmla="*/ 8274 h 9917"/>
                    <a:gd name="connsiteX15" fmla="*/ 6389 w 10000"/>
                    <a:gd name="connsiteY15" fmla="*/ 8274 h 9917"/>
                    <a:gd name="connsiteX16" fmla="*/ 6167 w 10000"/>
                    <a:gd name="connsiteY16" fmla="*/ 8255 h 9917"/>
                    <a:gd name="connsiteX17" fmla="*/ 6056 w 10000"/>
                    <a:gd name="connsiteY17" fmla="*/ 8224 h 9917"/>
                    <a:gd name="connsiteX18" fmla="*/ 6000 w 10000"/>
                    <a:gd name="connsiteY18" fmla="*/ 8189 h 9917"/>
                    <a:gd name="connsiteX19" fmla="*/ 6000 w 10000"/>
                    <a:gd name="connsiteY19" fmla="*/ 8123 h 9917"/>
                    <a:gd name="connsiteX20" fmla="*/ 6056 w 10000"/>
                    <a:gd name="connsiteY20" fmla="*/ 7988 h 9917"/>
                    <a:gd name="connsiteX21" fmla="*/ 6111 w 10000"/>
                    <a:gd name="connsiteY21" fmla="*/ 7920 h 9917"/>
                    <a:gd name="connsiteX22" fmla="*/ 6056 w 10000"/>
                    <a:gd name="connsiteY22" fmla="*/ 7835 h 9917"/>
                    <a:gd name="connsiteX23" fmla="*/ 6056 w 10000"/>
                    <a:gd name="connsiteY23" fmla="*/ 7835 h 9917"/>
                    <a:gd name="connsiteX24" fmla="*/ 6000 w 10000"/>
                    <a:gd name="connsiteY24" fmla="*/ 7787 h 9917"/>
                    <a:gd name="connsiteX25" fmla="*/ 5944 w 10000"/>
                    <a:gd name="connsiteY25" fmla="*/ 7753 h 9917"/>
                    <a:gd name="connsiteX26" fmla="*/ 5833 w 10000"/>
                    <a:gd name="connsiteY26" fmla="*/ 7753 h 9917"/>
                    <a:gd name="connsiteX27" fmla="*/ 5667 w 10000"/>
                    <a:gd name="connsiteY27" fmla="*/ 7768 h 9917"/>
                    <a:gd name="connsiteX28" fmla="*/ 5333 w 10000"/>
                    <a:gd name="connsiteY28" fmla="*/ 7819 h 9917"/>
                    <a:gd name="connsiteX29" fmla="*/ 4889 w 10000"/>
                    <a:gd name="connsiteY29" fmla="*/ 7904 h 9917"/>
                    <a:gd name="connsiteX30" fmla="*/ 4889 w 10000"/>
                    <a:gd name="connsiteY30" fmla="*/ 7904 h 9917"/>
                    <a:gd name="connsiteX31" fmla="*/ 4611 w 10000"/>
                    <a:gd name="connsiteY31" fmla="*/ 7920 h 9917"/>
                    <a:gd name="connsiteX32" fmla="*/ 4500 w 10000"/>
                    <a:gd name="connsiteY32" fmla="*/ 7920 h 9917"/>
                    <a:gd name="connsiteX33" fmla="*/ 4444 w 10000"/>
                    <a:gd name="connsiteY33" fmla="*/ 7904 h 9917"/>
                    <a:gd name="connsiteX34" fmla="*/ 4389 w 10000"/>
                    <a:gd name="connsiteY34" fmla="*/ 7835 h 9917"/>
                    <a:gd name="connsiteX35" fmla="*/ 4222 w 10000"/>
                    <a:gd name="connsiteY35" fmla="*/ 7753 h 9917"/>
                    <a:gd name="connsiteX36" fmla="*/ 4222 w 10000"/>
                    <a:gd name="connsiteY36" fmla="*/ 7753 h 9917"/>
                    <a:gd name="connsiteX37" fmla="*/ 4111 w 10000"/>
                    <a:gd name="connsiteY37" fmla="*/ 7702 h 9917"/>
                    <a:gd name="connsiteX38" fmla="*/ 4111 w 10000"/>
                    <a:gd name="connsiteY38" fmla="*/ 7652 h 9917"/>
                    <a:gd name="connsiteX39" fmla="*/ 4111 w 10000"/>
                    <a:gd name="connsiteY39" fmla="*/ 7617 h 9917"/>
                    <a:gd name="connsiteX40" fmla="*/ 4167 w 10000"/>
                    <a:gd name="connsiteY40" fmla="*/ 7585 h 9917"/>
                    <a:gd name="connsiteX41" fmla="*/ 4278 w 10000"/>
                    <a:gd name="connsiteY41" fmla="*/ 7518 h 9917"/>
                    <a:gd name="connsiteX42" fmla="*/ 4389 w 10000"/>
                    <a:gd name="connsiteY42" fmla="*/ 7501 h 9917"/>
                    <a:gd name="connsiteX43" fmla="*/ 4389 w 10000"/>
                    <a:gd name="connsiteY43" fmla="*/ 7501 h 9917"/>
                    <a:gd name="connsiteX44" fmla="*/ 4389 w 10000"/>
                    <a:gd name="connsiteY44" fmla="*/ 7484 h 9917"/>
                    <a:gd name="connsiteX45" fmla="*/ 4444 w 10000"/>
                    <a:gd name="connsiteY45" fmla="*/ 7468 h 9917"/>
                    <a:gd name="connsiteX46" fmla="*/ 4667 w 10000"/>
                    <a:gd name="connsiteY46" fmla="*/ 7451 h 9917"/>
                    <a:gd name="connsiteX47" fmla="*/ 5333 w 10000"/>
                    <a:gd name="connsiteY47" fmla="*/ 7417 h 9917"/>
                    <a:gd name="connsiteX48" fmla="*/ 6500 w 10000"/>
                    <a:gd name="connsiteY48" fmla="*/ 7367 h 9917"/>
                    <a:gd name="connsiteX49" fmla="*/ 6500 w 10000"/>
                    <a:gd name="connsiteY49" fmla="*/ 7367 h 9917"/>
                    <a:gd name="connsiteX50" fmla="*/ 7167 w 10000"/>
                    <a:gd name="connsiteY50" fmla="*/ 7317 h 9917"/>
                    <a:gd name="connsiteX51" fmla="*/ 8389 w 10000"/>
                    <a:gd name="connsiteY51" fmla="*/ 7217 h 9917"/>
                    <a:gd name="connsiteX52" fmla="*/ 8389 w 10000"/>
                    <a:gd name="connsiteY52" fmla="*/ 7217 h 9917"/>
                    <a:gd name="connsiteX53" fmla="*/ 8667 w 10000"/>
                    <a:gd name="connsiteY53" fmla="*/ 7181 h 9917"/>
                    <a:gd name="connsiteX54" fmla="*/ 8778 w 10000"/>
                    <a:gd name="connsiteY54" fmla="*/ 7130 h 9917"/>
                    <a:gd name="connsiteX55" fmla="*/ 8889 w 10000"/>
                    <a:gd name="connsiteY55" fmla="*/ 7098 h 9917"/>
                    <a:gd name="connsiteX56" fmla="*/ 8833 w 10000"/>
                    <a:gd name="connsiteY56" fmla="*/ 7064 h 9917"/>
                    <a:gd name="connsiteX57" fmla="*/ 8833 w 10000"/>
                    <a:gd name="connsiteY57" fmla="*/ 7031 h 9917"/>
                    <a:gd name="connsiteX58" fmla="*/ 8722 w 10000"/>
                    <a:gd name="connsiteY58" fmla="*/ 6997 h 9917"/>
                    <a:gd name="connsiteX59" fmla="*/ 8556 w 10000"/>
                    <a:gd name="connsiteY59" fmla="*/ 6946 h 9917"/>
                    <a:gd name="connsiteX60" fmla="*/ 8556 w 10000"/>
                    <a:gd name="connsiteY60" fmla="*/ 6946 h 9917"/>
                    <a:gd name="connsiteX61" fmla="*/ 6556 w 10000"/>
                    <a:gd name="connsiteY61" fmla="*/ 6647 h 9917"/>
                    <a:gd name="connsiteX62" fmla="*/ 6556 w 10000"/>
                    <a:gd name="connsiteY62" fmla="*/ 6647 h 9917"/>
                    <a:gd name="connsiteX63" fmla="*/ 6333 w 10000"/>
                    <a:gd name="connsiteY63" fmla="*/ 6597 h 9917"/>
                    <a:gd name="connsiteX64" fmla="*/ 6167 w 10000"/>
                    <a:gd name="connsiteY64" fmla="*/ 6545 h 9917"/>
                    <a:gd name="connsiteX65" fmla="*/ 6056 w 10000"/>
                    <a:gd name="connsiteY65" fmla="*/ 6494 h 9917"/>
                    <a:gd name="connsiteX66" fmla="*/ 6056 w 10000"/>
                    <a:gd name="connsiteY66" fmla="*/ 6494 h 9917"/>
                    <a:gd name="connsiteX67" fmla="*/ 8056 w 10000"/>
                    <a:gd name="connsiteY67" fmla="*/ 6478 h 9917"/>
                    <a:gd name="connsiteX68" fmla="*/ 10000 w 10000"/>
                    <a:gd name="connsiteY68" fmla="*/ 6647 h 9917"/>
                    <a:gd name="connsiteX69" fmla="*/ 10000 w 10000"/>
                    <a:gd name="connsiteY69" fmla="*/ 5118 h 9917"/>
                    <a:gd name="connsiteX70" fmla="*/ 10000 w 10000"/>
                    <a:gd name="connsiteY70" fmla="*/ 5118 h 9917"/>
                    <a:gd name="connsiteX71" fmla="*/ 7778 w 10000"/>
                    <a:gd name="connsiteY71" fmla="*/ 4767 h 9917"/>
                    <a:gd name="connsiteX72" fmla="*/ 6556 w 10000"/>
                    <a:gd name="connsiteY72" fmla="*/ 4564 h 9917"/>
                    <a:gd name="connsiteX73" fmla="*/ 6556 w 10000"/>
                    <a:gd name="connsiteY73" fmla="*/ 4564 h 9917"/>
                    <a:gd name="connsiteX74" fmla="*/ 6556 w 10000"/>
                    <a:gd name="connsiteY74" fmla="*/ 4547 h 9917"/>
                    <a:gd name="connsiteX75" fmla="*/ 6556 w 10000"/>
                    <a:gd name="connsiteY75" fmla="*/ 4446 h 9917"/>
                    <a:gd name="connsiteX76" fmla="*/ 6556 w 10000"/>
                    <a:gd name="connsiteY76" fmla="*/ 4446 h 9917"/>
                    <a:gd name="connsiteX77" fmla="*/ 6389 w 10000"/>
                    <a:gd name="connsiteY77" fmla="*/ 4331 h 9917"/>
                    <a:gd name="connsiteX78" fmla="*/ 6056 w 10000"/>
                    <a:gd name="connsiteY78" fmla="*/ 4146 h 9917"/>
                    <a:gd name="connsiteX79" fmla="*/ 5333 w 10000"/>
                    <a:gd name="connsiteY79" fmla="*/ 3791 h 9917"/>
                    <a:gd name="connsiteX80" fmla="*/ 5333 w 10000"/>
                    <a:gd name="connsiteY80" fmla="*/ 3791 h 9917"/>
                    <a:gd name="connsiteX81" fmla="*/ 5167 w 10000"/>
                    <a:gd name="connsiteY81" fmla="*/ 3742 h 9917"/>
                    <a:gd name="connsiteX82" fmla="*/ 4889 w 10000"/>
                    <a:gd name="connsiteY82" fmla="*/ 3674 h 9917"/>
                    <a:gd name="connsiteX83" fmla="*/ 4056 w 10000"/>
                    <a:gd name="connsiteY83" fmla="*/ 3525 h 9917"/>
                    <a:gd name="connsiteX84" fmla="*/ 2889 w 10000"/>
                    <a:gd name="connsiteY84" fmla="*/ 3341 h 9917"/>
                    <a:gd name="connsiteX85" fmla="*/ 2889 w 10000"/>
                    <a:gd name="connsiteY85" fmla="*/ 3341 h 9917"/>
                    <a:gd name="connsiteX86" fmla="*/ 2389 w 10000"/>
                    <a:gd name="connsiteY86" fmla="*/ 3322 h 9917"/>
                    <a:gd name="connsiteX87" fmla="*/ 2000 w 10000"/>
                    <a:gd name="connsiteY87" fmla="*/ 3305 h 9917"/>
                    <a:gd name="connsiteX88" fmla="*/ 1889 w 10000"/>
                    <a:gd name="connsiteY88" fmla="*/ 3289 h 9917"/>
                    <a:gd name="connsiteX89" fmla="*/ 1778 w 10000"/>
                    <a:gd name="connsiteY89" fmla="*/ 3272 h 9917"/>
                    <a:gd name="connsiteX90" fmla="*/ 1778 w 10000"/>
                    <a:gd name="connsiteY90" fmla="*/ 3272 h 9917"/>
                    <a:gd name="connsiteX91" fmla="*/ 1667 w 10000"/>
                    <a:gd name="connsiteY91" fmla="*/ 3205 h 9917"/>
                    <a:gd name="connsiteX92" fmla="*/ 1500 w 10000"/>
                    <a:gd name="connsiteY92" fmla="*/ 3088 h 9917"/>
                    <a:gd name="connsiteX93" fmla="*/ 1444 w 10000"/>
                    <a:gd name="connsiteY93" fmla="*/ 3021 h 9917"/>
                    <a:gd name="connsiteX94" fmla="*/ 1444 w 10000"/>
                    <a:gd name="connsiteY94" fmla="*/ 2954 h 9917"/>
                    <a:gd name="connsiteX95" fmla="*/ 1444 w 10000"/>
                    <a:gd name="connsiteY95" fmla="*/ 2903 h 9917"/>
                    <a:gd name="connsiteX96" fmla="*/ 1556 w 10000"/>
                    <a:gd name="connsiteY96" fmla="*/ 2853 h 9917"/>
                    <a:gd name="connsiteX97" fmla="*/ 1556 w 10000"/>
                    <a:gd name="connsiteY97" fmla="*/ 2853 h 9917"/>
                    <a:gd name="connsiteX98" fmla="*/ 1833 w 10000"/>
                    <a:gd name="connsiteY98" fmla="*/ 2769 h 9917"/>
                    <a:gd name="connsiteX99" fmla="*/ 2111 w 10000"/>
                    <a:gd name="connsiteY99" fmla="*/ 2683 h 9917"/>
                    <a:gd name="connsiteX100" fmla="*/ 2278 w 10000"/>
                    <a:gd name="connsiteY100" fmla="*/ 2635 h 9917"/>
                    <a:gd name="connsiteX101" fmla="*/ 2389 w 10000"/>
                    <a:gd name="connsiteY101" fmla="*/ 2585 h 9917"/>
                    <a:gd name="connsiteX102" fmla="*/ 2389 w 10000"/>
                    <a:gd name="connsiteY102" fmla="*/ 2518 h 9917"/>
                    <a:gd name="connsiteX103" fmla="*/ 2389 w 10000"/>
                    <a:gd name="connsiteY103" fmla="*/ 2435 h 9917"/>
                    <a:gd name="connsiteX104" fmla="*/ 2389 w 10000"/>
                    <a:gd name="connsiteY104" fmla="*/ 2435 h 9917"/>
                    <a:gd name="connsiteX105" fmla="*/ 2167 w 10000"/>
                    <a:gd name="connsiteY105" fmla="*/ 2198 h 9917"/>
                    <a:gd name="connsiteX106" fmla="*/ 1889 w 10000"/>
                    <a:gd name="connsiteY106" fmla="*/ 1879 h 9917"/>
                    <a:gd name="connsiteX107" fmla="*/ 1667 w 10000"/>
                    <a:gd name="connsiteY107" fmla="*/ 1596 h 9917"/>
                    <a:gd name="connsiteX108" fmla="*/ 1611 w 10000"/>
                    <a:gd name="connsiteY108" fmla="*/ 1512 h 9917"/>
                    <a:gd name="connsiteX109" fmla="*/ 1611 w 10000"/>
                    <a:gd name="connsiteY109" fmla="*/ 1479 h 9917"/>
                    <a:gd name="connsiteX110" fmla="*/ 1667 w 10000"/>
                    <a:gd name="connsiteY110" fmla="*/ 1460 h 9917"/>
                    <a:gd name="connsiteX111" fmla="*/ 1667 w 10000"/>
                    <a:gd name="connsiteY111" fmla="*/ 1460 h 9917"/>
                    <a:gd name="connsiteX112" fmla="*/ 2000 w 10000"/>
                    <a:gd name="connsiteY112" fmla="*/ 1445 h 9917"/>
                    <a:gd name="connsiteX113" fmla="*/ 2222 w 10000"/>
                    <a:gd name="connsiteY113" fmla="*/ 1445 h 9917"/>
                    <a:gd name="connsiteX114" fmla="*/ 2389 w 10000"/>
                    <a:gd name="connsiteY114" fmla="*/ 1460 h 9917"/>
                    <a:gd name="connsiteX115" fmla="*/ 2389 w 10000"/>
                    <a:gd name="connsiteY115" fmla="*/ 1460 h 9917"/>
                    <a:gd name="connsiteX116" fmla="*/ 2444 w 10000"/>
                    <a:gd name="connsiteY116" fmla="*/ 1460 h 9917"/>
                    <a:gd name="connsiteX117" fmla="*/ 2500 w 10000"/>
                    <a:gd name="connsiteY117" fmla="*/ 1428 h 9917"/>
                    <a:gd name="connsiteX118" fmla="*/ 2778 w 10000"/>
                    <a:gd name="connsiteY118" fmla="*/ 1326 h 9917"/>
                    <a:gd name="connsiteX119" fmla="*/ 3500 w 10000"/>
                    <a:gd name="connsiteY119" fmla="*/ 990 h 9917"/>
                    <a:gd name="connsiteX120" fmla="*/ 4444 w 10000"/>
                    <a:gd name="connsiteY120" fmla="*/ 504 h 9917"/>
                    <a:gd name="connsiteX121" fmla="*/ 4444 w 10000"/>
                    <a:gd name="connsiteY121" fmla="*/ 434 h 9917"/>
                    <a:gd name="connsiteX122" fmla="*/ 4500 w 10000"/>
                    <a:gd name="connsiteY122" fmla="*/ 185 h 9917"/>
                    <a:gd name="connsiteX123" fmla="*/ 4778 w 10000"/>
                    <a:gd name="connsiteY123" fmla="*/ 0 h 9917"/>
                    <a:gd name="connsiteX124" fmla="*/ 10000 w 10000"/>
                    <a:gd name="connsiteY124" fmla="*/ 8793 h 9917"/>
                    <a:gd name="connsiteX125" fmla="*/ 10000 w 10000"/>
                    <a:gd name="connsiteY125" fmla="*/ 8793 h 9917"/>
                    <a:gd name="connsiteX126" fmla="*/ 9722 w 10000"/>
                    <a:gd name="connsiteY126" fmla="*/ 8776 h 9917"/>
                    <a:gd name="connsiteX127" fmla="*/ 9389 w 10000"/>
                    <a:gd name="connsiteY127" fmla="*/ 8793 h 9917"/>
                    <a:gd name="connsiteX128" fmla="*/ 9389 w 10000"/>
                    <a:gd name="connsiteY128" fmla="*/ 8793 h 9917"/>
                    <a:gd name="connsiteX129" fmla="*/ 9278 w 10000"/>
                    <a:gd name="connsiteY129" fmla="*/ 8811 h 9917"/>
                    <a:gd name="connsiteX130" fmla="*/ 9056 w 10000"/>
                    <a:gd name="connsiteY130" fmla="*/ 8793 h 9917"/>
                    <a:gd name="connsiteX131" fmla="*/ 8889 w 10000"/>
                    <a:gd name="connsiteY131" fmla="*/ 8776 h 9917"/>
                    <a:gd name="connsiteX132" fmla="*/ 8722 w 10000"/>
                    <a:gd name="connsiteY132" fmla="*/ 8743 h 9917"/>
                    <a:gd name="connsiteX133" fmla="*/ 8611 w 10000"/>
                    <a:gd name="connsiteY133" fmla="*/ 8692 h 9917"/>
                    <a:gd name="connsiteX134" fmla="*/ 8444 w 10000"/>
                    <a:gd name="connsiteY134" fmla="*/ 8607 h 9917"/>
                    <a:gd name="connsiteX135" fmla="*/ 8444 w 10000"/>
                    <a:gd name="connsiteY135" fmla="*/ 8607 h 9917"/>
                    <a:gd name="connsiteX136" fmla="*/ 8222 w 10000"/>
                    <a:gd name="connsiteY136" fmla="*/ 8457 h 9917"/>
                    <a:gd name="connsiteX137" fmla="*/ 8111 w 10000"/>
                    <a:gd name="connsiteY137" fmla="*/ 8391 h 9917"/>
                    <a:gd name="connsiteX138" fmla="*/ 7944 w 10000"/>
                    <a:gd name="connsiteY138" fmla="*/ 8341 h 9917"/>
                    <a:gd name="connsiteX139" fmla="*/ 7778 w 10000"/>
                    <a:gd name="connsiteY139" fmla="*/ 8307 h 9917"/>
                    <a:gd name="connsiteX140" fmla="*/ 7556 w 10000"/>
                    <a:gd name="connsiteY140" fmla="*/ 8288 h 9917"/>
                    <a:gd name="connsiteX141" fmla="*/ 7333 w 10000"/>
                    <a:gd name="connsiteY141" fmla="*/ 8274 h 9917"/>
                    <a:gd name="connsiteX142" fmla="*/ 7000 w 10000"/>
                    <a:gd name="connsiteY142" fmla="*/ 8255 h 9917"/>
                    <a:gd name="connsiteX143" fmla="*/ 7000 w 10000"/>
                    <a:gd name="connsiteY143" fmla="*/ 8255 h 9917"/>
                    <a:gd name="connsiteX144" fmla="*/ 6556 w 10000"/>
                    <a:gd name="connsiteY144" fmla="*/ 8274 h 9917"/>
                    <a:gd name="connsiteX145" fmla="*/ 6222 w 10000"/>
                    <a:gd name="connsiteY145" fmla="*/ 8274 h 9917"/>
                    <a:gd name="connsiteX146" fmla="*/ 6111 w 10000"/>
                    <a:gd name="connsiteY146" fmla="*/ 8255 h 9917"/>
                    <a:gd name="connsiteX147" fmla="*/ 6056 w 10000"/>
                    <a:gd name="connsiteY147" fmla="*/ 8238 h 9917"/>
                    <a:gd name="connsiteX148" fmla="*/ 6056 w 10000"/>
                    <a:gd name="connsiteY148" fmla="*/ 8238 h 9917"/>
                    <a:gd name="connsiteX149" fmla="*/ 6056 w 10000"/>
                    <a:gd name="connsiteY149" fmla="*/ 7938 h 9917"/>
                    <a:gd name="connsiteX150" fmla="*/ 6056 w 10000"/>
                    <a:gd name="connsiteY150" fmla="*/ 7938 h 9917"/>
                    <a:gd name="connsiteX151" fmla="*/ 6056 w 10000"/>
                    <a:gd name="connsiteY151" fmla="*/ 7868 h 9917"/>
                    <a:gd name="connsiteX152" fmla="*/ 5944 w 10000"/>
                    <a:gd name="connsiteY152" fmla="*/ 7787 h 9917"/>
                    <a:gd name="connsiteX153" fmla="*/ 5889 w 10000"/>
                    <a:gd name="connsiteY153" fmla="*/ 7768 h 9917"/>
                    <a:gd name="connsiteX154" fmla="*/ 5778 w 10000"/>
                    <a:gd name="connsiteY154" fmla="*/ 7753 h 9917"/>
                    <a:gd name="connsiteX155" fmla="*/ 5667 w 10000"/>
                    <a:gd name="connsiteY155" fmla="*/ 7753 h 9917"/>
                    <a:gd name="connsiteX156" fmla="*/ 5500 w 10000"/>
                    <a:gd name="connsiteY156" fmla="*/ 7768 h 9917"/>
                    <a:gd name="connsiteX157" fmla="*/ 5500 w 10000"/>
                    <a:gd name="connsiteY157" fmla="*/ 7768 h 9917"/>
                    <a:gd name="connsiteX158" fmla="*/ 4889 w 10000"/>
                    <a:gd name="connsiteY158" fmla="*/ 7886 h 9917"/>
                    <a:gd name="connsiteX159" fmla="*/ 4611 w 10000"/>
                    <a:gd name="connsiteY159" fmla="*/ 7920 h 9917"/>
                    <a:gd name="connsiteX160" fmla="*/ 4556 w 10000"/>
                    <a:gd name="connsiteY160" fmla="*/ 7938 h 9917"/>
                    <a:gd name="connsiteX161" fmla="*/ 4500 w 10000"/>
                    <a:gd name="connsiteY161" fmla="*/ 7920 h 9917"/>
                    <a:gd name="connsiteX162" fmla="*/ 4500 w 10000"/>
                    <a:gd name="connsiteY162" fmla="*/ 7920 h 9917"/>
                    <a:gd name="connsiteX163" fmla="*/ 4222 w 10000"/>
                    <a:gd name="connsiteY163" fmla="*/ 7753 h 9917"/>
                    <a:gd name="connsiteX164" fmla="*/ 4222 w 10000"/>
                    <a:gd name="connsiteY164" fmla="*/ 7753 h 9917"/>
                    <a:gd name="connsiteX165" fmla="*/ 4111 w 10000"/>
                    <a:gd name="connsiteY165" fmla="*/ 7669 h 9917"/>
                    <a:gd name="connsiteX166" fmla="*/ 4111 w 10000"/>
                    <a:gd name="connsiteY166" fmla="*/ 7617 h 9917"/>
                    <a:gd name="connsiteX167" fmla="*/ 4111 w 10000"/>
                    <a:gd name="connsiteY167" fmla="*/ 7568 h 9917"/>
                    <a:gd name="connsiteX168" fmla="*/ 4111 w 10000"/>
                    <a:gd name="connsiteY168" fmla="*/ 7568 h 9917"/>
                    <a:gd name="connsiteX169" fmla="*/ 4278 w 10000"/>
                    <a:gd name="connsiteY169" fmla="*/ 7518 h 9917"/>
                    <a:gd name="connsiteX170" fmla="*/ 4389 w 10000"/>
                    <a:gd name="connsiteY170" fmla="*/ 7501 h 9917"/>
                    <a:gd name="connsiteX171" fmla="*/ 4389 w 10000"/>
                    <a:gd name="connsiteY171" fmla="*/ 7501 h 9917"/>
                    <a:gd name="connsiteX172" fmla="*/ 4000 w 10000"/>
                    <a:gd name="connsiteY172" fmla="*/ 7501 h 9917"/>
                    <a:gd name="connsiteX173" fmla="*/ 3722 w 10000"/>
                    <a:gd name="connsiteY173" fmla="*/ 7518 h 9917"/>
                    <a:gd name="connsiteX174" fmla="*/ 3611 w 10000"/>
                    <a:gd name="connsiteY174" fmla="*/ 7534 h 9917"/>
                    <a:gd name="connsiteX175" fmla="*/ 3556 w 10000"/>
                    <a:gd name="connsiteY175" fmla="*/ 7552 h 9917"/>
                    <a:gd name="connsiteX176" fmla="*/ 3556 w 10000"/>
                    <a:gd name="connsiteY176" fmla="*/ 7552 h 9917"/>
                    <a:gd name="connsiteX177" fmla="*/ 3444 w 10000"/>
                    <a:gd name="connsiteY177" fmla="*/ 7617 h 9917"/>
                    <a:gd name="connsiteX178" fmla="*/ 3278 w 10000"/>
                    <a:gd name="connsiteY178" fmla="*/ 7719 h 9917"/>
                    <a:gd name="connsiteX179" fmla="*/ 3000 w 10000"/>
                    <a:gd name="connsiteY179" fmla="*/ 7835 h 9917"/>
                    <a:gd name="connsiteX180" fmla="*/ 2667 w 10000"/>
                    <a:gd name="connsiteY180" fmla="*/ 7920 h 9917"/>
                    <a:gd name="connsiteX181" fmla="*/ 2667 w 10000"/>
                    <a:gd name="connsiteY181" fmla="*/ 7920 h 9917"/>
                    <a:gd name="connsiteX182" fmla="*/ 2333 w 10000"/>
                    <a:gd name="connsiteY182" fmla="*/ 7988 h 9917"/>
                    <a:gd name="connsiteX183" fmla="*/ 1833 w 10000"/>
                    <a:gd name="connsiteY183" fmla="*/ 8055 h 9917"/>
                    <a:gd name="connsiteX184" fmla="*/ 1389 w 10000"/>
                    <a:gd name="connsiteY184" fmla="*/ 8089 h 9917"/>
                    <a:gd name="connsiteX185" fmla="*/ 889 w 10000"/>
                    <a:gd name="connsiteY185" fmla="*/ 8105 h 9917"/>
                    <a:gd name="connsiteX186" fmla="*/ 889 w 10000"/>
                    <a:gd name="connsiteY186" fmla="*/ 8105 h 9917"/>
                    <a:gd name="connsiteX187" fmla="*/ 500 w 10000"/>
                    <a:gd name="connsiteY187" fmla="*/ 8123 h 9917"/>
                    <a:gd name="connsiteX188" fmla="*/ 222 w 10000"/>
                    <a:gd name="connsiteY188" fmla="*/ 8140 h 9917"/>
                    <a:gd name="connsiteX189" fmla="*/ 0 w 10000"/>
                    <a:gd name="connsiteY189" fmla="*/ 8157 h 9917"/>
                    <a:gd name="connsiteX190" fmla="*/ 0 w 10000"/>
                    <a:gd name="connsiteY190" fmla="*/ 8157 h 9917"/>
                    <a:gd name="connsiteX191" fmla="*/ 278 w 10000"/>
                    <a:gd name="connsiteY191" fmla="*/ 8424 h 9917"/>
                    <a:gd name="connsiteX192" fmla="*/ 500 w 10000"/>
                    <a:gd name="connsiteY192" fmla="*/ 8624 h 9917"/>
                    <a:gd name="connsiteX193" fmla="*/ 722 w 10000"/>
                    <a:gd name="connsiteY193" fmla="*/ 8793 h 9917"/>
                    <a:gd name="connsiteX194" fmla="*/ 722 w 10000"/>
                    <a:gd name="connsiteY194" fmla="*/ 8793 h 9917"/>
                    <a:gd name="connsiteX195" fmla="*/ 889 w 10000"/>
                    <a:gd name="connsiteY195" fmla="*/ 8895 h 9917"/>
                    <a:gd name="connsiteX196" fmla="*/ 944 w 10000"/>
                    <a:gd name="connsiteY196" fmla="*/ 8978 h 9917"/>
                    <a:gd name="connsiteX197" fmla="*/ 1111 w 10000"/>
                    <a:gd name="connsiteY197" fmla="*/ 9063 h 9917"/>
                    <a:gd name="connsiteX198" fmla="*/ 1333 w 10000"/>
                    <a:gd name="connsiteY198" fmla="*/ 9195 h 9917"/>
                    <a:gd name="connsiteX199" fmla="*/ 1333 w 10000"/>
                    <a:gd name="connsiteY199" fmla="*/ 9195 h 9917"/>
                    <a:gd name="connsiteX200" fmla="*/ 1444 w 10000"/>
                    <a:gd name="connsiteY200" fmla="*/ 9263 h 9917"/>
                    <a:gd name="connsiteX201" fmla="*/ 1500 w 10000"/>
                    <a:gd name="connsiteY201" fmla="*/ 9312 h 9917"/>
                    <a:gd name="connsiteX202" fmla="*/ 1500 w 10000"/>
                    <a:gd name="connsiteY202" fmla="*/ 9362 h 9917"/>
                    <a:gd name="connsiteX203" fmla="*/ 1556 w 10000"/>
                    <a:gd name="connsiteY203" fmla="*/ 9380 h 9917"/>
                    <a:gd name="connsiteX204" fmla="*/ 1722 w 10000"/>
                    <a:gd name="connsiteY204" fmla="*/ 9395 h 9917"/>
                    <a:gd name="connsiteX205" fmla="*/ 1944 w 10000"/>
                    <a:gd name="connsiteY205" fmla="*/ 9413 h 9917"/>
                    <a:gd name="connsiteX206" fmla="*/ 2944 w 10000"/>
                    <a:gd name="connsiteY206" fmla="*/ 9429 h 9917"/>
                    <a:gd name="connsiteX207" fmla="*/ 2944 w 10000"/>
                    <a:gd name="connsiteY207" fmla="*/ 9429 h 9917"/>
                    <a:gd name="connsiteX208" fmla="*/ 4167 w 10000"/>
                    <a:gd name="connsiteY208" fmla="*/ 9464 h 9917"/>
                    <a:gd name="connsiteX209" fmla="*/ 4889 w 10000"/>
                    <a:gd name="connsiteY209" fmla="*/ 9514 h 9917"/>
                    <a:gd name="connsiteX210" fmla="*/ 5278 w 10000"/>
                    <a:gd name="connsiteY210" fmla="*/ 9566 h 9917"/>
                    <a:gd name="connsiteX211" fmla="*/ 5444 w 10000"/>
                    <a:gd name="connsiteY211" fmla="*/ 9580 h 9917"/>
                    <a:gd name="connsiteX212" fmla="*/ 5444 w 10000"/>
                    <a:gd name="connsiteY212" fmla="*/ 9580 h 9917"/>
                    <a:gd name="connsiteX213" fmla="*/ 5722 w 10000"/>
                    <a:gd name="connsiteY213" fmla="*/ 9616 h 9917"/>
                    <a:gd name="connsiteX214" fmla="*/ 5833 w 10000"/>
                    <a:gd name="connsiteY214" fmla="*/ 9633 h 9917"/>
                    <a:gd name="connsiteX215" fmla="*/ 5833 w 10000"/>
                    <a:gd name="connsiteY215" fmla="*/ 9633 h 9917"/>
                    <a:gd name="connsiteX216" fmla="*/ 5833 w 10000"/>
                    <a:gd name="connsiteY216" fmla="*/ 9616 h 9917"/>
                    <a:gd name="connsiteX217" fmla="*/ 5889 w 10000"/>
                    <a:gd name="connsiteY217" fmla="*/ 9598 h 9917"/>
                    <a:gd name="connsiteX218" fmla="*/ 6000 w 10000"/>
                    <a:gd name="connsiteY218" fmla="*/ 9580 h 9917"/>
                    <a:gd name="connsiteX219" fmla="*/ 6167 w 10000"/>
                    <a:gd name="connsiteY219" fmla="*/ 9566 h 9917"/>
                    <a:gd name="connsiteX220" fmla="*/ 6444 w 10000"/>
                    <a:gd name="connsiteY220" fmla="*/ 9566 h 9917"/>
                    <a:gd name="connsiteX221" fmla="*/ 6833 w 10000"/>
                    <a:gd name="connsiteY221" fmla="*/ 9580 h 9917"/>
                    <a:gd name="connsiteX222" fmla="*/ 7278 w 10000"/>
                    <a:gd name="connsiteY222" fmla="*/ 9633 h 9917"/>
                    <a:gd name="connsiteX223" fmla="*/ 7278 w 10000"/>
                    <a:gd name="connsiteY223" fmla="*/ 9633 h 9917"/>
                    <a:gd name="connsiteX224" fmla="*/ 8722 w 10000"/>
                    <a:gd name="connsiteY224" fmla="*/ 9782 h 9917"/>
                    <a:gd name="connsiteX225" fmla="*/ 10000 w 10000"/>
                    <a:gd name="connsiteY225" fmla="*/ 9917 h 9917"/>
                    <a:gd name="connsiteX0" fmla="*/ 10000 w 10000"/>
                    <a:gd name="connsiteY0" fmla="*/ 8662 h 9813"/>
                    <a:gd name="connsiteX1" fmla="*/ 10000 w 10000"/>
                    <a:gd name="connsiteY1" fmla="*/ 8662 h 9813"/>
                    <a:gd name="connsiteX2" fmla="*/ 9222 w 10000"/>
                    <a:gd name="connsiteY2" fmla="*/ 8680 h 9813"/>
                    <a:gd name="connsiteX3" fmla="*/ 8944 w 10000"/>
                    <a:gd name="connsiteY3" fmla="*/ 8680 h 9813"/>
                    <a:gd name="connsiteX4" fmla="*/ 8833 w 10000"/>
                    <a:gd name="connsiteY4" fmla="*/ 8662 h 9813"/>
                    <a:gd name="connsiteX5" fmla="*/ 8778 w 10000"/>
                    <a:gd name="connsiteY5" fmla="*/ 8646 h 9813"/>
                    <a:gd name="connsiteX6" fmla="*/ 8778 w 10000"/>
                    <a:gd name="connsiteY6" fmla="*/ 8646 h 9813"/>
                    <a:gd name="connsiteX7" fmla="*/ 8444 w 10000"/>
                    <a:gd name="connsiteY7" fmla="*/ 8443 h 9813"/>
                    <a:gd name="connsiteX8" fmla="*/ 8167 w 10000"/>
                    <a:gd name="connsiteY8" fmla="*/ 8256 h 9813"/>
                    <a:gd name="connsiteX9" fmla="*/ 8167 w 10000"/>
                    <a:gd name="connsiteY9" fmla="*/ 8256 h 9813"/>
                    <a:gd name="connsiteX10" fmla="*/ 8056 w 10000"/>
                    <a:gd name="connsiteY10" fmla="*/ 8224 h 9813"/>
                    <a:gd name="connsiteX11" fmla="*/ 7889 w 10000"/>
                    <a:gd name="connsiteY11" fmla="*/ 8190 h 9813"/>
                    <a:gd name="connsiteX12" fmla="*/ 7444 w 10000"/>
                    <a:gd name="connsiteY12" fmla="*/ 8170 h 9813"/>
                    <a:gd name="connsiteX13" fmla="*/ 6889 w 10000"/>
                    <a:gd name="connsiteY13" fmla="*/ 8156 h 9813"/>
                    <a:gd name="connsiteX14" fmla="*/ 6389 w 10000"/>
                    <a:gd name="connsiteY14" fmla="*/ 8156 h 9813"/>
                    <a:gd name="connsiteX15" fmla="*/ 6389 w 10000"/>
                    <a:gd name="connsiteY15" fmla="*/ 8156 h 9813"/>
                    <a:gd name="connsiteX16" fmla="*/ 6167 w 10000"/>
                    <a:gd name="connsiteY16" fmla="*/ 8137 h 9813"/>
                    <a:gd name="connsiteX17" fmla="*/ 6056 w 10000"/>
                    <a:gd name="connsiteY17" fmla="*/ 8106 h 9813"/>
                    <a:gd name="connsiteX18" fmla="*/ 6000 w 10000"/>
                    <a:gd name="connsiteY18" fmla="*/ 8071 h 9813"/>
                    <a:gd name="connsiteX19" fmla="*/ 6000 w 10000"/>
                    <a:gd name="connsiteY19" fmla="*/ 8004 h 9813"/>
                    <a:gd name="connsiteX20" fmla="*/ 6056 w 10000"/>
                    <a:gd name="connsiteY20" fmla="*/ 7868 h 9813"/>
                    <a:gd name="connsiteX21" fmla="*/ 6111 w 10000"/>
                    <a:gd name="connsiteY21" fmla="*/ 7799 h 9813"/>
                    <a:gd name="connsiteX22" fmla="*/ 6056 w 10000"/>
                    <a:gd name="connsiteY22" fmla="*/ 7714 h 9813"/>
                    <a:gd name="connsiteX23" fmla="*/ 6056 w 10000"/>
                    <a:gd name="connsiteY23" fmla="*/ 7714 h 9813"/>
                    <a:gd name="connsiteX24" fmla="*/ 6000 w 10000"/>
                    <a:gd name="connsiteY24" fmla="*/ 7665 h 9813"/>
                    <a:gd name="connsiteX25" fmla="*/ 5944 w 10000"/>
                    <a:gd name="connsiteY25" fmla="*/ 7631 h 9813"/>
                    <a:gd name="connsiteX26" fmla="*/ 5833 w 10000"/>
                    <a:gd name="connsiteY26" fmla="*/ 7631 h 9813"/>
                    <a:gd name="connsiteX27" fmla="*/ 5667 w 10000"/>
                    <a:gd name="connsiteY27" fmla="*/ 7646 h 9813"/>
                    <a:gd name="connsiteX28" fmla="*/ 5333 w 10000"/>
                    <a:gd name="connsiteY28" fmla="*/ 7697 h 9813"/>
                    <a:gd name="connsiteX29" fmla="*/ 4889 w 10000"/>
                    <a:gd name="connsiteY29" fmla="*/ 7783 h 9813"/>
                    <a:gd name="connsiteX30" fmla="*/ 4889 w 10000"/>
                    <a:gd name="connsiteY30" fmla="*/ 7783 h 9813"/>
                    <a:gd name="connsiteX31" fmla="*/ 4611 w 10000"/>
                    <a:gd name="connsiteY31" fmla="*/ 7799 h 9813"/>
                    <a:gd name="connsiteX32" fmla="*/ 4500 w 10000"/>
                    <a:gd name="connsiteY32" fmla="*/ 7799 h 9813"/>
                    <a:gd name="connsiteX33" fmla="*/ 4444 w 10000"/>
                    <a:gd name="connsiteY33" fmla="*/ 7783 h 9813"/>
                    <a:gd name="connsiteX34" fmla="*/ 4389 w 10000"/>
                    <a:gd name="connsiteY34" fmla="*/ 7714 h 9813"/>
                    <a:gd name="connsiteX35" fmla="*/ 4222 w 10000"/>
                    <a:gd name="connsiteY35" fmla="*/ 7631 h 9813"/>
                    <a:gd name="connsiteX36" fmla="*/ 4222 w 10000"/>
                    <a:gd name="connsiteY36" fmla="*/ 7631 h 9813"/>
                    <a:gd name="connsiteX37" fmla="*/ 4111 w 10000"/>
                    <a:gd name="connsiteY37" fmla="*/ 7579 h 9813"/>
                    <a:gd name="connsiteX38" fmla="*/ 4111 w 10000"/>
                    <a:gd name="connsiteY38" fmla="*/ 7529 h 9813"/>
                    <a:gd name="connsiteX39" fmla="*/ 4111 w 10000"/>
                    <a:gd name="connsiteY39" fmla="*/ 7494 h 9813"/>
                    <a:gd name="connsiteX40" fmla="*/ 4167 w 10000"/>
                    <a:gd name="connsiteY40" fmla="*/ 7461 h 9813"/>
                    <a:gd name="connsiteX41" fmla="*/ 4278 w 10000"/>
                    <a:gd name="connsiteY41" fmla="*/ 7394 h 9813"/>
                    <a:gd name="connsiteX42" fmla="*/ 4389 w 10000"/>
                    <a:gd name="connsiteY42" fmla="*/ 7377 h 9813"/>
                    <a:gd name="connsiteX43" fmla="*/ 4389 w 10000"/>
                    <a:gd name="connsiteY43" fmla="*/ 7377 h 9813"/>
                    <a:gd name="connsiteX44" fmla="*/ 4389 w 10000"/>
                    <a:gd name="connsiteY44" fmla="*/ 7360 h 9813"/>
                    <a:gd name="connsiteX45" fmla="*/ 4444 w 10000"/>
                    <a:gd name="connsiteY45" fmla="*/ 7344 h 9813"/>
                    <a:gd name="connsiteX46" fmla="*/ 4667 w 10000"/>
                    <a:gd name="connsiteY46" fmla="*/ 7326 h 9813"/>
                    <a:gd name="connsiteX47" fmla="*/ 5333 w 10000"/>
                    <a:gd name="connsiteY47" fmla="*/ 7292 h 9813"/>
                    <a:gd name="connsiteX48" fmla="*/ 6500 w 10000"/>
                    <a:gd name="connsiteY48" fmla="*/ 7242 h 9813"/>
                    <a:gd name="connsiteX49" fmla="*/ 6500 w 10000"/>
                    <a:gd name="connsiteY49" fmla="*/ 7242 h 9813"/>
                    <a:gd name="connsiteX50" fmla="*/ 7167 w 10000"/>
                    <a:gd name="connsiteY50" fmla="*/ 7191 h 9813"/>
                    <a:gd name="connsiteX51" fmla="*/ 8389 w 10000"/>
                    <a:gd name="connsiteY51" fmla="*/ 7090 h 9813"/>
                    <a:gd name="connsiteX52" fmla="*/ 8389 w 10000"/>
                    <a:gd name="connsiteY52" fmla="*/ 7090 h 9813"/>
                    <a:gd name="connsiteX53" fmla="*/ 8667 w 10000"/>
                    <a:gd name="connsiteY53" fmla="*/ 7054 h 9813"/>
                    <a:gd name="connsiteX54" fmla="*/ 8778 w 10000"/>
                    <a:gd name="connsiteY54" fmla="*/ 7003 h 9813"/>
                    <a:gd name="connsiteX55" fmla="*/ 8889 w 10000"/>
                    <a:gd name="connsiteY55" fmla="*/ 6970 h 9813"/>
                    <a:gd name="connsiteX56" fmla="*/ 8833 w 10000"/>
                    <a:gd name="connsiteY56" fmla="*/ 6936 h 9813"/>
                    <a:gd name="connsiteX57" fmla="*/ 8833 w 10000"/>
                    <a:gd name="connsiteY57" fmla="*/ 6903 h 9813"/>
                    <a:gd name="connsiteX58" fmla="*/ 8722 w 10000"/>
                    <a:gd name="connsiteY58" fmla="*/ 6869 h 9813"/>
                    <a:gd name="connsiteX59" fmla="*/ 8556 w 10000"/>
                    <a:gd name="connsiteY59" fmla="*/ 6817 h 9813"/>
                    <a:gd name="connsiteX60" fmla="*/ 8556 w 10000"/>
                    <a:gd name="connsiteY60" fmla="*/ 6817 h 9813"/>
                    <a:gd name="connsiteX61" fmla="*/ 6556 w 10000"/>
                    <a:gd name="connsiteY61" fmla="*/ 6516 h 9813"/>
                    <a:gd name="connsiteX62" fmla="*/ 6556 w 10000"/>
                    <a:gd name="connsiteY62" fmla="*/ 6516 h 9813"/>
                    <a:gd name="connsiteX63" fmla="*/ 6333 w 10000"/>
                    <a:gd name="connsiteY63" fmla="*/ 6465 h 9813"/>
                    <a:gd name="connsiteX64" fmla="*/ 6167 w 10000"/>
                    <a:gd name="connsiteY64" fmla="*/ 6413 h 9813"/>
                    <a:gd name="connsiteX65" fmla="*/ 6056 w 10000"/>
                    <a:gd name="connsiteY65" fmla="*/ 6361 h 9813"/>
                    <a:gd name="connsiteX66" fmla="*/ 6056 w 10000"/>
                    <a:gd name="connsiteY66" fmla="*/ 6361 h 9813"/>
                    <a:gd name="connsiteX67" fmla="*/ 8056 w 10000"/>
                    <a:gd name="connsiteY67" fmla="*/ 6345 h 9813"/>
                    <a:gd name="connsiteX68" fmla="*/ 10000 w 10000"/>
                    <a:gd name="connsiteY68" fmla="*/ 6516 h 9813"/>
                    <a:gd name="connsiteX69" fmla="*/ 10000 w 10000"/>
                    <a:gd name="connsiteY69" fmla="*/ 4974 h 9813"/>
                    <a:gd name="connsiteX70" fmla="*/ 10000 w 10000"/>
                    <a:gd name="connsiteY70" fmla="*/ 4974 h 9813"/>
                    <a:gd name="connsiteX71" fmla="*/ 7778 w 10000"/>
                    <a:gd name="connsiteY71" fmla="*/ 4620 h 9813"/>
                    <a:gd name="connsiteX72" fmla="*/ 6556 w 10000"/>
                    <a:gd name="connsiteY72" fmla="*/ 4415 h 9813"/>
                    <a:gd name="connsiteX73" fmla="*/ 6556 w 10000"/>
                    <a:gd name="connsiteY73" fmla="*/ 4415 h 9813"/>
                    <a:gd name="connsiteX74" fmla="*/ 6556 w 10000"/>
                    <a:gd name="connsiteY74" fmla="*/ 4398 h 9813"/>
                    <a:gd name="connsiteX75" fmla="*/ 6556 w 10000"/>
                    <a:gd name="connsiteY75" fmla="*/ 4296 h 9813"/>
                    <a:gd name="connsiteX76" fmla="*/ 6556 w 10000"/>
                    <a:gd name="connsiteY76" fmla="*/ 4296 h 9813"/>
                    <a:gd name="connsiteX77" fmla="*/ 6389 w 10000"/>
                    <a:gd name="connsiteY77" fmla="*/ 4180 h 9813"/>
                    <a:gd name="connsiteX78" fmla="*/ 6056 w 10000"/>
                    <a:gd name="connsiteY78" fmla="*/ 3994 h 9813"/>
                    <a:gd name="connsiteX79" fmla="*/ 5333 w 10000"/>
                    <a:gd name="connsiteY79" fmla="*/ 3636 h 9813"/>
                    <a:gd name="connsiteX80" fmla="*/ 5333 w 10000"/>
                    <a:gd name="connsiteY80" fmla="*/ 3636 h 9813"/>
                    <a:gd name="connsiteX81" fmla="*/ 5167 w 10000"/>
                    <a:gd name="connsiteY81" fmla="*/ 3586 h 9813"/>
                    <a:gd name="connsiteX82" fmla="*/ 4889 w 10000"/>
                    <a:gd name="connsiteY82" fmla="*/ 3518 h 9813"/>
                    <a:gd name="connsiteX83" fmla="*/ 4056 w 10000"/>
                    <a:gd name="connsiteY83" fmla="*/ 3368 h 9813"/>
                    <a:gd name="connsiteX84" fmla="*/ 2889 w 10000"/>
                    <a:gd name="connsiteY84" fmla="*/ 3182 h 9813"/>
                    <a:gd name="connsiteX85" fmla="*/ 2889 w 10000"/>
                    <a:gd name="connsiteY85" fmla="*/ 3182 h 9813"/>
                    <a:gd name="connsiteX86" fmla="*/ 2389 w 10000"/>
                    <a:gd name="connsiteY86" fmla="*/ 3163 h 9813"/>
                    <a:gd name="connsiteX87" fmla="*/ 2000 w 10000"/>
                    <a:gd name="connsiteY87" fmla="*/ 3146 h 9813"/>
                    <a:gd name="connsiteX88" fmla="*/ 1889 w 10000"/>
                    <a:gd name="connsiteY88" fmla="*/ 3130 h 9813"/>
                    <a:gd name="connsiteX89" fmla="*/ 1778 w 10000"/>
                    <a:gd name="connsiteY89" fmla="*/ 3112 h 9813"/>
                    <a:gd name="connsiteX90" fmla="*/ 1778 w 10000"/>
                    <a:gd name="connsiteY90" fmla="*/ 3112 h 9813"/>
                    <a:gd name="connsiteX91" fmla="*/ 1667 w 10000"/>
                    <a:gd name="connsiteY91" fmla="*/ 3045 h 9813"/>
                    <a:gd name="connsiteX92" fmla="*/ 1500 w 10000"/>
                    <a:gd name="connsiteY92" fmla="*/ 2927 h 9813"/>
                    <a:gd name="connsiteX93" fmla="*/ 1444 w 10000"/>
                    <a:gd name="connsiteY93" fmla="*/ 2859 h 9813"/>
                    <a:gd name="connsiteX94" fmla="*/ 1444 w 10000"/>
                    <a:gd name="connsiteY94" fmla="*/ 2792 h 9813"/>
                    <a:gd name="connsiteX95" fmla="*/ 1444 w 10000"/>
                    <a:gd name="connsiteY95" fmla="*/ 2740 h 9813"/>
                    <a:gd name="connsiteX96" fmla="*/ 1556 w 10000"/>
                    <a:gd name="connsiteY96" fmla="*/ 2690 h 9813"/>
                    <a:gd name="connsiteX97" fmla="*/ 1556 w 10000"/>
                    <a:gd name="connsiteY97" fmla="*/ 2690 h 9813"/>
                    <a:gd name="connsiteX98" fmla="*/ 1833 w 10000"/>
                    <a:gd name="connsiteY98" fmla="*/ 2605 h 9813"/>
                    <a:gd name="connsiteX99" fmla="*/ 2111 w 10000"/>
                    <a:gd name="connsiteY99" fmla="*/ 2518 h 9813"/>
                    <a:gd name="connsiteX100" fmla="*/ 2278 w 10000"/>
                    <a:gd name="connsiteY100" fmla="*/ 2470 h 9813"/>
                    <a:gd name="connsiteX101" fmla="*/ 2389 w 10000"/>
                    <a:gd name="connsiteY101" fmla="*/ 2420 h 9813"/>
                    <a:gd name="connsiteX102" fmla="*/ 2389 w 10000"/>
                    <a:gd name="connsiteY102" fmla="*/ 2352 h 9813"/>
                    <a:gd name="connsiteX103" fmla="*/ 2389 w 10000"/>
                    <a:gd name="connsiteY103" fmla="*/ 2268 h 9813"/>
                    <a:gd name="connsiteX104" fmla="*/ 2389 w 10000"/>
                    <a:gd name="connsiteY104" fmla="*/ 2268 h 9813"/>
                    <a:gd name="connsiteX105" fmla="*/ 2167 w 10000"/>
                    <a:gd name="connsiteY105" fmla="*/ 2029 h 9813"/>
                    <a:gd name="connsiteX106" fmla="*/ 1889 w 10000"/>
                    <a:gd name="connsiteY106" fmla="*/ 1708 h 9813"/>
                    <a:gd name="connsiteX107" fmla="*/ 1667 w 10000"/>
                    <a:gd name="connsiteY107" fmla="*/ 1422 h 9813"/>
                    <a:gd name="connsiteX108" fmla="*/ 1611 w 10000"/>
                    <a:gd name="connsiteY108" fmla="*/ 1338 h 9813"/>
                    <a:gd name="connsiteX109" fmla="*/ 1611 w 10000"/>
                    <a:gd name="connsiteY109" fmla="*/ 1304 h 9813"/>
                    <a:gd name="connsiteX110" fmla="*/ 1667 w 10000"/>
                    <a:gd name="connsiteY110" fmla="*/ 1285 h 9813"/>
                    <a:gd name="connsiteX111" fmla="*/ 1667 w 10000"/>
                    <a:gd name="connsiteY111" fmla="*/ 1285 h 9813"/>
                    <a:gd name="connsiteX112" fmla="*/ 2000 w 10000"/>
                    <a:gd name="connsiteY112" fmla="*/ 1270 h 9813"/>
                    <a:gd name="connsiteX113" fmla="*/ 2222 w 10000"/>
                    <a:gd name="connsiteY113" fmla="*/ 1270 h 9813"/>
                    <a:gd name="connsiteX114" fmla="*/ 2389 w 10000"/>
                    <a:gd name="connsiteY114" fmla="*/ 1285 h 9813"/>
                    <a:gd name="connsiteX115" fmla="*/ 2389 w 10000"/>
                    <a:gd name="connsiteY115" fmla="*/ 1285 h 9813"/>
                    <a:gd name="connsiteX116" fmla="*/ 2444 w 10000"/>
                    <a:gd name="connsiteY116" fmla="*/ 1285 h 9813"/>
                    <a:gd name="connsiteX117" fmla="*/ 2500 w 10000"/>
                    <a:gd name="connsiteY117" fmla="*/ 1253 h 9813"/>
                    <a:gd name="connsiteX118" fmla="*/ 2778 w 10000"/>
                    <a:gd name="connsiteY118" fmla="*/ 1150 h 9813"/>
                    <a:gd name="connsiteX119" fmla="*/ 3500 w 10000"/>
                    <a:gd name="connsiteY119" fmla="*/ 811 h 9813"/>
                    <a:gd name="connsiteX120" fmla="*/ 4444 w 10000"/>
                    <a:gd name="connsiteY120" fmla="*/ 321 h 9813"/>
                    <a:gd name="connsiteX121" fmla="*/ 4444 w 10000"/>
                    <a:gd name="connsiteY121" fmla="*/ 251 h 9813"/>
                    <a:gd name="connsiteX122" fmla="*/ 4500 w 10000"/>
                    <a:gd name="connsiteY122" fmla="*/ 0 h 9813"/>
                    <a:gd name="connsiteX123" fmla="*/ 10000 w 10000"/>
                    <a:gd name="connsiteY123" fmla="*/ 8680 h 9813"/>
                    <a:gd name="connsiteX124" fmla="*/ 10000 w 10000"/>
                    <a:gd name="connsiteY124" fmla="*/ 8680 h 9813"/>
                    <a:gd name="connsiteX125" fmla="*/ 9722 w 10000"/>
                    <a:gd name="connsiteY125" fmla="*/ 8662 h 9813"/>
                    <a:gd name="connsiteX126" fmla="*/ 9389 w 10000"/>
                    <a:gd name="connsiteY126" fmla="*/ 8680 h 9813"/>
                    <a:gd name="connsiteX127" fmla="*/ 9389 w 10000"/>
                    <a:gd name="connsiteY127" fmla="*/ 8680 h 9813"/>
                    <a:gd name="connsiteX128" fmla="*/ 9278 w 10000"/>
                    <a:gd name="connsiteY128" fmla="*/ 8698 h 9813"/>
                    <a:gd name="connsiteX129" fmla="*/ 9056 w 10000"/>
                    <a:gd name="connsiteY129" fmla="*/ 8680 h 9813"/>
                    <a:gd name="connsiteX130" fmla="*/ 8889 w 10000"/>
                    <a:gd name="connsiteY130" fmla="*/ 8662 h 9813"/>
                    <a:gd name="connsiteX131" fmla="*/ 8722 w 10000"/>
                    <a:gd name="connsiteY131" fmla="*/ 8629 h 9813"/>
                    <a:gd name="connsiteX132" fmla="*/ 8611 w 10000"/>
                    <a:gd name="connsiteY132" fmla="*/ 8578 h 9813"/>
                    <a:gd name="connsiteX133" fmla="*/ 8444 w 10000"/>
                    <a:gd name="connsiteY133" fmla="*/ 8492 h 9813"/>
                    <a:gd name="connsiteX134" fmla="*/ 8444 w 10000"/>
                    <a:gd name="connsiteY134" fmla="*/ 8492 h 9813"/>
                    <a:gd name="connsiteX135" fmla="*/ 8222 w 10000"/>
                    <a:gd name="connsiteY135" fmla="*/ 8341 h 9813"/>
                    <a:gd name="connsiteX136" fmla="*/ 8111 w 10000"/>
                    <a:gd name="connsiteY136" fmla="*/ 8274 h 9813"/>
                    <a:gd name="connsiteX137" fmla="*/ 7944 w 10000"/>
                    <a:gd name="connsiteY137" fmla="*/ 8224 h 9813"/>
                    <a:gd name="connsiteX138" fmla="*/ 7778 w 10000"/>
                    <a:gd name="connsiteY138" fmla="*/ 8190 h 9813"/>
                    <a:gd name="connsiteX139" fmla="*/ 7556 w 10000"/>
                    <a:gd name="connsiteY139" fmla="*/ 8170 h 9813"/>
                    <a:gd name="connsiteX140" fmla="*/ 7333 w 10000"/>
                    <a:gd name="connsiteY140" fmla="*/ 8156 h 9813"/>
                    <a:gd name="connsiteX141" fmla="*/ 7000 w 10000"/>
                    <a:gd name="connsiteY141" fmla="*/ 8137 h 9813"/>
                    <a:gd name="connsiteX142" fmla="*/ 7000 w 10000"/>
                    <a:gd name="connsiteY142" fmla="*/ 8137 h 9813"/>
                    <a:gd name="connsiteX143" fmla="*/ 6556 w 10000"/>
                    <a:gd name="connsiteY143" fmla="*/ 8156 h 9813"/>
                    <a:gd name="connsiteX144" fmla="*/ 6222 w 10000"/>
                    <a:gd name="connsiteY144" fmla="*/ 8156 h 9813"/>
                    <a:gd name="connsiteX145" fmla="*/ 6111 w 10000"/>
                    <a:gd name="connsiteY145" fmla="*/ 8137 h 9813"/>
                    <a:gd name="connsiteX146" fmla="*/ 6056 w 10000"/>
                    <a:gd name="connsiteY146" fmla="*/ 8120 h 9813"/>
                    <a:gd name="connsiteX147" fmla="*/ 6056 w 10000"/>
                    <a:gd name="connsiteY147" fmla="*/ 8120 h 9813"/>
                    <a:gd name="connsiteX148" fmla="*/ 6056 w 10000"/>
                    <a:gd name="connsiteY148" fmla="*/ 7817 h 9813"/>
                    <a:gd name="connsiteX149" fmla="*/ 6056 w 10000"/>
                    <a:gd name="connsiteY149" fmla="*/ 7817 h 9813"/>
                    <a:gd name="connsiteX150" fmla="*/ 6056 w 10000"/>
                    <a:gd name="connsiteY150" fmla="*/ 7747 h 9813"/>
                    <a:gd name="connsiteX151" fmla="*/ 5944 w 10000"/>
                    <a:gd name="connsiteY151" fmla="*/ 7665 h 9813"/>
                    <a:gd name="connsiteX152" fmla="*/ 5889 w 10000"/>
                    <a:gd name="connsiteY152" fmla="*/ 7646 h 9813"/>
                    <a:gd name="connsiteX153" fmla="*/ 5778 w 10000"/>
                    <a:gd name="connsiteY153" fmla="*/ 7631 h 9813"/>
                    <a:gd name="connsiteX154" fmla="*/ 5667 w 10000"/>
                    <a:gd name="connsiteY154" fmla="*/ 7631 h 9813"/>
                    <a:gd name="connsiteX155" fmla="*/ 5500 w 10000"/>
                    <a:gd name="connsiteY155" fmla="*/ 7646 h 9813"/>
                    <a:gd name="connsiteX156" fmla="*/ 5500 w 10000"/>
                    <a:gd name="connsiteY156" fmla="*/ 7646 h 9813"/>
                    <a:gd name="connsiteX157" fmla="*/ 4889 w 10000"/>
                    <a:gd name="connsiteY157" fmla="*/ 7765 h 9813"/>
                    <a:gd name="connsiteX158" fmla="*/ 4611 w 10000"/>
                    <a:gd name="connsiteY158" fmla="*/ 7799 h 9813"/>
                    <a:gd name="connsiteX159" fmla="*/ 4556 w 10000"/>
                    <a:gd name="connsiteY159" fmla="*/ 7817 h 9813"/>
                    <a:gd name="connsiteX160" fmla="*/ 4500 w 10000"/>
                    <a:gd name="connsiteY160" fmla="*/ 7799 h 9813"/>
                    <a:gd name="connsiteX161" fmla="*/ 4500 w 10000"/>
                    <a:gd name="connsiteY161" fmla="*/ 7799 h 9813"/>
                    <a:gd name="connsiteX162" fmla="*/ 4222 w 10000"/>
                    <a:gd name="connsiteY162" fmla="*/ 7631 h 9813"/>
                    <a:gd name="connsiteX163" fmla="*/ 4222 w 10000"/>
                    <a:gd name="connsiteY163" fmla="*/ 7631 h 9813"/>
                    <a:gd name="connsiteX164" fmla="*/ 4111 w 10000"/>
                    <a:gd name="connsiteY164" fmla="*/ 7546 h 9813"/>
                    <a:gd name="connsiteX165" fmla="*/ 4111 w 10000"/>
                    <a:gd name="connsiteY165" fmla="*/ 7494 h 9813"/>
                    <a:gd name="connsiteX166" fmla="*/ 4111 w 10000"/>
                    <a:gd name="connsiteY166" fmla="*/ 7444 h 9813"/>
                    <a:gd name="connsiteX167" fmla="*/ 4111 w 10000"/>
                    <a:gd name="connsiteY167" fmla="*/ 7444 h 9813"/>
                    <a:gd name="connsiteX168" fmla="*/ 4278 w 10000"/>
                    <a:gd name="connsiteY168" fmla="*/ 7394 h 9813"/>
                    <a:gd name="connsiteX169" fmla="*/ 4389 w 10000"/>
                    <a:gd name="connsiteY169" fmla="*/ 7377 h 9813"/>
                    <a:gd name="connsiteX170" fmla="*/ 4389 w 10000"/>
                    <a:gd name="connsiteY170" fmla="*/ 7377 h 9813"/>
                    <a:gd name="connsiteX171" fmla="*/ 4000 w 10000"/>
                    <a:gd name="connsiteY171" fmla="*/ 7377 h 9813"/>
                    <a:gd name="connsiteX172" fmla="*/ 3722 w 10000"/>
                    <a:gd name="connsiteY172" fmla="*/ 7394 h 9813"/>
                    <a:gd name="connsiteX173" fmla="*/ 3611 w 10000"/>
                    <a:gd name="connsiteY173" fmla="*/ 7410 h 9813"/>
                    <a:gd name="connsiteX174" fmla="*/ 3556 w 10000"/>
                    <a:gd name="connsiteY174" fmla="*/ 7428 h 9813"/>
                    <a:gd name="connsiteX175" fmla="*/ 3556 w 10000"/>
                    <a:gd name="connsiteY175" fmla="*/ 7428 h 9813"/>
                    <a:gd name="connsiteX176" fmla="*/ 3444 w 10000"/>
                    <a:gd name="connsiteY176" fmla="*/ 7494 h 9813"/>
                    <a:gd name="connsiteX177" fmla="*/ 3278 w 10000"/>
                    <a:gd name="connsiteY177" fmla="*/ 7597 h 9813"/>
                    <a:gd name="connsiteX178" fmla="*/ 3000 w 10000"/>
                    <a:gd name="connsiteY178" fmla="*/ 7714 h 9813"/>
                    <a:gd name="connsiteX179" fmla="*/ 2667 w 10000"/>
                    <a:gd name="connsiteY179" fmla="*/ 7799 h 9813"/>
                    <a:gd name="connsiteX180" fmla="*/ 2667 w 10000"/>
                    <a:gd name="connsiteY180" fmla="*/ 7799 h 9813"/>
                    <a:gd name="connsiteX181" fmla="*/ 2333 w 10000"/>
                    <a:gd name="connsiteY181" fmla="*/ 7868 h 9813"/>
                    <a:gd name="connsiteX182" fmla="*/ 1833 w 10000"/>
                    <a:gd name="connsiteY182" fmla="*/ 7935 h 9813"/>
                    <a:gd name="connsiteX183" fmla="*/ 1389 w 10000"/>
                    <a:gd name="connsiteY183" fmla="*/ 7970 h 9813"/>
                    <a:gd name="connsiteX184" fmla="*/ 889 w 10000"/>
                    <a:gd name="connsiteY184" fmla="*/ 7986 h 9813"/>
                    <a:gd name="connsiteX185" fmla="*/ 889 w 10000"/>
                    <a:gd name="connsiteY185" fmla="*/ 7986 h 9813"/>
                    <a:gd name="connsiteX186" fmla="*/ 500 w 10000"/>
                    <a:gd name="connsiteY186" fmla="*/ 8004 h 9813"/>
                    <a:gd name="connsiteX187" fmla="*/ 222 w 10000"/>
                    <a:gd name="connsiteY187" fmla="*/ 8021 h 9813"/>
                    <a:gd name="connsiteX188" fmla="*/ 0 w 10000"/>
                    <a:gd name="connsiteY188" fmla="*/ 8038 h 9813"/>
                    <a:gd name="connsiteX189" fmla="*/ 0 w 10000"/>
                    <a:gd name="connsiteY189" fmla="*/ 8038 h 9813"/>
                    <a:gd name="connsiteX190" fmla="*/ 278 w 10000"/>
                    <a:gd name="connsiteY190" fmla="*/ 8308 h 9813"/>
                    <a:gd name="connsiteX191" fmla="*/ 500 w 10000"/>
                    <a:gd name="connsiteY191" fmla="*/ 8509 h 9813"/>
                    <a:gd name="connsiteX192" fmla="*/ 722 w 10000"/>
                    <a:gd name="connsiteY192" fmla="*/ 8680 h 9813"/>
                    <a:gd name="connsiteX193" fmla="*/ 722 w 10000"/>
                    <a:gd name="connsiteY193" fmla="*/ 8680 h 9813"/>
                    <a:gd name="connsiteX194" fmla="*/ 889 w 10000"/>
                    <a:gd name="connsiteY194" fmla="*/ 8782 h 9813"/>
                    <a:gd name="connsiteX195" fmla="*/ 944 w 10000"/>
                    <a:gd name="connsiteY195" fmla="*/ 8866 h 9813"/>
                    <a:gd name="connsiteX196" fmla="*/ 1111 w 10000"/>
                    <a:gd name="connsiteY196" fmla="*/ 8952 h 9813"/>
                    <a:gd name="connsiteX197" fmla="*/ 1333 w 10000"/>
                    <a:gd name="connsiteY197" fmla="*/ 9085 h 9813"/>
                    <a:gd name="connsiteX198" fmla="*/ 1333 w 10000"/>
                    <a:gd name="connsiteY198" fmla="*/ 9085 h 9813"/>
                    <a:gd name="connsiteX199" fmla="*/ 1444 w 10000"/>
                    <a:gd name="connsiteY199" fmla="*/ 9154 h 9813"/>
                    <a:gd name="connsiteX200" fmla="*/ 1500 w 10000"/>
                    <a:gd name="connsiteY200" fmla="*/ 9203 h 9813"/>
                    <a:gd name="connsiteX201" fmla="*/ 1500 w 10000"/>
                    <a:gd name="connsiteY201" fmla="*/ 9253 h 9813"/>
                    <a:gd name="connsiteX202" fmla="*/ 1556 w 10000"/>
                    <a:gd name="connsiteY202" fmla="*/ 9272 h 9813"/>
                    <a:gd name="connsiteX203" fmla="*/ 1722 w 10000"/>
                    <a:gd name="connsiteY203" fmla="*/ 9287 h 9813"/>
                    <a:gd name="connsiteX204" fmla="*/ 1944 w 10000"/>
                    <a:gd name="connsiteY204" fmla="*/ 9305 h 9813"/>
                    <a:gd name="connsiteX205" fmla="*/ 2944 w 10000"/>
                    <a:gd name="connsiteY205" fmla="*/ 9321 h 9813"/>
                    <a:gd name="connsiteX206" fmla="*/ 2944 w 10000"/>
                    <a:gd name="connsiteY206" fmla="*/ 9321 h 9813"/>
                    <a:gd name="connsiteX207" fmla="*/ 4167 w 10000"/>
                    <a:gd name="connsiteY207" fmla="*/ 9356 h 9813"/>
                    <a:gd name="connsiteX208" fmla="*/ 4889 w 10000"/>
                    <a:gd name="connsiteY208" fmla="*/ 9407 h 9813"/>
                    <a:gd name="connsiteX209" fmla="*/ 5278 w 10000"/>
                    <a:gd name="connsiteY209" fmla="*/ 9459 h 9813"/>
                    <a:gd name="connsiteX210" fmla="*/ 5444 w 10000"/>
                    <a:gd name="connsiteY210" fmla="*/ 9473 h 9813"/>
                    <a:gd name="connsiteX211" fmla="*/ 5444 w 10000"/>
                    <a:gd name="connsiteY211" fmla="*/ 9473 h 9813"/>
                    <a:gd name="connsiteX212" fmla="*/ 5722 w 10000"/>
                    <a:gd name="connsiteY212" fmla="*/ 9509 h 9813"/>
                    <a:gd name="connsiteX213" fmla="*/ 5833 w 10000"/>
                    <a:gd name="connsiteY213" fmla="*/ 9527 h 9813"/>
                    <a:gd name="connsiteX214" fmla="*/ 5833 w 10000"/>
                    <a:gd name="connsiteY214" fmla="*/ 9527 h 9813"/>
                    <a:gd name="connsiteX215" fmla="*/ 5833 w 10000"/>
                    <a:gd name="connsiteY215" fmla="*/ 9509 h 9813"/>
                    <a:gd name="connsiteX216" fmla="*/ 5889 w 10000"/>
                    <a:gd name="connsiteY216" fmla="*/ 9491 h 9813"/>
                    <a:gd name="connsiteX217" fmla="*/ 6000 w 10000"/>
                    <a:gd name="connsiteY217" fmla="*/ 9473 h 9813"/>
                    <a:gd name="connsiteX218" fmla="*/ 6167 w 10000"/>
                    <a:gd name="connsiteY218" fmla="*/ 9459 h 9813"/>
                    <a:gd name="connsiteX219" fmla="*/ 6444 w 10000"/>
                    <a:gd name="connsiteY219" fmla="*/ 9459 h 9813"/>
                    <a:gd name="connsiteX220" fmla="*/ 6833 w 10000"/>
                    <a:gd name="connsiteY220" fmla="*/ 9473 h 9813"/>
                    <a:gd name="connsiteX221" fmla="*/ 7278 w 10000"/>
                    <a:gd name="connsiteY221" fmla="*/ 9527 h 9813"/>
                    <a:gd name="connsiteX222" fmla="*/ 7278 w 10000"/>
                    <a:gd name="connsiteY222" fmla="*/ 9527 h 9813"/>
                    <a:gd name="connsiteX223" fmla="*/ 8722 w 10000"/>
                    <a:gd name="connsiteY223" fmla="*/ 9677 h 9813"/>
                    <a:gd name="connsiteX224" fmla="*/ 10000 w 10000"/>
                    <a:gd name="connsiteY224" fmla="*/ 9813 h 9813"/>
                    <a:gd name="connsiteX0" fmla="*/ 10000 w 10000"/>
                    <a:gd name="connsiteY0" fmla="*/ 8571 h 9744"/>
                    <a:gd name="connsiteX1" fmla="*/ 10000 w 10000"/>
                    <a:gd name="connsiteY1" fmla="*/ 8571 h 9744"/>
                    <a:gd name="connsiteX2" fmla="*/ 9222 w 10000"/>
                    <a:gd name="connsiteY2" fmla="*/ 8589 h 9744"/>
                    <a:gd name="connsiteX3" fmla="*/ 8944 w 10000"/>
                    <a:gd name="connsiteY3" fmla="*/ 8589 h 9744"/>
                    <a:gd name="connsiteX4" fmla="*/ 8833 w 10000"/>
                    <a:gd name="connsiteY4" fmla="*/ 8571 h 9744"/>
                    <a:gd name="connsiteX5" fmla="*/ 8778 w 10000"/>
                    <a:gd name="connsiteY5" fmla="*/ 8555 h 9744"/>
                    <a:gd name="connsiteX6" fmla="*/ 8778 w 10000"/>
                    <a:gd name="connsiteY6" fmla="*/ 8555 h 9744"/>
                    <a:gd name="connsiteX7" fmla="*/ 8444 w 10000"/>
                    <a:gd name="connsiteY7" fmla="*/ 8348 h 9744"/>
                    <a:gd name="connsiteX8" fmla="*/ 8167 w 10000"/>
                    <a:gd name="connsiteY8" fmla="*/ 8157 h 9744"/>
                    <a:gd name="connsiteX9" fmla="*/ 8167 w 10000"/>
                    <a:gd name="connsiteY9" fmla="*/ 8157 h 9744"/>
                    <a:gd name="connsiteX10" fmla="*/ 8056 w 10000"/>
                    <a:gd name="connsiteY10" fmla="*/ 8125 h 9744"/>
                    <a:gd name="connsiteX11" fmla="*/ 7889 w 10000"/>
                    <a:gd name="connsiteY11" fmla="*/ 8090 h 9744"/>
                    <a:gd name="connsiteX12" fmla="*/ 7444 w 10000"/>
                    <a:gd name="connsiteY12" fmla="*/ 8070 h 9744"/>
                    <a:gd name="connsiteX13" fmla="*/ 6889 w 10000"/>
                    <a:gd name="connsiteY13" fmla="*/ 8055 h 9744"/>
                    <a:gd name="connsiteX14" fmla="*/ 6389 w 10000"/>
                    <a:gd name="connsiteY14" fmla="*/ 8055 h 9744"/>
                    <a:gd name="connsiteX15" fmla="*/ 6389 w 10000"/>
                    <a:gd name="connsiteY15" fmla="*/ 8055 h 9744"/>
                    <a:gd name="connsiteX16" fmla="*/ 6167 w 10000"/>
                    <a:gd name="connsiteY16" fmla="*/ 8036 h 9744"/>
                    <a:gd name="connsiteX17" fmla="*/ 6056 w 10000"/>
                    <a:gd name="connsiteY17" fmla="*/ 8004 h 9744"/>
                    <a:gd name="connsiteX18" fmla="*/ 6000 w 10000"/>
                    <a:gd name="connsiteY18" fmla="*/ 7969 h 9744"/>
                    <a:gd name="connsiteX19" fmla="*/ 6000 w 10000"/>
                    <a:gd name="connsiteY19" fmla="*/ 7901 h 9744"/>
                    <a:gd name="connsiteX20" fmla="*/ 6056 w 10000"/>
                    <a:gd name="connsiteY20" fmla="*/ 7762 h 9744"/>
                    <a:gd name="connsiteX21" fmla="*/ 6111 w 10000"/>
                    <a:gd name="connsiteY21" fmla="*/ 7692 h 9744"/>
                    <a:gd name="connsiteX22" fmla="*/ 6056 w 10000"/>
                    <a:gd name="connsiteY22" fmla="*/ 7605 h 9744"/>
                    <a:gd name="connsiteX23" fmla="*/ 6056 w 10000"/>
                    <a:gd name="connsiteY23" fmla="*/ 7605 h 9744"/>
                    <a:gd name="connsiteX24" fmla="*/ 6000 w 10000"/>
                    <a:gd name="connsiteY24" fmla="*/ 7555 h 9744"/>
                    <a:gd name="connsiteX25" fmla="*/ 5944 w 10000"/>
                    <a:gd name="connsiteY25" fmla="*/ 7520 h 9744"/>
                    <a:gd name="connsiteX26" fmla="*/ 5833 w 10000"/>
                    <a:gd name="connsiteY26" fmla="*/ 7520 h 9744"/>
                    <a:gd name="connsiteX27" fmla="*/ 5667 w 10000"/>
                    <a:gd name="connsiteY27" fmla="*/ 7536 h 9744"/>
                    <a:gd name="connsiteX28" fmla="*/ 5333 w 10000"/>
                    <a:gd name="connsiteY28" fmla="*/ 7588 h 9744"/>
                    <a:gd name="connsiteX29" fmla="*/ 4889 w 10000"/>
                    <a:gd name="connsiteY29" fmla="*/ 7675 h 9744"/>
                    <a:gd name="connsiteX30" fmla="*/ 4889 w 10000"/>
                    <a:gd name="connsiteY30" fmla="*/ 7675 h 9744"/>
                    <a:gd name="connsiteX31" fmla="*/ 4611 w 10000"/>
                    <a:gd name="connsiteY31" fmla="*/ 7692 h 9744"/>
                    <a:gd name="connsiteX32" fmla="*/ 4500 w 10000"/>
                    <a:gd name="connsiteY32" fmla="*/ 7692 h 9744"/>
                    <a:gd name="connsiteX33" fmla="*/ 4444 w 10000"/>
                    <a:gd name="connsiteY33" fmla="*/ 7675 h 9744"/>
                    <a:gd name="connsiteX34" fmla="*/ 4389 w 10000"/>
                    <a:gd name="connsiteY34" fmla="*/ 7605 h 9744"/>
                    <a:gd name="connsiteX35" fmla="*/ 4222 w 10000"/>
                    <a:gd name="connsiteY35" fmla="*/ 7520 h 9744"/>
                    <a:gd name="connsiteX36" fmla="*/ 4222 w 10000"/>
                    <a:gd name="connsiteY36" fmla="*/ 7520 h 9744"/>
                    <a:gd name="connsiteX37" fmla="*/ 4111 w 10000"/>
                    <a:gd name="connsiteY37" fmla="*/ 7467 h 9744"/>
                    <a:gd name="connsiteX38" fmla="*/ 4111 w 10000"/>
                    <a:gd name="connsiteY38" fmla="*/ 7416 h 9744"/>
                    <a:gd name="connsiteX39" fmla="*/ 4111 w 10000"/>
                    <a:gd name="connsiteY39" fmla="*/ 7381 h 9744"/>
                    <a:gd name="connsiteX40" fmla="*/ 4167 w 10000"/>
                    <a:gd name="connsiteY40" fmla="*/ 7347 h 9744"/>
                    <a:gd name="connsiteX41" fmla="*/ 4278 w 10000"/>
                    <a:gd name="connsiteY41" fmla="*/ 7279 h 9744"/>
                    <a:gd name="connsiteX42" fmla="*/ 4389 w 10000"/>
                    <a:gd name="connsiteY42" fmla="*/ 7262 h 9744"/>
                    <a:gd name="connsiteX43" fmla="*/ 4389 w 10000"/>
                    <a:gd name="connsiteY43" fmla="*/ 7262 h 9744"/>
                    <a:gd name="connsiteX44" fmla="*/ 4389 w 10000"/>
                    <a:gd name="connsiteY44" fmla="*/ 7244 h 9744"/>
                    <a:gd name="connsiteX45" fmla="*/ 4444 w 10000"/>
                    <a:gd name="connsiteY45" fmla="*/ 7228 h 9744"/>
                    <a:gd name="connsiteX46" fmla="*/ 4667 w 10000"/>
                    <a:gd name="connsiteY46" fmla="*/ 7210 h 9744"/>
                    <a:gd name="connsiteX47" fmla="*/ 5333 w 10000"/>
                    <a:gd name="connsiteY47" fmla="*/ 7175 h 9744"/>
                    <a:gd name="connsiteX48" fmla="*/ 6500 w 10000"/>
                    <a:gd name="connsiteY48" fmla="*/ 7124 h 9744"/>
                    <a:gd name="connsiteX49" fmla="*/ 6500 w 10000"/>
                    <a:gd name="connsiteY49" fmla="*/ 7124 h 9744"/>
                    <a:gd name="connsiteX50" fmla="*/ 7167 w 10000"/>
                    <a:gd name="connsiteY50" fmla="*/ 7072 h 9744"/>
                    <a:gd name="connsiteX51" fmla="*/ 8389 w 10000"/>
                    <a:gd name="connsiteY51" fmla="*/ 6969 h 9744"/>
                    <a:gd name="connsiteX52" fmla="*/ 8389 w 10000"/>
                    <a:gd name="connsiteY52" fmla="*/ 6969 h 9744"/>
                    <a:gd name="connsiteX53" fmla="*/ 8667 w 10000"/>
                    <a:gd name="connsiteY53" fmla="*/ 6932 h 9744"/>
                    <a:gd name="connsiteX54" fmla="*/ 8778 w 10000"/>
                    <a:gd name="connsiteY54" fmla="*/ 6880 h 9744"/>
                    <a:gd name="connsiteX55" fmla="*/ 8889 w 10000"/>
                    <a:gd name="connsiteY55" fmla="*/ 6847 h 9744"/>
                    <a:gd name="connsiteX56" fmla="*/ 8833 w 10000"/>
                    <a:gd name="connsiteY56" fmla="*/ 6812 h 9744"/>
                    <a:gd name="connsiteX57" fmla="*/ 8833 w 10000"/>
                    <a:gd name="connsiteY57" fmla="*/ 6779 h 9744"/>
                    <a:gd name="connsiteX58" fmla="*/ 8722 w 10000"/>
                    <a:gd name="connsiteY58" fmla="*/ 6744 h 9744"/>
                    <a:gd name="connsiteX59" fmla="*/ 8556 w 10000"/>
                    <a:gd name="connsiteY59" fmla="*/ 6691 h 9744"/>
                    <a:gd name="connsiteX60" fmla="*/ 8556 w 10000"/>
                    <a:gd name="connsiteY60" fmla="*/ 6691 h 9744"/>
                    <a:gd name="connsiteX61" fmla="*/ 6556 w 10000"/>
                    <a:gd name="connsiteY61" fmla="*/ 6384 h 9744"/>
                    <a:gd name="connsiteX62" fmla="*/ 6556 w 10000"/>
                    <a:gd name="connsiteY62" fmla="*/ 6384 h 9744"/>
                    <a:gd name="connsiteX63" fmla="*/ 6333 w 10000"/>
                    <a:gd name="connsiteY63" fmla="*/ 6332 h 9744"/>
                    <a:gd name="connsiteX64" fmla="*/ 6167 w 10000"/>
                    <a:gd name="connsiteY64" fmla="*/ 6279 h 9744"/>
                    <a:gd name="connsiteX65" fmla="*/ 6056 w 10000"/>
                    <a:gd name="connsiteY65" fmla="*/ 6226 h 9744"/>
                    <a:gd name="connsiteX66" fmla="*/ 6056 w 10000"/>
                    <a:gd name="connsiteY66" fmla="*/ 6226 h 9744"/>
                    <a:gd name="connsiteX67" fmla="*/ 8056 w 10000"/>
                    <a:gd name="connsiteY67" fmla="*/ 6210 h 9744"/>
                    <a:gd name="connsiteX68" fmla="*/ 10000 w 10000"/>
                    <a:gd name="connsiteY68" fmla="*/ 6384 h 9744"/>
                    <a:gd name="connsiteX69" fmla="*/ 10000 w 10000"/>
                    <a:gd name="connsiteY69" fmla="*/ 4813 h 9744"/>
                    <a:gd name="connsiteX70" fmla="*/ 10000 w 10000"/>
                    <a:gd name="connsiteY70" fmla="*/ 4813 h 9744"/>
                    <a:gd name="connsiteX71" fmla="*/ 7778 w 10000"/>
                    <a:gd name="connsiteY71" fmla="*/ 4452 h 9744"/>
                    <a:gd name="connsiteX72" fmla="*/ 6556 w 10000"/>
                    <a:gd name="connsiteY72" fmla="*/ 4243 h 9744"/>
                    <a:gd name="connsiteX73" fmla="*/ 6556 w 10000"/>
                    <a:gd name="connsiteY73" fmla="*/ 4243 h 9744"/>
                    <a:gd name="connsiteX74" fmla="*/ 6556 w 10000"/>
                    <a:gd name="connsiteY74" fmla="*/ 4226 h 9744"/>
                    <a:gd name="connsiteX75" fmla="*/ 6556 w 10000"/>
                    <a:gd name="connsiteY75" fmla="*/ 4122 h 9744"/>
                    <a:gd name="connsiteX76" fmla="*/ 6556 w 10000"/>
                    <a:gd name="connsiteY76" fmla="*/ 4122 h 9744"/>
                    <a:gd name="connsiteX77" fmla="*/ 6389 w 10000"/>
                    <a:gd name="connsiteY77" fmla="*/ 4004 h 9744"/>
                    <a:gd name="connsiteX78" fmla="*/ 6056 w 10000"/>
                    <a:gd name="connsiteY78" fmla="*/ 3814 h 9744"/>
                    <a:gd name="connsiteX79" fmla="*/ 5333 w 10000"/>
                    <a:gd name="connsiteY79" fmla="*/ 3449 h 9744"/>
                    <a:gd name="connsiteX80" fmla="*/ 5333 w 10000"/>
                    <a:gd name="connsiteY80" fmla="*/ 3449 h 9744"/>
                    <a:gd name="connsiteX81" fmla="*/ 5167 w 10000"/>
                    <a:gd name="connsiteY81" fmla="*/ 3398 h 9744"/>
                    <a:gd name="connsiteX82" fmla="*/ 4889 w 10000"/>
                    <a:gd name="connsiteY82" fmla="*/ 3329 h 9744"/>
                    <a:gd name="connsiteX83" fmla="*/ 4056 w 10000"/>
                    <a:gd name="connsiteY83" fmla="*/ 3176 h 9744"/>
                    <a:gd name="connsiteX84" fmla="*/ 2889 w 10000"/>
                    <a:gd name="connsiteY84" fmla="*/ 2987 h 9744"/>
                    <a:gd name="connsiteX85" fmla="*/ 2889 w 10000"/>
                    <a:gd name="connsiteY85" fmla="*/ 2987 h 9744"/>
                    <a:gd name="connsiteX86" fmla="*/ 2389 w 10000"/>
                    <a:gd name="connsiteY86" fmla="*/ 2967 h 9744"/>
                    <a:gd name="connsiteX87" fmla="*/ 2000 w 10000"/>
                    <a:gd name="connsiteY87" fmla="*/ 2950 h 9744"/>
                    <a:gd name="connsiteX88" fmla="*/ 1889 w 10000"/>
                    <a:gd name="connsiteY88" fmla="*/ 2934 h 9744"/>
                    <a:gd name="connsiteX89" fmla="*/ 1778 w 10000"/>
                    <a:gd name="connsiteY89" fmla="*/ 2915 h 9744"/>
                    <a:gd name="connsiteX90" fmla="*/ 1778 w 10000"/>
                    <a:gd name="connsiteY90" fmla="*/ 2915 h 9744"/>
                    <a:gd name="connsiteX91" fmla="*/ 1667 w 10000"/>
                    <a:gd name="connsiteY91" fmla="*/ 2847 h 9744"/>
                    <a:gd name="connsiteX92" fmla="*/ 1500 w 10000"/>
                    <a:gd name="connsiteY92" fmla="*/ 2727 h 9744"/>
                    <a:gd name="connsiteX93" fmla="*/ 1444 w 10000"/>
                    <a:gd name="connsiteY93" fmla="*/ 2657 h 9744"/>
                    <a:gd name="connsiteX94" fmla="*/ 1444 w 10000"/>
                    <a:gd name="connsiteY94" fmla="*/ 2589 h 9744"/>
                    <a:gd name="connsiteX95" fmla="*/ 1444 w 10000"/>
                    <a:gd name="connsiteY95" fmla="*/ 2536 h 9744"/>
                    <a:gd name="connsiteX96" fmla="*/ 1556 w 10000"/>
                    <a:gd name="connsiteY96" fmla="*/ 2485 h 9744"/>
                    <a:gd name="connsiteX97" fmla="*/ 1556 w 10000"/>
                    <a:gd name="connsiteY97" fmla="*/ 2485 h 9744"/>
                    <a:gd name="connsiteX98" fmla="*/ 1833 w 10000"/>
                    <a:gd name="connsiteY98" fmla="*/ 2399 h 9744"/>
                    <a:gd name="connsiteX99" fmla="*/ 2111 w 10000"/>
                    <a:gd name="connsiteY99" fmla="*/ 2310 h 9744"/>
                    <a:gd name="connsiteX100" fmla="*/ 2278 w 10000"/>
                    <a:gd name="connsiteY100" fmla="*/ 2261 h 9744"/>
                    <a:gd name="connsiteX101" fmla="*/ 2389 w 10000"/>
                    <a:gd name="connsiteY101" fmla="*/ 2210 h 9744"/>
                    <a:gd name="connsiteX102" fmla="*/ 2389 w 10000"/>
                    <a:gd name="connsiteY102" fmla="*/ 2141 h 9744"/>
                    <a:gd name="connsiteX103" fmla="*/ 2389 w 10000"/>
                    <a:gd name="connsiteY103" fmla="*/ 2055 h 9744"/>
                    <a:gd name="connsiteX104" fmla="*/ 2389 w 10000"/>
                    <a:gd name="connsiteY104" fmla="*/ 2055 h 9744"/>
                    <a:gd name="connsiteX105" fmla="*/ 2167 w 10000"/>
                    <a:gd name="connsiteY105" fmla="*/ 1812 h 9744"/>
                    <a:gd name="connsiteX106" fmla="*/ 1889 w 10000"/>
                    <a:gd name="connsiteY106" fmla="*/ 1485 h 9744"/>
                    <a:gd name="connsiteX107" fmla="*/ 1667 w 10000"/>
                    <a:gd name="connsiteY107" fmla="*/ 1193 h 9744"/>
                    <a:gd name="connsiteX108" fmla="*/ 1611 w 10000"/>
                    <a:gd name="connsiteY108" fmla="*/ 1107 h 9744"/>
                    <a:gd name="connsiteX109" fmla="*/ 1611 w 10000"/>
                    <a:gd name="connsiteY109" fmla="*/ 1073 h 9744"/>
                    <a:gd name="connsiteX110" fmla="*/ 1667 w 10000"/>
                    <a:gd name="connsiteY110" fmla="*/ 1053 h 9744"/>
                    <a:gd name="connsiteX111" fmla="*/ 1667 w 10000"/>
                    <a:gd name="connsiteY111" fmla="*/ 1053 h 9744"/>
                    <a:gd name="connsiteX112" fmla="*/ 2000 w 10000"/>
                    <a:gd name="connsiteY112" fmla="*/ 1038 h 9744"/>
                    <a:gd name="connsiteX113" fmla="*/ 2222 w 10000"/>
                    <a:gd name="connsiteY113" fmla="*/ 1038 h 9744"/>
                    <a:gd name="connsiteX114" fmla="*/ 2389 w 10000"/>
                    <a:gd name="connsiteY114" fmla="*/ 1053 h 9744"/>
                    <a:gd name="connsiteX115" fmla="*/ 2389 w 10000"/>
                    <a:gd name="connsiteY115" fmla="*/ 1053 h 9744"/>
                    <a:gd name="connsiteX116" fmla="*/ 2444 w 10000"/>
                    <a:gd name="connsiteY116" fmla="*/ 1053 h 9744"/>
                    <a:gd name="connsiteX117" fmla="*/ 2500 w 10000"/>
                    <a:gd name="connsiteY117" fmla="*/ 1021 h 9744"/>
                    <a:gd name="connsiteX118" fmla="*/ 2778 w 10000"/>
                    <a:gd name="connsiteY118" fmla="*/ 916 h 9744"/>
                    <a:gd name="connsiteX119" fmla="*/ 3500 w 10000"/>
                    <a:gd name="connsiteY119" fmla="*/ 570 h 9744"/>
                    <a:gd name="connsiteX120" fmla="*/ 4444 w 10000"/>
                    <a:gd name="connsiteY120" fmla="*/ 71 h 9744"/>
                    <a:gd name="connsiteX121" fmla="*/ 4444 w 10000"/>
                    <a:gd name="connsiteY121" fmla="*/ 0 h 9744"/>
                    <a:gd name="connsiteX122" fmla="*/ 10000 w 10000"/>
                    <a:gd name="connsiteY122" fmla="*/ 8589 h 9744"/>
                    <a:gd name="connsiteX123" fmla="*/ 10000 w 10000"/>
                    <a:gd name="connsiteY123" fmla="*/ 8589 h 9744"/>
                    <a:gd name="connsiteX124" fmla="*/ 9722 w 10000"/>
                    <a:gd name="connsiteY124" fmla="*/ 8571 h 9744"/>
                    <a:gd name="connsiteX125" fmla="*/ 9389 w 10000"/>
                    <a:gd name="connsiteY125" fmla="*/ 8589 h 9744"/>
                    <a:gd name="connsiteX126" fmla="*/ 9389 w 10000"/>
                    <a:gd name="connsiteY126" fmla="*/ 8589 h 9744"/>
                    <a:gd name="connsiteX127" fmla="*/ 9278 w 10000"/>
                    <a:gd name="connsiteY127" fmla="*/ 8608 h 9744"/>
                    <a:gd name="connsiteX128" fmla="*/ 9056 w 10000"/>
                    <a:gd name="connsiteY128" fmla="*/ 8589 h 9744"/>
                    <a:gd name="connsiteX129" fmla="*/ 8889 w 10000"/>
                    <a:gd name="connsiteY129" fmla="*/ 8571 h 9744"/>
                    <a:gd name="connsiteX130" fmla="*/ 8722 w 10000"/>
                    <a:gd name="connsiteY130" fmla="*/ 8537 h 9744"/>
                    <a:gd name="connsiteX131" fmla="*/ 8611 w 10000"/>
                    <a:gd name="connsiteY131" fmla="*/ 8485 h 9744"/>
                    <a:gd name="connsiteX132" fmla="*/ 8444 w 10000"/>
                    <a:gd name="connsiteY132" fmla="*/ 8398 h 9744"/>
                    <a:gd name="connsiteX133" fmla="*/ 8444 w 10000"/>
                    <a:gd name="connsiteY133" fmla="*/ 8398 h 9744"/>
                    <a:gd name="connsiteX134" fmla="*/ 8222 w 10000"/>
                    <a:gd name="connsiteY134" fmla="*/ 8244 h 9744"/>
                    <a:gd name="connsiteX135" fmla="*/ 8111 w 10000"/>
                    <a:gd name="connsiteY135" fmla="*/ 8176 h 9744"/>
                    <a:gd name="connsiteX136" fmla="*/ 7944 w 10000"/>
                    <a:gd name="connsiteY136" fmla="*/ 8125 h 9744"/>
                    <a:gd name="connsiteX137" fmla="*/ 7778 w 10000"/>
                    <a:gd name="connsiteY137" fmla="*/ 8090 h 9744"/>
                    <a:gd name="connsiteX138" fmla="*/ 7556 w 10000"/>
                    <a:gd name="connsiteY138" fmla="*/ 8070 h 9744"/>
                    <a:gd name="connsiteX139" fmla="*/ 7333 w 10000"/>
                    <a:gd name="connsiteY139" fmla="*/ 8055 h 9744"/>
                    <a:gd name="connsiteX140" fmla="*/ 7000 w 10000"/>
                    <a:gd name="connsiteY140" fmla="*/ 8036 h 9744"/>
                    <a:gd name="connsiteX141" fmla="*/ 7000 w 10000"/>
                    <a:gd name="connsiteY141" fmla="*/ 8036 h 9744"/>
                    <a:gd name="connsiteX142" fmla="*/ 6556 w 10000"/>
                    <a:gd name="connsiteY142" fmla="*/ 8055 h 9744"/>
                    <a:gd name="connsiteX143" fmla="*/ 6222 w 10000"/>
                    <a:gd name="connsiteY143" fmla="*/ 8055 h 9744"/>
                    <a:gd name="connsiteX144" fmla="*/ 6111 w 10000"/>
                    <a:gd name="connsiteY144" fmla="*/ 8036 h 9744"/>
                    <a:gd name="connsiteX145" fmla="*/ 6056 w 10000"/>
                    <a:gd name="connsiteY145" fmla="*/ 8019 h 9744"/>
                    <a:gd name="connsiteX146" fmla="*/ 6056 w 10000"/>
                    <a:gd name="connsiteY146" fmla="*/ 8019 h 9744"/>
                    <a:gd name="connsiteX147" fmla="*/ 6056 w 10000"/>
                    <a:gd name="connsiteY147" fmla="*/ 7710 h 9744"/>
                    <a:gd name="connsiteX148" fmla="*/ 6056 w 10000"/>
                    <a:gd name="connsiteY148" fmla="*/ 7710 h 9744"/>
                    <a:gd name="connsiteX149" fmla="*/ 6056 w 10000"/>
                    <a:gd name="connsiteY149" fmla="*/ 7639 h 9744"/>
                    <a:gd name="connsiteX150" fmla="*/ 5944 w 10000"/>
                    <a:gd name="connsiteY150" fmla="*/ 7555 h 9744"/>
                    <a:gd name="connsiteX151" fmla="*/ 5889 w 10000"/>
                    <a:gd name="connsiteY151" fmla="*/ 7536 h 9744"/>
                    <a:gd name="connsiteX152" fmla="*/ 5778 w 10000"/>
                    <a:gd name="connsiteY152" fmla="*/ 7520 h 9744"/>
                    <a:gd name="connsiteX153" fmla="*/ 5667 w 10000"/>
                    <a:gd name="connsiteY153" fmla="*/ 7520 h 9744"/>
                    <a:gd name="connsiteX154" fmla="*/ 5500 w 10000"/>
                    <a:gd name="connsiteY154" fmla="*/ 7536 h 9744"/>
                    <a:gd name="connsiteX155" fmla="*/ 5500 w 10000"/>
                    <a:gd name="connsiteY155" fmla="*/ 7536 h 9744"/>
                    <a:gd name="connsiteX156" fmla="*/ 4889 w 10000"/>
                    <a:gd name="connsiteY156" fmla="*/ 7657 h 9744"/>
                    <a:gd name="connsiteX157" fmla="*/ 4611 w 10000"/>
                    <a:gd name="connsiteY157" fmla="*/ 7692 h 9744"/>
                    <a:gd name="connsiteX158" fmla="*/ 4556 w 10000"/>
                    <a:gd name="connsiteY158" fmla="*/ 7710 h 9744"/>
                    <a:gd name="connsiteX159" fmla="*/ 4500 w 10000"/>
                    <a:gd name="connsiteY159" fmla="*/ 7692 h 9744"/>
                    <a:gd name="connsiteX160" fmla="*/ 4500 w 10000"/>
                    <a:gd name="connsiteY160" fmla="*/ 7692 h 9744"/>
                    <a:gd name="connsiteX161" fmla="*/ 4222 w 10000"/>
                    <a:gd name="connsiteY161" fmla="*/ 7520 h 9744"/>
                    <a:gd name="connsiteX162" fmla="*/ 4222 w 10000"/>
                    <a:gd name="connsiteY162" fmla="*/ 7520 h 9744"/>
                    <a:gd name="connsiteX163" fmla="*/ 4111 w 10000"/>
                    <a:gd name="connsiteY163" fmla="*/ 7434 h 9744"/>
                    <a:gd name="connsiteX164" fmla="*/ 4111 w 10000"/>
                    <a:gd name="connsiteY164" fmla="*/ 7381 h 9744"/>
                    <a:gd name="connsiteX165" fmla="*/ 4111 w 10000"/>
                    <a:gd name="connsiteY165" fmla="*/ 7330 h 9744"/>
                    <a:gd name="connsiteX166" fmla="*/ 4111 w 10000"/>
                    <a:gd name="connsiteY166" fmla="*/ 7330 h 9744"/>
                    <a:gd name="connsiteX167" fmla="*/ 4278 w 10000"/>
                    <a:gd name="connsiteY167" fmla="*/ 7279 h 9744"/>
                    <a:gd name="connsiteX168" fmla="*/ 4389 w 10000"/>
                    <a:gd name="connsiteY168" fmla="*/ 7262 h 9744"/>
                    <a:gd name="connsiteX169" fmla="*/ 4389 w 10000"/>
                    <a:gd name="connsiteY169" fmla="*/ 7262 h 9744"/>
                    <a:gd name="connsiteX170" fmla="*/ 4000 w 10000"/>
                    <a:gd name="connsiteY170" fmla="*/ 7262 h 9744"/>
                    <a:gd name="connsiteX171" fmla="*/ 3722 w 10000"/>
                    <a:gd name="connsiteY171" fmla="*/ 7279 h 9744"/>
                    <a:gd name="connsiteX172" fmla="*/ 3611 w 10000"/>
                    <a:gd name="connsiteY172" fmla="*/ 7295 h 9744"/>
                    <a:gd name="connsiteX173" fmla="*/ 3556 w 10000"/>
                    <a:gd name="connsiteY173" fmla="*/ 7314 h 9744"/>
                    <a:gd name="connsiteX174" fmla="*/ 3556 w 10000"/>
                    <a:gd name="connsiteY174" fmla="*/ 7314 h 9744"/>
                    <a:gd name="connsiteX175" fmla="*/ 3444 w 10000"/>
                    <a:gd name="connsiteY175" fmla="*/ 7381 h 9744"/>
                    <a:gd name="connsiteX176" fmla="*/ 3278 w 10000"/>
                    <a:gd name="connsiteY176" fmla="*/ 7486 h 9744"/>
                    <a:gd name="connsiteX177" fmla="*/ 3000 w 10000"/>
                    <a:gd name="connsiteY177" fmla="*/ 7605 h 9744"/>
                    <a:gd name="connsiteX178" fmla="*/ 2667 w 10000"/>
                    <a:gd name="connsiteY178" fmla="*/ 7692 h 9744"/>
                    <a:gd name="connsiteX179" fmla="*/ 2667 w 10000"/>
                    <a:gd name="connsiteY179" fmla="*/ 7692 h 9744"/>
                    <a:gd name="connsiteX180" fmla="*/ 2333 w 10000"/>
                    <a:gd name="connsiteY180" fmla="*/ 7762 h 9744"/>
                    <a:gd name="connsiteX181" fmla="*/ 1833 w 10000"/>
                    <a:gd name="connsiteY181" fmla="*/ 7830 h 9744"/>
                    <a:gd name="connsiteX182" fmla="*/ 1389 w 10000"/>
                    <a:gd name="connsiteY182" fmla="*/ 7866 h 9744"/>
                    <a:gd name="connsiteX183" fmla="*/ 889 w 10000"/>
                    <a:gd name="connsiteY183" fmla="*/ 7882 h 9744"/>
                    <a:gd name="connsiteX184" fmla="*/ 889 w 10000"/>
                    <a:gd name="connsiteY184" fmla="*/ 7882 h 9744"/>
                    <a:gd name="connsiteX185" fmla="*/ 500 w 10000"/>
                    <a:gd name="connsiteY185" fmla="*/ 7901 h 9744"/>
                    <a:gd name="connsiteX186" fmla="*/ 222 w 10000"/>
                    <a:gd name="connsiteY186" fmla="*/ 7918 h 9744"/>
                    <a:gd name="connsiteX187" fmla="*/ 0 w 10000"/>
                    <a:gd name="connsiteY187" fmla="*/ 7935 h 9744"/>
                    <a:gd name="connsiteX188" fmla="*/ 0 w 10000"/>
                    <a:gd name="connsiteY188" fmla="*/ 7935 h 9744"/>
                    <a:gd name="connsiteX189" fmla="*/ 278 w 10000"/>
                    <a:gd name="connsiteY189" fmla="*/ 8210 h 9744"/>
                    <a:gd name="connsiteX190" fmla="*/ 500 w 10000"/>
                    <a:gd name="connsiteY190" fmla="*/ 8415 h 9744"/>
                    <a:gd name="connsiteX191" fmla="*/ 722 w 10000"/>
                    <a:gd name="connsiteY191" fmla="*/ 8589 h 9744"/>
                    <a:gd name="connsiteX192" fmla="*/ 722 w 10000"/>
                    <a:gd name="connsiteY192" fmla="*/ 8589 h 9744"/>
                    <a:gd name="connsiteX193" fmla="*/ 889 w 10000"/>
                    <a:gd name="connsiteY193" fmla="*/ 8693 h 9744"/>
                    <a:gd name="connsiteX194" fmla="*/ 944 w 10000"/>
                    <a:gd name="connsiteY194" fmla="*/ 8779 h 9744"/>
                    <a:gd name="connsiteX195" fmla="*/ 1111 w 10000"/>
                    <a:gd name="connsiteY195" fmla="*/ 8867 h 9744"/>
                    <a:gd name="connsiteX196" fmla="*/ 1333 w 10000"/>
                    <a:gd name="connsiteY196" fmla="*/ 9002 h 9744"/>
                    <a:gd name="connsiteX197" fmla="*/ 1333 w 10000"/>
                    <a:gd name="connsiteY197" fmla="*/ 9002 h 9744"/>
                    <a:gd name="connsiteX198" fmla="*/ 1444 w 10000"/>
                    <a:gd name="connsiteY198" fmla="*/ 9072 h 9744"/>
                    <a:gd name="connsiteX199" fmla="*/ 1500 w 10000"/>
                    <a:gd name="connsiteY199" fmla="*/ 9122 h 9744"/>
                    <a:gd name="connsiteX200" fmla="*/ 1500 w 10000"/>
                    <a:gd name="connsiteY200" fmla="*/ 9173 h 9744"/>
                    <a:gd name="connsiteX201" fmla="*/ 1556 w 10000"/>
                    <a:gd name="connsiteY201" fmla="*/ 9193 h 9744"/>
                    <a:gd name="connsiteX202" fmla="*/ 1722 w 10000"/>
                    <a:gd name="connsiteY202" fmla="*/ 9208 h 9744"/>
                    <a:gd name="connsiteX203" fmla="*/ 1944 w 10000"/>
                    <a:gd name="connsiteY203" fmla="*/ 9226 h 9744"/>
                    <a:gd name="connsiteX204" fmla="*/ 2944 w 10000"/>
                    <a:gd name="connsiteY204" fmla="*/ 9243 h 9744"/>
                    <a:gd name="connsiteX205" fmla="*/ 2944 w 10000"/>
                    <a:gd name="connsiteY205" fmla="*/ 9243 h 9744"/>
                    <a:gd name="connsiteX206" fmla="*/ 4167 w 10000"/>
                    <a:gd name="connsiteY206" fmla="*/ 9278 h 9744"/>
                    <a:gd name="connsiteX207" fmla="*/ 4889 w 10000"/>
                    <a:gd name="connsiteY207" fmla="*/ 9330 h 9744"/>
                    <a:gd name="connsiteX208" fmla="*/ 5278 w 10000"/>
                    <a:gd name="connsiteY208" fmla="*/ 9383 h 9744"/>
                    <a:gd name="connsiteX209" fmla="*/ 5444 w 10000"/>
                    <a:gd name="connsiteY209" fmla="*/ 9398 h 9744"/>
                    <a:gd name="connsiteX210" fmla="*/ 5444 w 10000"/>
                    <a:gd name="connsiteY210" fmla="*/ 9398 h 9744"/>
                    <a:gd name="connsiteX211" fmla="*/ 5722 w 10000"/>
                    <a:gd name="connsiteY211" fmla="*/ 9434 h 9744"/>
                    <a:gd name="connsiteX212" fmla="*/ 5833 w 10000"/>
                    <a:gd name="connsiteY212" fmla="*/ 9453 h 9744"/>
                    <a:gd name="connsiteX213" fmla="*/ 5833 w 10000"/>
                    <a:gd name="connsiteY213" fmla="*/ 9453 h 9744"/>
                    <a:gd name="connsiteX214" fmla="*/ 5833 w 10000"/>
                    <a:gd name="connsiteY214" fmla="*/ 9434 h 9744"/>
                    <a:gd name="connsiteX215" fmla="*/ 5889 w 10000"/>
                    <a:gd name="connsiteY215" fmla="*/ 9416 h 9744"/>
                    <a:gd name="connsiteX216" fmla="*/ 6000 w 10000"/>
                    <a:gd name="connsiteY216" fmla="*/ 9398 h 9744"/>
                    <a:gd name="connsiteX217" fmla="*/ 6167 w 10000"/>
                    <a:gd name="connsiteY217" fmla="*/ 9383 h 9744"/>
                    <a:gd name="connsiteX218" fmla="*/ 6444 w 10000"/>
                    <a:gd name="connsiteY218" fmla="*/ 9383 h 9744"/>
                    <a:gd name="connsiteX219" fmla="*/ 6833 w 10000"/>
                    <a:gd name="connsiteY219" fmla="*/ 9398 h 9744"/>
                    <a:gd name="connsiteX220" fmla="*/ 7278 w 10000"/>
                    <a:gd name="connsiteY220" fmla="*/ 9453 h 9744"/>
                    <a:gd name="connsiteX221" fmla="*/ 7278 w 10000"/>
                    <a:gd name="connsiteY221" fmla="*/ 9453 h 9744"/>
                    <a:gd name="connsiteX222" fmla="*/ 8722 w 10000"/>
                    <a:gd name="connsiteY222" fmla="*/ 9605 h 9744"/>
                    <a:gd name="connsiteX223" fmla="*/ 10000 w 10000"/>
                    <a:gd name="connsiteY223" fmla="*/ 9744 h 9744"/>
                    <a:gd name="connsiteX0" fmla="*/ 10000 w 10000"/>
                    <a:gd name="connsiteY0" fmla="*/ 8723 h 9927"/>
                    <a:gd name="connsiteX1" fmla="*/ 10000 w 10000"/>
                    <a:gd name="connsiteY1" fmla="*/ 8723 h 9927"/>
                    <a:gd name="connsiteX2" fmla="*/ 9222 w 10000"/>
                    <a:gd name="connsiteY2" fmla="*/ 8742 h 9927"/>
                    <a:gd name="connsiteX3" fmla="*/ 8944 w 10000"/>
                    <a:gd name="connsiteY3" fmla="*/ 8742 h 9927"/>
                    <a:gd name="connsiteX4" fmla="*/ 8833 w 10000"/>
                    <a:gd name="connsiteY4" fmla="*/ 8723 h 9927"/>
                    <a:gd name="connsiteX5" fmla="*/ 8778 w 10000"/>
                    <a:gd name="connsiteY5" fmla="*/ 8707 h 9927"/>
                    <a:gd name="connsiteX6" fmla="*/ 8778 w 10000"/>
                    <a:gd name="connsiteY6" fmla="*/ 8707 h 9927"/>
                    <a:gd name="connsiteX7" fmla="*/ 8444 w 10000"/>
                    <a:gd name="connsiteY7" fmla="*/ 8494 h 9927"/>
                    <a:gd name="connsiteX8" fmla="*/ 8167 w 10000"/>
                    <a:gd name="connsiteY8" fmla="*/ 8298 h 9927"/>
                    <a:gd name="connsiteX9" fmla="*/ 8167 w 10000"/>
                    <a:gd name="connsiteY9" fmla="*/ 8298 h 9927"/>
                    <a:gd name="connsiteX10" fmla="*/ 8056 w 10000"/>
                    <a:gd name="connsiteY10" fmla="*/ 8265 h 9927"/>
                    <a:gd name="connsiteX11" fmla="*/ 7889 w 10000"/>
                    <a:gd name="connsiteY11" fmla="*/ 8230 h 9927"/>
                    <a:gd name="connsiteX12" fmla="*/ 7444 w 10000"/>
                    <a:gd name="connsiteY12" fmla="*/ 8209 h 9927"/>
                    <a:gd name="connsiteX13" fmla="*/ 6889 w 10000"/>
                    <a:gd name="connsiteY13" fmla="*/ 8194 h 9927"/>
                    <a:gd name="connsiteX14" fmla="*/ 6389 w 10000"/>
                    <a:gd name="connsiteY14" fmla="*/ 8194 h 9927"/>
                    <a:gd name="connsiteX15" fmla="*/ 6389 w 10000"/>
                    <a:gd name="connsiteY15" fmla="*/ 8194 h 9927"/>
                    <a:gd name="connsiteX16" fmla="*/ 6167 w 10000"/>
                    <a:gd name="connsiteY16" fmla="*/ 8174 h 9927"/>
                    <a:gd name="connsiteX17" fmla="*/ 6056 w 10000"/>
                    <a:gd name="connsiteY17" fmla="*/ 8141 h 9927"/>
                    <a:gd name="connsiteX18" fmla="*/ 6000 w 10000"/>
                    <a:gd name="connsiteY18" fmla="*/ 8105 h 9927"/>
                    <a:gd name="connsiteX19" fmla="*/ 6000 w 10000"/>
                    <a:gd name="connsiteY19" fmla="*/ 8036 h 9927"/>
                    <a:gd name="connsiteX20" fmla="*/ 6056 w 10000"/>
                    <a:gd name="connsiteY20" fmla="*/ 7893 h 9927"/>
                    <a:gd name="connsiteX21" fmla="*/ 6111 w 10000"/>
                    <a:gd name="connsiteY21" fmla="*/ 7821 h 9927"/>
                    <a:gd name="connsiteX22" fmla="*/ 6056 w 10000"/>
                    <a:gd name="connsiteY22" fmla="*/ 7732 h 9927"/>
                    <a:gd name="connsiteX23" fmla="*/ 6056 w 10000"/>
                    <a:gd name="connsiteY23" fmla="*/ 7732 h 9927"/>
                    <a:gd name="connsiteX24" fmla="*/ 6000 w 10000"/>
                    <a:gd name="connsiteY24" fmla="*/ 7680 h 9927"/>
                    <a:gd name="connsiteX25" fmla="*/ 5944 w 10000"/>
                    <a:gd name="connsiteY25" fmla="*/ 7645 h 9927"/>
                    <a:gd name="connsiteX26" fmla="*/ 5833 w 10000"/>
                    <a:gd name="connsiteY26" fmla="*/ 7645 h 9927"/>
                    <a:gd name="connsiteX27" fmla="*/ 5667 w 10000"/>
                    <a:gd name="connsiteY27" fmla="*/ 7661 h 9927"/>
                    <a:gd name="connsiteX28" fmla="*/ 5333 w 10000"/>
                    <a:gd name="connsiteY28" fmla="*/ 7714 h 9927"/>
                    <a:gd name="connsiteX29" fmla="*/ 4889 w 10000"/>
                    <a:gd name="connsiteY29" fmla="*/ 7804 h 9927"/>
                    <a:gd name="connsiteX30" fmla="*/ 4889 w 10000"/>
                    <a:gd name="connsiteY30" fmla="*/ 7804 h 9927"/>
                    <a:gd name="connsiteX31" fmla="*/ 4611 w 10000"/>
                    <a:gd name="connsiteY31" fmla="*/ 7821 h 9927"/>
                    <a:gd name="connsiteX32" fmla="*/ 4500 w 10000"/>
                    <a:gd name="connsiteY32" fmla="*/ 7821 h 9927"/>
                    <a:gd name="connsiteX33" fmla="*/ 4444 w 10000"/>
                    <a:gd name="connsiteY33" fmla="*/ 7804 h 9927"/>
                    <a:gd name="connsiteX34" fmla="*/ 4389 w 10000"/>
                    <a:gd name="connsiteY34" fmla="*/ 7732 h 9927"/>
                    <a:gd name="connsiteX35" fmla="*/ 4222 w 10000"/>
                    <a:gd name="connsiteY35" fmla="*/ 7645 h 9927"/>
                    <a:gd name="connsiteX36" fmla="*/ 4222 w 10000"/>
                    <a:gd name="connsiteY36" fmla="*/ 7645 h 9927"/>
                    <a:gd name="connsiteX37" fmla="*/ 4111 w 10000"/>
                    <a:gd name="connsiteY37" fmla="*/ 7590 h 9927"/>
                    <a:gd name="connsiteX38" fmla="*/ 4111 w 10000"/>
                    <a:gd name="connsiteY38" fmla="*/ 7538 h 9927"/>
                    <a:gd name="connsiteX39" fmla="*/ 4111 w 10000"/>
                    <a:gd name="connsiteY39" fmla="*/ 7502 h 9927"/>
                    <a:gd name="connsiteX40" fmla="*/ 4167 w 10000"/>
                    <a:gd name="connsiteY40" fmla="*/ 7467 h 9927"/>
                    <a:gd name="connsiteX41" fmla="*/ 4278 w 10000"/>
                    <a:gd name="connsiteY41" fmla="*/ 7397 h 9927"/>
                    <a:gd name="connsiteX42" fmla="*/ 4389 w 10000"/>
                    <a:gd name="connsiteY42" fmla="*/ 7380 h 9927"/>
                    <a:gd name="connsiteX43" fmla="*/ 4389 w 10000"/>
                    <a:gd name="connsiteY43" fmla="*/ 7380 h 9927"/>
                    <a:gd name="connsiteX44" fmla="*/ 4389 w 10000"/>
                    <a:gd name="connsiteY44" fmla="*/ 7361 h 9927"/>
                    <a:gd name="connsiteX45" fmla="*/ 4444 w 10000"/>
                    <a:gd name="connsiteY45" fmla="*/ 7345 h 9927"/>
                    <a:gd name="connsiteX46" fmla="*/ 4667 w 10000"/>
                    <a:gd name="connsiteY46" fmla="*/ 7326 h 9927"/>
                    <a:gd name="connsiteX47" fmla="*/ 5333 w 10000"/>
                    <a:gd name="connsiteY47" fmla="*/ 7291 h 9927"/>
                    <a:gd name="connsiteX48" fmla="*/ 6500 w 10000"/>
                    <a:gd name="connsiteY48" fmla="*/ 7238 h 9927"/>
                    <a:gd name="connsiteX49" fmla="*/ 6500 w 10000"/>
                    <a:gd name="connsiteY49" fmla="*/ 7238 h 9927"/>
                    <a:gd name="connsiteX50" fmla="*/ 7167 w 10000"/>
                    <a:gd name="connsiteY50" fmla="*/ 7185 h 9927"/>
                    <a:gd name="connsiteX51" fmla="*/ 8389 w 10000"/>
                    <a:gd name="connsiteY51" fmla="*/ 7079 h 9927"/>
                    <a:gd name="connsiteX52" fmla="*/ 8389 w 10000"/>
                    <a:gd name="connsiteY52" fmla="*/ 7079 h 9927"/>
                    <a:gd name="connsiteX53" fmla="*/ 8667 w 10000"/>
                    <a:gd name="connsiteY53" fmla="*/ 7041 h 9927"/>
                    <a:gd name="connsiteX54" fmla="*/ 8778 w 10000"/>
                    <a:gd name="connsiteY54" fmla="*/ 6988 h 9927"/>
                    <a:gd name="connsiteX55" fmla="*/ 8889 w 10000"/>
                    <a:gd name="connsiteY55" fmla="*/ 6954 h 9927"/>
                    <a:gd name="connsiteX56" fmla="*/ 8833 w 10000"/>
                    <a:gd name="connsiteY56" fmla="*/ 6918 h 9927"/>
                    <a:gd name="connsiteX57" fmla="*/ 8833 w 10000"/>
                    <a:gd name="connsiteY57" fmla="*/ 6884 h 9927"/>
                    <a:gd name="connsiteX58" fmla="*/ 8722 w 10000"/>
                    <a:gd name="connsiteY58" fmla="*/ 6848 h 9927"/>
                    <a:gd name="connsiteX59" fmla="*/ 8556 w 10000"/>
                    <a:gd name="connsiteY59" fmla="*/ 6794 h 9927"/>
                    <a:gd name="connsiteX60" fmla="*/ 8556 w 10000"/>
                    <a:gd name="connsiteY60" fmla="*/ 6794 h 9927"/>
                    <a:gd name="connsiteX61" fmla="*/ 6556 w 10000"/>
                    <a:gd name="connsiteY61" fmla="*/ 6479 h 9927"/>
                    <a:gd name="connsiteX62" fmla="*/ 6556 w 10000"/>
                    <a:gd name="connsiteY62" fmla="*/ 6479 h 9927"/>
                    <a:gd name="connsiteX63" fmla="*/ 6333 w 10000"/>
                    <a:gd name="connsiteY63" fmla="*/ 6425 h 9927"/>
                    <a:gd name="connsiteX64" fmla="*/ 6167 w 10000"/>
                    <a:gd name="connsiteY64" fmla="*/ 6371 h 9927"/>
                    <a:gd name="connsiteX65" fmla="*/ 6056 w 10000"/>
                    <a:gd name="connsiteY65" fmla="*/ 6317 h 9927"/>
                    <a:gd name="connsiteX66" fmla="*/ 6056 w 10000"/>
                    <a:gd name="connsiteY66" fmla="*/ 6317 h 9927"/>
                    <a:gd name="connsiteX67" fmla="*/ 8056 w 10000"/>
                    <a:gd name="connsiteY67" fmla="*/ 6300 h 9927"/>
                    <a:gd name="connsiteX68" fmla="*/ 10000 w 10000"/>
                    <a:gd name="connsiteY68" fmla="*/ 6479 h 9927"/>
                    <a:gd name="connsiteX69" fmla="*/ 10000 w 10000"/>
                    <a:gd name="connsiteY69" fmla="*/ 4866 h 9927"/>
                    <a:gd name="connsiteX70" fmla="*/ 10000 w 10000"/>
                    <a:gd name="connsiteY70" fmla="*/ 4866 h 9927"/>
                    <a:gd name="connsiteX71" fmla="*/ 7778 w 10000"/>
                    <a:gd name="connsiteY71" fmla="*/ 4496 h 9927"/>
                    <a:gd name="connsiteX72" fmla="*/ 6556 w 10000"/>
                    <a:gd name="connsiteY72" fmla="*/ 4281 h 9927"/>
                    <a:gd name="connsiteX73" fmla="*/ 6556 w 10000"/>
                    <a:gd name="connsiteY73" fmla="*/ 4281 h 9927"/>
                    <a:gd name="connsiteX74" fmla="*/ 6556 w 10000"/>
                    <a:gd name="connsiteY74" fmla="*/ 4264 h 9927"/>
                    <a:gd name="connsiteX75" fmla="*/ 6556 w 10000"/>
                    <a:gd name="connsiteY75" fmla="*/ 4157 h 9927"/>
                    <a:gd name="connsiteX76" fmla="*/ 6556 w 10000"/>
                    <a:gd name="connsiteY76" fmla="*/ 4157 h 9927"/>
                    <a:gd name="connsiteX77" fmla="*/ 6389 w 10000"/>
                    <a:gd name="connsiteY77" fmla="*/ 4036 h 9927"/>
                    <a:gd name="connsiteX78" fmla="*/ 6056 w 10000"/>
                    <a:gd name="connsiteY78" fmla="*/ 3841 h 9927"/>
                    <a:gd name="connsiteX79" fmla="*/ 5333 w 10000"/>
                    <a:gd name="connsiteY79" fmla="*/ 3467 h 9927"/>
                    <a:gd name="connsiteX80" fmla="*/ 5333 w 10000"/>
                    <a:gd name="connsiteY80" fmla="*/ 3467 h 9927"/>
                    <a:gd name="connsiteX81" fmla="*/ 5167 w 10000"/>
                    <a:gd name="connsiteY81" fmla="*/ 3414 h 9927"/>
                    <a:gd name="connsiteX82" fmla="*/ 4889 w 10000"/>
                    <a:gd name="connsiteY82" fmla="*/ 3343 h 9927"/>
                    <a:gd name="connsiteX83" fmla="*/ 4056 w 10000"/>
                    <a:gd name="connsiteY83" fmla="*/ 3186 h 9927"/>
                    <a:gd name="connsiteX84" fmla="*/ 2889 w 10000"/>
                    <a:gd name="connsiteY84" fmla="*/ 2992 h 9927"/>
                    <a:gd name="connsiteX85" fmla="*/ 2889 w 10000"/>
                    <a:gd name="connsiteY85" fmla="*/ 2992 h 9927"/>
                    <a:gd name="connsiteX86" fmla="*/ 2389 w 10000"/>
                    <a:gd name="connsiteY86" fmla="*/ 2972 h 9927"/>
                    <a:gd name="connsiteX87" fmla="*/ 2000 w 10000"/>
                    <a:gd name="connsiteY87" fmla="*/ 2955 h 9927"/>
                    <a:gd name="connsiteX88" fmla="*/ 1889 w 10000"/>
                    <a:gd name="connsiteY88" fmla="*/ 2938 h 9927"/>
                    <a:gd name="connsiteX89" fmla="*/ 1778 w 10000"/>
                    <a:gd name="connsiteY89" fmla="*/ 2919 h 9927"/>
                    <a:gd name="connsiteX90" fmla="*/ 1778 w 10000"/>
                    <a:gd name="connsiteY90" fmla="*/ 2919 h 9927"/>
                    <a:gd name="connsiteX91" fmla="*/ 1667 w 10000"/>
                    <a:gd name="connsiteY91" fmla="*/ 2849 h 9927"/>
                    <a:gd name="connsiteX92" fmla="*/ 1500 w 10000"/>
                    <a:gd name="connsiteY92" fmla="*/ 2726 h 9927"/>
                    <a:gd name="connsiteX93" fmla="*/ 1444 w 10000"/>
                    <a:gd name="connsiteY93" fmla="*/ 2654 h 9927"/>
                    <a:gd name="connsiteX94" fmla="*/ 1444 w 10000"/>
                    <a:gd name="connsiteY94" fmla="*/ 2584 h 9927"/>
                    <a:gd name="connsiteX95" fmla="*/ 1444 w 10000"/>
                    <a:gd name="connsiteY95" fmla="*/ 2530 h 9927"/>
                    <a:gd name="connsiteX96" fmla="*/ 1556 w 10000"/>
                    <a:gd name="connsiteY96" fmla="*/ 2477 h 9927"/>
                    <a:gd name="connsiteX97" fmla="*/ 1556 w 10000"/>
                    <a:gd name="connsiteY97" fmla="*/ 2477 h 9927"/>
                    <a:gd name="connsiteX98" fmla="*/ 1833 w 10000"/>
                    <a:gd name="connsiteY98" fmla="*/ 2389 h 9927"/>
                    <a:gd name="connsiteX99" fmla="*/ 2111 w 10000"/>
                    <a:gd name="connsiteY99" fmla="*/ 2298 h 9927"/>
                    <a:gd name="connsiteX100" fmla="*/ 2278 w 10000"/>
                    <a:gd name="connsiteY100" fmla="*/ 2247 h 9927"/>
                    <a:gd name="connsiteX101" fmla="*/ 2389 w 10000"/>
                    <a:gd name="connsiteY101" fmla="*/ 2195 h 9927"/>
                    <a:gd name="connsiteX102" fmla="*/ 2389 w 10000"/>
                    <a:gd name="connsiteY102" fmla="*/ 2124 h 9927"/>
                    <a:gd name="connsiteX103" fmla="*/ 2389 w 10000"/>
                    <a:gd name="connsiteY103" fmla="*/ 2036 h 9927"/>
                    <a:gd name="connsiteX104" fmla="*/ 2389 w 10000"/>
                    <a:gd name="connsiteY104" fmla="*/ 2036 h 9927"/>
                    <a:gd name="connsiteX105" fmla="*/ 2167 w 10000"/>
                    <a:gd name="connsiteY105" fmla="*/ 1787 h 9927"/>
                    <a:gd name="connsiteX106" fmla="*/ 1889 w 10000"/>
                    <a:gd name="connsiteY106" fmla="*/ 1451 h 9927"/>
                    <a:gd name="connsiteX107" fmla="*/ 1667 w 10000"/>
                    <a:gd name="connsiteY107" fmla="*/ 1151 h 9927"/>
                    <a:gd name="connsiteX108" fmla="*/ 1611 w 10000"/>
                    <a:gd name="connsiteY108" fmla="*/ 1063 h 9927"/>
                    <a:gd name="connsiteX109" fmla="*/ 1611 w 10000"/>
                    <a:gd name="connsiteY109" fmla="*/ 1028 h 9927"/>
                    <a:gd name="connsiteX110" fmla="*/ 1667 w 10000"/>
                    <a:gd name="connsiteY110" fmla="*/ 1008 h 9927"/>
                    <a:gd name="connsiteX111" fmla="*/ 1667 w 10000"/>
                    <a:gd name="connsiteY111" fmla="*/ 1008 h 9927"/>
                    <a:gd name="connsiteX112" fmla="*/ 2000 w 10000"/>
                    <a:gd name="connsiteY112" fmla="*/ 992 h 9927"/>
                    <a:gd name="connsiteX113" fmla="*/ 2222 w 10000"/>
                    <a:gd name="connsiteY113" fmla="*/ 992 h 9927"/>
                    <a:gd name="connsiteX114" fmla="*/ 2389 w 10000"/>
                    <a:gd name="connsiteY114" fmla="*/ 1008 h 9927"/>
                    <a:gd name="connsiteX115" fmla="*/ 2389 w 10000"/>
                    <a:gd name="connsiteY115" fmla="*/ 1008 h 9927"/>
                    <a:gd name="connsiteX116" fmla="*/ 2444 w 10000"/>
                    <a:gd name="connsiteY116" fmla="*/ 1008 h 9927"/>
                    <a:gd name="connsiteX117" fmla="*/ 2500 w 10000"/>
                    <a:gd name="connsiteY117" fmla="*/ 975 h 9927"/>
                    <a:gd name="connsiteX118" fmla="*/ 2778 w 10000"/>
                    <a:gd name="connsiteY118" fmla="*/ 867 h 9927"/>
                    <a:gd name="connsiteX119" fmla="*/ 3500 w 10000"/>
                    <a:gd name="connsiteY119" fmla="*/ 512 h 9927"/>
                    <a:gd name="connsiteX120" fmla="*/ 4444 w 10000"/>
                    <a:gd name="connsiteY120" fmla="*/ 0 h 9927"/>
                    <a:gd name="connsiteX121" fmla="*/ 10000 w 10000"/>
                    <a:gd name="connsiteY121" fmla="*/ 8742 h 9927"/>
                    <a:gd name="connsiteX122" fmla="*/ 10000 w 10000"/>
                    <a:gd name="connsiteY122" fmla="*/ 8742 h 9927"/>
                    <a:gd name="connsiteX123" fmla="*/ 9722 w 10000"/>
                    <a:gd name="connsiteY123" fmla="*/ 8723 h 9927"/>
                    <a:gd name="connsiteX124" fmla="*/ 9389 w 10000"/>
                    <a:gd name="connsiteY124" fmla="*/ 8742 h 9927"/>
                    <a:gd name="connsiteX125" fmla="*/ 9389 w 10000"/>
                    <a:gd name="connsiteY125" fmla="*/ 8742 h 9927"/>
                    <a:gd name="connsiteX126" fmla="*/ 9278 w 10000"/>
                    <a:gd name="connsiteY126" fmla="*/ 8761 h 9927"/>
                    <a:gd name="connsiteX127" fmla="*/ 9056 w 10000"/>
                    <a:gd name="connsiteY127" fmla="*/ 8742 h 9927"/>
                    <a:gd name="connsiteX128" fmla="*/ 8889 w 10000"/>
                    <a:gd name="connsiteY128" fmla="*/ 8723 h 9927"/>
                    <a:gd name="connsiteX129" fmla="*/ 8722 w 10000"/>
                    <a:gd name="connsiteY129" fmla="*/ 8688 h 9927"/>
                    <a:gd name="connsiteX130" fmla="*/ 8611 w 10000"/>
                    <a:gd name="connsiteY130" fmla="*/ 8635 h 9927"/>
                    <a:gd name="connsiteX131" fmla="*/ 8444 w 10000"/>
                    <a:gd name="connsiteY131" fmla="*/ 8546 h 9927"/>
                    <a:gd name="connsiteX132" fmla="*/ 8444 w 10000"/>
                    <a:gd name="connsiteY132" fmla="*/ 8546 h 9927"/>
                    <a:gd name="connsiteX133" fmla="*/ 8222 w 10000"/>
                    <a:gd name="connsiteY133" fmla="*/ 8388 h 9927"/>
                    <a:gd name="connsiteX134" fmla="*/ 8111 w 10000"/>
                    <a:gd name="connsiteY134" fmla="*/ 8318 h 9927"/>
                    <a:gd name="connsiteX135" fmla="*/ 7944 w 10000"/>
                    <a:gd name="connsiteY135" fmla="*/ 8265 h 9927"/>
                    <a:gd name="connsiteX136" fmla="*/ 7778 w 10000"/>
                    <a:gd name="connsiteY136" fmla="*/ 8230 h 9927"/>
                    <a:gd name="connsiteX137" fmla="*/ 7556 w 10000"/>
                    <a:gd name="connsiteY137" fmla="*/ 8209 h 9927"/>
                    <a:gd name="connsiteX138" fmla="*/ 7333 w 10000"/>
                    <a:gd name="connsiteY138" fmla="*/ 8194 h 9927"/>
                    <a:gd name="connsiteX139" fmla="*/ 7000 w 10000"/>
                    <a:gd name="connsiteY139" fmla="*/ 8174 h 9927"/>
                    <a:gd name="connsiteX140" fmla="*/ 7000 w 10000"/>
                    <a:gd name="connsiteY140" fmla="*/ 8174 h 9927"/>
                    <a:gd name="connsiteX141" fmla="*/ 6556 w 10000"/>
                    <a:gd name="connsiteY141" fmla="*/ 8194 h 9927"/>
                    <a:gd name="connsiteX142" fmla="*/ 6222 w 10000"/>
                    <a:gd name="connsiteY142" fmla="*/ 8194 h 9927"/>
                    <a:gd name="connsiteX143" fmla="*/ 6111 w 10000"/>
                    <a:gd name="connsiteY143" fmla="*/ 8174 h 9927"/>
                    <a:gd name="connsiteX144" fmla="*/ 6056 w 10000"/>
                    <a:gd name="connsiteY144" fmla="*/ 8157 h 9927"/>
                    <a:gd name="connsiteX145" fmla="*/ 6056 w 10000"/>
                    <a:gd name="connsiteY145" fmla="*/ 8157 h 9927"/>
                    <a:gd name="connsiteX146" fmla="*/ 6056 w 10000"/>
                    <a:gd name="connsiteY146" fmla="*/ 7840 h 9927"/>
                    <a:gd name="connsiteX147" fmla="*/ 6056 w 10000"/>
                    <a:gd name="connsiteY147" fmla="*/ 7840 h 9927"/>
                    <a:gd name="connsiteX148" fmla="*/ 6056 w 10000"/>
                    <a:gd name="connsiteY148" fmla="*/ 7767 h 9927"/>
                    <a:gd name="connsiteX149" fmla="*/ 5944 w 10000"/>
                    <a:gd name="connsiteY149" fmla="*/ 7680 h 9927"/>
                    <a:gd name="connsiteX150" fmla="*/ 5889 w 10000"/>
                    <a:gd name="connsiteY150" fmla="*/ 7661 h 9927"/>
                    <a:gd name="connsiteX151" fmla="*/ 5778 w 10000"/>
                    <a:gd name="connsiteY151" fmla="*/ 7645 h 9927"/>
                    <a:gd name="connsiteX152" fmla="*/ 5667 w 10000"/>
                    <a:gd name="connsiteY152" fmla="*/ 7645 h 9927"/>
                    <a:gd name="connsiteX153" fmla="*/ 5500 w 10000"/>
                    <a:gd name="connsiteY153" fmla="*/ 7661 h 9927"/>
                    <a:gd name="connsiteX154" fmla="*/ 5500 w 10000"/>
                    <a:gd name="connsiteY154" fmla="*/ 7661 h 9927"/>
                    <a:gd name="connsiteX155" fmla="*/ 4889 w 10000"/>
                    <a:gd name="connsiteY155" fmla="*/ 7785 h 9927"/>
                    <a:gd name="connsiteX156" fmla="*/ 4611 w 10000"/>
                    <a:gd name="connsiteY156" fmla="*/ 7821 h 9927"/>
                    <a:gd name="connsiteX157" fmla="*/ 4556 w 10000"/>
                    <a:gd name="connsiteY157" fmla="*/ 7840 h 9927"/>
                    <a:gd name="connsiteX158" fmla="*/ 4500 w 10000"/>
                    <a:gd name="connsiteY158" fmla="*/ 7821 h 9927"/>
                    <a:gd name="connsiteX159" fmla="*/ 4500 w 10000"/>
                    <a:gd name="connsiteY159" fmla="*/ 7821 h 9927"/>
                    <a:gd name="connsiteX160" fmla="*/ 4222 w 10000"/>
                    <a:gd name="connsiteY160" fmla="*/ 7645 h 9927"/>
                    <a:gd name="connsiteX161" fmla="*/ 4222 w 10000"/>
                    <a:gd name="connsiteY161" fmla="*/ 7645 h 9927"/>
                    <a:gd name="connsiteX162" fmla="*/ 4111 w 10000"/>
                    <a:gd name="connsiteY162" fmla="*/ 7556 h 9927"/>
                    <a:gd name="connsiteX163" fmla="*/ 4111 w 10000"/>
                    <a:gd name="connsiteY163" fmla="*/ 7502 h 9927"/>
                    <a:gd name="connsiteX164" fmla="*/ 4111 w 10000"/>
                    <a:gd name="connsiteY164" fmla="*/ 7450 h 9927"/>
                    <a:gd name="connsiteX165" fmla="*/ 4111 w 10000"/>
                    <a:gd name="connsiteY165" fmla="*/ 7450 h 9927"/>
                    <a:gd name="connsiteX166" fmla="*/ 4278 w 10000"/>
                    <a:gd name="connsiteY166" fmla="*/ 7397 h 9927"/>
                    <a:gd name="connsiteX167" fmla="*/ 4389 w 10000"/>
                    <a:gd name="connsiteY167" fmla="*/ 7380 h 9927"/>
                    <a:gd name="connsiteX168" fmla="*/ 4389 w 10000"/>
                    <a:gd name="connsiteY168" fmla="*/ 7380 h 9927"/>
                    <a:gd name="connsiteX169" fmla="*/ 4000 w 10000"/>
                    <a:gd name="connsiteY169" fmla="*/ 7380 h 9927"/>
                    <a:gd name="connsiteX170" fmla="*/ 3722 w 10000"/>
                    <a:gd name="connsiteY170" fmla="*/ 7397 h 9927"/>
                    <a:gd name="connsiteX171" fmla="*/ 3611 w 10000"/>
                    <a:gd name="connsiteY171" fmla="*/ 7414 h 9927"/>
                    <a:gd name="connsiteX172" fmla="*/ 3556 w 10000"/>
                    <a:gd name="connsiteY172" fmla="*/ 7433 h 9927"/>
                    <a:gd name="connsiteX173" fmla="*/ 3556 w 10000"/>
                    <a:gd name="connsiteY173" fmla="*/ 7433 h 9927"/>
                    <a:gd name="connsiteX174" fmla="*/ 3444 w 10000"/>
                    <a:gd name="connsiteY174" fmla="*/ 7502 h 9927"/>
                    <a:gd name="connsiteX175" fmla="*/ 3278 w 10000"/>
                    <a:gd name="connsiteY175" fmla="*/ 7610 h 9927"/>
                    <a:gd name="connsiteX176" fmla="*/ 3000 w 10000"/>
                    <a:gd name="connsiteY176" fmla="*/ 7732 h 9927"/>
                    <a:gd name="connsiteX177" fmla="*/ 2667 w 10000"/>
                    <a:gd name="connsiteY177" fmla="*/ 7821 h 9927"/>
                    <a:gd name="connsiteX178" fmla="*/ 2667 w 10000"/>
                    <a:gd name="connsiteY178" fmla="*/ 7821 h 9927"/>
                    <a:gd name="connsiteX179" fmla="*/ 2333 w 10000"/>
                    <a:gd name="connsiteY179" fmla="*/ 7893 h 9927"/>
                    <a:gd name="connsiteX180" fmla="*/ 1833 w 10000"/>
                    <a:gd name="connsiteY180" fmla="*/ 7963 h 9927"/>
                    <a:gd name="connsiteX181" fmla="*/ 1389 w 10000"/>
                    <a:gd name="connsiteY181" fmla="*/ 8000 h 9927"/>
                    <a:gd name="connsiteX182" fmla="*/ 889 w 10000"/>
                    <a:gd name="connsiteY182" fmla="*/ 8016 h 9927"/>
                    <a:gd name="connsiteX183" fmla="*/ 889 w 10000"/>
                    <a:gd name="connsiteY183" fmla="*/ 8016 h 9927"/>
                    <a:gd name="connsiteX184" fmla="*/ 500 w 10000"/>
                    <a:gd name="connsiteY184" fmla="*/ 8036 h 9927"/>
                    <a:gd name="connsiteX185" fmla="*/ 222 w 10000"/>
                    <a:gd name="connsiteY185" fmla="*/ 8053 h 9927"/>
                    <a:gd name="connsiteX186" fmla="*/ 0 w 10000"/>
                    <a:gd name="connsiteY186" fmla="*/ 8070 h 9927"/>
                    <a:gd name="connsiteX187" fmla="*/ 0 w 10000"/>
                    <a:gd name="connsiteY187" fmla="*/ 8070 h 9927"/>
                    <a:gd name="connsiteX188" fmla="*/ 278 w 10000"/>
                    <a:gd name="connsiteY188" fmla="*/ 8353 h 9927"/>
                    <a:gd name="connsiteX189" fmla="*/ 500 w 10000"/>
                    <a:gd name="connsiteY189" fmla="*/ 8563 h 9927"/>
                    <a:gd name="connsiteX190" fmla="*/ 722 w 10000"/>
                    <a:gd name="connsiteY190" fmla="*/ 8742 h 9927"/>
                    <a:gd name="connsiteX191" fmla="*/ 722 w 10000"/>
                    <a:gd name="connsiteY191" fmla="*/ 8742 h 9927"/>
                    <a:gd name="connsiteX192" fmla="*/ 889 w 10000"/>
                    <a:gd name="connsiteY192" fmla="*/ 8848 h 9927"/>
                    <a:gd name="connsiteX193" fmla="*/ 944 w 10000"/>
                    <a:gd name="connsiteY193" fmla="*/ 8937 h 9927"/>
                    <a:gd name="connsiteX194" fmla="*/ 1111 w 10000"/>
                    <a:gd name="connsiteY194" fmla="*/ 9027 h 9927"/>
                    <a:gd name="connsiteX195" fmla="*/ 1333 w 10000"/>
                    <a:gd name="connsiteY195" fmla="*/ 9166 h 9927"/>
                    <a:gd name="connsiteX196" fmla="*/ 1333 w 10000"/>
                    <a:gd name="connsiteY196" fmla="*/ 9166 h 9927"/>
                    <a:gd name="connsiteX197" fmla="*/ 1444 w 10000"/>
                    <a:gd name="connsiteY197" fmla="*/ 9237 h 9927"/>
                    <a:gd name="connsiteX198" fmla="*/ 1500 w 10000"/>
                    <a:gd name="connsiteY198" fmla="*/ 9289 h 9927"/>
                    <a:gd name="connsiteX199" fmla="*/ 1500 w 10000"/>
                    <a:gd name="connsiteY199" fmla="*/ 9341 h 9927"/>
                    <a:gd name="connsiteX200" fmla="*/ 1556 w 10000"/>
                    <a:gd name="connsiteY200" fmla="*/ 9362 h 9927"/>
                    <a:gd name="connsiteX201" fmla="*/ 1722 w 10000"/>
                    <a:gd name="connsiteY201" fmla="*/ 9377 h 9927"/>
                    <a:gd name="connsiteX202" fmla="*/ 1944 w 10000"/>
                    <a:gd name="connsiteY202" fmla="*/ 9395 h 9927"/>
                    <a:gd name="connsiteX203" fmla="*/ 2944 w 10000"/>
                    <a:gd name="connsiteY203" fmla="*/ 9413 h 9927"/>
                    <a:gd name="connsiteX204" fmla="*/ 2944 w 10000"/>
                    <a:gd name="connsiteY204" fmla="*/ 9413 h 9927"/>
                    <a:gd name="connsiteX205" fmla="*/ 4167 w 10000"/>
                    <a:gd name="connsiteY205" fmla="*/ 9449 h 9927"/>
                    <a:gd name="connsiteX206" fmla="*/ 4889 w 10000"/>
                    <a:gd name="connsiteY206" fmla="*/ 9502 h 9927"/>
                    <a:gd name="connsiteX207" fmla="*/ 5278 w 10000"/>
                    <a:gd name="connsiteY207" fmla="*/ 9557 h 9927"/>
                    <a:gd name="connsiteX208" fmla="*/ 5444 w 10000"/>
                    <a:gd name="connsiteY208" fmla="*/ 9572 h 9927"/>
                    <a:gd name="connsiteX209" fmla="*/ 5444 w 10000"/>
                    <a:gd name="connsiteY209" fmla="*/ 9572 h 9927"/>
                    <a:gd name="connsiteX210" fmla="*/ 5722 w 10000"/>
                    <a:gd name="connsiteY210" fmla="*/ 9609 h 9927"/>
                    <a:gd name="connsiteX211" fmla="*/ 5833 w 10000"/>
                    <a:gd name="connsiteY211" fmla="*/ 9628 h 9927"/>
                    <a:gd name="connsiteX212" fmla="*/ 5833 w 10000"/>
                    <a:gd name="connsiteY212" fmla="*/ 9628 h 9927"/>
                    <a:gd name="connsiteX213" fmla="*/ 5833 w 10000"/>
                    <a:gd name="connsiteY213" fmla="*/ 9609 h 9927"/>
                    <a:gd name="connsiteX214" fmla="*/ 5889 w 10000"/>
                    <a:gd name="connsiteY214" fmla="*/ 9590 h 9927"/>
                    <a:gd name="connsiteX215" fmla="*/ 6000 w 10000"/>
                    <a:gd name="connsiteY215" fmla="*/ 9572 h 9927"/>
                    <a:gd name="connsiteX216" fmla="*/ 6167 w 10000"/>
                    <a:gd name="connsiteY216" fmla="*/ 9557 h 9927"/>
                    <a:gd name="connsiteX217" fmla="*/ 6444 w 10000"/>
                    <a:gd name="connsiteY217" fmla="*/ 9557 h 9927"/>
                    <a:gd name="connsiteX218" fmla="*/ 6833 w 10000"/>
                    <a:gd name="connsiteY218" fmla="*/ 9572 h 9927"/>
                    <a:gd name="connsiteX219" fmla="*/ 7278 w 10000"/>
                    <a:gd name="connsiteY219" fmla="*/ 9628 h 9927"/>
                    <a:gd name="connsiteX220" fmla="*/ 7278 w 10000"/>
                    <a:gd name="connsiteY220" fmla="*/ 9628 h 9927"/>
                    <a:gd name="connsiteX221" fmla="*/ 8722 w 10000"/>
                    <a:gd name="connsiteY221" fmla="*/ 9784 h 9927"/>
                    <a:gd name="connsiteX222" fmla="*/ 10000 w 10000"/>
                    <a:gd name="connsiteY222" fmla="*/ 9927 h 9927"/>
                    <a:gd name="connsiteX0" fmla="*/ 10000 w 10000"/>
                    <a:gd name="connsiteY0" fmla="*/ 8271 h 9484"/>
                    <a:gd name="connsiteX1" fmla="*/ 10000 w 10000"/>
                    <a:gd name="connsiteY1" fmla="*/ 8271 h 9484"/>
                    <a:gd name="connsiteX2" fmla="*/ 9222 w 10000"/>
                    <a:gd name="connsiteY2" fmla="*/ 8290 h 9484"/>
                    <a:gd name="connsiteX3" fmla="*/ 8944 w 10000"/>
                    <a:gd name="connsiteY3" fmla="*/ 8290 h 9484"/>
                    <a:gd name="connsiteX4" fmla="*/ 8833 w 10000"/>
                    <a:gd name="connsiteY4" fmla="*/ 8271 h 9484"/>
                    <a:gd name="connsiteX5" fmla="*/ 8778 w 10000"/>
                    <a:gd name="connsiteY5" fmla="*/ 8255 h 9484"/>
                    <a:gd name="connsiteX6" fmla="*/ 8778 w 10000"/>
                    <a:gd name="connsiteY6" fmla="*/ 8255 h 9484"/>
                    <a:gd name="connsiteX7" fmla="*/ 8444 w 10000"/>
                    <a:gd name="connsiteY7" fmla="*/ 8040 h 9484"/>
                    <a:gd name="connsiteX8" fmla="*/ 8167 w 10000"/>
                    <a:gd name="connsiteY8" fmla="*/ 7843 h 9484"/>
                    <a:gd name="connsiteX9" fmla="*/ 8167 w 10000"/>
                    <a:gd name="connsiteY9" fmla="*/ 7843 h 9484"/>
                    <a:gd name="connsiteX10" fmla="*/ 8056 w 10000"/>
                    <a:gd name="connsiteY10" fmla="*/ 7810 h 9484"/>
                    <a:gd name="connsiteX11" fmla="*/ 7889 w 10000"/>
                    <a:gd name="connsiteY11" fmla="*/ 7775 h 9484"/>
                    <a:gd name="connsiteX12" fmla="*/ 7444 w 10000"/>
                    <a:gd name="connsiteY12" fmla="*/ 7753 h 9484"/>
                    <a:gd name="connsiteX13" fmla="*/ 6889 w 10000"/>
                    <a:gd name="connsiteY13" fmla="*/ 7738 h 9484"/>
                    <a:gd name="connsiteX14" fmla="*/ 6389 w 10000"/>
                    <a:gd name="connsiteY14" fmla="*/ 7738 h 9484"/>
                    <a:gd name="connsiteX15" fmla="*/ 6389 w 10000"/>
                    <a:gd name="connsiteY15" fmla="*/ 7738 h 9484"/>
                    <a:gd name="connsiteX16" fmla="*/ 6167 w 10000"/>
                    <a:gd name="connsiteY16" fmla="*/ 7718 h 9484"/>
                    <a:gd name="connsiteX17" fmla="*/ 6056 w 10000"/>
                    <a:gd name="connsiteY17" fmla="*/ 7685 h 9484"/>
                    <a:gd name="connsiteX18" fmla="*/ 6000 w 10000"/>
                    <a:gd name="connsiteY18" fmla="*/ 7649 h 9484"/>
                    <a:gd name="connsiteX19" fmla="*/ 6000 w 10000"/>
                    <a:gd name="connsiteY19" fmla="*/ 7579 h 9484"/>
                    <a:gd name="connsiteX20" fmla="*/ 6056 w 10000"/>
                    <a:gd name="connsiteY20" fmla="*/ 7435 h 9484"/>
                    <a:gd name="connsiteX21" fmla="*/ 6111 w 10000"/>
                    <a:gd name="connsiteY21" fmla="*/ 7363 h 9484"/>
                    <a:gd name="connsiteX22" fmla="*/ 6056 w 10000"/>
                    <a:gd name="connsiteY22" fmla="*/ 7273 h 9484"/>
                    <a:gd name="connsiteX23" fmla="*/ 6056 w 10000"/>
                    <a:gd name="connsiteY23" fmla="*/ 7273 h 9484"/>
                    <a:gd name="connsiteX24" fmla="*/ 6000 w 10000"/>
                    <a:gd name="connsiteY24" fmla="*/ 7220 h 9484"/>
                    <a:gd name="connsiteX25" fmla="*/ 5944 w 10000"/>
                    <a:gd name="connsiteY25" fmla="*/ 7185 h 9484"/>
                    <a:gd name="connsiteX26" fmla="*/ 5833 w 10000"/>
                    <a:gd name="connsiteY26" fmla="*/ 7185 h 9484"/>
                    <a:gd name="connsiteX27" fmla="*/ 5667 w 10000"/>
                    <a:gd name="connsiteY27" fmla="*/ 7201 h 9484"/>
                    <a:gd name="connsiteX28" fmla="*/ 5333 w 10000"/>
                    <a:gd name="connsiteY28" fmla="*/ 7255 h 9484"/>
                    <a:gd name="connsiteX29" fmla="*/ 4889 w 10000"/>
                    <a:gd name="connsiteY29" fmla="*/ 7345 h 9484"/>
                    <a:gd name="connsiteX30" fmla="*/ 4889 w 10000"/>
                    <a:gd name="connsiteY30" fmla="*/ 7345 h 9484"/>
                    <a:gd name="connsiteX31" fmla="*/ 4611 w 10000"/>
                    <a:gd name="connsiteY31" fmla="*/ 7363 h 9484"/>
                    <a:gd name="connsiteX32" fmla="*/ 4500 w 10000"/>
                    <a:gd name="connsiteY32" fmla="*/ 7363 h 9484"/>
                    <a:gd name="connsiteX33" fmla="*/ 4444 w 10000"/>
                    <a:gd name="connsiteY33" fmla="*/ 7345 h 9484"/>
                    <a:gd name="connsiteX34" fmla="*/ 4389 w 10000"/>
                    <a:gd name="connsiteY34" fmla="*/ 7273 h 9484"/>
                    <a:gd name="connsiteX35" fmla="*/ 4222 w 10000"/>
                    <a:gd name="connsiteY35" fmla="*/ 7185 h 9484"/>
                    <a:gd name="connsiteX36" fmla="*/ 4222 w 10000"/>
                    <a:gd name="connsiteY36" fmla="*/ 7185 h 9484"/>
                    <a:gd name="connsiteX37" fmla="*/ 4111 w 10000"/>
                    <a:gd name="connsiteY37" fmla="*/ 7130 h 9484"/>
                    <a:gd name="connsiteX38" fmla="*/ 4111 w 10000"/>
                    <a:gd name="connsiteY38" fmla="*/ 7077 h 9484"/>
                    <a:gd name="connsiteX39" fmla="*/ 4111 w 10000"/>
                    <a:gd name="connsiteY39" fmla="*/ 7041 h 9484"/>
                    <a:gd name="connsiteX40" fmla="*/ 4167 w 10000"/>
                    <a:gd name="connsiteY40" fmla="*/ 7006 h 9484"/>
                    <a:gd name="connsiteX41" fmla="*/ 4278 w 10000"/>
                    <a:gd name="connsiteY41" fmla="*/ 6935 h 9484"/>
                    <a:gd name="connsiteX42" fmla="*/ 4389 w 10000"/>
                    <a:gd name="connsiteY42" fmla="*/ 6918 h 9484"/>
                    <a:gd name="connsiteX43" fmla="*/ 4389 w 10000"/>
                    <a:gd name="connsiteY43" fmla="*/ 6918 h 9484"/>
                    <a:gd name="connsiteX44" fmla="*/ 4389 w 10000"/>
                    <a:gd name="connsiteY44" fmla="*/ 6899 h 9484"/>
                    <a:gd name="connsiteX45" fmla="*/ 4444 w 10000"/>
                    <a:gd name="connsiteY45" fmla="*/ 6883 h 9484"/>
                    <a:gd name="connsiteX46" fmla="*/ 4667 w 10000"/>
                    <a:gd name="connsiteY46" fmla="*/ 6864 h 9484"/>
                    <a:gd name="connsiteX47" fmla="*/ 5333 w 10000"/>
                    <a:gd name="connsiteY47" fmla="*/ 6829 h 9484"/>
                    <a:gd name="connsiteX48" fmla="*/ 6500 w 10000"/>
                    <a:gd name="connsiteY48" fmla="*/ 6775 h 9484"/>
                    <a:gd name="connsiteX49" fmla="*/ 6500 w 10000"/>
                    <a:gd name="connsiteY49" fmla="*/ 6775 h 9484"/>
                    <a:gd name="connsiteX50" fmla="*/ 7167 w 10000"/>
                    <a:gd name="connsiteY50" fmla="*/ 6722 h 9484"/>
                    <a:gd name="connsiteX51" fmla="*/ 8389 w 10000"/>
                    <a:gd name="connsiteY51" fmla="*/ 6615 h 9484"/>
                    <a:gd name="connsiteX52" fmla="*/ 8389 w 10000"/>
                    <a:gd name="connsiteY52" fmla="*/ 6615 h 9484"/>
                    <a:gd name="connsiteX53" fmla="*/ 8667 w 10000"/>
                    <a:gd name="connsiteY53" fmla="*/ 6577 h 9484"/>
                    <a:gd name="connsiteX54" fmla="*/ 8778 w 10000"/>
                    <a:gd name="connsiteY54" fmla="*/ 6523 h 9484"/>
                    <a:gd name="connsiteX55" fmla="*/ 8889 w 10000"/>
                    <a:gd name="connsiteY55" fmla="*/ 6489 h 9484"/>
                    <a:gd name="connsiteX56" fmla="*/ 8833 w 10000"/>
                    <a:gd name="connsiteY56" fmla="*/ 6453 h 9484"/>
                    <a:gd name="connsiteX57" fmla="*/ 8833 w 10000"/>
                    <a:gd name="connsiteY57" fmla="*/ 6419 h 9484"/>
                    <a:gd name="connsiteX58" fmla="*/ 8722 w 10000"/>
                    <a:gd name="connsiteY58" fmla="*/ 6382 h 9484"/>
                    <a:gd name="connsiteX59" fmla="*/ 8556 w 10000"/>
                    <a:gd name="connsiteY59" fmla="*/ 6328 h 9484"/>
                    <a:gd name="connsiteX60" fmla="*/ 8556 w 10000"/>
                    <a:gd name="connsiteY60" fmla="*/ 6328 h 9484"/>
                    <a:gd name="connsiteX61" fmla="*/ 6556 w 10000"/>
                    <a:gd name="connsiteY61" fmla="*/ 6011 h 9484"/>
                    <a:gd name="connsiteX62" fmla="*/ 6556 w 10000"/>
                    <a:gd name="connsiteY62" fmla="*/ 6011 h 9484"/>
                    <a:gd name="connsiteX63" fmla="*/ 6333 w 10000"/>
                    <a:gd name="connsiteY63" fmla="*/ 5956 h 9484"/>
                    <a:gd name="connsiteX64" fmla="*/ 6167 w 10000"/>
                    <a:gd name="connsiteY64" fmla="*/ 5902 h 9484"/>
                    <a:gd name="connsiteX65" fmla="*/ 6056 w 10000"/>
                    <a:gd name="connsiteY65" fmla="*/ 5847 h 9484"/>
                    <a:gd name="connsiteX66" fmla="*/ 6056 w 10000"/>
                    <a:gd name="connsiteY66" fmla="*/ 5847 h 9484"/>
                    <a:gd name="connsiteX67" fmla="*/ 8056 w 10000"/>
                    <a:gd name="connsiteY67" fmla="*/ 5830 h 9484"/>
                    <a:gd name="connsiteX68" fmla="*/ 10000 w 10000"/>
                    <a:gd name="connsiteY68" fmla="*/ 6011 h 9484"/>
                    <a:gd name="connsiteX69" fmla="*/ 10000 w 10000"/>
                    <a:gd name="connsiteY69" fmla="*/ 4386 h 9484"/>
                    <a:gd name="connsiteX70" fmla="*/ 10000 w 10000"/>
                    <a:gd name="connsiteY70" fmla="*/ 4386 h 9484"/>
                    <a:gd name="connsiteX71" fmla="*/ 7778 w 10000"/>
                    <a:gd name="connsiteY71" fmla="*/ 4013 h 9484"/>
                    <a:gd name="connsiteX72" fmla="*/ 6556 w 10000"/>
                    <a:gd name="connsiteY72" fmla="*/ 3796 h 9484"/>
                    <a:gd name="connsiteX73" fmla="*/ 6556 w 10000"/>
                    <a:gd name="connsiteY73" fmla="*/ 3796 h 9484"/>
                    <a:gd name="connsiteX74" fmla="*/ 6556 w 10000"/>
                    <a:gd name="connsiteY74" fmla="*/ 3779 h 9484"/>
                    <a:gd name="connsiteX75" fmla="*/ 6556 w 10000"/>
                    <a:gd name="connsiteY75" fmla="*/ 3672 h 9484"/>
                    <a:gd name="connsiteX76" fmla="*/ 6556 w 10000"/>
                    <a:gd name="connsiteY76" fmla="*/ 3672 h 9484"/>
                    <a:gd name="connsiteX77" fmla="*/ 6389 w 10000"/>
                    <a:gd name="connsiteY77" fmla="*/ 3550 h 9484"/>
                    <a:gd name="connsiteX78" fmla="*/ 6056 w 10000"/>
                    <a:gd name="connsiteY78" fmla="*/ 3353 h 9484"/>
                    <a:gd name="connsiteX79" fmla="*/ 5333 w 10000"/>
                    <a:gd name="connsiteY79" fmla="*/ 2976 h 9484"/>
                    <a:gd name="connsiteX80" fmla="*/ 5333 w 10000"/>
                    <a:gd name="connsiteY80" fmla="*/ 2976 h 9484"/>
                    <a:gd name="connsiteX81" fmla="*/ 5167 w 10000"/>
                    <a:gd name="connsiteY81" fmla="*/ 2923 h 9484"/>
                    <a:gd name="connsiteX82" fmla="*/ 4889 w 10000"/>
                    <a:gd name="connsiteY82" fmla="*/ 2852 h 9484"/>
                    <a:gd name="connsiteX83" fmla="*/ 4056 w 10000"/>
                    <a:gd name="connsiteY83" fmla="*/ 2693 h 9484"/>
                    <a:gd name="connsiteX84" fmla="*/ 2889 w 10000"/>
                    <a:gd name="connsiteY84" fmla="*/ 2498 h 9484"/>
                    <a:gd name="connsiteX85" fmla="*/ 2889 w 10000"/>
                    <a:gd name="connsiteY85" fmla="*/ 2498 h 9484"/>
                    <a:gd name="connsiteX86" fmla="*/ 2389 w 10000"/>
                    <a:gd name="connsiteY86" fmla="*/ 2478 h 9484"/>
                    <a:gd name="connsiteX87" fmla="*/ 2000 w 10000"/>
                    <a:gd name="connsiteY87" fmla="*/ 2461 h 9484"/>
                    <a:gd name="connsiteX88" fmla="*/ 1889 w 10000"/>
                    <a:gd name="connsiteY88" fmla="*/ 2444 h 9484"/>
                    <a:gd name="connsiteX89" fmla="*/ 1778 w 10000"/>
                    <a:gd name="connsiteY89" fmla="*/ 2424 h 9484"/>
                    <a:gd name="connsiteX90" fmla="*/ 1778 w 10000"/>
                    <a:gd name="connsiteY90" fmla="*/ 2424 h 9484"/>
                    <a:gd name="connsiteX91" fmla="*/ 1667 w 10000"/>
                    <a:gd name="connsiteY91" fmla="*/ 2354 h 9484"/>
                    <a:gd name="connsiteX92" fmla="*/ 1500 w 10000"/>
                    <a:gd name="connsiteY92" fmla="*/ 2230 h 9484"/>
                    <a:gd name="connsiteX93" fmla="*/ 1444 w 10000"/>
                    <a:gd name="connsiteY93" fmla="*/ 2158 h 9484"/>
                    <a:gd name="connsiteX94" fmla="*/ 1444 w 10000"/>
                    <a:gd name="connsiteY94" fmla="*/ 2087 h 9484"/>
                    <a:gd name="connsiteX95" fmla="*/ 1444 w 10000"/>
                    <a:gd name="connsiteY95" fmla="*/ 2033 h 9484"/>
                    <a:gd name="connsiteX96" fmla="*/ 1556 w 10000"/>
                    <a:gd name="connsiteY96" fmla="*/ 1979 h 9484"/>
                    <a:gd name="connsiteX97" fmla="*/ 1556 w 10000"/>
                    <a:gd name="connsiteY97" fmla="*/ 1979 h 9484"/>
                    <a:gd name="connsiteX98" fmla="*/ 1833 w 10000"/>
                    <a:gd name="connsiteY98" fmla="*/ 1891 h 9484"/>
                    <a:gd name="connsiteX99" fmla="*/ 2111 w 10000"/>
                    <a:gd name="connsiteY99" fmla="*/ 1799 h 9484"/>
                    <a:gd name="connsiteX100" fmla="*/ 2278 w 10000"/>
                    <a:gd name="connsiteY100" fmla="*/ 1748 h 9484"/>
                    <a:gd name="connsiteX101" fmla="*/ 2389 w 10000"/>
                    <a:gd name="connsiteY101" fmla="*/ 1695 h 9484"/>
                    <a:gd name="connsiteX102" fmla="*/ 2389 w 10000"/>
                    <a:gd name="connsiteY102" fmla="*/ 1624 h 9484"/>
                    <a:gd name="connsiteX103" fmla="*/ 2389 w 10000"/>
                    <a:gd name="connsiteY103" fmla="*/ 1535 h 9484"/>
                    <a:gd name="connsiteX104" fmla="*/ 2389 w 10000"/>
                    <a:gd name="connsiteY104" fmla="*/ 1535 h 9484"/>
                    <a:gd name="connsiteX105" fmla="*/ 2167 w 10000"/>
                    <a:gd name="connsiteY105" fmla="*/ 1284 h 9484"/>
                    <a:gd name="connsiteX106" fmla="*/ 1889 w 10000"/>
                    <a:gd name="connsiteY106" fmla="*/ 946 h 9484"/>
                    <a:gd name="connsiteX107" fmla="*/ 1667 w 10000"/>
                    <a:gd name="connsiteY107" fmla="*/ 643 h 9484"/>
                    <a:gd name="connsiteX108" fmla="*/ 1611 w 10000"/>
                    <a:gd name="connsiteY108" fmla="*/ 555 h 9484"/>
                    <a:gd name="connsiteX109" fmla="*/ 1611 w 10000"/>
                    <a:gd name="connsiteY109" fmla="*/ 520 h 9484"/>
                    <a:gd name="connsiteX110" fmla="*/ 1667 w 10000"/>
                    <a:gd name="connsiteY110" fmla="*/ 499 h 9484"/>
                    <a:gd name="connsiteX111" fmla="*/ 1667 w 10000"/>
                    <a:gd name="connsiteY111" fmla="*/ 499 h 9484"/>
                    <a:gd name="connsiteX112" fmla="*/ 2000 w 10000"/>
                    <a:gd name="connsiteY112" fmla="*/ 483 h 9484"/>
                    <a:gd name="connsiteX113" fmla="*/ 2222 w 10000"/>
                    <a:gd name="connsiteY113" fmla="*/ 483 h 9484"/>
                    <a:gd name="connsiteX114" fmla="*/ 2389 w 10000"/>
                    <a:gd name="connsiteY114" fmla="*/ 499 h 9484"/>
                    <a:gd name="connsiteX115" fmla="*/ 2389 w 10000"/>
                    <a:gd name="connsiteY115" fmla="*/ 499 h 9484"/>
                    <a:gd name="connsiteX116" fmla="*/ 2444 w 10000"/>
                    <a:gd name="connsiteY116" fmla="*/ 499 h 9484"/>
                    <a:gd name="connsiteX117" fmla="*/ 2500 w 10000"/>
                    <a:gd name="connsiteY117" fmla="*/ 466 h 9484"/>
                    <a:gd name="connsiteX118" fmla="*/ 2778 w 10000"/>
                    <a:gd name="connsiteY118" fmla="*/ 357 h 9484"/>
                    <a:gd name="connsiteX119" fmla="*/ 3500 w 10000"/>
                    <a:gd name="connsiteY119" fmla="*/ 0 h 9484"/>
                    <a:gd name="connsiteX120" fmla="*/ 10000 w 10000"/>
                    <a:gd name="connsiteY120" fmla="*/ 8290 h 9484"/>
                    <a:gd name="connsiteX121" fmla="*/ 10000 w 10000"/>
                    <a:gd name="connsiteY121" fmla="*/ 8290 h 9484"/>
                    <a:gd name="connsiteX122" fmla="*/ 9722 w 10000"/>
                    <a:gd name="connsiteY122" fmla="*/ 8271 h 9484"/>
                    <a:gd name="connsiteX123" fmla="*/ 9389 w 10000"/>
                    <a:gd name="connsiteY123" fmla="*/ 8290 h 9484"/>
                    <a:gd name="connsiteX124" fmla="*/ 9389 w 10000"/>
                    <a:gd name="connsiteY124" fmla="*/ 8290 h 9484"/>
                    <a:gd name="connsiteX125" fmla="*/ 9278 w 10000"/>
                    <a:gd name="connsiteY125" fmla="*/ 8309 h 9484"/>
                    <a:gd name="connsiteX126" fmla="*/ 9056 w 10000"/>
                    <a:gd name="connsiteY126" fmla="*/ 8290 h 9484"/>
                    <a:gd name="connsiteX127" fmla="*/ 8889 w 10000"/>
                    <a:gd name="connsiteY127" fmla="*/ 8271 h 9484"/>
                    <a:gd name="connsiteX128" fmla="*/ 8722 w 10000"/>
                    <a:gd name="connsiteY128" fmla="*/ 8236 h 9484"/>
                    <a:gd name="connsiteX129" fmla="*/ 8611 w 10000"/>
                    <a:gd name="connsiteY129" fmla="*/ 8182 h 9484"/>
                    <a:gd name="connsiteX130" fmla="*/ 8444 w 10000"/>
                    <a:gd name="connsiteY130" fmla="*/ 8093 h 9484"/>
                    <a:gd name="connsiteX131" fmla="*/ 8444 w 10000"/>
                    <a:gd name="connsiteY131" fmla="*/ 8093 h 9484"/>
                    <a:gd name="connsiteX132" fmla="*/ 8222 w 10000"/>
                    <a:gd name="connsiteY132" fmla="*/ 7934 h 9484"/>
                    <a:gd name="connsiteX133" fmla="*/ 8111 w 10000"/>
                    <a:gd name="connsiteY133" fmla="*/ 7863 h 9484"/>
                    <a:gd name="connsiteX134" fmla="*/ 7944 w 10000"/>
                    <a:gd name="connsiteY134" fmla="*/ 7810 h 9484"/>
                    <a:gd name="connsiteX135" fmla="*/ 7778 w 10000"/>
                    <a:gd name="connsiteY135" fmla="*/ 7775 h 9484"/>
                    <a:gd name="connsiteX136" fmla="*/ 7556 w 10000"/>
                    <a:gd name="connsiteY136" fmla="*/ 7753 h 9484"/>
                    <a:gd name="connsiteX137" fmla="*/ 7333 w 10000"/>
                    <a:gd name="connsiteY137" fmla="*/ 7738 h 9484"/>
                    <a:gd name="connsiteX138" fmla="*/ 7000 w 10000"/>
                    <a:gd name="connsiteY138" fmla="*/ 7718 h 9484"/>
                    <a:gd name="connsiteX139" fmla="*/ 7000 w 10000"/>
                    <a:gd name="connsiteY139" fmla="*/ 7718 h 9484"/>
                    <a:gd name="connsiteX140" fmla="*/ 6556 w 10000"/>
                    <a:gd name="connsiteY140" fmla="*/ 7738 h 9484"/>
                    <a:gd name="connsiteX141" fmla="*/ 6222 w 10000"/>
                    <a:gd name="connsiteY141" fmla="*/ 7738 h 9484"/>
                    <a:gd name="connsiteX142" fmla="*/ 6111 w 10000"/>
                    <a:gd name="connsiteY142" fmla="*/ 7718 h 9484"/>
                    <a:gd name="connsiteX143" fmla="*/ 6056 w 10000"/>
                    <a:gd name="connsiteY143" fmla="*/ 7701 h 9484"/>
                    <a:gd name="connsiteX144" fmla="*/ 6056 w 10000"/>
                    <a:gd name="connsiteY144" fmla="*/ 7701 h 9484"/>
                    <a:gd name="connsiteX145" fmla="*/ 6056 w 10000"/>
                    <a:gd name="connsiteY145" fmla="*/ 7382 h 9484"/>
                    <a:gd name="connsiteX146" fmla="*/ 6056 w 10000"/>
                    <a:gd name="connsiteY146" fmla="*/ 7382 h 9484"/>
                    <a:gd name="connsiteX147" fmla="*/ 6056 w 10000"/>
                    <a:gd name="connsiteY147" fmla="*/ 7308 h 9484"/>
                    <a:gd name="connsiteX148" fmla="*/ 5944 w 10000"/>
                    <a:gd name="connsiteY148" fmla="*/ 7220 h 9484"/>
                    <a:gd name="connsiteX149" fmla="*/ 5889 w 10000"/>
                    <a:gd name="connsiteY149" fmla="*/ 7201 h 9484"/>
                    <a:gd name="connsiteX150" fmla="*/ 5778 w 10000"/>
                    <a:gd name="connsiteY150" fmla="*/ 7185 h 9484"/>
                    <a:gd name="connsiteX151" fmla="*/ 5667 w 10000"/>
                    <a:gd name="connsiteY151" fmla="*/ 7185 h 9484"/>
                    <a:gd name="connsiteX152" fmla="*/ 5500 w 10000"/>
                    <a:gd name="connsiteY152" fmla="*/ 7201 h 9484"/>
                    <a:gd name="connsiteX153" fmla="*/ 5500 w 10000"/>
                    <a:gd name="connsiteY153" fmla="*/ 7201 h 9484"/>
                    <a:gd name="connsiteX154" fmla="*/ 4889 w 10000"/>
                    <a:gd name="connsiteY154" fmla="*/ 7326 h 9484"/>
                    <a:gd name="connsiteX155" fmla="*/ 4611 w 10000"/>
                    <a:gd name="connsiteY155" fmla="*/ 7363 h 9484"/>
                    <a:gd name="connsiteX156" fmla="*/ 4556 w 10000"/>
                    <a:gd name="connsiteY156" fmla="*/ 7382 h 9484"/>
                    <a:gd name="connsiteX157" fmla="*/ 4500 w 10000"/>
                    <a:gd name="connsiteY157" fmla="*/ 7363 h 9484"/>
                    <a:gd name="connsiteX158" fmla="*/ 4500 w 10000"/>
                    <a:gd name="connsiteY158" fmla="*/ 7363 h 9484"/>
                    <a:gd name="connsiteX159" fmla="*/ 4222 w 10000"/>
                    <a:gd name="connsiteY159" fmla="*/ 7185 h 9484"/>
                    <a:gd name="connsiteX160" fmla="*/ 4222 w 10000"/>
                    <a:gd name="connsiteY160" fmla="*/ 7185 h 9484"/>
                    <a:gd name="connsiteX161" fmla="*/ 4111 w 10000"/>
                    <a:gd name="connsiteY161" fmla="*/ 7096 h 9484"/>
                    <a:gd name="connsiteX162" fmla="*/ 4111 w 10000"/>
                    <a:gd name="connsiteY162" fmla="*/ 7041 h 9484"/>
                    <a:gd name="connsiteX163" fmla="*/ 4111 w 10000"/>
                    <a:gd name="connsiteY163" fmla="*/ 6989 h 9484"/>
                    <a:gd name="connsiteX164" fmla="*/ 4111 w 10000"/>
                    <a:gd name="connsiteY164" fmla="*/ 6989 h 9484"/>
                    <a:gd name="connsiteX165" fmla="*/ 4278 w 10000"/>
                    <a:gd name="connsiteY165" fmla="*/ 6935 h 9484"/>
                    <a:gd name="connsiteX166" fmla="*/ 4389 w 10000"/>
                    <a:gd name="connsiteY166" fmla="*/ 6918 h 9484"/>
                    <a:gd name="connsiteX167" fmla="*/ 4389 w 10000"/>
                    <a:gd name="connsiteY167" fmla="*/ 6918 h 9484"/>
                    <a:gd name="connsiteX168" fmla="*/ 4000 w 10000"/>
                    <a:gd name="connsiteY168" fmla="*/ 6918 h 9484"/>
                    <a:gd name="connsiteX169" fmla="*/ 3722 w 10000"/>
                    <a:gd name="connsiteY169" fmla="*/ 6935 h 9484"/>
                    <a:gd name="connsiteX170" fmla="*/ 3611 w 10000"/>
                    <a:gd name="connsiteY170" fmla="*/ 6953 h 9484"/>
                    <a:gd name="connsiteX171" fmla="*/ 3556 w 10000"/>
                    <a:gd name="connsiteY171" fmla="*/ 6972 h 9484"/>
                    <a:gd name="connsiteX172" fmla="*/ 3556 w 10000"/>
                    <a:gd name="connsiteY172" fmla="*/ 6972 h 9484"/>
                    <a:gd name="connsiteX173" fmla="*/ 3444 w 10000"/>
                    <a:gd name="connsiteY173" fmla="*/ 7041 h 9484"/>
                    <a:gd name="connsiteX174" fmla="*/ 3278 w 10000"/>
                    <a:gd name="connsiteY174" fmla="*/ 7150 h 9484"/>
                    <a:gd name="connsiteX175" fmla="*/ 3000 w 10000"/>
                    <a:gd name="connsiteY175" fmla="*/ 7273 h 9484"/>
                    <a:gd name="connsiteX176" fmla="*/ 2667 w 10000"/>
                    <a:gd name="connsiteY176" fmla="*/ 7363 h 9484"/>
                    <a:gd name="connsiteX177" fmla="*/ 2667 w 10000"/>
                    <a:gd name="connsiteY177" fmla="*/ 7363 h 9484"/>
                    <a:gd name="connsiteX178" fmla="*/ 2333 w 10000"/>
                    <a:gd name="connsiteY178" fmla="*/ 7435 h 9484"/>
                    <a:gd name="connsiteX179" fmla="*/ 1833 w 10000"/>
                    <a:gd name="connsiteY179" fmla="*/ 7506 h 9484"/>
                    <a:gd name="connsiteX180" fmla="*/ 1389 w 10000"/>
                    <a:gd name="connsiteY180" fmla="*/ 7543 h 9484"/>
                    <a:gd name="connsiteX181" fmla="*/ 889 w 10000"/>
                    <a:gd name="connsiteY181" fmla="*/ 7559 h 9484"/>
                    <a:gd name="connsiteX182" fmla="*/ 889 w 10000"/>
                    <a:gd name="connsiteY182" fmla="*/ 7559 h 9484"/>
                    <a:gd name="connsiteX183" fmla="*/ 500 w 10000"/>
                    <a:gd name="connsiteY183" fmla="*/ 7579 h 9484"/>
                    <a:gd name="connsiteX184" fmla="*/ 222 w 10000"/>
                    <a:gd name="connsiteY184" fmla="*/ 7596 h 9484"/>
                    <a:gd name="connsiteX185" fmla="*/ 0 w 10000"/>
                    <a:gd name="connsiteY185" fmla="*/ 7613 h 9484"/>
                    <a:gd name="connsiteX186" fmla="*/ 0 w 10000"/>
                    <a:gd name="connsiteY186" fmla="*/ 7613 h 9484"/>
                    <a:gd name="connsiteX187" fmla="*/ 278 w 10000"/>
                    <a:gd name="connsiteY187" fmla="*/ 7898 h 9484"/>
                    <a:gd name="connsiteX188" fmla="*/ 500 w 10000"/>
                    <a:gd name="connsiteY188" fmla="*/ 8110 h 9484"/>
                    <a:gd name="connsiteX189" fmla="*/ 722 w 10000"/>
                    <a:gd name="connsiteY189" fmla="*/ 8290 h 9484"/>
                    <a:gd name="connsiteX190" fmla="*/ 722 w 10000"/>
                    <a:gd name="connsiteY190" fmla="*/ 8290 h 9484"/>
                    <a:gd name="connsiteX191" fmla="*/ 889 w 10000"/>
                    <a:gd name="connsiteY191" fmla="*/ 8397 h 9484"/>
                    <a:gd name="connsiteX192" fmla="*/ 944 w 10000"/>
                    <a:gd name="connsiteY192" fmla="*/ 8487 h 9484"/>
                    <a:gd name="connsiteX193" fmla="*/ 1111 w 10000"/>
                    <a:gd name="connsiteY193" fmla="*/ 8577 h 9484"/>
                    <a:gd name="connsiteX194" fmla="*/ 1333 w 10000"/>
                    <a:gd name="connsiteY194" fmla="*/ 8717 h 9484"/>
                    <a:gd name="connsiteX195" fmla="*/ 1333 w 10000"/>
                    <a:gd name="connsiteY195" fmla="*/ 8717 h 9484"/>
                    <a:gd name="connsiteX196" fmla="*/ 1444 w 10000"/>
                    <a:gd name="connsiteY196" fmla="*/ 8789 h 9484"/>
                    <a:gd name="connsiteX197" fmla="*/ 1500 w 10000"/>
                    <a:gd name="connsiteY197" fmla="*/ 8841 h 9484"/>
                    <a:gd name="connsiteX198" fmla="*/ 1500 w 10000"/>
                    <a:gd name="connsiteY198" fmla="*/ 8894 h 9484"/>
                    <a:gd name="connsiteX199" fmla="*/ 1556 w 10000"/>
                    <a:gd name="connsiteY199" fmla="*/ 8915 h 9484"/>
                    <a:gd name="connsiteX200" fmla="*/ 1722 w 10000"/>
                    <a:gd name="connsiteY200" fmla="*/ 8930 h 9484"/>
                    <a:gd name="connsiteX201" fmla="*/ 1944 w 10000"/>
                    <a:gd name="connsiteY201" fmla="*/ 8948 h 9484"/>
                    <a:gd name="connsiteX202" fmla="*/ 2944 w 10000"/>
                    <a:gd name="connsiteY202" fmla="*/ 8966 h 9484"/>
                    <a:gd name="connsiteX203" fmla="*/ 2944 w 10000"/>
                    <a:gd name="connsiteY203" fmla="*/ 8966 h 9484"/>
                    <a:gd name="connsiteX204" fmla="*/ 4167 w 10000"/>
                    <a:gd name="connsiteY204" fmla="*/ 9002 h 9484"/>
                    <a:gd name="connsiteX205" fmla="*/ 4889 w 10000"/>
                    <a:gd name="connsiteY205" fmla="*/ 9056 h 9484"/>
                    <a:gd name="connsiteX206" fmla="*/ 5278 w 10000"/>
                    <a:gd name="connsiteY206" fmla="*/ 9111 h 9484"/>
                    <a:gd name="connsiteX207" fmla="*/ 5444 w 10000"/>
                    <a:gd name="connsiteY207" fmla="*/ 9126 h 9484"/>
                    <a:gd name="connsiteX208" fmla="*/ 5444 w 10000"/>
                    <a:gd name="connsiteY208" fmla="*/ 9126 h 9484"/>
                    <a:gd name="connsiteX209" fmla="*/ 5722 w 10000"/>
                    <a:gd name="connsiteY209" fmla="*/ 9164 h 9484"/>
                    <a:gd name="connsiteX210" fmla="*/ 5833 w 10000"/>
                    <a:gd name="connsiteY210" fmla="*/ 9183 h 9484"/>
                    <a:gd name="connsiteX211" fmla="*/ 5833 w 10000"/>
                    <a:gd name="connsiteY211" fmla="*/ 9183 h 9484"/>
                    <a:gd name="connsiteX212" fmla="*/ 5833 w 10000"/>
                    <a:gd name="connsiteY212" fmla="*/ 9164 h 9484"/>
                    <a:gd name="connsiteX213" fmla="*/ 5889 w 10000"/>
                    <a:gd name="connsiteY213" fmla="*/ 9145 h 9484"/>
                    <a:gd name="connsiteX214" fmla="*/ 6000 w 10000"/>
                    <a:gd name="connsiteY214" fmla="*/ 9126 h 9484"/>
                    <a:gd name="connsiteX215" fmla="*/ 6167 w 10000"/>
                    <a:gd name="connsiteY215" fmla="*/ 9111 h 9484"/>
                    <a:gd name="connsiteX216" fmla="*/ 6444 w 10000"/>
                    <a:gd name="connsiteY216" fmla="*/ 9111 h 9484"/>
                    <a:gd name="connsiteX217" fmla="*/ 6833 w 10000"/>
                    <a:gd name="connsiteY217" fmla="*/ 9126 h 9484"/>
                    <a:gd name="connsiteX218" fmla="*/ 7278 w 10000"/>
                    <a:gd name="connsiteY218" fmla="*/ 9183 h 9484"/>
                    <a:gd name="connsiteX219" fmla="*/ 7278 w 10000"/>
                    <a:gd name="connsiteY219" fmla="*/ 9183 h 9484"/>
                    <a:gd name="connsiteX220" fmla="*/ 8722 w 10000"/>
                    <a:gd name="connsiteY220" fmla="*/ 9340 h 9484"/>
                    <a:gd name="connsiteX221" fmla="*/ 10000 w 10000"/>
                    <a:gd name="connsiteY221" fmla="*/ 9484 h 9484"/>
                    <a:gd name="connsiteX0" fmla="*/ 10000 w 10000"/>
                    <a:gd name="connsiteY0" fmla="*/ 8345 h 9624"/>
                    <a:gd name="connsiteX1" fmla="*/ 10000 w 10000"/>
                    <a:gd name="connsiteY1" fmla="*/ 8345 h 9624"/>
                    <a:gd name="connsiteX2" fmla="*/ 9222 w 10000"/>
                    <a:gd name="connsiteY2" fmla="*/ 8365 h 9624"/>
                    <a:gd name="connsiteX3" fmla="*/ 8944 w 10000"/>
                    <a:gd name="connsiteY3" fmla="*/ 8365 h 9624"/>
                    <a:gd name="connsiteX4" fmla="*/ 8833 w 10000"/>
                    <a:gd name="connsiteY4" fmla="*/ 8345 h 9624"/>
                    <a:gd name="connsiteX5" fmla="*/ 8778 w 10000"/>
                    <a:gd name="connsiteY5" fmla="*/ 8328 h 9624"/>
                    <a:gd name="connsiteX6" fmla="*/ 8778 w 10000"/>
                    <a:gd name="connsiteY6" fmla="*/ 8328 h 9624"/>
                    <a:gd name="connsiteX7" fmla="*/ 8444 w 10000"/>
                    <a:gd name="connsiteY7" fmla="*/ 8101 h 9624"/>
                    <a:gd name="connsiteX8" fmla="*/ 8167 w 10000"/>
                    <a:gd name="connsiteY8" fmla="*/ 7894 h 9624"/>
                    <a:gd name="connsiteX9" fmla="*/ 8167 w 10000"/>
                    <a:gd name="connsiteY9" fmla="*/ 7894 h 9624"/>
                    <a:gd name="connsiteX10" fmla="*/ 8056 w 10000"/>
                    <a:gd name="connsiteY10" fmla="*/ 7859 h 9624"/>
                    <a:gd name="connsiteX11" fmla="*/ 7889 w 10000"/>
                    <a:gd name="connsiteY11" fmla="*/ 7822 h 9624"/>
                    <a:gd name="connsiteX12" fmla="*/ 7444 w 10000"/>
                    <a:gd name="connsiteY12" fmla="*/ 7799 h 9624"/>
                    <a:gd name="connsiteX13" fmla="*/ 6889 w 10000"/>
                    <a:gd name="connsiteY13" fmla="*/ 7783 h 9624"/>
                    <a:gd name="connsiteX14" fmla="*/ 6389 w 10000"/>
                    <a:gd name="connsiteY14" fmla="*/ 7783 h 9624"/>
                    <a:gd name="connsiteX15" fmla="*/ 6389 w 10000"/>
                    <a:gd name="connsiteY15" fmla="*/ 7783 h 9624"/>
                    <a:gd name="connsiteX16" fmla="*/ 6167 w 10000"/>
                    <a:gd name="connsiteY16" fmla="*/ 7762 h 9624"/>
                    <a:gd name="connsiteX17" fmla="*/ 6056 w 10000"/>
                    <a:gd name="connsiteY17" fmla="*/ 7727 h 9624"/>
                    <a:gd name="connsiteX18" fmla="*/ 6000 w 10000"/>
                    <a:gd name="connsiteY18" fmla="*/ 7689 h 9624"/>
                    <a:gd name="connsiteX19" fmla="*/ 6000 w 10000"/>
                    <a:gd name="connsiteY19" fmla="*/ 7615 h 9624"/>
                    <a:gd name="connsiteX20" fmla="*/ 6056 w 10000"/>
                    <a:gd name="connsiteY20" fmla="*/ 7464 h 9624"/>
                    <a:gd name="connsiteX21" fmla="*/ 6111 w 10000"/>
                    <a:gd name="connsiteY21" fmla="*/ 7388 h 9624"/>
                    <a:gd name="connsiteX22" fmla="*/ 6056 w 10000"/>
                    <a:gd name="connsiteY22" fmla="*/ 7293 h 9624"/>
                    <a:gd name="connsiteX23" fmla="*/ 6056 w 10000"/>
                    <a:gd name="connsiteY23" fmla="*/ 7293 h 9624"/>
                    <a:gd name="connsiteX24" fmla="*/ 6000 w 10000"/>
                    <a:gd name="connsiteY24" fmla="*/ 7237 h 9624"/>
                    <a:gd name="connsiteX25" fmla="*/ 5944 w 10000"/>
                    <a:gd name="connsiteY25" fmla="*/ 7200 h 9624"/>
                    <a:gd name="connsiteX26" fmla="*/ 5833 w 10000"/>
                    <a:gd name="connsiteY26" fmla="*/ 7200 h 9624"/>
                    <a:gd name="connsiteX27" fmla="*/ 5667 w 10000"/>
                    <a:gd name="connsiteY27" fmla="*/ 7217 h 9624"/>
                    <a:gd name="connsiteX28" fmla="*/ 5333 w 10000"/>
                    <a:gd name="connsiteY28" fmla="*/ 7274 h 9624"/>
                    <a:gd name="connsiteX29" fmla="*/ 4889 w 10000"/>
                    <a:gd name="connsiteY29" fmla="*/ 7369 h 9624"/>
                    <a:gd name="connsiteX30" fmla="*/ 4889 w 10000"/>
                    <a:gd name="connsiteY30" fmla="*/ 7369 h 9624"/>
                    <a:gd name="connsiteX31" fmla="*/ 4611 w 10000"/>
                    <a:gd name="connsiteY31" fmla="*/ 7388 h 9624"/>
                    <a:gd name="connsiteX32" fmla="*/ 4500 w 10000"/>
                    <a:gd name="connsiteY32" fmla="*/ 7388 h 9624"/>
                    <a:gd name="connsiteX33" fmla="*/ 4444 w 10000"/>
                    <a:gd name="connsiteY33" fmla="*/ 7369 h 9624"/>
                    <a:gd name="connsiteX34" fmla="*/ 4389 w 10000"/>
                    <a:gd name="connsiteY34" fmla="*/ 7293 h 9624"/>
                    <a:gd name="connsiteX35" fmla="*/ 4222 w 10000"/>
                    <a:gd name="connsiteY35" fmla="*/ 7200 h 9624"/>
                    <a:gd name="connsiteX36" fmla="*/ 4222 w 10000"/>
                    <a:gd name="connsiteY36" fmla="*/ 7200 h 9624"/>
                    <a:gd name="connsiteX37" fmla="*/ 4111 w 10000"/>
                    <a:gd name="connsiteY37" fmla="*/ 7142 h 9624"/>
                    <a:gd name="connsiteX38" fmla="*/ 4111 w 10000"/>
                    <a:gd name="connsiteY38" fmla="*/ 7086 h 9624"/>
                    <a:gd name="connsiteX39" fmla="*/ 4111 w 10000"/>
                    <a:gd name="connsiteY39" fmla="*/ 7048 h 9624"/>
                    <a:gd name="connsiteX40" fmla="*/ 4167 w 10000"/>
                    <a:gd name="connsiteY40" fmla="*/ 7011 h 9624"/>
                    <a:gd name="connsiteX41" fmla="*/ 4278 w 10000"/>
                    <a:gd name="connsiteY41" fmla="*/ 6936 h 9624"/>
                    <a:gd name="connsiteX42" fmla="*/ 4389 w 10000"/>
                    <a:gd name="connsiteY42" fmla="*/ 6918 h 9624"/>
                    <a:gd name="connsiteX43" fmla="*/ 4389 w 10000"/>
                    <a:gd name="connsiteY43" fmla="*/ 6918 h 9624"/>
                    <a:gd name="connsiteX44" fmla="*/ 4389 w 10000"/>
                    <a:gd name="connsiteY44" fmla="*/ 6898 h 9624"/>
                    <a:gd name="connsiteX45" fmla="*/ 4444 w 10000"/>
                    <a:gd name="connsiteY45" fmla="*/ 6881 h 9624"/>
                    <a:gd name="connsiteX46" fmla="*/ 4667 w 10000"/>
                    <a:gd name="connsiteY46" fmla="*/ 6861 h 9624"/>
                    <a:gd name="connsiteX47" fmla="*/ 5333 w 10000"/>
                    <a:gd name="connsiteY47" fmla="*/ 6825 h 9624"/>
                    <a:gd name="connsiteX48" fmla="*/ 6500 w 10000"/>
                    <a:gd name="connsiteY48" fmla="*/ 6768 h 9624"/>
                    <a:gd name="connsiteX49" fmla="*/ 6500 w 10000"/>
                    <a:gd name="connsiteY49" fmla="*/ 6768 h 9624"/>
                    <a:gd name="connsiteX50" fmla="*/ 7167 w 10000"/>
                    <a:gd name="connsiteY50" fmla="*/ 6712 h 9624"/>
                    <a:gd name="connsiteX51" fmla="*/ 8389 w 10000"/>
                    <a:gd name="connsiteY51" fmla="*/ 6599 h 9624"/>
                    <a:gd name="connsiteX52" fmla="*/ 8389 w 10000"/>
                    <a:gd name="connsiteY52" fmla="*/ 6599 h 9624"/>
                    <a:gd name="connsiteX53" fmla="*/ 8667 w 10000"/>
                    <a:gd name="connsiteY53" fmla="*/ 6559 h 9624"/>
                    <a:gd name="connsiteX54" fmla="*/ 8778 w 10000"/>
                    <a:gd name="connsiteY54" fmla="*/ 6502 h 9624"/>
                    <a:gd name="connsiteX55" fmla="*/ 8889 w 10000"/>
                    <a:gd name="connsiteY55" fmla="*/ 6466 h 9624"/>
                    <a:gd name="connsiteX56" fmla="*/ 8833 w 10000"/>
                    <a:gd name="connsiteY56" fmla="*/ 6428 h 9624"/>
                    <a:gd name="connsiteX57" fmla="*/ 8833 w 10000"/>
                    <a:gd name="connsiteY57" fmla="*/ 6392 h 9624"/>
                    <a:gd name="connsiteX58" fmla="*/ 8722 w 10000"/>
                    <a:gd name="connsiteY58" fmla="*/ 6353 h 9624"/>
                    <a:gd name="connsiteX59" fmla="*/ 8556 w 10000"/>
                    <a:gd name="connsiteY59" fmla="*/ 6296 h 9624"/>
                    <a:gd name="connsiteX60" fmla="*/ 8556 w 10000"/>
                    <a:gd name="connsiteY60" fmla="*/ 6296 h 9624"/>
                    <a:gd name="connsiteX61" fmla="*/ 6556 w 10000"/>
                    <a:gd name="connsiteY61" fmla="*/ 5962 h 9624"/>
                    <a:gd name="connsiteX62" fmla="*/ 6556 w 10000"/>
                    <a:gd name="connsiteY62" fmla="*/ 5962 h 9624"/>
                    <a:gd name="connsiteX63" fmla="*/ 6333 w 10000"/>
                    <a:gd name="connsiteY63" fmla="*/ 5904 h 9624"/>
                    <a:gd name="connsiteX64" fmla="*/ 6167 w 10000"/>
                    <a:gd name="connsiteY64" fmla="*/ 5847 h 9624"/>
                    <a:gd name="connsiteX65" fmla="*/ 6056 w 10000"/>
                    <a:gd name="connsiteY65" fmla="*/ 5789 h 9624"/>
                    <a:gd name="connsiteX66" fmla="*/ 6056 w 10000"/>
                    <a:gd name="connsiteY66" fmla="*/ 5789 h 9624"/>
                    <a:gd name="connsiteX67" fmla="*/ 8056 w 10000"/>
                    <a:gd name="connsiteY67" fmla="*/ 5771 h 9624"/>
                    <a:gd name="connsiteX68" fmla="*/ 10000 w 10000"/>
                    <a:gd name="connsiteY68" fmla="*/ 5962 h 9624"/>
                    <a:gd name="connsiteX69" fmla="*/ 10000 w 10000"/>
                    <a:gd name="connsiteY69" fmla="*/ 4249 h 9624"/>
                    <a:gd name="connsiteX70" fmla="*/ 10000 w 10000"/>
                    <a:gd name="connsiteY70" fmla="*/ 4249 h 9624"/>
                    <a:gd name="connsiteX71" fmla="*/ 7778 w 10000"/>
                    <a:gd name="connsiteY71" fmla="*/ 3855 h 9624"/>
                    <a:gd name="connsiteX72" fmla="*/ 6556 w 10000"/>
                    <a:gd name="connsiteY72" fmla="*/ 3627 h 9624"/>
                    <a:gd name="connsiteX73" fmla="*/ 6556 w 10000"/>
                    <a:gd name="connsiteY73" fmla="*/ 3627 h 9624"/>
                    <a:gd name="connsiteX74" fmla="*/ 6556 w 10000"/>
                    <a:gd name="connsiteY74" fmla="*/ 3609 h 9624"/>
                    <a:gd name="connsiteX75" fmla="*/ 6556 w 10000"/>
                    <a:gd name="connsiteY75" fmla="*/ 3496 h 9624"/>
                    <a:gd name="connsiteX76" fmla="*/ 6556 w 10000"/>
                    <a:gd name="connsiteY76" fmla="*/ 3496 h 9624"/>
                    <a:gd name="connsiteX77" fmla="*/ 6389 w 10000"/>
                    <a:gd name="connsiteY77" fmla="*/ 3367 h 9624"/>
                    <a:gd name="connsiteX78" fmla="*/ 6056 w 10000"/>
                    <a:gd name="connsiteY78" fmla="*/ 3159 h 9624"/>
                    <a:gd name="connsiteX79" fmla="*/ 5333 w 10000"/>
                    <a:gd name="connsiteY79" fmla="*/ 2762 h 9624"/>
                    <a:gd name="connsiteX80" fmla="*/ 5333 w 10000"/>
                    <a:gd name="connsiteY80" fmla="*/ 2762 h 9624"/>
                    <a:gd name="connsiteX81" fmla="*/ 5167 w 10000"/>
                    <a:gd name="connsiteY81" fmla="*/ 2706 h 9624"/>
                    <a:gd name="connsiteX82" fmla="*/ 4889 w 10000"/>
                    <a:gd name="connsiteY82" fmla="*/ 2631 h 9624"/>
                    <a:gd name="connsiteX83" fmla="*/ 4056 w 10000"/>
                    <a:gd name="connsiteY83" fmla="*/ 2464 h 9624"/>
                    <a:gd name="connsiteX84" fmla="*/ 2889 w 10000"/>
                    <a:gd name="connsiteY84" fmla="*/ 2258 h 9624"/>
                    <a:gd name="connsiteX85" fmla="*/ 2889 w 10000"/>
                    <a:gd name="connsiteY85" fmla="*/ 2258 h 9624"/>
                    <a:gd name="connsiteX86" fmla="*/ 2389 w 10000"/>
                    <a:gd name="connsiteY86" fmla="*/ 2237 h 9624"/>
                    <a:gd name="connsiteX87" fmla="*/ 2000 w 10000"/>
                    <a:gd name="connsiteY87" fmla="*/ 2219 h 9624"/>
                    <a:gd name="connsiteX88" fmla="*/ 1889 w 10000"/>
                    <a:gd name="connsiteY88" fmla="*/ 2201 h 9624"/>
                    <a:gd name="connsiteX89" fmla="*/ 1778 w 10000"/>
                    <a:gd name="connsiteY89" fmla="*/ 2180 h 9624"/>
                    <a:gd name="connsiteX90" fmla="*/ 1778 w 10000"/>
                    <a:gd name="connsiteY90" fmla="*/ 2180 h 9624"/>
                    <a:gd name="connsiteX91" fmla="*/ 1667 w 10000"/>
                    <a:gd name="connsiteY91" fmla="*/ 2106 h 9624"/>
                    <a:gd name="connsiteX92" fmla="*/ 1500 w 10000"/>
                    <a:gd name="connsiteY92" fmla="*/ 1975 h 9624"/>
                    <a:gd name="connsiteX93" fmla="*/ 1444 w 10000"/>
                    <a:gd name="connsiteY93" fmla="*/ 1899 h 9624"/>
                    <a:gd name="connsiteX94" fmla="*/ 1444 w 10000"/>
                    <a:gd name="connsiteY94" fmla="*/ 1825 h 9624"/>
                    <a:gd name="connsiteX95" fmla="*/ 1444 w 10000"/>
                    <a:gd name="connsiteY95" fmla="*/ 1768 h 9624"/>
                    <a:gd name="connsiteX96" fmla="*/ 1556 w 10000"/>
                    <a:gd name="connsiteY96" fmla="*/ 1711 h 9624"/>
                    <a:gd name="connsiteX97" fmla="*/ 1556 w 10000"/>
                    <a:gd name="connsiteY97" fmla="*/ 1711 h 9624"/>
                    <a:gd name="connsiteX98" fmla="*/ 1833 w 10000"/>
                    <a:gd name="connsiteY98" fmla="*/ 1618 h 9624"/>
                    <a:gd name="connsiteX99" fmla="*/ 2111 w 10000"/>
                    <a:gd name="connsiteY99" fmla="*/ 1521 h 9624"/>
                    <a:gd name="connsiteX100" fmla="*/ 2278 w 10000"/>
                    <a:gd name="connsiteY100" fmla="*/ 1467 h 9624"/>
                    <a:gd name="connsiteX101" fmla="*/ 2389 w 10000"/>
                    <a:gd name="connsiteY101" fmla="*/ 1411 h 9624"/>
                    <a:gd name="connsiteX102" fmla="*/ 2389 w 10000"/>
                    <a:gd name="connsiteY102" fmla="*/ 1336 h 9624"/>
                    <a:gd name="connsiteX103" fmla="*/ 2389 w 10000"/>
                    <a:gd name="connsiteY103" fmla="*/ 1243 h 9624"/>
                    <a:gd name="connsiteX104" fmla="*/ 2389 w 10000"/>
                    <a:gd name="connsiteY104" fmla="*/ 1243 h 9624"/>
                    <a:gd name="connsiteX105" fmla="*/ 2167 w 10000"/>
                    <a:gd name="connsiteY105" fmla="*/ 978 h 9624"/>
                    <a:gd name="connsiteX106" fmla="*/ 1889 w 10000"/>
                    <a:gd name="connsiteY106" fmla="*/ 621 h 9624"/>
                    <a:gd name="connsiteX107" fmla="*/ 1667 w 10000"/>
                    <a:gd name="connsiteY107" fmla="*/ 302 h 9624"/>
                    <a:gd name="connsiteX108" fmla="*/ 1611 w 10000"/>
                    <a:gd name="connsiteY108" fmla="*/ 209 h 9624"/>
                    <a:gd name="connsiteX109" fmla="*/ 1611 w 10000"/>
                    <a:gd name="connsiteY109" fmla="*/ 172 h 9624"/>
                    <a:gd name="connsiteX110" fmla="*/ 1667 w 10000"/>
                    <a:gd name="connsiteY110" fmla="*/ 150 h 9624"/>
                    <a:gd name="connsiteX111" fmla="*/ 1667 w 10000"/>
                    <a:gd name="connsiteY111" fmla="*/ 150 h 9624"/>
                    <a:gd name="connsiteX112" fmla="*/ 2000 w 10000"/>
                    <a:gd name="connsiteY112" fmla="*/ 133 h 9624"/>
                    <a:gd name="connsiteX113" fmla="*/ 2222 w 10000"/>
                    <a:gd name="connsiteY113" fmla="*/ 133 h 9624"/>
                    <a:gd name="connsiteX114" fmla="*/ 2389 w 10000"/>
                    <a:gd name="connsiteY114" fmla="*/ 150 h 9624"/>
                    <a:gd name="connsiteX115" fmla="*/ 2389 w 10000"/>
                    <a:gd name="connsiteY115" fmla="*/ 150 h 9624"/>
                    <a:gd name="connsiteX116" fmla="*/ 2444 w 10000"/>
                    <a:gd name="connsiteY116" fmla="*/ 150 h 9624"/>
                    <a:gd name="connsiteX117" fmla="*/ 2500 w 10000"/>
                    <a:gd name="connsiteY117" fmla="*/ 115 h 9624"/>
                    <a:gd name="connsiteX118" fmla="*/ 2778 w 10000"/>
                    <a:gd name="connsiteY118" fmla="*/ 0 h 9624"/>
                    <a:gd name="connsiteX119" fmla="*/ 10000 w 10000"/>
                    <a:gd name="connsiteY119" fmla="*/ 8365 h 9624"/>
                    <a:gd name="connsiteX120" fmla="*/ 10000 w 10000"/>
                    <a:gd name="connsiteY120" fmla="*/ 8365 h 9624"/>
                    <a:gd name="connsiteX121" fmla="*/ 9722 w 10000"/>
                    <a:gd name="connsiteY121" fmla="*/ 8345 h 9624"/>
                    <a:gd name="connsiteX122" fmla="*/ 9389 w 10000"/>
                    <a:gd name="connsiteY122" fmla="*/ 8365 h 9624"/>
                    <a:gd name="connsiteX123" fmla="*/ 9389 w 10000"/>
                    <a:gd name="connsiteY123" fmla="*/ 8365 h 9624"/>
                    <a:gd name="connsiteX124" fmla="*/ 9278 w 10000"/>
                    <a:gd name="connsiteY124" fmla="*/ 8385 h 9624"/>
                    <a:gd name="connsiteX125" fmla="*/ 9056 w 10000"/>
                    <a:gd name="connsiteY125" fmla="*/ 8365 h 9624"/>
                    <a:gd name="connsiteX126" fmla="*/ 8889 w 10000"/>
                    <a:gd name="connsiteY126" fmla="*/ 8345 h 9624"/>
                    <a:gd name="connsiteX127" fmla="*/ 8722 w 10000"/>
                    <a:gd name="connsiteY127" fmla="*/ 8308 h 9624"/>
                    <a:gd name="connsiteX128" fmla="*/ 8611 w 10000"/>
                    <a:gd name="connsiteY128" fmla="*/ 8251 h 9624"/>
                    <a:gd name="connsiteX129" fmla="*/ 8444 w 10000"/>
                    <a:gd name="connsiteY129" fmla="*/ 8157 h 9624"/>
                    <a:gd name="connsiteX130" fmla="*/ 8444 w 10000"/>
                    <a:gd name="connsiteY130" fmla="*/ 8157 h 9624"/>
                    <a:gd name="connsiteX131" fmla="*/ 8222 w 10000"/>
                    <a:gd name="connsiteY131" fmla="*/ 7990 h 9624"/>
                    <a:gd name="connsiteX132" fmla="*/ 8111 w 10000"/>
                    <a:gd name="connsiteY132" fmla="*/ 7915 h 9624"/>
                    <a:gd name="connsiteX133" fmla="*/ 7944 w 10000"/>
                    <a:gd name="connsiteY133" fmla="*/ 7859 h 9624"/>
                    <a:gd name="connsiteX134" fmla="*/ 7778 w 10000"/>
                    <a:gd name="connsiteY134" fmla="*/ 7822 h 9624"/>
                    <a:gd name="connsiteX135" fmla="*/ 7556 w 10000"/>
                    <a:gd name="connsiteY135" fmla="*/ 7799 h 9624"/>
                    <a:gd name="connsiteX136" fmla="*/ 7333 w 10000"/>
                    <a:gd name="connsiteY136" fmla="*/ 7783 h 9624"/>
                    <a:gd name="connsiteX137" fmla="*/ 7000 w 10000"/>
                    <a:gd name="connsiteY137" fmla="*/ 7762 h 9624"/>
                    <a:gd name="connsiteX138" fmla="*/ 7000 w 10000"/>
                    <a:gd name="connsiteY138" fmla="*/ 7762 h 9624"/>
                    <a:gd name="connsiteX139" fmla="*/ 6556 w 10000"/>
                    <a:gd name="connsiteY139" fmla="*/ 7783 h 9624"/>
                    <a:gd name="connsiteX140" fmla="*/ 6222 w 10000"/>
                    <a:gd name="connsiteY140" fmla="*/ 7783 h 9624"/>
                    <a:gd name="connsiteX141" fmla="*/ 6111 w 10000"/>
                    <a:gd name="connsiteY141" fmla="*/ 7762 h 9624"/>
                    <a:gd name="connsiteX142" fmla="*/ 6056 w 10000"/>
                    <a:gd name="connsiteY142" fmla="*/ 7744 h 9624"/>
                    <a:gd name="connsiteX143" fmla="*/ 6056 w 10000"/>
                    <a:gd name="connsiteY143" fmla="*/ 7744 h 9624"/>
                    <a:gd name="connsiteX144" fmla="*/ 6056 w 10000"/>
                    <a:gd name="connsiteY144" fmla="*/ 7408 h 9624"/>
                    <a:gd name="connsiteX145" fmla="*/ 6056 w 10000"/>
                    <a:gd name="connsiteY145" fmla="*/ 7408 h 9624"/>
                    <a:gd name="connsiteX146" fmla="*/ 6056 w 10000"/>
                    <a:gd name="connsiteY146" fmla="*/ 7330 h 9624"/>
                    <a:gd name="connsiteX147" fmla="*/ 5944 w 10000"/>
                    <a:gd name="connsiteY147" fmla="*/ 7237 h 9624"/>
                    <a:gd name="connsiteX148" fmla="*/ 5889 w 10000"/>
                    <a:gd name="connsiteY148" fmla="*/ 7217 h 9624"/>
                    <a:gd name="connsiteX149" fmla="*/ 5778 w 10000"/>
                    <a:gd name="connsiteY149" fmla="*/ 7200 h 9624"/>
                    <a:gd name="connsiteX150" fmla="*/ 5667 w 10000"/>
                    <a:gd name="connsiteY150" fmla="*/ 7200 h 9624"/>
                    <a:gd name="connsiteX151" fmla="*/ 5500 w 10000"/>
                    <a:gd name="connsiteY151" fmla="*/ 7217 h 9624"/>
                    <a:gd name="connsiteX152" fmla="*/ 5500 w 10000"/>
                    <a:gd name="connsiteY152" fmla="*/ 7217 h 9624"/>
                    <a:gd name="connsiteX153" fmla="*/ 4889 w 10000"/>
                    <a:gd name="connsiteY153" fmla="*/ 7349 h 9624"/>
                    <a:gd name="connsiteX154" fmla="*/ 4611 w 10000"/>
                    <a:gd name="connsiteY154" fmla="*/ 7388 h 9624"/>
                    <a:gd name="connsiteX155" fmla="*/ 4556 w 10000"/>
                    <a:gd name="connsiteY155" fmla="*/ 7408 h 9624"/>
                    <a:gd name="connsiteX156" fmla="*/ 4500 w 10000"/>
                    <a:gd name="connsiteY156" fmla="*/ 7388 h 9624"/>
                    <a:gd name="connsiteX157" fmla="*/ 4500 w 10000"/>
                    <a:gd name="connsiteY157" fmla="*/ 7388 h 9624"/>
                    <a:gd name="connsiteX158" fmla="*/ 4222 w 10000"/>
                    <a:gd name="connsiteY158" fmla="*/ 7200 h 9624"/>
                    <a:gd name="connsiteX159" fmla="*/ 4222 w 10000"/>
                    <a:gd name="connsiteY159" fmla="*/ 7200 h 9624"/>
                    <a:gd name="connsiteX160" fmla="*/ 4111 w 10000"/>
                    <a:gd name="connsiteY160" fmla="*/ 7106 h 9624"/>
                    <a:gd name="connsiteX161" fmla="*/ 4111 w 10000"/>
                    <a:gd name="connsiteY161" fmla="*/ 7048 h 9624"/>
                    <a:gd name="connsiteX162" fmla="*/ 4111 w 10000"/>
                    <a:gd name="connsiteY162" fmla="*/ 6993 h 9624"/>
                    <a:gd name="connsiteX163" fmla="*/ 4111 w 10000"/>
                    <a:gd name="connsiteY163" fmla="*/ 6993 h 9624"/>
                    <a:gd name="connsiteX164" fmla="*/ 4278 w 10000"/>
                    <a:gd name="connsiteY164" fmla="*/ 6936 h 9624"/>
                    <a:gd name="connsiteX165" fmla="*/ 4389 w 10000"/>
                    <a:gd name="connsiteY165" fmla="*/ 6918 h 9624"/>
                    <a:gd name="connsiteX166" fmla="*/ 4389 w 10000"/>
                    <a:gd name="connsiteY166" fmla="*/ 6918 h 9624"/>
                    <a:gd name="connsiteX167" fmla="*/ 4000 w 10000"/>
                    <a:gd name="connsiteY167" fmla="*/ 6918 h 9624"/>
                    <a:gd name="connsiteX168" fmla="*/ 3722 w 10000"/>
                    <a:gd name="connsiteY168" fmla="*/ 6936 h 9624"/>
                    <a:gd name="connsiteX169" fmla="*/ 3611 w 10000"/>
                    <a:gd name="connsiteY169" fmla="*/ 6955 h 9624"/>
                    <a:gd name="connsiteX170" fmla="*/ 3556 w 10000"/>
                    <a:gd name="connsiteY170" fmla="*/ 6975 h 9624"/>
                    <a:gd name="connsiteX171" fmla="*/ 3556 w 10000"/>
                    <a:gd name="connsiteY171" fmla="*/ 6975 h 9624"/>
                    <a:gd name="connsiteX172" fmla="*/ 3444 w 10000"/>
                    <a:gd name="connsiteY172" fmla="*/ 7048 h 9624"/>
                    <a:gd name="connsiteX173" fmla="*/ 3278 w 10000"/>
                    <a:gd name="connsiteY173" fmla="*/ 7163 h 9624"/>
                    <a:gd name="connsiteX174" fmla="*/ 3000 w 10000"/>
                    <a:gd name="connsiteY174" fmla="*/ 7293 h 9624"/>
                    <a:gd name="connsiteX175" fmla="*/ 2667 w 10000"/>
                    <a:gd name="connsiteY175" fmla="*/ 7388 h 9624"/>
                    <a:gd name="connsiteX176" fmla="*/ 2667 w 10000"/>
                    <a:gd name="connsiteY176" fmla="*/ 7388 h 9624"/>
                    <a:gd name="connsiteX177" fmla="*/ 2333 w 10000"/>
                    <a:gd name="connsiteY177" fmla="*/ 7464 h 9624"/>
                    <a:gd name="connsiteX178" fmla="*/ 1833 w 10000"/>
                    <a:gd name="connsiteY178" fmla="*/ 7538 h 9624"/>
                    <a:gd name="connsiteX179" fmla="*/ 1389 w 10000"/>
                    <a:gd name="connsiteY179" fmla="*/ 7577 h 9624"/>
                    <a:gd name="connsiteX180" fmla="*/ 889 w 10000"/>
                    <a:gd name="connsiteY180" fmla="*/ 7594 h 9624"/>
                    <a:gd name="connsiteX181" fmla="*/ 889 w 10000"/>
                    <a:gd name="connsiteY181" fmla="*/ 7594 h 9624"/>
                    <a:gd name="connsiteX182" fmla="*/ 500 w 10000"/>
                    <a:gd name="connsiteY182" fmla="*/ 7615 h 9624"/>
                    <a:gd name="connsiteX183" fmla="*/ 222 w 10000"/>
                    <a:gd name="connsiteY183" fmla="*/ 7633 h 9624"/>
                    <a:gd name="connsiteX184" fmla="*/ 0 w 10000"/>
                    <a:gd name="connsiteY184" fmla="*/ 7651 h 9624"/>
                    <a:gd name="connsiteX185" fmla="*/ 0 w 10000"/>
                    <a:gd name="connsiteY185" fmla="*/ 7651 h 9624"/>
                    <a:gd name="connsiteX186" fmla="*/ 278 w 10000"/>
                    <a:gd name="connsiteY186" fmla="*/ 7952 h 9624"/>
                    <a:gd name="connsiteX187" fmla="*/ 500 w 10000"/>
                    <a:gd name="connsiteY187" fmla="*/ 8175 h 9624"/>
                    <a:gd name="connsiteX188" fmla="*/ 722 w 10000"/>
                    <a:gd name="connsiteY188" fmla="*/ 8365 h 9624"/>
                    <a:gd name="connsiteX189" fmla="*/ 722 w 10000"/>
                    <a:gd name="connsiteY189" fmla="*/ 8365 h 9624"/>
                    <a:gd name="connsiteX190" fmla="*/ 889 w 10000"/>
                    <a:gd name="connsiteY190" fmla="*/ 8478 h 9624"/>
                    <a:gd name="connsiteX191" fmla="*/ 944 w 10000"/>
                    <a:gd name="connsiteY191" fmla="*/ 8573 h 9624"/>
                    <a:gd name="connsiteX192" fmla="*/ 1111 w 10000"/>
                    <a:gd name="connsiteY192" fmla="*/ 8668 h 9624"/>
                    <a:gd name="connsiteX193" fmla="*/ 1333 w 10000"/>
                    <a:gd name="connsiteY193" fmla="*/ 8815 h 9624"/>
                    <a:gd name="connsiteX194" fmla="*/ 1333 w 10000"/>
                    <a:gd name="connsiteY194" fmla="*/ 8815 h 9624"/>
                    <a:gd name="connsiteX195" fmla="*/ 1444 w 10000"/>
                    <a:gd name="connsiteY195" fmla="*/ 8891 h 9624"/>
                    <a:gd name="connsiteX196" fmla="*/ 1500 w 10000"/>
                    <a:gd name="connsiteY196" fmla="*/ 8946 h 9624"/>
                    <a:gd name="connsiteX197" fmla="*/ 1500 w 10000"/>
                    <a:gd name="connsiteY197" fmla="*/ 9002 h 9624"/>
                    <a:gd name="connsiteX198" fmla="*/ 1556 w 10000"/>
                    <a:gd name="connsiteY198" fmla="*/ 9024 h 9624"/>
                    <a:gd name="connsiteX199" fmla="*/ 1722 w 10000"/>
                    <a:gd name="connsiteY199" fmla="*/ 9040 h 9624"/>
                    <a:gd name="connsiteX200" fmla="*/ 1944 w 10000"/>
                    <a:gd name="connsiteY200" fmla="*/ 9059 h 9624"/>
                    <a:gd name="connsiteX201" fmla="*/ 2944 w 10000"/>
                    <a:gd name="connsiteY201" fmla="*/ 9078 h 9624"/>
                    <a:gd name="connsiteX202" fmla="*/ 2944 w 10000"/>
                    <a:gd name="connsiteY202" fmla="*/ 9078 h 9624"/>
                    <a:gd name="connsiteX203" fmla="*/ 4167 w 10000"/>
                    <a:gd name="connsiteY203" fmla="*/ 9116 h 9624"/>
                    <a:gd name="connsiteX204" fmla="*/ 4889 w 10000"/>
                    <a:gd name="connsiteY204" fmla="*/ 9173 h 9624"/>
                    <a:gd name="connsiteX205" fmla="*/ 5278 w 10000"/>
                    <a:gd name="connsiteY205" fmla="*/ 9231 h 9624"/>
                    <a:gd name="connsiteX206" fmla="*/ 5444 w 10000"/>
                    <a:gd name="connsiteY206" fmla="*/ 9247 h 9624"/>
                    <a:gd name="connsiteX207" fmla="*/ 5444 w 10000"/>
                    <a:gd name="connsiteY207" fmla="*/ 9247 h 9624"/>
                    <a:gd name="connsiteX208" fmla="*/ 5722 w 10000"/>
                    <a:gd name="connsiteY208" fmla="*/ 9287 h 9624"/>
                    <a:gd name="connsiteX209" fmla="*/ 5833 w 10000"/>
                    <a:gd name="connsiteY209" fmla="*/ 9307 h 9624"/>
                    <a:gd name="connsiteX210" fmla="*/ 5833 w 10000"/>
                    <a:gd name="connsiteY210" fmla="*/ 9307 h 9624"/>
                    <a:gd name="connsiteX211" fmla="*/ 5833 w 10000"/>
                    <a:gd name="connsiteY211" fmla="*/ 9287 h 9624"/>
                    <a:gd name="connsiteX212" fmla="*/ 5889 w 10000"/>
                    <a:gd name="connsiteY212" fmla="*/ 9267 h 9624"/>
                    <a:gd name="connsiteX213" fmla="*/ 6000 w 10000"/>
                    <a:gd name="connsiteY213" fmla="*/ 9247 h 9624"/>
                    <a:gd name="connsiteX214" fmla="*/ 6167 w 10000"/>
                    <a:gd name="connsiteY214" fmla="*/ 9231 h 9624"/>
                    <a:gd name="connsiteX215" fmla="*/ 6444 w 10000"/>
                    <a:gd name="connsiteY215" fmla="*/ 9231 h 9624"/>
                    <a:gd name="connsiteX216" fmla="*/ 6833 w 10000"/>
                    <a:gd name="connsiteY216" fmla="*/ 9247 h 9624"/>
                    <a:gd name="connsiteX217" fmla="*/ 7278 w 10000"/>
                    <a:gd name="connsiteY217" fmla="*/ 9307 h 9624"/>
                    <a:gd name="connsiteX218" fmla="*/ 7278 w 10000"/>
                    <a:gd name="connsiteY218" fmla="*/ 9307 h 9624"/>
                    <a:gd name="connsiteX219" fmla="*/ 8722 w 10000"/>
                    <a:gd name="connsiteY219" fmla="*/ 9472 h 9624"/>
                    <a:gd name="connsiteX220" fmla="*/ 10000 w 10000"/>
                    <a:gd name="connsiteY220" fmla="*/ 9624 h 9624"/>
                    <a:gd name="connsiteX0" fmla="*/ 10000 w 10000"/>
                    <a:gd name="connsiteY0" fmla="*/ 8552 h 9881"/>
                    <a:gd name="connsiteX1" fmla="*/ 10000 w 10000"/>
                    <a:gd name="connsiteY1" fmla="*/ 8552 h 9881"/>
                    <a:gd name="connsiteX2" fmla="*/ 9222 w 10000"/>
                    <a:gd name="connsiteY2" fmla="*/ 8573 h 9881"/>
                    <a:gd name="connsiteX3" fmla="*/ 8944 w 10000"/>
                    <a:gd name="connsiteY3" fmla="*/ 8573 h 9881"/>
                    <a:gd name="connsiteX4" fmla="*/ 8833 w 10000"/>
                    <a:gd name="connsiteY4" fmla="*/ 8552 h 9881"/>
                    <a:gd name="connsiteX5" fmla="*/ 8778 w 10000"/>
                    <a:gd name="connsiteY5" fmla="*/ 8534 h 9881"/>
                    <a:gd name="connsiteX6" fmla="*/ 8778 w 10000"/>
                    <a:gd name="connsiteY6" fmla="*/ 8534 h 9881"/>
                    <a:gd name="connsiteX7" fmla="*/ 8444 w 10000"/>
                    <a:gd name="connsiteY7" fmla="*/ 8298 h 9881"/>
                    <a:gd name="connsiteX8" fmla="*/ 8167 w 10000"/>
                    <a:gd name="connsiteY8" fmla="*/ 8083 h 9881"/>
                    <a:gd name="connsiteX9" fmla="*/ 8167 w 10000"/>
                    <a:gd name="connsiteY9" fmla="*/ 8083 h 9881"/>
                    <a:gd name="connsiteX10" fmla="*/ 8056 w 10000"/>
                    <a:gd name="connsiteY10" fmla="*/ 8047 h 9881"/>
                    <a:gd name="connsiteX11" fmla="*/ 7889 w 10000"/>
                    <a:gd name="connsiteY11" fmla="*/ 8009 h 9881"/>
                    <a:gd name="connsiteX12" fmla="*/ 7444 w 10000"/>
                    <a:gd name="connsiteY12" fmla="*/ 7985 h 9881"/>
                    <a:gd name="connsiteX13" fmla="*/ 6889 w 10000"/>
                    <a:gd name="connsiteY13" fmla="*/ 7968 h 9881"/>
                    <a:gd name="connsiteX14" fmla="*/ 6389 w 10000"/>
                    <a:gd name="connsiteY14" fmla="*/ 7968 h 9881"/>
                    <a:gd name="connsiteX15" fmla="*/ 6389 w 10000"/>
                    <a:gd name="connsiteY15" fmla="*/ 7968 h 9881"/>
                    <a:gd name="connsiteX16" fmla="*/ 6167 w 10000"/>
                    <a:gd name="connsiteY16" fmla="*/ 7946 h 9881"/>
                    <a:gd name="connsiteX17" fmla="*/ 6056 w 10000"/>
                    <a:gd name="connsiteY17" fmla="*/ 7910 h 9881"/>
                    <a:gd name="connsiteX18" fmla="*/ 6000 w 10000"/>
                    <a:gd name="connsiteY18" fmla="*/ 7870 h 9881"/>
                    <a:gd name="connsiteX19" fmla="*/ 6000 w 10000"/>
                    <a:gd name="connsiteY19" fmla="*/ 7794 h 9881"/>
                    <a:gd name="connsiteX20" fmla="*/ 6056 w 10000"/>
                    <a:gd name="connsiteY20" fmla="*/ 7637 h 9881"/>
                    <a:gd name="connsiteX21" fmla="*/ 6111 w 10000"/>
                    <a:gd name="connsiteY21" fmla="*/ 7558 h 9881"/>
                    <a:gd name="connsiteX22" fmla="*/ 6056 w 10000"/>
                    <a:gd name="connsiteY22" fmla="*/ 7459 h 9881"/>
                    <a:gd name="connsiteX23" fmla="*/ 6056 w 10000"/>
                    <a:gd name="connsiteY23" fmla="*/ 7459 h 9881"/>
                    <a:gd name="connsiteX24" fmla="*/ 6000 w 10000"/>
                    <a:gd name="connsiteY24" fmla="*/ 7401 h 9881"/>
                    <a:gd name="connsiteX25" fmla="*/ 5944 w 10000"/>
                    <a:gd name="connsiteY25" fmla="*/ 7362 h 9881"/>
                    <a:gd name="connsiteX26" fmla="*/ 5833 w 10000"/>
                    <a:gd name="connsiteY26" fmla="*/ 7362 h 9881"/>
                    <a:gd name="connsiteX27" fmla="*/ 5667 w 10000"/>
                    <a:gd name="connsiteY27" fmla="*/ 7380 h 9881"/>
                    <a:gd name="connsiteX28" fmla="*/ 5333 w 10000"/>
                    <a:gd name="connsiteY28" fmla="*/ 7439 h 9881"/>
                    <a:gd name="connsiteX29" fmla="*/ 4889 w 10000"/>
                    <a:gd name="connsiteY29" fmla="*/ 7538 h 9881"/>
                    <a:gd name="connsiteX30" fmla="*/ 4889 w 10000"/>
                    <a:gd name="connsiteY30" fmla="*/ 7538 h 9881"/>
                    <a:gd name="connsiteX31" fmla="*/ 4611 w 10000"/>
                    <a:gd name="connsiteY31" fmla="*/ 7558 h 9881"/>
                    <a:gd name="connsiteX32" fmla="*/ 4500 w 10000"/>
                    <a:gd name="connsiteY32" fmla="*/ 7558 h 9881"/>
                    <a:gd name="connsiteX33" fmla="*/ 4444 w 10000"/>
                    <a:gd name="connsiteY33" fmla="*/ 7538 h 9881"/>
                    <a:gd name="connsiteX34" fmla="*/ 4389 w 10000"/>
                    <a:gd name="connsiteY34" fmla="*/ 7459 h 9881"/>
                    <a:gd name="connsiteX35" fmla="*/ 4222 w 10000"/>
                    <a:gd name="connsiteY35" fmla="*/ 7362 h 9881"/>
                    <a:gd name="connsiteX36" fmla="*/ 4222 w 10000"/>
                    <a:gd name="connsiteY36" fmla="*/ 7362 h 9881"/>
                    <a:gd name="connsiteX37" fmla="*/ 4111 w 10000"/>
                    <a:gd name="connsiteY37" fmla="*/ 7302 h 9881"/>
                    <a:gd name="connsiteX38" fmla="*/ 4111 w 10000"/>
                    <a:gd name="connsiteY38" fmla="*/ 7244 h 9881"/>
                    <a:gd name="connsiteX39" fmla="*/ 4111 w 10000"/>
                    <a:gd name="connsiteY39" fmla="*/ 7204 h 9881"/>
                    <a:gd name="connsiteX40" fmla="*/ 4167 w 10000"/>
                    <a:gd name="connsiteY40" fmla="*/ 7166 h 9881"/>
                    <a:gd name="connsiteX41" fmla="*/ 4278 w 10000"/>
                    <a:gd name="connsiteY41" fmla="*/ 7088 h 9881"/>
                    <a:gd name="connsiteX42" fmla="*/ 4389 w 10000"/>
                    <a:gd name="connsiteY42" fmla="*/ 7069 h 9881"/>
                    <a:gd name="connsiteX43" fmla="*/ 4389 w 10000"/>
                    <a:gd name="connsiteY43" fmla="*/ 7069 h 9881"/>
                    <a:gd name="connsiteX44" fmla="*/ 4389 w 10000"/>
                    <a:gd name="connsiteY44" fmla="*/ 7048 h 9881"/>
                    <a:gd name="connsiteX45" fmla="*/ 4444 w 10000"/>
                    <a:gd name="connsiteY45" fmla="*/ 7031 h 9881"/>
                    <a:gd name="connsiteX46" fmla="*/ 4667 w 10000"/>
                    <a:gd name="connsiteY46" fmla="*/ 7010 h 9881"/>
                    <a:gd name="connsiteX47" fmla="*/ 5333 w 10000"/>
                    <a:gd name="connsiteY47" fmla="*/ 6973 h 9881"/>
                    <a:gd name="connsiteX48" fmla="*/ 6500 w 10000"/>
                    <a:gd name="connsiteY48" fmla="*/ 6913 h 9881"/>
                    <a:gd name="connsiteX49" fmla="*/ 6500 w 10000"/>
                    <a:gd name="connsiteY49" fmla="*/ 6913 h 9881"/>
                    <a:gd name="connsiteX50" fmla="*/ 7167 w 10000"/>
                    <a:gd name="connsiteY50" fmla="*/ 6855 h 9881"/>
                    <a:gd name="connsiteX51" fmla="*/ 8389 w 10000"/>
                    <a:gd name="connsiteY51" fmla="*/ 6738 h 9881"/>
                    <a:gd name="connsiteX52" fmla="*/ 8389 w 10000"/>
                    <a:gd name="connsiteY52" fmla="*/ 6738 h 9881"/>
                    <a:gd name="connsiteX53" fmla="*/ 8667 w 10000"/>
                    <a:gd name="connsiteY53" fmla="*/ 6696 h 9881"/>
                    <a:gd name="connsiteX54" fmla="*/ 8778 w 10000"/>
                    <a:gd name="connsiteY54" fmla="*/ 6637 h 9881"/>
                    <a:gd name="connsiteX55" fmla="*/ 8889 w 10000"/>
                    <a:gd name="connsiteY55" fmla="*/ 6600 h 9881"/>
                    <a:gd name="connsiteX56" fmla="*/ 8833 w 10000"/>
                    <a:gd name="connsiteY56" fmla="*/ 6560 h 9881"/>
                    <a:gd name="connsiteX57" fmla="*/ 8833 w 10000"/>
                    <a:gd name="connsiteY57" fmla="*/ 6523 h 9881"/>
                    <a:gd name="connsiteX58" fmla="*/ 8722 w 10000"/>
                    <a:gd name="connsiteY58" fmla="*/ 6482 h 9881"/>
                    <a:gd name="connsiteX59" fmla="*/ 8556 w 10000"/>
                    <a:gd name="connsiteY59" fmla="*/ 6423 h 9881"/>
                    <a:gd name="connsiteX60" fmla="*/ 8556 w 10000"/>
                    <a:gd name="connsiteY60" fmla="*/ 6423 h 9881"/>
                    <a:gd name="connsiteX61" fmla="*/ 6556 w 10000"/>
                    <a:gd name="connsiteY61" fmla="*/ 6076 h 9881"/>
                    <a:gd name="connsiteX62" fmla="*/ 6556 w 10000"/>
                    <a:gd name="connsiteY62" fmla="*/ 6076 h 9881"/>
                    <a:gd name="connsiteX63" fmla="*/ 6333 w 10000"/>
                    <a:gd name="connsiteY63" fmla="*/ 6016 h 9881"/>
                    <a:gd name="connsiteX64" fmla="*/ 6167 w 10000"/>
                    <a:gd name="connsiteY64" fmla="*/ 5956 h 9881"/>
                    <a:gd name="connsiteX65" fmla="*/ 6056 w 10000"/>
                    <a:gd name="connsiteY65" fmla="*/ 5896 h 9881"/>
                    <a:gd name="connsiteX66" fmla="*/ 6056 w 10000"/>
                    <a:gd name="connsiteY66" fmla="*/ 5896 h 9881"/>
                    <a:gd name="connsiteX67" fmla="*/ 8056 w 10000"/>
                    <a:gd name="connsiteY67" fmla="*/ 5877 h 9881"/>
                    <a:gd name="connsiteX68" fmla="*/ 10000 w 10000"/>
                    <a:gd name="connsiteY68" fmla="*/ 6076 h 9881"/>
                    <a:gd name="connsiteX69" fmla="*/ 10000 w 10000"/>
                    <a:gd name="connsiteY69" fmla="*/ 4296 h 9881"/>
                    <a:gd name="connsiteX70" fmla="*/ 10000 w 10000"/>
                    <a:gd name="connsiteY70" fmla="*/ 4296 h 9881"/>
                    <a:gd name="connsiteX71" fmla="*/ 7778 w 10000"/>
                    <a:gd name="connsiteY71" fmla="*/ 3887 h 9881"/>
                    <a:gd name="connsiteX72" fmla="*/ 6556 w 10000"/>
                    <a:gd name="connsiteY72" fmla="*/ 3650 h 9881"/>
                    <a:gd name="connsiteX73" fmla="*/ 6556 w 10000"/>
                    <a:gd name="connsiteY73" fmla="*/ 3650 h 9881"/>
                    <a:gd name="connsiteX74" fmla="*/ 6556 w 10000"/>
                    <a:gd name="connsiteY74" fmla="*/ 3631 h 9881"/>
                    <a:gd name="connsiteX75" fmla="*/ 6556 w 10000"/>
                    <a:gd name="connsiteY75" fmla="*/ 3514 h 9881"/>
                    <a:gd name="connsiteX76" fmla="*/ 6556 w 10000"/>
                    <a:gd name="connsiteY76" fmla="*/ 3514 h 9881"/>
                    <a:gd name="connsiteX77" fmla="*/ 6389 w 10000"/>
                    <a:gd name="connsiteY77" fmla="*/ 3380 h 9881"/>
                    <a:gd name="connsiteX78" fmla="*/ 6056 w 10000"/>
                    <a:gd name="connsiteY78" fmla="*/ 3163 h 9881"/>
                    <a:gd name="connsiteX79" fmla="*/ 5333 w 10000"/>
                    <a:gd name="connsiteY79" fmla="*/ 2751 h 9881"/>
                    <a:gd name="connsiteX80" fmla="*/ 5333 w 10000"/>
                    <a:gd name="connsiteY80" fmla="*/ 2751 h 9881"/>
                    <a:gd name="connsiteX81" fmla="*/ 5167 w 10000"/>
                    <a:gd name="connsiteY81" fmla="*/ 2693 h 9881"/>
                    <a:gd name="connsiteX82" fmla="*/ 4889 w 10000"/>
                    <a:gd name="connsiteY82" fmla="*/ 2615 h 9881"/>
                    <a:gd name="connsiteX83" fmla="*/ 4056 w 10000"/>
                    <a:gd name="connsiteY83" fmla="*/ 2441 h 9881"/>
                    <a:gd name="connsiteX84" fmla="*/ 2889 w 10000"/>
                    <a:gd name="connsiteY84" fmla="*/ 2227 h 9881"/>
                    <a:gd name="connsiteX85" fmla="*/ 2889 w 10000"/>
                    <a:gd name="connsiteY85" fmla="*/ 2227 h 9881"/>
                    <a:gd name="connsiteX86" fmla="*/ 2389 w 10000"/>
                    <a:gd name="connsiteY86" fmla="*/ 2205 h 9881"/>
                    <a:gd name="connsiteX87" fmla="*/ 2000 w 10000"/>
                    <a:gd name="connsiteY87" fmla="*/ 2187 h 9881"/>
                    <a:gd name="connsiteX88" fmla="*/ 1889 w 10000"/>
                    <a:gd name="connsiteY88" fmla="*/ 2168 h 9881"/>
                    <a:gd name="connsiteX89" fmla="*/ 1778 w 10000"/>
                    <a:gd name="connsiteY89" fmla="*/ 2146 h 9881"/>
                    <a:gd name="connsiteX90" fmla="*/ 1778 w 10000"/>
                    <a:gd name="connsiteY90" fmla="*/ 2146 h 9881"/>
                    <a:gd name="connsiteX91" fmla="*/ 1667 w 10000"/>
                    <a:gd name="connsiteY91" fmla="*/ 2069 h 9881"/>
                    <a:gd name="connsiteX92" fmla="*/ 1500 w 10000"/>
                    <a:gd name="connsiteY92" fmla="*/ 1933 h 9881"/>
                    <a:gd name="connsiteX93" fmla="*/ 1444 w 10000"/>
                    <a:gd name="connsiteY93" fmla="*/ 1854 h 9881"/>
                    <a:gd name="connsiteX94" fmla="*/ 1444 w 10000"/>
                    <a:gd name="connsiteY94" fmla="*/ 1777 h 9881"/>
                    <a:gd name="connsiteX95" fmla="*/ 1444 w 10000"/>
                    <a:gd name="connsiteY95" fmla="*/ 1718 h 9881"/>
                    <a:gd name="connsiteX96" fmla="*/ 1556 w 10000"/>
                    <a:gd name="connsiteY96" fmla="*/ 1659 h 9881"/>
                    <a:gd name="connsiteX97" fmla="*/ 1556 w 10000"/>
                    <a:gd name="connsiteY97" fmla="*/ 1659 h 9881"/>
                    <a:gd name="connsiteX98" fmla="*/ 1833 w 10000"/>
                    <a:gd name="connsiteY98" fmla="*/ 1562 h 9881"/>
                    <a:gd name="connsiteX99" fmla="*/ 2111 w 10000"/>
                    <a:gd name="connsiteY99" fmla="*/ 1461 h 9881"/>
                    <a:gd name="connsiteX100" fmla="*/ 2278 w 10000"/>
                    <a:gd name="connsiteY100" fmla="*/ 1405 h 9881"/>
                    <a:gd name="connsiteX101" fmla="*/ 2389 w 10000"/>
                    <a:gd name="connsiteY101" fmla="*/ 1347 h 9881"/>
                    <a:gd name="connsiteX102" fmla="*/ 2389 w 10000"/>
                    <a:gd name="connsiteY102" fmla="*/ 1269 h 9881"/>
                    <a:gd name="connsiteX103" fmla="*/ 2389 w 10000"/>
                    <a:gd name="connsiteY103" fmla="*/ 1173 h 9881"/>
                    <a:gd name="connsiteX104" fmla="*/ 2389 w 10000"/>
                    <a:gd name="connsiteY104" fmla="*/ 1173 h 9881"/>
                    <a:gd name="connsiteX105" fmla="*/ 2167 w 10000"/>
                    <a:gd name="connsiteY105" fmla="*/ 897 h 9881"/>
                    <a:gd name="connsiteX106" fmla="*/ 1889 w 10000"/>
                    <a:gd name="connsiteY106" fmla="*/ 526 h 9881"/>
                    <a:gd name="connsiteX107" fmla="*/ 1667 w 10000"/>
                    <a:gd name="connsiteY107" fmla="*/ 195 h 9881"/>
                    <a:gd name="connsiteX108" fmla="*/ 1611 w 10000"/>
                    <a:gd name="connsiteY108" fmla="*/ 98 h 9881"/>
                    <a:gd name="connsiteX109" fmla="*/ 1611 w 10000"/>
                    <a:gd name="connsiteY109" fmla="*/ 60 h 9881"/>
                    <a:gd name="connsiteX110" fmla="*/ 1667 w 10000"/>
                    <a:gd name="connsiteY110" fmla="*/ 37 h 9881"/>
                    <a:gd name="connsiteX111" fmla="*/ 1667 w 10000"/>
                    <a:gd name="connsiteY111" fmla="*/ 37 h 9881"/>
                    <a:gd name="connsiteX112" fmla="*/ 2000 w 10000"/>
                    <a:gd name="connsiteY112" fmla="*/ 19 h 9881"/>
                    <a:gd name="connsiteX113" fmla="*/ 2222 w 10000"/>
                    <a:gd name="connsiteY113" fmla="*/ 19 h 9881"/>
                    <a:gd name="connsiteX114" fmla="*/ 2389 w 10000"/>
                    <a:gd name="connsiteY114" fmla="*/ 37 h 9881"/>
                    <a:gd name="connsiteX115" fmla="*/ 2389 w 10000"/>
                    <a:gd name="connsiteY115" fmla="*/ 37 h 9881"/>
                    <a:gd name="connsiteX116" fmla="*/ 2444 w 10000"/>
                    <a:gd name="connsiteY116" fmla="*/ 37 h 9881"/>
                    <a:gd name="connsiteX117" fmla="*/ 2500 w 10000"/>
                    <a:gd name="connsiteY117" fmla="*/ 0 h 9881"/>
                    <a:gd name="connsiteX118" fmla="*/ 10000 w 10000"/>
                    <a:gd name="connsiteY118" fmla="*/ 8573 h 9881"/>
                    <a:gd name="connsiteX119" fmla="*/ 10000 w 10000"/>
                    <a:gd name="connsiteY119" fmla="*/ 8573 h 9881"/>
                    <a:gd name="connsiteX120" fmla="*/ 9722 w 10000"/>
                    <a:gd name="connsiteY120" fmla="*/ 8552 h 9881"/>
                    <a:gd name="connsiteX121" fmla="*/ 9389 w 10000"/>
                    <a:gd name="connsiteY121" fmla="*/ 8573 h 9881"/>
                    <a:gd name="connsiteX122" fmla="*/ 9389 w 10000"/>
                    <a:gd name="connsiteY122" fmla="*/ 8573 h 9881"/>
                    <a:gd name="connsiteX123" fmla="*/ 9278 w 10000"/>
                    <a:gd name="connsiteY123" fmla="*/ 8594 h 9881"/>
                    <a:gd name="connsiteX124" fmla="*/ 9056 w 10000"/>
                    <a:gd name="connsiteY124" fmla="*/ 8573 h 9881"/>
                    <a:gd name="connsiteX125" fmla="*/ 8889 w 10000"/>
                    <a:gd name="connsiteY125" fmla="*/ 8552 h 9881"/>
                    <a:gd name="connsiteX126" fmla="*/ 8722 w 10000"/>
                    <a:gd name="connsiteY126" fmla="*/ 8514 h 9881"/>
                    <a:gd name="connsiteX127" fmla="*/ 8611 w 10000"/>
                    <a:gd name="connsiteY127" fmla="*/ 8454 h 9881"/>
                    <a:gd name="connsiteX128" fmla="*/ 8444 w 10000"/>
                    <a:gd name="connsiteY128" fmla="*/ 8357 h 9881"/>
                    <a:gd name="connsiteX129" fmla="*/ 8444 w 10000"/>
                    <a:gd name="connsiteY129" fmla="*/ 8357 h 9881"/>
                    <a:gd name="connsiteX130" fmla="*/ 8222 w 10000"/>
                    <a:gd name="connsiteY130" fmla="*/ 8183 h 9881"/>
                    <a:gd name="connsiteX131" fmla="*/ 8111 w 10000"/>
                    <a:gd name="connsiteY131" fmla="*/ 8105 h 9881"/>
                    <a:gd name="connsiteX132" fmla="*/ 7944 w 10000"/>
                    <a:gd name="connsiteY132" fmla="*/ 8047 h 9881"/>
                    <a:gd name="connsiteX133" fmla="*/ 7778 w 10000"/>
                    <a:gd name="connsiteY133" fmla="*/ 8009 h 9881"/>
                    <a:gd name="connsiteX134" fmla="*/ 7556 w 10000"/>
                    <a:gd name="connsiteY134" fmla="*/ 7985 h 9881"/>
                    <a:gd name="connsiteX135" fmla="*/ 7333 w 10000"/>
                    <a:gd name="connsiteY135" fmla="*/ 7968 h 9881"/>
                    <a:gd name="connsiteX136" fmla="*/ 7000 w 10000"/>
                    <a:gd name="connsiteY136" fmla="*/ 7946 h 9881"/>
                    <a:gd name="connsiteX137" fmla="*/ 7000 w 10000"/>
                    <a:gd name="connsiteY137" fmla="*/ 7946 h 9881"/>
                    <a:gd name="connsiteX138" fmla="*/ 6556 w 10000"/>
                    <a:gd name="connsiteY138" fmla="*/ 7968 h 9881"/>
                    <a:gd name="connsiteX139" fmla="*/ 6222 w 10000"/>
                    <a:gd name="connsiteY139" fmla="*/ 7968 h 9881"/>
                    <a:gd name="connsiteX140" fmla="*/ 6111 w 10000"/>
                    <a:gd name="connsiteY140" fmla="*/ 7946 h 9881"/>
                    <a:gd name="connsiteX141" fmla="*/ 6056 w 10000"/>
                    <a:gd name="connsiteY141" fmla="*/ 7928 h 9881"/>
                    <a:gd name="connsiteX142" fmla="*/ 6056 w 10000"/>
                    <a:gd name="connsiteY142" fmla="*/ 7928 h 9881"/>
                    <a:gd name="connsiteX143" fmla="*/ 6056 w 10000"/>
                    <a:gd name="connsiteY143" fmla="*/ 7578 h 9881"/>
                    <a:gd name="connsiteX144" fmla="*/ 6056 w 10000"/>
                    <a:gd name="connsiteY144" fmla="*/ 7578 h 9881"/>
                    <a:gd name="connsiteX145" fmla="*/ 6056 w 10000"/>
                    <a:gd name="connsiteY145" fmla="*/ 7497 h 9881"/>
                    <a:gd name="connsiteX146" fmla="*/ 5944 w 10000"/>
                    <a:gd name="connsiteY146" fmla="*/ 7401 h 9881"/>
                    <a:gd name="connsiteX147" fmla="*/ 5889 w 10000"/>
                    <a:gd name="connsiteY147" fmla="*/ 7380 h 9881"/>
                    <a:gd name="connsiteX148" fmla="*/ 5778 w 10000"/>
                    <a:gd name="connsiteY148" fmla="*/ 7362 h 9881"/>
                    <a:gd name="connsiteX149" fmla="*/ 5667 w 10000"/>
                    <a:gd name="connsiteY149" fmla="*/ 7362 h 9881"/>
                    <a:gd name="connsiteX150" fmla="*/ 5500 w 10000"/>
                    <a:gd name="connsiteY150" fmla="*/ 7380 h 9881"/>
                    <a:gd name="connsiteX151" fmla="*/ 5500 w 10000"/>
                    <a:gd name="connsiteY151" fmla="*/ 7380 h 9881"/>
                    <a:gd name="connsiteX152" fmla="*/ 4889 w 10000"/>
                    <a:gd name="connsiteY152" fmla="*/ 7517 h 9881"/>
                    <a:gd name="connsiteX153" fmla="*/ 4611 w 10000"/>
                    <a:gd name="connsiteY153" fmla="*/ 7558 h 9881"/>
                    <a:gd name="connsiteX154" fmla="*/ 4556 w 10000"/>
                    <a:gd name="connsiteY154" fmla="*/ 7578 h 9881"/>
                    <a:gd name="connsiteX155" fmla="*/ 4500 w 10000"/>
                    <a:gd name="connsiteY155" fmla="*/ 7558 h 9881"/>
                    <a:gd name="connsiteX156" fmla="*/ 4500 w 10000"/>
                    <a:gd name="connsiteY156" fmla="*/ 7558 h 9881"/>
                    <a:gd name="connsiteX157" fmla="*/ 4222 w 10000"/>
                    <a:gd name="connsiteY157" fmla="*/ 7362 h 9881"/>
                    <a:gd name="connsiteX158" fmla="*/ 4222 w 10000"/>
                    <a:gd name="connsiteY158" fmla="*/ 7362 h 9881"/>
                    <a:gd name="connsiteX159" fmla="*/ 4111 w 10000"/>
                    <a:gd name="connsiteY159" fmla="*/ 7265 h 9881"/>
                    <a:gd name="connsiteX160" fmla="*/ 4111 w 10000"/>
                    <a:gd name="connsiteY160" fmla="*/ 7204 h 9881"/>
                    <a:gd name="connsiteX161" fmla="*/ 4111 w 10000"/>
                    <a:gd name="connsiteY161" fmla="*/ 7147 h 9881"/>
                    <a:gd name="connsiteX162" fmla="*/ 4111 w 10000"/>
                    <a:gd name="connsiteY162" fmla="*/ 7147 h 9881"/>
                    <a:gd name="connsiteX163" fmla="*/ 4278 w 10000"/>
                    <a:gd name="connsiteY163" fmla="*/ 7088 h 9881"/>
                    <a:gd name="connsiteX164" fmla="*/ 4389 w 10000"/>
                    <a:gd name="connsiteY164" fmla="*/ 7069 h 9881"/>
                    <a:gd name="connsiteX165" fmla="*/ 4389 w 10000"/>
                    <a:gd name="connsiteY165" fmla="*/ 7069 h 9881"/>
                    <a:gd name="connsiteX166" fmla="*/ 4000 w 10000"/>
                    <a:gd name="connsiteY166" fmla="*/ 7069 h 9881"/>
                    <a:gd name="connsiteX167" fmla="*/ 3722 w 10000"/>
                    <a:gd name="connsiteY167" fmla="*/ 7088 h 9881"/>
                    <a:gd name="connsiteX168" fmla="*/ 3611 w 10000"/>
                    <a:gd name="connsiteY168" fmla="*/ 7108 h 9881"/>
                    <a:gd name="connsiteX169" fmla="*/ 3556 w 10000"/>
                    <a:gd name="connsiteY169" fmla="*/ 7129 h 9881"/>
                    <a:gd name="connsiteX170" fmla="*/ 3556 w 10000"/>
                    <a:gd name="connsiteY170" fmla="*/ 7129 h 9881"/>
                    <a:gd name="connsiteX171" fmla="*/ 3444 w 10000"/>
                    <a:gd name="connsiteY171" fmla="*/ 7204 h 9881"/>
                    <a:gd name="connsiteX172" fmla="*/ 3278 w 10000"/>
                    <a:gd name="connsiteY172" fmla="*/ 7324 h 9881"/>
                    <a:gd name="connsiteX173" fmla="*/ 3000 w 10000"/>
                    <a:gd name="connsiteY173" fmla="*/ 7459 h 9881"/>
                    <a:gd name="connsiteX174" fmla="*/ 2667 w 10000"/>
                    <a:gd name="connsiteY174" fmla="*/ 7558 h 9881"/>
                    <a:gd name="connsiteX175" fmla="*/ 2667 w 10000"/>
                    <a:gd name="connsiteY175" fmla="*/ 7558 h 9881"/>
                    <a:gd name="connsiteX176" fmla="*/ 2333 w 10000"/>
                    <a:gd name="connsiteY176" fmla="*/ 7637 h 9881"/>
                    <a:gd name="connsiteX177" fmla="*/ 1833 w 10000"/>
                    <a:gd name="connsiteY177" fmla="*/ 7714 h 9881"/>
                    <a:gd name="connsiteX178" fmla="*/ 1389 w 10000"/>
                    <a:gd name="connsiteY178" fmla="*/ 7754 h 9881"/>
                    <a:gd name="connsiteX179" fmla="*/ 889 w 10000"/>
                    <a:gd name="connsiteY179" fmla="*/ 7772 h 9881"/>
                    <a:gd name="connsiteX180" fmla="*/ 889 w 10000"/>
                    <a:gd name="connsiteY180" fmla="*/ 7772 h 9881"/>
                    <a:gd name="connsiteX181" fmla="*/ 500 w 10000"/>
                    <a:gd name="connsiteY181" fmla="*/ 7794 h 9881"/>
                    <a:gd name="connsiteX182" fmla="*/ 222 w 10000"/>
                    <a:gd name="connsiteY182" fmla="*/ 7812 h 9881"/>
                    <a:gd name="connsiteX183" fmla="*/ 0 w 10000"/>
                    <a:gd name="connsiteY183" fmla="*/ 7831 h 9881"/>
                    <a:gd name="connsiteX184" fmla="*/ 0 w 10000"/>
                    <a:gd name="connsiteY184" fmla="*/ 7831 h 9881"/>
                    <a:gd name="connsiteX185" fmla="*/ 278 w 10000"/>
                    <a:gd name="connsiteY185" fmla="*/ 8144 h 9881"/>
                    <a:gd name="connsiteX186" fmla="*/ 500 w 10000"/>
                    <a:gd name="connsiteY186" fmla="*/ 8375 h 9881"/>
                    <a:gd name="connsiteX187" fmla="*/ 722 w 10000"/>
                    <a:gd name="connsiteY187" fmla="*/ 8573 h 9881"/>
                    <a:gd name="connsiteX188" fmla="*/ 722 w 10000"/>
                    <a:gd name="connsiteY188" fmla="*/ 8573 h 9881"/>
                    <a:gd name="connsiteX189" fmla="*/ 889 w 10000"/>
                    <a:gd name="connsiteY189" fmla="*/ 8690 h 9881"/>
                    <a:gd name="connsiteX190" fmla="*/ 944 w 10000"/>
                    <a:gd name="connsiteY190" fmla="*/ 8789 h 9881"/>
                    <a:gd name="connsiteX191" fmla="*/ 1111 w 10000"/>
                    <a:gd name="connsiteY191" fmla="*/ 8888 h 9881"/>
                    <a:gd name="connsiteX192" fmla="*/ 1333 w 10000"/>
                    <a:gd name="connsiteY192" fmla="*/ 9040 h 9881"/>
                    <a:gd name="connsiteX193" fmla="*/ 1333 w 10000"/>
                    <a:gd name="connsiteY193" fmla="*/ 9040 h 9881"/>
                    <a:gd name="connsiteX194" fmla="*/ 1444 w 10000"/>
                    <a:gd name="connsiteY194" fmla="*/ 9119 h 9881"/>
                    <a:gd name="connsiteX195" fmla="*/ 1500 w 10000"/>
                    <a:gd name="connsiteY195" fmla="*/ 9177 h 9881"/>
                    <a:gd name="connsiteX196" fmla="*/ 1500 w 10000"/>
                    <a:gd name="connsiteY196" fmla="*/ 9235 h 9881"/>
                    <a:gd name="connsiteX197" fmla="*/ 1556 w 10000"/>
                    <a:gd name="connsiteY197" fmla="*/ 9258 h 9881"/>
                    <a:gd name="connsiteX198" fmla="*/ 1722 w 10000"/>
                    <a:gd name="connsiteY198" fmla="*/ 9274 h 9881"/>
                    <a:gd name="connsiteX199" fmla="*/ 1944 w 10000"/>
                    <a:gd name="connsiteY199" fmla="*/ 9294 h 9881"/>
                    <a:gd name="connsiteX200" fmla="*/ 2944 w 10000"/>
                    <a:gd name="connsiteY200" fmla="*/ 9314 h 9881"/>
                    <a:gd name="connsiteX201" fmla="*/ 2944 w 10000"/>
                    <a:gd name="connsiteY201" fmla="*/ 9314 h 9881"/>
                    <a:gd name="connsiteX202" fmla="*/ 4167 w 10000"/>
                    <a:gd name="connsiteY202" fmla="*/ 9353 h 9881"/>
                    <a:gd name="connsiteX203" fmla="*/ 4889 w 10000"/>
                    <a:gd name="connsiteY203" fmla="*/ 9412 h 9881"/>
                    <a:gd name="connsiteX204" fmla="*/ 5278 w 10000"/>
                    <a:gd name="connsiteY204" fmla="*/ 9473 h 9881"/>
                    <a:gd name="connsiteX205" fmla="*/ 5444 w 10000"/>
                    <a:gd name="connsiteY205" fmla="*/ 9489 h 9881"/>
                    <a:gd name="connsiteX206" fmla="*/ 5444 w 10000"/>
                    <a:gd name="connsiteY206" fmla="*/ 9489 h 9881"/>
                    <a:gd name="connsiteX207" fmla="*/ 5722 w 10000"/>
                    <a:gd name="connsiteY207" fmla="*/ 9531 h 9881"/>
                    <a:gd name="connsiteX208" fmla="*/ 5833 w 10000"/>
                    <a:gd name="connsiteY208" fmla="*/ 9552 h 9881"/>
                    <a:gd name="connsiteX209" fmla="*/ 5833 w 10000"/>
                    <a:gd name="connsiteY209" fmla="*/ 9552 h 9881"/>
                    <a:gd name="connsiteX210" fmla="*/ 5833 w 10000"/>
                    <a:gd name="connsiteY210" fmla="*/ 9531 h 9881"/>
                    <a:gd name="connsiteX211" fmla="*/ 5889 w 10000"/>
                    <a:gd name="connsiteY211" fmla="*/ 9510 h 9881"/>
                    <a:gd name="connsiteX212" fmla="*/ 6000 w 10000"/>
                    <a:gd name="connsiteY212" fmla="*/ 9489 h 9881"/>
                    <a:gd name="connsiteX213" fmla="*/ 6167 w 10000"/>
                    <a:gd name="connsiteY213" fmla="*/ 9473 h 9881"/>
                    <a:gd name="connsiteX214" fmla="*/ 6444 w 10000"/>
                    <a:gd name="connsiteY214" fmla="*/ 9473 h 9881"/>
                    <a:gd name="connsiteX215" fmla="*/ 6833 w 10000"/>
                    <a:gd name="connsiteY215" fmla="*/ 9489 h 9881"/>
                    <a:gd name="connsiteX216" fmla="*/ 7278 w 10000"/>
                    <a:gd name="connsiteY216" fmla="*/ 9552 h 9881"/>
                    <a:gd name="connsiteX217" fmla="*/ 7278 w 10000"/>
                    <a:gd name="connsiteY217" fmla="*/ 9552 h 9881"/>
                    <a:gd name="connsiteX218" fmla="*/ 8722 w 10000"/>
                    <a:gd name="connsiteY218" fmla="*/ 9723 h 9881"/>
                    <a:gd name="connsiteX219" fmla="*/ 10000 w 10000"/>
                    <a:gd name="connsiteY219" fmla="*/ 9881 h 9881"/>
                    <a:gd name="connsiteX0" fmla="*/ 10000 w 10000"/>
                    <a:gd name="connsiteY0" fmla="*/ 8636 h 9981"/>
                    <a:gd name="connsiteX1" fmla="*/ 10000 w 10000"/>
                    <a:gd name="connsiteY1" fmla="*/ 8636 h 9981"/>
                    <a:gd name="connsiteX2" fmla="*/ 9222 w 10000"/>
                    <a:gd name="connsiteY2" fmla="*/ 8657 h 9981"/>
                    <a:gd name="connsiteX3" fmla="*/ 8944 w 10000"/>
                    <a:gd name="connsiteY3" fmla="*/ 8657 h 9981"/>
                    <a:gd name="connsiteX4" fmla="*/ 8833 w 10000"/>
                    <a:gd name="connsiteY4" fmla="*/ 8636 h 9981"/>
                    <a:gd name="connsiteX5" fmla="*/ 8778 w 10000"/>
                    <a:gd name="connsiteY5" fmla="*/ 8618 h 9981"/>
                    <a:gd name="connsiteX6" fmla="*/ 8778 w 10000"/>
                    <a:gd name="connsiteY6" fmla="*/ 8618 h 9981"/>
                    <a:gd name="connsiteX7" fmla="*/ 8444 w 10000"/>
                    <a:gd name="connsiteY7" fmla="*/ 8379 h 9981"/>
                    <a:gd name="connsiteX8" fmla="*/ 8167 w 10000"/>
                    <a:gd name="connsiteY8" fmla="*/ 8161 h 9981"/>
                    <a:gd name="connsiteX9" fmla="*/ 8167 w 10000"/>
                    <a:gd name="connsiteY9" fmla="*/ 8161 h 9981"/>
                    <a:gd name="connsiteX10" fmla="*/ 8056 w 10000"/>
                    <a:gd name="connsiteY10" fmla="*/ 8125 h 9981"/>
                    <a:gd name="connsiteX11" fmla="*/ 7889 w 10000"/>
                    <a:gd name="connsiteY11" fmla="*/ 8086 h 9981"/>
                    <a:gd name="connsiteX12" fmla="*/ 7444 w 10000"/>
                    <a:gd name="connsiteY12" fmla="*/ 8062 h 9981"/>
                    <a:gd name="connsiteX13" fmla="*/ 6889 w 10000"/>
                    <a:gd name="connsiteY13" fmla="*/ 8045 h 9981"/>
                    <a:gd name="connsiteX14" fmla="*/ 6389 w 10000"/>
                    <a:gd name="connsiteY14" fmla="*/ 8045 h 9981"/>
                    <a:gd name="connsiteX15" fmla="*/ 6389 w 10000"/>
                    <a:gd name="connsiteY15" fmla="*/ 8045 h 9981"/>
                    <a:gd name="connsiteX16" fmla="*/ 6167 w 10000"/>
                    <a:gd name="connsiteY16" fmla="*/ 8023 h 9981"/>
                    <a:gd name="connsiteX17" fmla="*/ 6056 w 10000"/>
                    <a:gd name="connsiteY17" fmla="*/ 7986 h 9981"/>
                    <a:gd name="connsiteX18" fmla="*/ 6000 w 10000"/>
                    <a:gd name="connsiteY18" fmla="*/ 7946 h 9981"/>
                    <a:gd name="connsiteX19" fmla="*/ 6000 w 10000"/>
                    <a:gd name="connsiteY19" fmla="*/ 7869 h 9981"/>
                    <a:gd name="connsiteX20" fmla="*/ 6056 w 10000"/>
                    <a:gd name="connsiteY20" fmla="*/ 7710 h 9981"/>
                    <a:gd name="connsiteX21" fmla="*/ 6111 w 10000"/>
                    <a:gd name="connsiteY21" fmla="*/ 7630 h 9981"/>
                    <a:gd name="connsiteX22" fmla="*/ 6056 w 10000"/>
                    <a:gd name="connsiteY22" fmla="*/ 7530 h 9981"/>
                    <a:gd name="connsiteX23" fmla="*/ 6056 w 10000"/>
                    <a:gd name="connsiteY23" fmla="*/ 7530 h 9981"/>
                    <a:gd name="connsiteX24" fmla="*/ 6000 w 10000"/>
                    <a:gd name="connsiteY24" fmla="*/ 7471 h 9981"/>
                    <a:gd name="connsiteX25" fmla="*/ 5944 w 10000"/>
                    <a:gd name="connsiteY25" fmla="*/ 7432 h 9981"/>
                    <a:gd name="connsiteX26" fmla="*/ 5833 w 10000"/>
                    <a:gd name="connsiteY26" fmla="*/ 7432 h 9981"/>
                    <a:gd name="connsiteX27" fmla="*/ 5667 w 10000"/>
                    <a:gd name="connsiteY27" fmla="*/ 7450 h 9981"/>
                    <a:gd name="connsiteX28" fmla="*/ 5333 w 10000"/>
                    <a:gd name="connsiteY28" fmla="*/ 7510 h 9981"/>
                    <a:gd name="connsiteX29" fmla="*/ 4889 w 10000"/>
                    <a:gd name="connsiteY29" fmla="*/ 7610 h 9981"/>
                    <a:gd name="connsiteX30" fmla="*/ 4889 w 10000"/>
                    <a:gd name="connsiteY30" fmla="*/ 7610 h 9981"/>
                    <a:gd name="connsiteX31" fmla="*/ 4611 w 10000"/>
                    <a:gd name="connsiteY31" fmla="*/ 7630 h 9981"/>
                    <a:gd name="connsiteX32" fmla="*/ 4500 w 10000"/>
                    <a:gd name="connsiteY32" fmla="*/ 7630 h 9981"/>
                    <a:gd name="connsiteX33" fmla="*/ 4444 w 10000"/>
                    <a:gd name="connsiteY33" fmla="*/ 7610 h 9981"/>
                    <a:gd name="connsiteX34" fmla="*/ 4389 w 10000"/>
                    <a:gd name="connsiteY34" fmla="*/ 7530 h 9981"/>
                    <a:gd name="connsiteX35" fmla="*/ 4222 w 10000"/>
                    <a:gd name="connsiteY35" fmla="*/ 7432 h 9981"/>
                    <a:gd name="connsiteX36" fmla="*/ 4222 w 10000"/>
                    <a:gd name="connsiteY36" fmla="*/ 7432 h 9981"/>
                    <a:gd name="connsiteX37" fmla="*/ 4111 w 10000"/>
                    <a:gd name="connsiteY37" fmla="*/ 7371 h 9981"/>
                    <a:gd name="connsiteX38" fmla="*/ 4111 w 10000"/>
                    <a:gd name="connsiteY38" fmla="*/ 7312 h 9981"/>
                    <a:gd name="connsiteX39" fmla="*/ 4111 w 10000"/>
                    <a:gd name="connsiteY39" fmla="*/ 7272 h 9981"/>
                    <a:gd name="connsiteX40" fmla="*/ 4167 w 10000"/>
                    <a:gd name="connsiteY40" fmla="*/ 7233 h 9981"/>
                    <a:gd name="connsiteX41" fmla="*/ 4278 w 10000"/>
                    <a:gd name="connsiteY41" fmla="*/ 7154 h 9981"/>
                    <a:gd name="connsiteX42" fmla="*/ 4389 w 10000"/>
                    <a:gd name="connsiteY42" fmla="*/ 7135 h 9981"/>
                    <a:gd name="connsiteX43" fmla="*/ 4389 w 10000"/>
                    <a:gd name="connsiteY43" fmla="*/ 7135 h 9981"/>
                    <a:gd name="connsiteX44" fmla="*/ 4389 w 10000"/>
                    <a:gd name="connsiteY44" fmla="*/ 7114 h 9981"/>
                    <a:gd name="connsiteX45" fmla="*/ 4444 w 10000"/>
                    <a:gd name="connsiteY45" fmla="*/ 7097 h 9981"/>
                    <a:gd name="connsiteX46" fmla="*/ 4667 w 10000"/>
                    <a:gd name="connsiteY46" fmla="*/ 7075 h 9981"/>
                    <a:gd name="connsiteX47" fmla="*/ 5333 w 10000"/>
                    <a:gd name="connsiteY47" fmla="*/ 7038 h 9981"/>
                    <a:gd name="connsiteX48" fmla="*/ 6500 w 10000"/>
                    <a:gd name="connsiteY48" fmla="*/ 6977 h 9981"/>
                    <a:gd name="connsiteX49" fmla="*/ 6500 w 10000"/>
                    <a:gd name="connsiteY49" fmla="*/ 6977 h 9981"/>
                    <a:gd name="connsiteX50" fmla="*/ 7167 w 10000"/>
                    <a:gd name="connsiteY50" fmla="*/ 6919 h 9981"/>
                    <a:gd name="connsiteX51" fmla="*/ 8389 w 10000"/>
                    <a:gd name="connsiteY51" fmla="*/ 6800 h 9981"/>
                    <a:gd name="connsiteX52" fmla="*/ 8389 w 10000"/>
                    <a:gd name="connsiteY52" fmla="*/ 6800 h 9981"/>
                    <a:gd name="connsiteX53" fmla="*/ 8667 w 10000"/>
                    <a:gd name="connsiteY53" fmla="*/ 6758 h 9981"/>
                    <a:gd name="connsiteX54" fmla="*/ 8778 w 10000"/>
                    <a:gd name="connsiteY54" fmla="*/ 6698 h 9981"/>
                    <a:gd name="connsiteX55" fmla="*/ 8889 w 10000"/>
                    <a:gd name="connsiteY55" fmla="*/ 6660 h 9981"/>
                    <a:gd name="connsiteX56" fmla="*/ 8833 w 10000"/>
                    <a:gd name="connsiteY56" fmla="*/ 6620 h 9981"/>
                    <a:gd name="connsiteX57" fmla="*/ 8833 w 10000"/>
                    <a:gd name="connsiteY57" fmla="*/ 6583 h 9981"/>
                    <a:gd name="connsiteX58" fmla="*/ 8722 w 10000"/>
                    <a:gd name="connsiteY58" fmla="*/ 6541 h 9981"/>
                    <a:gd name="connsiteX59" fmla="*/ 8556 w 10000"/>
                    <a:gd name="connsiteY59" fmla="*/ 6481 h 9981"/>
                    <a:gd name="connsiteX60" fmla="*/ 8556 w 10000"/>
                    <a:gd name="connsiteY60" fmla="*/ 6481 h 9981"/>
                    <a:gd name="connsiteX61" fmla="*/ 6556 w 10000"/>
                    <a:gd name="connsiteY61" fmla="*/ 6130 h 9981"/>
                    <a:gd name="connsiteX62" fmla="*/ 6556 w 10000"/>
                    <a:gd name="connsiteY62" fmla="*/ 6130 h 9981"/>
                    <a:gd name="connsiteX63" fmla="*/ 6333 w 10000"/>
                    <a:gd name="connsiteY63" fmla="*/ 6069 h 9981"/>
                    <a:gd name="connsiteX64" fmla="*/ 6167 w 10000"/>
                    <a:gd name="connsiteY64" fmla="*/ 6009 h 9981"/>
                    <a:gd name="connsiteX65" fmla="*/ 6056 w 10000"/>
                    <a:gd name="connsiteY65" fmla="*/ 5948 h 9981"/>
                    <a:gd name="connsiteX66" fmla="*/ 6056 w 10000"/>
                    <a:gd name="connsiteY66" fmla="*/ 5948 h 9981"/>
                    <a:gd name="connsiteX67" fmla="*/ 8056 w 10000"/>
                    <a:gd name="connsiteY67" fmla="*/ 5929 h 9981"/>
                    <a:gd name="connsiteX68" fmla="*/ 10000 w 10000"/>
                    <a:gd name="connsiteY68" fmla="*/ 6130 h 9981"/>
                    <a:gd name="connsiteX69" fmla="*/ 10000 w 10000"/>
                    <a:gd name="connsiteY69" fmla="*/ 4329 h 9981"/>
                    <a:gd name="connsiteX70" fmla="*/ 10000 w 10000"/>
                    <a:gd name="connsiteY70" fmla="*/ 4329 h 9981"/>
                    <a:gd name="connsiteX71" fmla="*/ 7778 w 10000"/>
                    <a:gd name="connsiteY71" fmla="*/ 3915 h 9981"/>
                    <a:gd name="connsiteX72" fmla="*/ 6556 w 10000"/>
                    <a:gd name="connsiteY72" fmla="*/ 3675 h 9981"/>
                    <a:gd name="connsiteX73" fmla="*/ 6556 w 10000"/>
                    <a:gd name="connsiteY73" fmla="*/ 3675 h 9981"/>
                    <a:gd name="connsiteX74" fmla="*/ 6556 w 10000"/>
                    <a:gd name="connsiteY74" fmla="*/ 3656 h 9981"/>
                    <a:gd name="connsiteX75" fmla="*/ 6556 w 10000"/>
                    <a:gd name="connsiteY75" fmla="*/ 3537 h 9981"/>
                    <a:gd name="connsiteX76" fmla="*/ 6556 w 10000"/>
                    <a:gd name="connsiteY76" fmla="*/ 3537 h 9981"/>
                    <a:gd name="connsiteX77" fmla="*/ 6389 w 10000"/>
                    <a:gd name="connsiteY77" fmla="*/ 3402 h 9981"/>
                    <a:gd name="connsiteX78" fmla="*/ 6056 w 10000"/>
                    <a:gd name="connsiteY78" fmla="*/ 3182 h 9981"/>
                    <a:gd name="connsiteX79" fmla="*/ 5333 w 10000"/>
                    <a:gd name="connsiteY79" fmla="*/ 2765 h 9981"/>
                    <a:gd name="connsiteX80" fmla="*/ 5333 w 10000"/>
                    <a:gd name="connsiteY80" fmla="*/ 2765 h 9981"/>
                    <a:gd name="connsiteX81" fmla="*/ 5167 w 10000"/>
                    <a:gd name="connsiteY81" fmla="*/ 2706 h 9981"/>
                    <a:gd name="connsiteX82" fmla="*/ 4889 w 10000"/>
                    <a:gd name="connsiteY82" fmla="*/ 2627 h 9981"/>
                    <a:gd name="connsiteX83" fmla="*/ 4056 w 10000"/>
                    <a:gd name="connsiteY83" fmla="*/ 2451 h 9981"/>
                    <a:gd name="connsiteX84" fmla="*/ 2889 w 10000"/>
                    <a:gd name="connsiteY84" fmla="*/ 2235 h 9981"/>
                    <a:gd name="connsiteX85" fmla="*/ 2889 w 10000"/>
                    <a:gd name="connsiteY85" fmla="*/ 2235 h 9981"/>
                    <a:gd name="connsiteX86" fmla="*/ 2389 w 10000"/>
                    <a:gd name="connsiteY86" fmla="*/ 2213 h 9981"/>
                    <a:gd name="connsiteX87" fmla="*/ 2000 w 10000"/>
                    <a:gd name="connsiteY87" fmla="*/ 2194 h 9981"/>
                    <a:gd name="connsiteX88" fmla="*/ 1889 w 10000"/>
                    <a:gd name="connsiteY88" fmla="*/ 2175 h 9981"/>
                    <a:gd name="connsiteX89" fmla="*/ 1778 w 10000"/>
                    <a:gd name="connsiteY89" fmla="*/ 2153 h 9981"/>
                    <a:gd name="connsiteX90" fmla="*/ 1778 w 10000"/>
                    <a:gd name="connsiteY90" fmla="*/ 2153 h 9981"/>
                    <a:gd name="connsiteX91" fmla="*/ 1667 w 10000"/>
                    <a:gd name="connsiteY91" fmla="*/ 2075 h 9981"/>
                    <a:gd name="connsiteX92" fmla="*/ 1500 w 10000"/>
                    <a:gd name="connsiteY92" fmla="*/ 1937 h 9981"/>
                    <a:gd name="connsiteX93" fmla="*/ 1444 w 10000"/>
                    <a:gd name="connsiteY93" fmla="*/ 1857 h 9981"/>
                    <a:gd name="connsiteX94" fmla="*/ 1444 w 10000"/>
                    <a:gd name="connsiteY94" fmla="*/ 1779 h 9981"/>
                    <a:gd name="connsiteX95" fmla="*/ 1444 w 10000"/>
                    <a:gd name="connsiteY95" fmla="*/ 1720 h 9981"/>
                    <a:gd name="connsiteX96" fmla="*/ 1556 w 10000"/>
                    <a:gd name="connsiteY96" fmla="*/ 1660 h 9981"/>
                    <a:gd name="connsiteX97" fmla="*/ 1556 w 10000"/>
                    <a:gd name="connsiteY97" fmla="*/ 1660 h 9981"/>
                    <a:gd name="connsiteX98" fmla="*/ 1833 w 10000"/>
                    <a:gd name="connsiteY98" fmla="*/ 1562 h 9981"/>
                    <a:gd name="connsiteX99" fmla="*/ 2111 w 10000"/>
                    <a:gd name="connsiteY99" fmla="*/ 1460 h 9981"/>
                    <a:gd name="connsiteX100" fmla="*/ 2278 w 10000"/>
                    <a:gd name="connsiteY100" fmla="*/ 1403 h 9981"/>
                    <a:gd name="connsiteX101" fmla="*/ 2389 w 10000"/>
                    <a:gd name="connsiteY101" fmla="*/ 1344 h 9981"/>
                    <a:gd name="connsiteX102" fmla="*/ 2389 w 10000"/>
                    <a:gd name="connsiteY102" fmla="*/ 1265 h 9981"/>
                    <a:gd name="connsiteX103" fmla="*/ 2389 w 10000"/>
                    <a:gd name="connsiteY103" fmla="*/ 1168 h 9981"/>
                    <a:gd name="connsiteX104" fmla="*/ 2389 w 10000"/>
                    <a:gd name="connsiteY104" fmla="*/ 1168 h 9981"/>
                    <a:gd name="connsiteX105" fmla="*/ 2167 w 10000"/>
                    <a:gd name="connsiteY105" fmla="*/ 889 h 9981"/>
                    <a:gd name="connsiteX106" fmla="*/ 1889 w 10000"/>
                    <a:gd name="connsiteY106" fmla="*/ 513 h 9981"/>
                    <a:gd name="connsiteX107" fmla="*/ 1667 w 10000"/>
                    <a:gd name="connsiteY107" fmla="*/ 178 h 9981"/>
                    <a:gd name="connsiteX108" fmla="*/ 1611 w 10000"/>
                    <a:gd name="connsiteY108" fmla="*/ 80 h 9981"/>
                    <a:gd name="connsiteX109" fmla="*/ 1611 w 10000"/>
                    <a:gd name="connsiteY109" fmla="*/ 42 h 9981"/>
                    <a:gd name="connsiteX110" fmla="*/ 1667 w 10000"/>
                    <a:gd name="connsiteY110" fmla="*/ 18 h 9981"/>
                    <a:gd name="connsiteX111" fmla="*/ 1667 w 10000"/>
                    <a:gd name="connsiteY111" fmla="*/ 18 h 9981"/>
                    <a:gd name="connsiteX112" fmla="*/ 2000 w 10000"/>
                    <a:gd name="connsiteY112" fmla="*/ 0 h 9981"/>
                    <a:gd name="connsiteX113" fmla="*/ 2222 w 10000"/>
                    <a:gd name="connsiteY113" fmla="*/ 0 h 9981"/>
                    <a:gd name="connsiteX114" fmla="*/ 2389 w 10000"/>
                    <a:gd name="connsiteY114" fmla="*/ 18 h 9981"/>
                    <a:gd name="connsiteX115" fmla="*/ 2389 w 10000"/>
                    <a:gd name="connsiteY115" fmla="*/ 18 h 9981"/>
                    <a:gd name="connsiteX116" fmla="*/ 2444 w 10000"/>
                    <a:gd name="connsiteY116" fmla="*/ 18 h 9981"/>
                    <a:gd name="connsiteX117" fmla="*/ 10000 w 10000"/>
                    <a:gd name="connsiteY117" fmla="*/ 8657 h 9981"/>
                    <a:gd name="connsiteX118" fmla="*/ 10000 w 10000"/>
                    <a:gd name="connsiteY118" fmla="*/ 8657 h 9981"/>
                    <a:gd name="connsiteX119" fmla="*/ 9722 w 10000"/>
                    <a:gd name="connsiteY119" fmla="*/ 8636 h 9981"/>
                    <a:gd name="connsiteX120" fmla="*/ 9389 w 10000"/>
                    <a:gd name="connsiteY120" fmla="*/ 8657 h 9981"/>
                    <a:gd name="connsiteX121" fmla="*/ 9389 w 10000"/>
                    <a:gd name="connsiteY121" fmla="*/ 8657 h 9981"/>
                    <a:gd name="connsiteX122" fmla="*/ 9278 w 10000"/>
                    <a:gd name="connsiteY122" fmla="*/ 8679 h 9981"/>
                    <a:gd name="connsiteX123" fmla="*/ 9056 w 10000"/>
                    <a:gd name="connsiteY123" fmla="*/ 8657 h 9981"/>
                    <a:gd name="connsiteX124" fmla="*/ 8889 w 10000"/>
                    <a:gd name="connsiteY124" fmla="*/ 8636 h 9981"/>
                    <a:gd name="connsiteX125" fmla="*/ 8722 w 10000"/>
                    <a:gd name="connsiteY125" fmla="*/ 8598 h 9981"/>
                    <a:gd name="connsiteX126" fmla="*/ 8611 w 10000"/>
                    <a:gd name="connsiteY126" fmla="*/ 8537 h 9981"/>
                    <a:gd name="connsiteX127" fmla="*/ 8444 w 10000"/>
                    <a:gd name="connsiteY127" fmla="*/ 8439 h 9981"/>
                    <a:gd name="connsiteX128" fmla="*/ 8444 w 10000"/>
                    <a:gd name="connsiteY128" fmla="*/ 8439 h 9981"/>
                    <a:gd name="connsiteX129" fmla="*/ 8222 w 10000"/>
                    <a:gd name="connsiteY129" fmla="*/ 8263 h 9981"/>
                    <a:gd name="connsiteX130" fmla="*/ 8111 w 10000"/>
                    <a:gd name="connsiteY130" fmla="*/ 8184 h 9981"/>
                    <a:gd name="connsiteX131" fmla="*/ 7944 w 10000"/>
                    <a:gd name="connsiteY131" fmla="*/ 8125 h 9981"/>
                    <a:gd name="connsiteX132" fmla="*/ 7778 w 10000"/>
                    <a:gd name="connsiteY132" fmla="*/ 8086 h 9981"/>
                    <a:gd name="connsiteX133" fmla="*/ 7556 w 10000"/>
                    <a:gd name="connsiteY133" fmla="*/ 8062 h 9981"/>
                    <a:gd name="connsiteX134" fmla="*/ 7333 w 10000"/>
                    <a:gd name="connsiteY134" fmla="*/ 8045 h 9981"/>
                    <a:gd name="connsiteX135" fmla="*/ 7000 w 10000"/>
                    <a:gd name="connsiteY135" fmla="*/ 8023 h 9981"/>
                    <a:gd name="connsiteX136" fmla="*/ 7000 w 10000"/>
                    <a:gd name="connsiteY136" fmla="*/ 8023 h 9981"/>
                    <a:gd name="connsiteX137" fmla="*/ 6556 w 10000"/>
                    <a:gd name="connsiteY137" fmla="*/ 8045 h 9981"/>
                    <a:gd name="connsiteX138" fmla="*/ 6222 w 10000"/>
                    <a:gd name="connsiteY138" fmla="*/ 8045 h 9981"/>
                    <a:gd name="connsiteX139" fmla="*/ 6111 w 10000"/>
                    <a:gd name="connsiteY139" fmla="*/ 8023 h 9981"/>
                    <a:gd name="connsiteX140" fmla="*/ 6056 w 10000"/>
                    <a:gd name="connsiteY140" fmla="*/ 8004 h 9981"/>
                    <a:gd name="connsiteX141" fmla="*/ 6056 w 10000"/>
                    <a:gd name="connsiteY141" fmla="*/ 8004 h 9981"/>
                    <a:gd name="connsiteX142" fmla="*/ 6056 w 10000"/>
                    <a:gd name="connsiteY142" fmla="*/ 7650 h 9981"/>
                    <a:gd name="connsiteX143" fmla="*/ 6056 w 10000"/>
                    <a:gd name="connsiteY143" fmla="*/ 7650 h 9981"/>
                    <a:gd name="connsiteX144" fmla="*/ 6056 w 10000"/>
                    <a:gd name="connsiteY144" fmla="*/ 7568 h 9981"/>
                    <a:gd name="connsiteX145" fmla="*/ 5944 w 10000"/>
                    <a:gd name="connsiteY145" fmla="*/ 7471 h 9981"/>
                    <a:gd name="connsiteX146" fmla="*/ 5889 w 10000"/>
                    <a:gd name="connsiteY146" fmla="*/ 7450 h 9981"/>
                    <a:gd name="connsiteX147" fmla="*/ 5778 w 10000"/>
                    <a:gd name="connsiteY147" fmla="*/ 7432 h 9981"/>
                    <a:gd name="connsiteX148" fmla="*/ 5667 w 10000"/>
                    <a:gd name="connsiteY148" fmla="*/ 7432 h 9981"/>
                    <a:gd name="connsiteX149" fmla="*/ 5500 w 10000"/>
                    <a:gd name="connsiteY149" fmla="*/ 7450 h 9981"/>
                    <a:gd name="connsiteX150" fmla="*/ 5500 w 10000"/>
                    <a:gd name="connsiteY150" fmla="*/ 7450 h 9981"/>
                    <a:gd name="connsiteX151" fmla="*/ 4889 w 10000"/>
                    <a:gd name="connsiteY151" fmla="*/ 7589 h 9981"/>
                    <a:gd name="connsiteX152" fmla="*/ 4611 w 10000"/>
                    <a:gd name="connsiteY152" fmla="*/ 7630 h 9981"/>
                    <a:gd name="connsiteX153" fmla="*/ 4556 w 10000"/>
                    <a:gd name="connsiteY153" fmla="*/ 7650 h 9981"/>
                    <a:gd name="connsiteX154" fmla="*/ 4500 w 10000"/>
                    <a:gd name="connsiteY154" fmla="*/ 7630 h 9981"/>
                    <a:gd name="connsiteX155" fmla="*/ 4500 w 10000"/>
                    <a:gd name="connsiteY155" fmla="*/ 7630 h 9981"/>
                    <a:gd name="connsiteX156" fmla="*/ 4222 w 10000"/>
                    <a:gd name="connsiteY156" fmla="*/ 7432 h 9981"/>
                    <a:gd name="connsiteX157" fmla="*/ 4222 w 10000"/>
                    <a:gd name="connsiteY157" fmla="*/ 7432 h 9981"/>
                    <a:gd name="connsiteX158" fmla="*/ 4111 w 10000"/>
                    <a:gd name="connsiteY158" fmla="*/ 7333 h 9981"/>
                    <a:gd name="connsiteX159" fmla="*/ 4111 w 10000"/>
                    <a:gd name="connsiteY159" fmla="*/ 7272 h 9981"/>
                    <a:gd name="connsiteX160" fmla="*/ 4111 w 10000"/>
                    <a:gd name="connsiteY160" fmla="*/ 7214 h 9981"/>
                    <a:gd name="connsiteX161" fmla="*/ 4111 w 10000"/>
                    <a:gd name="connsiteY161" fmla="*/ 7214 h 9981"/>
                    <a:gd name="connsiteX162" fmla="*/ 4278 w 10000"/>
                    <a:gd name="connsiteY162" fmla="*/ 7154 h 9981"/>
                    <a:gd name="connsiteX163" fmla="*/ 4389 w 10000"/>
                    <a:gd name="connsiteY163" fmla="*/ 7135 h 9981"/>
                    <a:gd name="connsiteX164" fmla="*/ 4389 w 10000"/>
                    <a:gd name="connsiteY164" fmla="*/ 7135 h 9981"/>
                    <a:gd name="connsiteX165" fmla="*/ 4000 w 10000"/>
                    <a:gd name="connsiteY165" fmla="*/ 7135 h 9981"/>
                    <a:gd name="connsiteX166" fmla="*/ 3722 w 10000"/>
                    <a:gd name="connsiteY166" fmla="*/ 7154 h 9981"/>
                    <a:gd name="connsiteX167" fmla="*/ 3611 w 10000"/>
                    <a:gd name="connsiteY167" fmla="*/ 7175 h 9981"/>
                    <a:gd name="connsiteX168" fmla="*/ 3556 w 10000"/>
                    <a:gd name="connsiteY168" fmla="*/ 7196 h 9981"/>
                    <a:gd name="connsiteX169" fmla="*/ 3556 w 10000"/>
                    <a:gd name="connsiteY169" fmla="*/ 7196 h 9981"/>
                    <a:gd name="connsiteX170" fmla="*/ 3444 w 10000"/>
                    <a:gd name="connsiteY170" fmla="*/ 7272 h 9981"/>
                    <a:gd name="connsiteX171" fmla="*/ 3278 w 10000"/>
                    <a:gd name="connsiteY171" fmla="*/ 7393 h 9981"/>
                    <a:gd name="connsiteX172" fmla="*/ 3000 w 10000"/>
                    <a:gd name="connsiteY172" fmla="*/ 7530 h 9981"/>
                    <a:gd name="connsiteX173" fmla="*/ 2667 w 10000"/>
                    <a:gd name="connsiteY173" fmla="*/ 7630 h 9981"/>
                    <a:gd name="connsiteX174" fmla="*/ 2667 w 10000"/>
                    <a:gd name="connsiteY174" fmla="*/ 7630 h 9981"/>
                    <a:gd name="connsiteX175" fmla="*/ 2333 w 10000"/>
                    <a:gd name="connsiteY175" fmla="*/ 7710 h 9981"/>
                    <a:gd name="connsiteX176" fmla="*/ 1833 w 10000"/>
                    <a:gd name="connsiteY176" fmla="*/ 7788 h 9981"/>
                    <a:gd name="connsiteX177" fmla="*/ 1389 w 10000"/>
                    <a:gd name="connsiteY177" fmla="*/ 7828 h 9981"/>
                    <a:gd name="connsiteX178" fmla="*/ 889 w 10000"/>
                    <a:gd name="connsiteY178" fmla="*/ 7847 h 9981"/>
                    <a:gd name="connsiteX179" fmla="*/ 889 w 10000"/>
                    <a:gd name="connsiteY179" fmla="*/ 7847 h 9981"/>
                    <a:gd name="connsiteX180" fmla="*/ 500 w 10000"/>
                    <a:gd name="connsiteY180" fmla="*/ 7869 h 9981"/>
                    <a:gd name="connsiteX181" fmla="*/ 222 w 10000"/>
                    <a:gd name="connsiteY181" fmla="*/ 7887 h 9981"/>
                    <a:gd name="connsiteX182" fmla="*/ 0 w 10000"/>
                    <a:gd name="connsiteY182" fmla="*/ 7906 h 9981"/>
                    <a:gd name="connsiteX183" fmla="*/ 0 w 10000"/>
                    <a:gd name="connsiteY183" fmla="*/ 7906 h 9981"/>
                    <a:gd name="connsiteX184" fmla="*/ 278 w 10000"/>
                    <a:gd name="connsiteY184" fmla="*/ 8223 h 9981"/>
                    <a:gd name="connsiteX185" fmla="*/ 500 w 10000"/>
                    <a:gd name="connsiteY185" fmla="*/ 8457 h 9981"/>
                    <a:gd name="connsiteX186" fmla="*/ 722 w 10000"/>
                    <a:gd name="connsiteY186" fmla="*/ 8657 h 9981"/>
                    <a:gd name="connsiteX187" fmla="*/ 722 w 10000"/>
                    <a:gd name="connsiteY187" fmla="*/ 8657 h 9981"/>
                    <a:gd name="connsiteX188" fmla="*/ 889 w 10000"/>
                    <a:gd name="connsiteY188" fmla="*/ 8776 h 9981"/>
                    <a:gd name="connsiteX189" fmla="*/ 944 w 10000"/>
                    <a:gd name="connsiteY189" fmla="*/ 8876 h 9981"/>
                    <a:gd name="connsiteX190" fmla="*/ 1111 w 10000"/>
                    <a:gd name="connsiteY190" fmla="*/ 8976 h 9981"/>
                    <a:gd name="connsiteX191" fmla="*/ 1333 w 10000"/>
                    <a:gd name="connsiteY191" fmla="*/ 9130 h 9981"/>
                    <a:gd name="connsiteX192" fmla="*/ 1333 w 10000"/>
                    <a:gd name="connsiteY192" fmla="*/ 9130 h 9981"/>
                    <a:gd name="connsiteX193" fmla="*/ 1444 w 10000"/>
                    <a:gd name="connsiteY193" fmla="*/ 9210 h 9981"/>
                    <a:gd name="connsiteX194" fmla="*/ 1500 w 10000"/>
                    <a:gd name="connsiteY194" fmla="*/ 9269 h 9981"/>
                    <a:gd name="connsiteX195" fmla="*/ 1500 w 10000"/>
                    <a:gd name="connsiteY195" fmla="*/ 9327 h 9981"/>
                    <a:gd name="connsiteX196" fmla="*/ 1556 w 10000"/>
                    <a:gd name="connsiteY196" fmla="*/ 9350 h 9981"/>
                    <a:gd name="connsiteX197" fmla="*/ 1722 w 10000"/>
                    <a:gd name="connsiteY197" fmla="*/ 9367 h 9981"/>
                    <a:gd name="connsiteX198" fmla="*/ 1944 w 10000"/>
                    <a:gd name="connsiteY198" fmla="*/ 9387 h 9981"/>
                    <a:gd name="connsiteX199" fmla="*/ 2944 w 10000"/>
                    <a:gd name="connsiteY199" fmla="*/ 9407 h 9981"/>
                    <a:gd name="connsiteX200" fmla="*/ 2944 w 10000"/>
                    <a:gd name="connsiteY200" fmla="*/ 9407 h 9981"/>
                    <a:gd name="connsiteX201" fmla="*/ 4167 w 10000"/>
                    <a:gd name="connsiteY201" fmla="*/ 9447 h 9981"/>
                    <a:gd name="connsiteX202" fmla="*/ 4889 w 10000"/>
                    <a:gd name="connsiteY202" fmla="*/ 9506 h 9981"/>
                    <a:gd name="connsiteX203" fmla="*/ 5278 w 10000"/>
                    <a:gd name="connsiteY203" fmla="*/ 9568 h 9981"/>
                    <a:gd name="connsiteX204" fmla="*/ 5444 w 10000"/>
                    <a:gd name="connsiteY204" fmla="*/ 9584 h 9981"/>
                    <a:gd name="connsiteX205" fmla="*/ 5444 w 10000"/>
                    <a:gd name="connsiteY205" fmla="*/ 9584 h 9981"/>
                    <a:gd name="connsiteX206" fmla="*/ 5722 w 10000"/>
                    <a:gd name="connsiteY206" fmla="*/ 9627 h 9981"/>
                    <a:gd name="connsiteX207" fmla="*/ 5833 w 10000"/>
                    <a:gd name="connsiteY207" fmla="*/ 9648 h 9981"/>
                    <a:gd name="connsiteX208" fmla="*/ 5833 w 10000"/>
                    <a:gd name="connsiteY208" fmla="*/ 9648 h 9981"/>
                    <a:gd name="connsiteX209" fmla="*/ 5833 w 10000"/>
                    <a:gd name="connsiteY209" fmla="*/ 9627 h 9981"/>
                    <a:gd name="connsiteX210" fmla="*/ 5889 w 10000"/>
                    <a:gd name="connsiteY210" fmla="*/ 9606 h 9981"/>
                    <a:gd name="connsiteX211" fmla="*/ 6000 w 10000"/>
                    <a:gd name="connsiteY211" fmla="*/ 9584 h 9981"/>
                    <a:gd name="connsiteX212" fmla="*/ 6167 w 10000"/>
                    <a:gd name="connsiteY212" fmla="*/ 9568 h 9981"/>
                    <a:gd name="connsiteX213" fmla="*/ 6444 w 10000"/>
                    <a:gd name="connsiteY213" fmla="*/ 9568 h 9981"/>
                    <a:gd name="connsiteX214" fmla="*/ 6833 w 10000"/>
                    <a:gd name="connsiteY214" fmla="*/ 9584 h 9981"/>
                    <a:gd name="connsiteX215" fmla="*/ 7278 w 10000"/>
                    <a:gd name="connsiteY215" fmla="*/ 9648 h 9981"/>
                    <a:gd name="connsiteX216" fmla="*/ 7278 w 10000"/>
                    <a:gd name="connsiteY216" fmla="*/ 9648 h 9981"/>
                    <a:gd name="connsiteX217" fmla="*/ 8722 w 10000"/>
                    <a:gd name="connsiteY217" fmla="*/ 9821 h 9981"/>
                    <a:gd name="connsiteX218" fmla="*/ 10000 w 10000"/>
                    <a:gd name="connsiteY218" fmla="*/ 9981 h 9981"/>
                    <a:gd name="connsiteX0" fmla="*/ 10000 w 10000"/>
                    <a:gd name="connsiteY0" fmla="*/ 8652 h 10000"/>
                    <a:gd name="connsiteX1" fmla="*/ 10000 w 10000"/>
                    <a:gd name="connsiteY1" fmla="*/ 8652 h 10000"/>
                    <a:gd name="connsiteX2" fmla="*/ 9222 w 10000"/>
                    <a:gd name="connsiteY2" fmla="*/ 8673 h 10000"/>
                    <a:gd name="connsiteX3" fmla="*/ 8944 w 10000"/>
                    <a:gd name="connsiteY3" fmla="*/ 8673 h 10000"/>
                    <a:gd name="connsiteX4" fmla="*/ 8833 w 10000"/>
                    <a:gd name="connsiteY4" fmla="*/ 8652 h 10000"/>
                    <a:gd name="connsiteX5" fmla="*/ 8778 w 10000"/>
                    <a:gd name="connsiteY5" fmla="*/ 8634 h 10000"/>
                    <a:gd name="connsiteX6" fmla="*/ 8778 w 10000"/>
                    <a:gd name="connsiteY6" fmla="*/ 8634 h 10000"/>
                    <a:gd name="connsiteX7" fmla="*/ 8444 w 10000"/>
                    <a:gd name="connsiteY7" fmla="*/ 8395 h 10000"/>
                    <a:gd name="connsiteX8" fmla="*/ 8167 w 10000"/>
                    <a:gd name="connsiteY8" fmla="*/ 8177 h 10000"/>
                    <a:gd name="connsiteX9" fmla="*/ 8167 w 10000"/>
                    <a:gd name="connsiteY9" fmla="*/ 8177 h 10000"/>
                    <a:gd name="connsiteX10" fmla="*/ 8056 w 10000"/>
                    <a:gd name="connsiteY10" fmla="*/ 8140 h 10000"/>
                    <a:gd name="connsiteX11" fmla="*/ 7889 w 10000"/>
                    <a:gd name="connsiteY11" fmla="*/ 8101 h 10000"/>
                    <a:gd name="connsiteX12" fmla="*/ 7444 w 10000"/>
                    <a:gd name="connsiteY12" fmla="*/ 8077 h 10000"/>
                    <a:gd name="connsiteX13" fmla="*/ 6889 w 10000"/>
                    <a:gd name="connsiteY13" fmla="*/ 8060 h 10000"/>
                    <a:gd name="connsiteX14" fmla="*/ 6389 w 10000"/>
                    <a:gd name="connsiteY14" fmla="*/ 8060 h 10000"/>
                    <a:gd name="connsiteX15" fmla="*/ 6389 w 10000"/>
                    <a:gd name="connsiteY15" fmla="*/ 8060 h 10000"/>
                    <a:gd name="connsiteX16" fmla="*/ 6167 w 10000"/>
                    <a:gd name="connsiteY16" fmla="*/ 8038 h 10000"/>
                    <a:gd name="connsiteX17" fmla="*/ 6056 w 10000"/>
                    <a:gd name="connsiteY17" fmla="*/ 8001 h 10000"/>
                    <a:gd name="connsiteX18" fmla="*/ 6000 w 10000"/>
                    <a:gd name="connsiteY18" fmla="*/ 7961 h 10000"/>
                    <a:gd name="connsiteX19" fmla="*/ 6000 w 10000"/>
                    <a:gd name="connsiteY19" fmla="*/ 7884 h 10000"/>
                    <a:gd name="connsiteX20" fmla="*/ 6056 w 10000"/>
                    <a:gd name="connsiteY20" fmla="*/ 7725 h 10000"/>
                    <a:gd name="connsiteX21" fmla="*/ 6111 w 10000"/>
                    <a:gd name="connsiteY21" fmla="*/ 7645 h 10000"/>
                    <a:gd name="connsiteX22" fmla="*/ 6056 w 10000"/>
                    <a:gd name="connsiteY22" fmla="*/ 7544 h 10000"/>
                    <a:gd name="connsiteX23" fmla="*/ 6056 w 10000"/>
                    <a:gd name="connsiteY23" fmla="*/ 7544 h 10000"/>
                    <a:gd name="connsiteX24" fmla="*/ 6000 w 10000"/>
                    <a:gd name="connsiteY24" fmla="*/ 7485 h 10000"/>
                    <a:gd name="connsiteX25" fmla="*/ 5944 w 10000"/>
                    <a:gd name="connsiteY25" fmla="*/ 7446 h 10000"/>
                    <a:gd name="connsiteX26" fmla="*/ 5833 w 10000"/>
                    <a:gd name="connsiteY26" fmla="*/ 7446 h 10000"/>
                    <a:gd name="connsiteX27" fmla="*/ 5667 w 10000"/>
                    <a:gd name="connsiteY27" fmla="*/ 7464 h 10000"/>
                    <a:gd name="connsiteX28" fmla="*/ 5333 w 10000"/>
                    <a:gd name="connsiteY28" fmla="*/ 7524 h 10000"/>
                    <a:gd name="connsiteX29" fmla="*/ 4889 w 10000"/>
                    <a:gd name="connsiteY29" fmla="*/ 7624 h 10000"/>
                    <a:gd name="connsiteX30" fmla="*/ 4889 w 10000"/>
                    <a:gd name="connsiteY30" fmla="*/ 7624 h 10000"/>
                    <a:gd name="connsiteX31" fmla="*/ 4611 w 10000"/>
                    <a:gd name="connsiteY31" fmla="*/ 7645 h 10000"/>
                    <a:gd name="connsiteX32" fmla="*/ 4500 w 10000"/>
                    <a:gd name="connsiteY32" fmla="*/ 7645 h 10000"/>
                    <a:gd name="connsiteX33" fmla="*/ 4444 w 10000"/>
                    <a:gd name="connsiteY33" fmla="*/ 7624 h 10000"/>
                    <a:gd name="connsiteX34" fmla="*/ 4389 w 10000"/>
                    <a:gd name="connsiteY34" fmla="*/ 7544 h 10000"/>
                    <a:gd name="connsiteX35" fmla="*/ 4222 w 10000"/>
                    <a:gd name="connsiteY35" fmla="*/ 7446 h 10000"/>
                    <a:gd name="connsiteX36" fmla="*/ 4222 w 10000"/>
                    <a:gd name="connsiteY36" fmla="*/ 7446 h 10000"/>
                    <a:gd name="connsiteX37" fmla="*/ 4111 w 10000"/>
                    <a:gd name="connsiteY37" fmla="*/ 7385 h 10000"/>
                    <a:gd name="connsiteX38" fmla="*/ 4111 w 10000"/>
                    <a:gd name="connsiteY38" fmla="*/ 7326 h 10000"/>
                    <a:gd name="connsiteX39" fmla="*/ 4111 w 10000"/>
                    <a:gd name="connsiteY39" fmla="*/ 7286 h 10000"/>
                    <a:gd name="connsiteX40" fmla="*/ 4167 w 10000"/>
                    <a:gd name="connsiteY40" fmla="*/ 7247 h 10000"/>
                    <a:gd name="connsiteX41" fmla="*/ 4278 w 10000"/>
                    <a:gd name="connsiteY41" fmla="*/ 7168 h 10000"/>
                    <a:gd name="connsiteX42" fmla="*/ 4389 w 10000"/>
                    <a:gd name="connsiteY42" fmla="*/ 7149 h 10000"/>
                    <a:gd name="connsiteX43" fmla="*/ 4389 w 10000"/>
                    <a:gd name="connsiteY43" fmla="*/ 7149 h 10000"/>
                    <a:gd name="connsiteX44" fmla="*/ 4389 w 10000"/>
                    <a:gd name="connsiteY44" fmla="*/ 7128 h 10000"/>
                    <a:gd name="connsiteX45" fmla="*/ 4444 w 10000"/>
                    <a:gd name="connsiteY45" fmla="*/ 7111 h 10000"/>
                    <a:gd name="connsiteX46" fmla="*/ 4667 w 10000"/>
                    <a:gd name="connsiteY46" fmla="*/ 7088 h 10000"/>
                    <a:gd name="connsiteX47" fmla="*/ 5333 w 10000"/>
                    <a:gd name="connsiteY47" fmla="*/ 7051 h 10000"/>
                    <a:gd name="connsiteX48" fmla="*/ 6500 w 10000"/>
                    <a:gd name="connsiteY48" fmla="*/ 6990 h 10000"/>
                    <a:gd name="connsiteX49" fmla="*/ 6500 w 10000"/>
                    <a:gd name="connsiteY49" fmla="*/ 6990 h 10000"/>
                    <a:gd name="connsiteX50" fmla="*/ 7167 w 10000"/>
                    <a:gd name="connsiteY50" fmla="*/ 6932 h 10000"/>
                    <a:gd name="connsiteX51" fmla="*/ 8389 w 10000"/>
                    <a:gd name="connsiteY51" fmla="*/ 6813 h 10000"/>
                    <a:gd name="connsiteX52" fmla="*/ 8389 w 10000"/>
                    <a:gd name="connsiteY52" fmla="*/ 6813 h 10000"/>
                    <a:gd name="connsiteX53" fmla="*/ 8667 w 10000"/>
                    <a:gd name="connsiteY53" fmla="*/ 6771 h 10000"/>
                    <a:gd name="connsiteX54" fmla="*/ 8778 w 10000"/>
                    <a:gd name="connsiteY54" fmla="*/ 6711 h 10000"/>
                    <a:gd name="connsiteX55" fmla="*/ 8889 w 10000"/>
                    <a:gd name="connsiteY55" fmla="*/ 6673 h 10000"/>
                    <a:gd name="connsiteX56" fmla="*/ 8833 w 10000"/>
                    <a:gd name="connsiteY56" fmla="*/ 6633 h 10000"/>
                    <a:gd name="connsiteX57" fmla="*/ 8833 w 10000"/>
                    <a:gd name="connsiteY57" fmla="*/ 6596 h 10000"/>
                    <a:gd name="connsiteX58" fmla="*/ 8722 w 10000"/>
                    <a:gd name="connsiteY58" fmla="*/ 6553 h 10000"/>
                    <a:gd name="connsiteX59" fmla="*/ 8556 w 10000"/>
                    <a:gd name="connsiteY59" fmla="*/ 6493 h 10000"/>
                    <a:gd name="connsiteX60" fmla="*/ 8556 w 10000"/>
                    <a:gd name="connsiteY60" fmla="*/ 6493 h 10000"/>
                    <a:gd name="connsiteX61" fmla="*/ 6556 w 10000"/>
                    <a:gd name="connsiteY61" fmla="*/ 6142 h 10000"/>
                    <a:gd name="connsiteX62" fmla="*/ 6556 w 10000"/>
                    <a:gd name="connsiteY62" fmla="*/ 6142 h 10000"/>
                    <a:gd name="connsiteX63" fmla="*/ 6333 w 10000"/>
                    <a:gd name="connsiteY63" fmla="*/ 6081 h 10000"/>
                    <a:gd name="connsiteX64" fmla="*/ 6167 w 10000"/>
                    <a:gd name="connsiteY64" fmla="*/ 6020 h 10000"/>
                    <a:gd name="connsiteX65" fmla="*/ 6056 w 10000"/>
                    <a:gd name="connsiteY65" fmla="*/ 5959 h 10000"/>
                    <a:gd name="connsiteX66" fmla="*/ 6056 w 10000"/>
                    <a:gd name="connsiteY66" fmla="*/ 5959 h 10000"/>
                    <a:gd name="connsiteX67" fmla="*/ 8056 w 10000"/>
                    <a:gd name="connsiteY67" fmla="*/ 5940 h 10000"/>
                    <a:gd name="connsiteX68" fmla="*/ 10000 w 10000"/>
                    <a:gd name="connsiteY68" fmla="*/ 6142 h 10000"/>
                    <a:gd name="connsiteX69" fmla="*/ 10000 w 10000"/>
                    <a:gd name="connsiteY69" fmla="*/ 4337 h 10000"/>
                    <a:gd name="connsiteX70" fmla="*/ 10000 w 10000"/>
                    <a:gd name="connsiteY70" fmla="*/ 4337 h 10000"/>
                    <a:gd name="connsiteX71" fmla="*/ 7778 w 10000"/>
                    <a:gd name="connsiteY71" fmla="*/ 3922 h 10000"/>
                    <a:gd name="connsiteX72" fmla="*/ 6556 w 10000"/>
                    <a:gd name="connsiteY72" fmla="*/ 3682 h 10000"/>
                    <a:gd name="connsiteX73" fmla="*/ 6556 w 10000"/>
                    <a:gd name="connsiteY73" fmla="*/ 3682 h 10000"/>
                    <a:gd name="connsiteX74" fmla="*/ 6556 w 10000"/>
                    <a:gd name="connsiteY74" fmla="*/ 3663 h 10000"/>
                    <a:gd name="connsiteX75" fmla="*/ 6556 w 10000"/>
                    <a:gd name="connsiteY75" fmla="*/ 3544 h 10000"/>
                    <a:gd name="connsiteX76" fmla="*/ 6556 w 10000"/>
                    <a:gd name="connsiteY76" fmla="*/ 3544 h 10000"/>
                    <a:gd name="connsiteX77" fmla="*/ 6389 w 10000"/>
                    <a:gd name="connsiteY77" fmla="*/ 3408 h 10000"/>
                    <a:gd name="connsiteX78" fmla="*/ 6056 w 10000"/>
                    <a:gd name="connsiteY78" fmla="*/ 3188 h 10000"/>
                    <a:gd name="connsiteX79" fmla="*/ 5333 w 10000"/>
                    <a:gd name="connsiteY79" fmla="*/ 2770 h 10000"/>
                    <a:gd name="connsiteX80" fmla="*/ 5333 w 10000"/>
                    <a:gd name="connsiteY80" fmla="*/ 2770 h 10000"/>
                    <a:gd name="connsiteX81" fmla="*/ 5167 w 10000"/>
                    <a:gd name="connsiteY81" fmla="*/ 2711 h 10000"/>
                    <a:gd name="connsiteX82" fmla="*/ 4889 w 10000"/>
                    <a:gd name="connsiteY82" fmla="*/ 2632 h 10000"/>
                    <a:gd name="connsiteX83" fmla="*/ 4056 w 10000"/>
                    <a:gd name="connsiteY83" fmla="*/ 2456 h 10000"/>
                    <a:gd name="connsiteX84" fmla="*/ 2889 w 10000"/>
                    <a:gd name="connsiteY84" fmla="*/ 2239 h 10000"/>
                    <a:gd name="connsiteX85" fmla="*/ 2889 w 10000"/>
                    <a:gd name="connsiteY85" fmla="*/ 2239 h 10000"/>
                    <a:gd name="connsiteX86" fmla="*/ 2389 w 10000"/>
                    <a:gd name="connsiteY86" fmla="*/ 2217 h 10000"/>
                    <a:gd name="connsiteX87" fmla="*/ 2000 w 10000"/>
                    <a:gd name="connsiteY87" fmla="*/ 2198 h 10000"/>
                    <a:gd name="connsiteX88" fmla="*/ 1889 w 10000"/>
                    <a:gd name="connsiteY88" fmla="*/ 2179 h 10000"/>
                    <a:gd name="connsiteX89" fmla="*/ 1778 w 10000"/>
                    <a:gd name="connsiteY89" fmla="*/ 2157 h 10000"/>
                    <a:gd name="connsiteX90" fmla="*/ 1778 w 10000"/>
                    <a:gd name="connsiteY90" fmla="*/ 2157 h 10000"/>
                    <a:gd name="connsiteX91" fmla="*/ 1667 w 10000"/>
                    <a:gd name="connsiteY91" fmla="*/ 2079 h 10000"/>
                    <a:gd name="connsiteX92" fmla="*/ 1500 w 10000"/>
                    <a:gd name="connsiteY92" fmla="*/ 1941 h 10000"/>
                    <a:gd name="connsiteX93" fmla="*/ 1444 w 10000"/>
                    <a:gd name="connsiteY93" fmla="*/ 1861 h 10000"/>
                    <a:gd name="connsiteX94" fmla="*/ 1444 w 10000"/>
                    <a:gd name="connsiteY94" fmla="*/ 1782 h 10000"/>
                    <a:gd name="connsiteX95" fmla="*/ 1444 w 10000"/>
                    <a:gd name="connsiteY95" fmla="*/ 1723 h 10000"/>
                    <a:gd name="connsiteX96" fmla="*/ 1556 w 10000"/>
                    <a:gd name="connsiteY96" fmla="*/ 1663 h 10000"/>
                    <a:gd name="connsiteX97" fmla="*/ 1556 w 10000"/>
                    <a:gd name="connsiteY97" fmla="*/ 1663 h 10000"/>
                    <a:gd name="connsiteX98" fmla="*/ 1833 w 10000"/>
                    <a:gd name="connsiteY98" fmla="*/ 1565 h 10000"/>
                    <a:gd name="connsiteX99" fmla="*/ 2111 w 10000"/>
                    <a:gd name="connsiteY99" fmla="*/ 1463 h 10000"/>
                    <a:gd name="connsiteX100" fmla="*/ 2278 w 10000"/>
                    <a:gd name="connsiteY100" fmla="*/ 1406 h 10000"/>
                    <a:gd name="connsiteX101" fmla="*/ 2389 w 10000"/>
                    <a:gd name="connsiteY101" fmla="*/ 1347 h 10000"/>
                    <a:gd name="connsiteX102" fmla="*/ 2389 w 10000"/>
                    <a:gd name="connsiteY102" fmla="*/ 1267 h 10000"/>
                    <a:gd name="connsiteX103" fmla="*/ 2389 w 10000"/>
                    <a:gd name="connsiteY103" fmla="*/ 1170 h 10000"/>
                    <a:gd name="connsiteX104" fmla="*/ 2389 w 10000"/>
                    <a:gd name="connsiteY104" fmla="*/ 1170 h 10000"/>
                    <a:gd name="connsiteX105" fmla="*/ 2167 w 10000"/>
                    <a:gd name="connsiteY105" fmla="*/ 891 h 10000"/>
                    <a:gd name="connsiteX106" fmla="*/ 1889 w 10000"/>
                    <a:gd name="connsiteY106" fmla="*/ 514 h 10000"/>
                    <a:gd name="connsiteX107" fmla="*/ 1667 w 10000"/>
                    <a:gd name="connsiteY107" fmla="*/ 178 h 10000"/>
                    <a:gd name="connsiteX108" fmla="*/ 1611 w 10000"/>
                    <a:gd name="connsiteY108" fmla="*/ 80 h 10000"/>
                    <a:gd name="connsiteX109" fmla="*/ 1611 w 10000"/>
                    <a:gd name="connsiteY109" fmla="*/ 42 h 10000"/>
                    <a:gd name="connsiteX110" fmla="*/ 1667 w 10000"/>
                    <a:gd name="connsiteY110" fmla="*/ 18 h 10000"/>
                    <a:gd name="connsiteX111" fmla="*/ 1667 w 10000"/>
                    <a:gd name="connsiteY111" fmla="*/ 18 h 10000"/>
                    <a:gd name="connsiteX112" fmla="*/ 2222 w 10000"/>
                    <a:gd name="connsiteY112" fmla="*/ 0 h 10000"/>
                    <a:gd name="connsiteX113" fmla="*/ 2389 w 10000"/>
                    <a:gd name="connsiteY113" fmla="*/ 18 h 10000"/>
                    <a:gd name="connsiteX114" fmla="*/ 2389 w 10000"/>
                    <a:gd name="connsiteY114" fmla="*/ 18 h 10000"/>
                    <a:gd name="connsiteX115" fmla="*/ 2444 w 10000"/>
                    <a:gd name="connsiteY115" fmla="*/ 18 h 10000"/>
                    <a:gd name="connsiteX116" fmla="*/ 10000 w 10000"/>
                    <a:gd name="connsiteY116" fmla="*/ 8673 h 10000"/>
                    <a:gd name="connsiteX117" fmla="*/ 10000 w 10000"/>
                    <a:gd name="connsiteY117" fmla="*/ 8673 h 10000"/>
                    <a:gd name="connsiteX118" fmla="*/ 9722 w 10000"/>
                    <a:gd name="connsiteY118" fmla="*/ 8652 h 10000"/>
                    <a:gd name="connsiteX119" fmla="*/ 9389 w 10000"/>
                    <a:gd name="connsiteY119" fmla="*/ 8673 h 10000"/>
                    <a:gd name="connsiteX120" fmla="*/ 9389 w 10000"/>
                    <a:gd name="connsiteY120" fmla="*/ 8673 h 10000"/>
                    <a:gd name="connsiteX121" fmla="*/ 9278 w 10000"/>
                    <a:gd name="connsiteY121" fmla="*/ 8696 h 10000"/>
                    <a:gd name="connsiteX122" fmla="*/ 9056 w 10000"/>
                    <a:gd name="connsiteY122" fmla="*/ 8673 h 10000"/>
                    <a:gd name="connsiteX123" fmla="*/ 8889 w 10000"/>
                    <a:gd name="connsiteY123" fmla="*/ 8652 h 10000"/>
                    <a:gd name="connsiteX124" fmla="*/ 8722 w 10000"/>
                    <a:gd name="connsiteY124" fmla="*/ 8614 h 10000"/>
                    <a:gd name="connsiteX125" fmla="*/ 8611 w 10000"/>
                    <a:gd name="connsiteY125" fmla="*/ 8553 h 10000"/>
                    <a:gd name="connsiteX126" fmla="*/ 8444 w 10000"/>
                    <a:gd name="connsiteY126" fmla="*/ 8455 h 10000"/>
                    <a:gd name="connsiteX127" fmla="*/ 8444 w 10000"/>
                    <a:gd name="connsiteY127" fmla="*/ 8455 h 10000"/>
                    <a:gd name="connsiteX128" fmla="*/ 8222 w 10000"/>
                    <a:gd name="connsiteY128" fmla="*/ 8279 h 10000"/>
                    <a:gd name="connsiteX129" fmla="*/ 8111 w 10000"/>
                    <a:gd name="connsiteY129" fmla="*/ 8200 h 10000"/>
                    <a:gd name="connsiteX130" fmla="*/ 7944 w 10000"/>
                    <a:gd name="connsiteY130" fmla="*/ 8140 h 10000"/>
                    <a:gd name="connsiteX131" fmla="*/ 7778 w 10000"/>
                    <a:gd name="connsiteY131" fmla="*/ 8101 h 10000"/>
                    <a:gd name="connsiteX132" fmla="*/ 7556 w 10000"/>
                    <a:gd name="connsiteY132" fmla="*/ 8077 h 10000"/>
                    <a:gd name="connsiteX133" fmla="*/ 7333 w 10000"/>
                    <a:gd name="connsiteY133" fmla="*/ 8060 h 10000"/>
                    <a:gd name="connsiteX134" fmla="*/ 7000 w 10000"/>
                    <a:gd name="connsiteY134" fmla="*/ 8038 h 10000"/>
                    <a:gd name="connsiteX135" fmla="*/ 7000 w 10000"/>
                    <a:gd name="connsiteY135" fmla="*/ 8038 h 10000"/>
                    <a:gd name="connsiteX136" fmla="*/ 6556 w 10000"/>
                    <a:gd name="connsiteY136" fmla="*/ 8060 h 10000"/>
                    <a:gd name="connsiteX137" fmla="*/ 6222 w 10000"/>
                    <a:gd name="connsiteY137" fmla="*/ 8060 h 10000"/>
                    <a:gd name="connsiteX138" fmla="*/ 6111 w 10000"/>
                    <a:gd name="connsiteY138" fmla="*/ 8038 h 10000"/>
                    <a:gd name="connsiteX139" fmla="*/ 6056 w 10000"/>
                    <a:gd name="connsiteY139" fmla="*/ 8019 h 10000"/>
                    <a:gd name="connsiteX140" fmla="*/ 6056 w 10000"/>
                    <a:gd name="connsiteY140" fmla="*/ 8019 h 10000"/>
                    <a:gd name="connsiteX141" fmla="*/ 6056 w 10000"/>
                    <a:gd name="connsiteY141" fmla="*/ 7665 h 10000"/>
                    <a:gd name="connsiteX142" fmla="*/ 6056 w 10000"/>
                    <a:gd name="connsiteY142" fmla="*/ 7665 h 10000"/>
                    <a:gd name="connsiteX143" fmla="*/ 6056 w 10000"/>
                    <a:gd name="connsiteY143" fmla="*/ 7582 h 10000"/>
                    <a:gd name="connsiteX144" fmla="*/ 5944 w 10000"/>
                    <a:gd name="connsiteY144" fmla="*/ 7485 h 10000"/>
                    <a:gd name="connsiteX145" fmla="*/ 5889 w 10000"/>
                    <a:gd name="connsiteY145" fmla="*/ 7464 h 10000"/>
                    <a:gd name="connsiteX146" fmla="*/ 5778 w 10000"/>
                    <a:gd name="connsiteY146" fmla="*/ 7446 h 10000"/>
                    <a:gd name="connsiteX147" fmla="*/ 5667 w 10000"/>
                    <a:gd name="connsiteY147" fmla="*/ 7446 h 10000"/>
                    <a:gd name="connsiteX148" fmla="*/ 5500 w 10000"/>
                    <a:gd name="connsiteY148" fmla="*/ 7464 h 10000"/>
                    <a:gd name="connsiteX149" fmla="*/ 5500 w 10000"/>
                    <a:gd name="connsiteY149" fmla="*/ 7464 h 10000"/>
                    <a:gd name="connsiteX150" fmla="*/ 4889 w 10000"/>
                    <a:gd name="connsiteY150" fmla="*/ 7603 h 10000"/>
                    <a:gd name="connsiteX151" fmla="*/ 4611 w 10000"/>
                    <a:gd name="connsiteY151" fmla="*/ 7645 h 10000"/>
                    <a:gd name="connsiteX152" fmla="*/ 4556 w 10000"/>
                    <a:gd name="connsiteY152" fmla="*/ 7665 h 10000"/>
                    <a:gd name="connsiteX153" fmla="*/ 4500 w 10000"/>
                    <a:gd name="connsiteY153" fmla="*/ 7645 h 10000"/>
                    <a:gd name="connsiteX154" fmla="*/ 4500 w 10000"/>
                    <a:gd name="connsiteY154" fmla="*/ 7645 h 10000"/>
                    <a:gd name="connsiteX155" fmla="*/ 4222 w 10000"/>
                    <a:gd name="connsiteY155" fmla="*/ 7446 h 10000"/>
                    <a:gd name="connsiteX156" fmla="*/ 4222 w 10000"/>
                    <a:gd name="connsiteY156" fmla="*/ 7446 h 10000"/>
                    <a:gd name="connsiteX157" fmla="*/ 4111 w 10000"/>
                    <a:gd name="connsiteY157" fmla="*/ 7347 h 10000"/>
                    <a:gd name="connsiteX158" fmla="*/ 4111 w 10000"/>
                    <a:gd name="connsiteY158" fmla="*/ 7286 h 10000"/>
                    <a:gd name="connsiteX159" fmla="*/ 4111 w 10000"/>
                    <a:gd name="connsiteY159" fmla="*/ 7228 h 10000"/>
                    <a:gd name="connsiteX160" fmla="*/ 4111 w 10000"/>
                    <a:gd name="connsiteY160" fmla="*/ 7228 h 10000"/>
                    <a:gd name="connsiteX161" fmla="*/ 4278 w 10000"/>
                    <a:gd name="connsiteY161" fmla="*/ 7168 h 10000"/>
                    <a:gd name="connsiteX162" fmla="*/ 4389 w 10000"/>
                    <a:gd name="connsiteY162" fmla="*/ 7149 h 10000"/>
                    <a:gd name="connsiteX163" fmla="*/ 4389 w 10000"/>
                    <a:gd name="connsiteY163" fmla="*/ 7149 h 10000"/>
                    <a:gd name="connsiteX164" fmla="*/ 4000 w 10000"/>
                    <a:gd name="connsiteY164" fmla="*/ 7149 h 10000"/>
                    <a:gd name="connsiteX165" fmla="*/ 3722 w 10000"/>
                    <a:gd name="connsiteY165" fmla="*/ 7168 h 10000"/>
                    <a:gd name="connsiteX166" fmla="*/ 3611 w 10000"/>
                    <a:gd name="connsiteY166" fmla="*/ 7189 h 10000"/>
                    <a:gd name="connsiteX167" fmla="*/ 3556 w 10000"/>
                    <a:gd name="connsiteY167" fmla="*/ 7210 h 10000"/>
                    <a:gd name="connsiteX168" fmla="*/ 3556 w 10000"/>
                    <a:gd name="connsiteY168" fmla="*/ 7210 h 10000"/>
                    <a:gd name="connsiteX169" fmla="*/ 3444 w 10000"/>
                    <a:gd name="connsiteY169" fmla="*/ 7286 h 10000"/>
                    <a:gd name="connsiteX170" fmla="*/ 3278 w 10000"/>
                    <a:gd name="connsiteY170" fmla="*/ 7407 h 10000"/>
                    <a:gd name="connsiteX171" fmla="*/ 3000 w 10000"/>
                    <a:gd name="connsiteY171" fmla="*/ 7544 h 10000"/>
                    <a:gd name="connsiteX172" fmla="*/ 2667 w 10000"/>
                    <a:gd name="connsiteY172" fmla="*/ 7645 h 10000"/>
                    <a:gd name="connsiteX173" fmla="*/ 2667 w 10000"/>
                    <a:gd name="connsiteY173" fmla="*/ 7645 h 10000"/>
                    <a:gd name="connsiteX174" fmla="*/ 2333 w 10000"/>
                    <a:gd name="connsiteY174" fmla="*/ 7725 h 10000"/>
                    <a:gd name="connsiteX175" fmla="*/ 1833 w 10000"/>
                    <a:gd name="connsiteY175" fmla="*/ 7803 h 10000"/>
                    <a:gd name="connsiteX176" fmla="*/ 1389 w 10000"/>
                    <a:gd name="connsiteY176" fmla="*/ 7843 h 10000"/>
                    <a:gd name="connsiteX177" fmla="*/ 889 w 10000"/>
                    <a:gd name="connsiteY177" fmla="*/ 7862 h 10000"/>
                    <a:gd name="connsiteX178" fmla="*/ 889 w 10000"/>
                    <a:gd name="connsiteY178" fmla="*/ 7862 h 10000"/>
                    <a:gd name="connsiteX179" fmla="*/ 500 w 10000"/>
                    <a:gd name="connsiteY179" fmla="*/ 7884 h 10000"/>
                    <a:gd name="connsiteX180" fmla="*/ 222 w 10000"/>
                    <a:gd name="connsiteY180" fmla="*/ 7902 h 10000"/>
                    <a:gd name="connsiteX181" fmla="*/ 0 w 10000"/>
                    <a:gd name="connsiteY181" fmla="*/ 7921 h 10000"/>
                    <a:gd name="connsiteX182" fmla="*/ 0 w 10000"/>
                    <a:gd name="connsiteY182" fmla="*/ 7921 h 10000"/>
                    <a:gd name="connsiteX183" fmla="*/ 278 w 10000"/>
                    <a:gd name="connsiteY183" fmla="*/ 8239 h 10000"/>
                    <a:gd name="connsiteX184" fmla="*/ 500 w 10000"/>
                    <a:gd name="connsiteY184" fmla="*/ 8473 h 10000"/>
                    <a:gd name="connsiteX185" fmla="*/ 722 w 10000"/>
                    <a:gd name="connsiteY185" fmla="*/ 8673 h 10000"/>
                    <a:gd name="connsiteX186" fmla="*/ 722 w 10000"/>
                    <a:gd name="connsiteY186" fmla="*/ 8673 h 10000"/>
                    <a:gd name="connsiteX187" fmla="*/ 889 w 10000"/>
                    <a:gd name="connsiteY187" fmla="*/ 8793 h 10000"/>
                    <a:gd name="connsiteX188" fmla="*/ 944 w 10000"/>
                    <a:gd name="connsiteY188" fmla="*/ 8893 h 10000"/>
                    <a:gd name="connsiteX189" fmla="*/ 1111 w 10000"/>
                    <a:gd name="connsiteY189" fmla="*/ 8993 h 10000"/>
                    <a:gd name="connsiteX190" fmla="*/ 1333 w 10000"/>
                    <a:gd name="connsiteY190" fmla="*/ 9147 h 10000"/>
                    <a:gd name="connsiteX191" fmla="*/ 1333 w 10000"/>
                    <a:gd name="connsiteY191" fmla="*/ 9147 h 10000"/>
                    <a:gd name="connsiteX192" fmla="*/ 1444 w 10000"/>
                    <a:gd name="connsiteY192" fmla="*/ 9228 h 10000"/>
                    <a:gd name="connsiteX193" fmla="*/ 1500 w 10000"/>
                    <a:gd name="connsiteY193" fmla="*/ 9287 h 10000"/>
                    <a:gd name="connsiteX194" fmla="*/ 1500 w 10000"/>
                    <a:gd name="connsiteY194" fmla="*/ 9345 h 10000"/>
                    <a:gd name="connsiteX195" fmla="*/ 1556 w 10000"/>
                    <a:gd name="connsiteY195" fmla="*/ 9368 h 10000"/>
                    <a:gd name="connsiteX196" fmla="*/ 1722 w 10000"/>
                    <a:gd name="connsiteY196" fmla="*/ 9385 h 10000"/>
                    <a:gd name="connsiteX197" fmla="*/ 1944 w 10000"/>
                    <a:gd name="connsiteY197" fmla="*/ 9405 h 10000"/>
                    <a:gd name="connsiteX198" fmla="*/ 2944 w 10000"/>
                    <a:gd name="connsiteY198" fmla="*/ 9425 h 10000"/>
                    <a:gd name="connsiteX199" fmla="*/ 2944 w 10000"/>
                    <a:gd name="connsiteY199" fmla="*/ 9425 h 10000"/>
                    <a:gd name="connsiteX200" fmla="*/ 4167 w 10000"/>
                    <a:gd name="connsiteY200" fmla="*/ 9465 h 10000"/>
                    <a:gd name="connsiteX201" fmla="*/ 4889 w 10000"/>
                    <a:gd name="connsiteY201" fmla="*/ 9524 h 10000"/>
                    <a:gd name="connsiteX202" fmla="*/ 5278 w 10000"/>
                    <a:gd name="connsiteY202" fmla="*/ 9586 h 10000"/>
                    <a:gd name="connsiteX203" fmla="*/ 5444 w 10000"/>
                    <a:gd name="connsiteY203" fmla="*/ 9602 h 10000"/>
                    <a:gd name="connsiteX204" fmla="*/ 5444 w 10000"/>
                    <a:gd name="connsiteY204" fmla="*/ 9602 h 10000"/>
                    <a:gd name="connsiteX205" fmla="*/ 5722 w 10000"/>
                    <a:gd name="connsiteY205" fmla="*/ 9645 h 10000"/>
                    <a:gd name="connsiteX206" fmla="*/ 5833 w 10000"/>
                    <a:gd name="connsiteY206" fmla="*/ 9666 h 10000"/>
                    <a:gd name="connsiteX207" fmla="*/ 5833 w 10000"/>
                    <a:gd name="connsiteY207" fmla="*/ 9666 h 10000"/>
                    <a:gd name="connsiteX208" fmla="*/ 5833 w 10000"/>
                    <a:gd name="connsiteY208" fmla="*/ 9645 h 10000"/>
                    <a:gd name="connsiteX209" fmla="*/ 5889 w 10000"/>
                    <a:gd name="connsiteY209" fmla="*/ 9624 h 10000"/>
                    <a:gd name="connsiteX210" fmla="*/ 6000 w 10000"/>
                    <a:gd name="connsiteY210" fmla="*/ 9602 h 10000"/>
                    <a:gd name="connsiteX211" fmla="*/ 6167 w 10000"/>
                    <a:gd name="connsiteY211" fmla="*/ 9586 h 10000"/>
                    <a:gd name="connsiteX212" fmla="*/ 6444 w 10000"/>
                    <a:gd name="connsiteY212" fmla="*/ 9586 h 10000"/>
                    <a:gd name="connsiteX213" fmla="*/ 6833 w 10000"/>
                    <a:gd name="connsiteY213" fmla="*/ 9602 h 10000"/>
                    <a:gd name="connsiteX214" fmla="*/ 7278 w 10000"/>
                    <a:gd name="connsiteY214" fmla="*/ 9666 h 10000"/>
                    <a:gd name="connsiteX215" fmla="*/ 7278 w 10000"/>
                    <a:gd name="connsiteY215" fmla="*/ 9666 h 10000"/>
                    <a:gd name="connsiteX216" fmla="*/ 8722 w 10000"/>
                    <a:gd name="connsiteY216" fmla="*/ 9840 h 10000"/>
                    <a:gd name="connsiteX217" fmla="*/ 10000 w 10000"/>
                    <a:gd name="connsiteY217" fmla="*/ 10000 h 10000"/>
                    <a:gd name="connsiteX0" fmla="*/ 10000 w 10000"/>
                    <a:gd name="connsiteY0" fmla="*/ 8652 h 10000"/>
                    <a:gd name="connsiteX1" fmla="*/ 10000 w 10000"/>
                    <a:gd name="connsiteY1" fmla="*/ 8652 h 10000"/>
                    <a:gd name="connsiteX2" fmla="*/ 9222 w 10000"/>
                    <a:gd name="connsiteY2" fmla="*/ 8673 h 10000"/>
                    <a:gd name="connsiteX3" fmla="*/ 8944 w 10000"/>
                    <a:gd name="connsiteY3" fmla="*/ 8673 h 10000"/>
                    <a:gd name="connsiteX4" fmla="*/ 8833 w 10000"/>
                    <a:gd name="connsiteY4" fmla="*/ 8652 h 10000"/>
                    <a:gd name="connsiteX5" fmla="*/ 8778 w 10000"/>
                    <a:gd name="connsiteY5" fmla="*/ 8634 h 10000"/>
                    <a:gd name="connsiteX6" fmla="*/ 8778 w 10000"/>
                    <a:gd name="connsiteY6" fmla="*/ 8634 h 10000"/>
                    <a:gd name="connsiteX7" fmla="*/ 8444 w 10000"/>
                    <a:gd name="connsiteY7" fmla="*/ 8395 h 10000"/>
                    <a:gd name="connsiteX8" fmla="*/ 8167 w 10000"/>
                    <a:gd name="connsiteY8" fmla="*/ 8177 h 10000"/>
                    <a:gd name="connsiteX9" fmla="*/ 8167 w 10000"/>
                    <a:gd name="connsiteY9" fmla="*/ 8177 h 10000"/>
                    <a:gd name="connsiteX10" fmla="*/ 8056 w 10000"/>
                    <a:gd name="connsiteY10" fmla="*/ 8140 h 10000"/>
                    <a:gd name="connsiteX11" fmla="*/ 7889 w 10000"/>
                    <a:gd name="connsiteY11" fmla="*/ 8101 h 10000"/>
                    <a:gd name="connsiteX12" fmla="*/ 7444 w 10000"/>
                    <a:gd name="connsiteY12" fmla="*/ 8077 h 10000"/>
                    <a:gd name="connsiteX13" fmla="*/ 6889 w 10000"/>
                    <a:gd name="connsiteY13" fmla="*/ 8060 h 10000"/>
                    <a:gd name="connsiteX14" fmla="*/ 6389 w 10000"/>
                    <a:gd name="connsiteY14" fmla="*/ 8060 h 10000"/>
                    <a:gd name="connsiteX15" fmla="*/ 6389 w 10000"/>
                    <a:gd name="connsiteY15" fmla="*/ 8060 h 10000"/>
                    <a:gd name="connsiteX16" fmla="*/ 6167 w 10000"/>
                    <a:gd name="connsiteY16" fmla="*/ 8038 h 10000"/>
                    <a:gd name="connsiteX17" fmla="*/ 6056 w 10000"/>
                    <a:gd name="connsiteY17" fmla="*/ 8001 h 10000"/>
                    <a:gd name="connsiteX18" fmla="*/ 6000 w 10000"/>
                    <a:gd name="connsiteY18" fmla="*/ 7961 h 10000"/>
                    <a:gd name="connsiteX19" fmla="*/ 6000 w 10000"/>
                    <a:gd name="connsiteY19" fmla="*/ 7884 h 10000"/>
                    <a:gd name="connsiteX20" fmla="*/ 6056 w 10000"/>
                    <a:gd name="connsiteY20" fmla="*/ 7725 h 10000"/>
                    <a:gd name="connsiteX21" fmla="*/ 6111 w 10000"/>
                    <a:gd name="connsiteY21" fmla="*/ 7645 h 10000"/>
                    <a:gd name="connsiteX22" fmla="*/ 6056 w 10000"/>
                    <a:gd name="connsiteY22" fmla="*/ 7544 h 10000"/>
                    <a:gd name="connsiteX23" fmla="*/ 6056 w 10000"/>
                    <a:gd name="connsiteY23" fmla="*/ 7544 h 10000"/>
                    <a:gd name="connsiteX24" fmla="*/ 6000 w 10000"/>
                    <a:gd name="connsiteY24" fmla="*/ 7485 h 10000"/>
                    <a:gd name="connsiteX25" fmla="*/ 5944 w 10000"/>
                    <a:gd name="connsiteY25" fmla="*/ 7446 h 10000"/>
                    <a:gd name="connsiteX26" fmla="*/ 5833 w 10000"/>
                    <a:gd name="connsiteY26" fmla="*/ 7446 h 10000"/>
                    <a:gd name="connsiteX27" fmla="*/ 5667 w 10000"/>
                    <a:gd name="connsiteY27" fmla="*/ 7464 h 10000"/>
                    <a:gd name="connsiteX28" fmla="*/ 5333 w 10000"/>
                    <a:gd name="connsiteY28" fmla="*/ 7524 h 10000"/>
                    <a:gd name="connsiteX29" fmla="*/ 4889 w 10000"/>
                    <a:gd name="connsiteY29" fmla="*/ 7624 h 10000"/>
                    <a:gd name="connsiteX30" fmla="*/ 4889 w 10000"/>
                    <a:gd name="connsiteY30" fmla="*/ 7624 h 10000"/>
                    <a:gd name="connsiteX31" fmla="*/ 4611 w 10000"/>
                    <a:gd name="connsiteY31" fmla="*/ 7645 h 10000"/>
                    <a:gd name="connsiteX32" fmla="*/ 4500 w 10000"/>
                    <a:gd name="connsiteY32" fmla="*/ 7645 h 10000"/>
                    <a:gd name="connsiteX33" fmla="*/ 4444 w 10000"/>
                    <a:gd name="connsiteY33" fmla="*/ 7624 h 10000"/>
                    <a:gd name="connsiteX34" fmla="*/ 4389 w 10000"/>
                    <a:gd name="connsiteY34" fmla="*/ 7544 h 10000"/>
                    <a:gd name="connsiteX35" fmla="*/ 4222 w 10000"/>
                    <a:gd name="connsiteY35" fmla="*/ 7446 h 10000"/>
                    <a:gd name="connsiteX36" fmla="*/ 4222 w 10000"/>
                    <a:gd name="connsiteY36" fmla="*/ 7446 h 10000"/>
                    <a:gd name="connsiteX37" fmla="*/ 4111 w 10000"/>
                    <a:gd name="connsiteY37" fmla="*/ 7385 h 10000"/>
                    <a:gd name="connsiteX38" fmla="*/ 4111 w 10000"/>
                    <a:gd name="connsiteY38" fmla="*/ 7326 h 10000"/>
                    <a:gd name="connsiteX39" fmla="*/ 4111 w 10000"/>
                    <a:gd name="connsiteY39" fmla="*/ 7286 h 10000"/>
                    <a:gd name="connsiteX40" fmla="*/ 4167 w 10000"/>
                    <a:gd name="connsiteY40" fmla="*/ 7247 h 10000"/>
                    <a:gd name="connsiteX41" fmla="*/ 4278 w 10000"/>
                    <a:gd name="connsiteY41" fmla="*/ 7168 h 10000"/>
                    <a:gd name="connsiteX42" fmla="*/ 4389 w 10000"/>
                    <a:gd name="connsiteY42" fmla="*/ 7149 h 10000"/>
                    <a:gd name="connsiteX43" fmla="*/ 4389 w 10000"/>
                    <a:gd name="connsiteY43" fmla="*/ 7149 h 10000"/>
                    <a:gd name="connsiteX44" fmla="*/ 4389 w 10000"/>
                    <a:gd name="connsiteY44" fmla="*/ 7128 h 10000"/>
                    <a:gd name="connsiteX45" fmla="*/ 4444 w 10000"/>
                    <a:gd name="connsiteY45" fmla="*/ 7111 h 10000"/>
                    <a:gd name="connsiteX46" fmla="*/ 4667 w 10000"/>
                    <a:gd name="connsiteY46" fmla="*/ 7088 h 10000"/>
                    <a:gd name="connsiteX47" fmla="*/ 5333 w 10000"/>
                    <a:gd name="connsiteY47" fmla="*/ 7051 h 10000"/>
                    <a:gd name="connsiteX48" fmla="*/ 6500 w 10000"/>
                    <a:gd name="connsiteY48" fmla="*/ 6990 h 10000"/>
                    <a:gd name="connsiteX49" fmla="*/ 6500 w 10000"/>
                    <a:gd name="connsiteY49" fmla="*/ 6990 h 10000"/>
                    <a:gd name="connsiteX50" fmla="*/ 7167 w 10000"/>
                    <a:gd name="connsiteY50" fmla="*/ 6932 h 10000"/>
                    <a:gd name="connsiteX51" fmla="*/ 8389 w 10000"/>
                    <a:gd name="connsiteY51" fmla="*/ 6813 h 10000"/>
                    <a:gd name="connsiteX52" fmla="*/ 8389 w 10000"/>
                    <a:gd name="connsiteY52" fmla="*/ 6813 h 10000"/>
                    <a:gd name="connsiteX53" fmla="*/ 8667 w 10000"/>
                    <a:gd name="connsiteY53" fmla="*/ 6771 h 10000"/>
                    <a:gd name="connsiteX54" fmla="*/ 8778 w 10000"/>
                    <a:gd name="connsiteY54" fmla="*/ 6711 h 10000"/>
                    <a:gd name="connsiteX55" fmla="*/ 8889 w 10000"/>
                    <a:gd name="connsiteY55" fmla="*/ 6673 h 10000"/>
                    <a:gd name="connsiteX56" fmla="*/ 8833 w 10000"/>
                    <a:gd name="connsiteY56" fmla="*/ 6633 h 10000"/>
                    <a:gd name="connsiteX57" fmla="*/ 8833 w 10000"/>
                    <a:gd name="connsiteY57" fmla="*/ 6596 h 10000"/>
                    <a:gd name="connsiteX58" fmla="*/ 8722 w 10000"/>
                    <a:gd name="connsiteY58" fmla="*/ 6553 h 10000"/>
                    <a:gd name="connsiteX59" fmla="*/ 8556 w 10000"/>
                    <a:gd name="connsiteY59" fmla="*/ 6493 h 10000"/>
                    <a:gd name="connsiteX60" fmla="*/ 8556 w 10000"/>
                    <a:gd name="connsiteY60" fmla="*/ 6493 h 10000"/>
                    <a:gd name="connsiteX61" fmla="*/ 6556 w 10000"/>
                    <a:gd name="connsiteY61" fmla="*/ 6142 h 10000"/>
                    <a:gd name="connsiteX62" fmla="*/ 6556 w 10000"/>
                    <a:gd name="connsiteY62" fmla="*/ 6142 h 10000"/>
                    <a:gd name="connsiteX63" fmla="*/ 6333 w 10000"/>
                    <a:gd name="connsiteY63" fmla="*/ 6081 h 10000"/>
                    <a:gd name="connsiteX64" fmla="*/ 6167 w 10000"/>
                    <a:gd name="connsiteY64" fmla="*/ 6020 h 10000"/>
                    <a:gd name="connsiteX65" fmla="*/ 6056 w 10000"/>
                    <a:gd name="connsiteY65" fmla="*/ 5959 h 10000"/>
                    <a:gd name="connsiteX66" fmla="*/ 6056 w 10000"/>
                    <a:gd name="connsiteY66" fmla="*/ 5959 h 10000"/>
                    <a:gd name="connsiteX67" fmla="*/ 8056 w 10000"/>
                    <a:gd name="connsiteY67" fmla="*/ 5940 h 10000"/>
                    <a:gd name="connsiteX68" fmla="*/ 10000 w 10000"/>
                    <a:gd name="connsiteY68" fmla="*/ 6142 h 10000"/>
                    <a:gd name="connsiteX69" fmla="*/ 10000 w 10000"/>
                    <a:gd name="connsiteY69" fmla="*/ 4337 h 10000"/>
                    <a:gd name="connsiteX70" fmla="*/ 10000 w 10000"/>
                    <a:gd name="connsiteY70" fmla="*/ 4337 h 10000"/>
                    <a:gd name="connsiteX71" fmla="*/ 7778 w 10000"/>
                    <a:gd name="connsiteY71" fmla="*/ 3922 h 10000"/>
                    <a:gd name="connsiteX72" fmla="*/ 6556 w 10000"/>
                    <a:gd name="connsiteY72" fmla="*/ 3682 h 10000"/>
                    <a:gd name="connsiteX73" fmla="*/ 6556 w 10000"/>
                    <a:gd name="connsiteY73" fmla="*/ 3682 h 10000"/>
                    <a:gd name="connsiteX74" fmla="*/ 6556 w 10000"/>
                    <a:gd name="connsiteY74" fmla="*/ 3663 h 10000"/>
                    <a:gd name="connsiteX75" fmla="*/ 6556 w 10000"/>
                    <a:gd name="connsiteY75" fmla="*/ 3544 h 10000"/>
                    <a:gd name="connsiteX76" fmla="*/ 6556 w 10000"/>
                    <a:gd name="connsiteY76" fmla="*/ 3544 h 10000"/>
                    <a:gd name="connsiteX77" fmla="*/ 6389 w 10000"/>
                    <a:gd name="connsiteY77" fmla="*/ 3408 h 10000"/>
                    <a:gd name="connsiteX78" fmla="*/ 6056 w 10000"/>
                    <a:gd name="connsiteY78" fmla="*/ 3188 h 10000"/>
                    <a:gd name="connsiteX79" fmla="*/ 5333 w 10000"/>
                    <a:gd name="connsiteY79" fmla="*/ 2770 h 10000"/>
                    <a:gd name="connsiteX80" fmla="*/ 5333 w 10000"/>
                    <a:gd name="connsiteY80" fmla="*/ 2770 h 10000"/>
                    <a:gd name="connsiteX81" fmla="*/ 5167 w 10000"/>
                    <a:gd name="connsiteY81" fmla="*/ 2711 h 10000"/>
                    <a:gd name="connsiteX82" fmla="*/ 4889 w 10000"/>
                    <a:gd name="connsiteY82" fmla="*/ 2632 h 10000"/>
                    <a:gd name="connsiteX83" fmla="*/ 4056 w 10000"/>
                    <a:gd name="connsiteY83" fmla="*/ 2456 h 10000"/>
                    <a:gd name="connsiteX84" fmla="*/ 2889 w 10000"/>
                    <a:gd name="connsiteY84" fmla="*/ 2239 h 10000"/>
                    <a:gd name="connsiteX85" fmla="*/ 2889 w 10000"/>
                    <a:gd name="connsiteY85" fmla="*/ 2239 h 10000"/>
                    <a:gd name="connsiteX86" fmla="*/ 2389 w 10000"/>
                    <a:gd name="connsiteY86" fmla="*/ 2217 h 10000"/>
                    <a:gd name="connsiteX87" fmla="*/ 2000 w 10000"/>
                    <a:gd name="connsiteY87" fmla="*/ 2198 h 10000"/>
                    <a:gd name="connsiteX88" fmla="*/ 1889 w 10000"/>
                    <a:gd name="connsiteY88" fmla="*/ 2179 h 10000"/>
                    <a:gd name="connsiteX89" fmla="*/ 1778 w 10000"/>
                    <a:gd name="connsiteY89" fmla="*/ 2157 h 10000"/>
                    <a:gd name="connsiteX90" fmla="*/ 1778 w 10000"/>
                    <a:gd name="connsiteY90" fmla="*/ 2157 h 10000"/>
                    <a:gd name="connsiteX91" fmla="*/ 1667 w 10000"/>
                    <a:gd name="connsiteY91" fmla="*/ 2079 h 10000"/>
                    <a:gd name="connsiteX92" fmla="*/ 1500 w 10000"/>
                    <a:gd name="connsiteY92" fmla="*/ 1941 h 10000"/>
                    <a:gd name="connsiteX93" fmla="*/ 1444 w 10000"/>
                    <a:gd name="connsiteY93" fmla="*/ 1861 h 10000"/>
                    <a:gd name="connsiteX94" fmla="*/ 1444 w 10000"/>
                    <a:gd name="connsiteY94" fmla="*/ 1782 h 10000"/>
                    <a:gd name="connsiteX95" fmla="*/ 1444 w 10000"/>
                    <a:gd name="connsiteY95" fmla="*/ 1723 h 10000"/>
                    <a:gd name="connsiteX96" fmla="*/ 1556 w 10000"/>
                    <a:gd name="connsiteY96" fmla="*/ 1663 h 10000"/>
                    <a:gd name="connsiteX97" fmla="*/ 1556 w 10000"/>
                    <a:gd name="connsiteY97" fmla="*/ 1663 h 10000"/>
                    <a:gd name="connsiteX98" fmla="*/ 1833 w 10000"/>
                    <a:gd name="connsiteY98" fmla="*/ 1565 h 10000"/>
                    <a:gd name="connsiteX99" fmla="*/ 2111 w 10000"/>
                    <a:gd name="connsiteY99" fmla="*/ 1463 h 10000"/>
                    <a:gd name="connsiteX100" fmla="*/ 2278 w 10000"/>
                    <a:gd name="connsiteY100" fmla="*/ 1406 h 10000"/>
                    <a:gd name="connsiteX101" fmla="*/ 2389 w 10000"/>
                    <a:gd name="connsiteY101" fmla="*/ 1347 h 10000"/>
                    <a:gd name="connsiteX102" fmla="*/ 2389 w 10000"/>
                    <a:gd name="connsiteY102" fmla="*/ 1267 h 10000"/>
                    <a:gd name="connsiteX103" fmla="*/ 2389 w 10000"/>
                    <a:gd name="connsiteY103" fmla="*/ 1170 h 10000"/>
                    <a:gd name="connsiteX104" fmla="*/ 2389 w 10000"/>
                    <a:gd name="connsiteY104" fmla="*/ 1170 h 10000"/>
                    <a:gd name="connsiteX105" fmla="*/ 2167 w 10000"/>
                    <a:gd name="connsiteY105" fmla="*/ 891 h 10000"/>
                    <a:gd name="connsiteX106" fmla="*/ 1889 w 10000"/>
                    <a:gd name="connsiteY106" fmla="*/ 514 h 10000"/>
                    <a:gd name="connsiteX107" fmla="*/ 1667 w 10000"/>
                    <a:gd name="connsiteY107" fmla="*/ 178 h 10000"/>
                    <a:gd name="connsiteX108" fmla="*/ 1611 w 10000"/>
                    <a:gd name="connsiteY108" fmla="*/ 80 h 10000"/>
                    <a:gd name="connsiteX109" fmla="*/ 1611 w 10000"/>
                    <a:gd name="connsiteY109" fmla="*/ 42 h 10000"/>
                    <a:gd name="connsiteX110" fmla="*/ 1667 w 10000"/>
                    <a:gd name="connsiteY110" fmla="*/ 18 h 10000"/>
                    <a:gd name="connsiteX111" fmla="*/ 1667 w 10000"/>
                    <a:gd name="connsiteY111" fmla="*/ 18 h 10000"/>
                    <a:gd name="connsiteX112" fmla="*/ 2222 w 10000"/>
                    <a:gd name="connsiteY112" fmla="*/ 0 h 10000"/>
                    <a:gd name="connsiteX113" fmla="*/ 2389 w 10000"/>
                    <a:gd name="connsiteY113" fmla="*/ 18 h 10000"/>
                    <a:gd name="connsiteX114" fmla="*/ 2389 w 10000"/>
                    <a:gd name="connsiteY114" fmla="*/ 18 h 10000"/>
                    <a:gd name="connsiteX115" fmla="*/ 10000 w 10000"/>
                    <a:gd name="connsiteY115" fmla="*/ 8673 h 10000"/>
                    <a:gd name="connsiteX116" fmla="*/ 10000 w 10000"/>
                    <a:gd name="connsiteY116" fmla="*/ 8673 h 10000"/>
                    <a:gd name="connsiteX117" fmla="*/ 9722 w 10000"/>
                    <a:gd name="connsiteY117" fmla="*/ 8652 h 10000"/>
                    <a:gd name="connsiteX118" fmla="*/ 9389 w 10000"/>
                    <a:gd name="connsiteY118" fmla="*/ 8673 h 10000"/>
                    <a:gd name="connsiteX119" fmla="*/ 9389 w 10000"/>
                    <a:gd name="connsiteY119" fmla="*/ 8673 h 10000"/>
                    <a:gd name="connsiteX120" fmla="*/ 9278 w 10000"/>
                    <a:gd name="connsiteY120" fmla="*/ 8696 h 10000"/>
                    <a:gd name="connsiteX121" fmla="*/ 9056 w 10000"/>
                    <a:gd name="connsiteY121" fmla="*/ 8673 h 10000"/>
                    <a:gd name="connsiteX122" fmla="*/ 8889 w 10000"/>
                    <a:gd name="connsiteY122" fmla="*/ 8652 h 10000"/>
                    <a:gd name="connsiteX123" fmla="*/ 8722 w 10000"/>
                    <a:gd name="connsiteY123" fmla="*/ 8614 h 10000"/>
                    <a:gd name="connsiteX124" fmla="*/ 8611 w 10000"/>
                    <a:gd name="connsiteY124" fmla="*/ 8553 h 10000"/>
                    <a:gd name="connsiteX125" fmla="*/ 8444 w 10000"/>
                    <a:gd name="connsiteY125" fmla="*/ 8455 h 10000"/>
                    <a:gd name="connsiteX126" fmla="*/ 8444 w 10000"/>
                    <a:gd name="connsiteY126" fmla="*/ 8455 h 10000"/>
                    <a:gd name="connsiteX127" fmla="*/ 8222 w 10000"/>
                    <a:gd name="connsiteY127" fmla="*/ 8279 h 10000"/>
                    <a:gd name="connsiteX128" fmla="*/ 8111 w 10000"/>
                    <a:gd name="connsiteY128" fmla="*/ 8200 h 10000"/>
                    <a:gd name="connsiteX129" fmla="*/ 7944 w 10000"/>
                    <a:gd name="connsiteY129" fmla="*/ 8140 h 10000"/>
                    <a:gd name="connsiteX130" fmla="*/ 7778 w 10000"/>
                    <a:gd name="connsiteY130" fmla="*/ 8101 h 10000"/>
                    <a:gd name="connsiteX131" fmla="*/ 7556 w 10000"/>
                    <a:gd name="connsiteY131" fmla="*/ 8077 h 10000"/>
                    <a:gd name="connsiteX132" fmla="*/ 7333 w 10000"/>
                    <a:gd name="connsiteY132" fmla="*/ 8060 h 10000"/>
                    <a:gd name="connsiteX133" fmla="*/ 7000 w 10000"/>
                    <a:gd name="connsiteY133" fmla="*/ 8038 h 10000"/>
                    <a:gd name="connsiteX134" fmla="*/ 7000 w 10000"/>
                    <a:gd name="connsiteY134" fmla="*/ 8038 h 10000"/>
                    <a:gd name="connsiteX135" fmla="*/ 6556 w 10000"/>
                    <a:gd name="connsiteY135" fmla="*/ 8060 h 10000"/>
                    <a:gd name="connsiteX136" fmla="*/ 6222 w 10000"/>
                    <a:gd name="connsiteY136" fmla="*/ 8060 h 10000"/>
                    <a:gd name="connsiteX137" fmla="*/ 6111 w 10000"/>
                    <a:gd name="connsiteY137" fmla="*/ 8038 h 10000"/>
                    <a:gd name="connsiteX138" fmla="*/ 6056 w 10000"/>
                    <a:gd name="connsiteY138" fmla="*/ 8019 h 10000"/>
                    <a:gd name="connsiteX139" fmla="*/ 6056 w 10000"/>
                    <a:gd name="connsiteY139" fmla="*/ 8019 h 10000"/>
                    <a:gd name="connsiteX140" fmla="*/ 6056 w 10000"/>
                    <a:gd name="connsiteY140" fmla="*/ 7665 h 10000"/>
                    <a:gd name="connsiteX141" fmla="*/ 6056 w 10000"/>
                    <a:gd name="connsiteY141" fmla="*/ 7665 h 10000"/>
                    <a:gd name="connsiteX142" fmla="*/ 6056 w 10000"/>
                    <a:gd name="connsiteY142" fmla="*/ 7582 h 10000"/>
                    <a:gd name="connsiteX143" fmla="*/ 5944 w 10000"/>
                    <a:gd name="connsiteY143" fmla="*/ 7485 h 10000"/>
                    <a:gd name="connsiteX144" fmla="*/ 5889 w 10000"/>
                    <a:gd name="connsiteY144" fmla="*/ 7464 h 10000"/>
                    <a:gd name="connsiteX145" fmla="*/ 5778 w 10000"/>
                    <a:gd name="connsiteY145" fmla="*/ 7446 h 10000"/>
                    <a:gd name="connsiteX146" fmla="*/ 5667 w 10000"/>
                    <a:gd name="connsiteY146" fmla="*/ 7446 h 10000"/>
                    <a:gd name="connsiteX147" fmla="*/ 5500 w 10000"/>
                    <a:gd name="connsiteY147" fmla="*/ 7464 h 10000"/>
                    <a:gd name="connsiteX148" fmla="*/ 5500 w 10000"/>
                    <a:gd name="connsiteY148" fmla="*/ 7464 h 10000"/>
                    <a:gd name="connsiteX149" fmla="*/ 4889 w 10000"/>
                    <a:gd name="connsiteY149" fmla="*/ 7603 h 10000"/>
                    <a:gd name="connsiteX150" fmla="*/ 4611 w 10000"/>
                    <a:gd name="connsiteY150" fmla="*/ 7645 h 10000"/>
                    <a:gd name="connsiteX151" fmla="*/ 4556 w 10000"/>
                    <a:gd name="connsiteY151" fmla="*/ 7665 h 10000"/>
                    <a:gd name="connsiteX152" fmla="*/ 4500 w 10000"/>
                    <a:gd name="connsiteY152" fmla="*/ 7645 h 10000"/>
                    <a:gd name="connsiteX153" fmla="*/ 4500 w 10000"/>
                    <a:gd name="connsiteY153" fmla="*/ 7645 h 10000"/>
                    <a:gd name="connsiteX154" fmla="*/ 4222 w 10000"/>
                    <a:gd name="connsiteY154" fmla="*/ 7446 h 10000"/>
                    <a:gd name="connsiteX155" fmla="*/ 4222 w 10000"/>
                    <a:gd name="connsiteY155" fmla="*/ 7446 h 10000"/>
                    <a:gd name="connsiteX156" fmla="*/ 4111 w 10000"/>
                    <a:gd name="connsiteY156" fmla="*/ 7347 h 10000"/>
                    <a:gd name="connsiteX157" fmla="*/ 4111 w 10000"/>
                    <a:gd name="connsiteY157" fmla="*/ 7286 h 10000"/>
                    <a:gd name="connsiteX158" fmla="*/ 4111 w 10000"/>
                    <a:gd name="connsiteY158" fmla="*/ 7228 h 10000"/>
                    <a:gd name="connsiteX159" fmla="*/ 4111 w 10000"/>
                    <a:gd name="connsiteY159" fmla="*/ 7228 h 10000"/>
                    <a:gd name="connsiteX160" fmla="*/ 4278 w 10000"/>
                    <a:gd name="connsiteY160" fmla="*/ 7168 h 10000"/>
                    <a:gd name="connsiteX161" fmla="*/ 4389 w 10000"/>
                    <a:gd name="connsiteY161" fmla="*/ 7149 h 10000"/>
                    <a:gd name="connsiteX162" fmla="*/ 4389 w 10000"/>
                    <a:gd name="connsiteY162" fmla="*/ 7149 h 10000"/>
                    <a:gd name="connsiteX163" fmla="*/ 4000 w 10000"/>
                    <a:gd name="connsiteY163" fmla="*/ 7149 h 10000"/>
                    <a:gd name="connsiteX164" fmla="*/ 3722 w 10000"/>
                    <a:gd name="connsiteY164" fmla="*/ 7168 h 10000"/>
                    <a:gd name="connsiteX165" fmla="*/ 3611 w 10000"/>
                    <a:gd name="connsiteY165" fmla="*/ 7189 h 10000"/>
                    <a:gd name="connsiteX166" fmla="*/ 3556 w 10000"/>
                    <a:gd name="connsiteY166" fmla="*/ 7210 h 10000"/>
                    <a:gd name="connsiteX167" fmla="*/ 3556 w 10000"/>
                    <a:gd name="connsiteY167" fmla="*/ 7210 h 10000"/>
                    <a:gd name="connsiteX168" fmla="*/ 3444 w 10000"/>
                    <a:gd name="connsiteY168" fmla="*/ 7286 h 10000"/>
                    <a:gd name="connsiteX169" fmla="*/ 3278 w 10000"/>
                    <a:gd name="connsiteY169" fmla="*/ 7407 h 10000"/>
                    <a:gd name="connsiteX170" fmla="*/ 3000 w 10000"/>
                    <a:gd name="connsiteY170" fmla="*/ 7544 h 10000"/>
                    <a:gd name="connsiteX171" fmla="*/ 2667 w 10000"/>
                    <a:gd name="connsiteY171" fmla="*/ 7645 h 10000"/>
                    <a:gd name="connsiteX172" fmla="*/ 2667 w 10000"/>
                    <a:gd name="connsiteY172" fmla="*/ 7645 h 10000"/>
                    <a:gd name="connsiteX173" fmla="*/ 2333 w 10000"/>
                    <a:gd name="connsiteY173" fmla="*/ 7725 h 10000"/>
                    <a:gd name="connsiteX174" fmla="*/ 1833 w 10000"/>
                    <a:gd name="connsiteY174" fmla="*/ 7803 h 10000"/>
                    <a:gd name="connsiteX175" fmla="*/ 1389 w 10000"/>
                    <a:gd name="connsiteY175" fmla="*/ 7843 h 10000"/>
                    <a:gd name="connsiteX176" fmla="*/ 889 w 10000"/>
                    <a:gd name="connsiteY176" fmla="*/ 7862 h 10000"/>
                    <a:gd name="connsiteX177" fmla="*/ 889 w 10000"/>
                    <a:gd name="connsiteY177" fmla="*/ 7862 h 10000"/>
                    <a:gd name="connsiteX178" fmla="*/ 500 w 10000"/>
                    <a:gd name="connsiteY178" fmla="*/ 7884 h 10000"/>
                    <a:gd name="connsiteX179" fmla="*/ 222 w 10000"/>
                    <a:gd name="connsiteY179" fmla="*/ 7902 h 10000"/>
                    <a:gd name="connsiteX180" fmla="*/ 0 w 10000"/>
                    <a:gd name="connsiteY180" fmla="*/ 7921 h 10000"/>
                    <a:gd name="connsiteX181" fmla="*/ 0 w 10000"/>
                    <a:gd name="connsiteY181" fmla="*/ 7921 h 10000"/>
                    <a:gd name="connsiteX182" fmla="*/ 278 w 10000"/>
                    <a:gd name="connsiteY182" fmla="*/ 8239 h 10000"/>
                    <a:gd name="connsiteX183" fmla="*/ 500 w 10000"/>
                    <a:gd name="connsiteY183" fmla="*/ 8473 h 10000"/>
                    <a:gd name="connsiteX184" fmla="*/ 722 w 10000"/>
                    <a:gd name="connsiteY184" fmla="*/ 8673 h 10000"/>
                    <a:gd name="connsiteX185" fmla="*/ 722 w 10000"/>
                    <a:gd name="connsiteY185" fmla="*/ 8673 h 10000"/>
                    <a:gd name="connsiteX186" fmla="*/ 889 w 10000"/>
                    <a:gd name="connsiteY186" fmla="*/ 8793 h 10000"/>
                    <a:gd name="connsiteX187" fmla="*/ 944 w 10000"/>
                    <a:gd name="connsiteY187" fmla="*/ 8893 h 10000"/>
                    <a:gd name="connsiteX188" fmla="*/ 1111 w 10000"/>
                    <a:gd name="connsiteY188" fmla="*/ 8993 h 10000"/>
                    <a:gd name="connsiteX189" fmla="*/ 1333 w 10000"/>
                    <a:gd name="connsiteY189" fmla="*/ 9147 h 10000"/>
                    <a:gd name="connsiteX190" fmla="*/ 1333 w 10000"/>
                    <a:gd name="connsiteY190" fmla="*/ 9147 h 10000"/>
                    <a:gd name="connsiteX191" fmla="*/ 1444 w 10000"/>
                    <a:gd name="connsiteY191" fmla="*/ 9228 h 10000"/>
                    <a:gd name="connsiteX192" fmla="*/ 1500 w 10000"/>
                    <a:gd name="connsiteY192" fmla="*/ 9287 h 10000"/>
                    <a:gd name="connsiteX193" fmla="*/ 1500 w 10000"/>
                    <a:gd name="connsiteY193" fmla="*/ 9345 h 10000"/>
                    <a:gd name="connsiteX194" fmla="*/ 1556 w 10000"/>
                    <a:gd name="connsiteY194" fmla="*/ 9368 h 10000"/>
                    <a:gd name="connsiteX195" fmla="*/ 1722 w 10000"/>
                    <a:gd name="connsiteY195" fmla="*/ 9385 h 10000"/>
                    <a:gd name="connsiteX196" fmla="*/ 1944 w 10000"/>
                    <a:gd name="connsiteY196" fmla="*/ 9405 h 10000"/>
                    <a:gd name="connsiteX197" fmla="*/ 2944 w 10000"/>
                    <a:gd name="connsiteY197" fmla="*/ 9425 h 10000"/>
                    <a:gd name="connsiteX198" fmla="*/ 2944 w 10000"/>
                    <a:gd name="connsiteY198" fmla="*/ 9425 h 10000"/>
                    <a:gd name="connsiteX199" fmla="*/ 4167 w 10000"/>
                    <a:gd name="connsiteY199" fmla="*/ 9465 h 10000"/>
                    <a:gd name="connsiteX200" fmla="*/ 4889 w 10000"/>
                    <a:gd name="connsiteY200" fmla="*/ 9524 h 10000"/>
                    <a:gd name="connsiteX201" fmla="*/ 5278 w 10000"/>
                    <a:gd name="connsiteY201" fmla="*/ 9586 h 10000"/>
                    <a:gd name="connsiteX202" fmla="*/ 5444 w 10000"/>
                    <a:gd name="connsiteY202" fmla="*/ 9602 h 10000"/>
                    <a:gd name="connsiteX203" fmla="*/ 5444 w 10000"/>
                    <a:gd name="connsiteY203" fmla="*/ 9602 h 10000"/>
                    <a:gd name="connsiteX204" fmla="*/ 5722 w 10000"/>
                    <a:gd name="connsiteY204" fmla="*/ 9645 h 10000"/>
                    <a:gd name="connsiteX205" fmla="*/ 5833 w 10000"/>
                    <a:gd name="connsiteY205" fmla="*/ 9666 h 10000"/>
                    <a:gd name="connsiteX206" fmla="*/ 5833 w 10000"/>
                    <a:gd name="connsiteY206" fmla="*/ 9666 h 10000"/>
                    <a:gd name="connsiteX207" fmla="*/ 5833 w 10000"/>
                    <a:gd name="connsiteY207" fmla="*/ 9645 h 10000"/>
                    <a:gd name="connsiteX208" fmla="*/ 5889 w 10000"/>
                    <a:gd name="connsiteY208" fmla="*/ 9624 h 10000"/>
                    <a:gd name="connsiteX209" fmla="*/ 6000 w 10000"/>
                    <a:gd name="connsiteY209" fmla="*/ 9602 h 10000"/>
                    <a:gd name="connsiteX210" fmla="*/ 6167 w 10000"/>
                    <a:gd name="connsiteY210" fmla="*/ 9586 h 10000"/>
                    <a:gd name="connsiteX211" fmla="*/ 6444 w 10000"/>
                    <a:gd name="connsiteY211" fmla="*/ 9586 h 10000"/>
                    <a:gd name="connsiteX212" fmla="*/ 6833 w 10000"/>
                    <a:gd name="connsiteY212" fmla="*/ 9602 h 10000"/>
                    <a:gd name="connsiteX213" fmla="*/ 7278 w 10000"/>
                    <a:gd name="connsiteY213" fmla="*/ 9666 h 10000"/>
                    <a:gd name="connsiteX214" fmla="*/ 7278 w 10000"/>
                    <a:gd name="connsiteY214" fmla="*/ 9666 h 10000"/>
                    <a:gd name="connsiteX215" fmla="*/ 8722 w 10000"/>
                    <a:gd name="connsiteY215" fmla="*/ 9840 h 10000"/>
                    <a:gd name="connsiteX216" fmla="*/ 10000 w 10000"/>
                    <a:gd name="connsiteY216" fmla="*/ 10000 h 10000"/>
                    <a:gd name="connsiteX0" fmla="*/ 10000 w 10000"/>
                    <a:gd name="connsiteY0" fmla="*/ 8652 h 10000"/>
                    <a:gd name="connsiteX1" fmla="*/ 10000 w 10000"/>
                    <a:gd name="connsiteY1" fmla="*/ 8652 h 10000"/>
                    <a:gd name="connsiteX2" fmla="*/ 9222 w 10000"/>
                    <a:gd name="connsiteY2" fmla="*/ 8673 h 10000"/>
                    <a:gd name="connsiteX3" fmla="*/ 8944 w 10000"/>
                    <a:gd name="connsiteY3" fmla="*/ 8673 h 10000"/>
                    <a:gd name="connsiteX4" fmla="*/ 8833 w 10000"/>
                    <a:gd name="connsiteY4" fmla="*/ 8652 h 10000"/>
                    <a:gd name="connsiteX5" fmla="*/ 8778 w 10000"/>
                    <a:gd name="connsiteY5" fmla="*/ 8634 h 10000"/>
                    <a:gd name="connsiteX6" fmla="*/ 8778 w 10000"/>
                    <a:gd name="connsiteY6" fmla="*/ 8634 h 10000"/>
                    <a:gd name="connsiteX7" fmla="*/ 8444 w 10000"/>
                    <a:gd name="connsiteY7" fmla="*/ 8395 h 10000"/>
                    <a:gd name="connsiteX8" fmla="*/ 8167 w 10000"/>
                    <a:gd name="connsiteY8" fmla="*/ 8177 h 10000"/>
                    <a:gd name="connsiteX9" fmla="*/ 8167 w 10000"/>
                    <a:gd name="connsiteY9" fmla="*/ 8177 h 10000"/>
                    <a:gd name="connsiteX10" fmla="*/ 8056 w 10000"/>
                    <a:gd name="connsiteY10" fmla="*/ 8140 h 10000"/>
                    <a:gd name="connsiteX11" fmla="*/ 7889 w 10000"/>
                    <a:gd name="connsiteY11" fmla="*/ 8101 h 10000"/>
                    <a:gd name="connsiteX12" fmla="*/ 7444 w 10000"/>
                    <a:gd name="connsiteY12" fmla="*/ 8077 h 10000"/>
                    <a:gd name="connsiteX13" fmla="*/ 6889 w 10000"/>
                    <a:gd name="connsiteY13" fmla="*/ 8060 h 10000"/>
                    <a:gd name="connsiteX14" fmla="*/ 6389 w 10000"/>
                    <a:gd name="connsiteY14" fmla="*/ 8060 h 10000"/>
                    <a:gd name="connsiteX15" fmla="*/ 6389 w 10000"/>
                    <a:gd name="connsiteY15" fmla="*/ 8060 h 10000"/>
                    <a:gd name="connsiteX16" fmla="*/ 6167 w 10000"/>
                    <a:gd name="connsiteY16" fmla="*/ 8038 h 10000"/>
                    <a:gd name="connsiteX17" fmla="*/ 6056 w 10000"/>
                    <a:gd name="connsiteY17" fmla="*/ 8001 h 10000"/>
                    <a:gd name="connsiteX18" fmla="*/ 6000 w 10000"/>
                    <a:gd name="connsiteY18" fmla="*/ 7961 h 10000"/>
                    <a:gd name="connsiteX19" fmla="*/ 6000 w 10000"/>
                    <a:gd name="connsiteY19" fmla="*/ 7884 h 10000"/>
                    <a:gd name="connsiteX20" fmla="*/ 6056 w 10000"/>
                    <a:gd name="connsiteY20" fmla="*/ 7725 h 10000"/>
                    <a:gd name="connsiteX21" fmla="*/ 6111 w 10000"/>
                    <a:gd name="connsiteY21" fmla="*/ 7645 h 10000"/>
                    <a:gd name="connsiteX22" fmla="*/ 6056 w 10000"/>
                    <a:gd name="connsiteY22" fmla="*/ 7544 h 10000"/>
                    <a:gd name="connsiteX23" fmla="*/ 6056 w 10000"/>
                    <a:gd name="connsiteY23" fmla="*/ 7544 h 10000"/>
                    <a:gd name="connsiteX24" fmla="*/ 6000 w 10000"/>
                    <a:gd name="connsiteY24" fmla="*/ 7485 h 10000"/>
                    <a:gd name="connsiteX25" fmla="*/ 5944 w 10000"/>
                    <a:gd name="connsiteY25" fmla="*/ 7446 h 10000"/>
                    <a:gd name="connsiteX26" fmla="*/ 5833 w 10000"/>
                    <a:gd name="connsiteY26" fmla="*/ 7446 h 10000"/>
                    <a:gd name="connsiteX27" fmla="*/ 5667 w 10000"/>
                    <a:gd name="connsiteY27" fmla="*/ 7464 h 10000"/>
                    <a:gd name="connsiteX28" fmla="*/ 5333 w 10000"/>
                    <a:gd name="connsiteY28" fmla="*/ 7524 h 10000"/>
                    <a:gd name="connsiteX29" fmla="*/ 4889 w 10000"/>
                    <a:gd name="connsiteY29" fmla="*/ 7624 h 10000"/>
                    <a:gd name="connsiteX30" fmla="*/ 4889 w 10000"/>
                    <a:gd name="connsiteY30" fmla="*/ 7624 h 10000"/>
                    <a:gd name="connsiteX31" fmla="*/ 4611 w 10000"/>
                    <a:gd name="connsiteY31" fmla="*/ 7645 h 10000"/>
                    <a:gd name="connsiteX32" fmla="*/ 4500 w 10000"/>
                    <a:gd name="connsiteY32" fmla="*/ 7645 h 10000"/>
                    <a:gd name="connsiteX33" fmla="*/ 4444 w 10000"/>
                    <a:gd name="connsiteY33" fmla="*/ 7624 h 10000"/>
                    <a:gd name="connsiteX34" fmla="*/ 4389 w 10000"/>
                    <a:gd name="connsiteY34" fmla="*/ 7544 h 10000"/>
                    <a:gd name="connsiteX35" fmla="*/ 4222 w 10000"/>
                    <a:gd name="connsiteY35" fmla="*/ 7446 h 10000"/>
                    <a:gd name="connsiteX36" fmla="*/ 4222 w 10000"/>
                    <a:gd name="connsiteY36" fmla="*/ 7446 h 10000"/>
                    <a:gd name="connsiteX37" fmla="*/ 4111 w 10000"/>
                    <a:gd name="connsiteY37" fmla="*/ 7385 h 10000"/>
                    <a:gd name="connsiteX38" fmla="*/ 4111 w 10000"/>
                    <a:gd name="connsiteY38" fmla="*/ 7326 h 10000"/>
                    <a:gd name="connsiteX39" fmla="*/ 4111 w 10000"/>
                    <a:gd name="connsiteY39" fmla="*/ 7286 h 10000"/>
                    <a:gd name="connsiteX40" fmla="*/ 4167 w 10000"/>
                    <a:gd name="connsiteY40" fmla="*/ 7247 h 10000"/>
                    <a:gd name="connsiteX41" fmla="*/ 4278 w 10000"/>
                    <a:gd name="connsiteY41" fmla="*/ 7168 h 10000"/>
                    <a:gd name="connsiteX42" fmla="*/ 4389 w 10000"/>
                    <a:gd name="connsiteY42" fmla="*/ 7149 h 10000"/>
                    <a:gd name="connsiteX43" fmla="*/ 4389 w 10000"/>
                    <a:gd name="connsiteY43" fmla="*/ 7149 h 10000"/>
                    <a:gd name="connsiteX44" fmla="*/ 4389 w 10000"/>
                    <a:gd name="connsiteY44" fmla="*/ 7128 h 10000"/>
                    <a:gd name="connsiteX45" fmla="*/ 4444 w 10000"/>
                    <a:gd name="connsiteY45" fmla="*/ 7111 h 10000"/>
                    <a:gd name="connsiteX46" fmla="*/ 4667 w 10000"/>
                    <a:gd name="connsiteY46" fmla="*/ 7088 h 10000"/>
                    <a:gd name="connsiteX47" fmla="*/ 5333 w 10000"/>
                    <a:gd name="connsiteY47" fmla="*/ 7051 h 10000"/>
                    <a:gd name="connsiteX48" fmla="*/ 6500 w 10000"/>
                    <a:gd name="connsiteY48" fmla="*/ 6990 h 10000"/>
                    <a:gd name="connsiteX49" fmla="*/ 6500 w 10000"/>
                    <a:gd name="connsiteY49" fmla="*/ 6990 h 10000"/>
                    <a:gd name="connsiteX50" fmla="*/ 7167 w 10000"/>
                    <a:gd name="connsiteY50" fmla="*/ 6932 h 10000"/>
                    <a:gd name="connsiteX51" fmla="*/ 8389 w 10000"/>
                    <a:gd name="connsiteY51" fmla="*/ 6813 h 10000"/>
                    <a:gd name="connsiteX52" fmla="*/ 8389 w 10000"/>
                    <a:gd name="connsiteY52" fmla="*/ 6813 h 10000"/>
                    <a:gd name="connsiteX53" fmla="*/ 8667 w 10000"/>
                    <a:gd name="connsiteY53" fmla="*/ 6771 h 10000"/>
                    <a:gd name="connsiteX54" fmla="*/ 8778 w 10000"/>
                    <a:gd name="connsiteY54" fmla="*/ 6711 h 10000"/>
                    <a:gd name="connsiteX55" fmla="*/ 8889 w 10000"/>
                    <a:gd name="connsiteY55" fmla="*/ 6673 h 10000"/>
                    <a:gd name="connsiteX56" fmla="*/ 8833 w 10000"/>
                    <a:gd name="connsiteY56" fmla="*/ 6633 h 10000"/>
                    <a:gd name="connsiteX57" fmla="*/ 8833 w 10000"/>
                    <a:gd name="connsiteY57" fmla="*/ 6596 h 10000"/>
                    <a:gd name="connsiteX58" fmla="*/ 8722 w 10000"/>
                    <a:gd name="connsiteY58" fmla="*/ 6553 h 10000"/>
                    <a:gd name="connsiteX59" fmla="*/ 8556 w 10000"/>
                    <a:gd name="connsiteY59" fmla="*/ 6493 h 10000"/>
                    <a:gd name="connsiteX60" fmla="*/ 8556 w 10000"/>
                    <a:gd name="connsiteY60" fmla="*/ 6493 h 10000"/>
                    <a:gd name="connsiteX61" fmla="*/ 6556 w 10000"/>
                    <a:gd name="connsiteY61" fmla="*/ 6142 h 10000"/>
                    <a:gd name="connsiteX62" fmla="*/ 6556 w 10000"/>
                    <a:gd name="connsiteY62" fmla="*/ 6142 h 10000"/>
                    <a:gd name="connsiteX63" fmla="*/ 6333 w 10000"/>
                    <a:gd name="connsiteY63" fmla="*/ 6081 h 10000"/>
                    <a:gd name="connsiteX64" fmla="*/ 6167 w 10000"/>
                    <a:gd name="connsiteY64" fmla="*/ 6020 h 10000"/>
                    <a:gd name="connsiteX65" fmla="*/ 6056 w 10000"/>
                    <a:gd name="connsiteY65" fmla="*/ 5959 h 10000"/>
                    <a:gd name="connsiteX66" fmla="*/ 6056 w 10000"/>
                    <a:gd name="connsiteY66" fmla="*/ 5959 h 10000"/>
                    <a:gd name="connsiteX67" fmla="*/ 8056 w 10000"/>
                    <a:gd name="connsiteY67" fmla="*/ 5940 h 10000"/>
                    <a:gd name="connsiteX68" fmla="*/ 10000 w 10000"/>
                    <a:gd name="connsiteY68" fmla="*/ 6142 h 10000"/>
                    <a:gd name="connsiteX69" fmla="*/ 10000 w 10000"/>
                    <a:gd name="connsiteY69" fmla="*/ 4337 h 10000"/>
                    <a:gd name="connsiteX70" fmla="*/ 10000 w 10000"/>
                    <a:gd name="connsiteY70" fmla="*/ 4337 h 10000"/>
                    <a:gd name="connsiteX71" fmla="*/ 7778 w 10000"/>
                    <a:gd name="connsiteY71" fmla="*/ 3922 h 10000"/>
                    <a:gd name="connsiteX72" fmla="*/ 6556 w 10000"/>
                    <a:gd name="connsiteY72" fmla="*/ 3682 h 10000"/>
                    <a:gd name="connsiteX73" fmla="*/ 6556 w 10000"/>
                    <a:gd name="connsiteY73" fmla="*/ 3682 h 10000"/>
                    <a:gd name="connsiteX74" fmla="*/ 6556 w 10000"/>
                    <a:gd name="connsiteY74" fmla="*/ 3663 h 10000"/>
                    <a:gd name="connsiteX75" fmla="*/ 6556 w 10000"/>
                    <a:gd name="connsiteY75" fmla="*/ 3544 h 10000"/>
                    <a:gd name="connsiteX76" fmla="*/ 6556 w 10000"/>
                    <a:gd name="connsiteY76" fmla="*/ 3544 h 10000"/>
                    <a:gd name="connsiteX77" fmla="*/ 6389 w 10000"/>
                    <a:gd name="connsiteY77" fmla="*/ 3408 h 10000"/>
                    <a:gd name="connsiteX78" fmla="*/ 6056 w 10000"/>
                    <a:gd name="connsiteY78" fmla="*/ 3188 h 10000"/>
                    <a:gd name="connsiteX79" fmla="*/ 5333 w 10000"/>
                    <a:gd name="connsiteY79" fmla="*/ 2770 h 10000"/>
                    <a:gd name="connsiteX80" fmla="*/ 5333 w 10000"/>
                    <a:gd name="connsiteY80" fmla="*/ 2770 h 10000"/>
                    <a:gd name="connsiteX81" fmla="*/ 5167 w 10000"/>
                    <a:gd name="connsiteY81" fmla="*/ 2711 h 10000"/>
                    <a:gd name="connsiteX82" fmla="*/ 4889 w 10000"/>
                    <a:gd name="connsiteY82" fmla="*/ 2632 h 10000"/>
                    <a:gd name="connsiteX83" fmla="*/ 4056 w 10000"/>
                    <a:gd name="connsiteY83" fmla="*/ 2456 h 10000"/>
                    <a:gd name="connsiteX84" fmla="*/ 2889 w 10000"/>
                    <a:gd name="connsiteY84" fmla="*/ 2239 h 10000"/>
                    <a:gd name="connsiteX85" fmla="*/ 2889 w 10000"/>
                    <a:gd name="connsiteY85" fmla="*/ 2239 h 10000"/>
                    <a:gd name="connsiteX86" fmla="*/ 2389 w 10000"/>
                    <a:gd name="connsiteY86" fmla="*/ 2217 h 10000"/>
                    <a:gd name="connsiteX87" fmla="*/ 2000 w 10000"/>
                    <a:gd name="connsiteY87" fmla="*/ 2198 h 10000"/>
                    <a:gd name="connsiteX88" fmla="*/ 1889 w 10000"/>
                    <a:gd name="connsiteY88" fmla="*/ 2179 h 10000"/>
                    <a:gd name="connsiteX89" fmla="*/ 1778 w 10000"/>
                    <a:gd name="connsiteY89" fmla="*/ 2157 h 10000"/>
                    <a:gd name="connsiteX90" fmla="*/ 1778 w 10000"/>
                    <a:gd name="connsiteY90" fmla="*/ 2157 h 10000"/>
                    <a:gd name="connsiteX91" fmla="*/ 1667 w 10000"/>
                    <a:gd name="connsiteY91" fmla="*/ 2079 h 10000"/>
                    <a:gd name="connsiteX92" fmla="*/ 1500 w 10000"/>
                    <a:gd name="connsiteY92" fmla="*/ 1941 h 10000"/>
                    <a:gd name="connsiteX93" fmla="*/ 1444 w 10000"/>
                    <a:gd name="connsiteY93" fmla="*/ 1861 h 10000"/>
                    <a:gd name="connsiteX94" fmla="*/ 1444 w 10000"/>
                    <a:gd name="connsiteY94" fmla="*/ 1782 h 10000"/>
                    <a:gd name="connsiteX95" fmla="*/ 1444 w 10000"/>
                    <a:gd name="connsiteY95" fmla="*/ 1723 h 10000"/>
                    <a:gd name="connsiteX96" fmla="*/ 1556 w 10000"/>
                    <a:gd name="connsiteY96" fmla="*/ 1663 h 10000"/>
                    <a:gd name="connsiteX97" fmla="*/ 1556 w 10000"/>
                    <a:gd name="connsiteY97" fmla="*/ 1663 h 10000"/>
                    <a:gd name="connsiteX98" fmla="*/ 1833 w 10000"/>
                    <a:gd name="connsiteY98" fmla="*/ 1565 h 10000"/>
                    <a:gd name="connsiteX99" fmla="*/ 2111 w 10000"/>
                    <a:gd name="connsiteY99" fmla="*/ 1463 h 10000"/>
                    <a:gd name="connsiteX100" fmla="*/ 2278 w 10000"/>
                    <a:gd name="connsiteY100" fmla="*/ 1406 h 10000"/>
                    <a:gd name="connsiteX101" fmla="*/ 2389 w 10000"/>
                    <a:gd name="connsiteY101" fmla="*/ 1347 h 10000"/>
                    <a:gd name="connsiteX102" fmla="*/ 2389 w 10000"/>
                    <a:gd name="connsiteY102" fmla="*/ 1267 h 10000"/>
                    <a:gd name="connsiteX103" fmla="*/ 2389 w 10000"/>
                    <a:gd name="connsiteY103" fmla="*/ 1170 h 10000"/>
                    <a:gd name="connsiteX104" fmla="*/ 2389 w 10000"/>
                    <a:gd name="connsiteY104" fmla="*/ 1170 h 10000"/>
                    <a:gd name="connsiteX105" fmla="*/ 2167 w 10000"/>
                    <a:gd name="connsiteY105" fmla="*/ 891 h 10000"/>
                    <a:gd name="connsiteX106" fmla="*/ 1889 w 10000"/>
                    <a:gd name="connsiteY106" fmla="*/ 514 h 10000"/>
                    <a:gd name="connsiteX107" fmla="*/ 1667 w 10000"/>
                    <a:gd name="connsiteY107" fmla="*/ 178 h 10000"/>
                    <a:gd name="connsiteX108" fmla="*/ 1611 w 10000"/>
                    <a:gd name="connsiteY108" fmla="*/ 80 h 10000"/>
                    <a:gd name="connsiteX109" fmla="*/ 1611 w 10000"/>
                    <a:gd name="connsiteY109" fmla="*/ 42 h 10000"/>
                    <a:gd name="connsiteX110" fmla="*/ 1667 w 10000"/>
                    <a:gd name="connsiteY110" fmla="*/ 18 h 10000"/>
                    <a:gd name="connsiteX111" fmla="*/ 2222 w 10000"/>
                    <a:gd name="connsiteY111" fmla="*/ 0 h 10000"/>
                    <a:gd name="connsiteX112" fmla="*/ 2389 w 10000"/>
                    <a:gd name="connsiteY112" fmla="*/ 18 h 10000"/>
                    <a:gd name="connsiteX113" fmla="*/ 2389 w 10000"/>
                    <a:gd name="connsiteY113" fmla="*/ 18 h 10000"/>
                    <a:gd name="connsiteX114" fmla="*/ 10000 w 10000"/>
                    <a:gd name="connsiteY114" fmla="*/ 8673 h 10000"/>
                    <a:gd name="connsiteX115" fmla="*/ 10000 w 10000"/>
                    <a:gd name="connsiteY115" fmla="*/ 8673 h 10000"/>
                    <a:gd name="connsiteX116" fmla="*/ 9722 w 10000"/>
                    <a:gd name="connsiteY116" fmla="*/ 8652 h 10000"/>
                    <a:gd name="connsiteX117" fmla="*/ 9389 w 10000"/>
                    <a:gd name="connsiteY117" fmla="*/ 8673 h 10000"/>
                    <a:gd name="connsiteX118" fmla="*/ 9389 w 10000"/>
                    <a:gd name="connsiteY118" fmla="*/ 8673 h 10000"/>
                    <a:gd name="connsiteX119" fmla="*/ 9278 w 10000"/>
                    <a:gd name="connsiteY119" fmla="*/ 8696 h 10000"/>
                    <a:gd name="connsiteX120" fmla="*/ 9056 w 10000"/>
                    <a:gd name="connsiteY120" fmla="*/ 8673 h 10000"/>
                    <a:gd name="connsiteX121" fmla="*/ 8889 w 10000"/>
                    <a:gd name="connsiteY121" fmla="*/ 8652 h 10000"/>
                    <a:gd name="connsiteX122" fmla="*/ 8722 w 10000"/>
                    <a:gd name="connsiteY122" fmla="*/ 8614 h 10000"/>
                    <a:gd name="connsiteX123" fmla="*/ 8611 w 10000"/>
                    <a:gd name="connsiteY123" fmla="*/ 8553 h 10000"/>
                    <a:gd name="connsiteX124" fmla="*/ 8444 w 10000"/>
                    <a:gd name="connsiteY124" fmla="*/ 8455 h 10000"/>
                    <a:gd name="connsiteX125" fmla="*/ 8444 w 10000"/>
                    <a:gd name="connsiteY125" fmla="*/ 8455 h 10000"/>
                    <a:gd name="connsiteX126" fmla="*/ 8222 w 10000"/>
                    <a:gd name="connsiteY126" fmla="*/ 8279 h 10000"/>
                    <a:gd name="connsiteX127" fmla="*/ 8111 w 10000"/>
                    <a:gd name="connsiteY127" fmla="*/ 8200 h 10000"/>
                    <a:gd name="connsiteX128" fmla="*/ 7944 w 10000"/>
                    <a:gd name="connsiteY128" fmla="*/ 8140 h 10000"/>
                    <a:gd name="connsiteX129" fmla="*/ 7778 w 10000"/>
                    <a:gd name="connsiteY129" fmla="*/ 8101 h 10000"/>
                    <a:gd name="connsiteX130" fmla="*/ 7556 w 10000"/>
                    <a:gd name="connsiteY130" fmla="*/ 8077 h 10000"/>
                    <a:gd name="connsiteX131" fmla="*/ 7333 w 10000"/>
                    <a:gd name="connsiteY131" fmla="*/ 8060 h 10000"/>
                    <a:gd name="connsiteX132" fmla="*/ 7000 w 10000"/>
                    <a:gd name="connsiteY132" fmla="*/ 8038 h 10000"/>
                    <a:gd name="connsiteX133" fmla="*/ 7000 w 10000"/>
                    <a:gd name="connsiteY133" fmla="*/ 8038 h 10000"/>
                    <a:gd name="connsiteX134" fmla="*/ 6556 w 10000"/>
                    <a:gd name="connsiteY134" fmla="*/ 8060 h 10000"/>
                    <a:gd name="connsiteX135" fmla="*/ 6222 w 10000"/>
                    <a:gd name="connsiteY135" fmla="*/ 8060 h 10000"/>
                    <a:gd name="connsiteX136" fmla="*/ 6111 w 10000"/>
                    <a:gd name="connsiteY136" fmla="*/ 8038 h 10000"/>
                    <a:gd name="connsiteX137" fmla="*/ 6056 w 10000"/>
                    <a:gd name="connsiteY137" fmla="*/ 8019 h 10000"/>
                    <a:gd name="connsiteX138" fmla="*/ 6056 w 10000"/>
                    <a:gd name="connsiteY138" fmla="*/ 8019 h 10000"/>
                    <a:gd name="connsiteX139" fmla="*/ 6056 w 10000"/>
                    <a:gd name="connsiteY139" fmla="*/ 7665 h 10000"/>
                    <a:gd name="connsiteX140" fmla="*/ 6056 w 10000"/>
                    <a:gd name="connsiteY140" fmla="*/ 7665 h 10000"/>
                    <a:gd name="connsiteX141" fmla="*/ 6056 w 10000"/>
                    <a:gd name="connsiteY141" fmla="*/ 7582 h 10000"/>
                    <a:gd name="connsiteX142" fmla="*/ 5944 w 10000"/>
                    <a:gd name="connsiteY142" fmla="*/ 7485 h 10000"/>
                    <a:gd name="connsiteX143" fmla="*/ 5889 w 10000"/>
                    <a:gd name="connsiteY143" fmla="*/ 7464 h 10000"/>
                    <a:gd name="connsiteX144" fmla="*/ 5778 w 10000"/>
                    <a:gd name="connsiteY144" fmla="*/ 7446 h 10000"/>
                    <a:gd name="connsiteX145" fmla="*/ 5667 w 10000"/>
                    <a:gd name="connsiteY145" fmla="*/ 7446 h 10000"/>
                    <a:gd name="connsiteX146" fmla="*/ 5500 w 10000"/>
                    <a:gd name="connsiteY146" fmla="*/ 7464 h 10000"/>
                    <a:gd name="connsiteX147" fmla="*/ 5500 w 10000"/>
                    <a:gd name="connsiteY147" fmla="*/ 7464 h 10000"/>
                    <a:gd name="connsiteX148" fmla="*/ 4889 w 10000"/>
                    <a:gd name="connsiteY148" fmla="*/ 7603 h 10000"/>
                    <a:gd name="connsiteX149" fmla="*/ 4611 w 10000"/>
                    <a:gd name="connsiteY149" fmla="*/ 7645 h 10000"/>
                    <a:gd name="connsiteX150" fmla="*/ 4556 w 10000"/>
                    <a:gd name="connsiteY150" fmla="*/ 7665 h 10000"/>
                    <a:gd name="connsiteX151" fmla="*/ 4500 w 10000"/>
                    <a:gd name="connsiteY151" fmla="*/ 7645 h 10000"/>
                    <a:gd name="connsiteX152" fmla="*/ 4500 w 10000"/>
                    <a:gd name="connsiteY152" fmla="*/ 7645 h 10000"/>
                    <a:gd name="connsiteX153" fmla="*/ 4222 w 10000"/>
                    <a:gd name="connsiteY153" fmla="*/ 7446 h 10000"/>
                    <a:gd name="connsiteX154" fmla="*/ 4222 w 10000"/>
                    <a:gd name="connsiteY154" fmla="*/ 7446 h 10000"/>
                    <a:gd name="connsiteX155" fmla="*/ 4111 w 10000"/>
                    <a:gd name="connsiteY155" fmla="*/ 7347 h 10000"/>
                    <a:gd name="connsiteX156" fmla="*/ 4111 w 10000"/>
                    <a:gd name="connsiteY156" fmla="*/ 7286 h 10000"/>
                    <a:gd name="connsiteX157" fmla="*/ 4111 w 10000"/>
                    <a:gd name="connsiteY157" fmla="*/ 7228 h 10000"/>
                    <a:gd name="connsiteX158" fmla="*/ 4111 w 10000"/>
                    <a:gd name="connsiteY158" fmla="*/ 7228 h 10000"/>
                    <a:gd name="connsiteX159" fmla="*/ 4278 w 10000"/>
                    <a:gd name="connsiteY159" fmla="*/ 7168 h 10000"/>
                    <a:gd name="connsiteX160" fmla="*/ 4389 w 10000"/>
                    <a:gd name="connsiteY160" fmla="*/ 7149 h 10000"/>
                    <a:gd name="connsiteX161" fmla="*/ 4389 w 10000"/>
                    <a:gd name="connsiteY161" fmla="*/ 7149 h 10000"/>
                    <a:gd name="connsiteX162" fmla="*/ 4000 w 10000"/>
                    <a:gd name="connsiteY162" fmla="*/ 7149 h 10000"/>
                    <a:gd name="connsiteX163" fmla="*/ 3722 w 10000"/>
                    <a:gd name="connsiteY163" fmla="*/ 7168 h 10000"/>
                    <a:gd name="connsiteX164" fmla="*/ 3611 w 10000"/>
                    <a:gd name="connsiteY164" fmla="*/ 7189 h 10000"/>
                    <a:gd name="connsiteX165" fmla="*/ 3556 w 10000"/>
                    <a:gd name="connsiteY165" fmla="*/ 7210 h 10000"/>
                    <a:gd name="connsiteX166" fmla="*/ 3556 w 10000"/>
                    <a:gd name="connsiteY166" fmla="*/ 7210 h 10000"/>
                    <a:gd name="connsiteX167" fmla="*/ 3444 w 10000"/>
                    <a:gd name="connsiteY167" fmla="*/ 7286 h 10000"/>
                    <a:gd name="connsiteX168" fmla="*/ 3278 w 10000"/>
                    <a:gd name="connsiteY168" fmla="*/ 7407 h 10000"/>
                    <a:gd name="connsiteX169" fmla="*/ 3000 w 10000"/>
                    <a:gd name="connsiteY169" fmla="*/ 7544 h 10000"/>
                    <a:gd name="connsiteX170" fmla="*/ 2667 w 10000"/>
                    <a:gd name="connsiteY170" fmla="*/ 7645 h 10000"/>
                    <a:gd name="connsiteX171" fmla="*/ 2667 w 10000"/>
                    <a:gd name="connsiteY171" fmla="*/ 7645 h 10000"/>
                    <a:gd name="connsiteX172" fmla="*/ 2333 w 10000"/>
                    <a:gd name="connsiteY172" fmla="*/ 7725 h 10000"/>
                    <a:gd name="connsiteX173" fmla="*/ 1833 w 10000"/>
                    <a:gd name="connsiteY173" fmla="*/ 7803 h 10000"/>
                    <a:gd name="connsiteX174" fmla="*/ 1389 w 10000"/>
                    <a:gd name="connsiteY174" fmla="*/ 7843 h 10000"/>
                    <a:gd name="connsiteX175" fmla="*/ 889 w 10000"/>
                    <a:gd name="connsiteY175" fmla="*/ 7862 h 10000"/>
                    <a:gd name="connsiteX176" fmla="*/ 889 w 10000"/>
                    <a:gd name="connsiteY176" fmla="*/ 7862 h 10000"/>
                    <a:gd name="connsiteX177" fmla="*/ 500 w 10000"/>
                    <a:gd name="connsiteY177" fmla="*/ 7884 h 10000"/>
                    <a:gd name="connsiteX178" fmla="*/ 222 w 10000"/>
                    <a:gd name="connsiteY178" fmla="*/ 7902 h 10000"/>
                    <a:gd name="connsiteX179" fmla="*/ 0 w 10000"/>
                    <a:gd name="connsiteY179" fmla="*/ 7921 h 10000"/>
                    <a:gd name="connsiteX180" fmla="*/ 0 w 10000"/>
                    <a:gd name="connsiteY180" fmla="*/ 7921 h 10000"/>
                    <a:gd name="connsiteX181" fmla="*/ 278 w 10000"/>
                    <a:gd name="connsiteY181" fmla="*/ 8239 h 10000"/>
                    <a:gd name="connsiteX182" fmla="*/ 500 w 10000"/>
                    <a:gd name="connsiteY182" fmla="*/ 8473 h 10000"/>
                    <a:gd name="connsiteX183" fmla="*/ 722 w 10000"/>
                    <a:gd name="connsiteY183" fmla="*/ 8673 h 10000"/>
                    <a:gd name="connsiteX184" fmla="*/ 722 w 10000"/>
                    <a:gd name="connsiteY184" fmla="*/ 8673 h 10000"/>
                    <a:gd name="connsiteX185" fmla="*/ 889 w 10000"/>
                    <a:gd name="connsiteY185" fmla="*/ 8793 h 10000"/>
                    <a:gd name="connsiteX186" fmla="*/ 944 w 10000"/>
                    <a:gd name="connsiteY186" fmla="*/ 8893 h 10000"/>
                    <a:gd name="connsiteX187" fmla="*/ 1111 w 10000"/>
                    <a:gd name="connsiteY187" fmla="*/ 8993 h 10000"/>
                    <a:gd name="connsiteX188" fmla="*/ 1333 w 10000"/>
                    <a:gd name="connsiteY188" fmla="*/ 9147 h 10000"/>
                    <a:gd name="connsiteX189" fmla="*/ 1333 w 10000"/>
                    <a:gd name="connsiteY189" fmla="*/ 9147 h 10000"/>
                    <a:gd name="connsiteX190" fmla="*/ 1444 w 10000"/>
                    <a:gd name="connsiteY190" fmla="*/ 9228 h 10000"/>
                    <a:gd name="connsiteX191" fmla="*/ 1500 w 10000"/>
                    <a:gd name="connsiteY191" fmla="*/ 9287 h 10000"/>
                    <a:gd name="connsiteX192" fmla="*/ 1500 w 10000"/>
                    <a:gd name="connsiteY192" fmla="*/ 9345 h 10000"/>
                    <a:gd name="connsiteX193" fmla="*/ 1556 w 10000"/>
                    <a:gd name="connsiteY193" fmla="*/ 9368 h 10000"/>
                    <a:gd name="connsiteX194" fmla="*/ 1722 w 10000"/>
                    <a:gd name="connsiteY194" fmla="*/ 9385 h 10000"/>
                    <a:gd name="connsiteX195" fmla="*/ 1944 w 10000"/>
                    <a:gd name="connsiteY195" fmla="*/ 9405 h 10000"/>
                    <a:gd name="connsiteX196" fmla="*/ 2944 w 10000"/>
                    <a:gd name="connsiteY196" fmla="*/ 9425 h 10000"/>
                    <a:gd name="connsiteX197" fmla="*/ 2944 w 10000"/>
                    <a:gd name="connsiteY197" fmla="*/ 9425 h 10000"/>
                    <a:gd name="connsiteX198" fmla="*/ 4167 w 10000"/>
                    <a:gd name="connsiteY198" fmla="*/ 9465 h 10000"/>
                    <a:gd name="connsiteX199" fmla="*/ 4889 w 10000"/>
                    <a:gd name="connsiteY199" fmla="*/ 9524 h 10000"/>
                    <a:gd name="connsiteX200" fmla="*/ 5278 w 10000"/>
                    <a:gd name="connsiteY200" fmla="*/ 9586 h 10000"/>
                    <a:gd name="connsiteX201" fmla="*/ 5444 w 10000"/>
                    <a:gd name="connsiteY201" fmla="*/ 9602 h 10000"/>
                    <a:gd name="connsiteX202" fmla="*/ 5444 w 10000"/>
                    <a:gd name="connsiteY202" fmla="*/ 9602 h 10000"/>
                    <a:gd name="connsiteX203" fmla="*/ 5722 w 10000"/>
                    <a:gd name="connsiteY203" fmla="*/ 9645 h 10000"/>
                    <a:gd name="connsiteX204" fmla="*/ 5833 w 10000"/>
                    <a:gd name="connsiteY204" fmla="*/ 9666 h 10000"/>
                    <a:gd name="connsiteX205" fmla="*/ 5833 w 10000"/>
                    <a:gd name="connsiteY205" fmla="*/ 9666 h 10000"/>
                    <a:gd name="connsiteX206" fmla="*/ 5833 w 10000"/>
                    <a:gd name="connsiteY206" fmla="*/ 9645 h 10000"/>
                    <a:gd name="connsiteX207" fmla="*/ 5889 w 10000"/>
                    <a:gd name="connsiteY207" fmla="*/ 9624 h 10000"/>
                    <a:gd name="connsiteX208" fmla="*/ 6000 w 10000"/>
                    <a:gd name="connsiteY208" fmla="*/ 9602 h 10000"/>
                    <a:gd name="connsiteX209" fmla="*/ 6167 w 10000"/>
                    <a:gd name="connsiteY209" fmla="*/ 9586 h 10000"/>
                    <a:gd name="connsiteX210" fmla="*/ 6444 w 10000"/>
                    <a:gd name="connsiteY210" fmla="*/ 9586 h 10000"/>
                    <a:gd name="connsiteX211" fmla="*/ 6833 w 10000"/>
                    <a:gd name="connsiteY211" fmla="*/ 9602 h 10000"/>
                    <a:gd name="connsiteX212" fmla="*/ 7278 w 10000"/>
                    <a:gd name="connsiteY212" fmla="*/ 9666 h 10000"/>
                    <a:gd name="connsiteX213" fmla="*/ 7278 w 10000"/>
                    <a:gd name="connsiteY213" fmla="*/ 9666 h 10000"/>
                    <a:gd name="connsiteX214" fmla="*/ 8722 w 10000"/>
                    <a:gd name="connsiteY214" fmla="*/ 9840 h 10000"/>
                    <a:gd name="connsiteX215" fmla="*/ 10000 w 10000"/>
                    <a:gd name="connsiteY215" fmla="*/ 10000 h 10000"/>
                    <a:gd name="connsiteX0" fmla="*/ 10000 w 10000"/>
                    <a:gd name="connsiteY0" fmla="*/ 8652 h 10000"/>
                    <a:gd name="connsiteX1" fmla="*/ 10000 w 10000"/>
                    <a:gd name="connsiteY1" fmla="*/ 8652 h 10000"/>
                    <a:gd name="connsiteX2" fmla="*/ 9222 w 10000"/>
                    <a:gd name="connsiteY2" fmla="*/ 8673 h 10000"/>
                    <a:gd name="connsiteX3" fmla="*/ 8944 w 10000"/>
                    <a:gd name="connsiteY3" fmla="*/ 8673 h 10000"/>
                    <a:gd name="connsiteX4" fmla="*/ 8833 w 10000"/>
                    <a:gd name="connsiteY4" fmla="*/ 8652 h 10000"/>
                    <a:gd name="connsiteX5" fmla="*/ 8778 w 10000"/>
                    <a:gd name="connsiteY5" fmla="*/ 8634 h 10000"/>
                    <a:gd name="connsiteX6" fmla="*/ 8778 w 10000"/>
                    <a:gd name="connsiteY6" fmla="*/ 8634 h 10000"/>
                    <a:gd name="connsiteX7" fmla="*/ 8444 w 10000"/>
                    <a:gd name="connsiteY7" fmla="*/ 8395 h 10000"/>
                    <a:gd name="connsiteX8" fmla="*/ 8167 w 10000"/>
                    <a:gd name="connsiteY8" fmla="*/ 8177 h 10000"/>
                    <a:gd name="connsiteX9" fmla="*/ 8167 w 10000"/>
                    <a:gd name="connsiteY9" fmla="*/ 8177 h 10000"/>
                    <a:gd name="connsiteX10" fmla="*/ 8056 w 10000"/>
                    <a:gd name="connsiteY10" fmla="*/ 8140 h 10000"/>
                    <a:gd name="connsiteX11" fmla="*/ 7889 w 10000"/>
                    <a:gd name="connsiteY11" fmla="*/ 8101 h 10000"/>
                    <a:gd name="connsiteX12" fmla="*/ 7444 w 10000"/>
                    <a:gd name="connsiteY12" fmla="*/ 8077 h 10000"/>
                    <a:gd name="connsiteX13" fmla="*/ 6889 w 10000"/>
                    <a:gd name="connsiteY13" fmla="*/ 8060 h 10000"/>
                    <a:gd name="connsiteX14" fmla="*/ 6389 w 10000"/>
                    <a:gd name="connsiteY14" fmla="*/ 8060 h 10000"/>
                    <a:gd name="connsiteX15" fmla="*/ 6389 w 10000"/>
                    <a:gd name="connsiteY15" fmla="*/ 8060 h 10000"/>
                    <a:gd name="connsiteX16" fmla="*/ 6167 w 10000"/>
                    <a:gd name="connsiteY16" fmla="*/ 8038 h 10000"/>
                    <a:gd name="connsiteX17" fmla="*/ 6056 w 10000"/>
                    <a:gd name="connsiteY17" fmla="*/ 8001 h 10000"/>
                    <a:gd name="connsiteX18" fmla="*/ 6000 w 10000"/>
                    <a:gd name="connsiteY18" fmla="*/ 7961 h 10000"/>
                    <a:gd name="connsiteX19" fmla="*/ 6000 w 10000"/>
                    <a:gd name="connsiteY19" fmla="*/ 7884 h 10000"/>
                    <a:gd name="connsiteX20" fmla="*/ 6056 w 10000"/>
                    <a:gd name="connsiteY20" fmla="*/ 7725 h 10000"/>
                    <a:gd name="connsiteX21" fmla="*/ 6111 w 10000"/>
                    <a:gd name="connsiteY21" fmla="*/ 7645 h 10000"/>
                    <a:gd name="connsiteX22" fmla="*/ 6056 w 10000"/>
                    <a:gd name="connsiteY22" fmla="*/ 7544 h 10000"/>
                    <a:gd name="connsiteX23" fmla="*/ 6056 w 10000"/>
                    <a:gd name="connsiteY23" fmla="*/ 7544 h 10000"/>
                    <a:gd name="connsiteX24" fmla="*/ 6000 w 10000"/>
                    <a:gd name="connsiteY24" fmla="*/ 7485 h 10000"/>
                    <a:gd name="connsiteX25" fmla="*/ 5944 w 10000"/>
                    <a:gd name="connsiteY25" fmla="*/ 7446 h 10000"/>
                    <a:gd name="connsiteX26" fmla="*/ 5833 w 10000"/>
                    <a:gd name="connsiteY26" fmla="*/ 7446 h 10000"/>
                    <a:gd name="connsiteX27" fmla="*/ 5667 w 10000"/>
                    <a:gd name="connsiteY27" fmla="*/ 7464 h 10000"/>
                    <a:gd name="connsiteX28" fmla="*/ 5333 w 10000"/>
                    <a:gd name="connsiteY28" fmla="*/ 7524 h 10000"/>
                    <a:gd name="connsiteX29" fmla="*/ 4889 w 10000"/>
                    <a:gd name="connsiteY29" fmla="*/ 7624 h 10000"/>
                    <a:gd name="connsiteX30" fmla="*/ 4889 w 10000"/>
                    <a:gd name="connsiteY30" fmla="*/ 7624 h 10000"/>
                    <a:gd name="connsiteX31" fmla="*/ 4611 w 10000"/>
                    <a:gd name="connsiteY31" fmla="*/ 7645 h 10000"/>
                    <a:gd name="connsiteX32" fmla="*/ 4500 w 10000"/>
                    <a:gd name="connsiteY32" fmla="*/ 7645 h 10000"/>
                    <a:gd name="connsiteX33" fmla="*/ 4444 w 10000"/>
                    <a:gd name="connsiteY33" fmla="*/ 7624 h 10000"/>
                    <a:gd name="connsiteX34" fmla="*/ 4389 w 10000"/>
                    <a:gd name="connsiteY34" fmla="*/ 7544 h 10000"/>
                    <a:gd name="connsiteX35" fmla="*/ 4222 w 10000"/>
                    <a:gd name="connsiteY35" fmla="*/ 7446 h 10000"/>
                    <a:gd name="connsiteX36" fmla="*/ 4222 w 10000"/>
                    <a:gd name="connsiteY36" fmla="*/ 7446 h 10000"/>
                    <a:gd name="connsiteX37" fmla="*/ 4111 w 10000"/>
                    <a:gd name="connsiteY37" fmla="*/ 7385 h 10000"/>
                    <a:gd name="connsiteX38" fmla="*/ 4111 w 10000"/>
                    <a:gd name="connsiteY38" fmla="*/ 7326 h 10000"/>
                    <a:gd name="connsiteX39" fmla="*/ 4111 w 10000"/>
                    <a:gd name="connsiteY39" fmla="*/ 7286 h 10000"/>
                    <a:gd name="connsiteX40" fmla="*/ 4167 w 10000"/>
                    <a:gd name="connsiteY40" fmla="*/ 7247 h 10000"/>
                    <a:gd name="connsiteX41" fmla="*/ 4278 w 10000"/>
                    <a:gd name="connsiteY41" fmla="*/ 7168 h 10000"/>
                    <a:gd name="connsiteX42" fmla="*/ 4389 w 10000"/>
                    <a:gd name="connsiteY42" fmla="*/ 7149 h 10000"/>
                    <a:gd name="connsiteX43" fmla="*/ 4389 w 10000"/>
                    <a:gd name="connsiteY43" fmla="*/ 7149 h 10000"/>
                    <a:gd name="connsiteX44" fmla="*/ 4389 w 10000"/>
                    <a:gd name="connsiteY44" fmla="*/ 7128 h 10000"/>
                    <a:gd name="connsiteX45" fmla="*/ 4444 w 10000"/>
                    <a:gd name="connsiteY45" fmla="*/ 7111 h 10000"/>
                    <a:gd name="connsiteX46" fmla="*/ 4667 w 10000"/>
                    <a:gd name="connsiteY46" fmla="*/ 7088 h 10000"/>
                    <a:gd name="connsiteX47" fmla="*/ 5333 w 10000"/>
                    <a:gd name="connsiteY47" fmla="*/ 7051 h 10000"/>
                    <a:gd name="connsiteX48" fmla="*/ 6500 w 10000"/>
                    <a:gd name="connsiteY48" fmla="*/ 6990 h 10000"/>
                    <a:gd name="connsiteX49" fmla="*/ 6500 w 10000"/>
                    <a:gd name="connsiteY49" fmla="*/ 6990 h 10000"/>
                    <a:gd name="connsiteX50" fmla="*/ 7167 w 10000"/>
                    <a:gd name="connsiteY50" fmla="*/ 6932 h 10000"/>
                    <a:gd name="connsiteX51" fmla="*/ 8389 w 10000"/>
                    <a:gd name="connsiteY51" fmla="*/ 6813 h 10000"/>
                    <a:gd name="connsiteX52" fmla="*/ 8389 w 10000"/>
                    <a:gd name="connsiteY52" fmla="*/ 6813 h 10000"/>
                    <a:gd name="connsiteX53" fmla="*/ 8667 w 10000"/>
                    <a:gd name="connsiteY53" fmla="*/ 6771 h 10000"/>
                    <a:gd name="connsiteX54" fmla="*/ 8778 w 10000"/>
                    <a:gd name="connsiteY54" fmla="*/ 6711 h 10000"/>
                    <a:gd name="connsiteX55" fmla="*/ 8889 w 10000"/>
                    <a:gd name="connsiteY55" fmla="*/ 6673 h 10000"/>
                    <a:gd name="connsiteX56" fmla="*/ 8833 w 10000"/>
                    <a:gd name="connsiteY56" fmla="*/ 6633 h 10000"/>
                    <a:gd name="connsiteX57" fmla="*/ 8833 w 10000"/>
                    <a:gd name="connsiteY57" fmla="*/ 6596 h 10000"/>
                    <a:gd name="connsiteX58" fmla="*/ 8722 w 10000"/>
                    <a:gd name="connsiteY58" fmla="*/ 6553 h 10000"/>
                    <a:gd name="connsiteX59" fmla="*/ 8556 w 10000"/>
                    <a:gd name="connsiteY59" fmla="*/ 6493 h 10000"/>
                    <a:gd name="connsiteX60" fmla="*/ 8556 w 10000"/>
                    <a:gd name="connsiteY60" fmla="*/ 6493 h 10000"/>
                    <a:gd name="connsiteX61" fmla="*/ 6556 w 10000"/>
                    <a:gd name="connsiteY61" fmla="*/ 6142 h 10000"/>
                    <a:gd name="connsiteX62" fmla="*/ 6556 w 10000"/>
                    <a:gd name="connsiteY62" fmla="*/ 6142 h 10000"/>
                    <a:gd name="connsiteX63" fmla="*/ 6333 w 10000"/>
                    <a:gd name="connsiteY63" fmla="*/ 6081 h 10000"/>
                    <a:gd name="connsiteX64" fmla="*/ 6167 w 10000"/>
                    <a:gd name="connsiteY64" fmla="*/ 6020 h 10000"/>
                    <a:gd name="connsiteX65" fmla="*/ 6056 w 10000"/>
                    <a:gd name="connsiteY65" fmla="*/ 5959 h 10000"/>
                    <a:gd name="connsiteX66" fmla="*/ 6056 w 10000"/>
                    <a:gd name="connsiteY66" fmla="*/ 5959 h 10000"/>
                    <a:gd name="connsiteX67" fmla="*/ 8056 w 10000"/>
                    <a:gd name="connsiteY67" fmla="*/ 5940 h 10000"/>
                    <a:gd name="connsiteX68" fmla="*/ 10000 w 10000"/>
                    <a:gd name="connsiteY68" fmla="*/ 6142 h 10000"/>
                    <a:gd name="connsiteX69" fmla="*/ 10000 w 10000"/>
                    <a:gd name="connsiteY69" fmla="*/ 4337 h 10000"/>
                    <a:gd name="connsiteX70" fmla="*/ 10000 w 10000"/>
                    <a:gd name="connsiteY70" fmla="*/ 4337 h 10000"/>
                    <a:gd name="connsiteX71" fmla="*/ 7778 w 10000"/>
                    <a:gd name="connsiteY71" fmla="*/ 3922 h 10000"/>
                    <a:gd name="connsiteX72" fmla="*/ 6556 w 10000"/>
                    <a:gd name="connsiteY72" fmla="*/ 3682 h 10000"/>
                    <a:gd name="connsiteX73" fmla="*/ 6556 w 10000"/>
                    <a:gd name="connsiteY73" fmla="*/ 3682 h 10000"/>
                    <a:gd name="connsiteX74" fmla="*/ 6556 w 10000"/>
                    <a:gd name="connsiteY74" fmla="*/ 3663 h 10000"/>
                    <a:gd name="connsiteX75" fmla="*/ 6556 w 10000"/>
                    <a:gd name="connsiteY75" fmla="*/ 3544 h 10000"/>
                    <a:gd name="connsiteX76" fmla="*/ 6556 w 10000"/>
                    <a:gd name="connsiteY76" fmla="*/ 3544 h 10000"/>
                    <a:gd name="connsiteX77" fmla="*/ 6389 w 10000"/>
                    <a:gd name="connsiteY77" fmla="*/ 3408 h 10000"/>
                    <a:gd name="connsiteX78" fmla="*/ 6056 w 10000"/>
                    <a:gd name="connsiteY78" fmla="*/ 3188 h 10000"/>
                    <a:gd name="connsiteX79" fmla="*/ 5333 w 10000"/>
                    <a:gd name="connsiteY79" fmla="*/ 2770 h 10000"/>
                    <a:gd name="connsiteX80" fmla="*/ 5333 w 10000"/>
                    <a:gd name="connsiteY80" fmla="*/ 2770 h 10000"/>
                    <a:gd name="connsiteX81" fmla="*/ 5167 w 10000"/>
                    <a:gd name="connsiteY81" fmla="*/ 2711 h 10000"/>
                    <a:gd name="connsiteX82" fmla="*/ 4889 w 10000"/>
                    <a:gd name="connsiteY82" fmla="*/ 2632 h 10000"/>
                    <a:gd name="connsiteX83" fmla="*/ 4056 w 10000"/>
                    <a:gd name="connsiteY83" fmla="*/ 2456 h 10000"/>
                    <a:gd name="connsiteX84" fmla="*/ 2889 w 10000"/>
                    <a:gd name="connsiteY84" fmla="*/ 2239 h 10000"/>
                    <a:gd name="connsiteX85" fmla="*/ 2889 w 10000"/>
                    <a:gd name="connsiteY85" fmla="*/ 2239 h 10000"/>
                    <a:gd name="connsiteX86" fmla="*/ 2389 w 10000"/>
                    <a:gd name="connsiteY86" fmla="*/ 2217 h 10000"/>
                    <a:gd name="connsiteX87" fmla="*/ 2000 w 10000"/>
                    <a:gd name="connsiteY87" fmla="*/ 2198 h 10000"/>
                    <a:gd name="connsiteX88" fmla="*/ 1889 w 10000"/>
                    <a:gd name="connsiteY88" fmla="*/ 2179 h 10000"/>
                    <a:gd name="connsiteX89" fmla="*/ 1778 w 10000"/>
                    <a:gd name="connsiteY89" fmla="*/ 2157 h 10000"/>
                    <a:gd name="connsiteX90" fmla="*/ 1778 w 10000"/>
                    <a:gd name="connsiteY90" fmla="*/ 2157 h 10000"/>
                    <a:gd name="connsiteX91" fmla="*/ 1667 w 10000"/>
                    <a:gd name="connsiteY91" fmla="*/ 2079 h 10000"/>
                    <a:gd name="connsiteX92" fmla="*/ 1500 w 10000"/>
                    <a:gd name="connsiteY92" fmla="*/ 1941 h 10000"/>
                    <a:gd name="connsiteX93" fmla="*/ 1444 w 10000"/>
                    <a:gd name="connsiteY93" fmla="*/ 1861 h 10000"/>
                    <a:gd name="connsiteX94" fmla="*/ 1444 w 10000"/>
                    <a:gd name="connsiteY94" fmla="*/ 1782 h 10000"/>
                    <a:gd name="connsiteX95" fmla="*/ 1444 w 10000"/>
                    <a:gd name="connsiteY95" fmla="*/ 1723 h 10000"/>
                    <a:gd name="connsiteX96" fmla="*/ 1556 w 10000"/>
                    <a:gd name="connsiteY96" fmla="*/ 1663 h 10000"/>
                    <a:gd name="connsiteX97" fmla="*/ 1556 w 10000"/>
                    <a:gd name="connsiteY97" fmla="*/ 1663 h 10000"/>
                    <a:gd name="connsiteX98" fmla="*/ 1833 w 10000"/>
                    <a:gd name="connsiteY98" fmla="*/ 1565 h 10000"/>
                    <a:gd name="connsiteX99" fmla="*/ 2111 w 10000"/>
                    <a:gd name="connsiteY99" fmla="*/ 1463 h 10000"/>
                    <a:gd name="connsiteX100" fmla="*/ 2278 w 10000"/>
                    <a:gd name="connsiteY100" fmla="*/ 1406 h 10000"/>
                    <a:gd name="connsiteX101" fmla="*/ 2389 w 10000"/>
                    <a:gd name="connsiteY101" fmla="*/ 1347 h 10000"/>
                    <a:gd name="connsiteX102" fmla="*/ 2389 w 10000"/>
                    <a:gd name="connsiteY102" fmla="*/ 1267 h 10000"/>
                    <a:gd name="connsiteX103" fmla="*/ 2389 w 10000"/>
                    <a:gd name="connsiteY103" fmla="*/ 1170 h 10000"/>
                    <a:gd name="connsiteX104" fmla="*/ 2389 w 10000"/>
                    <a:gd name="connsiteY104" fmla="*/ 1170 h 10000"/>
                    <a:gd name="connsiteX105" fmla="*/ 2167 w 10000"/>
                    <a:gd name="connsiteY105" fmla="*/ 891 h 10000"/>
                    <a:gd name="connsiteX106" fmla="*/ 1889 w 10000"/>
                    <a:gd name="connsiteY106" fmla="*/ 514 h 10000"/>
                    <a:gd name="connsiteX107" fmla="*/ 1667 w 10000"/>
                    <a:gd name="connsiteY107" fmla="*/ 178 h 10000"/>
                    <a:gd name="connsiteX108" fmla="*/ 1611 w 10000"/>
                    <a:gd name="connsiteY108" fmla="*/ 80 h 10000"/>
                    <a:gd name="connsiteX109" fmla="*/ 1611 w 10000"/>
                    <a:gd name="connsiteY109" fmla="*/ 42 h 10000"/>
                    <a:gd name="connsiteX110" fmla="*/ 1667 w 10000"/>
                    <a:gd name="connsiteY110" fmla="*/ 18 h 10000"/>
                    <a:gd name="connsiteX111" fmla="*/ 2222 w 10000"/>
                    <a:gd name="connsiteY111" fmla="*/ 0 h 10000"/>
                    <a:gd name="connsiteX112" fmla="*/ 2389 w 10000"/>
                    <a:gd name="connsiteY112" fmla="*/ 18 h 10000"/>
                    <a:gd name="connsiteX113" fmla="*/ 10000 w 10000"/>
                    <a:gd name="connsiteY113" fmla="*/ 8673 h 10000"/>
                    <a:gd name="connsiteX114" fmla="*/ 10000 w 10000"/>
                    <a:gd name="connsiteY114" fmla="*/ 8673 h 10000"/>
                    <a:gd name="connsiteX115" fmla="*/ 9722 w 10000"/>
                    <a:gd name="connsiteY115" fmla="*/ 8652 h 10000"/>
                    <a:gd name="connsiteX116" fmla="*/ 9389 w 10000"/>
                    <a:gd name="connsiteY116" fmla="*/ 8673 h 10000"/>
                    <a:gd name="connsiteX117" fmla="*/ 9389 w 10000"/>
                    <a:gd name="connsiteY117" fmla="*/ 8673 h 10000"/>
                    <a:gd name="connsiteX118" fmla="*/ 9278 w 10000"/>
                    <a:gd name="connsiteY118" fmla="*/ 8696 h 10000"/>
                    <a:gd name="connsiteX119" fmla="*/ 9056 w 10000"/>
                    <a:gd name="connsiteY119" fmla="*/ 8673 h 10000"/>
                    <a:gd name="connsiteX120" fmla="*/ 8889 w 10000"/>
                    <a:gd name="connsiteY120" fmla="*/ 8652 h 10000"/>
                    <a:gd name="connsiteX121" fmla="*/ 8722 w 10000"/>
                    <a:gd name="connsiteY121" fmla="*/ 8614 h 10000"/>
                    <a:gd name="connsiteX122" fmla="*/ 8611 w 10000"/>
                    <a:gd name="connsiteY122" fmla="*/ 8553 h 10000"/>
                    <a:gd name="connsiteX123" fmla="*/ 8444 w 10000"/>
                    <a:gd name="connsiteY123" fmla="*/ 8455 h 10000"/>
                    <a:gd name="connsiteX124" fmla="*/ 8444 w 10000"/>
                    <a:gd name="connsiteY124" fmla="*/ 8455 h 10000"/>
                    <a:gd name="connsiteX125" fmla="*/ 8222 w 10000"/>
                    <a:gd name="connsiteY125" fmla="*/ 8279 h 10000"/>
                    <a:gd name="connsiteX126" fmla="*/ 8111 w 10000"/>
                    <a:gd name="connsiteY126" fmla="*/ 8200 h 10000"/>
                    <a:gd name="connsiteX127" fmla="*/ 7944 w 10000"/>
                    <a:gd name="connsiteY127" fmla="*/ 8140 h 10000"/>
                    <a:gd name="connsiteX128" fmla="*/ 7778 w 10000"/>
                    <a:gd name="connsiteY128" fmla="*/ 8101 h 10000"/>
                    <a:gd name="connsiteX129" fmla="*/ 7556 w 10000"/>
                    <a:gd name="connsiteY129" fmla="*/ 8077 h 10000"/>
                    <a:gd name="connsiteX130" fmla="*/ 7333 w 10000"/>
                    <a:gd name="connsiteY130" fmla="*/ 8060 h 10000"/>
                    <a:gd name="connsiteX131" fmla="*/ 7000 w 10000"/>
                    <a:gd name="connsiteY131" fmla="*/ 8038 h 10000"/>
                    <a:gd name="connsiteX132" fmla="*/ 7000 w 10000"/>
                    <a:gd name="connsiteY132" fmla="*/ 8038 h 10000"/>
                    <a:gd name="connsiteX133" fmla="*/ 6556 w 10000"/>
                    <a:gd name="connsiteY133" fmla="*/ 8060 h 10000"/>
                    <a:gd name="connsiteX134" fmla="*/ 6222 w 10000"/>
                    <a:gd name="connsiteY134" fmla="*/ 8060 h 10000"/>
                    <a:gd name="connsiteX135" fmla="*/ 6111 w 10000"/>
                    <a:gd name="connsiteY135" fmla="*/ 8038 h 10000"/>
                    <a:gd name="connsiteX136" fmla="*/ 6056 w 10000"/>
                    <a:gd name="connsiteY136" fmla="*/ 8019 h 10000"/>
                    <a:gd name="connsiteX137" fmla="*/ 6056 w 10000"/>
                    <a:gd name="connsiteY137" fmla="*/ 8019 h 10000"/>
                    <a:gd name="connsiteX138" fmla="*/ 6056 w 10000"/>
                    <a:gd name="connsiteY138" fmla="*/ 7665 h 10000"/>
                    <a:gd name="connsiteX139" fmla="*/ 6056 w 10000"/>
                    <a:gd name="connsiteY139" fmla="*/ 7665 h 10000"/>
                    <a:gd name="connsiteX140" fmla="*/ 6056 w 10000"/>
                    <a:gd name="connsiteY140" fmla="*/ 7582 h 10000"/>
                    <a:gd name="connsiteX141" fmla="*/ 5944 w 10000"/>
                    <a:gd name="connsiteY141" fmla="*/ 7485 h 10000"/>
                    <a:gd name="connsiteX142" fmla="*/ 5889 w 10000"/>
                    <a:gd name="connsiteY142" fmla="*/ 7464 h 10000"/>
                    <a:gd name="connsiteX143" fmla="*/ 5778 w 10000"/>
                    <a:gd name="connsiteY143" fmla="*/ 7446 h 10000"/>
                    <a:gd name="connsiteX144" fmla="*/ 5667 w 10000"/>
                    <a:gd name="connsiteY144" fmla="*/ 7446 h 10000"/>
                    <a:gd name="connsiteX145" fmla="*/ 5500 w 10000"/>
                    <a:gd name="connsiteY145" fmla="*/ 7464 h 10000"/>
                    <a:gd name="connsiteX146" fmla="*/ 5500 w 10000"/>
                    <a:gd name="connsiteY146" fmla="*/ 7464 h 10000"/>
                    <a:gd name="connsiteX147" fmla="*/ 4889 w 10000"/>
                    <a:gd name="connsiteY147" fmla="*/ 7603 h 10000"/>
                    <a:gd name="connsiteX148" fmla="*/ 4611 w 10000"/>
                    <a:gd name="connsiteY148" fmla="*/ 7645 h 10000"/>
                    <a:gd name="connsiteX149" fmla="*/ 4556 w 10000"/>
                    <a:gd name="connsiteY149" fmla="*/ 7665 h 10000"/>
                    <a:gd name="connsiteX150" fmla="*/ 4500 w 10000"/>
                    <a:gd name="connsiteY150" fmla="*/ 7645 h 10000"/>
                    <a:gd name="connsiteX151" fmla="*/ 4500 w 10000"/>
                    <a:gd name="connsiteY151" fmla="*/ 7645 h 10000"/>
                    <a:gd name="connsiteX152" fmla="*/ 4222 w 10000"/>
                    <a:gd name="connsiteY152" fmla="*/ 7446 h 10000"/>
                    <a:gd name="connsiteX153" fmla="*/ 4222 w 10000"/>
                    <a:gd name="connsiteY153" fmla="*/ 7446 h 10000"/>
                    <a:gd name="connsiteX154" fmla="*/ 4111 w 10000"/>
                    <a:gd name="connsiteY154" fmla="*/ 7347 h 10000"/>
                    <a:gd name="connsiteX155" fmla="*/ 4111 w 10000"/>
                    <a:gd name="connsiteY155" fmla="*/ 7286 h 10000"/>
                    <a:gd name="connsiteX156" fmla="*/ 4111 w 10000"/>
                    <a:gd name="connsiteY156" fmla="*/ 7228 h 10000"/>
                    <a:gd name="connsiteX157" fmla="*/ 4111 w 10000"/>
                    <a:gd name="connsiteY157" fmla="*/ 7228 h 10000"/>
                    <a:gd name="connsiteX158" fmla="*/ 4278 w 10000"/>
                    <a:gd name="connsiteY158" fmla="*/ 7168 h 10000"/>
                    <a:gd name="connsiteX159" fmla="*/ 4389 w 10000"/>
                    <a:gd name="connsiteY159" fmla="*/ 7149 h 10000"/>
                    <a:gd name="connsiteX160" fmla="*/ 4389 w 10000"/>
                    <a:gd name="connsiteY160" fmla="*/ 7149 h 10000"/>
                    <a:gd name="connsiteX161" fmla="*/ 4000 w 10000"/>
                    <a:gd name="connsiteY161" fmla="*/ 7149 h 10000"/>
                    <a:gd name="connsiteX162" fmla="*/ 3722 w 10000"/>
                    <a:gd name="connsiteY162" fmla="*/ 7168 h 10000"/>
                    <a:gd name="connsiteX163" fmla="*/ 3611 w 10000"/>
                    <a:gd name="connsiteY163" fmla="*/ 7189 h 10000"/>
                    <a:gd name="connsiteX164" fmla="*/ 3556 w 10000"/>
                    <a:gd name="connsiteY164" fmla="*/ 7210 h 10000"/>
                    <a:gd name="connsiteX165" fmla="*/ 3556 w 10000"/>
                    <a:gd name="connsiteY165" fmla="*/ 7210 h 10000"/>
                    <a:gd name="connsiteX166" fmla="*/ 3444 w 10000"/>
                    <a:gd name="connsiteY166" fmla="*/ 7286 h 10000"/>
                    <a:gd name="connsiteX167" fmla="*/ 3278 w 10000"/>
                    <a:gd name="connsiteY167" fmla="*/ 7407 h 10000"/>
                    <a:gd name="connsiteX168" fmla="*/ 3000 w 10000"/>
                    <a:gd name="connsiteY168" fmla="*/ 7544 h 10000"/>
                    <a:gd name="connsiteX169" fmla="*/ 2667 w 10000"/>
                    <a:gd name="connsiteY169" fmla="*/ 7645 h 10000"/>
                    <a:gd name="connsiteX170" fmla="*/ 2667 w 10000"/>
                    <a:gd name="connsiteY170" fmla="*/ 7645 h 10000"/>
                    <a:gd name="connsiteX171" fmla="*/ 2333 w 10000"/>
                    <a:gd name="connsiteY171" fmla="*/ 7725 h 10000"/>
                    <a:gd name="connsiteX172" fmla="*/ 1833 w 10000"/>
                    <a:gd name="connsiteY172" fmla="*/ 7803 h 10000"/>
                    <a:gd name="connsiteX173" fmla="*/ 1389 w 10000"/>
                    <a:gd name="connsiteY173" fmla="*/ 7843 h 10000"/>
                    <a:gd name="connsiteX174" fmla="*/ 889 w 10000"/>
                    <a:gd name="connsiteY174" fmla="*/ 7862 h 10000"/>
                    <a:gd name="connsiteX175" fmla="*/ 889 w 10000"/>
                    <a:gd name="connsiteY175" fmla="*/ 7862 h 10000"/>
                    <a:gd name="connsiteX176" fmla="*/ 500 w 10000"/>
                    <a:gd name="connsiteY176" fmla="*/ 7884 h 10000"/>
                    <a:gd name="connsiteX177" fmla="*/ 222 w 10000"/>
                    <a:gd name="connsiteY177" fmla="*/ 7902 h 10000"/>
                    <a:gd name="connsiteX178" fmla="*/ 0 w 10000"/>
                    <a:gd name="connsiteY178" fmla="*/ 7921 h 10000"/>
                    <a:gd name="connsiteX179" fmla="*/ 0 w 10000"/>
                    <a:gd name="connsiteY179" fmla="*/ 7921 h 10000"/>
                    <a:gd name="connsiteX180" fmla="*/ 278 w 10000"/>
                    <a:gd name="connsiteY180" fmla="*/ 8239 h 10000"/>
                    <a:gd name="connsiteX181" fmla="*/ 500 w 10000"/>
                    <a:gd name="connsiteY181" fmla="*/ 8473 h 10000"/>
                    <a:gd name="connsiteX182" fmla="*/ 722 w 10000"/>
                    <a:gd name="connsiteY182" fmla="*/ 8673 h 10000"/>
                    <a:gd name="connsiteX183" fmla="*/ 722 w 10000"/>
                    <a:gd name="connsiteY183" fmla="*/ 8673 h 10000"/>
                    <a:gd name="connsiteX184" fmla="*/ 889 w 10000"/>
                    <a:gd name="connsiteY184" fmla="*/ 8793 h 10000"/>
                    <a:gd name="connsiteX185" fmla="*/ 944 w 10000"/>
                    <a:gd name="connsiteY185" fmla="*/ 8893 h 10000"/>
                    <a:gd name="connsiteX186" fmla="*/ 1111 w 10000"/>
                    <a:gd name="connsiteY186" fmla="*/ 8993 h 10000"/>
                    <a:gd name="connsiteX187" fmla="*/ 1333 w 10000"/>
                    <a:gd name="connsiteY187" fmla="*/ 9147 h 10000"/>
                    <a:gd name="connsiteX188" fmla="*/ 1333 w 10000"/>
                    <a:gd name="connsiteY188" fmla="*/ 9147 h 10000"/>
                    <a:gd name="connsiteX189" fmla="*/ 1444 w 10000"/>
                    <a:gd name="connsiteY189" fmla="*/ 9228 h 10000"/>
                    <a:gd name="connsiteX190" fmla="*/ 1500 w 10000"/>
                    <a:gd name="connsiteY190" fmla="*/ 9287 h 10000"/>
                    <a:gd name="connsiteX191" fmla="*/ 1500 w 10000"/>
                    <a:gd name="connsiteY191" fmla="*/ 9345 h 10000"/>
                    <a:gd name="connsiteX192" fmla="*/ 1556 w 10000"/>
                    <a:gd name="connsiteY192" fmla="*/ 9368 h 10000"/>
                    <a:gd name="connsiteX193" fmla="*/ 1722 w 10000"/>
                    <a:gd name="connsiteY193" fmla="*/ 9385 h 10000"/>
                    <a:gd name="connsiteX194" fmla="*/ 1944 w 10000"/>
                    <a:gd name="connsiteY194" fmla="*/ 9405 h 10000"/>
                    <a:gd name="connsiteX195" fmla="*/ 2944 w 10000"/>
                    <a:gd name="connsiteY195" fmla="*/ 9425 h 10000"/>
                    <a:gd name="connsiteX196" fmla="*/ 2944 w 10000"/>
                    <a:gd name="connsiteY196" fmla="*/ 9425 h 10000"/>
                    <a:gd name="connsiteX197" fmla="*/ 4167 w 10000"/>
                    <a:gd name="connsiteY197" fmla="*/ 9465 h 10000"/>
                    <a:gd name="connsiteX198" fmla="*/ 4889 w 10000"/>
                    <a:gd name="connsiteY198" fmla="*/ 9524 h 10000"/>
                    <a:gd name="connsiteX199" fmla="*/ 5278 w 10000"/>
                    <a:gd name="connsiteY199" fmla="*/ 9586 h 10000"/>
                    <a:gd name="connsiteX200" fmla="*/ 5444 w 10000"/>
                    <a:gd name="connsiteY200" fmla="*/ 9602 h 10000"/>
                    <a:gd name="connsiteX201" fmla="*/ 5444 w 10000"/>
                    <a:gd name="connsiteY201" fmla="*/ 9602 h 10000"/>
                    <a:gd name="connsiteX202" fmla="*/ 5722 w 10000"/>
                    <a:gd name="connsiteY202" fmla="*/ 9645 h 10000"/>
                    <a:gd name="connsiteX203" fmla="*/ 5833 w 10000"/>
                    <a:gd name="connsiteY203" fmla="*/ 9666 h 10000"/>
                    <a:gd name="connsiteX204" fmla="*/ 5833 w 10000"/>
                    <a:gd name="connsiteY204" fmla="*/ 9666 h 10000"/>
                    <a:gd name="connsiteX205" fmla="*/ 5833 w 10000"/>
                    <a:gd name="connsiteY205" fmla="*/ 9645 h 10000"/>
                    <a:gd name="connsiteX206" fmla="*/ 5889 w 10000"/>
                    <a:gd name="connsiteY206" fmla="*/ 9624 h 10000"/>
                    <a:gd name="connsiteX207" fmla="*/ 6000 w 10000"/>
                    <a:gd name="connsiteY207" fmla="*/ 9602 h 10000"/>
                    <a:gd name="connsiteX208" fmla="*/ 6167 w 10000"/>
                    <a:gd name="connsiteY208" fmla="*/ 9586 h 10000"/>
                    <a:gd name="connsiteX209" fmla="*/ 6444 w 10000"/>
                    <a:gd name="connsiteY209" fmla="*/ 9586 h 10000"/>
                    <a:gd name="connsiteX210" fmla="*/ 6833 w 10000"/>
                    <a:gd name="connsiteY210" fmla="*/ 9602 h 10000"/>
                    <a:gd name="connsiteX211" fmla="*/ 7278 w 10000"/>
                    <a:gd name="connsiteY211" fmla="*/ 9666 h 10000"/>
                    <a:gd name="connsiteX212" fmla="*/ 7278 w 10000"/>
                    <a:gd name="connsiteY212" fmla="*/ 9666 h 10000"/>
                    <a:gd name="connsiteX213" fmla="*/ 8722 w 10000"/>
                    <a:gd name="connsiteY213" fmla="*/ 9840 h 10000"/>
                    <a:gd name="connsiteX214" fmla="*/ 10000 w 10000"/>
                    <a:gd name="connsiteY214" fmla="*/ 10000 h 10000"/>
                    <a:gd name="connsiteX0" fmla="*/ 10000 w 10000"/>
                    <a:gd name="connsiteY0" fmla="*/ 8652 h 10000"/>
                    <a:gd name="connsiteX1" fmla="*/ 10000 w 10000"/>
                    <a:gd name="connsiteY1" fmla="*/ 8652 h 10000"/>
                    <a:gd name="connsiteX2" fmla="*/ 9222 w 10000"/>
                    <a:gd name="connsiteY2" fmla="*/ 8673 h 10000"/>
                    <a:gd name="connsiteX3" fmla="*/ 8944 w 10000"/>
                    <a:gd name="connsiteY3" fmla="*/ 8673 h 10000"/>
                    <a:gd name="connsiteX4" fmla="*/ 8833 w 10000"/>
                    <a:gd name="connsiteY4" fmla="*/ 8652 h 10000"/>
                    <a:gd name="connsiteX5" fmla="*/ 8778 w 10000"/>
                    <a:gd name="connsiteY5" fmla="*/ 8634 h 10000"/>
                    <a:gd name="connsiteX6" fmla="*/ 8778 w 10000"/>
                    <a:gd name="connsiteY6" fmla="*/ 8634 h 10000"/>
                    <a:gd name="connsiteX7" fmla="*/ 8444 w 10000"/>
                    <a:gd name="connsiteY7" fmla="*/ 8395 h 10000"/>
                    <a:gd name="connsiteX8" fmla="*/ 8167 w 10000"/>
                    <a:gd name="connsiteY8" fmla="*/ 8177 h 10000"/>
                    <a:gd name="connsiteX9" fmla="*/ 8167 w 10000"/>
                    <a:gd name="connsiteY9" fmla="*/ 8177 h 10000"/>
                    <a:gd name="connsiteX10" fmla="*/ 8056 w 10000"/>
                    <a:gd name="connsiteY10" fmla="*/ 8140 h 10000"/>
                    <a:gd name="connsiteX11" fmla="*/ 7889 w 10000"/>
                    <a:gd name="connsiteY11" fmla="*/ 8101 h 10000"/>
                    <a:gd name="connsiteX12" fmla="*/ 7444 w 10000"/>
                    <a:gd name="connsiteY12" fmla="*/ 8077 h 10000"/>
                    <a:gd name="connsiteX13" fmla="*/ 6889 w 10000"/>
                    <a:gd name="connsiteY13" fmla="*/ 8060 h 10000"/>
                    <a:gd name="connsiteX14" fmla="*/ 6389 w 10000"/>
                    <a:gd name="connsiteY14" fmla="*/ 8060 h 10000"/>
                    <a:gd name="connsiteX15" fmla="*/ 6389 w 10000"/>
                    <a:gd name="connsiteY15" fmla="*/ 8060 h 10000"/>
                    <a:gd name="connsiteX16" fmla="*/ 6167 w 10000"/>
                    <a:gd name="connsiteY16" fmla="*/ 8038 h 10000"/>
                    <a:gd name="connsiteX17" fmla="*/ 6056 w 10000"/>
                    <a:gd name="connsiteY17" fmla="*/ 8001 h 10000"/>
                    <a:gd name="connsiteX18" fmla="*/ 6000 w 10000"/>
                    <a:gd name="connsiteY18" fmla="*/ 7961 h 10000"/>
                    <a:gd name="connsiteX19" fmla="*/ 6000 w 10000"/>
                    <a:gd name="connsiteY19" fmla="*/ 7884 h 10000"/>
                    <a:gd name="connsiteX20" fmla="*/ 6056 w 10000"/>
                    <a:gd name="connsiteY20" fmla="*/ 7725 h 10000"/>
                    <a:gd name="connsiteX21" fmla="*/ 6111 w 10000"/>
                    <a:gd name="connsiteY21" fmla="*/ 7645 h 10000"/>
                    <a:gd name="connsiteX22" fmla="*/ 6056 w 10000"/>
                    <a:gd name="connsiteY22" fmla="*/ 7544 h 10000"/>
                    <a:gd name="connsiteX23" fmla="*/ 6056 w 10000"/>
                    <a:gd name="connsiteY23" fmla="*/ 7544 h 10000"/>
                    <a:gd name="connsiteX24" fmla="*/ 6000 w 10000"/>
                    <a:gd name="connsiteY24" fmla="*/ 7485 h 10000"/>
                    <a:gd name="connsiteX25" fmla="*/ 5944 w 10000"/>
                    <a:gd name="connsiteY25" fmla="*/ 7446 h 10000"/>
                    <a:gd name="connsiteX26" fmla="*/ 5833 w 10000"/>
                    <a:gd name="connsiteY26" fmla="*/ 7446 h 10000"/>
                    <a:gd name="connsiteX27" fmla="*/ 5667 w 10000"/>
                    <a:gd name="connsiteY27" fmla="*/ 7464 h 10000"/>
                    <a:gd name="connsiteX28" fmla="*/ 5333 w 10000"/>
                    <a:gd name="connsiteY28" fmla="*/ 7524 h 10000"/>
                    <a:gd name="connsiteX29" fmla="*/ 4889 w 10000"/>
                    <a:gd name="connsiteY29" fmla="*/ 7624 h 10000"/>
                    <a:gd name="connsiteX30" fmla="*/ 4889 w 10000"/>
                    <a:gd name="connsiteY30" fmla="*/ 7624 h 10000"/>
                    <a:gd name="connsiteX31" fmla="*/ 4611 w 10000"/>
                    <a:gd name="connsiteY31" fmla="*/ 7645 h 10000"/>
                    <a:gd name="connsiteX32" fmla="*/ 4500 w 10000"/>
                    <a:gd name="connsiteY32" fmla="*/ 7645 h 10000"/>
                    <a:gd name="connsiteX33" fmla="*/ 4444 w 10000"/>
                    <a:gd name="connsiteY33" fmla="*/ 7624 h 10000"/>
                    <a:gd name="connsiteX34" fmla="*/ 4389 w 10000"/>
                    <a:gd name="connsiteY34" fmla="*/ 7544 h 10000"/>
                    <a:gd name="connsiteX35" fmla="*/ 4222 w 10000"/>
                    <a:gd name="connsiteY35" fmla="*/ 7446 h 10000"/>
                    <a:gd name="connsiteX36" fmla="*/ 4222 w 10000"/>
                    <a:gd name="connsiteY36" fmla="*/ 7446 h 10000"/>
                    <a:gd name="connsiteX37" fmla="*/ 4111 w 10000"/>
                    <a:gd name="connsiteY37" fmla="*/ 7385 h 10000"/>
                    <a:gd name="connsiteX38" fmla="*/ 4111 w 10000"/>
                    <a:gd name="connsiteY38" fmla="*/ 7326 h 10000"/>
                    <a:gd name="connsiteX39" fmla="*/ 4111 w 10000"/>
                    <a:gd name="connsiteY39" fmla="*/ 7286 h 10000"/>
                    <a:gd name="connsiteX40" fmla="*/ 4167 w 10000"/>
                    <a:gd name="connsiteY40" fmla="*/ 7247 h 10000"/>
                    <a:gd name="connsiteX41" fmla="*/ 4278 w 10000"/>
                    <a:gd name="connsiteY41" fmla="*/ 7168 h 10000"/>
                    <a:gd name="connsiteX42" fmla="*/ 4389 w 10000"/>
                    <a:gd name="connsiteY42" fmla="*/ 7149 h 10000"/>
                    <a:gd name="connsiteX43" fmla="*/ 4389 w 10000"/>
                    <a:gd name="connsiteY43" fmla="*/ 7149 h 10000"/>
                    <a:gd name="connsiteX44" fmla="*/ 4389 w 10000"/>
                    <a:gd name="connsiteY44" fmla="*/ 7128 h 10000"/>
                    <a:gd name="connsiteX45" fmla="*/ 4444 w 10000"/>
                    <a:gd name="connsiteY45" fmla="*/ 7111 h 10000"/>
                    <a:gd name="connsiteX46" fmla="*/ 4667 w 10000"/>
                    <a:gd name="connsiteY46" fmla="*/ 7088 h 10000"/>
                    <a:gd name="connsiteX47" fmla="*/ 5333 w 10000"/>
                    <a:gd name="connsiteY47" fmla="*/ 7051 h 10000"/>
                    <a:gd name="connsiteX48" fmla="*/ 6500 w 10000"/>
                    <a:gd name="connsiteY48" fmla="*/ 6990 h 10000"/>
                    <a:gd name="connsiteX49" fmla="*/ 6500 w 10000"/>
                    <a:gd name="connsiteY49" fmla="*/ 6990 h 10000"/>
                    <a:gd name="connsiteX50" fmla="*/ 7167 w 10000"/>
                    <a:gd name="connsiteY50" fmla="*/ 6932 h 10000"/>
                    <a:gd name="connsiteX51" fmla="*/ 8389 w 10000"/>
                    <a:gd name="connsiteY51" fmla="*/ 6813 h 10000"/>
                    <a:gd name="connsiteX52" fmla="*/ 8389 w 10000"/>
                    <a:gd name="connsiteY52" fmla="*/ 6813 h 10000"/>
                    <a:gd name="connsiteX53" fmla="*/ 8667 w 10000"/>
                    <a:gd name="connsiteY53" fmla="*/ 6771 h 10000"/>
                    <a:gd name="connsiteX54" fmla="*/ 8778 w 10000"/>
                    <a:gd name="connsiteY54" fmla="*/ 6711 h 10000"/>
                    <a:gd name="connsiteX55" fmla="*/ 8889 w 10000"/>
                    <a:gd name="connsiteY55" fmla="*/ 6673 h 10000"/>
                    <a:gd name="connsiteX56" fmla="*/ 8833 w 10000"/>
                    <a:gd name="connsiteY56" fmla="*/ 6633 h 10000"/>
                    <a:gd name="connsiteX57" fmla="*/ 8833 w 10000"/>
                    <a:gd name="connsiteY57" fmla="*/ 6596 h 10000"/>
                    <a:gd name="connsiteX58" fmla="*/ 8722 w 10000"/>
                    <a:gd name="connsiteY58" fmla="*/ 6553 h 10000"/>
                    <a:gd name="connsiteX59" fmla="*/ 8556 w 10000"/>
                    <a:gd name="connsiteY59" fmla="*/ 6493 h 10000"/>
                    <a:gd name="connsiteX60" fmla="*/ 8556 w 10000"/>
                    <a:gd name="connsiteY60" fmla="*/ 6493 h 10000"/>
                    <a:gd name="connsiteX61" fmla="*/ 6556 w 10000"/>
                    <a:gd name="connsiteY61" fmla="*/ 6142 h 10000"/>
                    <a:gd name="connsiteX62" fmla="*/ 6556 w 10000"/>
                    <a:gd name="connsiteY62" fmla="*/ 6142 h 10000"/>
                    <a:gd name="connsiteX63" fmla="*/ 6333 w 10000"/>
                    <a:gd name="connsiteY63" fmla="*/ 6081 h 10000"/>
                    <a:gd name="connsiteX64" fmla="*/ 6167 w 10000"/>
                    <a:gd name="connsiteY64" fmla="*/ 6020 h 10000"/>
                    <a:gd name="connsiteX65" fmla="*/ 6056 w 10000"/>
                    <a:gd name="connsiteY65" fmla="*/ 5959 h 10000"/>
                    <a:gd name="connsiteX66" fmla="*/ 6056 w 10000"/>
                    <a:gd name="connsiteY66" fmla="*/ 5959 h 10000"/>
                    <a:gd name="connsiteX67" fmla="*/ 8056 w 10000"/>
                    <a:gd name="connsiteY67" fmla="*/ 5940 h 10000"/>
                    <a:gd name="connsiteX68" fmla="*/ 10000 w 10000"/>
                    <a:gd name="connsiteY68" fmla="*/ 6142 h 10000"/>
                    <a:gd name="connsiteX69" fmla="*/ 10000 w 10000"/>
                    <a:gd name="connsiteY69" fmla="*/ 4337 h 10000"/>
                    <a:gd name="connsiteX70" fmla="*/ 10000 w 10000"/>
                    <a:gd name="connsiteY70" fmla="*/ 4337 h 10000"/>
                    <a:gd name="connsiteX71" fmla="*/ 7778 w 10000"/>
                    <a:gd name="connsiteY71" fmla="*/ 3922 h 10000"/>
                    <a:gd name="connsiteX72" fmla="*/ 6556 w 10000"/>
                    <a:gd name="connsiteY72" fmla="*/ 3682 h 10000"/>
                    <a:gd name="connsiteX73" fmla="*/ 6556 w 10000"/>
                    <a:gd name="connsiteY73" fmla="*/ 3682 h 10000"/>
                    <a:gd name="connsiteX74" fmla="*/ 6556 w 10000"/>
                    <a:gd name="connsiteY74" fmla="*/ 3663 h 10000"/>
                    <a:gd name="connsiteX75" fmla="*/ 6556 w 10000"/>
                    <a:gd name="connsiteY75" fmla="*/ 3544 h 10000"/>
                    <a:gd name="connsiteX76" fmla="*/ 6556 w 10000"/>
                    <a:gd name="connsiteY76" fmla="*/ 3544 h 10000"/>
                    <a:gd name="connsiteX77" fmla="*/ 6389 w 10000"/>
                    <a:gd name="connsiteY77" fmla="*/ 3408 h 10000"/>
                    <a:gd name="connsiteX78" fmla="*/ 6056 w 10000"/>
                    <a:gd name="connsiteY78" fmla="*/ 3188 h 10000"/>
                    <a:gd name="connsiteX79" fmla="*/ 5333 w 10000"/>
                    <a:gd name="connsiteY79" fmla="*/ 2770 h 10000"/>
                    <a:gd name="connsiteX80" fmla="*/ 5333 w 10000"/>
                    <a:gd name="connsiteY80" fmla="*/ 2770 h 10000"/>
                    <a:gd name="connsiteX81" fmla="*/ 5167 w 10000"/>
                    <a:gd name="connsiteY81" fmla="*/ 2711 h 10000"/>
                    <a:gd name="connsiteX82" fmla="*/ 4889 w 10000"/>
                    <a:gd name="connsiteY82" fmla="*/ 2632 h 10000"/>
                    <a:gd name="connsiteX83" fmla="*/ 4056 w 10000"/>
                    <a:gd name="connsiteY83" fmla="*/ 2456 h 10000"/>
                    <a:gd name="connsiteX84" fmla="*/ 2889 w 10000"/>
                    <a:gd name="connsiteY84" fmla="*/ 2239 h 10000"/>
                    <a:gd name="connsiteX85" fmla="*/ 2889 w 10000"/>
                    <a:gd name="connsiteY85" fmla="*/ 2239 h 10000"/>
                    <a:gd name="connsiteX86" fmla="*/ 2389 w 10000"/>
                    <a:gd name="connsiteY86" fmla="*/ 2217 h 10000"/>
                    <a:gd name="connsiteX87" fmla="*/ 2000 w 10000"/>
                    <a:gd name="connsiteY87" fmla="*/ 2198 h 10000"/>
                    <a:gd name="connsiteX88" fmla="*/ 1889 w 10000"/>
                    <a:gd name="connsiteY88" fmla="*/ 2179 h 10000"/>
                    <a:gd name="connsiteX89" fmla="*/ 1778 w 10000"/>
                    <a:gd name="connsiteY89" fmla="*/ 2157 h 10000"/>
                    <a:gd name="connsiteX90" fmla="*/ 1778 w 10000"/>
                    <a:gd name="connsiteY90" fmla="*/ 2157 h 10000"/>
                    <a:gd name="connsiteX91" fmla="*/ 1667 w 10000"/>
                    <a:gd name="connsiteY91" fmla="*/ 2079 h 10000"/>
                    <a:gd name="connsiteX92" fmla="*/ 1500 w 10000"/>
                    <a:gd name="connsiteY92" fmla="*/ 1941 h 10000"/>
                    <a:gd name="connsiteX93" fmla="*/ 1444 w 10000"/>
                    <a:gd name="connsiteY93" fmla="*/ 1861 h 10000"/>
                    <a:gd name="connsiteX94" fmla="*/ 1444 w 10000"/>
                    <a:gd name="connsiteY94" fmla="*/ 1782 h 10000"/>
                    <a:gd name="connsiteX95" fmla="*/ 1444 w 10000"/>
                    <a:gd name="connsiteY95" fmla="*/ 1723 h 10000"/>
                    <a:gd name="connsiteX96" fmla="*/ 1556 w 10000"/>
                    <a:gd name="connsiteY96" fmla="*/ 1663 h 10000"/>
                    <a:gd name="connsiteX97" fmla="*/ 1556 w 10000"/>
                    <a:gd name="connsiteY97" fmla="*/ 1663 h 10000"/>
                    <a:gd name="connsiteX98" fmla="*/ 1833 w 10000"/>
                    <a:gd name="connsiteY98" fmla="*/ 1565 h 10000"/>
                    <a:gd name="connsiteX99" fmla="*/ 2111 w 10000"/>
                    <a:gd name="connsiteY99" fmla="*/ 1463 h 10000"/>
                    <a:gd name="connsiteX100" fmla="*/ 2278 w 10000"/>
                    <a:gd name="connsiteY100" fmla="*/ 1406 h 10000"/>
                    <a:gd name="connsiteX101" fmla="*/ 2389 w 10000"/>
                    <a:gd name="connsiteY101" fmla="*/ 1347 h 10000"/>
                    <a:gd name="connsiteX102" fmla="*/ 2389 w 10000"/>
                    <a:gd name="connsiteY102" fmla="*/ 1267 h 10000"/>
                    <a:gd name="connsiteX103" fmla="*/ 2389 w 10000"/>
                    <a:gd name="connsiteY103" fmla="*/ 1170 h 10000"/>
                    <a:gd name="connsiteX104" fmla="*/ 2389 w 10000"/>
                    <a:gd name="connsiteY104" fmla="*/ 1170 h 10000"/>
                    <a:gd name="connsiteX105" fmla="*/ 2167 w 10000"/>
                    <a:gd name="connsiteY105" fmla="*/ 891 h 10000"/>
                    <a:gd name="connsiteX106" fmla="*/ 1889 w 10000"/>
                    <a:gd name="connsiteY106" fmla="*/ 514 h 10000"/>
                    <a:gd name="connsiteX107" fmla="*/ 1667 w 10000"/>
                    <a:gd name="connsiteY107" fmla="*/ 178 h 10000"/>
                    <a:gd name="connsiteX108" fmla="*/ 1611 w 10000"/>
                    <a:gd name="connsiteY108" fmla="*/ 80 h 10000"/>
                    <a:gd name="connsiteX109" fmla="*/ 1611 w 10000"/>
                    <a:gd name="connsiteY109" fmla="*/ 42 h 10000"/>
                    <a:gd name="connsiteX110" fmla="*/ 1667 w 10000"/>
                    <a:gd name="connsiteY110" fmla="*/ 18 h 10000"/>
                    <a:gd name="connsiteX111" fmla="*/ 2222 w 10000"/>
                    <a:gd name="connsiteY111" fmla="*/ 0 h 10000"/>
                    <a:gd name="connsiteX112" fmla="*/ 10000 w 10000"/>
                    <a:gd name="connsiteY112" fmla="*/ 8673 h 10000"/>
                    <a:gd name="connsiteX113" fmla="*/ 10000 w 10000"/>
                    <a:gd name="connsiteY113" fmla="*/ 8673 h 10000"/>
                    <a:gd name="connsiteX114" fmla="*/ 9722 w 10000"/>
                    <a:gd name="connsiteY114" fmla="*/ 8652 h 10000"/>
                    <a:gd name="connsiteX115" fmla="*/ 9389 w 10000"/>
                    <a:gd name="connsiteY115" fmla="*/ 8673 h 10000"/>
                    <a:gd name="connsiteX116" fmla="*/ 9389 w 10000"/>
                    <a:gd name="connsiteY116" fmla="*/ 8673 h 10000"/>
                    <a:gd name="connsiteX117" fmla="*/ 9278 w 10000"/>
                    <a:gd name="connsiteY117" fmla="*/ 8696 h 10000"/>
                    <a:gd name="connsiteX118" fmla="*/ 9056 w 10000"/>
                    <a:gd name="connsiteY118" fmla="*/ 8673 h 10000"/>
                    <a:gd name="connsiteX119" fmla="*/ 8889 w 10000"/>
                    <a:gd name="connsiteY119" fmla="*/ 8652 h 10000"/>
                    <a:gd name="connsiteX120" fmla="*/ 8722 w 10000"/>
                    <a:gd name="connsiteY120" fmla="*/ 8614 h 10000"/>
                    <a:gd name="connsiteX121" fmla="*/ 8611 w 10000"/>
                    <a:gd name="connsiteY121" fmla="*/ 8553 h 10000"/>
                    <a:gd name="connsiteX122" fmla="*/ 8444 w 10000"/>
                    <a:gd name="connsiteY122" fmla="*/ 8455 h 10000"/>
                    <a:gd name="connsiteX123" fmla="*/ 8444 w 10000"/>
                    <a:gd name="connsiteY123" fmla="*/ 8455 h 10000"/>
                    <a:gd name="connsiteX124" fmla="*/ 8222 w 10000"/>
                    <a:gd name="connsiteY124" fmla="*/ 8279 h 10000"/>
                    <a:gd name="connsiteX125" fmla="*/ 8111 w 10000"/>
                    <a:gd name="connsiteY125" fmla="*/ 8200 h 10000"/>
                    <a:gd name="connsiteX126" fmla="*/ 7944 w 10000"/>
                    <a:gd name="connsiteY126" fmla="*/ 8140 h 10000"/>
                    <a:gd name="connsiteX127" fmla="*/ 7778 w 10000"/>
                    <a:gd name="connsiteY127" fmla="*/ 8101 h 10000"/>
                    <a:gd name="connsiteX128" fmla="*/ 7556 w 10000"/>
                    <a:gd name="connsiteY128" fmla="*/ 8077 h 10000"/>
                    <a:gd name="connsiteX129" fmla="*/ 7333 w 10000"/>
                    <a:gd name="connsiteY129" fmla="*/ 8060 h 10000"/>
                    <a:gd name="connsiteX130" fmla="*/ 7000 w 10000"/>
                    <a:gd name="connsiteY130" fmla="*/ 8038 h 10000"/>
                    <a:gd name="connsiteX131" fmla="*/ 7000 w 10000"/>
                    <a:gd name="connsiteY131" fmla="*/ 8038 h 10000"/>
                    <a:gd name="connsiteX132" fmla="*/ 6556 w 10000"/>
                    <a:gd name="connsiteY132" fmla="*/ 8060 h 10000"/>
                    <a:gd name="connsiteX133" fmla="*/ 6222 w 10000"/>
                    <a:gd name="connsiteY133" fmla="*/ 8060 h 10000"/>
                    <a:gd name="connsiteX134" fmla="*/ 6111 w 10000"/>
                    <a:gd name="connsiteY134" fmla="*/ 8038 h 10000"/>
                    <a:gd name="connsiteX135" fmla="*/ 6056 w 10000"/>
                    <a:gd name="connsiteY135" fmla="*/ 8019 h 10000"/>
                    <a:gd name="connsiteX136" fmla="*/ 6056 w 10000"/>
                    <a:gd name="connsiteY136" fmla="*/ 8019 h 10000"/>
                    <a:gd name="connsiteX137" fmla="*/ 6056 w 10000"/>
                    <a:gd name="connsiteY137" fmla="*/ 7665 h 10000"/>
                    <a:gd name="connsiteX138" fmla="*/ 6056 w 10000"/>
                    <a:gd name="connsiteY138" fmla="*/ 7665 h 10000"/>
                    <a:gd name="connsiteX139" fmla="*/ 6056 w 10000"/>
                    <a:gd name="connsiteY139" fmla="*/ 7582 h 10000"/>
                    <a:gd name="connsiteX140" fmla="*/ 5944 w 10000"/>
                    <a:gd name="connsiteY140" fmla="*/ 7485 h 10000"/>
                    <a:gd name="connsiteX141" fmla="*/ 5889 w 10000"/>
                    <a:gd name="connsiteY141" fmla="*/ 7464 h 10000"/>
                    <a:gd name="connsiteX142" fmla="*/ 5778 w 10000"/>
                    <a:gd name="connsiteY142" fmla="*/ 7446 h 10000"/>
                    <a:gd name="connsiteX143" fmla="*/ 5667 w 10000"/>
                    <a:gd name="connsiteY143" fmla="*/ 7446 h 10000"/>
                    <a:gd name="connsiteX144" fmla="*/ 5500 w 10000"/>
                    <a:gd name="connsiteY144" fmla="*/ 7464 h 10000"/>
                    <a:gd name="connsiteX145" fmla="*/ 5500 w 10000"/>
                    <a:gd name="connsiteY145" fmla="*/ 7464 h 10000"/>
                    <a:gd name="connsiteX146" fmla="*/ 4889 w 10000"/>
                    <a:gd name="connsiteY146" fmla="*/ 7603 h 10000"/>
                    <a:gd name="connsiteX147" fmla="*/ 4611 w 10000"/>
                    <a:gd name="connsiteY147" fmla="*/ 7645 h 10000"/>
                    <a:gd name="connsiteX148" fmla="*/ 4556 w 10000"/>
                    <a:gd name="connsiteY148" fmla="*/ 7665 h 10000"/>
                    <a:gd name="connsiteX149" fmla="*/ 4500 w 10000"/>
                    <a:gd name="connsiteY149" fmla="*/ 7645 h 10000"/>
                    <a:gd name="connsiteX150" fmla="*/ 4500 w 10000"/>
                    <a:gd name="connsiteY150" fmla="*/ 7645 h 10000"/>
                    <a:gd name="connsiteX151" fmla="*/ 4222 w 10000"/>
                    <a:gd name="connsiteY151" fmla="*/ 7446 h 10000"/>
                    <a:gd name="connsiteX152" fmla="*/ 4222 w 10000"/>
                    <a:gd name="connsiteY152" fmla="*/ 7446 h 10000"/>
                    <a:gd name="connsiteX153" fmla="*/ 4111 w 10000"/>
                    <a:gd name="connsiteY153" fmla="*/ 7347 h 10000"/>
                    <a:gd name="connsiteX154" fmla="*/ 4111 w 10000"/>
                    <a:gd name="connsiteY154" fmla="*/ 7286 h 10000"/>
                    <a:gd name="connsiteX155" fmla="*/ 4111 w 10000"/>
                    <a:gd name="connsiteY155" fmla="*/ 7228 h 10000"/>
                    <a:gd name="connsiteX156" fmla="*/ 4111 w 10000"/>
                    <a:gd name="connsiteY156" fmla="*/ 7228 h 10000"/>
                    <a:gd name="connsiteX157" fmla="*/ 4278 w 10000"/>
                    <a:gd name="connsiteY157" fmla="*/ 7168 h 10000"/>
                    <a:gd name="connsiteX158" fmla="*/ 4389 w 10000"/>
                    <a:gd name="connsiteY158" fmla="*/ 7149 h 10000"/>
                    <a:gd name="connsiteX159" fmla="*/ 4389 w 10000"/>
                    <a:gd name="connsiteY159" fmla="*/ 7149 h 10000"/>
                    <a:gd name="connsiteX160" fmla="*/ 4000 w 10000"/>
                    <a:gd name="connsiteY160" fmla="*/ 7149 h 10000"/>
                    <a:gd name="connsiteX161" fmla="*/ 3722 w 10000"/>
                    <a:gd name="connsiteY161" fmla="*/ 7168 h 10000"/>
                    <a:gd name="connsiteX162" fmla="*/ 3611 w 10000"/>
                    <a:gd name="connsiteY162" fmla="*/ 7189 h 10000"/>
                    <a:gd name="connsiteX163" fmla="*/ 3556 w 10000"/>
                    <a:gd name="connsiteY163" fmla="*/ 7210 h 10000"/>
                    <a:gd name="connsiteX164" fmla="*/ 3556 w 10000"/>
                    <a:gd name="connsiteY164" fmla="*/ 7210 h 10000"/>
                    <a:gd name="connsiteX165" fmla="*/ 3444 w 10000"/>
                    <a:gd name="connsiteY165" fmla="*/ 7286 h 10000"/>
                    <a:gd name="connsiteX166" fmla="*/ 3278 w 10000"/>
                    <a:gd name="connsiteY166" fmla="*/ 7407 h 10000"/>
                    <a:gd name="connsiteX167" fmla="*/ 3000 w 10000"/>
                    <a:gd name="connsiteY167" fmla="*/ 7544 h 10000"/>
                    <a:gd name="connsiteX168" fmla="*/ 2667 w 10000"/>
                    <a:gd name="connsiteY168" fmla="*/ 7645 h 10000"/>
                    <a:gd name="connsiteX169" fmla="*/ 2667 w 10000"/>
                    <a:gd name="connsiteY169" fmla="*/ 7645 h 10000"/>
                    <a:gd name="connsiteX170" fmla="*/ 2333 w 10000"/>
                    <a:gd name="connsiteY170" fmla="*/ 7725 h 10000"/>
                    <a:gd name="connsiteX171" fmla="*/ 1833 w 10000"/>
                    <a:gd name="connsiteY171" fmla="*/ 7803 h 10000"/>
                    <a:gd name="connsiteX172" fmla="*/ 1389 w 10000"/>
                    <a:gd name="connsiteY172" fmla="*/ 7843 h 10000"/>
                    <a:gd name="connsiteX173" fmla="*/ 889 w 10000"/>
                    <a:gd name="connsiteY173" fmla="*/ 7862 h 10000"/>
                    <a:gd name="connsiteX174" fmla="*/ 889 w 10000"/>
                    <a:gd name="connsiteY174" fmla="*/ 7862 h 10000"/>
                    <a:gd name="connsiteX175" fmla="*/ 500 w 10000"/>
                    <a:gd name="connsiteY175" fmla="*/ 7884 h 10000"/>
                    <a:gd name="connsiteX176" fmla="*/ 222 w 10000"/>
                    <a:gd name="connsiteY176" fmla="*/ 7902 h 10000"/>
                    <a:gd name="connsiteX177" fmla="*/ 0 w 10000"/>
                    <a:gd name="connsiteY177" fmla="*/ 7921 h 10000"/>
                    <a:gd name="connsiteX178" fmla="*/ 0 w 10000"/>
                    <a:gd name="connsiteY178" fmla="*/ 7921 h 10000"/>
                    <a:gd name="connsiteX179" fmla="*/ 278 w 10000"/>
                    <a:gd name="connsiteY179" fmla="*/ 8239 h 10000"/>
                    <a:gd name="connsiteX180" fmla="*/ 500 w 10000"/>
                    <a:gd name="connsiteY180" fmla="*/ 8473 h 10000"/>
                    <a:gd name="connsiteX181" fmla="*/ 722 w 10000"/>
                    <a:gd name="connsiteY181" fmla="*/ 8673 h 10000"/>
                    <a:gd name="connsiteX182" fmla="*/ 722 w 10000"/>
                    <a:gd name="connsiteY182" fmla="*/ 8673 h 10000"/>
                    <a:gd name="connsiteX183" fmla="*/ 889 w 10000"/>
                    <a:gd name="connsiteY183" fmla="*/ 8793 h 10000"/>
                    <a:gd name="connsiteX184" fmla="*/ 944 w 10000"/>
                    <a:gd name="connsiteY184" fmla="*/ 8893 h 10000"/>
                    <a:gd name="connsiteX185" fmla="*/ 1111 w 10000"/>
                    <a:gd name="connsiteY185" fmla="*/ 8993 h 10000"/>
                    <a:gd name="connsiteX186" fmla="*/ 1333 w 10000"/>
                    <a:gd name="connsiteY186" fmla="*/ 9147 h 10000"/>
                    <a:gd name="connsiteX187" fmla="*/ 1333 w 10000"/>
                    <a:gd name="connsiteY187" fmla="*/ 9147 h 10000"/>
                    <a:gd name="connsiteX188" fmla="*/ 1444 w 10000"/>
                    <a:gd name="connsiteY188" fmla="*/ 9228 h 10000"/>
                    <a:gd name="connsiteX189" fmla="*/ 1500 w 10000"/>
                    <a:gd name="connsiteY189" fmla="*/ 9287 h 10000"/>
                    <a:gd name="connsiteX190" fmla="*/ 1500 w 10000"/>
                    <a:gd name="connsiteY190" fmla="*/ 9345 h 10000"/>
                    <a:gd name="connsiteX191" fmla="*/ 1556 w 10000"/>
                    <a:gd name="connsiteY191" fmla="*/ 9368 h 10000"/>
                    <a:gd name="connsiteX192" fmla="*/ 1722 w 10000"/>
                    <a:gd name="connsiteY192" fmla="*/ 9385 h 10000"/>
                    <a:gd name="connsiteX193" fmla="*/ 1944 w 10000"/>
                    <a:gd name="connsiteY193" fmla="*/ 9405 h 10000"/>
                    <a:gd name="connsiteX194" fmla="*/ 2944 w 10000"/>
                    <a:gd name="connsiteY194" fmla="*/ 9425 h 10000"/>
                    <a:gd name="connsiteX195" fmla="*/ 2944 w 10000"/>
                    <a:gd name="connsiteY195" fmla="*/ 9425 h 10000"/>
                    <a:gd name="connsiteX196" fmla="*/ 4167 w 10000"/>
                    <a:gd name="connsiteY196" fmla="*/ 9465 h 10000"/>
                    <a:gd name="connsiteX197" fmla="*/ 4889 w 10000"/>
                    <a:gd name="connsiteY197" fmla="*/ 9524 h 10000"/>
                    <a:gd name="connsiteX198" fmla="*/ 5278 w 10000"/>
                    <a:gd name="connsiteY198" fmla="*/ 9586 h 10000"/>
                    <a:gd name="connsiteX199" fmla="*/ 5444 w 10000"/>
                    <a:gd name="connsiteY199" fmla="*/ 9602 h 10000"/>
                    <a:gd name="connsiteX200" fmla="*/ 5444 w 10000"/>
                    <a:gd name="connsiteY200" fmla="*/ 9602 h 10000"/>
                    <a:gd name="connsiteX201" fmla="*/ 5722 w 10000"/>
                    <a:gd name="connsiteY201" fmla="*/ 9645 h 10000"/>
                    <a:gd name="connsiteX202" fmla="*/ 5833 w 10000"/>
                    <a:gd name="connsiteY202" fmla="*/ 9666 h 10000"/>
                    <a:gd name="connsiteX203" fmla="*/ 5833 w 10000"/>
                    <a:gd name="connsiteY203" fmla="*/ 9666 h 10000"/>
                    <a:gd name="connsiteX204" fmla="*/ 5833 w 10000"/>
                    <a:gd name="connsiteY204" fmla="*/ 9645 h 10000"/>
                    <a:gd name="connsiteX205" fmla="*/ 5889 w 10000"/>
                    <a:gd name="connsiteY205" fmla="*/ 9624 h 10000"/>
                    <a:gd name="connsiteX206" fmla="*/ 6000 w 10000"/>
                    <a:gd name="connsiteY206" fmla="*/ 9602 h 10000"/>
                    <a:gd name="connsiteX207" fmla="*/ 6167 w 10000"/>
                    <a:gd name="connsiteY207" fmla="*/ 9586 h 10000"/>
                    <a:gd name="connsiteX208" fmla="*/ 6444 w 10000"/>
                    <a:gd name="connsiteY208" fmla="*/ 9586 h 10000"/>
                    <a:gd name="connsiteX209" fmla="*/ 6833 w 10000"/>
                    <a:gd name="connsiteY209" fmla="*/ 9602 h 10000"/>
                    <a:gd name="connsiteX210" fmla="*/ 7278 w 10000"/>
                    <a:gd name="connsiteY210" fmla="*/ 9666 h 10000"/>
                    <a:gd name="connsiteX211" fmla="*/ 7278 w 10000"/>
                    <a:gd name="connsiteY211" fmla="*/ 9666 h 10000"/>
                    <a:gd name="connsiteX212" fmla="*/ 8722 w 10000"/>
                    <a:gd name="connsiteY212" fmla="*/ 9840 h 10000"/>
                    <a:gd name="connsiteX213" fmla="*/ 10000 w 10000"/>
                    <a:gd name="connsiteY213" fmla="*/ 10000 h 10000"/>
                    <a:gd name="connsiteX0" fmla="*/ 10000 w 10000"/>
                    <a:gd name="connsiteY0" fmla="*/ 9283 h 10631"/>
                    <a:gd name="connsiteX1" fmla="*/ 10000 w 10000"/>
                    <a:gd name="connsiteY1" fmla="*/ 9283 h 10631"/>
                    <a:gd name="connsiteX2" fmla="*/ 9222 w 10000"/>
                    <a:gd name="connsiteY2" fmla="*/ 9304 h 10631"/>
                    <a:gd name="connsiteX3" fmla="*/ 8944 w 10000"/>
                    <a:gd name="connsiteY3" fmla="*/ 9304 h 10631"/>
                    <a:gd name="connsiteX4" fmla="*/ 8833 w 10000"/>
                    <a:gd name="connsiteY4" fmla="*/ 9283 h 10631"/>
                    <a:gd name="connsiteX5" fmla="*/ 8778 w 10000"/>
                    <a:gd name="connsiteY5" fmla="*/ 9265 h 10631"/>
                    <a:gd name="connsiteX6" fmla="*/ 8778 w 10000"/>
                    <a:gd name="connsiteY6" fmla="*/ 9265 h 10631"/>
                    <a:gd name="connsiteX7" fmla="*/ 8444 w 10000"/>
                    <a:gd name="connsiteY7" fmla="*/ 9026 h 10631"/>
                    <a:gd name="connsiteX8" fmla="*/ 8167 w 10000"/>
                    <a:gd name="connsiteY8" fmla="*/ 8808 h 10631"/>
                    <a:gd name="connsiteX9" fmla="*/ 8167 w 10000"/>
                    <a:gd name="connsiteY9" fmla="*/ 8808 h 10631"/>
                    <a:gd name="connsiteX10" fmla="*/ 8056 w 10000"/>
                    <a:gd name="connsiteY10" fmla="*/ 8771 h 10631"/>
                    <a:gd name="connsiteX11" fmla="*/ 7889 w 10000"/>
                    <a:gd name="connsiteY11" fmla="*/ 8732 h 10631"/>
                    <a:gd name="connsiteX12" fmla="*/ 7444 w 10000"/>
                    <a:gd name="connsiteY12" fmla="*/ 8708 h 10631"/>
                    <a:gd name="connsiteX13" fmla="*/ 6889 w 10000"/>
                    <a:gd name="connsiteY13" fmla="*/ 8691 h 10631"/>
                    <a:gd name="connsiteX14" fmla="*/ 6389 w 10000"/>
                    <a:gd name="connsiteY14" fmla="*/ 8691 h 10631"/>
                    <a:gd name="connsiteX15" fmla="*/ 6389 w 10000"/>
                    <a:gd name="connsiteY15" fmla="*/ 8691 h 10631"/>
                    <a:gd name="connsiteX16" fmla="*/ 6167 w 10000"/>
                    <a:gd name="connsiteY16" fmla="*/ 8669 h 10631"/>
                    <a:gd name="connsiteX17" fmla="*/ 6056 w 10000"/>
                    <a:gd name="connsiteY17" fmla="*/ 8632 h 10631"/>
                    <a:gd name="connsiteX18" fmla="*/ 6000 w 10000"/>
                    <a:gd name="connsiteY18" fmla="*/ 8592 h 10631"/>
                    <a:gd name="connsiteX19" fmla="*/ 6000 w 10000"/>
                    <a:gd name="connsiteY19" fmla="*/ 8515 h 10631"/>
                    <a:gd name="connsiteX20" fmla="*/ 6056 w 10000"/>
                    <a:gd name="connsiteY20" fmla="*/ 8356 h 10631"/>
                    <a:gd name="connsiteX21" fmla="*/ 6111 w 10000"/>
                    <a:gd name="connsiteY21" fmla="*/ 8276 h 10631"/>
                    <a:gd name="connsiteX22" fmla="*/ 6056 w 10000"/>
                    <a:gd name="connsiteY22" fmla="*/ 8175 h 10631"/>
                    <a:gd name="connsiteX23" fmla="*/ 6056 w 10000"/>
                    <a:gd name="connsiteY23" fmla="*/ 8175 h 10631"/>
                    <a:gd name="connsiteX24" fmla="*/ 6000 w 10000"/>
                    <a:gd name="connsiteY24" fmla="*/ 8116 h 10631"/>
                    <a:gd name="connsiteX25" fmla="*/ 5944 w 10000"/>
                    <a:gd name="connsiteY25" fmla="*/ 8077 h 10631"/>
                    <a:gd name="connsiteX26" fmla="*/ 5833 w 10000"/>
                    <a:gd name="connsiteY26" fmla="*/ 8077 h 10631"/>
                    <a:gd name="connsiteX27" fmla="*/ 5667 w 10000"/>
                    <a:gd name="connsiteY27" fmla="*/ 8095 h 10631"/>
                    <a:gd name="connsiteX28" fmla="*/ 5333 w 10000"/>
                    <a:gd name="connsiteY28" fmla="*/ 8155 h 10631"/>
                    <a:gd name="connsiteX29" fmla="*/ 4889 w 10000"/>
                    <a:gd name="connsiteY29" fmla="*/ 8255 h 10631"/>
                    <a:gd name="connsiteX30" fmla="*/ 4889 w 10000"/>
                    <a:gd name="connsiteY30" fmla="*/ 8255 h 10631"/>
                    <a:gd name="connsiteX31" fmla="*/ 4611 w 10000"/>
                    <a:gd name="connsiteY31" fmla="*/ 8276 h 10631"/>
                    <a:gd name="connsiteX32" fmla="*/ 4500 w 10000"/>
                    <a:gd name="connsiteY32" fmla="*/ 8276 h 10631"/>
                    <a:gd name="connsiteX33" fmla="*/ 4444 w 10000"/>
                    <a:gd name="connsiteY33" fmla="*/ 8255 h 10631"/>
                    <a:gd name="connsiteX34" fmla="*/ 4389 w 10000"/>
                    <a:gd name="connsiteY34" fmla="*/ 8175 h 10631"/>
                    <a:gd name="connsiteX35" fmla="*/ 4222 w 10000"/>
                    <a:gd name="connsiteY35" fmla="*/ 8077 h 10631"/>
                    <a:gd name="connsiteX36" fmla="*/ 4222 w 10000"/>
                    <a:gd name="connsiteY36" fmla="*/ 8077 h 10631"/>
                    <a:gd name="connsiteX37" fmla="*/ 4111 w 10000"/>
                    <a:gd name="connsiteY37" fmla="*/ 8016 h 10631"/>
                    <a:gd name="connsiteX38" fmla="*/ 4111 w 10000"/>
                    <a:gd name="connsiteY38" fmla="*/ 7957 h 10631"/>
                    <a:gd name="connsiteX39" fmla="*/ 4111 w 10000"/>
                    <a:gd name="connsiteY39" fmla="*/ 7917 h 10631"/>
                    <a:gd name="connsiteX40" fmla="*/ 4167 w 10000"/>
                    <a:gd name="connsiteY40" fmla="*/ 7878 h 10631"/>
                    <a:gd name="connsiteX41" fmla="*/ 4278 w 10000"/>
                    <a:gd name="connsiteY41" fmla="*/ 7799 h 10631"/>
                    <a:gd name="connsiteX42" fmla="*/ 4389 w 10000"/>
                    <a:gd name="connsiteY42" fmla="*/ 7780 h 10631"/>
                    <a:gd name="connsiteX43" fmla="*/ 4389 w 10000"/>
                    <a:gd name="connsiteY43" fmla="*/ 7780 h 10631"/>
                    <a:gd name="connsiteX44" fmla="*/ 4389 w 10000"/>
                    <a:gd name="connsiteY44" fmla="*/ 7759 h 10631"/>
                    <a:gd name="connsiteX45" fmla="*/ 4444 w 10000"/>
                    <a:gd name="connsiteY45" fmla="*/ 7742 h 10631"/>
                    <a:gd name="connsiteX46" fmla="*/ 4667 w 10000"/>
                    <a:gd name="connsiteY46" fmla="*/ 7719 h 10631"/>
                    <a:gd name="connsiteX47" fmla="*/ 5333 w 10000"/>
                    <a:gd name="connsiteY47" fmla="*/ 7682 h 10631"/>
                    <a:gd name="connsiteX48" fmla="*/ 6500 w 10000"/>
                    <a:gd name="connsiteY48" fmla="*/ 7621 h 10631"/>
                    <a:gd name="connsiteX49" fmla="*/ 6500 w 10000"/>
                    <a:gd name="connsiteY49" fmla="*/ 7621 h 10631"/>
                    <a:gd name="connsiteX50" fmla="*/ 7167 w 10000"/>
                    <a:gd name="connsiteY50" fmla="*/ 7563 h 10631"/>
                    <a:gd name="connsiteX51" fmla="*/ 8389 w 10000"/>
                    <a:gd name="connsiteY51" fmla="*/ 7444 h 10631"/>
                    <a:gd name="connsiteX52" fmla="*/ 8389 w 10000"/>
                    <a:gd name="connsiteY52" fmla="*/ 7444 h 10631"/>
                    <a:gd name="connsiteX53" fmla="*/ 8667 w 10000"/>
                    <a:gd name="connsiteY53" fmla="*/ 7402 h 10631"/>
                    <a:gd name="connsiteX54" fmla="*/ 8778 w 10000"/>
                    <a:gd name="connsiteY54" fmla="*/ 7342 h 10631"/>
                    <a:gd name="connsiteX55" fmla="*/ 8889 w 10000"/>
                    <a:gd name="connsiteY55" fmla="*/ 7304 h 10631"/>
                    <a:gd name="connsiteX56" fmla="*/ 8833 w 10000"/>
                    <a:gd name="connsiteY56" fmla="*/ 7264 h 10631"/>
                    <a:gd name="connsiteX57" fmla="*/ 8833 w 10000"/>
                    <a:gd name="connsiteY57" fmla="*/ 7227 h 10631"/>
                    <a:gd name="connsiteX58" fmla="*/ 8722 w 10000"/>
                    <a:gd name="connsiteY58" fmla="*/ 7184 h 10631"/>
                    <a:gd name="connsiteX59" fmla="*/ 8556 w 10000"/>
                    <a:gd name="connsiteY59" fmla="*/ 7124 h 10631"/>
                    <a:gd name="connsiteX60" fmla="*/ 8556 w 10000"/>
                    <a:gd name="connsiteY60" fmla="*/ 7124 h 10631"/>
                    <a:gd name="connsiteX61" fmla="*/ 6556 w 10000"/>
                    <a:gd name="connsiteY61" fmla="*/ 6773 h 10631"/>
                    <a:gd name="connsiteX62" fmla="*/ 6556 w 10000"/>
                    <a:gd name="connsiteY62" fmla="*/ 6773 h 10631"/>
                    <a:gd name="connsiteX63" fmla="*/ 6333 w 10000"/>
                    <a:gd name="connsiteY63" fmla="*/ 6712 h 10631"/>
                    <a:gd name="connsiteX64" fmla="*/ 6167 w 10000"/>
                    <a:gd name="connsiteY64" fmla="*/ 6651 h 10631"/>
                    <a:gd name="connsiteX65" fmla="*/ 6056 w 10000"/>
                    <a:gd name="connsiteY65" fmla="*/ 6590 h 10631"/>
                    <a:gd name="connsiteX66" fmla="*/ 6056 w 10000"/>
                    <a:gd name="connsiteY66" fmla="*/ 6590 h 10631"/>
                    <a:gd name="connsiteX67" fmla="*/ 8056 w 10000"/>
                    <a:gd name="connsiteY67" fmla="*/ 6571 h 10631"/>
                    <a:gd name="connsiteX68" fmla="*/ 10000 w 10000"/>
                    <a:gd name="connsiteY68" fmla="*/ 6773 h 10631"/>
                    <a:gd name="connsiteX69" fmla="*/ 10000 w 10000"/>
                    <a:gd name="connsiteY69" fmla="*/ 4968 h 10631"/>
                    <a:gd name="connsiteX70" fmla="*/ 10000 w 10000"/>
                    <a:gd name="connsiteY70" fmla="*/ 4968 h 10631"/>
                    <a:gd name="connsiteX71" fmla="*/ 7778 w 10000"/>
                    <a:gd name="connsiteY71" fmla="*/ 4553 h 10631"/>
                    <a:gd name="connsiteX72" fmla="*/ 6556 w 10000"/>
                    <a:gd name="connsiteY72" fmla="*/ 4313 h 10631"/>
                    <a:gd name="connsiteX73" fmla="*/ 6556 w 10000"/>
                    <a:gd name="connsiteY73" fmla="*/ 4313 h 10631"/>
                    <a:gd name="connsiteX74" fmla="*/ 6556 w 10000"/>
                    <a:gd name="connsiteY74" fmla="*/ 4294 h 10631"/>
                    <a:gd name="connsiteX75" fmla="*/ 6556 w 10000"/>
                    <a:gd name="connsiteY75" fmla="*/ 4175 h 10631"/>
                    <a:gd name="connsiteX76" fmla="*/ 6556 w 10000"/>
                    <a:gd name="connsiteY76" fmla="*/ 4175 h 10631"/>
                    <a:gd name="connsiteX77" fmla="*/ 6389 w 10000"/>
                    <a:gd name="connsiteY77" fmla="*/ 4039 h 10631"/>
                    <a:gd name="connsiteX78" fmla="*/ 6056 w 10000"/>
                    <a:gd name="connsiteY78" fmla="*/ 3819 h 10631"/>
                    <a:gd name="connsiteX79" fmla="*/ 5333 w 10000"/>
                    <a:gd name="connsiteY79" fmla="*/ 3401 h 10631"/>
                    <a:gd name="connsiteX80" fmla="*/ 5333 w 10000"/>
                    <a:gd name="connsiteY80" fmla="*/ 3401 h 10631"/>
                    <a:gd name="connsiteX81" fmla="*/ 5167 w 10000"/>
                    <a:gd name="connsiteY81" fmla="*/ 3342 h 10631"/>
                    <a:gd name="connsiteX82" fmla="*/ 4889 w 10000"/>
                    <a:gd name="connsiteY82" fmla="*/ 3263 h 10631"/>
                    <a:gd name="connsiteX83" fmla="*/ 4056 w 10000"/>
                    <a:gd name="connsiteY83" fmla="*/ 3087 h 10631"/>
                    <a:gd name="connsiteX84" fmla="*/ 2889 w 10000"/>
                    <a:gd name="connsiteY84" fmla="*/ 2870 h 10631"/>
                    <a:gd name="connsiteX85" fmla="*/ 2889 w 10000"/>
                    <a:gd name="connsiteY85" fmla="*/ 2870 h 10631"/>
                    <a:gd name="connsiteX86" fmla="*/ 2389 w 10000"/>
                    <a:gd name="connsiteY86" fmla="*/ 2848 h 10631"/>
                    <a:gd name="connsiteX87" fmla="*/ 2000 w 10000"/>
                    <a:gd name="connsiteY87" fmla="*/ 2829 h 10631"/>
                    <a:gd name="connsiteX88" fmla="*/ 1889 w 10000"/>
                    <a:gd name="connsiteY88" fmla="*/ 2810 h 10631"/>
                    <a:gd name="connsiteX89" fmla="*/ 1778 w 10000"/>
                    <a:gd name="connsiteY89" fmla="*/ 2788 h 10631"/>
                    <a:gd name="connsiteX90" fmla="*/ 1778 w 10000"/>
                    <a:gd name="connsiteY90" fmla="*/ 2788 h 10631"/>
                    <a:gd name="connsiteX91" fmla="*/ 1667 w 10000"/>
                    <a:gd name="connsiteY91" fmla="*/ 2710 h 10631"/>
                    <a:gd name="connsiteX92" fmla="*/ 1500 w 10000"/>
                    <a:gd name="connsiteY92" fmla="*/ 2572 h 10631"/>
                    <a:gd name="connsiteX93" fmla="*/ 1444 w 10000"/>
                    <a:gd name="connsiteY93" fmla="*/ 2492 h 10631"/>
                    <a:gd name="connsiteX94" fmla="*/ 1444 w 10000"/>
                    <a:gd name="connsiteY94" fmla="*/ 2413 h 10631"/>
                    <a:gd name="connsiteX95" fmla="*/ 1444 w 10000"/>
                    <a:gd name="connsiteY95" fmla="*/ 2354 h 10631"/>
                    <a:gd name="connsiteX96" fmla="*/ 1556 w 10000"/>
                    <a:gd name="connsiteY96" fmla="*/ 2294 h 10631"/>
                    <a:gd name="connsiteX97" fmla="*/ 1556 w 10000"/>
                    <a:gd name="connsiteY97" fmla="*/ 2294 h 10631"/>
                    <a:gd name="connsiteX98" fmla="*/ 1833 w 10000"/>
                    <a:gd name="connsiteY98" fmla="*/ 2196 h 10631"/>
                    <a:gd name="connsiteX99" fmla="*/ 2111 w 10000"/>
                    <a:gd name="connsiteY99" fmla="*/ 2094 h 10631"/>
                    <a:gd name="connsiteX100" fmla="*/ 2278 w 10000"/>
                    <a:gd name="connsiteY100" fmla="*/ 2037 h 10631"/>
                    <a:gd name="connsiteX101" fmla="*/ 2389 w 10000"/>
                    <a:gd name="connsiteY101" fmla="*/ 1978 h 10631"/>
                    <a:gd name="connsiteX102" fmla="*/ 2389 w 10000"/>
                    <a:gd name="connsiteY102" fmla="*/ 1898 h 10631"/>
                    <a:gd name="connsiteX103" fmla="*/ 2389 w 10000"/>
                    <a:gd name="connsiteY103" fmla="*/ 1801 h 10631"/>
                    <a:gd name="connsiteX104" fmla="*/ 2389 w 10000"/>
                    <a:gd name="connsiteY104" fmla="*/ 1801 h 10631"/>
                    <a:gd name="connsiteX105" fmla="*/ 2167 w 10000"/>
                    <a:gd name="connsiteY105" fmla="*/ 1522 h 10631"/>
                    <a:gd name="connsiteX106" fmla="*/ 1889 w 10000"/>
                    <a:gd name="connsiteY106" fmla="*/ 1145 h 10631"/>
                    <a:gd name="connsiteX107" fmla="*/ 1667 w 10000"/>
                    <a:gd name="connsiteY107" fmla="*/ 809 h 10631"/>
                    <a:gd name="connsiteX108" fmla="*/ 1611 w 10000"/>
                    <a:gd name="connsiteY108" fmla="*/ 711 h 10631"/>
                    <a:gd name="connsiteX109" fmla="*/ 1611 w 10000"/>
                    <a:gd name="connsiteY109" fmla="*/ 673 h 10631"/>
                    <a:gd name="connsiteX110" fmla="*/ 2222 w 10000"/>
                    <a:gd name="connsiteY110" fmla="*/ 631 h 10631"/>
                    <a:gd name="connsiteX111" fmla="*/ 10000 w 10000"/>
                    <a:gd name="connsiteY111" fmla="*/ 9304 h 10631"/>
                    <a:gd name="connsiteX112" fmla="*/ 10000 w 10000"/>
                    <a:gd name="connsiteY112" fmla="*/ 9304 h 10631"/>
                    <a:gd name="connsiteX113" fmla="*/ 9722 w 10000"/>
                    <a:gd name="connsiteY113" fmla="*/ 9283 h 10631"/>
                    <a:gd name="connsiteX114" fmla="*/ 9389 w 10000"/>
                    <a:gd name="connsiteY114" fmla="*/ 9304 h 10631"/>
                    <a:gd name="connsiteX115" fmla="*/ 9389 w 10000"/>
                    <a:gd name="connsiteY115" fmla="*/ 9304 h 10631"/>
                    <a:gd name="connsiteX116" fmla="*/ 9278 w 10000"/>
                    <a:gd name="connsiteY116" fmla="*/ 9327 h 10631"/>
                    <a:gd name="connsiteX117" fmla="*/ 9056 w 10000"/>
                    <a:gd name="connsiteY117" fmla="*/ 9304 h 10631"/>
                    <a:gd name="connsiteX118" fmla="*/ 8889 w 10000"/>
                    <a:gd name="connsiteY118" fmla="*/ 9283 h 10631"/>
                    <a:gd name="connsiteX119" fmla="*/ 8722 w 10000"/>
                    <a:gd name="connsiteY119" fmla="*/ 9245 h 10631"/>
                    <a:gd name="connsiteX120" fmla="*/ 8611 w 10000"/>
                    <a:gd name="connsiteY120" fmla="*/ 9184 h 10631"/>
                    <a:gd name="connsiteX121" fmla="*/ 8444 w 10000"/>
                    <a:gd name="connsiteY121" fmla="*/ 9086 h 10631"/>
                    <a:gd name="connsiteX122" fmla="*/ 8444 w 10000"/>
                    <a:gd name="connsiteY122" fmla="*/ 9086 h 10631"/>
                    <a:gd name="connsiteX123" fmla="*/ 8222 w 10000"/>
                    <a:gd name="connsiteY123" fmla="*/ 8910 h 10631"/>
                    <a:gd name="connsiteX124" fmla="*/ 8111 w 10000"/>
                    <a:gd name="connsiteY124" fmla="*/ 8831 h 10631"/>
                    <a:gd name="connsiteX125" fmla="*/ 7944 w 10000"/>
                    <a:gd name="connsiteY125" fmla="*/ 8771 h 10631"/>
                    <a:gd name="connsiteX126" fmla="*/ 7778 w 10000"/>
                    <a:gd name="connsiteY126" fmla="*/ 8732 h 10631"/>
                    <a:gd name="connsiteX127" fmla="*/ 7556 w 10000"/>
                    <a:gd name="connsiteY127" fmla="*/ 8708 h 10631"/>
                    <a:gd name="connsiteX128" fmla="*/ 7333 w 10000"/>
                    <a:gd name="connsiteY128" fmla="*/ 8691 h 10631"/>
                    <a:gd name="connsiteX129" fmla="*/ 7000 w 10000"/>
                    <a:gd name="connsiteY129" fmla="*/ 8669 h 10631"/>
                    <a:gd name="connsiteX130" fmla="*/ 7000 w 10000"/>
                    <a:gd name="connsiteY130" fmla="*/ 8669 h 10631"/>
                    <a:gd name="connsiteX131" fmla="*/ 6556 w 10000"/>
                    <a:gd name="connsiteY131" fmla="*/ 8691 h 10631"/>
                    <a:gd name="connsiteX132" fmla="*/ 6222 w 10000"/>
                    <a:gd name="connsiteY132" fmla="*/ 8691 h 10631"/>
                    <a:gd name="connsiteX133" fmla="*/ 6111 w 10000"/>
                    <a:gd name="connsiteY133" fmla="*/ 8669 h 10631"/>
                    <a:gd name="connsiteX134" fmla="*/ 6056 w 10000"/>
                    <a:gd name="connsiteY134" fmla="*/ 8650 h 10631"/>
                    <a:gd name="connsiteX135" fmla="*/ 6056 w 10000"/>
                    <a:gd name="connsiteY135" fmla="*/ 8650 h 10631"/>
                    <a:gd name="connsiteX136" fmla="*/ 6056 w 10000"/>
                    <a:gd name="connsiteY136" fmla="*/ 8296 h 10631"/>
                    <a:gd name="connsiteX137" fmla="*/ 6056 w 10000"/>
                    <a:gd name="connsiteY137" fmla="*/ 8296 h 10631"/>
                    <a:gd name="connsiteX138" fmla="*/ 6056 w 10000"/>
                    <a:gd name="connsiteY138" fmla="*/ 8213 h 10631"/>
                    <a:gd name="connsiteX139" fmla="*/ 5944 w 10000"/>
                    <a:gd name="connsiteY139" fmla="*/ 8116 h 10631"/>
                    <a:gd name="connsiteX140" fmla="*/ 5889 w 10000"/>
                    <a:gd name="connsiteY140" fmla="*/ 8095 h 10631"/>
                    <a:gd name="connsiteX141" fmla="*/ 5778 w 10000"/>
                    <a:gd name="connsiteY141" fmla="*/ 8077 h 10631"/>
                    <a:gd name="connsiteX142" fmla="*/ 5667 w 10000"/>
                    <a:gd name="connsiteY142" fmla="*/ 8077 h 10631"/>
                    <a:gd name="connsiteX143" fmla="*/ 5500 w 10000"/>
                    <a:gd name="connsiteY143" fmla="*/ 8095 h 10631"/>
                    <a:gd name="connsiteX144" fmla="*/ 5500 w 10000"/>
                    <a:gd name="connsiteY144" fmla="*/ 8095 h 10631"/>
                    <a:gd name="connsiteX145" fmla="*/ 4889 w 10000"/>
                    <a:gd name="connsiteY145" fmla="*/ 8234 h 10631"/>
                    <a:gd name="connsiteX146" fmla="*/ 4611 w 10000"/>
                    <a:gd name="connsiteY146" fmla="*/ 8276 h 10631"/>
                    <a:gd name="connsiteX147" fmla="*/ 4556 w 10000"/>
                    <a:gd name="connsiteY147" fmla="*/ 8296 h 10631"/>
                    <a:gd name="connsiteX148" fmla="*/ 4500 w 10000"/>
                    <a:gd name="connsiteY148" fmla="*/ 8276 h 10631"/>
                    <a:gd name="connsiteX149" fmla="*/ 4500 w 10000"/>
                    <a:gd name="connsiteY149" fmla="*/ 8276 h 10631"/>
                    <a:gd name="connsiteX150" fmla="*/ 4222 w 10000"/>
                    <a:gd name="connsiteY150" fmla="*/ 8077 h 10631"/>
                    <a:gd name="connsiteX151" fmla="*/ 4222 w 10000"/>
                    <a:gd name="connsiteY151" fmla="*/ 8077 h 10631"/>
                    <a:gd name="connsiteX152" fmla="*/ 4111 w 10000"/>
                    <a:gd name="connsiteY152" fmla="*/ 7978 h 10631"/>
                    <a:gd name="connsiteX153" fmla="*/ 4111 w 10000"/>
                    <a:gd name="connsiteY153" fmla="*/ 7917 h 10631"/>
                    <a:gd name="connsiteX154" fmla="*/ 4111 w 10000"/>
                    <a:gd name="connsiteY154" fmla="*/ 7859 h 10631"/>
                    <a:gd name="connsiteX155" fmla="*/ 4111 w 10000"/>
                    <a:gd name="connsiteY155" fmla="*/ 7859 h 10631"/>
                    <a:gd name="connsiteX156" fmla="*/ 4278 w 10000"/>
                    <a:gd name="connsiteY156" fmla="*/ 7799 h 10631"/>
                    <a:gd name="connsiteX157" fmla="*/ 4389 w 10000"/>
                    <a:gd name="connsiteY157" fmla="*/ 7780 h 10631"/>
                    <a:gd name="connsiteX158" fmla="*/ 4389 w 10000"/>
                    <a:gd name="connsiteY158" fmla="*/ 7780 h 10631"/>
                    <a:gd name="connsiteX159" fmla="*/ 4000 w 10000"/>
                    <a:gd name="connsiteY159" fmla="*/ 7780 h 10631"/>
                    <a:gd name="connsiteX160" fmla="*/ 3722 w 10000"/>
                    <a:gd name="connsiteY160" fmla="*/ 7799 h 10631"/>
                    <a:gd name="connsiteX161" fmla="*/ 3611 w 10000"/>
                    <a:gd name="connsiteY161" fmla="*/ 7820 h 10631"/>
                    <a:gd name="connsiteX162" fmla="*/ 3556 w 10000"/>
                    <a:gd name="connsiteY162" fmla="*/ 7841 h 10631"/>
                    <a:gd name="connsiteX163" fmla="*/ 3556 w 10000"/>
                    <a:gd name="connsiteY163" fmla="*/ 7841 h 10631"/>
                    <a:gd name="connsiteX164" fmla="*/ 3444 w 10000"/>
                    <a:gd name="connsiteY164" fmla="*/ 7917 h 10631"/>
                    <a:gd name="connsiteX165" fmla="*/ 3278 w 10000"/>
                    <a:gd name="connsiteY165" fmla="*/ 8038 h 10631"/>
                    <a:gd name="connsiteX166" fmla="*/ 3000 w 10000"/>
                    <a:gd name="connsiteY166" fmla="*/ 8175 h 10631"/>
                    <a:gd name="connsiteX167" fmla="*/ 2667 w 10000"/>
                    <a:gd name="connsiteY167" fmla="*/ 8276 h 10631"/>
                    <a:gd name="connsiteX168" fmla="*/ 2667 w 10000"/>
                    <a:gd name="connsiteY168" fmla="*/ 8276 h 10631"/>
                    <a:gd name="connsiteX169" fmla="*/ 2333 w 10000"/>
                    <a:gd name="connsiteY169" fmla="*/ 8356 h 10631"/>
                    <a:gd name="connsiteX170" fmla="*/ 1833 w 10000"/>
                    <a:gd name="connsiteY170" fmla="*/ 8434 h 10631"/>
                    <a:gd name="connsiteX171" fmla="*/ 1389 w 10000"/>
                    <a:gd name="connsiteY171" fmla="*/ 8474 h 10631"/>
                    <a:gd name="connsiteX172" fmla="*/ 889 w 10000"/>
                    <a:gd name="connsiteY172" fmla="*/ 8493 h 10631"/>
                    <a:gd name="connsiteX173" fmla="*/ 889 w 10000"/>
                    <a:gd name="connsiteY173" fmla="*/ 8493 h 10631"/>
                    <a:gd name="connsiteX174" fmla="*/ 500 w 10000"/>
                    <a:gd name="connsiteY174" fmla="*/ 8515 h 10631"/>
                    <a:gd name="connsiteX175" fmla="*/ 222 w 10000"/>
                    <a:gd name="connsiteY175" fmla="*/ 8533 h 10631"/>
                    <a:gd name="connsiteX176" fmla="*/ 0 w 10000"/>
                    <a:gd name="connsiteY176" fmla="*/ 8552 h 10631"/>
                    <a:gd name="connsiteX177" fmla="*/ 0 w 10000"/>
                    <a:gd name="connsiteY177" fmla="*/ 8552 h 10631"/>
                    <a:gd name="connsiteX178" fmla="*/ 278 w 10000"/>
                    <a:gd name="connsiteY178" fmla="*/ 8870 h 10631"/>
                    <a:gd name="connsiteX179" fmla="*/ 500 w 10000"/>
                    <a:gd name="connsiteY179" fmla="*/ 9104 h 10631"/>
                    <a:gd name="connsiteX180" fmla="*/ 722 w 10000"/>
                    <a:gd name="connsiteY180" fmla="*/ 9304 h 10631"/>
                    <a:gd name="connsiteX181" fmla="*/ 722 w 10000"/>
                    <a:gd name="connsiteY181" fmla="*/ 9304 h 10631"/>
                    <a:gd name="connsiteX182" fmla="*/ 889 w 10000"/>
                    <a:gd name="connsiteY182" fmla="*/ 9424 h 10631"/>
                    <a:gd name="connsiteX183" fmla="*/ 944 w 10000"/>
                    <a:gd name="connsiteY183" fmla="*/ 9524 h 10631"/>
                    <a:gd name="connsiteX184" fmla="*/ 1111 w 10000"/>
                    <a:gd name="connsiteY184" fmla="*/ 9624 h 10631"/>
                    <a:gd name="connsiteX185" fmla="*/ 1333 w 10000"/>
                    <a:gd name="connsiteY185" fmla="*/ 9778 h 10631"/>
                    <a:gd name="connsiteX186" fmla="*/ 1333 w 10000"/>
                    <a:gd name="connsiteY186" fmla="*/ 9778 h 10631"/>
                    <a:gd name="connsiteX187" fmla="*/ 1444 w 10000"/>
                    <a:gd name="connsiteY187" fmla="*/ 9859 h 10631"/>
                    <a:gd name="connsiteX188" fmla="*/ 1500 w 10000"/>
                    <a:gd name="connsiteY188" fmla="*/ 9918 h 10631"/>
                    <a:gd name="connsiteX189" fmla="*/ 1500 w 10000"/>
                    <a:gd name="connsiteY189" fmla="*/ 9976 h 10631"/>
                    <a:gd name="connsiteX190" fmla="*/ 1556 w 10000"/>
                    <a:gd name="connsiteY190" fmla="*/ 9999 h 10631"/>
                    <a:gd name="connsiteX191" fmla="*/ 1722 w 10000"/>
                    <a:gd name="connsiteY191" fmla="*/ 10016 h 10631"/>
                    <a:gd name="connsiteX192" fmla="*/ 1944 w 10000"/>
                    <a:gd name="connsiteY192" fmla="*/ 10036 h 10631"/>
                    <a:gd name="connsiteX193" fmla="*/ 2944 w 10000"/>
                    <a:gd name="connsiteY193" fmla="*/ 10056 h 10631"/>
                    <a:gd name="connsiteX194" fmla="*/ 2944 w 10000"/>
                    <a:gd name="connsiteY194" fmla="*/ 10056 h 10631"/>
                    <a:gd name="connsiteX195" fmla="*/ 4167 w 10000"/>
                    <a:gd name="connsiteY195" fmla="*/ 10096 h 10631"/>
                    <a:gd name="connsiteX196" fmla="*/ 4889 w 10000"/>
                    <a:gd name="connsiteY196" fmla="*/ 10155 h 10631"/>
                    <a:gd name="connsiteX197" fmla="*/ 5278 w 10000"/>
                    <a:gd name="connsiteY197" fmla="*/ 10217 h 10631"/>
                    <a:gd name="connsiteX198" fmla="*/ 5444 w 10000"/>
                    <a:gd name="connsiteY198" fmla="*/ 10233 h 10631"/>
                    <a:gd name="connsiteX199" fmla="*/ 5444 w 10000"/>
                    <a:gd name="connsiteY199" fmla="*/ 10233 h 10631"/>
                    <a:gd name="connsiteX200" fmla="*/ 5722 w 10000"/>
                    <a:gd name="connsiteY200" fmla="*/ 10276 h 10631"/>
                    <a:gd name="connsiteX201" fmla="*/ 5833 w 10000"/>
                    <a:gd name="connsiteY201" fmla="*/ 10297 h 10631"/>
                    <a:gd name="connsiteX202" fmla="*/ 5833 w 10000"/>
                    <a:gd name="connsiteY202" fmla="*/ 10297 h 10631"/>
                    <a:gd name="connsiteX203" fmla="*/ 5833 w 10000"/>
                    <a:gd name="connsiteY203" fmla="*/ 10276 h 10631"/>
                    <a:gd name="connsiteX204" fmla="*/ 5889 w 10000"/>
                    <a:gd name="connsiteY204" fmla="*/ 10255 h 10631"/>
                    <a:gd name="connsiteX205" fmla="*/ 6000 w 10000"/>
                    <a:gd name="connsiteY205" fmla="*/ 10233 h 10631"/>
                    <a:gd name="connsiteX206" fmla="*/ 6167 w 10000"/>
                    <a:gd name="connsiteY206" fmla="*/ 10217 h 10631"/>
                    <a:gd name="connsiteX207" fmla="*/ 6444 w 10000"/>
                    <a:gd name="connsiteY207" fmla="*/ 10217 h 10631"/>
                    <a:gd name="connsiteX208" fmla="*/ 6833 w 10000"/>
                    <a:gd name="connsiteY208" fmla="*/ 10233 h 10631"/>
                    <a:gd name="connsiteX209" fmla="*/ 7278 w 10000"/>
                    <a:gd name="connsiteY209" fmla="*/ 10297 h 10631"/>
                    <a:gd name="connsiteX210" fmla="*/ 7278 w 10000"/>
                    <a:gd name="connsiteY210" fmla="*/ 10297 h 10631"/>
                    <a:gd name="connsiteX211" fmla="*/ 8722 w 10000"/>
                    <a:gd name="connsiteY211" fmla="*/ 10471 h 10631"/>
                    <a:gd name="connsiteX212" fmla="*/ 10000 w 10000"/>
                    <a:gd name="connsiteY212" fmla="*/ 10631 h 10631"/>
                    <a:gd name="connsiteX0" fmla="*/ 10000 w 10000"/>
                    <a:gd name="connsiteY0" fmla="*/ 8610 h 9958"/>
                    <a:gd name="connsiteX1" fmla="*/ 10000 w 10000"/>
                    <a:gd name="connsiteY1" fmla="*/ 8610 h 9958"/>
                    <a:gd name="connsiteX2" fmla="*/ 9222 w 10000"/>
                    <a:gd name="connsiteY2" fmla="*/ 8631 h 9958"/>
                    <a:gd name="connsiteX3" fmla="*/ 8944 w 10000"/>
                    <a:gd name="connsiteY3" fmla="*/ 8631 h 9958"/>
                    <a:gd name="connsiteX4" fmla="*/ 8833 w 10000"/>
                    <a:gd name="connsiteY4" fmla="*/ 8610 h 9958"/>
                    <a:gd name="connsiteX5" fmla="*/ 8778 w 10000"/>
                    <a:gd name="connsiteY5" fmla="*/ 8592 h 9958"/>
                    <a:gd name="connsiteX6" fmla="*/ 8778 w 10000"/>
                    <a:gd name="connsiteY6" fmla="*/ 8592 h 9958"/>
                    <a:gd name="connsiteX7" fmla="*/ 8444 w 10000"/>
                    <a:gd name="connsiteY7" fmla="*/ 8353 h 9958"/>
                    <a:gd name="connsiteX8" fmla="*/ 8167 w 10000"/>
                    <a:gd name="connsiteY8" fmla="*/ 8135 h 9958"/>
                    <a:gd name="connsiteX9" fmla="*/ 8167 w 10000"/>
                    <a:gd name="connsiteY9" fmla="*/ 8135 h 9958"/>
                    <a:gd name="connsiteX10" fmla="*/ 8056 w 10000"/>
                    <a:gd name="connsiteY10" fmla="*/ 8098 h 9958"/>
                    <a:gd name="connsiteX11" fmla="*/ 7889 w 10000"/>
                    <a:gd name="connsiteY11" fmla="*/ 8059 h 9958"/>
                    <a:gd name="connsiteX12" fmla="*/ 7444 w 10000"/>
                    <a:gd name="connsiteY12" fmla="*/ 8035 h 9958"/>
                    <a:gd name="connsiteX13" fmla="*/ 6889 w 10000"/>
                    <a:gd name="connsiteY13" fmla="*/ 8018 h 9958"/>
                    <a:gd name="connsiteX14" fmla="*/ 6389 w 10000"/>
                    <a:gd name="connsiteY14" fmla="*/ 8018 h 9958"/>
                    <a:gd name="connsiteX15" fmla="*/ 6389 w 10000"/>
                    <a:gd name="connsiteY15" fmla="*/ 8018 h 9958"/>
                    <a:gd name="connsiteX16" fmla="*/ 6167 w 10000"/>
                    <a:gd name="connsiteY16" fmla="*/ 7996 h 9958"/>
                    <a:gd name="connsiteX17" fmla="*/ 6056 w 10000"/>
                    <a:gd name="connsiteY17" fmla="*/ 7959 h 9958"/>
                    <a:gd name="connsiteX18" fmla="*/ 6000 w 10000"/>
                    <a:gd name="connsiteY18" fmla="*/ 7919 h 9958"/>
                    <a:gd name="connsiteX19" fmla="*/ 6000 w 10000"/>
                    <a:gd name="connsiteY19" fmla="*/ 7842 h 9958"/>
                    <a:gd name="connsiteX20" fmla="*/ 6056 w 10000"/>
                    <a:gd name="connsiteY20" fmla="*/ 7683 h 9958"/>
                    <a:gd name="connsiteX21" fmla="*/ 6111 w 10000"/>
                    <a:gd name="connsiteY21" fmla="*/ 7603 h 9958"/>
                    <a:gd name="connsiteX22" fmla="*/ 6056 w 10000"/>
                    <a:gd name="connsiteY22" fmla="*/ 7502 h 9958"/>
                    <a:gd name="connsiteX23" fmla="*/ 6056 w 10000"/>
                    <a:gd name="connsiteY23" fmla="*/ 7502 h 9958"/>
                    <a:gd name="connsiteX24" fmla="*/ 6000 w 10000"/>
                    <a:gd name="connsiteY24" fmla="*/ 7443 h 9958"/>
                    <a:gd name="connsiteX25" fmla="*/ 5944 w 10000"/>
                    <a:gd name="connsiteY25" fmla="*/ 7404 h 9958"/>
                    <a:gd name="connsiteX26" fmla="*/ 5833 w 10000"/>
                    <a:gd name="connsiteY26" fmla="*/ 7404 h 9958"/>
                    <a:gd name="connsiteX27" fmla="*/ 5667 w 10000"/>
                    <a:gd name="connsiteY27" fmla="*/ 7422 h 9958"/>
                    <a:gd name="connsiteX28" fmla="*/ 5333 w 10000"/>
                    <a:gd name="connsiteY28" fmla="*/ 7482 h 9958"/>
                    <a:gd name="connsiteX29" fmla="*/ 4889 w 10000"/>
                    <a:gd name="connsiteY29" fmla="*/ 7582 h 9958"/>
                    <a:gd name="connsiteX30" fmla="*/ 4889 w 10000"/>
                    <a:gd name="connsiteY30" fmla="*/ 7582 h 9958"/>
                    <a:gd name="connsiteX31" fmla="*/ 4611 w 10000"/>
                    <a:gd name="connsiteY31" fmla="*/ 7603 h 9958"/>
                    <a:gd name="connsiteX32" fmla="*/ 4500 w 10000"/>
                    <a:gd name="connsiteY32" fmla="*/ 7603 h 9958"/>
                    <a:gd name="connsiteX33" fmla="*/ 4444 w 10000"/>
                    <a:gd name="connsiteY33" fmla="*/ 7582 h 9958"/>
                    <a:gd name="connsiteX34" fmla="*/ 4389 w 10000"/>
                    <a:gd name="connsiteY34" fmla="*/ 7502 h 9958"/>
                    <a:gd name="connsiteX35" fmla="*/ 4222 w 10000"/>
                    <a:gd name="connsiteY35" fmla="*/ 7404 h 9958"/>
                    <a:gd name="connsiteX36" fmla="*/ 4222 w 10000"/>
                    <a:gd name="connsiteY36" fmla="*/ 7404 h 9958"/>
                    <a:gd name="connsiteX37" fmla="*/ 4111 w 10000"/>
                    <a:gd name="connsiteY37" fmla="*/ 7343 h 9958"/>
                    <a:gd name="connsiteX38" fmla="*/ 4111 w 10000"/>
                    <a:gd name="connsiteY38" fmla="*/ 7284 h 9958"/>
                    <a:gd name="connsiteX39" fmla="*/ 4111 w 10000"/>
                    <a:gd name="connsiteY39" fmla="*/ 7244 h 9958"/>
                    <a:gd name="connsiteX40" fmla="*/ 4167 w 10000"/>
                    <a:gd name="connsiteY40" fmla="*/ 7205 h 9958"/>
                    <a:gd name="connsiteX41" fmla="*/ 4278 w 10000"/>
                    <a:gd name="connsiteY41" fmla="*/ 7126 h 9958"/>
                    <a:gd name="connsiteX42" fmla="*/ 4389 w 10000"/>
                    <a:gd name="connsiteY42" fmla="*/ 7107 h 9958"/>
                    <a:gd name="connsiteX43" fmla="*/ 4389 w 10000"/>
                    <a:gd name="connsiteY43" fmla="*/ 7107 h 9958"/>
                    <a:gd name="connsiteX44" fmla="*/ 4389 w 10000"/>
                    <a:gd name="connsiteY44" fmla="*/ 7086 h 9958"/>
                    <a:gd name="connsiteX45" fmla="*/ 4444 w 10000"/>
                    <a:gd name="connsiteY45" fmla="*/ 7069 h 9958"/>
                    <a:gd name="connsiteX46" fmla="*/ 4667 w 10000"/>
                    <a:gd name="connsiteY46" fmla="*/ 7046 h 9958"/>
                    <a:gd name="connsiteX47" fmla="*/ 5333 w 10000"/>
                    <a:gd name="connsiteY47" fmla="*/ 7009 h 9958"/>
                    <a:gd name="connsiteX48" fmla="*/ 6500 w 10000"/>
                    <a:gd name="connsiteY48" fmla="*/ 6948 h 9958"/>
                    <a:gd name="connsiteX49" fmla="*/ 6500 w 10000"/>
                    <a:gd name="connsiteY49" fmla="*/ 6948 h 9958"/>
                    <a:gd name="connsiteX50" fmla="*/ 7167 w 10000"/>
                    <a:gd name="connsiteY50" fmla="*/ 6890 h 9958"/>
                    <a:gd name="connsiteX51" fmla="*/ 8389 w 10000"/>
                    <a:gd name="connsiteY51" fmla="*/ 6771 h 9958"/>
                    <a:gd name="connsiteX52" fmla="*/ 8389 w 10000"/>
                    <a:gd name="connsiteY52" fmla="*/ 6771 h 9958"/>
                    <a:gd name="connsiteX53" fmla="*/ 8667 w 10000"/>
                    <a:gd name="connsiteY53" fmla="*/ 6729 h 9958"/>
                    <a:gd name="connsiteX54" fmla="*/ 8778 w 10000"/>
                    <a:gd name="connsiteY54" fmla="*/ 6669 h 9958"/>
                    <a:gd name="connsiteX55" fmla="*/ 8889 w 10000"/>
                    <a:gd name="connsiteY55" fmla="*/ 6631 h 9958"/>
                    <a:gd name="connsiteX56" fmla="*/ 8833 w 10000"/>
                    <a:gd name="connsiteY56" fmla="*/ 6591 h 9958"/>
                    <a:gd name="connsiteX57" fmla="*/ 8833 w 10000"/>
                    <a:gd name="connsiteY57" fmla="*/ 6554 h 9958"/>
                    <a:gd name="connsiteX58" fmla="*/ 8722 w 10000"/>
                    <a:gd name="connsiteY58" fmla="*/ 6511 h 9958"/>
                    <a:gd name="connsiteX59" fmla="*/ 8556 w 10000"/>
                    <a:gd name="connsiteY59" fmla="*/ 6451 h 9958"/>
                    <a:gd name="connsiteX60" fmla="*/ 8556 w 10000"/>
                    <a:gd name="connsiteY60" fmla="*/ 6451 h 9958"/>
                    <a:gd name="connsiteX61" fmla="*/ 6556 w 10000"/>
                    <a:gd name="connsiteY61" fmla="*/ 6100 h 9958"/>
                    <a:gd name="connsiteX62" fmla="*/ 6556 w 10000"/>
                    <a:gd name="connsiteY62" fmla="*/ 6100 h 9958"/>
                    <a:gd name="connsiteX63" fmla="*/ 6333 w 10000"/>
                    <a:gd name="connsiteY63" fmla="*/ 6039 h 9958"/>
                    <a:gd name="connsiteX64" fmla="*/ 6167 w 10000"/>
                    <a:gd name="connsiteY64" fmla="*/ 5978 h 9958"/>
                    <a:gd name="connsiteX65" fmla="*/ 6056 w 10000"/>
                    <a:gd name="connsiteY65" fmla="*/ 5917 h 9958"/>
                    <a:gd name="connsiteX66" fmla="*/ 6056 w 10000"/>
                    <a:gd name="connsiteY66" fmla="*/ 5917 h 9958"/>
                    <a:gd name="connsiteX67" fmla="*/ 8056 w 10000"/>
                    <a:gd name="connsiteY67" fmla="*/ 5898 h 9958"/>
                    <a:gd name="connsiteX68" fmla="*/ 10000 w 10000"/>
                    <a:gd name="connsiteY68" fmla="*/ 6100 h 9958"/>
                    <a:gd name="connsiteX69" fmla="*/ 10000 w 10000"/>
                    <a:gd name="connsiteY69" fmla="*/ 4295 h 9958"/>
                    <a:gd name="connsiteX70" fmla="*/ 10000 w 10000"/>
                    <a:gd name="connsiteY70" fmla="*/ 4295 h 9958"/>
                    <a:gd name="connsiteX71" fmla="*/ 7778 w 10000"/>
                    <a:gd name="connsiteY71" fmla="*/ 3880 h 9958"/>
                    <a:gd name="connsiteX72" fmla="*/ 6556 w 10000"/>
                    <a:gd name="connsiteY72" fmla="*/ 3640 h 9958"/>
                    <a:gd name="connsiteX73" fmla="*/ 6556 w 10000"/>
                    <a:gd name="connsiteY73" fmla="*/ 3640 h 9958"/>
                    <a:gd name="connsiteX74" fmla="*/ 6556 w 10000"/>
                    <a:gd name="connsiteY74" fmla="*/ 3621 h 9958"/>
                    <a:gd name="connsiteX75" fmla="*/ 6556 w 10000"/>
                    <a:gd name="connsiteY75" fmla="*/ 3502 h 9958"/>
                    <a:gd name="connsiteX76" fmla="*/ 6556 w 10000"/>
                    <a:gd name="connsiteY76" fmla="*/ 3502 h 9958"/>
                    <a:gd name="connsiteX77" fmla="*/ 6389 w 10000"/>
                    <a:gd name="connsiteY77" fmla="*/ 3366 h 9958"/>
                    <a:gd name="connsiteX78" fmla="*/ 6056 w 10000"/>
                    <a:gd name="connsiteY78" fmla="*/ 3146 h 9958"/>
                    <a:gd name="connsiteX79" fmla="*/ 5333 w 10000"/>
                    <a:gd name="connsiteY79" fmla="*/ 2728 h 9958"/>
                    <a:gd name="connsiteX80" fmla="*/ 5333 w 10000"/>
                    <a:gd name="connsiteY80" fmla="*/ 2728 h 9958"/>
                    <a:gd name="connsiteX81" fmla="*/ 5167 w 10000"/>
                    <a:gd name="connsiteY81" fmla="*/ 2669 h 9958"/>
                    <a:gd name="connsiteX82" fmla="*/ 4889 w 10000"/>
                    <a:gd name="connsiteY82" fmla="*/ 2590 h 9958"/>
                    <a:gd name="connsiteX83" fmla="*/ 4056 w 10000"/>
                    <a:gd name="connsiteY83" fmla="*/ 2414 h 9958"/>
                    <a:gd name="connsiteX84" fmla="*/ 2889 w 10000"/>
                    <a:gd name="connsiteY84" fmla="*/ 2197 h 9958"/>
                    <a:gd name="connsiteX85" fmla="*/ 2889 w 10000"/>
                    <a:gd name="connsiteY85" fmla="*/ 2197 h 9958"/>
                    <a:gd name="connsiteX86" fmla="*/ 2389 w 10000"/>
                    <a:gd name="connsiteY86" fmla="*/ 2175 h 9958"/>
                    <a:gd name="connsiteX87" fmla="*/ 2000 w 10000"/>
                    <a:gd name="connsiteY87" fmla="*/ 2156 h 9958"/>
                    <a:gd name="connsiteX88" fmla="*/ 1889 w 10000"/>
                    <a:gd name="connsiteY88" fmla="*/ 2137 h 9958"/>
                    <a:gd name="connsiteX89" fmla="*/ 1778 w 10000"/>
                    <a:gd name="connsiteY89" fmla="*/ 2115 h 9958"/>
                    <a:gd name="connsiteX90" fmla="*/ 1778 w 10000"/>
                    <a:gd name="connsiteY90" fmla="*/ 2115 h 9958"/>
                    <a:gd name="connsiteX91" fmla="*/ 1667 w 10000"/>
                    <a:gd name="connsiteY91" fmla="*/ 2037 h 9958"/>
                    <a:gd name="connsiteX92" fmla="*/ 1500 w 10000"/>
                    <a:gd name="connsiteY92" fmla="*/ 1899 h 9958"/>
                    <a:gd name="connsiteX93" fmla="*/ 1444 w 10000"/>
                    <a:gd name="connsiteY93" fmla="*/ 1819 h 9958"/>
                    <a:gd name="connsiteX94" fmla="*/ 1444 w 10000"/>
                    <a:gd name="connsiteY94" fmla="*/ 1740 h 9958"/>
                    <a:gd name="connsiteX95" fmla="*/ 1444 w 10000"/>
                    <a:gd name="connsiteY95" fmla="*/ 1681 h 9958"/>
                    <a:gd name="connsiteX96" fmla="*/ 1556 w 10000"/>
                    <a:gd name="connsiteY96" fmla="*/ 1621 h 9958"/>
                    <a:gd name="connsiteX97" fmla="*/ 1556 w 10000"/>
                    <a:gd name="connsiteY97" fmla="*/ 1621 h 9958"/>
                    <a:gd name="connsiteX98" fmla="*/ 1833 w 10000"/>
                    <a:gd name="connsiteY98" fmla="*/ 1523 h 9958"/>
                    <a:gd name="connsiteX99" fmla="*/ 2111 w 10000"/>
                    <a:gd name="connsiteY99" fmla="*/ 1421 h 9958"/>
                    <a:gd name="connsiteX100" fmla="*/ 2278 w 10000"/>
                    <a:gd name="connsiteY100" fmla="*/ 1364 h 9958"/>
                    <a:gd name="connsiteX101" fmla="*/ 2389 w 10000"/>
                    <a:gd name="connsiteY101" fmla="*/ 1305 h 9958"/>
                    <a:gd name="connsiteX102" fmla="*/ 2389 w 10000"/>
                    <a:gd name="connsiteY102" fmla="*/ 1225 h 9958"/>
                    <a:gd name="connsiteX103" fmla="*/ 2389 w 10000"/>
                    <a:gd name="connsiteY103" fmla="*/ 1128 h 9958"/>
                    <a:gd name="connsiteX104" fmla="*/ 2389 w 10000"/>
                    <a:gd name="connsiteY104" fmla="*/ 1128 h 9958"/>
                    <a:gd name="connsiteX105" fmla="*/ 2167 w 10000"/>
                    <a:gd name="connsiteY105" fmla="*/ 849 h 9958"/>
                    <a:gd name="connsiteX106" fmla="*/ 1889 w 10000"/>
                    <a:gd name="connsiteY106" fmla="*/ 472 h 9958"/>
                    <a:gd name="connsiteX107" fmla="*/ 1667 w 10000"/>
                    <a:gd name="connsiteY107" fmla="*/ 136 h 9958"/>
                    <a:gd name="connsiteX108" fmla="*/ 1611 w 10000"/>
                    <a:gd name="connsiteY108" fmla="*/ 38 h 9958"/>
                    <a:gd name="connsiteX109" fmla="*/ 1611 w 10000"/>
                    <a:gd name="connsiteY109" fmla="*/ 0 h 9958"/>
                    <a:gd name="connsiteX110" fmla="*/ 10000 w 10000"/>
                    <a:gd name="connsiteY110" fmla="*/ 8631 h 9958"/>
                    <a:gd name="connsiteX111" fmla="*/ 10000 w 10000"/>
                    <a:gd name="connsiteY111" fmla="*/ 8631 h 9958"/>
                    <a:gd name="connsiteX112" fmla="*/ 9722 w 10000"/>
                    <a:gd name="connsiteY112" fmla="*/ 8610 h 9958"/>
                    <a:gd name="connsiteX113" fmla="*/ 9389 w 10000"/>
                    <a:gd name="connsiteY113" fmla="*/ 8631 h 9958"/>
                    <a:gd name="connsiteX114" fmla="*/ 9389 w 10000"/>
                    <a:gd name="connsiteY114" fmla="*/ 8631 h 9958"/>
                    <a:gd name="connsiteX115" fmla="*/ 9278 w 10000"/>
                    <a:gd name="connsiteY115" fmla="*/ 8654 h 9958"/>
                    <a:gd name="connsiteX116" fmla="*/ 9056 w 10000"/>
                    <a:gd name="connsiteY116" fmla="*/ 8631 h 9958"/>
                    <a:gd name="connsiteX117" fmla="*/ 8889 w 10000"/>
                    <a:gd name="connsiteY117" fmla="*/ 8610 h 9958"/>
                    <a:gd name="connsiteX118" fmla="*/ 8722 w 10000"/>
                    <a:gd name="connsiteY118" fmla="*/ 8572 h 9958"/>
                    <a:gd name="connsiteX119" fmla="*/ 8611 w 10000"/>
                    <a:gd name="connsiteY119" fmla="*/ 8511 h 9958"/>
                    <a:gd name="connsiteX120" fmla="*/ 8444 w 10000"/>
                    <a:gd name="connsiteY120" fmla="*/ 8413 h 9958"/>
                    <a:gd name="connsiteX121" fmla="*/ 8444 w 10000"/>
                    <a:gd name="connsiteY121" fmla="*/ 8413 h 9958"/>
                    <a:gd name="connsiteX122" fmla="*/ 8222 w 10000"/>
                    <a:gd name="connsiteY122" fmla="*/ 8237 h 9958"/>
                    <a:gd name="connsiteX123" fmla="*/ 8111 w 10000"/>
                    <a:gd name="connsiteY123" fmla="*/ 8158 h 9958"/>
                    <a:gd name="connsiteX124" fmla="*/ 7944 w 10000"/>
                    <a:gd name="connsiteY124" fmla="*/ 8098 h 9958"/>
                    <a:gd name="connsiteX125" fmla="*/ 7778 w 10000"/>
                    <a:gd name="connsiteY125" fmla="*/ 8059 h 9958"/>
                    <a:gd name="connsiteX126" fmla="*/ 7556 w 10000"/>
                    <a:gd name="connsiteY126" fmla="*/ 8035 h 9958"/>
                    <a:gd name="connsiteX127" fmla="*/ 7333 w 10000"/>
                    <a:gd name="connsiteY127" fmla="*/ 8018 h 9958"/>
                    <a:gd name="connsiteX128" fmla="*/ 7000 w 10000"/>
                    <a:gd name="connsiteY128" fmla="*/ 7996 h 9958"/>
                    <a:gd name="connsiteX129" fmla="*/ 7000 w 10000"/>
                    <a:gd name="connsiteY129" fmla="*/ 7996 h 9958"/>
                    <a:gd name="connsiteX130" fmla="*/ 6556 w 10000"/>
                    <a:gd name="connsiteY130" fmla="*/ 8018 h 9958"/>
                    <a:gd name="connsiteX131" fmla="*/ 6222 w 10000"/>
                    <a:gd name="connsiteY131" fmla="*/ 8018 h 9958"/>
                    <a:gd name="connsiteX132" fmla="*/ 6111 w 10000"/>
                    <a:gd name="connsiteY132" fmla="*/ 7996 h 9958"/>
                    <a:gd name="connsiteX133" fmla="*/ 6056 w 10000"/>
                    <a:gd name="connsiteY133" fmla="*/ 7977 h 9958"/>
                    <a:gd name="connsiteX134" fmla="*/ 6056 w 10000"/>
                    <a:gd name="connsiteY134" fmla="*/ 7977 h 9958"/>
                    <a:gd name="connsiteX135" fmla="*/ 6056 w 10000"/>
                    <a:gd name="connsiteY135" fmla="*/ 7623 h 9958"/>
                    <a:gd name="connsiteX136" fmla="*/ 6056 w 10000"/>
                    <a:gd name="connsiteY136" fmla="*/ 7623 h 9958"/>
                    <a:gd name="connsiteX137" fmla="*/ 6056 w 10000"/>
                    <a:gd name="connsiteY137" fmla="*/ 7540 h 9958"/>
                    <a:gd name="connsiteX138" fmla="*/ 5944 w 10000"/>
                    <a:gd name="connsiteY138" fmla="*/ 7443 h 9958"/>
                    <a:gd name="connsiteX139" fmla="*/ 5889 w 10000"/>
                    <a:gd name="connsiteY139" fmla="*/ 7422 h 9958"/>
                    <a:gd name="connsiteX140" fmla="*/ 5778 w 10000"/>
                    <a:gd name="connsiteY140" fmla="*/ 7404 h 9958"/>
                    <a:gd name="connsiteX141" fmla="*/ 5667 w 10000"/>
                    <a:gd name="connsiteY141" fmla="*/ 7404 h 9958"/>
                    <a:gd name="connsiteX142" fmla="*/ 5500 w 10000"/>
                    <a:gd name="connsiteY142" fmla="*/ 7422 h 9958"/>
                    <a:gd name="connsiteX143" fmla="*/ 5500 w 10000"/>
                    <a:gd name="connsiteY143" fmla="*/ 7422 h 9958"/>
                    <a:gd name="connsiteX144" fmla="*/ 4889 w 10000"/>
                    <a:gd name="connsiteY144" fmla="*/ 7561 h 9958"/>
                    <a:gd name="connsiteX145" fmla="*/ 4611 w 10000"/>
                    <a:gd name="connsiteY145" fmla="*/ 7603 h 9958"/>
                    <a:gd name="connsiteX146" fmla="*/ 4556 w 10000"/>
                    <a:gd name="connsiteY146" fmla="*/ 7623 h 9958"/>
                    <a:gd name="connsiteX147" fmla="*/ 4500 w 10000"/>
                    <a:gd name="connsiteY147" fmla="*/ 7603 h 9958"/>
                    <a:gd name="connsiteX148" fmla="*/ 4500 w 10000"/>
                    <a:gd name="connsiteY148" fmla="*/ 7603 h 9958"/>
                    <a:gd name="connsiteX149" fmla="*/ 4222 w 10000"/>
                    <a:gd name="connsiteY149" fmla="*/ 7404 h 9958"/>
                    <a:gd name="connsiteX150" fmla="*/ 4222 w 10000"/>
                    <a:gd name="connsiteY150" fmla="*/ 7404 h 9958"/>
                    <a:gd name="connsiteX151" fmla="*/ 4111 w 10000"/>
                    <a:gd name="connsiteY151" fmla="*/ 7305 h 9958"/>
                    <a:gd name="connsiteX152" fmla="*/ 4111 w 10000"/>
                    <a:gd name="connsiteY152" fmla="*/ 7244 h 9958"/>
                    <a:gd name="connsiteX153" fmla="*/ 4111 w 10000"/>
                    <a:gd name="connsiteY153" fmla="*/ 7186 h 9958"/>
                    <a:gd name="connsiteX154" fmla="*/ 4111 w 10000"/>
                    <a:gd name="connsiteY154" fmla="*/ 7186 h 9958"/>
                    <a:gd name="connsiteX155" fmla="*/ 4278 w 10000"/>
                    <a:gd name="connsiteY155" fmla="*/ 7126 h 9958"/>
                    <a:gd name="connsiteX156" fmla="*/ 4389 w 10000"/>
                    <a:gd name="connsiteY156" fmla="*/ 7107 h 9958"/>
                    <a:gd name="connsiteX157" fmla="*/ 4389 w 10000"/>
                    <a:gd name="connsiteY157" fmla="*/ 7107 h 9958"/>
                    <a:gd name="connsiteX158" fmla="*/ 4000 w 10000"/>
                    <a:gd name="connsiteY158" fmla="*/ 7107 h 9958"/>
                    <a:gd name="connsiteX159" fmla="*/ 3722 w 10000"/>
                    <a:gd name="connsiteY159" fmla="*/ 7126 h 9958"/>
                    <a:gd name="connsiteX160" fmla="*/ 3611 w 10000"/>
                    <a:gd name="connsiteY160" fmla="*/ 7147 h 9958"/>
                    <a:gd name="connsiteX161" fmla="*/ 3556 w 10000"/>
                    <a:gd name="connsiteY161" fmla="*/ 7168 h 9958"/>
                    <a:gd name="connsiteX162" fmla="*/ 3556 w 10000"/>
                    <a:gd name="connsiteY162" fmla="*/ 7168 h 9958"/>
                    <a:gd name="connsiteX163" fmla="*/ 3444 w 10000"/>
                    <a:gd name="connsiteY163" fmla="*/ 7244 h 9958"/>
                    <a:gd name="connsiteX164" fmla="*/ 3278 w 10000"/>
                    <a:gd name="connsiteY164" fmla="*/ 7365 h 9958"/>
                    <a:gd name="connsiteX165" fmla="*/ 3000 w 10000"/>
                    <a:gd name="connsiteY165" fmla="*/ 7502 h 9958"/>
                    <a:gd name="connsiteX166" fmla="*/ 2667 w 10000"/>
                    <a:gd name="connsiteY166" fmla="*/ 7603 h 9958"/>
                    <a:gd name="connsiteX167" fmla="*/ 2667 w 10000"/>
                    <a:gd name="connsiteY167" fmla="*/ 7603 h 9958"/>
                    <a:gd name="connsiteX168" fmla="*/ 2333 w 10000"/>
                    <a:gd name="connsiteY168" fmla="*/ 7683 h 9958"/>
                    <a:gd name="connsiteX169" fmla="*/ 1833 w 10000"/>
                    <a:gd name="connsiteY169" fmla="*/ 7761 h 9958"/>
                    <a:gd name="connsiteX170" fmla="*/ 1389 w 10000"/>
                    <a:gd name="connsiteY170" fmla="*/ 7801 h 9958"/>
                    <a:gd name="connsiteX171" fmla="*/ 889 w 10000"/>
                    <a:gd name="connsiteY171" fmla="*/ 7820 h 9958"/>
                    <a:gd name="connsiteX172" fmla="*/ 889 w 10000"/>
                    <a:gd name="connsiteY172" fmla="*/ 7820 h 9958"/>
                    <a:gd name="connsiteX173" fmla="*/ 500 w 10000"/>
                    <a:gd name="connsiteY173" fmla="*/ 7842 h 9958"/>
                    <a:gd name="connsiteX174" fmla="*/ 222 w 10000"/>
                    <a:gd name="connsiteY174" fmla="*/ 7860 h 9958"/>
                    <a:gd name="connsiteX175" fmla="*/ 0 w 10000"/>
                    <a:gd name="connsiteY175" fmla="*/ 7879 h 9958"/>
                    <a:gd name="connsiteX176" fmla="*/ 0 w 10000"/>
                    <a:gd name="connsiteY176" fmla="*/ 7879 h 9958"/>
                    <a:gd name="connsiteX177" fmla="*/ 278 w 10000"/>
                    <a:gd name="connsiteY177" fmla="*/ 8197 h 9958"/>
                    <a:gd name="connsiteX178" fmla="*/ 500 w 10000"/>
                    <a:gd name="connsiteY178" fmla="*/ 8431 h 9958"/>
                    <a:gd name="connsiteX179" fmla="*/ 722 w 10000"/>
                    <a:gd name="connsiteY179" fmla="*/ 8631 h 9958"/>
                    <a:gd name="connsiteX180" fmla="*/ 722 w 10000"/>
                    <a:gd name="connsiteY180" fmla="*/ 8631 h 9958"/>
                    <a:gd name="connsiteX181" fmla="*/ 889 w 10000"/>
                    <a:gd name="connsiteY181" fmla="*/ 8751 h 9958"/>
                    <a:gd name="connsiteX182" fmla="*/ 944 w 10000"/>
                    <a:gd name="connsiteY182" fmla="*/ 8851 h 9958"/>
                    <a:gd name="connsiteX183" fmla="*/ 1111 w 10000"/>
                    <a:gd name="connsiteY183" fmla="*/ 8951 h 9958"/>
                    <a:gd name="connsiteX184" fmla="*/ 1333 w 10000"/>
                    <a:gd name="connsiteY184" fmla="*/ 9105 h 9958"/>
                    <a:gd name="connsiteX185" fmla="*/ 1333 w 10000"/>
                    <a:gd name="connsiteY185" fmla="*/ 9105 h 9958"/>
                    <a:gd name="connsiteX186" fmla="*/ 1444 w 10000"/>
                    <a:gd name="connsiteY186" fmla="*/ 9186 h 9958"/>
                    <a:gd name="connsiteX187" fmla="*/ 1500 w 10000"/>
                    <a:gd name="connsiteY187" fmla="*/ 9245 h 9958"/>
                    <a:gd name="connsiteX188" fmla="*/ 1500 w 10000"/>
                    <a:gd name="connsiteY188" fmla="*/ 9303 h 9958"/>
                    <a:gd name="connsiteX189" fmla="*/ 1556 w 10000"/>
                    <a:gd name="connsiteY189" fmla="*/ 9326 h 9958"/>
                    <a:gd name="connsiteX190" fmla="*/ 1722 w 10000"/>
                    <a:gd name="connsiteY190" fmla="*/ 9343 h 9958"/>
                    <a:gd name="connsiteX191" fmla="*/ 1944 w 10000"/>
                    <a:gd name="connsiteY191" fmla="*/ 9363 h 9958"/>
                    <a:gd name="connsiteX192" fmla="*/ 2944 w 10000"/>
                    <a:gd name="connsiteY192" fmla="*/ 9383 h 9958"/>
                    <a:gd name="connsiteX193" fmla="*/ 2944 w 10000"/>
                    <a:gd name="connsiteY193" fmla="*/ 9383 h 9958"/>
                    <a:gd name="connsiteX194" fmla="*/ 4167 w 10000"/>
                    <a:gd name="connsiteY194" fmla="*/ 9423 h 9958"/>
                    <a:gd name="connsiteX195" fmla="*/ 4889 w 10000"/>
                    <a:gd name="connsiteY195" fmla="*/ 9482 h 9958"/>
                    <a:gd name="connsiteX196" fmla="*/ 5278 w 10000"/>
                    <a:gd name="connsiteY196" fmla="*/ 9544 h 9958"/>
                    <a:gd name="connsiteX197" fmla="*/ 5444 w 10000"/>
                    <a:gd name="connsiteY197" fmla="*/ 9560 h 9958"/>
                    <a:gd name="connsiteX198" fmla="*/ 5444 w 10000"/>
                    <a:gd name="connsiteY198" fmla="*/ 9560 h 9958"/>
                    <a:gd name="connsiteX199" fmla="*/ 5722 w 10000"/>
                    <a:gd name="connsiteY199" fmla="*/ 9603 h 9958"/>
                    <a:gd name="connsiteX200" fmla="*/ 5833 w 10000"/>
                    <a:gd name="connsiteY200" fmla="*/ 9624 h 9958"/>
                    <a:gd name="connsiteX201" fmla="*/ 5833 w 10000"/>
                    <a:gd name="connsiteY201" fmla="*/ 9624 h 9958"/>
                    <a:gd name="connsiteX202" fmla="*/ 5833 w 10000"/>
                    <a:gd name="connsiteY202" fmla="*/ 9603 h 9958"/>
                    <a:gd name="connsiteX203" fmla="*/ 5889 w 10000"/>
                    <a:gd name="connsiteY203" fmla="*/ 9582 h 9958"/>
                    <a:gd name="connsiteX204" fmla="*/ 6000 w 10000"/>
                    <a:gd name="connsiteY204" fmla="*/ 9560 h 9958"/>
                    <a:gd name="connsiteX205" fmla="*/ 6167 w 10000"/>
                    <a:gd name="connsiteY205" fmla="*/ 9544 h 9958"/>
                    <a:gd name="connsiteX206" fmla="*/ 6444 w 10000"/>
                    <a:gd name="connsiteY206" fmla="*/ 9544 h 9958"/>
                    <a:gd name="connsiteX207" fmla="*/ 6833 w 10000"/>
                    <a:gd name="connsiteY207" fmla="*/ 9560 h 9958"/>
                    <a:gd name="connsiteX208" fmla="*/ 7278 w 10000"/>
                    <a:gd name="connsiteY208" fmla="*/ 9624 h 9958"/>
                    <a:gd name="connsiteX209" fmla="*/ 7278 w 10000"/>
                    <a:gd name="connsiteY209" fmla="*/ 9624 h 9958"/>
                    <a:gd name="connsiteX210" fmla="*/ 8722 w 10000"/>
                    <a:gd name="connsiteY210" fmla="*/ 9798 h 9958"/>
                    <a:gd name="connsiteX211" fmla="*/ 10000 w 10000"/>
                    <a:gd name="connsiteY211" fmla="*/ 9958 h 9958"/>
                    <a:gd name="connsiteX0" fmla="*/ 10000 w 10000"/>
                    <a:gd name="connsiteY0" fmla="*/ 8608 h 9962"/>
                    <a:gd name="connsiteX1" fmla="*/ 10000 w 10000"/>
                    <a:gd name="connsiteY1" fmla="*/ 8608 h 9962"/>
                    <a:gd name="connsiteX2" fmla="*/ 9222 w 10000"/>
                    <a:gd name="connsiteY2" fmla="*/ 8629 h 9962"/>
                    <a:gd name="connsiteX3" fmla="*/ 8944 w 10000"/>
                    <a:gd name="connsiteY3" fmla="*/ 8629 h 9962"/>
                    <a:gd name="connsiteX4" fmla="*/ 8833 w 10000"/>
                    <a:gd name="connsiteY4" fmla="*/ 8608 h 9962"/>
                    <a:gd name="connsiteX5" fmla="*/ 8778 w 10000"/>
                    <a:gd name="connsiteY5" fmla="*/ 8590 h 9962"/>
                    <a:gd name="connsiteX6" fmla="*/ 8778 w 10000"/>
                    <a:gd name="connsiteY6" fmla="*/ 8590 h 9962"/>
                    <a:gd name="connsiteX7" fmla="*/ 8444 w 10000"/>
                    <a:gd name="connsiteY7" fmla="*/ 8350 h 9962"/>
                    <a:gd name="connsiteX8" fmla="*/ 8167 w 10000"/>
                    <a:gd name="connsiteY8" fmla="*/ 8131 h 9962"/>
                    <a:gd name="connsiteX9" fmla="*/ 8167 w 10000"/>
                    <a:gd name="connsiteY9" fmla="*/ 8131 h 9962"/>
                    <a:gd name="connsiteX10" fmla="*/ 8056 w 10000"/>
                    <a:gd name="connsiteY10" fmla="*/ 8094 h 9962"/>
                    <a:gd name="connsiteX11" fmla="*/ 7889 w 10000"/>
                    <a:gd name="connsiteY11" fmla="*/ 8055 h 9962"/>
                    <a:gd name="connsiteX12" fmla="*/ 7444 w 10000"/>
                    <a:gd name="connsiteY12" fmla="*/ 8031 h 9962"/>
                    <a:gd name="connsiteX13" fmla="*/ 6889 w 10000"/>
                    <a:gd name="connsiteY13" fmla="*/ 8014 h 9962"/>
                    <a:gd name="connsiteX14" fmla="*/ 6389 w 10000"/>
                    <a:gd name="connsiteY14" fmla="*/ 8014 h 9962"/>
                    <a:gd name="connsiteX15" fmla="*/ 6389 w 10000"/>
                    <a:gd name="connsiteY15" fmla="*/ 8014 h 9962"/>
                    <a:gd name="connsiteX16" fmla="*/ 6167 w 10000"/>
                    <a:gd name="connsiteY16" fmla="*/ 7992 h 9962"/>
                    <a:gd name="connsiteX17" fmla="*/ 6056 w 10000"/>
                    <a:gd name="connsiteY17" fmla="*/ 7955 h 9962"/>
                    <a:gd name="connsiteX18" fmla="*/ 6000 w 10000"/>
                    <a:gd name="connsiteY18" fmla="*/ 7914 h 9962"/>
                    <a:gd name="connsiteX19" fmla="*/ 6000 w 10000"/>
                    <a:gd name="connsiteY19" fmla="*/ 7837 h 9962"/>
                    <a:gd name="connsiteX20" fmla="*/ 6056 w 10000"/>
                    <a:gd name="connsiteY20" fmla="*/ 7677 h 9962"/>
                    <a:gd name="connsiteX21" fmla="*/ 6111 w 10000"/>
                    <a:gd name="connsiteY21" fmla="*/ 7597 h 9962"/>
                    <a:gd name="connsiteX22" fmla="*/ 6056 w 10000"/>
                    <a:gd name="connsiteY22" fmla="*/ 7496 h 9962"/>
                    <a:gd name="connsiteX23" fmla="*/ 6056 w 10000"/>
                    <a:gd name="connsiteY23" fmla="*/ 7496 h 9962"/>
                    <a:gd name="connsiteX24" fmla="*/ 6000 w 10000"/>
                    <a:gd name="connsiteY24" fmla="*/ 7436 h 9962"/>
                    <a:gd name="connsiteX25" fmla="*/ 5944 w 10000"/>
                    <a:gd name="connsiteY25" fmla="*/ 7397 h 9962"/>
                    <a:gd name="connsiteX26" fmla="*/ 5833 w 10000"/>
                    <a:gd name="connsiteY26" fmla="*/ 7397 h 9962"/>
                    <a:gd name="connsiteX27" fmla="*/ 5667 w 10000"/>
                    <a:gd name="connsiteY27" fmla="*/ 7415 h 9962"/>
                    <a:gd name="connsiteX28" fmla="*/ 5333 w 10000"/>
                    <a:gd name="connsiteY28" fmla="*/ 7476 h 9962"/>
                    <a:gd name="connsiteX29" fmla="*/ 4889 w 10000"/>
                    <a:gd name="connsiteY29" fmla="*/ 7576 h 9962"/>
                    <a:gd name="connsiteX30" fmla="*/ 4889 w 10000"/>
                    <a:gd name="connsiteY30" fmla="*/ 7576 h 9962"/>
                    <a:gd name="connsiteX31" fmla="*/ 4611 w 10000"/>
                    <a:gd name="connsiteY31" fmla="*/ 7597 h 9962"/>
                    <a:gd name="connsiteX32" fmla="*/ 4500 w 10000"/>
                    <a:gd name="connsiteY32" fmla="*/ 7597 h 9962"/>
                    <a:gd name="connsiteX33" fmla="*/ 4444 w 10000"/>
                    <a:gd name="connsiteY33" fmla="*/ 7576 h 9962"/>
                    <a:gd name="connsiteX34" fmla="*/ 4389 w 10000"/>
                    <a:gd name="connsiteY34" fmla="*/ 7496 h 9962"/>
                    <a:gd name="connsiteX35" fmla="*/ 4222 w 10000"/>
                    <a:gd name="connsiteY35" fmla="*/ 7397 h 9962"/>
                    <a:gd name="connsiteX36" fmla="*/ 4222 w 10000"/>
                    <a:gd name="connsiteY36" fmla="*/ 7397 h 9962"/>
                    <a:gd name="connsiteX37" fmla="*/ 4111 w 10000"/>
                    <a:gd name="connsiteY37" fmla="*/ 7336 h 9962"/>
                    <a:gd name="connsiteX38" fmla="*/ 4111 w 10000"/>
                    <a:gd name="connsiteY38" fmla="*/ 7277 h 9962"/>
                    <a:gd name="connsiteX39" fmla="*/ 4111 w 10000"/>
                    <a:gd name="connsiteY39" fmla="*/ 7237 h 9962"/>
                    <a:gd name="connsiteX40" fmla="*/ 4167 w 10000"/>
                    <a:gd name="connsiteY40" fmla="*/ 7197 h 9962"/>
                    <a:gd name="connsiteX41" fmla="*/ 4278 w 10000"/>
                    <a:gd name="connsiteY41" fmla="*/ 7118 h 9962"/>
                    <a:gd name="connsiteX42" fmla="*/ 4389 w 10000"/>
                    <a:gd name="connsiteY42" fmla="*/ 7099 h 9962"/>
                    <a:gd name="connsiteX43" fmla="*/ 4389 w 10000"/>
                    <a:gd name="connsiteY43" fmla="*/ 7099 h 9962"/>
                    <a:gd name="connsiteX44" fmla="*/ 4389 w 10000"/>
                    <a:gd name="connsiteY44" fmla="*/ 7078 h 9962"/>
                    <a:gd name="connsiteX45" fmla="*/ 4444 w 10000"/>
                    <a:gd name="connsiteY45" fmla="*/ 7061 h 9962"/>
                    <a:gd name="connsiteX46" fmla="*/ 4667 w 10000"/>
                    <a:gd name="connsiteY46" fmla="*/ 7038 h 9962"/>
                    <a:gd name="connsiteX47" fmla="*/ 5333 w 10000"/>
                    <a:gd name="connsiteY47" fmla="*/ 7001 h 9962"/>
                    <a:gd name="connsiteX48" fmla="*/ 6500 w 10000"/>
                    <a:gd name="connsiteY48" fmla="*/ 6939 h 9962"/>
                    <a:gd name="connsiteX49" fmla="*/ 6500 w 10000"/>
                    <a:gd name="connsiteY49" fmla="*/ 6939 h 9962"/>
                    <a:gd name="connsiteX50" fmla="*/ 7167 w 10000"/>
                    <a:gd name="connsiteY50" fmla="*/ 6881 h 9962"/>
                    <a:gd name="connsiteX51" fmla="*/ 8389 w 10000"/>
                    <a:gd name="connsiteY51" fmla="*/ 6762 h 9962"/>
                    <a:gd name="connsiteX52" fmla="*/ 8389 w 10000"/>
                    <a:gd name="connsiteY52" fmla="*/ 6762 h 9962"/>
                    <a:gd name="connsiteX53" fmla="*/ 8667 w 10000"/>
                    <a:gd name="connsiteY53" fmla="*/ 6719 h 9962"/>
                    <a:gd name="connsiteX54" fmla="*/ 8778 w 10000"/>
                    <a:gd name="connsiteY54" fmla="*/ 6659 h 9962"/>
                    <a:gd name="connsiteX55" fmla="*/ 8889 w 10000"/>
                    <a:gd name="connsiteY55" fmla="*/ 6621 h 9962"/>
                    <a:gd name="connsiteX56" fmla="*/ 8833 w 10000"/>
                    <a:gd name="connsiteY56" fmla="*/ 6581 h 9962"/>
                    <a:gd name="connsiteX57" fmla="*/ 8833 w 10000"/>
                    <a:gd name="connsiteY57" fmla="*/ 6544 h 9962"/>
                    <a:gd name="connsiteX58" fmla="*/ 8722 w 10000"/>
                    <a:gd name="connsiteY58" fmla="*/ 6500 h 9962"/>
                    <a:gd name="connsiteX59" fmla="*/ 8556 w 10000"/>
                    <a:gd name="connsiteY59" fmla="*/ 6440 h 9962"/>
                    <a:gd name="connsiteX60" fmla="*/ 8556 w 10000"/>
                    <a:gd name="connsiteY60" fmla="*/ 6440 h 9962"/>
                    <a:gd name="connsiteX61" fmla="*/ 6556 w 10000"/>
                    <a:gd name="connsiteY61" fmla="*/ 6088 h 9962"/>
                    <a:gd name="connsiteX62" fmla="*/ 6556 w 10000"/>
                    <a:gd name="connsiteY62" fmla="*/ 6088 h 9962"/>
                    <a:gd name="connsiteX63" fmla="*/ 6333 w 10000"/>
                    <a:gd name="connsiteY63" fmla="*/ 6026 h 9962"/>
                    <a:gd name="connsiteX64" fmla="*/ 6167 w 10000"/>
                    <a:gd name="connsiteY64" fmla="*/ 5965 h 9962"/>
                    <a:gd name="connsiteX65" fmla="*/ 6056 w 10000"/>
                    <a:gd name="connsiteY65" fmla="*/ 5904 h 9962"/>
                    <a:gd name="connsiteX66" fmla="*/ 6056 w 10000"/>
                    <a:gd name="connsiteY66" fmla="*/ 5904 h 9962"/>
                    <a:gd name="connsiteX67" fmla="*/ 8056 w 10000"/>
                    <a:gd name="connsiteY67" fmla="*/ 5885 h 9962"/>
                    <a:gd name="connsiteX68" fmla="*/ 10000 w 10000"/>
                    <a:gd name="connsiteY68" fmla="*/ 6088 h 9962"/>
                    <a:gd name="connsiteX69" fmla="*/ 10000 w 10000"/>
                    <a:gd name="connsiteY69" fmla="*/ 4275 h 9962"/>
                    <a:gd name="connsiteX70" fmla="*/ 10000 w 10000"/>
                    <a:gd name="connsiteY70" fmla="*/ 4275 h 9962"/>
                    <a:gd name="connsiteX71" fmla="*/ 7778 w 10000"/>
                    <a:gd name="connsiteY71" fmla="*/ 3858 h 9962"/>
                    <a:gd name="connsiteX72" fmla="*/ 6556 w 10000"/>
                    <a:gd name="connsiteY72" fmla="*/ 3617 h 9962"/>
                    <a:gd name="connsiteX73" fmla="*/ 6556 w 10000"/>
                    <a:gd name="connsiteY73" fmla="*/ 3617 h 9962"/>
                    <a:gd name="connsiteX74" fmla="*/ 6556 w 10000"/>
                    <a:gd name="connsiteY74" fmla="*/ 3598 h 9962"/>
                    <a:gd name="connsiteX75" fmla="*/ 6556 w 10000"/>
                    <a:gd name="connsiteY75" fmla="*/ 3479 h 9962"/>
                    <a:gd name="connsiteX76" fmla="*/ 6556 w 10000"/>
                    <a:gd name="connsiteY76" fmla="*/ 3479 h 9962"/>
                    <a:gd name="connsiteX77" fmla="*/ 6389 w 10000"/>
                    <a:gd name="connsiteY77" fmla="*/ 3342 h 9962"/>
                    <a:gd name="connsiteX78" fmla="*/ 6056 w 10000"/>
                    <a:gd name="connsiteY78" fmla="*/ 3121 h 9962"/>
                    <a:gd name="connsiteX79" fmla="*/ 5333 w 10000"/>
                    <a:gd name="connsiteY79" fmla="*/ 2702 h 9962"/>
                    <a:gd name="connsiteX80" fmla="*/ 5333 w 10000"/>
                    <a:gd name="connsiteY80" fmla="*/ 2702 h 9962"/>
                    <a:gd name="connsiteX81" fmla="*/ 5167 w 10000"/>
                    <a:gd name="connsiteY81" fmla="*/ 2642 h 9962"/>
                    <a:gd name="connsiteX82" fmla="*/ 4889 w 10000"/>
                    <a:gd name="connsiteY82" fmla="*/ 2563 h 9962"/>
                    <a:gd name="connsiteX83" fmla="*/ 4056 w 10000"/>
                    <a:gd name="connsiteY83" fmla="*/ 2386 h 9962"/>
                    <a:gd name="connsiteX84" fmla="*/ 2889 w 10000"/>
                    <a:gd name="connsiteY84" fmla="*/ 2168 h 9962"/>
                    <a:gd name="connsiteX85" fmla="*/ 2889 w 10000"/>
                    <a:gd name="connsiteY85" fmla="*/ 2168 h 9962"/>
                    <a:gd name="connsiteX86" fmla="*/ 2389 w 10000"/>
                    <a:gd name="connsiteY86" fmla="*/ 2146 h 9962"/>
                    <a:gd name="connsiteX87" fmla="*/ 2000 w 10000"/>
                    <a:gd name="connsiteY87" fmla="*/ 2127 h 9962"/>
                    <a:gd name="connsiteX88" fmla="*/ 1889 w 10000"/>
                    <a:gd name="connsiteY88" fmla="*/ 2108 h 9962"/>
                    <a:gd name="connsiteX89" fmla="*/ 1778 w 10000"/>
                    <a:gd name="connsiteY89" fmla="*/ 2086 h 9962"/>
                    <a:gd name="connsiteX90" fmla="*/ 1778 w 10000"/>
                    <a:gd name="connsiteY90" fmla="*/ 2086 h 9962"/>
                    <a:gd name="connsiteX91" fmla="*/ 1667 w 10000"/>
                    <a:gd name="connsiteY91" fmla="*/ 2008 h 9962"/>
                    <a:gd name="connsiteX92" fmla="*/ 1500 w 10000"/>
                    <a:gd name="connsiteY92" fmla="*/ 1869 h 9962"/>
                    <a:gd name="connsiteX93" fmla="*/ 1444 w 10000"/>
                    <a:gd name="connsiteY93" fmla="*/ 1789 h 9962"/>
                    <a:gd name="connsiteX94" fmla="*/ 1444 w 10000"/>
                    <a:gd name="connsiteY94" fmla="*/ 1709 h 9962"/>
                    <a:gd name="connsiteX95" fmla="*/ 1444 w 10000"/>
                    <a:gd name="connsiteY95" fmla="*/ 1650 h 9962"/>
                    <a:gd name="connsiteX96" fmla="*/ 1556 w 10000"/>
                    <a:gd name="connsiteY96" fmla="*/ 1590 h 9962"/>
                    <a:gd name="connsiteX97" fmla="*/ 1556 w 10000"/>
                    <a:gd name="connsiteY97" fmla="*/ 1590 h 9962"/>
                    <a:gd name="connsiteX98" fmla="*/ 1833 w 10000"/>
                    <a:gd name="connsiteY98" fmla="*/ 1491 h 9962"/>
                    <a:gd name="connsiteX99" fmla="*/ 2111 w 10000"/>
                    <a:gd name="connsiteY99" fmla="*/ 1389 h 9962"/>
                    <a:gd name="connsiteX100" fmla="*/ 2278 w 10000"/>
                    <a:gd name="connsiteY100" fmla="*/ 1332 h 9962"/>
                    <a:gd name="connsiteX101" fmla="*/ 2389 w 10000"/>
                    <a:gd name="connsiteY101" fmla="*/ 1273 h 9962"/>
                    <a:gd name="connsiteX102" fmla="*/ 2389 w 10000"/>
                    <a:gd name="connsiteY102" fmla="*/ 1192 h 9962"/>
                    <a:gd name="connsiteX103" fmla="*/ 2389 w 10000"/>
                    <a:gd name="connsiteY103" fmla="*/ 1095 h 9962"/>
                    <a:gd name="connsiteX104" fmla="*/ 2389 w 10000"/>
                    <a:gd name="connsiteY104" fmla="*/ 1095 h 9962"/>
                    <a:gd name="connsiteX105" fmla="*/ 2167 w 10000"/>
                    <a:gd name="connsiteY105" fmla="*/ 815 h 9962"/>
                    <a:gd name="connsiteX106" fmla="*/ 1889 w 10000"/>
                    <a:gd name="connsiteY106" fmla="*/ 436 h 9962"/>
                    <a:gd name="connsiteX107" fmla="*/ 1667 w 10000"/>
                    <a:gd name="connsiteY107" fmla="*/ 99 h 9962"/>
                    <a:gd name="connsiteX108" fmla="*/ 1611 w 10000"/>
                    <a:gd name="connsiteY108" fmla="*/ 0 h 9962"/>
                    <a:gd name="connsiteX109" fmla="*/ 10000 w 10000"/>
                    <a:gd name="connsiteY109" fmla="*/ 8629 h 9962"/>
                    <a:gd name="connsiteX110" fmla="*/ 10000 w 10000"/>
                    <a:gd name="connsiteY110" fmla="*/ 8629 h 9962"/>
                    <a:gd name="connsiteX111" fmla="*/ 9722 w 10000"/>
                    <a:gd name="connsiteY111" fmla="*/ 8608 h 9962"/>
                    <a:gd name="connsiteX112" fmla="*/ 9389 w 10000"/>
                    <a:gd name="connsiteY112" fmla="*/ 8629 h 9962"/>
                    <a:gd name="connsiteX113" fmla="*/ 9389 w 10000"/>
                    <a:gd name="connsiteY113" fmla="*/ 8629 h 9962"/>
                    <a:gd name="connsiteX114" fmla="*/ 9278 w 10000"/>
                    <a:gd name="connsiteY114" fmla="*/ 8653 h 9962"/>
                    <a:gd name="connsiteX115" fmla="*/ 9056 w 10000"/>
                    <a:gd name="connsiteY115" fmla="*/ 8629 h 9962"/>
                    <a:gd name="connsiteX116" fmla="*/ 8889 w 10000"/>
                    <a:gd name="connsiteY116" fmla="*/ 8608 h 9962"/>
                    <a:gd name="connsiteX117" fmla="*/ 8722 w 10000"/>
                    <a:gd name="connsiteY117" fmla="*/ 8570 h 9962"/>
                    <a:gd name="connsiteX118" fmla="*/ 8611 w 10000"/>
                    <a:gd name="connsiteY118" fmla="*/ 8509 h 9962"/>
                    <a:gd name="connsiteX119" fmla="*/ 8444 w 10000"/>
                    <a:gd name="connsiteY119" fmla="*/ 8410 h 9962"/>
                    <a:gd name="connsiteX120" fmla="*/ 8444 w 10000"/>
                    <a:gd name="connsiteY120" fmla="*/ 8410 h 9962"/>
                    <a:gd name="connsiteX121" fmla="*/ 8222 w 10000"/>
                    <a:gd name="connsiteY121" fmla="*/ 8234 h 9962"/>
                    <a:gd name="connsiteX122" fmla="*/ 8111 w 10000"/>
                    <a:gd name="connsiteY122" fmla="*/ 8154 h 9962"/>
                    <a:gd name="connsiteX123" fmla="*/ 7944 w 10000"/>
                    <a:gd name="connsiteY123" fmla="*/ 8094 h 9962"/>
                    <a:gd name="connsiteX124" fmla="*/ 7778 w 10000"/>
                    <a:gd name="connsiteY124" fmla="*/ 8055 h 9962"/>
                    <a:gd name="connsiteX125" fmla="*/ 7556 w 10000"/>
                    <a:gd name="connsiteY125" fmla="*/ 8031 h 9962"/>
                    <a:gd name="connsiteX126" fmla="*/ 7333 w 10000"/>
                    <a:gd name="connsiteY126" fmla="*/ 8014 h 9962"/>
                    <a:gd name="connsiteX127" fmla="*/ 7000 w 10000"/>
                    <a:gd name="connsiteY127" fmla="*/ 7992 h 9962"/>
                    <a:gd name="connsiteX128" fmla="*/ 7000 w 10000"/>
                    <a:gd name="connsiteY128" fmla="*/ 7992 h 9962"/>
                    <a:gd name="connsiteX129" fmla="*/ 6556 w 10000"/>
                    <a:gd name="connsiteY129" fmla="*/ 8014 h 9962"/>
                    <a:gd name="connsiteX130" fmla="*/ 6222 w 10000"/>
                    <a:gd name="connsiteY130" fmla="*/ 8014 h 9962"/>
                    <a:gd name="connsiteX131" fmla="*/ 6111 w 10000"/>
                    <a:gd name="connsiteY131" fmla="*/ 7992 h 9962"/>
                    <a:gd name="connsiteX132" fmla="*/ 6056 w 10000"/>
                    <a:gd name="connsiteY132" fmla="*/ 7973 h 9962"/>
                    <a:gd name="connsiteX133" fmla="*/ 6056 w 10000"/>
                    <a:gd name="connsiteY133" fmla="*/ 7973 h 9962"/>
                    <a:gd name="connsiteX134" fmla="*/ 6056 w 10000"/>
                    <a:gd name="connsiteY134" fmla="*/ 7617 h 9962"/>
                    <a:gd name="connsiteX135" fmla="*/ 6056 w 10000"/>
                    <a:gd name="connsiteY135" fmla="*/ 7617 h 9962"/>
                    <a:gd name="connsiteX136" fmla="*/ 6056 w 10000"/>
                    <a:gd name="connsiteY136" fmla="*/ 7534 h 9962"/>
                    <a:gd name="connsiteX137" fmla="*/ 5944 w 10000"/>
                    <a:gd name="connsiteY137" fmla="*/ 7436 h 9962"/>
                    <a:gd name="connsiteX138" fmla="*/ 5889 w 10000"/>
                    <a:gd name="connsiteY138" fmla="*/ 7415 h 9962"/>
                    <a:gd name="connsiteX139" fmla="*/ 5778 w 10000"/>
                    <a:gd name="connsiteY139" fmla="*/ 7397 h 9962"/>
                    <a:gd name="connsiteX140" fmla="*/ 5667 w 10000"/>
                    <a:gd name="connsiteY140" fmla="*/ 7397 h 9962"/>
                    <a:gd name="connsiteX141" fmla="*/ 5500 w 10000"/>
                    <a:gd name="connsiteY141" fmla="*/ 7415 h 9962"/>
                    <a:gd name="connsiteX142" fmla="*/ 5500 w 10000"/>
                    <a:gd name="connsiteY142" fmla="*/ 7415 h 9962"/>
                    <a:gd name="connsiteX143" fmla="*/ 4889 w 10000"/>
                    <a:gd name="connsiteY143" fmla="*/ 7555 h 9962"/>
                    <a:gd name="connsiteX144" fmla="*/ 4611 w 10000"/>
                    <a:gd name="connsiteY144" fmla="*/ 7597 h 9962"/>
                    <a:gd name="connsiteX145" fmla="*/ 4556 w 10000"/>
                    <a:gd name="connsiteY145" fmla="*/ 7617 h 9962"/>
                    <a:gd name="connsiteX146" fmla="*/ 4500 w 10000"/>
                    <a:gd name="connsiteY146" fmla="*/ 7597 h 9962"/>
                    <a:gd name="connsiteX147" fmla="*/ 4500 w 10000"/>
                    <a:gd name="connsiteY147" fmla="*/ 7597 h 9962"/>
                    <a:gd name="connsiteX148" fmla="*/ 4222 w 10000"/>
                    <a:gd name="connsiteY148" fmla="*/ 7397 h 9962"/>
                    <a:gd name="connsiteX149" fmla="*/ 4222 w 10000"/>
                    <a:gd name="connsiteY149" fmla="*/ 7397 h 9962"/>
                    <a:gd name="connsiteX150" fmla="*/ 4111 w 10000"/>
                    <a:gd name="connsiteY150" fmla="*/ 7298 h 9962"/>
                    <a:gd name="connsiteX151" fmla="*/ 4111 w 10000"/>
                    <a:gd name="connsiteY151" fmla="*/ 7237 h 9962"/>
                    <a:gd name="connsiteX152" fmla="*/ 4111 w 10000"/>
                    <a:gd name="connsiteY152" fmla="*/ 7178 h 9962"/>
                    <a:gd name="connsiteX153" fmla="*/ 4111 w 10000"/>
                    <a:gd name="connsiteY153" fmla="*/ 7178 h 9962"/>
                    <a:gd name="connsiteX154" fmla="*/ 4278 w 10000"/>
                    <a:gd name="connsiteY154" fmla="*/ 7118 h 9962"/>
                    <a:gd name="connsiteX155" fmla="*/ 4389 w 10000"/>
                    <a:gd name="connsiteY155" fmla="*/ 7099 h 9962"/>
                    <a:gd name="connsiteX156" fmla="*/ 4389 w 10000"/>
                    <a:gd name="connsiteY156" fmla="*/ 7099 h 9962"/>
                    <a:gd name="connsiteX157" fmla="*/ 4000 w 10000"/>
                    <a:gd name="connsiteY157" fmla="*/ 7099 h 9962"/>
                    <a:gd name="connsiteX158" fmla="*/ 3722 w 10000"/>
                    <a:gd name="connsiteY158" fmla="*/ 7118 h 9962"/>
                    <a:gd name="connsiteX159" fmla="*/ 3611 w 10000"/>
                    <a:gd name="connsiteY159" fmla="*/ 7139 h 9962"/>
                    <a:gd name="connsiteX160" fmla="*/ 3556 w 10000"/>
                    <a:gd name="connsiteY160" fmla="*/ 7160 h 9962"/>
                    <a:gd name="connsiteX161" fmla="*/ 3556 w 10000"/>
                    <a:gd name="connsiteY161" fmla="*/ 7160 h 9962"/>
                    <a:gd name="connsiteX162" fmla="*/ 3444 w 10000"/>
                    <a:gd name="connsiteY162" fmla="*/ 7237 h 9962"/>
                    <a:gd name="connsiteX163" fmla="*/ 3278 w 10000"/>
                    <a:gd name="connsiteY163" fmla="*/ 7358 h 9962"/>
                    <a:gd name="connsiteX164" fmla="*/ 3000 w 10000"/>
                    <a:gd name="connsiteY164" fmla="*/ 7496 h 9962"/>
                    <a:gd name="connsiteX165" fmla="*/ 2667 w 10000"/>
                    <a:gd name="connsiteY165" fmla="*/ 7597 h 9962"/>
                    <a:gd name="connsiteX166" fmla="*/ 2667 w 10000"/>
                    <a:gd name="connsiteY166" fmla="*/ 7597 h 9962"/>
                    <a:gd name="connsiteX167" fmla="*/ 2333 w 10000"/>
                    <a:gd name="connsiteY167" fmla="*/ 7677 h 9962"/>
                    <a:gd name="connsiteX168" fmla="*/ 1833 w 10000"/>
                    <a:gd name="connsiteY168" fmla="*/ 7756 h 9962"/>
                    <a:gd name="connsiteX169" fmla="*/ 1389 w 10000"/>
                    <a:gd name="connsiteY169" fmla="*/ 7796 h 9962"/>
                    <a:gd name="connsiteX170" fmla="*/ 889 w 10000"/>
                    <a:gd name="connsiteY170" fmla="*/ 7815 h 9962"/>
                    <a:gd name="connsiteX171" fmla="*/ 889 w 10000"/>
                    <a:gd name="connsiteY171" fmla="*/ 7815 h 9962"/>
                    <a:gd name="connsiteX172" fmla="*/ 500 w 10000"/>
                    <a:gd name="connsiteY172" fmla="*/ 7837 h 9962"/>
                    <a:gd name="connsiteX173" fmla="*/ 222 w 10000"/>
                    <a:gd name="connsiteY173" fmla="*/ 7855 h 9962"/>
                    <a:gd name="connsiteX174" fmla="*/ 0 w 10000"/>
                    <a:gd name="connsiteY174" fmla="*/ 7874 h 9962"/>
                    <a:gd name="connsiteX175" fmla="*/ 0 w 10000"/>
                    <a:gd name="connsiteY175" fmla="*/ 7874 h 9962"/>
                    <a:gd name="connsiteX176" fmla="*/ 278 w 10000"/>
                    <a:gd name="connsiteY176" fmla="*/ 8194 h 9962"/>
                    <a:gd name="connsiteX177" fmla="*/ 500 w 10000"/>
                    <a:gd name="connsiteY177" fmla="*/ 8429 h 9962"/>
                    <a:gd name="connsiteX178" fmla="*/ 722 w 10000"/>
                    <a:gd name="connsiteY178" fmla="*/ 8629 h 9962"/>
                    <a:gd name="connsiteX179" fmla="*/ 722 w 10000"/>
                    <a:gd name="connsiteY179" fmla="*/ 8629 h 9962"/>
                    <a:gd name="connsiteX180" fmla="*/ 889 w 10000"/>
                    <a:gd name="connsiteY180" fmla="*/ 8750 h 9962"/>
                    <a:gd name="connsiteX181" fmla="*/ 944 w 10000"/>
                    <a:gd name="connsiteY181" fmla="*/ 8850 h 9962"/>
                    <a:gd name="connsiteX182" fmla="*/ 1111 w 10000"/>
                    <a:gd name="connsiteY182" fmla="*/ 8951 h 9962"/>
                    <a:gd name="connsiteX183" fmla="*/ 1333 w 10000"/>
                    <a:gd name="connsiteY183" fmla="*/ 9105 h 9962"/>
                    <a:gd name="connsiteX184" fmla="*/ 1333 w 10000"/>
                    <a:gd name="connsiteY184" fmla="*/ 9105 h 9962"/>
                    <a:gd name="connsiteX185" fmla="*/ 1444 w 10000"/>
                    <a:gd name="connsiteY185" fmla="*/ 9187 h 9962"/>
                    <a:gd name="connsiteX186" fmla="*/ 1500 w 10000"/>
                    <a:gd name="connsiteY186" fmla="*/ 9246 h 9962"/>
                    <a:gd name="connsiteX187" fmla="*/ 1500 w 10000"/>
                    <a:gd name="connsiteY187" fmla="*/ 9304 h 9962"/>
                    <a:gd name="connsiteX188" fmla="*/ 1556 w 10000"/>
                    <a:gd name="connsiteY188" fmla="*/ 9327 h 9962"/>
                    <a:gd name="connsiteX189" fmla="*/ 1722 w 10000"/>
                    <a:gd name="connsiteY189" fmla="*/ 9344 h 9962"/>
                    <a:gd name="connsiteX190" fmla="*/ 1944 w 10000"/>
                    <a:gd name="connsiteY190" fmla="*/ 9364 h 9962"/>
                    <a:gd name="connsiteX191" fmla="*/ 2944 w 10000"/>
                    <a:gd name="connsiteY191" fmla="*/ 9385 h 9962"/>
                    <a:gd name="connsiteX192" fmla="*/ 2944 w 10000"/>
                    <a:gd name="connsiteY192" fmla="*/ 9385 h 9962"/>
                    <a:gd name="connsiteX193" fmla="*/ 4167 w 10000"/>
                    <a:gd name="connsiteY193" fmla="*/ 9425 h 9962"/>
                    <a:gd name="connsiteX194" fmla="*/ 4889 w 10000"/>
                    <a:gd name="connsiteY194" fmla="*/ 9484 h 9962"/>
                    <a:gd name="connsiteX195" fmla="*/ 5278 w 10000"/>
                    <a:gd name="connsiteY195" fmla="*/ 9546 h 9962"/>
                    <a:gd name="connsiteX196" fmla="*/ 5444 w 10000"/>
                    <a:gd name="connsiteY196" fmla="*/ 9562 h 9962"/>
                    <a:gd name="connsiteX197" fmla="*/ 5444 w 10000"/>
                    <a:gd name="connsiteY197" fmla="*/ 9562 h 9962"/>
                    <a:gd name="connsiteX198" fmla="*/ 5722 w 10000"/>
                    <a:gd name="connsiteY198" fmla="*/ 9606 h 9962"/>
                    <a:gd name="connsiteX199" fmla="*/ 5833 w 10000"/>
                    <a:gd name="connsiteY199" fmla="*/ 9627 h 9962"/>
                    <a:gd name="connsiteX200" fmla="*/ 5833 w 10000"/>
                    <a:gd name="connsiteY200" fmla="*/ 9627 h 9962"/>
                    <a:gd name="connsiteX201" fmla="*/ 5833 w 10000"/>
                    <a:gd name="connsiteY201" fmla="*/ 9606 h 9962"/>
                    <a:gd name="connsiteX202" fmla="*/ 5889 w 10000"/>
                    <a:gd name="connsiteY202" fmla="*/ 9584 h 9962"/>
                    <a:gd name="connsiteX203" fmla="*/ 6000 w 10000"/>
                    <a:gd name="connsiteY203" fmla="*/ 9562 h 9962"/>
                    <a:gd name="connsiteX204" fmla="*/ 6167 w 10000"/>
                    <a:gd name="connsiteY204" fmla="*/ 9546 h 9962"/>
                    <a:gd name="connsiteX205" fmla="*/ 6444 w 10000"/>
                    <a:gd name="connsiteY205" fmla="*/ 9546 h 9962"/>
                    <a:gd name="connsiteX206" fmla="*/ 6833 w 10000"/>
                    <a:gd name="connsiteY206" fmla="*/ 9562 h 9962"/>
                    <a:gd name="connsiteX207" fmla="*/ 7278 w 10000"/>
                    <a:gd name="connsiteY207" fmla="*/ 9627 h 9962"/>
                    <a:gd name="connsiteX208" fmla="*/ 7278 w 10000"/>
                    <a:gd name="connsiteY208" fmla="*/ 9627 h 9962"/>
                    <a:gd name="connsiteX209" fmla="*/ 8722 w 10000"/>
                    <a:gd name="connsiteY209" fmla="*/ 9801 h 9962"/>
                    <a:gd name="connsiteX210" fmla="*/ 10000 w 10000"/>
                    <a:gd name="connsiteY210" fmla="*/ 9962 h 9962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7778 w 10000"/>
                    <a:gd name="connsiteY70" fmla="*/ 3873 h 10000"/>
                    <a:gd name="connsiteX71" fmla="*/ 6556 w 10000"/>
                    <a:gd name="connsiteY71" fmla="*/ 3631 h 10000"/>
                    <a:gd name="connsiteX72" fmla="*/ 6556 w 10000"/>
                    <a:gd name="connsiteY72" fmla="*/ 3631 h 10000"/>
                    <a:gd name="connsiteX73" fmla="*/ 6556 w 10000"/>
                    <a:gd name="connsiteY73" fmla="*/ 3612 h 10000"/>
                    <a:gd name="connsiteX74" fmla="*/ 6556 w 10000"/>
                    <a:gd name="connsiteY74" fmla="*/ 3492 h 10000"/>
                    <a:gd name="connsiteX75" fmla="*/ 6556 w 10000"/>
                    <a:gd name="connsiteY75" fmla="*/ 3492 h 10000"/>
                    <a:gd name="connsiteX76" fmla="*/ 6389 w 10000"/>
                    <a:gd name="connsiteY76" fmla="*/ 3355 h 10000"/>
                    <a:gd name="connsiteX77" fmla="*/ 6056 w 10000"/>
                    <a:gd name="connsiteY77" fmla="*/ 3133 h 10000"/>
                    <a:gd name="connsiteX78" fmla="*/ 5333 w 10000"/>
                    <a:gd name="connsiteY78" fmla="*/ 2712 h 10000"/>
                    <a:gd name="connsiteX79" fmla="*/ 5333 w 10000"/>
                    <a:gd name="connsiteY79" fmla="*/ 2712 h 10000"/>
                    <a:gd name="connsiteX80" fmla="*/ 5167 w 10000"/>
                    <a:gd name="connsiteY80" fmla="*/ 2652 h 10000"/>
                    <a:gd name="connsiteX81" fmla="*/ 4889 w 10000"/>
                    <a:gd name="connsiteY81" fmla="*/ 2573 h 10000"/>
                    <a:gd name="connsiteX82" fmla="*/ 4056 w 10000"/>
                    <a:gd name="connsiteY82" fmla="*/ 2395 h 10000"/>
                    <a:gd name="connsiteX83" fmla="*/ 2889 w 10000"/>
                    <a:gd name="connsiteY83" fmla="*/ 2176 h 10000"/>
                    <a:gd name="connsiteX84" fmla="*/ 2889 w 10000"/>
                    <a:gd name="connsiteY84" fmla="*/ 2176 h 10000"/>
                    <a:gd name="connsiteX85" fmla="*/ 2389 w 10000"/>
                    <a:gd name="connsiteY85" fmla="*/ 2154 h 10000"/>
                    <a:gd name="connsiteX86" fmla="*/ 2000 w 10000"/>
                    <a:gd name="connsiteY86" fmla="*/ 2135 h 10000"/>
                    <a:gd name="connsiteX87" fmla="*/ 1889 w 10000"/>
                    <a:gd name="connsiteY87" fmla="*/ 2116 h 10000"/>
                    <a:gd name="connsiteX88" fmla="*/ 1778 w 10000"/>
                    <a:gd name="connsiteY88" fmla="*/ 2094 h 10000"/>
                    <a:gd name="connsiteX89" fmla="*/ 1778 w 10000"/>
                    <a:gd name="connsiteY89" fmla="*/ 2094 h 10000"/>
                    <a:gd name="connsiteX90" fmla="*/ 1667 w 10000"/>
                    <a:gd name="connsiteY90" fmla="*/ 2016 h 10000"/>
                    <a:gd name="connsiteX91" fmla="*/ 1500 w 10000"/>
                    <a:gd name="connsiteY91" fmla="*/ 1876 h 10000"/>
                    <a:gd name="connsiteX92" fmla="*/ 1444 w 10000"/>
                    <a:gd name="connsiteY92" fmla="*/ 1796 h 10000"/>
                    <a:gd name="connsiteX93" fmla="*/ 1444 w 10000"/>
                    <a:gd name="connsiteY93" fmla="*/ 1716 h 10000"/>
                    <a:gd name="connsiteX94" fmla="*/ 1444 w 10000"/>
                    <a:gd name="connsiteY94" fmla="*/ 1656 h 10000"/>
                    <a:gd name="connsiteX95" fmla="*/ 1556 w 10000"/>
                    <a:gd name="connsiteY95" fmla="*/ 1596 h 10000"/>
                    <a:gd name="connsiteX96" fmla="*/ 1556 w 10000"/>
                    <a:gd name="connsiteY96" fmla="*/ 1596 h 10000"/>
                    <a:gd name="connsiteX97" fmla="*/ 1833 w 10000"/>
                    <a:gd name="connsiteY97" fmla="*/ 1497 h 10000"/>
                    <a:gd name="connsiteX98" fmla="*/ 2111 w 10000"/>
                    <a:gd name="connsiteY98" fmla="*/ 1394 h 10000"/>
                    <a:gd name="connsiteX99" fmla="*/ 2278 w 10000"/>
                    <a:gd name="connsiteY99" fmla="*/ 1337 h 10000"/>
                    <a:gd name="connsiteX100" fmla="*/ 2389 w 10000"/>
                    <a:gd name="connsiteY100" fmla="*/ 1278 h 10000"/>
                    <a:gd name="connsiteX101" fmla="*/ 2389 w 10000"/>
                    <a:gd name="connsiteY101" fmla="*/ 1197 h 10000"/>
                    <a:gd name="connsiteX102" fmla="*/ 2389 w 10000"/>
                    <a:gd name="connsiteY102" fmla="*/ 1099 h 10000"/>
                    <a:gd name="connsiteX103" fmla="*/ 2389 w 10000"/>
                    <a:gd name="connsiteY103" fmla="*/ 1099 h 10000"/>
                    <a:gd name="connsiteX104" fmla="*/ 2167 w 10000"/>
                    <a:gd name="connsiteY104" fmla="*/ 818 h 10000"/>
                    <a:gd name="connsiteX105" fmla="*/ 1889 w 10000"/>
                    <a:gd name="connsiteY105" fmla="*/ 438 h 10000"/>
                    <a:gd name="connsiteX106" fmla="*/ 1667 w 10000"/>
                    <a:gd name="connsiteY106" fmla="*/ 99 h 10000"/>
                    <a:gd name="connsiteX107" fmla="*/ 1611 w 10000"/>
                    <a:gd name="connsiteY107" fmla="*/ 0 h 10000"/>
                    <a:gd name="connsiteX108" fmla="*/ 10000 w 10000"/>
                    <a:gd name="connsiteY108" fmla="*/ 8662 h 10000"/>
                    <a:gd name="connsiteX109" fmla="*/ 10000 w 10000"/>
                    <a:gd name="connsiteY109" fmla="*/ 8662 h 10000"/>
                    <a:gd name="connsiteX110" fmla="*/ 9722 w 10000"/>
                    <a:gd name="connsiteY110" fmla="*/ 8641 h 10000"/>
                    <a:gd name="connsiteX111" fmla="*/ 9389 w 10000"/>
                    <a:gd name="connsiteY111" fmla="*/ 8662 h 10000"/>
                    <a:gd name="connsiteX112" fmla="*/ 9389 w 10000"/>
                    <a:gd name="connsiteY112" fmla="*/ 8662 h 10000"/>
                    <a:gd name="connsiteX113" fmla="*/ 9278 w 10000"/>
                    <a:gd name="connsiteY113" fmla="*/ 8686 h 10000"/>
                    <a:gd name="connsiteX114" fmla="*/ 9056 w 10000"/>
                    <a:gd name="connsiteY114" fmla="*/ 8662 h 10000"/>
                    <a:gd name="connsiteX115" fmla="*/ 8889 w 10000"/>
                    <a:gd name="connsiteY115" fmla="*/ 8641 h 10000"/>
                    <a:gd name="connsiteX116" fmla="*/ 8722 w 10000"/>
                    <a:gd name="connsiteY116" fmla="*/ 8603 h 10000"/>
                    <a:gd name="connsiteX117" fmla="*/ 8611 w 10000"/>
                    <a:gd name="connsiteY117" fmla="*/ 8541 h 10000"/>
                    <a:gd name="connsiteX118" fmla="*/ 8444 w 10000"/>
                    <a:gd name="connsiteY118" fmla="*/ 8442 h 10000"/>
                    <a:gd name="connsiteX119" fmla="*/ 8444 w 10000"/>
                    <a:gd name="connsiteY119" fmla="*/ 8442 h 10000"/>
                    <a:gd name="connsiteX120" fmla="*/ 8222 w 10000"/>
                    <a:gd name="connsiteY120" fmla="*/ 8265 h 10000"/>
                    <a:gd name="connsiteX121" fmla="*/ 8111 w 10000"/>
                    <a:gd name="connsiteY121" fmla="*/ 8185 h 10000"/>
                    <a:gd name="connsiteX122" fmla="*/ 7944 w 10000"/>
                    <a:gd name="connsiteY122" fmla="*/ 8125 h 10000"/>
                    <a:gd name="connsiteX123" fmla="*/ 7778 w 10000"/>
                    <a:gd name="connsiteY123" fmla="*/ 8086 h 10000"/>
                    <a:gd name="connsiteX124" fmla="*/ 7556 w 10000"/>
                    <a:gd name="connsiteY124" fmla="*/ 8062 h 10000"/>
                    <a:gd name="connsiteX125" fmla="*/ 7333 w 10000"/>
                    <a:gd name="connsiteY125" fmla="*/ 8045 h 10000"/>
                    <a:gd name="connsiteX126" fmla="*/ 7000 w 10000"/>
                    <a:gd name="connsiteY126" fmla="*/ 8022 h 10000"/>
                    <a:gd name="connsiteX127" fmla="*/ 7000 w 10000"/>
                    <a:gd name="connsiteY127" fmla="*/ 8022 h 10000"/>
                    <a:gd name="connsiteX128" fmla="*/ 6556 w 10000"/>
                    <a:gd name="connsiteY128" fmla="*/ 8045 h 10000"/>
                    <a:gd name="connsiteX129" fmla="*/ 6222 w 10000"/>
                    <a:gd name="connsiteY129" fmla="*/ 8045 h 10000"/>
                    <a:gd name="connsiteX130" fmla="*/ 6111 w 10000"/>
                    <a:gd name="connsiteY130" fmla="*/ 8022 h 10000"/>
                    <a:gd name="connsiteX131" fmla="*/ 6056 w 10000"/>
                    <a:gd name="connsiteY131" fmla="*/ 8003 h 10000"/>
                    <a:gd name="connsiteX132" fmla="*/ 6056 w 10000"/>
                    <a:gd name="connsiteY132" fmla="*/ 8003 h 10000"/>
                    <a:gd name="connsiteX133" fmla="*/ 6056 w 10000"/>
                    <a:gd name="connsiteY133" fmla="*/ 7646 h 10000"/>
                    <a:gd name="connsiteX134" fmla="*/ 6056 w 10000"/>
                    <a:gd name="connsiteY134" fmla="*/ 7646 h 10000"/>
                    <a:gd name="connsiteX135" fmla="*/ 6056 w 10000"/>
                    <a:gd name="connsiteY135" fmla="*/ 7563 h 10000"/>
                    <a:gd name="connsiteX136" fmla="*/ 5944 w 10000"/>
                    <a:gd name="connsiteY136" fmla="*/ 7464 h 10000"/>
                    <a:gd name="connsiteX137" fmla="*/ 5889 w 10000"/>
                    <a:gd name="connsiteY137" fmla="*/ 7443 h 10000"/>
                    <a:gd name="connsiteX138" fmla="*/ 5778 w 10000"/>
                    <a:gd name="connsiteY138" fmla="*/ 7425 h 10000"/>
                    <a:gd name="connsiteX139" fmla="*/ 5667 w 10000"/>
                    <a:gd name="connsiteY139" fmla="*/ 7425 h 10000"/>
                    <a:gd name="connsiteX140" fmla="*/ 5500 w 10000"/>
                    <a:gd name="connsiteY140" fmla="*/ 7443 h 10000"/>
                    <a:gd name="connsiteX141" fmla="*/ 5500 w 10000"/>
                    <a:gd name="connsiteY141" fmla="*/ 7443 h 10000"/>
                    <a:gd name="connsiteX142" fmla="*/ 4889 w 10000"/>
                    <a:gd name="connsiteY142" fmla="*/ 7584 h 10000"/>
                    <a:gd name="connsiteX143" fmla="*/ 4611 w 10000"/>
                    <a:gd name="connsiteY143" fmla="*/ 7626 h 10000"/>
                    <a:gd name="connsiteX144" fmla="*/ 4556 w 10000"/>
                    <a:gd name="connsiteY144" fmla="*/ 7646 h 10000"/>
                    <a:gd name="connsiteX145" fmla="*/ 4500 w 10000"/>
                    <a:gd name="connsiteY145" fmla="*/ 7626 h 10000"/>
                    <a:gd name="connsiteX146" fmla="*/ 4500 w 10000"/>
                    <a:gd name="connsiteY146" fmla="*/ 7626 h 10000"/>
                    <a:gd name="connsiteX147" fmla="*/ 4222 w 10000"/>
                    <a:gd name="connsiteY147" fmla="*/ 7425 h 10000"/>
                    <a:gd name="connsiteX148" fmla="*/ 4222 w 10000"/>
                    <a:gd name="connsiteY148" fmla="*/ 7425 h 10000"/>
                    <a:gd name="connsiteX149" fmla="*/ 4111 w 10000"/>
                    <a:gd name="connsiteY149" fmla="*/ 7326 h 10000"/>
                    <a:gd name="connsiteX150" fmla="*/ 4111 w 10000"/>
                    <a:gd name="connsiteY150" fmla="*/ 7265 h 10000"/>
                    <a:gd name="connsiteX151" fmla="*/ 4111 w 10000"/>
                    <a:gd name="connsiteY151" fmla="*/ 7205 h 10000"/>
                    <a:gd name="connsiteX152" fmla="*/ 4111 w 10000"/>
                    <a:gd name="connsiteY152" fmla="*/ 7205 h 10000"/>
                    <a:gd name="connsiteX153" fmla="*/ 4278 w 10000"/>
                    <a:gd name="connsiteY153" fmla="*/ 7145 h 10000"/>
                    <a:gd name="connsiteX154" fmla="*/ 4389 w 10000"/>
                    <a:gd name="connsiteY154" fmla="*/ 7126 h 10000"/>
                    <a:gd name="connsiteX155" fmla="*/ 4389 w 10000"/>
                    <a:gd name="connsiteY155" fmla="*/ 7126 h 10000"/>
                    <a:gd name="connsiteX156" fmla="*/ 4000 w 10000"/>
                    <a:gd name="connsiteY156" fmla="*/ 7126 h 10000"/>
                    <a:gd name="connsiteX157" fmla="*/ 3722 w 10000"/>
                    <a:gd name="connsiteY157" fmla="*/ 7145 h 10000"/>
                    <a:gd name="connsiteX158" fmla="*/ 3611 w 10000"/>
                    <a:gd name="connsiteY158" fmla="*/ 7166 h 10000"/>
                    <a:gd name="connsiteX159" fmla="*/ 3556 w 10000"/>
                    <a:gd name="connsiteY159" fmla="*/ 7187 h 10000"/>
                    <a:gd name="connsiteX160" fmla="*/ 3556 w 10000"/>
                    <a:gd name="connsiteY160" fmla="*/ 7187 h 10000"/>
                    <a:gd name="connsiteX161" fmla="*/ 3444 w 10000"/>
                    <a:gd name="connsiteY161" fmla="*/ 7265 h 10000"/>
                    <a:gd name="connsiteX162" fmla="*/ 3278 w 10000"/>
                    <a:gd name="connsiteY162" fmla="*/ 7386 h 10000"/>
                    <a:gd name="connsiteX163" fmla="*/ 3000 w 10000"/>
                    <a:gd name="connsiteY163" fmla="*/ 7525 h 10000"/>
                    <a:gd name="connsiteX164" fmla="*/ 2667 w 10000"/>
                    <a:gd name="connsiteY164" fmla="*/ 7626 h 10000"/>
                    <a:gd name="connsiteX165" fmla="*/ 2667 w 10000"/>
                    <a:gd name="connsiteY165" fmla="*/ 7626 h 10000"/>
                    <a:gd name="connsiteX166" fmla="*/ 2333 w 10000"/>
                    <a:gd name="connsiteY166" fmla="*/ 7706 h 10000"/>
                    <a:gd name="connsiteX167" fmla="*/ 1833 w 10000"/>
                    <a:gd name="connsiteY167" fmla="*/ 7786 h 10000"/>
                    <a:gd name="connsiteX168" fmla="*/ 1389 w 10000"/>
                    <a:gd name="connsiteY168" fmla="*/ 7826 h 10000"/>
                    <a:gd name="connsiteX169" fmla="*/ 889 w 10000"/>
                    <a:gd name="connsiteY169" fmla="*/ 7845 h 10000"/>
                    <a:gd name="connsiteX170" fmla="*/ 889 w 10000"/>
                    <a:gd name="connsiteY170" fmla="*/ 7845 h 10000"/>
                    <a:gd name="connsiteX171" fmla="*/ 500 w 10000"/>
                    <a:gd name="connsiteY171" fmla="*/ 7867 h 10000"/>
                    <a:gd name="connsiteX172" fmla="*/ 222 w 10000"/>
                    <a:gd name="connsiteY172" fmla="*/ 7885 h 10000"/>
                    <a:gd name="connsiteX173" fmla="*/ 0 w 10000"/>
                    <a:gd name="connsiteY173" fmla="*/ 7904 h 10000"/>
                    <a:gd name="connsiteX174" fmla="*/ 0 w 10000"/>
                    <a:gd name="connsiteY174" fmla="*/ 7904 h 10000"/>
                    <a:gd name="connsiteX175" fmla="*/ 278 w 10000"/>
                    <a:gd name="connsiteY175" fmla="*/ 8225 h 10000"/>
                    <a:gd name="connsiteX176" fmla="*/ 500 w 10000"/>
                    <a:gd name="connsiteY176" fmla="*/ 8461 h 10000"/>
                    <a:gd name="connsiteX177" fmla="*/ 722 w 10000"/>
                    <a:gd name="connsiteY177" fmla="*/ 8662 h 10000"/>
                    <a:gd name="connsiteX178" fmla="*/ 722 w 10000"/>
                    <a:gd name="connsiteY178" fmla="*/ 8662 h 10000"/>
                    <a:gd name="connsiteX179" fmla="*/ 889 w 10000"/>
                    <a:gd name="connsiteY179" fmla="*/ 8783 h 10000"/>
                    <a:gd name="connsiteX180" fmla="*/ 944 w 10000"/>
                    <a:gd name="connsiteY180" fmla="*/ 8884 h 10000"/>
                    <a:gd name="connsiteX181" fmla="*/ 1111 w 10000"/>
                    <a:gd name="connsiteY181" fmla="*/ 8985 h 10000"/>
                    <a:gd name="connsiteX182" fmla="*/ 1333 w 10000"/>
                    <a:gd name="connsiteY182" fmla="*/ 9140 h 10000"/>
                    <a:gd name="connsiteX183" fmla="*/ 1333 w 10000"/>
                    <a:gd name="connsiteY183" fmla="*/ 9140 h 10000"/>
                    <a:gd name="connsiteX184" fmla="*/ 1444 w 10000"/>
                    <a:gd name="connsiteY184" fmla="*/ 9222 h 10000"/>
                    <a:gd name="connsiteX185" fmla="*/ 1500 w 10000"/>
                    <a:gd name="connsiteY185" fmla="*/ 9281 h 10000"/>
                    <a:gd name="connsiteX186" fmla="*/ 1500 w 10000"/>
                    <a:gd name="connsiteY186" fmla="*/ 9339 h 10000"/>
                    <a:gd name="connsiteX187" fmla="*/ 1556 w 10000"/>
                    <a:gd name="connsiteY187" fmla="*/ 9363 h 10000"/>
                    <a:gd name="connsiteX188" fmla="*/ 1722 w 10000"/>
                    <a:gd name="connsiteY188" fmla="*/ 9380 h 10000"/>
                    <a:gd name="connsiteX189" fmla="*/ 1944 w 10000"/>
                    <a:gd name="connsiteY189" fmla="*/ 9400 h 10000"/>
                    <a:gd name="connsiteX190" fmla="*/ 2944 w 10000"/>
                    <a:gd name="connsiteY190" fmla="*/ 9421 h 10000"/>
                    <a:gd name="connsiteX191" fmla="*/ 2944 w 10000"/>
                    <a:gd name="connsiteY191" fmla="*/ 9421 h 10000"/>
                    <a:gd name="connsiteX192" fmla="*/ 4167 w 10000"/>
                    <a:gd name="connsiteY192" fmla="*/ 9461 h 10000"/>
                    <a:gd name="connsiteX193" fmla="*/ 4889 w 10000"/>
                    <a:gd name="connsiteY193" fmla="*/ 9520 h 10000"/>
                    <a:gd name="connsiteX194" fmla="*/ 5278 w 10000"/>
                    <a:gd name="connsiteY194" fmla="*/ 9582 h 10000"/>
                    <a:gd name="connsiteX195" fmla="*/ 5444 w 10000"/>
                    <a:gd name="connsiteY195" fmla="*/ 9598 h 10000"/>
                    <a:gd name="connsiteX196" fmla="*/ 5444 w 10000"/>
                    <a:gd name="connsiteY196" fmla="*/ 9598 h 10000"/>
                    <a:gd name="connsiteX197" fmla="*/ 5722 w 10000"/>
                    <a:gd name="connsiteY197" fmla="*/ 9643 h 10000"/>
                    <a:gd name="connsiteX198" fmla="*/ 5833 w 10000"/>
                    <a:gd name="connsiteY198" fmla="*/ 9664 h 10000"/>
                    <a:gd name="connsiteX199" fmla="*/ 5833 w 10000"/>
                    <a:gd name="connsiteY199" fmla="*/ 9664 h 10000"/>
                    <a:gd name="connsiteX200" fmla="*/ 5833 w 10000"/>
                    <a:gd name="connsiteY200" fmla="*/ 9643 h 10000"/>
                    <a:gd name="connsiteX201" fmla="*/ 5889 w 10000"/>
                    <a:gd name="connsiteY201" fmla="*/ 9621 h 10000"/>
                    <a:gd name="connsiteX202" fmla="*/ 6000 w 10000"/>
                    <a:gd name="connsiteY202" fmla="*/ 9598 h 10000"/>
                    <a:gd name="connsiteX203" fmla="*/ 6167 w 10000"/>
                    <a:gd name="connsiteY203" fmla="*/ 9582 h 10000"/>
                    <a:gd name="connsiteX204" fmla="*/ 6444 w 10000"/>
                    <a:gd name="connsiteY204" fmla="*/ 9582 h 10000"/>
                    <a:gd name="connsiteX205" fmla="*/ 6833 w 10000"/>
                    <a:gd name="connsiteY205" fmla="*/ 9598 h 10000"/>
                    <a:gd name="connsiteX206" fmla="*/ 7278 w 10000"/>
                    <a:gd name="connsiteY206" fmla="*/ 9664 h 10000"/>
                    <a:gd name="connsiteX207" fmla="*/ 7278 w 10000"/>
                    <a:gd name="connsiteY207" fmla="*/ 9664 h 10000"/>
                    <a:gd name="connsiteX208" fmla="*/ 8722 w 10000"/>
                    <a:gd name="connsiteY208" fmla="*/ 9838 h 10000"/>
                    <a:gd name="connsiteX209" fmla="*/ 10000 w 10000"/>
                    <a:gd name="connsiteY209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7778 w 10000"/>
                    <a:gd name="connsiteY70" fmla="*/ 3873 h 10000"/>
                    <a:gd name="connsiteX71" fmla="*/ 6556 w 10000"/>
                    <a:gd name="connsiteY71" fmla="*/ 3631 h 10000"/>
                    <a:gd name="connsiteX72" fmla="*/ 6556 w 10000"/>
                    <a:gd name="connsiteY72" fmla="*/ 3631 h 10000"/>
                    <a:gd name="connsiteX73" fmla="*/ 6556 w 10000"/>
                    <a:gd name="connsiteY73" fmla="*/ 3612 h 10000"/>
                    <a:gd name="connsiteX74" fmla="*/ 6556 w 10000"/>
                    <a:gd name="connsiteY74" fmla="*/ 3492 h 10000"/>
                    <a:gd name="connsiteX75" fmla="*/ 6556 w 10000"/>
                    <a:gd name="connsiteY75" fmla="*/ 3492 h 10000"/>
                    <a:gd name="connsiteX76" fmla="*/ 6389 w 10000"/>
                    <a:gd name="connsiteY76" fmla="*/ 3355 h 10000"/>
                    <a:gd name="connsiteX77" fmla="*/ 5333 w 10000"/>
                    <a:gd name="connsiteY77" fmla="*/ 2712 h 10000"/>
                    <a:gd name="connsiteX78" fmla="*/ 5333 w 10000"/>
                    <a:gd name="connsiteY78" fmla="*/ 2712 h 10000"/>
                    <a:gd name="connsiteX79" fmla="*/ 5167 w 10000"/>
                    <a:gd name="connsiteY79" fmla="*/ 2652 h 10000"/>
                    <a:gd name="connsiteX80" fmla="*/ 4889 w 10000"/>
                    <a:gd name="connsiteY80" fmla="*/ 2573 h 10000"/>
                    <a:gd name="connsiteX81" fmla="*/ 4056 w 10000"/>
                    <a:gd name="connsiteY81" fmla="*/ 2395 h 10000"/>
                    <a:gd name="connsiteX82" fmla="*/ 2889 w 10000"/>
                    <a:gd name="connsiteY82" fmla="*/ 2176 h 10000"/>
                    <a:gd name="connsiteX83" fmla="*/ 2889 w 10000"/>
                    <a:gd name="connsiteY83" fmla="*/ 2176 h 10000"/>
                    <a:gd name="connsiteX84" fmla="*/ 2389 w 10000"/>
                    <a:gd name="connsiteY84" fmla="*/ 2154 h 10000"/>
                    <a:gd name="connsiteX85" fmla="*/ 2000 w 10000"/>
                    <a:gd name="connsiteY85" fmla="*/ 2135 h 10000"/>
                    <a:gd name="connsiteX86" fmla="*/ 1889 w 10000"/>
                    <a:gd name="connsiteY86" fmla="*/ 2116 h 10000"/>
                    <a:gd name="connsiteX87" fmla="*/ 1778 w 10000"/>
                    <a:gd name="connsiteY87" fmla="*/ 2094 h 10000"/>
                    <a:gd name="connsiteX88" fmla="*/ 1778 w 10000"/>
                    <a:gd name="connsiteY88" fmla="*/ 2094 h 10000"/>
                    <a:gd name="connsiteX89" fmla="*/ 1667 w 10000"/>
                    <a:gd name="connsiteY89" fmla="*/ 2016 h 10000"/>
                    <a:gd name="connsiteX90" fmla="*/ 1500 w 10000"/>
                    <a:gd name="connsiteY90" fmla="*/ 1876 h 10000"/>
                    <a:gd name="connsiteX91" fmla="*/ 1444 w 10000"/>
                    <a:gd name="connsiteY91" fmla="*/ 1796 h 10000"/>
                    <a:gd name="connsiteX92" fmla="*/ 1444 w 10000"/>
                    <a:gd name="connsiteY92" fmla="*/ 1716 h 10000"/>
                    <a:gd name="connsiteX93" fmla="*/ 1444 w 10000"/>
                    <a:gd name="connsiteY93" fmla="*/ 1656 h 10000"/>
                    <a:gd name="connsiteX94" fmla="*/ 1556 w 10000"/>
                    <a:gd name="connsiteY94" fmla="*/ 1596 h 10000"/>
                    <a:gd name="connsiteX95" fmla="*/ 1556 w 10000"/>
                    <a:gd name="connsiteY95" fmla="*/ 1596 h 10000"/>
                    <a:gd name="connsiteX96" fmla="*/ 1833 w 10000"/>
                    <a:gd name="connsiteY96" fmla="*/ 1497 h 10000"/>
                    <a:gd name="connsiteX97" fmla="*/ 2111 w 10000"/>
                    <a:gd name="connsiteY97" fmla="*/ 1394 h 10000"/>
                    <a:gd name="connsiteX98" fmla="*/ 2278 w 10000"/>
                    <a:gd name="connsiteY98" fmla="*/ 1337 h 10000"/>
                    <a:gd name="connsiteX99" fmla="*/ 2389 w 10000"/>
                    <a:gd name="connsiteY99" fmla="*/ 1278 h 10000"/>
                    <a:gd name="connsiteX100" fmla="*/ 2389 w 10000"/>
                    <a:gd name="connsiteY100" fmla="*/ 1197 h 10000"/>
                    <a:gd name="connsiteX101" fmla="*/ 2389 w 10000"/>
                    <a:gd name="connsiteY101" fmla="*/ 1099 h 10000"/>
                    <a:gd name="connsiteX102" fmla="*/ 2389 w 10000"/>
                    <a:gd name="connsiteY102" fmla="*/ 1099 h 10000"/>
                    <a:gd name="connsiteX103" fmla="*/ 2167 w 10000"/>
                    <a:gd name="connsiteY103" fmla="*/ 818 h 10000"/>
                    <a:gd name="connsiteX104" fmla="*/ 1889 w 10000"/>
                    <a:gd name="connsiteY104" fmla="*/ 438 h 10000"/>
                    <a:gd name="connsiteX105" fmla="*/ 1667 w 10000"/>
                    <a:gd name="connsiteY105" fmla="*/ 99 h 10000"/>
                    <a:gd name="connsiteX106" fmla="*/ 1611 w 10000"/>
                    <a:gd name="connsiteY106" fmla="*/ 0 h 10000"/>
                    <a:gd name="connsiteX107" fmla="*/ 10000 w 10000"/>
                    <a:gd name="connsiteY107" fmla="*/ 8662 h 10000"/>
                    <a:gd name="connsiteX108" fmla="*/ 10000 w 10000"/>
                    <a:gd name="connsiteY108" fmla="*/ 8662 h 10000"/>
                    <a:gd name="connsiteX109" fmla="*/ 9722 w 10000"/>
                    <a:gd name="connsiteY109" fmla="*/ 8641 h 10000"/>
                    <a:gd name="connsiteX110" fmla="*/ 9389 w 10000"/>
                    <a:gd name="connsiteY110" fmla="*/ 8662 h 10000"/>
                    <a:gd name="connsiteX111" fmla="*/ 9389 w 10000"/>
                    <a:gd name="connsiteY111" fmla="*/ 8662 h 10000"/>
                    <a:gd name="connsiteX112" fmla="*/ 9278 w 10000"/>
                    <a:gd name="connsiteY112" fmla="*/ 8686 h 10000"/>
                    <a:gd name="connsiteX113" fmla="*/ 9056 w 10000"/>
                    <a:gd name="connsiteY113" fmla="*/ 8662 h 10000"/>
                    <a:gd name="connsiteX114" fmla="*/ 8889 w 10000"/>
                    <a:gd name="connsiteY114" fmla="*/ 8641 h 10000"/>
                    <a:gd name="connsiteX115" fmla="*/ 8722 w 10000"/>
                    <a:gd name="connsiteY115" fmla="*/ 8603 h 10000"/>
                    <a:gd name="connsiteX116" fmla="*/ 8611 w 10000"/>
                    <a:gd name="connsiteY116" fmla="*/ 8541 h 10000"/>
                    <a:gd name="connsiteX117" fmla="*/ 8444 w 10000"/>
                    <a:gd name="connsiteY117" fmla="*/ 8442 h 10000"/>
                    <a:gd name="connsiteX118" fmla="*/ 8444 w 10000"/>
                    <a:gd name="connsiteY118" fmla="*/ 8442 h 10000"/>
                    <a:gd name="connsiteX119" fmla="*/ 8222 w 10000"/>
                    <a:gd name="connsiteY119" fmla="*/ 8265 h 10000"/>
                    <a:gd name="connsiteX120" fmla="*/ 8111 w 10000"/>
                    <a:gd name="connsiteY120" fmla="*/ 8185 h 10000"/>
                    <a:gd name="connsiteX121" fmla="*/ 7944 w 10000"/>
                    <a:gd name="connsiteY121" fmla="*/ 8125 h 10000"/>
                    <a:gd name="connsiteX122" fmla="*/ 7778 w 10000"/>
                    <a:gd name="connsiteY122" fmla="*/ 8086 h 10000"/>
                    <a:gd name="connsiteX123" fmla="*/ 7556 w 10000"/>
                    <a:gd name="connsiteY123" fmla="*/ 8062 h 10000"/>
                    <a:gd name="connsiteX124" fmla="*/ 7333 w 10000"/>
                    <a:gd name="connsiteY124" fmla="*/ 8045 h 10000"/>
                    <a:gd name="connsiteX125" fmla="*/ 7000 w 10000"/>
                    <a:gd name="connsiteY125" fmla="*/ 8022 h 10000"/>
                    <a:gd name="connsiteX126" fmla="*/ 7000 w 10000"/>
                    <a:gd name="connsiteY126" fmla="*/ 8022 h 10000"/>
                    <a:gd name="connsiteX127" fmla="*/ 6556 w 10000"/>
                    <a:gd name="connsiteY127" fmla="*/ 8045 h 10000"/>
                    <a:gd name="connsiteX128" fmla="*/ 6222 w 10000"/>
                    <a:gd name="connsiteY128" fmla="*/ 8045 h 10000"/>
                    <a:gd name="connsiteX129" fmla="*/ 6111 w 10000"/>
                    <a:gd name="connsiteY129" fmla="*/ 8022 h 10000"/>
                    <a:gd name="connsiteX130" fmla="*/ 6056 w 10000"/>
                    <a:gd name="connsiteY130" fmla="*/ 8003 h 10000"/>
                    <a:gd name="connsiteX131" fmla="*/ 6056 w 10000"/>
                    <a:gd name="connsiteY131" fmla="*/ 8003 h 10000"/>
                    <a:gd name="connsiteX132" fmla="*/ 6056 w 10000"/>
                    <a:gd name="connsiteY132" fmla="*/ 7646 h 10000"/>
                    <a:gd name="connsiteX133" fmla="*/ 6056 w 10000"/>
                    <a:gd name="connsiteY133" fmla="*/ 7646 h 10000"/>
                    <a:gd name="connsiteX134" fmla="*/ 6056 w 10000"/>
                    <a:gd name="connsiteY134" fmla="*/ 7563 h 10000"/>
                    <a:gd name="connsiteX135" fmla="*/ 5944 w 10000"/>
                    <a:gd name="connsiteY135" fmla="*/ 7464 h 10000"/>
                    <a:gd name="connsiteX136" fmla="*/ 5889 w 10000"/>
                    <a:gd name="connsiteY136" fmla="*/ 7443 h 10000"/>
                    <a:gd name="connsiteX137" fmla="*/ 5778 w 10000"/>
                    <a:gd name="connsiteY137" fmla="*/ 7425 h 10000"/>
                    <a:gd name="connsiteX138" fmla="*/ 5667 w 10000"/>
                    <a:gd name="connsiteY138" fmla="*/ 7425 h 10000"/>
                    <a:gd name="connsiteX139" fmla="*/ 5500 w 10000"/>
                    <a:gd name="connsiteY139" fmla="*/ 7443 h 10000"/>
                    <a:gd name="connsiteX140" fmla="*/ 5500 w 10000"/>
                    <a:gd name="connsiteY140" fmla="*/ 7443 h 10000"/>
                    <a:gd name="connsiteX141" fmla="*/ 4889 w 10000"/>
                    <a:gd name="connsiteY141" fmla="*/ 7584 h 10000"/>
                    <a:gd name="connsiteX142" fmla="*/ 4611 w 10000"/>
                    <a:gd name="connsiteY142" fmla="*/ 7626 h 10000"/>
                    <a:gd name="connsiteX143" fmla="*/ 4556 w 10000"/>
                    <a:gd name="connsiteY143" fmla="*/ 7646 h 10000"/>
                    <a:gd name="connsiteX144" fmla="*/ 4500 w 10000"/>
                    <a:gd name="connsiteY144" fmla="*/ 7626 h 10000"/>
                    <a:gd name="connsiteX145" fmla="*/ 4500 w 10000"/>
                    <a:gd name="connsiteY145" fmla="*/ 7626 h 10000"/>
                    <a:gd name="connsiteX146" fmla="*/ 4222 w 10000"/>
                    <a:gd name="connsiteY146" fmla="*/ 7425 h 10000"/>
                    <a:gd name="connsiteX147" fmla="*/ 4222 w 10000"/>
                    <a:gd name="connsiteY147" fmla="*/ 7425 h 10000"/>
                    <a:gd name="connsiteX148" fmla="*/ 4111 w 10000"/>
                    <a:gd name="connsiteY148" fmla="*/ 7326 h 10000"/>
                    <a:gd name="connsiteX149" fmla="*/ 4111 w 10000"/>
                    <a:gd name="connsiteY149" fmla="*/ 7265 h 10000"/>
                    <a:gd name="connsiteX150" fmla="*/ 4111 w 10000"/>
                    <a:gd name="connsiteY150" fmla="*/ 7205 h 10000"/>
                    <a:gd name="connsiteX151" fmla="*/ 4111 w 10000"/>
                    <a:gd name="connsiteY151" fmla="*/ 7205 h 10000"/>
                    <a:gd name="connsiteX152" fmla="*/ 4278 w 10000"/>
                    <a:gd name="connsiteY152" fmla="*/ 7145 h 10000"/>
                    <a:gd name="connsiteX153" fmla="*/ 4389 w 10000"/>
                    <a:gd name="connsiteY153" fmla="*/ 7126 h 10000"/>
                    <a:gd name="connsiteX154" fmla="*/ 4389 w 10000"/>
                    <a:gd name="connsiteY154" fmla="*/ 7126 h 10000"/>
                    <a:gd name="connsiteX155" fmla="*/ 4000 w 10000"/>
                    <a:gd name="connsiteY155" fmla="*/ 7126 h 10000"/>
                    <a:gd name="connsiteX156" fmla="*/ 3722 w 10000"/>
                    <a:gd name="connsiteY156" fmla="*/ 7145 h 10000"/>
                    <a:gd name="connsiteX157" fmla="*/ 3611 w 10000"/>
                    <a:gd name="connsiteY157" fmla="*/ 7166 h 10000"/>
                    <a:gd name="connsiteX158" fmla="*/ 3556 w 10000"/>
                    <a:gd name="connsiteY158" fmla="*/ 7187 h 10000"/>
                    <a:gd name="connsiteX159" fmla="*/ 3556 w 10000"/>
                    <a:gd name="connsiteY159" fmla="*/ 7187 h 10000"/>
                    <a:gd name="connsiteX160" fmla="*/ 3444 w 10000"/>
                    <a:gd name="connsiteY160" fmla="*/ 7265 h 10000"/>
                    <a:gd name="connsiteX161" fmla="*/ 3278 w 10000"/>
                    <a:gd name="connsiteY161" fmla="*/ 7386 h 10000"/>
                    <a:gd name="connsiteX162" fmla="*/ 3000 w 10000"/>
                    <a:gd name="connsiteY162" fmla="*/ 7525 h 10000"/>
                    <a:gd name="connsiteX163" fmla="*/ 2667 w 10000"/>
                    <a:gd name="connsiteY163" fmla="*/ 7626 h 10000"/>
                    <a:gd name="connsiteX164" fmla="*/ 2667 w 10000"/>
                    <a:gd name="connsiteY164" fmla="*/ 7626 h 10000"/>
                    <a:gd name="connsiteX165" fmla="*/ 2333 w 10000"/>
                    <a:gd name="connsiteY165" fmla="*/ 7706 h 10000"/>
                    <a:gd name="connsiteX166" fmla="*/ 1833 w 10000"/>
                    <a:gd name="connsiteY166" fmla="*/ 7786 h 10000"/>
                    <a:gd name="connsiteX167" fmla="*/ 1389 w 10000"/>
                    <a:gd name="connsiteY167" fmla="*/ 7826 h 10000"/>
                    <a:gd name="connsiteX168" fmla="*/ 889 w 10000"/>
                    <a:gd name="connsiteY168" fmla="*/ 7845 h 10000"/>
                    <a:gd name="connsiteX169" fmla="*/ 889 w 10000"/>
                    <a:gd name="connsiteY169" fmla="*/ 7845 h 10000"/>
                    <a:gd name="connsiteX170" fmla="*/ 500 w 10000"/>
                    <a:gd name="connsiteY170" fmla="*/ 7867 h 10000"/>
                    <a:gd name="connsiteX171" fmla="*/ 222 w 10000"/>
                    <a:gd name="connsiteY171" fmla="*/ 7885 h 10000"/>
                    <a:gd name="connsiteX172" fmla="*/ 0 w 10000"/>
                    <a:gd name="connsiteY172" fmla="*/ 7904 h 10000"/>
                    <a:gd name="connsiteX173" fmla="*/ 0 w 10000"/>
                    <a:gd name="connsiteY173" fmla="*/ 7904 h 10000"/>
                    <a:gd name="connsiteX174" fmla="*/ 278 w 10000"/>
                    <a:gd name="connsiteY174" fmla="*/ 8225 h 10000"/>
                    <a:gd name="connsiteX175" fmla="*/ 500 w 10000"/>
                    <a:gd name="connsiteY175" fmla="*/ 8461 h 10000"/>
                    <a:gd name="connsiteX176" fmla="*/ 722 w 10000"/>
                    <a:gd name="connsiteY176" fmla="*/ 8662 h 10000"/>
                    <a:gd name="connsiteX177" fmla="*/ 722 w 10000"/>
                    <a:gd name="connsiteY177" fmla="*/ 8662 h 10000"/>
                    <a:gd name="connsiteX178" fmla="*/ 889 w 10000"/>
                    <a:gd name="connsiteY178" fmla="*/ 8783 h 10000"/>
                    <a:gd name="connsiteX179" fmla="*/ 944 w 10000"/>
                    <a:gd name="connsiteY179" fmla="*/ 8884 h 10000"/>
                    <a:gd name="connsiteX180" fmla="*/ 1111 w 10000"/>
                    <a:gd name="connsiteY180" fmla="*/ 8985 h 10000"/>
                    <a:gd name="connsiteX181" fmla="*/ 1333 w 10000"/>
                    <a:gd name="connsiteY181" fmla="*/ 9140 h 10000"/>
                    <a:gd name="connsiteX182" fmla="*/ 1333 w 10000"/>
                    <a:gd name="connsiteY182" fmla="*/ 9140 h 10000"/>
                    <a:gd name="connsiteX183" fmla="*/ 1444 w 10000"/>
                    <a:gd name="connsiteY183" fmla="*/ 9222 h 10000"/>
                    <a:gd name="connsiteX184" fmla="*/ 1500 w 10000"/>
                    <a:gd name="connsiteY184" fmla="*/ 9281 h 10000"/>
                    <a:gd name="connsiteX185" fmla="*/ 1500 w 10000"/>
                    <a:gd name="connsiteY185" fmla="*/ 9339 h 10000"/>
                    <a:gd name="connsiteX186" fmla="*/ 1556 w 10000"/>
                    <a:gd name="connsiteY186" fmla="*/ 9363 h 10000"/>
                    <a:gd name="connsiteX187" fmla="*/ 1722 w 10000"/>
                    <a:gd name="connsiteY187" fmla="*/ 9380 h 10000"/>
                    <a:gd name="connsiteX188" fmla="*/ 1944 w 10000"/>
                    <a:gd name="connsiteY188" fmla="*/ 9400 h 10000"/>
                    <a:gd name="connsiteX189" fmla="*/ 2944 w 10000"/>
                    <a:gd name="connsiteY189" fmla="*/ 9421 h 10000"/>
                    <a:gd name="connsiteX190" fmla="*/ 2944 w 10000"/>
                    <a:gd name="connsiteY190" fmla="*/ 9421 h 10000"/>
                    <a:gd name="connsiteX191" fmla="*/ 4167 w 10000"/>
                    <a:gd name="connsiteY191" fmla="*/ 9461 h 10000"/>
                    <a:gd name="connsiteX192" fmla="*/ 4889 w 10000"/>
                    <a:gd name="connsiteY192" fmla="*/ 9520 h 10000"/>
                    <a:gd name="connsiteX193" fmla="*/ 5278 w 10000"/>
                    <a:gd name="connsiteY193" fmla="*/ 9582 h 10000"/>
                    <a:gd name="connsiteX194" fmla="*/ 5444 w 10000"/>
                    <a:gd name="connsiteY194" fmla="*/ 9598 h 10000"/>
                    <a:gd name="connsiteX195" fmla="*/ 5444 w 10000"/>
                    <a:gd name="connsiteY195" fmla="*/ 9598 h 10000"/>
                    <a:gd name="connsiteX196" fmla="*/ 5722 w 10000"/>
                    <a:gd name="connsiteY196" fmla="*/ 9643 h 10000"/>
                    <a:gd name="connsiteX197" fmla="*/ 5833 w 10000"/>
                    <a:gd name="connsiteY197" fmla="*/ 9664 h 10000"/>
                    <a:gd name="connsiteX198" fmla="*/ 5833 w 10000"/>
                    <a:gd name="connsiteY198" fmla="*/ 9664 h 10000"/>
                    <a:gd name="connsiteX199" fmla="*/ 5833 w 10000"/>
                    <a:gd name="connsiteY199" fmla="*/ 9643 h 10000"/>
                    <a:gd name="connsiteX200" fmla="*/ 5889 w 10000"/>
                    <a:gd name="connsiteY200" fmla="*/ 9621 h 10000"/>
                    <a:gd name="connsiteX201" fmla="*/ 6000 w 10000"/>
                    <a:gd name="connsiteY201" fmla="*/ 9598 h 10000"/>
                    <a:gd name="connsiteX202" fmla="*/ 6167 w 10000"/>
                    <a:gd name="connsiteY202" fmla="*/ 9582 h 10000"/>
                    <a:gd name="connsiteX203" fmla="*/ 6444 w 10000"/>
                    <a:gd name="connsiteY203" fmla="*/ 9582 h 10000"/>
                    <a:gd name="connsiteX204" fmla="*/ 6833 w 10000"/>
                    <a:gd name="connsiteY204" fmla="*/ 9598 h 10000"/>
                    <a:gd name="connsiteX205" fmla="*/ 7278 w 10000"/>
                    <a:gd name="connsiteY205" fmla="*/ 9664 h 10000"/>
                    <a:gd name="connsiteX206" fmla="*/ 7278 w 10000"/>
                    <a:gd name="connsiteY206" fmla="*/ 9664 h 10000"/>
                    <a:gd name="connsiteX207" fmla="*/ 8722 w 10000"/>
                    <a:gd name="connsiteY207" fmla="*/ 9838 h 10000"/>
                    <a:gd name="connsiteX208" fmla="*/ 10000 w 10000"/>
                    <a:gd name="connsiteY208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7778 w 10000"/>
                    <a:gd name="connsiteY70" fmla="*/ 3873 h 10000"/>
                    <a:gd name="connsiteX71" fmla="*/ 6556 w 10000"/>
                    <a:gd name="connsiteY71" fmla="*/ 3631 h 10000"/>
                    <a:gd name="connsiteX72" fmla="*/ 6556 w 10000"/>
                    <a:gd name="connsiteY72" fmla="*/ 3631 h 10000"/>
                    <a:gd name="connsiteX73" fmla="*/ 6556 w 10000"/>
                    <a:gd name="connsiteY73" fmla="*/ 3612 h 10000"/>
                    <a:gd name="connsiteX74" fmla="*/ 6556 w 10000"/>
                    <a:gd name="connsiteY74" fmla="*/ 3492 h 10000"/>
                    <a:gd name="connsiteX75" fmla="*/ 6556 w 10000"/>
                    <a:gd name="connsiteY75" fmla="*/ 3492 h 10000"/>
                    <a:gd name="connsiteX76" fmla="*/ 5333 w 10000"/>
                    <a:gd name="connsiteY76" fmla="*/ 2712 h 10000"/>
                    <a:gd name="connsiteX77" fmla="*/ 5333 w 10000"/>
                    <a:gd name="connsiteY77" fmla="*/ 2712 h 10000"/>
                    <a:gd name="connsiteX78" fmla="*/ 5167 w 10000"/>
                    <a:gd name="connsiteY78" fmla="*/ 2652 h 10000"/>
                    <a:gd name="connsiteX79" fmla="*/ 4889 w 10000"/>
                    <a:gd name="connsiteY79" fmla="*/ 2573 h 10000"/>
                    <a:gd name="connsiteX80" fmla="*/ 4056 w 10000"/>
                    <a:gd name="connsiteY80" fmla="*/ 2395 h 10000"/>
                    <a:gd name="connsiteX81" fmla="*/ 2889 w 10000"/>
                    <a:gd name="connsiteY81" fmla="*/ 2176 h 10000"/>
                    <a:gd name="connsiteX82" fmla="*/ 2889 w 10000"/>
                    <a:gd name="connsiteY82" fmla="*/ 2176 h 10000"/>
                    <a:gd name="connsiteX83" fmla="*/ 2389 w 10000"/>
                    <a:gd name="connsiteY83" fmla="*/ 2154 h 10000"/>
                    <a:gd name="connsiteX84" fmla="*/ 2000 w 10000"/>
                    <a:gd name="connsiteY84" fmla="*/ 2135 h 10000"/>
                    <a:gd name="connsiteX85" fmla="*/ 1889 w 10000"/>
                    <a:gd name="connsiteY85" fmla="*/ 2116 h 10000"/>
                    <a:gd name="connsiteX86" fmla="*/ 1778 w 10000"/>
                    <a:gd name="connsiteY86" fmla="*/ 2094 h 10000"/>
                    <a:gd name="connsiteX87" fmla="*/ 1778 w 10000"/>
                    <a:gd name="connsiteY87" fmla="*/ 2094 h 10000"/>
                    <a:gd name="connsiteX88" fmla="*/ 1667 w 10000"/>
                    <a:gd name="connsiteY88" fmla="*/ 2016 h 10000"/>
                    <a:gd name="connsiteX89" fmla="*/ 1500 w 10000"/>
                    <a:gd name="connsiteY89" fmla="*/ 1876 h 10000"/>
                    <a:gd name="connsiteX90" fmla="*/ 1444 w 10000"/>
                    <a:gd name="connsiteY90" fmla="*/ 1796 h 10000"/>
                    <a:gd name="connsiteX91" fmla="*/ 1444 w 10000"/>
                    <a:gd name="connsiteY91" fmla="*/ 1716 h 10000"/>
                    <a:gd name="connsiteX92" fmla="*/ 1444 w 10000"/>
                    <a:gd name="connsiteY92" fmla="*/ 1656 h 10000"/>
                    <a:gd name="connsiteX93" fmla="*/ 1556 w 10000"/>
                    <a:gd name="connsiteY93" fmla="*/ 1596 h 10000"/>
                    <a:gd name="connsiteX94" fmla="*/ 1556 w 10000"/>
                    <a:gd name="connsiteY94" fmla="*/ 1596 h 10000"/>
                    <a:gd name="connsiteX95" fmla="*/ 1833 w 10000"/>
                    <a:gd name="connsiteY95" fmla="*/ 1497 h 10000"/>
                    <a:gd name="connsiteX96" fmla="*/ 2111 w 10000"/>
                    <a:gd name="connsiteY96" fmla="*/ 1394 h 10000"/>
                    <a:gd name="connsiteX97" fmla="*/ 2278 w 10000"/>
                    <a:gd name="connsiteY97" fmla="*/ 1337 h 10000"/>
                    <a:gd name="connsiteX98" fmla="*/ 2389 w 10000"/>
                    <a:gd name="connsiteY98" fmla="*/ 1278 h 10000"/>
                    <a:gd name="connsiteX99" fmla="*/ 2389 w 10000"/>
                    <a:gd name="connsiteY99" fmla="*/ 1197 h 10000"/>
                    <a:gd name="connsiteX100" fmla="*/ 2389 w 10000"/>
                    <a:gd name="connsiteY100" fmla="*/ 1099 h 10000"/>
                    <a:gd name="connsiteX101" fmla="*/ 2389 w 10000"/>
                    <a:gd name="connsiteY101" fmla="*/ 1099 h 10000"/>
                    <a:gd name="connsiteX102" fmla="*/ 2167 w 10000"/>
                    <a:gd name="connsiteY102" fmla="*/ 818 h 10000"/>
                    <a:gd name="connsiteX103" fmla="*/ 1889 w 10000"/>
                    <a:gd name="connsiteY103" fmla="*/ 438 h 10000"/>
                    <a:gd name="connsiteX104" fmla="*/ 1667 w 10000"/>
                    <a:gd name="connsiteY104" fmla="*/ 99 h 10000"/>
                    <a:gd name="connsiteX105" fmla="*/ 1611 w 10000"/>
                    <a:gd name="connsiteY105" fmla="*/ 0 h 10000"/>
                    <a:gd name="connsiteX106" fmla="*/ 10000 w 10000"/>
                    <a:gd name="connsiteY106" fmla="*/ 8662 h 10000"/>
                    <a:gd name="connsiteX107" fmla="*/ 10000 w 10000"/>
                    <a:gd name="connsiteY107" fmla="*/ 8662 h 10000"/>
                    <a:gd name="connsiteX108" fmla="*/ 9722 w 10000"/>
                    <a:gd name="connsiteY108" fmla="*/ 8641 h 10000"/>
                    <a:gd name="connsiteX109" fmla="*/ 9389 w 10000"/>
                    <a:gd name="connsiteY109" fmla="*/ 8662 h 10000"/>
                    <a:gd name="connsiteX110" fmla="*/ 9389 w 10000"/>
                    <a:gd name="connsiteY110" fmla="*/ 8662 h 10000"/>
                    <a:gd name="connsiteX111" fmla="*/ 9278 w 10000"/>
                    <a:gd name="connsiteY111" fmla="*/ 8686 h 10000"/>
                    <a:gd name="connsiteX112" fmla="*/ 9056 w 10000"/>
                    <a:gd name="connsiteY112" fmla="*/ 8662 h 10000"/>
                    <a:gd name="connsiteX113" fmla="*/ 8889 w 10000"/>
                    <a:gd name="connsiteY113" fmla="*/ 8641 h 10000"/>
                    <a:gd name="connsiteX114" fmla="*/ 8722 w 10000"/>
                    <a:gd name="connsiteY114" fmla="*/ 8603 h 10000"/>
                    <a:gd name="connsiteX115" fmla="*/ 8611 w 10000"/>
                    <a:gd name="connsiteY115" fmla="*/ 8541 h 10000"/>
                    <a:gd name="connsiteX116" fmla="*/ 8444 w 10000"/>
                    <a:gd name="connsiteY116" fmla="*/ 8442 h 10000"/>
                    <a:gd name="connsiteX117" fmla="*/ 8444 w 10000"/>
                    <a:gd name="connsiteY117" fmla="*/ 8442 h 10000"/>
                    <a:gd name="connsiteX118" fmla="*/ 8222 w 10000"/>
                    <a:gd name="connsiteY118" fmla="*/ 8265 h 10000"/>
                    <a:gd name="connsiteX119" fmla="*/ 8111 w 10000"/>
                    <a:gd name="connsiteY119" fmla="*/ 8185 h 10000"/>
                    <a:gd name="connsiteX120" fmla="*/ 7944 w 10000"/>
                    <a:gd name="connsiteY120" fmla="*/ 8125 h 10000"/>
                    <a:gd name="connsiteX121" fmla="*/ 7778 w 10000"/>
                    <a:gd name="connsiteY121" fmla="*/ 8086 h 10000"/>
                    <a:gd name="connsiteX122" fmla="*/ 7556 w 10000"/>
                    <a:gd name="connsiteY122" fmla="*/ 8062 h 10000"/>
                    <a:gd name="connsiteX123" fmla="*/ 7333 w 10000"/>
                    <a:gd name="connsiteY123" fmla="*/ 8045 h 10000"/>
                    <a:gd name="connsiteX124" fmla="*/ 7000 w 10000"/>
                    <a:gd name="connsiteY124" fmla="*/ 8022 h 10000"/>
                    <a:gd name="connsiteX125" fmla="*/ 7000 w 10000"/>
                    <a:gd name="connsiteY125" fmla="*/ 8022 h 10000"/>
                    <a:gd name="connsiteX126" fmla="*/ 6556 w 10000"/>
                    <a:gd name="connsiteY126" fmla="*/ 8045 h 10000"/>
                    <a:gd name="connsiteX127" fmla="*/ 6222 w 10000"/>
                    <a:gd name="connsiteY127" fmla="*/ 8045 h 10000"/>
                    <a:gd name="connsiteX128" fmla="*/ 6111 w 10000"/>
                    <a:gd name="connsiteY128" fmla="*/ 8022 h 10000"/>
                    <a:gd name="connsiteX129" fmla="*/ 6056 w 10000"/>
                    <a:gd name="connsiteY129" fmla="*/ 8003 h 10000"/>
                    <a:gd name="connsiteX130" fmla="*/ 6056 w 10000"/>
                    <a:gd name="connsiteY130" fmla="*/ 8003 h 10000"/>
                    <a:gd name="connsiteX131" fmla="*/ 6056 w 10000"/>
                    <a:gd name="connsiteY131" fmla="*/ 7646 h 10000"/>
                    <a:gd name="connsiteX132" fmla="*/ 6056 w 10000"/>
                    <a:gd name="connsiteY132" fmla="*/ 7646 h 10000"/>
                    <a:gd name="connsiteX133" fmla="*/ 6056 w 10000"/>
                    <a:gd name="connsiteY133" fmla="*/ 7563 h 10000"/>
                    <a:gd name="connsiteX134" fmla="*/ 5944 w 10000"/>
                    <a:gd name="connsiteY134" fmla="*/ 7464 h 10000"/>
                    <a:gd name="connsiteX135" fmla="*/ 5889 w 10000"/>
                    <a:gd name="connsiteY135" fmla="*/ 7443 h 10000"/>
                    <a:gd name="connsiteX136" fmla="*/ 5778 w 10000"/>
                    <a:gd name="connsiteY136" fmla="*/ 7425 h 10000"/>
                    <a:gd name="connsiteX137" fmla="*/ 5667 w 10000"/>
                    <a:gd name="connsiteY137" fmla="*/ 7425 h 10000"/>
                    <a:gd name="connsiteX138" fmla="*/ 5500 w 10000"/>
                    <a:gd name="connsiteY138" fmla="*/ 7443 h 10000"/>
                    <a:gd name="connsiteX139" fmla="*/ 5500 w 10000"/>
                    <a:gd name="connsiteY139" fmla="*/ 7443 h 10000"/>
                    <a:gd name="connsiteX140" fmla="*/ 4889 w 10000"/>
                    <a:gd name="connsiteY140" fmla="*/ 7584 h 10000"/>
                    <a:gd name="connsiteX141" fmla="*/ 4611 w 10000"/>
                    <a:gd name="connsiteY141" fmla="*/ 7626 h 10000"/>
                    <a:gd name="connsiteX142" fmla="*/ 4556 w 10000"/>
                    <a:gd name="connsiteY142" fmla="*/ 7646 h 10000"/>
                    <a:gd name="connsiteX143" fmla="*/ 4500 w 10000"/>
                    <a:gd name="connsiteY143" fmla="*/ 7626 h 10000"/>
                    <a:gd name="connsiteX144" fmla="*/ 4500 w 10000"/>
                    <a:gd name="connsiteY144" fmla="*/ 7626 h 10000"/>
                    <a:gd name="connsiteX145" fmla="*/ 4222 w 10000"/>
                    <a:gd name="connsiteY145" fmla="*/ 7425 h 10000"/>
                    <a:gd name="connsiteX146" fmla="*/ 4222 w 10000"/>
                    <a:gd name="connsiteY146" fmla="*/ 7425 h 10000"/>
                    <a:gd name="connsiteX147" fmla="*/ 4111 w 10000"/>
                    <a:gd name="connsiteY147" fmla="*/ 7326 h 10000"/>
                    <a:gd name="connsiteX148" fmla="*/ 4111 w 10000"/>
                    <a:gd name="connsiteY148" fmla="*/ 7265 h 10000"/>
                    <a:gd name="connsiteX149" fmla="*/ 4111 w 10000"/>
                    <a:gd name="connsiteY149" fmla="*/ 7205 h 10000"/>
                    <a:gd name="connsiteX150" fmla="*/ 4111 w 10000"/>
                    <a:gd name="connsiteY150" fmla="*/ 7205 h 10000"/>
                    <a:gd name="connsiteX151" fmla="*/ 4278 w 10000"/>
                    <a:gd name="connsiteY151" fmla="*/ 7145 h 10000"/>
                    <a:gd name="connsiteX152" fmla="*/ 4389 w 10000"/>
                    <a:gd name="connsiteY152" fmla="*/ 7126 h 10000"/>
                    <a:gd name="connsiteX153" fmla="*/ 4389 w 10000"/>
                    <a:gd name="connsiteY153" fmla="*/ 7126 h 10000"/>
                    <a:gd name="connsiteX154" fmla="*/ 4000 w 10000"/>
                    <a:gd name="connsiteY154" fmla="*/ 7126 h 10000"/>
                    <a:gd name="connsiteX155" fmla="*/ 3722 w 10000"/>
                    <a:gd name="connsiteY155" fmla="*/ 7145 h 10000"/>
                    <a:gd name="connsiteX156" fmla="*/ 3611 w 10000"/>
                    <a:gd name="connsiteY156" fmla="*/ 7166 h 10000"/>
                    <a:gd name="connsiteX157" fmla="*/ 3556 w 10000"/>
                    <a:gd name="connsiteY157" fmla="*/ 7187 h 10000"/>
                    <a:gd name="connsiteX158" fmla="*/ 3556 w 10000"/>
                    <a:gd name="connsiteY158" fmla="*/ 7187 h 10000"/>
                    <a:gd name="connsiteX159" fmla="*/ 3444 w 10000"/>
                    <a:gd name="connsiteY159" fmla="*/ 7265 h 10000"/>
                    <a:gd name="connsiteX160" fmla="*/ 3278 w 10000"/>
                    <a:gd name="connsiteY160" fmla="*/ 7386 h 10000"/>
                    <a:gd name="connsiteX161" fmla="*/ 3000 w 10000"/>
                    <a:gd name="connsiteY161" fmla="*/ 7525 h 10000"/>
                    <a:gd name="connsiteX162" fmla="*/ 2667 w 10000"/>
                    <a:gd name="connsiteY162" fmla="*/ 7626 h 10000"/>
                    <a:gd name="connsiteX163" fmla="*/ 2667 w 10000"/>
                    <a:gd name="connsiteY163" fmla="*/ 7626 h 10000"/>
                    <a:gd name="connsiteX164" fmla="*/ 2333 w 10000"/>
                    <a:gd name="connsiteY164" fmla="*/ 7706 h 10000"/>
                    <a:gd name="connsiteX165" fmla="*/ 1833 w 10000"/>
                    <a:gd name="connsiteY165" fmla="*/ 7786 h 10000"/>
                    <a:gd name="connsiteX166" fmla="*/ 1389 w 10000"/>
                    <a:gd name="connsiteY166" fmla="*/ 7826 h 10000"/>
                    <a:gd name="connsiteX167" fmla="*/ 889 w 10000"/>
                    <a:gd name="connsiteY167" fmla="*/ 7845 h 10000"/>
                    <a:gd name="connsiteX168" fmla="*/ 889 w 10000"/>
                    <a:gd name="connsiteY168" fmla="*/ 7845 h 10000"/>
                    <a:gd name="connsiteX169" fmla="*/ 500 w 10000"/>
                    <a:gd name="connsiteY169" fmla="*/ 7867 h 10000"/>
                    <a:gd name="connsiteX170" fmla="*/ 222 w 10000"/>
                    <a:gd name="connsiteY170" fmla="*/ 7885 h 10000"/>
                    <a:gd name="connsiteX171" fmla="*/ 0 w 10000"/>
                    <a:gd name="connsiteY171" fmla="*/ 7904 h 10000"/>
                    <a:gd name="connsiteX172" fmla="*/ 0 w 10000"/>
                    <a:gd name="connsiteY172" fmla="*/ 7904 h 10000"/>
                    <a:gd name="connsiteX173" fmla="*/ 278 w 10000"/>
                    <a:gd name="connsiteY173" fmla="*/ 8225 h 10000"/>
                    <a:gd name="connsiteX174" fmla="*/ 500 w 10000"/>
                    <a:gd name="connsiteY174" fmla="*/ 8461 h 10000"/>
                    <a:gd name="connsiteX175" fmla="*/ 722 w 10000"/>
                    <a:gd name="connsiteY175" fmla="*/ 8662 h 10000"/>
                    <a:gd name="connsiteX176" fmla="*/ 722 w 10000"/>
                    <a:gd name="connsiteY176" fmla="*/ 8662 h 10000"/>
                    <a:gd name="connsiteX177" fmla="*/ 889 w 10000"/>
                    <a:gd name="connsiteY177" fmla="*/ 8783 h 10000"/>
                    <a:gd name="connsiteX178" fmla="*/ 944 w 10000"/>
                    <a:gd name="connsiteY178" fmla="*/ 8884 h 10000"/>
                    <a:gd name="connsiteX179" fmla="*/ 1111 w 10000"/>
                    <a:gd name="connsiteY179" fmla="*/ 8985 h 10000"/>
                    <a:gd name="connsiteX180" fmla="*/ 1333 w 10000"/>
                    <a:gd name="connsiteY180" fmla="*/ 9140 h 10000"/>
                    <a:gd name="connsiteX181" fmla="*/ 1333 w 10000"/>
                    <a:gd name="connsiteY181" fmla="*/ 9140 h 10000"/>
                    <a:gd name="connsiteX182" fmla="*/ 1444 w 10000"/>
                    <a:gd name="connsiteY182" fmla="*/ 9222 h 10000"/>
                    <a:gd name="connsiteX183" fmla="*/ 1500 w 10000"/>
                    <a:gd name="connsiteY183" fmla="*/ 9281 h 10000"/>
                    <a:gd name="connsiteX184" fmla="*/ 1500 w 10000"/>
                    <a:gd name="connsiteY184" fmla="*/ 9339 h 10000"/>
                    <a:gd name="connsiteX185" fmla="*/ 1556 w 10000"/>
                    <a:gd name="connsiteY185" fmla="*/ 9363 h 10000"/>
                    <a:gd name="connsiteX186" fmla="*/ 1722 w 10000"/>
                    <a:gd name="connsiteY186" fmla="*/ 9380 h 10000"/>
                    <a:gd name="connsiteX187" fmla="*/ 1944 w 10000"/>
                    <a:gd name="connsiteY187" fmla="*/ 9400 h 10000"/>
                    <a:gd name="connsiteX188" fmla="*/ 2944 w 10000"/>
                    <a:gd name="connsiteY188" fmla="*/ 9421 h 10000"/>
                    <a:gd name="connsiteX189" fmla="*/ 2944 w 10000"/>
                    <a:gd name="connsiteY189" fmla="*/ 9421 h 10000"/>
                    <a:gd name="connsiteX190" fmla="*/ 4167 w 10000"/>
                    <a:gd name="connsiteY190" fmla="*/ 9461 h 10000"/>
                    <a:gd name="connsiteX191" fmla="*/ 4889 w 10000"/>
                    <a:gd name="connsiteY191" fmla="*/ 9520 h 10000"/>
                    <a:gd name="connsiteX192" fmla="*/ 5278 w 10000"/>
                    <a:gd name="connsiteY192" fmla="*/ 9582 h 10000"/>
                    <a:gd name="connsiteX193" fmla="*/ 5444 w 10000"/>
                    <a:gd name="connsiteY193" fmla="*/ 9598 h 10000"/>
                    <a:gd name="connsiteX194" fmla="*/ 5444 w 10000"/>
                    <a:gd name="connsiteY194" fmla="*/ 9598 h 10000"/>
                    <a:gd name="connsiteX195" fmla="*/ 5722 w 10000"/>
                    <a:gd name="connsiteY195" fmla="*/ 9643 h 10000"/>
                    <a:gd name="connsiteX196" fmla="*/ 5833 w 10000"/>
                    <a:gd name="connsiteY196" fmla="*/ 9664 h 10000"/>
                    <a:gd name="connsiteX197" fmla="*/ 5833 w 10000"/>
                    <a:gd name="connsiteY197" fmla="*/ 9664 h 10000"/>
                    <a:gd name="connsiteX198" fmla="*/ 5833 w 10000"/>
                    <a:gd name="connsiteY198" fmla="*/ 9643 h 10000"/>
                    <a:gd name="connsiteX199" fmla="*/ 5889 w 10000"/>
                    <a:gd name="connsiteY199" fmla="*/ 9621 h 10000"/>
                    <a:gd name="connsiteX200" fmla="*/ 6000 w 10000"/>
                    <a:gd name="connsiteY200" fmla="*/ 9598 h 10000"/>
                    <a:gd name="connsiteX201" fmla="*/ 6167 w 10000"/>
                    <a:gd name="connsiteY201" fmla="*/ 9582 h 10000"/>
                    <a:gd name="connsiteX202" fmla="*/ 6444 w 10000"/>
                    <a:gd name="connsiteY202" fmla="*/ 9582 h 10000"/>
                    <a:gd name="connsiteX203" fmla="*/ 6833 w 10000"/>
                    <a:gd name="connsiteY203" fmla="*/ 9598 h 10000"/>
                    <a:gd name="connsiteX204" fmla="*/ 7278 w 10000"/>
                    <a:gd name="connsiteY204" fmla="*/ 9664 h 10000"/>
                    <a:gd name="connsiteX205" fmla="*/ 7278 w 10000"/>
                    <a:gd name="connsiteY205" fmla="*/ 9664 h 10000"/>
                    <a:gd name="connsiteX206" fmla="*/ 8722 w 10000"/>
                    <a:gd name="connsiteY206" fmla="*/ 9838 h 10000"/>
                    <a:gd name="connsiteX207" fmla="*/ 10000 w 10000"/>
                    <a:gd name="connsiteY207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7778 w 10000"/>
                    <a:gd name="connsiteY70" fmla="*/ 3873 h 10000"/>
                    <a:gd name="connsiteX71" fmla="*/ 6556 w 10000"/>
                    <a:gd name="connsiteY71" fmla="*/ 3631 h 10000"/>
                    <a:gd name="connsiteX72" fmla="*/ 6556 w 10000"/>
                    <a:gd name="connsiteY72" fmla="*/ 3631 h 10000"/>
                    <a:gd name="connsiteX73" fmla="*/ 6556 w 10000"/>
                    <a:gd name="connsiteY73" fmla="*/ 3612 h 10000"/>
                    <a:gd name="connsiteX74" fmla="*/ 6556 w 10000"/>
                    <a:gd name="connsiteY74" fmla="*/ 3492 h 10000"/>
                    <a:gd name="connsiteX75" fmla="*/ 5333 w 10000"/>
                    <a:gd name="connsiteY75" fmla="*/ 2712 h 10000"/>
                    <a:gd name="connsiteX76" fmla="*/ 5333 w 10000"/>
                    <a:gd name="connsiteY76" fmla="*/ 2712 h 10000"/>
                    <a:gd name="connsiteX77" fmla="*/ 5167 w 10000"/>
                    <a:gd name="connsiteY77" fmla="*/ 2652 h 10000"/>
                    <a:gd name="connsiteX78" fmla="*/ 4889 w 10000"/>
                    <a:gd name="connsiteY78" fmla="*/ 2573 h 10000"/>
                    <a:gd name="connsiteX79" fmla="*/ 4056 w 10000"/>
                    <a:gd name="connsiteY79" fmla="*/ 2395 h 10000"/>
                    <a:gd name="connsiteX80" fmla="*/ 2889 w 10000"/>
                    <a:gd name="connsiteY80" fmla="*/ 2176 h 10000"/>
                    <a:gd name="connsiteX81" fmla="*/ 2889 w 10000"/>
                    <a:gd name="connsiteY81" fmla="*/ 2176 h 10000"/>
                    <a:gd name="connsiteX82" fmla="*/ 2389 w 10000"/>
                    <a:gd name="connsiteY82" fmla="*/ 2154 h 10000"/>
                    <a:gd name="connsiteX83" fmla="*/ 2000 w 10000"/>
                    <a:gd name="connsiteY83" fmla="*/ 2135 h 10000"/>
                    <a:gd name="connsiteX84" fmla="*/ 1889 w 10000"/>
                    <a:gd name="connsiteY84" fmla="*/ 2116 h 10000"/>
                    <a:gd name="connsiteX85" fmla="*/ 1778 w 10000"/>
                    <a:gd name="connsiteY85" fmla="*/ 2094 h 10000"/>
                    <a:gd name="connsiteX86" fmla="*/ 1778 w 10000"/>
                    <a:gd name="connsiteY86" fmla="*/ 2094 h 10000"/>
                    <a:gd name="connsiteX87" fmla="*/ 1667 w 10000"/>
                    <a:gd name="connsiteY87" fmla="*/ 2016 h 10000"/>
                    <a:gd name="connsiteX88" fmla="*/ 1500 w 10000"/>
                    <a:gd name="connsiteY88" fmla="*/ 1876 h 10000"/>
                    <a:gd name="connsiteX89" fmla="*/ 1444 w 10000"/>
                    <a:gd name="connsiteY89" fmla="*/ 1796 h 10000"/>
                    <a:gd name="connsiteX90" fmla="*/ 1444 w 10000"/>
                    <a:gd name="connsiteY90" fmla="*/ 1716 h 10000"/>
                    <a:gd name="connsiteX91" fmla="*/ 1444 w 10000"/>
                    <a:gd name="connsiteY91" fmla="*/ 1656 h 10000"/>
                    <a:gd name="connsiteX92" fmla="*/ 1556 w 10000"/>
                    <a:gd name="connsiteY92" fmla="*/ 1596 h 10000"/>
                    <a:gd name="connsiteX93" fmla="*/ 1556 w 10000"/>
                    <a:gd name="connsiteY93" fmla="*/ 1596 h 10000"/>
                    <a:gd name="connsiteX94" fmla="*/ 1833 w 10000"/>
                    <a:gd name="connsiteY94" fmla="*/ 1497 h 10000"/>
                    <a:gd name="connsiteX95" fmla="*/ 2111 w 10000"/>
                    <a:gd name="connsiteY95" fmla="*/ 1394 h 10000"/>
                    <a:gd name="connsiteX96" fmla="*/ 2278 w 10000"/>
                    <a:gd name="connsiteY96" fmla="*/ 1337 h 10000"/>
                    <a:gd name="connsiteX97" fmla="*/ 2389 w 10000"/>
                    <a:gd name="connsiteY97" fmla="*/ 1278 h 10000"/>
                    <a:gd name="connsiteX98" fmla="*/ 2389 w 10000"/>
                    <a:gd name="connsiteY98" fmla="*/ 1197 h 10000"/>
                    <a:gd name="connsiteX99" fmla="*/ 2389 w 10000"/>
                    <a:gd name="connsiteY99" fmla="*/ 1099 h 10000"/>
                    <a:gd name="connsiteX100" fmla="*/ 2389 w 10000"/>
                    <a:gd name="connsiteY100" fmla="*/ 1099 h 10000"/>
                    <a:gd name="connsiteX101" fmla="*/ 2167 w 10000"/>
                    <a:gd name="connsiteY101" fmla="*/ 818 h 10000"/>
                    <a:gd name="connsiteX102" fmla="*/ 1889 w 10000"/>
                    <a:gd name="connsiteY102" fmla="*/ 438 h 10000"/>
                    <a:gd name="connsiteX103" fmla="*/ 1667 w 10000"/>
                    <a:gd name="connsiteY103" fmla="*/ 99 h 10000"/>
                    <a:gd name="connsiteX104" fmla="*/ 1611 w 10000"/>
                    <a:gd name="connsiteY104" fmla="*/ 0 h 10000"/>
                    <a:gd name="connsiteX105" fmla="*/ 10000 w 10000"/>
                    <a:gd name="connsiteY105" fmla="*/ 8662 h 10000"/>
                    <a:gd name="connsiteX106" fmla="*/ 10000 w 10000"/>
                    <a:gd name="connsiteY106" fmla="*/ 8662 h 10000"/>
                    <a:gd name="connsiteX107" fmla="*/ 9722 w 10000"/>
                    <a:gd name="connsiteY107" fmla="*/ 8641 h 10000"/>
                    <a:gd name="connsiteX108" fmla="*/ 9389 w 10000"/>
                    <a:gd name="connsiteY108" fmla="*/ 8662 h 10000"/>
                    <a:gd name="connsiteX109" fmla="*/ 9389 w 10000"/>
                    <a:gd name="connsiteY109" fmla="*/ 8662 h 10000"/>
                    <a:gd name="connsiteX110" fmla="*/ 9278 w 10000"/>
                    <a:gd name="connsiteY110" fmla="*/ 8686 h 10000"/>
                    <a:gd name="connsiteX111" fmla="*/ 9056 w 10000"/>
                    <a:gd name="connsiteY111" fmla="*/ 8662 h 10000"/>
                    <a:gd name="connsiteX112" fmla="*/ 8889 w 10000"/>
                    <a:gd name="connsiteY112" fmla="*/ 8641 h 10000"/>
                    <a:gd name="connsiteX113" fmla="*/ 8722 w 10000"/>
                    <a:gd name="connsiteY113" fmla="*/ 8603 h 10000"/>
                    <a:gd name="connsiteX114" fmla="*/ 8611 w 10000"/>
                    <a:gd name="connsiteY114" fmla="*/ 8541 h 10000"/>
                    <a:gd name="connsiteX115" fmla="*/ 8444 w 10000"/>
                    <a:gd name="connsiteY115" fmla="*/ 8442 h 10000"/>
                    <a:gd name="connsiteX116" fmla="*/ 8444 w 10000"/>
                    <a:gd name="connsiteY116" fmla="*/ 8442 h 10000"/>
                    <a:gd name="connsiteX117" fmla="*/ 8222 w 10000"/>
                    <a:gd name="connsiteY117" fmla="*/ 8265 h 10000"/>
                    <a:gd name="connsiteX118" fmla="*/ 8111 w 10000"/>
                    <a:gd name="connsiteY118" fmla="*/ 8185 h 10000"/>
                    <a:gd name="connsiteX119" fmla="*/ 7944 w 10000"/>
                    <a:gd name="connsiteY119" fmla="*/ 8125 h 10000"/>
                    <a:gd name="connsiteX120" fmla="*/ 7778 w 10000"/>
                    <a:gd name="connsiteY120" fmla="*/ 8086 h 10000"/>
                    <a:gd name="connsiteX121" fmla="*/ 7556 w 10000"/>
                    <a:gd name="connsiteY121" fmla="*/ 8062 h 10000"/>
                    <a:gd name="connsiteX122" fmla="*/ 7333 w 10000"/>
                    <a:gd name="connsiteY122" fmla="*/ 8045 h 10000"/>
                    <a:gd name="connsiteX123" fmla="*/ 7000 w 10000"/>
                    <a:gd name="connsiteY123" fmla="*/ 8022 h 10000"/>
                    <a:gd name="connsiteX124" fmla="*/ 7000 w 10000"/>
                    <a:gd name="connsiteY124" fmla="*/ 8022 h 10000"/>
                    <a:gd name="connsiteX125" fmla="*/ 6556 w 10000"/>
                    <a:gd name="connsiteY125" fmla="*/ 8045 h 10000"/>
                    <a:gd name="connsiteX126" fmla="*/ 6222 w 10000"/>
                    <a:gd name="connsiteY126" fmla="*/ 8045 h 10000"/>
                    <a:gd name="connsiteX127" fmla="*/ 6111 w 10000"/>
                    <a:gd name="connsiteY127" fmla="*/ 8022 h 10000"/>
                    <a:gd name="connsiteX128" fmla="*/ 6056 w 10000"/>
                    <a:gd name="connsiteY128" fmla="*/ 8003 h 10000"/>
                    <a:gd name="connsiteX129" fmla="*/ 6056 w 10000"/>
                    <a:gd name="connsiteY129" fmla="*/ 8003 h 10000"/>
                    <a:gd name="connsiteX130" fmla="*/ 6056 w 10000"/>
                    <a:gd name="connsiteY130" fmla="*/ 7646 h 10000"/>
                    <a:gd name="connsiteX131" fmla="*/ 6056 w 10000"/>
                    <a:gd name="connsiteY131" fmla="*/ 7646 h 10000"/>
                    <a:gd name="connsiteX132" fmla="*/ 6056 w 10000"/>
                    <a:gd name="connsiteY132" fmla="*/ 7563 h 10000"/>
                    <a:gd name="connsiteX133" fmla="*/ 5944 w 10000"/>
                    <a:gd name="connsiteY133" fmla="*/ 7464 h 10000"/>
                    <a:gd name="connsiteX134" fmla="*/ 5889 w 10000"/>
                    <a:gd name="connsiteY134" fmla="*/ 7443 h 10000"/>
                    <a:gd name="connsiteX135" fmla="*/ 5778 w 10000"/>
                    <a:gd name="connsiteY135" fmla="*/ 7425 h 10000"/>
                    <a:gd name="connsiteX136" fmla="*/ 5667 w 10000"/>
                    <a:gd name="connsiteY136" fmla="*/ 7425 h 10000"/>
                    <a:gd name="connsiteX137" fmla="*/ 5500 w 10000"/>
                    <a:gd name="connsiteY137" fmla="*/ 7443 h 10000"/>
                    <a:gd name="connsiteX138" fmla="*/ 5500 w 10000"/>
                    <a:gd name="connsiteY138" fmla="*/ 7443 h 10000"/>
                    <a:gd name="connsiteX139" fmla="*/ 4889 w 10000"/>
                    <a:gd name="connsiteY139" fmla="*/ 7584 h 10000"/>
                    <a:gd name="connsiteX140" fmla="*/ 4611 w 10000"/>
                    <a:gd name="connsiteY140" fmla="*/ 7626 h 10000"/>
                    <a:gd name="connsiteX141" fmla="*/ 4556 w 10000"/>
                    <a:gd name="connsiteY141" fmla="*/ 7646 h 10000"/>
                    <a:gd name="connsiteX142" fmla="*/ 4500 w 10000"/>
                    <a:gd name="connsiteY142" fmla="*/ 7626 h 10000"/>
                    <a:gd name="connsiteX143" fmla="*/ 4500 w 10000"/>
                    <a:gd name="connsiteY143" fmla="*/ 7626 h 10000"/>
                    <a:gd name="connsiteX144" fmla="*/ 4222 w 10000"/>
                    <a:gd name="connsiteY144" fmla="*/ 7425 h 10000"/>
                    <a:gd name="connsiteX145" fmla="*/ 4222 w 10000"/>
                    <a:gd name="connsiteY145" fmla="*/ 7425 h 10000"/>
                    <a:gd name="connsiteX146" fmla="*/ 4111 w 10000"/>
                    <a:gd name="connsiteY146" fmla="*/ 7326 h 10000"/>
                    <a:gd name="connsiteX147" fmla="*/ 4111 w 10000"/>
                    <a:gd name="connsiteY147" fmla="*/ 7265 h 10000"/>
                    <a:gd name="connsiteX148" fmla="*/ 4111 w 10000"/>
                    <a:gd name="connsiteY148" fmla="*/ 7205 h 10000"/>
                    <a:gd name="connsiteX149" fmla="*/ 4111 w 10000"/>
                    <a:gd name="connsiteY149" fmla="*/ 7205 h 10000"/>
                    <a:gd name="connsiteX150" fmla="*/ 4278 w 10000"/>
                    <a:gd name="connsiteY150" fmla="*/ 7145 h 10000"/>
                    <a:gd name="connsiteX151" fmla="*/ 4389 w 10000"/>
                    <a:gd name="connsiteY151" fmla="*/ 7126 h 10000"/>
                    <a:gd name="connsiteX152" fmla="*/ 4389 w 10000"/>
                    <a:gd name="connsiteY152" fmla="*/ 7126 h 10000"/>
                    <a:gd name="connsiteX153" fmla="*/ 4000 w 10000"/>
                    <a:gd name="connsiteY153" fmla="*/ 7126 h 10000"/>
                    <a:gd name="connsiteX154" fmla="*/ 3722 w 10000"/>
                    <a:gd name="connsiteY154" fmla="*/ 7145 h 10000"/>
                    <a:gd name="connsiteX155" fmla="*/ 3611 w 10000"/>
                    <a:gd name="connsiteY155" fmla="*/ 7166 h 10000"/>
                    <a:gd name="connsiteX156" fmla="*/ 3556 w 10000"/>
                    <a:gd name="connsiteY156" fmla="*/ 7187 h 10000"/>
                    <a:gd name="connsiteX157" fmla="*/ 3556 w 10000"/>
                    <a:gd name="connsiteY157" fmla="*/ 7187 h 10000"/>
                    <a:gd name="connsiteX158" fmla="*/ 3444 w 10000"/>
                    <a:gd name="connsiteY158" fmla="*/ 7265 h 10000"/>
                    <a:gd name="connsiteX159" fmla="*/ 3278 w 10000"/>
                    <a:gd name="connsiteY159" fmla="*/ 7386 h 10000"/>
                    <a:gd name="connsiteX160" fmla="*/ 3000 w 10000"/>
                    <a:gd name="connsiteY160" fmla="*/ 7525 h 10000"/>
                    <a:gd name="connsiteX161" fmla="*/ 2667 w 10000"/>
                    <a:gd name="connsiteY161" fmla="*/ 7626 h 10000"/>
                    <a:gd name="connsiteX162" fmla="*/ 2667 w 10000"/>
                    <a:gd name="connsiteY162" fmla="*/ 7626 h 10000"/>
                    <a:gd name="connsiteX163" fmla="*/ 2333 w 10000"/>
                    <a:gd name="connsiteY163" fmla="*/ 7706 h 10000"/>
                    <a:gd name="connsiteX164" fmla="*/ 1833 w 10000"/>
                    <a:gd name="connsiteY164" fmla="*/ 7786 h 10000"/>
                    <a:gd name="connsiteX165" fmla="*/ 1389 w 10000"/>
                    <a:gd name="connsiteY165" fmla="*/ 7826 h 10000"/>
                    <a:gd name="connsiteX166" fmla="*/ 889 w 10000"/>
                    <a:gd name="connsiteY166" fmla="*/ 7845 h 10000"/>
                    <a:gd name="connsiteX167" fmla="*/ 889 w 10000"/>
                    <a:gd name="connsiteY167" fmla="*/ 7845 h 10000"/>
                    <a:gd name="connsiteX168" fmla="*/ 500 w 10000"/>
                    <a:gd name="connsiteY168" fmla="*/ 7867 h 10000"/>
                    <a:gd name="connsiteX169" fmla="*/ 222 w 10000"/>
                    <a:gd name="connsiteY169" fmla="*/ 7885 h 10000"/>
                    <a:gd name="connsiteX170" fmla="*/ 0 w 10000"/>
                    <a:gd name="connsiteY170" fmla="*/ 7904 h 10000"/>
                    <a:gd name="connsiteX171" fmla="*/ 0 w 10000"/>
                    <a:gd name="connsiteY171" fmla="*/ 7904 h 10000"/>
                    <a:gd name="connsiteX172" fmla="*/ 278 w 10000"/>
                    <a:gd name="connsiteY172" fmla="*/ 8225 h 10000"/>
                    <a:gd name="connsiteX173" fmla="*/ 500 w 10000"/>
                    <a:gd name="connsiteY173" fmla="*/ 8461 h 10000"/>
                    <a:gd name="connsiteX174" fmla="*/ 722 w 10000"/>
                    <a:gd name="connsiteY174" fmla="*/ 8662 h 10000"/>
                    <a:gd name="connsiteX175" fmla="*/ 722 w 10000"/>
                    <a:gd name="connsiteY175" fmla="*/ 8662 h 10000"/>
                    <a:gd name="connsiteX176" fmla="*/ 889 w 10000"/>
                    <a:gd name="connsiteY176" fmla="*/ 8783 h 10000"/>
                    <a:gd name="connsiteX177" fmla="*/ 944 w 10000"/>
                    <a:gd name="connsiteY177" fmla="*/ 8884 h 10000"/>
                    <a:gd name="connsiteX178" fmla="*/ 1111 w 10000"/>
                    <a:gd name="connsiteY178" fmla="*/ 8985 h 10000"/>
                    <a:gd name="connsiteX179" fmla="*/ 1333 w 10000"/>
                    <a:gd name="connsiteY179" fmla="*/ 9140 h 10000"/>
                    <a:gd name="connsiteX180" fmla="*/ 1333 w 10000"/>
                    <a:gd name="connsiteY180" fmla="*/ 9140 h 10000"/>
                    <a:gd name="connsiteX181" fmla="*/ 1444 w 10000"/>
                    <a:gd name="connsiteY181" fmla="*/ 9222 h 10000"/>
                    <a:gd name="connsiteX182" fmla="*/ 1500 w 10000"/>
                    <a:gd name="connsiteY182" fmla="*/ 9281 h 10000"/>
                    <a:gd name="connsiteX183" fmla="*/ 1500 w 10000"/>
                    <a:gd name="connsiteY183" fmla="*/ 9339 h 10000"/>
                    <a:gd name="connsiteX184" fmla="*/ 1556 w 10000"/>
                    <a:gd name="connsiteY184" fmla="*/ 9363 h 10000"/>
                    <a:gd name="connsiteX185" fmla="*/ 1722 w 10000"/>
                    <a:gd name="connsiteY185" fmla="*/ 9380 h 10000"/>
                    <a:gd name="connsiteX186" fmla="*/ 1944 w 10000"/>
                    <a:gd name="connsiteY186" fmla="*/ 9400 h 10000"/>
                    <a:gd name="connsiteX187" fmla="*/ 2944 w 10000"/>
                    <a:gd name="connsiteY187" fmla="*/ 9421 h 10000"/>
                    <a:gd name="connsiteX188" fmla="*/ 2944 w 10000"/>
                    <a:gd name="connsiteY188" fmla="*/ 9421 h 10000"/>
                    <a:gd name="connsiteX189" fmla="*/ 4167 w 10000"/>
                    <a:gd name="connsiteY189" fmla="*/ 9461 h 10000"/>
                    <a:gd name="connsiteX190" fmla="*/ 4889 w 10000"/>
                    <a:gd name="connsiteY190" fmla="*/ 9520 h 10000"/>
                    <a:gd name="connsiteX191" fmla="*/ 5278 w 10000"/>
                    <a:gd name="connsiteY191" fmla="*/ 9582 h 10000"/>
                    <a:gd name="connsiteX192" fmla="*/ 5444 w 10000"/>
                    <a:gd name="connsiteY192" fmla="*/ 9598 h 10000"/>
                    <a:gd name="connsiteX193" fmla="*/ 5444 w 10000"/>
                    <a:gd name="connsiteY193" fmla="*/ 9598 h 10000"/>
                    <a:gd name="connsiteX194" fmla="*/ 5722 w 10000"/>
                    <a:gd name="connsiteY194" fmla="*/ 9643 h 10000"/>
                    <a:gd name="connsiteX195" fmla="*/ 5833 w 10000"/>
                    <a:gd name="connsiteY195" fmla="*/ 9664 h 10000"/>
                    <a:gd name="connsiteX196" fmla="*/ 5833 w 10000"/>
                    <a:gd name="connsiteY196" fmla="*/ 9664 h 10000"/>
                    <a:gd name="connsiteX197" fmla="*/ 5833 w 10000"/>
                    <a:gd name="connsiteY197" fmla="*/ 9643 h 10000"/>
                    <a:gd name="connsiteX198" fmla="*/ 5889 w 10000"/>
                    <a:gd name="connsiteY198" fmla="*/ 9621 h 10000"/>
                    <a:gd name="connsiteX199" fmla="*/ 6000 w 10000"/>
                    <a:gd name="connsiteY199" fmla="*/ 9598 h 10000"/>
                    <a:gd name="connsiteX200" fmla="*/ 6167 w 10000"/>
                    <a:gd name="connsiteY200" fmla="*/ 9582 h 10000"/>
                    <a:gd name="connsiteX201" fmla="*/ 6444 w 10000"/>
                    <a:gd name="connsiteY201" fmla="*/ 9582 h 10000"/>
                    <a:gd name="connsiteX202" fmla="*/ 6833 w 10000"/>
                    <a:gd name="connsiteY202" fmla="*/ 9598 h 10000"/>
                    <a:gd name="connsiteX203" fmla="*/ 7278 w 10000"/>
                    <a:gd name="connsiteY203" fmla="*/ 9664 h 10000"/>
                    <a:gd name="connsiteX204" fmla="*/ 7278 w 10000"/>
                    <a:gd name="connsiteY204" fmla="*/ 9664 h 10000"/>
                    <a:gd name="connsiteX205" fmla="*/ 8722 w 10000"/>
                    <a:gd name="connsiteY205" fmla="*/ 9838 h 10000"/>
                    <a:gd name="connsiteX206" fmla="*/ 10000 w 10000"/>
                    <a:gd name="connsiteY206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7778 w 10000"/>
                    <a:gd name="connsiteY70" fmla="*/ 3873 h 10000"/>
                    <a:gd name="connsiteX71" fmla="*/ 6556 w 10000"/>
                    <a:gd name="connsiteY71" fmla="*/ 3631 h 10000"/>
                    <a:gd name="connsiteX72" fmla="*/ 6556 w 10000"/>
                    <a:gd name="connsiteY72" fmla="*/ 3631 h 10000"/>
                    <a:gd name="connsiteX73" fmla="*/ 6556 w 10000"/>
                    <a:gd name="connsiteY73" fmla="*/ 3492 h 10000"/>
                    <a:gd name="connsiteX74" fmla="*/ 5333 w 10000"/>
                    <a:gd name="connsiteY74" fmla="*/ 2712 h 10000"/>
                    <a:gd name="connsiteX75" fmla="*/ 5333 w 10000"/>
                    <a:gd name="connsiteY75" fmla="*/ 2712 h 10000"/>
                    <a:gd name="connsiteX76" fmla="*/ 5167 w 10000"/>
                    <a:gd name="connsiteY76" fmla="*/ 2652 h 10000"/>
                    <a:gd name="connsiteX77" fmla="*/ 4889 w 10000"/>
                    <a:gd name="connsiteY77" fmla="*/ 2573 h 10000"/>
                    <a:gd name="connsiteX78" fmla="*/ 4056 w 10000"/>
                    <a:gd name="connsiteY78" fmla="*/ 2395 h 10000"/>
                    <a:gd name="connsiteX79" fmla="*/ 2889 w 10000"/>
                    <a:gd name="connsiteY79" fmla="*/ 2176 h 10000"/>
                    <a:gd name="connsiteX80" fmla="*/ 2889 w 10000"/>
                    <a:gd name="connsiteY80" fmla="*/ 2176 h 10000"/>
                    <a:gd name="connsiteX81" fmla="*/ 2389 w 10000"/>
                    <a:gd name="connsiteY81" fmla="*/ 2154 h 10000"/>
                    <a:gd name="connsiteX82" fmla="*/ 2000 w 10000"/>
                    <a:gd name="connsiteY82" fmla="*/ 2135 h 10000"/>
                    <a:gd name="connsiteX83" fmla="*/ 1889 w 10000"/>
                    <a:gd name="connsiteY83" fmla="*/ 2116 h 10000"/>
                    <a:gd name="connsiteX84" fmla="*/ 1778 w 10000"/>
                    <a:gd name="connsiteY84" fmla="*/ 2094 h 10000"/>
                    <a:gd name="connsiteX85" fmla="*/ 1778 w 10000"/>
                    <a:gd name="connsiteY85" fmla="*/ 2094 h 10000"/>
                    <a:gd name="connsiteX86" fmla="*/ 1667 w 10000"/>
                    <a:gd name="connsiteY86" fmla="*/ 2016 h 10000"/>
                    <a:gd name="connsiteX87" fmla="*/ 1500 w 10000"/>
                    <a:gd name="connsiteY87" fmla="*/ 1876 h 10000"/>
                    <a:gd name="connsiteX88" fmla="*/ 1444 w 10000"/>
                    <a:gd name="connsiteY88" fmla="*/ 1796 h 10000"/>
                    <a:gd name="connsiteX89" fmla="*/ 1444 w 10000"/>
                    <a:gd name="connsiteY89" fmla="*/ 1716 h 10000"/>
                    <a:gd name="connsiteX90" fmla="*/ 1444 w 10000"/>
                    <a:gd name="connsiteY90" fmla="*/ 1656 h 10000"/>
                    <a:gd name="connsiteX91" fmla="*/ 1556 w 10000"/>
                    <a:gd name="connsiteY91" fmla="*/ 1596 h 10000"/>
                    <a:gd name="connsiteX92" fmla="*/ 1556 w 10000"/>
                    <a:gd name="connsiteY92" fmla="*/ 1596 h 10000"/>
                    <a:gd name="connsiteX93" fmla="*/ 1833 w 10000"/>
                    <a:gd name="connsiteY93" fmla="*/ 1497 h 10000"/>
                    <a:gd name="connsiteX94" fmla="*/ 2111 w 10000"/>
                    <a:gd name="connsiteY94" fmla="*/ 1394 h 10000"/>
                    <a:gd name="connsiteX95" fmla="*/ 2278 w 10000"/>
                    <a:gd name="connsiteY95" fmla="*/ 1337 h 10000"/>
                    <a:gd name="connsiteX96" fmla="*/ 2389 w 10000"/>
                    <a:gd name="connsiteY96" fmla="*/ 1278 h 10000"/>
                    <a:gd name="connsiteX97" fmla="*/ 2389 w 10000"/>
                    <a:gd name="connsiteY97" fmla="*/ 1197 h 10000"/>
                    <a:gd name="connsiteX98" fmla="*/ 2389 w 10000"/>
                    <a:gd name="connsiteY98" fmla="*/ 1099 h 10000"/>
                    <a:gd name="connsiteX99" fmla="*/ 2389 w 10000"/>
                    <a:gd name="connsiteY99" fmla="*/ 1099 h 10000"/>
                    <a:gd name="connsiteX100" fmla="*/ 2167 w 10000"/>
                    <a:gd name="connsiteY100" fmla="*/ 818 h 10000"/>
                    <a:gd name="connsiteX101" fmla="*/ 1889 w 10000"/>
                    <a:gd name="connsiteY101" fmla="*/ 438 h 10000"/>
                    <a:gd name="connsiteX102" fmla="*/ 1667 w 10000"/>
                    <a:gd name="connsiteY102" fmla="*/ 99 h 10000"/>
                    <a:gd name="connsiteX103" fmla="*/ 1611 w 10000"/>
                    <a:gd name="connsiteY103" fmla="*/ 0 h 10000"/>
                    <a:gd name="connsiteX104" fmla="*/ 10000 w 10000"/>
                    <a:gd name="connsiteY104" fmla="*/ 8662 h 10000"/>
                    <a:gd name="connsiteX105" fmla="*/ 10000 w 10000"/>
                    <a:gd name="connsiteY105" fmla="*/ 8662 h 10000"/>
                    <a:gd name="connsiteX106" fmla="*/ 9722 w 10000"/>
                    <a:gd name="connsiteY106" fmla="*/ 8641 h 10000"/>
                    <a:gd name="connsiteX107" fmla="*/ 9389 w 10000"/>
                    <a:gd name="connsiteY107" fmla="*/ 8662 h 10000"/>
                    <a:gd name="connsiteX108" fmla="*/ 9389 w 10000"/>
                    <a:gd name="connsiteY108" fmla="*/ 8662 h 10000"/>
                    <a:gd name="connsiteX109" fmla="*/ 9278 w 10000"/>
                    <a:gd name="connsiteY109" fmla="*/ 8686 h 10000"/>
                    <a:gd name="connsiteX110" fmla="*/ 9056 w 10000"/>
                    <a:gd name="connsiteY110" fmla="*/ 8662 h 10000"/>
                    <a:gd name="connsiteX111" fmla="*/ 8889 w 10000"/>
                    <a:gd name="connsiteY111" fmla="*/ 8641 h 10000"/>
                    <a:gd name="connsiteX112" fmla="*/ 8722 w 10000"/>
                    <a:gd name="connsiteY112" fmla="*/ 8603 h 10000"/>
                    <a:gd name="connsiteX113" fmla="*/ 8611 w 10000"/>
                    <a:gd name="connsiteY113" fmla="*/ 8541 h 10000"/>
                    <a:gd name="connsiteX114" fmla="*/ 8444 w 10000"/>
                    <a:gd name="connsiteY114" fmla="*/ 8442 h 10000"/>
                    <a:gd name="connsiteX115" fmla="*/ 8444 w 10000"/>
                    <a:gd name="connsiteY115" fmla="*/ 8442 h 10000"/>
                    <a:gd name="connsiteX116" fmla="*/ 8222 w 10000"/>
                    <a:gd name="connsiteY116" fmla="*/ 8265 h 10000"/>
                    <a:gd name="connsiteX117" fmla="*/ 8111 w 10000"/>
                    <a:gd name="connsiteY117" fmla="*/ 8185 h 10000"/>
                    <a:gd name="connsiteX118" fmla="*/ 7944 w 10000"/>
                    <a:gd name="connsiteY118" fmla="*/ 8125 h 10000"/>
                    <a:gd name="connsiteX119" fmla="*/ 7778 w 10000"/>
                    <a:gd name="connsiteY119" fmla="*/ 8086 h 10000"/>
                    <a:gd name="connsiteX120" fmla="*/ 7556 w 10000"/>
                    <a:gd name="connsiteY120" fmla="*/ 8062 h 10000"/>
                    <a:gd name="connsiteX121" fmla="*/ 7333 w 10000"/>
                    <a:gd name="connsiteY121" fmla="*/ 8045 h 10000"/>
                    <a:gd name="connsiteX122" fmla="*/ 7000 w 10000"/>
                    <a:gd name="connsiteY122" fmla="*/ 8022 h 10000"/>
                    <a:gd name="connsiteX123" fmla="*/ 7000 w 10000"/>
                    <a:gd name="connsiteY123" fmla="*/ 8022 h 10000"/>
                    <a:gd name="connsiteX124" fmla="*/ 6556 w 10000"/>
                    <a:gd name="connsiteY124" fmla="*/ 8045 h 10000"/>
                    <a:gd name="connsiteX125" fmla="*/ 6222 w 10000"/>
                    <a:gd name="connsiteY125" fmla="*/ 8045 h 10000"/>
                    <a:gd name="connsiteX126" fmla="*/ 6111 w 10000"/>
                    <a:gd name="connsiteY126" fmla="*/ 8022 h 10000"/>
                    <a:gd name="connsiteX127" fmla="*/ 6056 w 10000"/>
                    <a:gd name="connsiteY127" fmla="*/ 8003 h 10000"/>
                    <a:gd name="connsiteX128" fmla="*/ 6056 w 10000"/>
                    <a:gd name="connsiteY128" fmla="*/ 8003 h 10000"/>
                    <a:gd name="connsiteX129" fmla="*/ 6056 w 10000"/>
                    <a:gd name="connsiteY129" fmla="*/ 7646 h 10000"/>
                    <a:gd name="connsiteX130" fmla="*/ 6056 w 10000"/>
                    <a:gd name="connsiteY130" fmla="*/ 7646 h 10000"/>
                    <a:gd name="connsiteX131" fmla="*/ 6056 w 10000"/>
                    <a:gd name="connsiteY131" fmla="*/ 7563 h 10000"/>
                    <a:gd name="connsiteX132" fmla="*/ 5944 w 10000"/>
                    <a:gd name="connsiteY132" fmla="*/ 7464 h 10000"/>
                    <a:gd name="connsiteX133" fmla="*/ 5889 w 10000"/>
                    <a:gd name="connsiteY133" fmla="*/ 7443 h 10000"/>
                    <a:gd name="connsiteX134" fmla="*/ 5778 w 10000"/>
                    <a:gd name="connsiteY134" fmla="*/ 7425 h 10000"/>
                    <a:gd name="connsiteX135" fmla="*/ 5667 w 10000"/>
                    <a:gd name="connsiteY135" fmla="*/ 7425 h 10000"/>
                    <a:gd name="connsiteX136" fmla="*/ 5500 w 10000"/>
                    <a:gd name="connsiteY136" fmla="*/ 7443 h 10000"/>
                    <a:gd name="connsiteX137" fmla="*/ 5500 w 10000"/>
                    <a:gd name="connsiteY137" fmla="*/ 7443 h 10000"/>
                    <a:gd name="connsiteX138" fmla="*/ 4889 w 10000"/>
                    <a:gd name="connsiteY138" fmla="*/ 7584 h 10000"/>
                    <a:gd name="connsiteX139" fmla="*/ 4611 w 10000"/>
                    <a:gd name="connsiteY139" fmla="*/ 7626 h 10000"/>
                    <a:gd name="connsiteX140" fmla="*/ 4556 w 10000"/>
                    <a:gd name="connsiteY140" fmla="*/ 7646 h 10000"/>
                    <a:gd name="connsiteX141" fmla="*/ 4500 w 10000"/>
                    <a:gd name="connsiteY141" fmla="*/ 7626 h 10000"/>
                    <a:gd name="connsiteX142" fmla="*/ 4500 w 10000"/>
                    <a:gd name="connsiteY142" fmla="*/ 7626 h 10000"/>
                    <a:gd name="connsiteX143" fmla="*/ 4222 w 10000"/>
                    <a:gd name="connsiteY143" fmla="*/ 7425 h 10000"/>
                    <a:gd name="connsiteX144" fmla="*/ 4222 w 10000"/>
                    <a:gd name="connsiteY144" fmla="*/ 7425 h 10000"/>
                    <a:gd name="connsiteX145" fmla="*/ 4111 w 10000"/>
                    <a:gd name="connsiteY145" fmla="*/ 7326 h 10000"/>
                    <a:gd name="connsiteX146" fmla="*/ 4111 w 10000"/>
                    <a:gd name="connsiteY146" fmla="*/ 7265 h 10000"/>
                    <a:gd name="connsiteX147" fmla="*/ 4111 w 10000"/>
                    <a:gd name="connsiteY147" fmla="*/ 7205 h 10000"/>
                    <a:gd name="connsiteX148" fmla="*/ 4111 w 10000"/>
                    <a:gd name="connsiteY148" fmla="*/ 7205 h 10000"/>
                    <a:gd name="connsiteX149" fmla="*/ 4278 w 10000"/>
                    <a:gd name="connsiteY149" fmla="*/ 7145 h 10000"/>
                    <a:gd name="connsiteX150" fmla="*/ 4389 w 10000"/>
                    <a:gd name="connsiteY150" fmla="*/ 7126 h 10000"/>
                    <a:gd name="connsiteX151" fmla="*/ 4389 w 10000"/>
                    <a:gd name="connsiteY151" fmla="*/ 7126 h 10000"/>
                    <a:gd name="connsiteX152" fmla="*/ 4000 w 10000"/>
                    <a:gd name="connsiteY152" fmla="*/ 7126 h 10000"/>
                    <a:gd name="connsiteX153" fmla="*/ 3722 w 10000"/>
                    <a:gd name="connsiteY153" fmla="*/ 7145 h 10000"/>
                    <a:gd name="connsiteX154" fmla="*/ 3611 w 10000"/>
                    <a:gd name="connsiteY154" fmla="*/ 7166 h 10000"/>
                    <a:gd name="connsiteX155" fmla="*/ 3556 w 10000"/>
                    <a:gd name="connsiteY155" fmla="*/ 7187 h 10000"/>
                    <a:gd name="connsiteX156" fmla="*/ 3556 w 10000"/>
                    <a:gd name="connsiteY156" fmla="*/ 7187 h 10000"/>
                    <a:gd name="connsiteX157" fmla="*/ 3444 w 10000"/>
                    <a:gd name="connsiteY157" fmla="*/ 7265 h 10000"/>
                    <a:gd name="connsiteX158" fmla="*/ 3278 w 10000"/>
                    <a:gd name="connsiteY158" fmla="*/ 7386 h 10000"/>
                    <a:gd name="connsiteX159" fmla="*/ 3000 w 10000"/>
                    <a:gd name="connsiteY159" fmla="*/ 7525 h 10000"/>
                    <a:gd name="connsiteX160" fmla="*/ 2667 w 10000"/>
                    <a:gd name="connsiteY160" fmla="*/ 7626 h 10000"/>
                    <a:gd name="connsiteX161" fmla="*/ 2667 w 10000"/>
                    <a:gd name="connsiteY161" fmla="*/ 7626 h 10000"/>
                    <a:gd name="connsiteX162" fmla="*/ 2333 w 10000"/>
                    <a:gd name="connsiteY162" fmla="*/ 7706 h 10000"/>
                    <a:gd name="connsiteX163" fmla="*/ 1833 w 10000"/>
                    <a:gd name="connsiteY163" fmla="*/ 7786 h 10000"/>
                    <a:gd name="connsiteX164" fmla="*/ 1389 w 10000"/>
                    <a:gd name="connsiteY164" fmla="*/ 7826 h 10000"/>
                    <a:gd name="connsiteX165" fmla="*/ 889 w 10000"/>
                    <a:gd name="connsiteY165" fmla="*/ 7845 h 10000"/>
                    <a:gd name="connsiteX166" fmla="*/ 889 w 10000"/>
                    <a:gd name="connsiteY166" fmla="*/ 7845 h 10000"/>
                    <a:gd name="connsiteX167" fmla="*/ 500 w 10000"/>
                    <a:gd name="connsiteY167" fmla="*/ 7867 h 10000"/>
                    <a:gd name="connsiteX168" fmla="*/ 222 w 10000"/>
                    <a:gd name="connsiteY168" fmla="*/ 7885 h 10000"/>
                    <a:gd name="connsiteX169" fmla="*/ 0 w 10000"/>
                    <a:gd name="connsiteY169" fmla="*/ 7904 h 10000"/>
                    <a:gd name="connsiteX170" fmla="*/ 0 w 10000"/>
                    <a:gd name="connsiteY170" fmla="*/ 7904 h 10000"/>
                    <a:gd name="connsiteX171" fmla="*/ 278 w 10000"/>
                    <a:gd name="connsiteY171" fmla="*/ 8225 h 10000"/>
                    <a:gd name="connsiteX172" fmla="*/ 500 w 10000"/>
                    <a:gd name="connsiteY172" fmla="*/ 8461 h 10000"/>
                    <a:gd name="connsiteX173" fmla="*/ 722 w 10000"/>
                    <a:gd name="connsiteY173" fmla="*/ 8662 h 10000"/>
                    <a:gd name="connsiteX174" fmla="*/ 722 w 10000"/>
                    <a:gd name="connsiteY174" fmla="*/ 8662 h 10000"/>
                    <a:gd name="connsiteX175" fmla="*/ 889 w 10000"/>
                    <a:gd name="connsiteY175" fmla="*/ 8783 h 10000"/>
                    <a:gd name="connsiteX176" fmla="*/ 944 w 10000"/>
                    <a:gd name="connsiteY176" fmla="*/ 8884 h 10000"/>
                    <a:gd name="connsiteX177" fmla="*/ 1111 w 10000"/>
                    <a:gd name="connsiteY177" fmla="*/ 8985 h 10000"/>
                    <a:gd name="connsiteX178" fmla="*/ 1333 w 10000"/>
                    <a:gd name="connsiteY178" fmla="*/ 9140 h 10000"/>
                    <a:gd name="connsiteX179" fmla="*/ 1333 w 10000"/>
                    <a:gd name="connsiteY179" fmla="*/ 9140 h 10000"/>
                    <a:gd name="connsiteX180" fmla="*/ 1444 w 10000"/>
                    <a:gd name="connsiteY180" fmla="*/ 9222 h 10000"/>
                    <a:gd name="connsiteX181" fmla="*/ 1500 w 10000"/>
                    <a:gd name="connsiteY181" fmla="*/ 9281 h 10000"/>
                    <a:gd name="connsiteX182" fmla="*/ 1500 w 10000"/>
                    <a:gd name="connsiteY182" fmla="*/ 9339 h 10000"/>
                    <a:gd name="connsiteX183" fmla="*/ 1556 w 10000"/>
                    <a:gd name="connsiteY183" fmla="*/ 9363 h 10000"/>
                    <a:gd name="connsiteX184" fmla="*/ 1722 w 10000"/>
                    <a:gd name="connsiteY184" fmla="*/ 9380 h 10000"/>
                    <a:gd name="connsiteX185" fmla="*/ 1944 w 10000"/>
                    <a:gd name="connsiteY185" fmla="*/ 9400 h 10000"/>
                    <a:gd name="connsiteX186" fmla="*/ 2944 w 10000"/>
                    <a:gd name="connsiteY186" fmla="*/ 9421 h 10000"/>
                    <a:gd name="connsiteX187" fmla="*/ 2944 w 10000"/>
                    <a:gd name="connsiteY187" fmla="*/ 9421 h 10000"/>
                    <a:gd name="connsiteX188" fmla="*/ 4167 w 10000"/>
                    <a:gd name="connsiteY188" fmla="*/ 9461 h 10000"/>
                    <a:gd name="connsiteX189" fmla="*/ 4889 w 10000"/>
                    <a:gd name="connsiteY189" fmla="*/ 9520 h 10000"/>
                    <a:gd name="connsiteX190" fmla="*/ 5278 w 10000"/>
                    <a:gd name="connsiteY190" fmla="*/ 9582 h 10000"/>
                    <a:gd name="connsiteX191" fmla="*/ 5444 w 10000"/>
                    <a:gd name="connsiteY191" fmla="*/ 9598 h 10000"/>
                    <a:gd name="connsiteX192" fmla="*/ 5444 w 10000"/>
                    <a:gd name="connsiteY192" fmla="*/ 9598 h 10000"/>
                    <a:gd name="connsiteX193" fmla="*/ 5722 w 10000"/>
                    <a:gd name="connsiteY193" fmla="*/ 9643 h 10000"/>
                    <a:gd name="connsiteX194" fmla="*/ 5833 w 10000"/>
                    <a:gd name="connsiteY194" fmla="*/ 9664 h 10000"/>
                    <a:gd name="connsiteX195" fmla="*/ 5833 w 10000"/>
                    <a:gd name="connsiteY195" fmla="*/ 9664 h 10000"/>
                    <a:gd name="connsiteX196" fmla="*/ 5833 w 10000"/>
                    <a:gd name="connsiteY196" fmla="*/ 9643 h 10000"/>
                    <a:gd name="connsiteX197" fmla="*/ 5889 w 10000"/>
                    <a:gd name="connsiteY197" fmla="*/ 9621 h 10000"/>
                    <a:gd name="connsiteX198" fmla="*/ 6000 w 10000"/>
                    <a:gd name="connsiteY198" fmla="*/ 9598 h 10000"/>
                    <a:gd name="connsiteX199" fmla="*/ 6167 w 10000"/>
                    <a:gd name="connsiteY199" fmla="*/ 9582 h 10000"/>
                    <a:gd name="connsiteX200" fmla="*/ 6444 w 10000"/>
                    <a:gd name="connsiteY200" fmla="*/ 9582 h 10000"/>
                    <a:gd name="connsiteX201" fmla="*/ 6833 w 10000"/>
                    <a:gd name="connsiteY201" fmla="*/ 9598 h 10000"/>
                    <a:gd name="connsiteX202" fmla="*/ 7278 w 10000"/>
                    <a:gd name="connsiteY202" fmla="*/ 9664 h 10000"/>
                    <a:gd name="connsiteX203" fmla="*/ 7278 w 10000"/>
                    <a:gd name="connsiteY203" fmla="*/ 9664 h 10000"/>
                    <a:gd name="connsiteX204" fmla="*/ 8722 w 10000"/>
                    <a:gd name="connsiteY204" fmla="*/ 9838 h 10000"/>
                    <a:gd name="connsiteX205" fmla="*/ 10000 w 10000"/>
                    <a:gd name="connsiteY205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6556 w 10000"/>
                    <a:gd name="connsiteY71" fmla="*/ 3631 h 10000"/>
                    <a:gd name="connsiteX72" fmla="*/ 6556 w 10000"/>
                    <a:gd name="connsiteY72" fmla="*/ 3492 h 10000"/>
                    <a:gd name="connsiteX73" fmla="*/ 5333 w 10000"/>
                    <a:gd name="connsiteY73" fmla="*/ 2712 h 10000"/>
                    <a:gd name="connsiteX74" fmla="*/ 5333 w 10000"/>
                    <a:gd name="connsiteY74" fmla="*/ 2712 h 10000"/>
                    <a:gd name="connsiteX75" fmla="*/ 5167 w 10000"/>
                    <a:gd name="connsiteY75" fmla="*/ 2652 h 10000"/>
                    <a:gd name="connsiteX76" fmla="*/ 4889 w 10000"/>
                    <a:gd name="connsiteY76" fmla="*/ 2573 h 10000"/>
                    <a:gd name="connsiteX77" fmla="*/ 4056 w 10000"/>
                    <a:gd name="connsiteY77" fmla="*/ 2395 h 10000"/>
                    <a:gd name="connsiteX78" fmla="*/ 2889 w 10000"/>
                    <a:gd name="connsiteY78" fmla="*/ 2176 h 10000"/>
                    <a:gd name="connsiteX79" fmla="*/ 2889 w 10000"/>
                    <a:gd name="connsiteY79" fmla="*/ 2176 h 10000"/>
                    <a:gd name="connsiteX80" fmla="*/ 2389 w 10000"/>
                    <a:gd name="connsiteY80" fmla="*/ 2154 h 10000"/>
                    <a:gd name="connsiteX81" fmla="*/ 2000 w 10000"/>
                    <a:gd name="connsiteY81" fmla="*/ 2135 h 10000"/>
                    <a:gd name="connsiteX82" fmla="*/ 1889 w 10000"/>
                    <a:gd name="connsiteY82" fmla="*/ 2116 h 10000"/>
                    <a:gd name="connsiteX83" fmla="*/ 1778 w 10000"/>
                    <a:gd name="connsiteY83" fmla="*/ 2094 h 10000"/>
                    <a:gd name="connsiteX84" fmla="*/ 1778 w 10000"/>
                    <a:gd name="connsiteY84" fmla="*/ 2094 h 10000"/>
                    <a:gd name="connsiteX85" fmla="*/ 1667 w 10000"/>
                    <a:gd name="connsiteY85" fmla="*/ 2016 h 10000"/>
                    <a:gd name="connsiteX86" fmla="*/ 1500 w 10000"/>
                    <a:gd name="connsiteY86" fmla="*/ 1876 h 10000"/>
                    <a:gd name="connsiteX87" fmla="*/ 1444 w 10000"/>
                    <a:gd name="connsiteY87" fmla="*/ 1796 h 10000"/>
                    <a:gd name="connsiteX88" fmla="*/ 1444 w 10000"/>
                    <a:gd name="connsiteY88" fmla="*/ 1716 h 10000"/>
                    <a:gd name="connsiteX89" fmla="*/ 1444 w 10000"/>
                    <a:gd name="connsiteY89" fmla="*/ 1656 h 10000"/>
                    <a:gd name="connsiteX90" fmla="*/ 1556 w 10000"/>
                    <a:gd name="connsiteY90" fmla="*/ 1596 h 10000"/>
                    <a:gd name="connsiteX91" fmla="*/ 1556 w 10000"/>
                    <a:gd name="connsiteY91" fmla="*/ 1596 h 10000"/>
                    <a:gd name="connsiteX92" fmla="*/ 1833 w 10000"/>
                    <a:gd name="connsiteY92" fmla="*/ 1497 h 10000"/>
                    <a:gd name="connsiteX93" fmla="*/ 2111 w 10000"/>
                    <a:gd name="connsiteY93" fmla="*/ 1394 h 10000"/>
                    <a:gd name="connsiteX94" fmla="*/ 2278 w 10000"/>
                    <a:gd name="connsiteY94" fmla="*/ 1337 h 10000"/>
                    <a:gd name="connsiteX95" fmla="*/ 2389 w 10000"/>
                    <a:gd name="connsiteY95" fmla="*/ 1278 h 10000"/>
                    <a:gd name="connsiteX96" fmla="*/ 2389 w 10000"/>
                    <a:gd name="connsiteY96" fmla="*/ 1197 h 10000"/>
                    <a:gd name="connsiteX97" fmla="*/ 2389 w 10000"/>
                    <a:gd name="connsiteY97" fmla="*/ 1099 h 10000"/>
                    <a:gd name="connsiteX98" fmla="*/ 2389 w 10000"/>
                    <a:gd name="connsiteY98" fmla="*/ 1099 h 10000"/>
                    <a:gd name="connsiteX99" fmla="*/ 2167 w 10000"/>
                    <a:gd name="connsiteY99" fmla="*/ 818 h 10000"/>
                    <a:gd name="connsiteX100" fmla="*/ 1889 w 10000"/>
                    <a:gd name="connsiteY100" fmla="*/ 438 h 10000"/>
                    <a:gd name="connsiteX101" fmla="*/ 1667 w 10000"/>
                    <a:gd name="connsiteY101" fmla="*/ 99 h 10000"/>
                    <a:gd name="connsiteX102" fmla="*/ 1611 w 10000"/>
                    <a:gd name="connsiteY102" fmla="*/ 0 h 10000"/>
                    <a:gd name="connsiteX103" fmla="*/ 10000 w 10000"/>
                    <a:gd name="connsiteY103" fmla="*/ 8662 h 10000"/>
                    <a:gd name="connsiteX104" fmla="*/ 10000 w 10000"/>
                    <a:gd name="connsiteY104" fmla="*/ 8662 h 10000"/>
                    <a:gd name="connsiteX105" fmla="*/ 9722 w 10000"/>
                    <a:gd name="connsiteY105" fmla="*/ 8641 h 10000"/>
                    <a:gd name="connsiteX106" fmla="*/ 9389 w 10000"/>
                    <a:gd name="connsiteY106" fmla="*/ 8662 h 10000"/>
                    <a:gd name="connsiteX107" fmla="*/ 9389 w 10000"/>
                    <a:gd name="connsiteY107" fmla="*/ 8662 h 10000"/>
                    <a:gd name="connsiteX108" fmla="*/ 9278 w 10000"/>
                    <a:gd name="connsiteY108" fmla="*/ 8686 h 10000"/>
                    <a:gd name="connsiteX109" fmla="*/ 9056 w 10000"/>
                    <a:gd name="connsiteY109" fmla="*/ 8662 h 10000"/>
                    <a:gd name="connsiteX110" fmla="*/ 8889 w 10000"/>
                    <a:gd name="connsiteY110" fmla="*/ 8641 h 10000"/>
                    <a:gd name="connsiteX111" fmla="*/ 8722 w 10000"/>
                    <a:gd name="connsiteY111" fmla="*/ 8603 h 10000"/>
                    <a:gd name="connsiteX112" fmla="*/ 8611 w 10000"/>
                    <a:gd name="connsiteY112" fmla="*/ 8541 h 10000"/>
                    <a:gd name="connsiteX113" fmla="*/ 8444 w 10000"/>
                    <a:gd name="connsiteY113" fmla="*/ 8442 h 10000"/>
                    <a:gd name="connsiteX114" fmla="*/ 8444 w 10000"/>
                    <a:gd name="connsiteY114" fmla="*/ 8442 h 10000"/>
                    <a:gd name="connsiteX115" fmla="*/ 8222 w 10000"/>
                    <a:gd name="connsiteY115" fmla="*/ 8265 h 10000"/>
                    <a:gd name="connsiteX116" fmla="*/ 8111 w 10000"/>
                    <a:gd name="connsiteY116" fmla="*/ 8185 h 10000"/>
                    <a:gd name="connsiteX117" fmla="*/ 7944 w 10000"/>
                    <a:gd name="connsiteY117" fmla="*/ 8125 h 10000"/>
                    <a:gd name="connsiteX118" fmla="*/ 7778 w 10000"/>
                    <a:gd name="connsiteY118" fmla="*/ 8086 h 10000"/>
                    <a:gd name="connsiteX119" fmla="*/ 7556 w 10000"/>
                    <a:gd name="connsiteY119" fmla="*/ 8062 h 10000"/>
                    <a:gd name="connsiteX120" fmla="*/ 7333 w 10000"/>
                    <a:gd name="connsiteY120" fmla="*/ 8045 h 10000"/>
                    <a:gd name="connsiteX121" fmla="*/ 7000 w 10000"/>
                    <a:gd name="connsiteY121" fmla="*/ 8022 h 10000"/>
                    <a:gd name="connsiteX122" fmla="*/ 7000 w 10000"/>
                    <a:gd name="connsiteY122" fmla="*/ 8022 h 10000"/>
                    <a:gd name="connsiteX123" fmla="*/ 6556 w 10000"/>
                    <a:gd name="connsiteY123" fmla="*/ 8045 h 10000"/>
                    <a:gd name="connsiteX124" fmla="*/ 6222 w 10000"/>
                    <a:gd name="connsiteY124" fmla="*/ 8045 h 10000"/>
                    <a:gd name="connsiteX125" fmla="*/ 6111 w 10000"/>
                    <a:gd name="connsiteY125" fmla="*/ 8022 h 10000"/>
                    <a:gd name="connsiteX126" fmla="*/ 6056 w 10000"/>
                    <a:gd name="connsiteY126" fmla="*/ 8003 h 10000"/>
                    <a:gd name="connsiteX127" fmla="*/ 6056 w 10000"/>
                    <a:gd name="connsiteY127" fmla="*/ 8003 h 10000"/>
                    <a:gd name="connsiteX128" fmla="*/ 6056 w 10000"/>
                    <a:gd name="connsiteY128" fmla="*/ 7646 h 10000"/>
                    <a:gd name="connsiteX129" fmla="*/ 6056 w 10000"/>
                    <a:gd name="connsiteY129" fmla="*/ 7646 h 10000"/>
                    <a:gd name="connsiteX130" fmla="*/ 6056 w 10000"/>
                    <a:gd name="connsiteY130" fmla="*/ 7563 h 10000"/>
                    <a:gd name="connsiteX131" fmla="*/ 5944 w 10000"/>
                    <a:gd name="connsiteY131" fmla="*/ 7464 h 10000"/>
                    <a:gd name="connsiteX132" fmla="*/ 5889 w 10000"/>
                    <a:gd name="connsiteY132" fmla="*/ 7443 h 10000"/>
                    <a:gd name="connsiteX133" fmla="*/ 5778 w 10000"/>
                    <a:gd name="connsiteY133" fmla="*/ 7425 h 10000"/>
                    <a:gd name="connsiteX134" fmla="*/ 5667 w 10000"/>
                    <a:gd name="connsiteY134" fmla="*/ 7425 h 10000"/>
                    <a:gd name="connsiteX135" fmla="*/ 5500 w 10000"/>
                    <a:gd name="connsiteY135" fmla="*/ 7443 h 10000"/>
                    <a:gd name="connsiteX136" fmla="*/ 5500 w 10000"/>
                    <a:gd name="connsiteY136" fmla="*/ 7443 h 10000"/>
                    <a:gd name="connsiteX137" fmla="*/ 4889 w 10000"/>
                    <a:gd name="connsiteY137" fmla="*/ 7584 h 10000"/>
                    <a:gd name="connsiteX138" fmla="*/ 4611 w 10000"/>
                    <a:gd name="connsiteY138" fmla="*/ 7626 h 10000"/>
                    <a:gd name="connsiteX139" fmla="*/ 4556 w 10000"/>
                    <a:gd name="connsiteY139" fmla="*/ 7646 h 10000"/>
                    <a:gd name="connsiteX140" fmla="*/ 4500 w 10000"/>
                    <a:gd name="connsiteY140" fmla="*/ 7626 h 10000"/>
                    <a:gd name="connsiteX141" fmla="*/ 4500 w 10000"/>
                    <a:gd name="connsiteY141" fmla="*/ 7626 h 10000"/>
                    <a:gd name="connsiteX142" fmla="*/ 4222 w 10000"/>
                    <a:gd name="connsiteY142" fmla="*/ 7425 h 10000"/>
                    <a:gd name="connsiteX143" fmla="*/ 4222 w 10000"/>
                    <a:gd name="connsiteY143" fmla="*/ 7425 h 10000"/>
                    <a:gd name="connsiteX144" fmla="*/ 4111 w 10000"/>
                    <a:gd name="connsiteY144" fmla="*/ 7326 h 10000"/>
                    <a:gd name="connsiteX145" fmla="*/ 4111 w 10000"/>
                    <a:gd name="connsiteY145" fmla="*/ 7265 h 10000"/>
                    <a:gd name="connsiteX146" fmla="*/ 4111 w 10000"/>
                    <a:gd name="connsiteY146" fmla="*/ 7205 h 10000"/>
                    <a:gd name="connsiteX147" fmla="*/ 4111 w 10000"/>
                    <a:gd name="connsiteY147" fmla="*/ 7205 h 10000"/>
                    <a:gd name="connsiteX148" fmla="*/ 4278 w 10000"/>
                    <a:gd name="connsiteY148" fmla="*/ 7145 h 10000"/>
                    <a:gd name="connsiteX149" fmla="*/ 4389 w 10000"/>
                    <a:gd name="connsiteY149" fmla="*/ 7126 h 10000"/>
                    <a:gd name="connsiteX150" fmla="*/ 4389 w 10000"/>
                    <a:gd name="connsiteY150" fmla="*/ 7126 h 10000"/>
                    <a:gd name="connsiteX151" fmla="*/ 4000 w 10000"/>
                    <a:gd name="connsiteY151" fmla="*/ 7126 h 10000"/>
                    <a:gd name="connsiteX152" fmla="*/ 3722 w 10000"/>
                    <a:gd name="connsiteY152" fmla="*/ 7145 h 10000"/>
                    <a:gd name="connsiteX153" fmla="*/ 3611 w 10000"/>
                    <a:gd name="connsiteY153" fmla="*/ 7166 h 10000"/>
                    <a:gd name="connsiteX154" fmla="*/ 3556 w 10000"/>
                    <a:gd name="connsiteY154" fmla="*/ 7187 h 10000"/>
                    <a:gd name="connsiteX155" fmla="*/ 3556 w 10000"/>
                    <a:gd name="connsiteY155" fmla="*/ 7187 h 10000"/>
                    <a:gd name="connsiteX156" fmla="*/ 3444 w 10000"/>
                    <a:gd name="connsiteY156" fmla="*/ 7265 h 10000"/>
                    <a:gd name="connsiteX157" fmla="*/ 3278 w 10000"/>
                    <a:gd name="connsiteY157" fmla="*/ 7386 h 10000"/>
                    <a:gd name="connsiteX158" fmla="*/ 3000 w 10000"/>
                    <a:gd name="connsiteY158" fmla="*/ 7525 h 10000"/>
                    <a:gd name="connsiteX159" fmla="*/ 2667 w 10000"/>
                    <a:gd name="connsiteY159" fmla="*/ 7626 h 10000"/>
                    <a:gd name="connsiteX160" fmla="*/ 2667 w 10000"/>
                    <a:gd name="connsiteY160" fmla="*/ 7626 h 10000"/>
                    <a:gd name="connsiteX161" fmla="*/ 2333 w 10000"/>
                    <a:gd name="connsiteY161" fmla="*/ 7706 h 10000"/>
                    <a:gd name="connsiteX162" fmla="*/ 1833 w 10000"/>
                    <a:gd name="connsiteY162" fmla="*/ 7786 h 10000"/>
                    <a:gd name="connsiteX163" fmla="*/ 1389 w 10000"/>
                    <a:gd name="connsiteY163" fmla="*/ 7826 h 10000"/>
                    <a:gd name="connsiteX164" fmla="*/ 889 w 10000"/>
                    <a:gd name="connsiteY164" fmla="*/ 7845 h 10000"/>
                    <a:gd name="connsiteX165" fmla="*/ 889 w 10000"/>
                    <a:gd name="connsiteY165" fmla="*/ 7845 h 10000"/>
                    <a:gd name="connsiteX166" fmla="*/ 500 w 10000"/>
                    <a:gd name="connsiteY166" fmla="*/ 7867 h 10000"/>
                    <a:gd name="connsiteX167" fmla="*/ 222 w 10000"/>
                    <a:gd name="connsiteY167" fmla="*/ 7885 h 10000"/>
                    <a:gd name="connsiteX168" fmla="*/ 0 w 10000"/>
                    <a:gd name="connsiteY168" fmla="*/ 7904 h 10000"/>
                    <a:gd name="connsiteX169" fmla="*/ 0 w 10000"/>
                    <a:gd name="connsiteY169" fmla="*/ 7904 h 10000"/>
                    <a:gd name="connsiteX170" fmla="*/ 278 w 10000"/>
                    <a:gd name="connsiteY170" fmla="*/ 8225 h 10000"/>
                    <a:gd name="connsiteX171" fmla="*/ 500 w 10000"/>
                    <a:gd name="connsiteY171" fmla="*/ 8461 h 10000"/>
                    <a:gd name="connsiteX172" fmla="*/ 722 w 10000"/>
                    <a:gd name="connsiteY172" fmla="*/ 8662 h 10000"/>
                    <a:gd name="connsiteX173" fmla="*/ 722 w 10000"/>
                    <a:gd name="connsiteY173" fmla="*/ 8662 h 10000"/>
                    <a:gd name="connsiteX174" fmla="*/ 889 w 10000"/>
                    <a:gd name="connsiteY174" fmla="*/ 8783 h 10000"/>
                    <a:gd name="connsiteX175" fmla="*/ 944 w 10000"/>
                    <a:gd name="connsiteY175" fmla="*/ 8884 h 10000"/>
                    <a:gd name="connsiteX176" fmla="*/ 1111 w 10000"/>
                    <a:gd name="connsiteY176" fmla="*/ 8985 h 10000"/>
                    <a:gd name="connsiteX177" fmla="*/ 1333 w 10000"/>
                    <a:gd name="connsiteY177" fmla="*/ 9140 h 10000"/>
                    <a:gd name="connsiteX178" fmla="*/ 1333 w 10000"/>
                    <a:gd name="connsiteY178" fmla="*/ 9140 h 10000"/>
                    <a:gd name="connsiteX179" fmla="*/ 1444 w 10000"/>
                    <a:gd name="connsiteY179" fmla="*/ 9222 h 10000"/>
                    <a:gd name="connsiteX180" fmla="*/ 1500 w 10000"/>
                    <a:gd name="connsiteY180" fmla="*/ 9281 h 10000"/>
                    <a:gd name="connsiteX181" fmla="*/ 1500 w 10000"/>
                    <a:gd name="connsiteY181" fmla="*/ 9339 h 10000"/>
                    <a:gd name="connsiteX182" fmla="*/ 1556 w 10000"/>
                    <a:gd name="connsiteY182" fmla="*/ 9363 h 10000"/>
                    <a:gd name="connsiteX183" fmla="*/ 1722 w 10000"/>
                    <a:gd name="connsiteY183" fmla="*/ 9380 h 10000"/>
                    <a:gd name="connsiteX184" fmla="*/ 1944 w 10000"/>
                    <a:gd name="connsiteY184" fmla="*/ 9400 h 10000"/>
                    <a:gd name="connsiteX185" fmla="*/ 2944 w 10000"/>
                    <a:gd name="connsiteY185" fmla="*/ 9421 h 10000"/>
                    <a:gd name="connsiteX186" fmla="*/ 2944 w 10000"/>
                    <a:gd name="connsiteY186" fmla="*/ 9421 h 10000"/>
                    <a:gd name="connsiteX187" fmla="*/ 4167 w 10000"/>
                    <a:gd name="connsiteY187" fmla="*/ 9461 h 10000"/>
                    <a:gd name="connsiteX188" fmla="*/ 4889 w 10000"/>
                    <a:gd name="connsiteY188" fmla="*/ 9520 h 10000"/>
                    <a:gd name="connsiteX189" fmla="*/ 5278 w 10000"/>
                    <a:gd name="connsiteY189" fmla="*/ 9582 h 10000"/>
                    <a:gd name="connsiteX190" fmla="*/ 5444 w 10000"/>
                    <a:gd name="connsiteY190" fmla="*/ 9598 h 10000"/>
                    <a:gd name="connsiteX191" fmla="*/ 5444 w 10000"/>
                    <a:gd name="connsiteY191" fmla="*/ 9598 h 10000"/>
                    <a:gd name="connsiteX192" fmla="*/ 5722 w 10000"/>
                    <a:gd name="connsiteY192" fmla="*/ 9643 h 10000"/>
                    <a:gd name="connsiteX193" fmla="*/ 5833 w 10000"/>
                    <a:gd name="connsiteY193" fmla="*/ 9664 h 10000"/>
                    <a:gd name="connsiteX194" fmla="*/ 5833 w 10000"/>
                    <a:gd name="connsiteY194" fmla="*/ 9664 h 10000"/>
                    <a:gd name="connsiteX195" fmla="*/ 5833 w 10000"/>
                    <a:gd name="connsiteY195" fmla="*/ 9643 h 10000"/>
                    <a:gd name="connsiteX196" fmla="*/ 5889 w 10000"/>
                    <a:gd name="connsiteY196" fmla="*/ 9621 h 10000"/>
                    <a:gd name="connsiteX197" fmla="*/ 6000 w 10000"/>
                    <a:gd name="connsiteY197" fmla="*/ 9598 h 10000"/>
                    <a:gd name="connsiteX198" fmla="*/ 6167 w 10000"/>
                    <a:gd name="connsiteY198" fmla="*/ 9582 h 10000"/>
                    <a:gd name="connsiteX199" fmla="*/ 6444 w 10000"/>
                    <a:gd name="connsiteY199" fmla="*/ 9582 h 10000"/>
                    <a:gd name="connsiteX200" fmla="*/ 6833 w 10000"/>
                    <a:gd name="connsiteY200" fmla="*/ 9598 h 10000"/>
                    <a:gd name="connsiteX201" fmla="*/ 7278 w 10000"/>
                    <a:gd name="connsiteY201" fmla="*/ 9664 h 10000"/>
                    <a:gd name="connsiteX202" fmla="*/ 7278 w 10000"/>
                    <a:gd name="connsiteY202" fmla="*/ 9664 h 10000"/>
                    <a:gd name="connsiteX203" fmla="*/ 8722 w 10000"/>
                    <a:gd name="connsiteY203" fmla="*/ 9838 h 10000"/>
                    <a:gd name="connsiteX204" fmla="*/ 10000 w 10000"/>
                    <a:gd name="connsiteY204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6556 w 10000"/>
                    <a:gd name="connsiteY71" fmla="*/ 3631 h 10000"/>
                    <a:gd name="connsiteX72" fmla="*/ 5333 w 10000"/>
                    <a:gd name="connsiteY72" fmla="*/ 2712 h 10000"/>
                    <a:gd name="connsiteX73" fmla="*/ 5333 w 10000"/>
                    <a:gd name="connsiteY73" fmla="*/ 2712 h 10000"/>
                    <a:gd name="connsiteX74" fmla="*/ 5167 w 10000"/>
                    <a:gd name="connsiteY74" fmla="*/ 2652 h 10000"/>
                    <a:gd name="connsiteX75" fmla="*/ 4889 w 10000"/>
                    <a:gd name="connsiteY75" fmla="*/ 2573 h 10000"/>
                    <a:gd name="connsiteX76" fmla="*/ 4056 w 10000"/>
                    <a:gd name="connsiteY76" fmla="*/ 2395 h 10000"/>
                    <a:gd name="connsiteX77" fmla="*/ 2889 w 10000"/>
                    <a:gd name="connsiteY77" fmla="*/ 2176 h 10000"/>
                    <a:gd name="connsiteX78" fmla="*/ 2889 w 10000"/>
                    <a:gd name="connsiteY78" fmla="*/ 2176 h 10000"/>
                    <a:gd name="connsiteX79" fmla="*/ 2389 w 10000"/>
                    <a:gd name="connsiteY79" fmla="*/ 2154 h 10000"/>
                    <a:gd name="connsiteX80" fmla="*/ 2000 w 10000"/>
                    <a:gd name="connsiteY80" fmla="*/ 2135 h 10000"/>
                    <a:gd name="connsiteX81" fmla="*/ 1889 w 10000"/>
                    <a:gd name="connsiteY81" fmla="*/ 2116 h 10000"/>
                    <a:gd name="connsiteX82" fmla="*/ 1778 w 10000"/>
                    <a:gd name="connsiteY82" fmla="*/ 2094 h 10000"/>
                    <a:gd name="connsiteX83" fmla="*/ 1778 w 10000"/>
                    <a:gd name="connsiteY83" fmla="*/ 2094 h 10000"/>
                    <a:gd name="connsiteX84" fmla="*/ 1667 w 10000"/>
                    <a:gd name="connsiteY84" fmla="*/ 2016 h 10000"/>
                    <a:gd name="connsiteX85" fmla="*/ 1500 w 10000"/>
                    <a:gd name="connsiteY85" fmla="*/ 1876 h 10000"/>
                    <a:gd name="connsiteX86" fmla="*/ 1444 w 10000"/>
                    <a:gd name="connsiteY86" fmla="*/ 1796 h 10000"/>
                    <a:gd name="connsiteX87" fmla="*/ 1444 w 10000"/>
                    <a:gd name="connsiteY87" fmla="*/ 1716 h 10000"/>
                    <a:gd name="connsiteX88" fmla="*/ 1444 w 10000"/>
                    <a:gd name="connsiteY88" fmla="*/ 1656 h 10000"/>
                    <a:gd name="connsiteX89" fmla="*/ 1556 w 10000"/>
                    <a:gd name="connsiteY89" fmla="*/ 1596 h 10000"/>
                    <a:gd name="connsiteX90" fmla="*/ 1556 w 10000"/>
                    <a:gd name="connsiteY90" fmla="*/ 1596 h 10000"/>
                    <a:gd name="connsiteX91" fmla="*/ 1833 w 10000"/>
                    <a:gd name="connsiteY91" fmla="*/ 1497 h 10000"/>
                    <a:gd name="connsiteX92" fmla="*/ 2111 w 10000"/>
                    <a:gd name="connsiteY92" fmla="*/ 1394 h 10000"/>
                    <a:gd name="connsiteX93" fmla="*/ 2278 w 10000"/>
                    <a:gd name="connsiteY93" fmla="*/ 1337 h 10000"/>
                    <a:gd name="connsiteX94" fmla="*/ 2389 w 10000"/>
                    <a:gd name="connsiteY94" fmla="*/ 1278 h 10000"/>
                    <a:gd name="connsiteX95" fmla="*/ 2389 w 10000"/>
                    <a:gd name="connsiteY95" fmla="*/ 1197 h 10000"/>
                    <a:gd name="connsiteX96" fmla="*/ 2389 w 10000"/>
                    <a:gd name="connsiteY96" fmla="*/ 1099 h 10000"/>
                    <a:gd name="connsiteX97" fmla="*/ 2389 w 10000"/>
                    <a:gd name="connsiteY97" fmla="*/ 1099 h 10000"/>
                    <a:gd name="connsiteX98" fmla="*/ 2167 w 10000"/>
                    <a:gd name="connsiteY98" fmla="*/ 818 h 10000"/>
                    <a:gd name="connsiteX99" fmla="*/ 1889 w 10000"/>
                    <a:gd name="connsiteY99" fmla="*/ 438 h 10000"/>
                    <a:gd name="connsiteX100" fmla="*/ 1667 w 10000"/>
                    <a:gd name="connsiteY100" fmla="*/ 99 h 10000"/>
                    <a:gd name="connsiteX101" fmla="*/ 1611 w 10000"/>
                    <a:gd name="connsiteY101" fmla="*/ 0 h 10000"/>
                    <a:gd name="connsiteX102" fmla="*/ 10000 w 10000"/>
                    <a:gd name="connsiteY102" fmla="*/ 8662 h 10000"/>
                    <a:gd name="connsiteX103" fmla="*/ 10000 w 10000"/>
                    <a:gd name="connsiteY103" fmla="*/ 8662 h 10000"/>
                    <a:gd name="connsiteX104" fmla="*/ 9722 w 10000"/>
                    <a:gd name="connsiteY104" fmla="*/ 8641 h 10000"/>
                    <a:gd name="connsiteX105" fmla="*/ 9389 w 10000"/>
                    <a:gd name="connsiteY105" fmla="*/ 8662 h 10000"/>
                    <a:gd name="connsiteX106" fmla="*/ 9389 w 10000"/>
                    <a:gd name="connsiteY106" fmla="*/ 8662 h 10000"/>
                    <a:gd name="connsiteX107" fmla="*/ 9278 w 10000"/>
                    <a:gd name="connsiteY107" fmla="*/ 8686 h 10000"/>
                    <a:gd name="connsiteX108" fmla="*/ 9056 w 10000"/>
                    <a:gd name="connsiteY108" fmla="*/ 8662 h 10000"/>
                    <a:gd name="connsiteX109" fmla="*/ 8889 w 10000"/>
                    <a:gd name="connsiteY109" fmla="*/ 8641 h 10000"/>
                    <a:gd name="connsiteX110" fmla="*/ 8722 w 10000"/>
                    <a:gd name="connsiteY110" fmla="*/ 8603 h 10000"/>
                    <a:gd name="connsiteX111" fmla="*/ 8611 w 10000"/>
                    <a:gd name="connsiteY111" fmla="*/ 8541 h 10000"/>
                    <a:gd name="connsiteX112" fmla="*/ 8444 w 10000"/>
                    <a:gd name="connsiteY112" fmla="*/ 8442 h 10000"/>
                    <a:gd name="connsiteX113" fmla="*/ 8444 w 10000"/>
                    <a:gd name="connsiteY113" fmla="*/ 8442 h 10000"/>
                    <a:gd name="connsiteX114" fmla="*/ 8222 w 10000"/>
                    <a:gd name="connsiteY114" fmla="*/ 8265 h 10000"/>
                    <a:gd name="connsiteX115" fmla="*/ 8111 w 10000"/>
                    <a:gd name="connsiteY115" fmla="*/ 8185 h 10000"/>
                    <a:gd name="connsiteX116" fmla="*/ 7944 w 10000"/>
                    <a:gd name="connsiteY116" fmla="*/ 8125 h 10000"/>
                    <a:gd name="connsiteX117" fmla="*/ 7778 w 10000"/>
                    <a:gd name="connsiteY117" fmla="*/ 8086 h 10000"/>
                    <a:gd name="connsiteX118" fmla="*/ 7556 w 10000"/>
                    <a:gd name="connsiteY118" fmla="*/ 8062 h 10000"/>
                    <a:gd name="connsiteX119" fmla="*/ 7333 w 10000"/>
                    <a:gd name="connsiteY119" fmla="*/ 8045 h 10000"/>
                    <a:gd name="connsiteX120" fmla="*/ 7000 w 10000"/>
                    <a:gd name="connsiteY120" fmla="*/ 8022 h 10000"/>
                    <a:gd name="connsiteX121" fmla="*/ 7000 w 10000"/>
                    <a:gd name="connsiteY121" fmla="*/ 8022 h 10000"/>
                    <a:gd name="connsiteX122" fmla="*/ 6556 w 10000"/>
                    <a:gd name="connsiteY122" fmla="*/ 8045 h 10000"/>
                    <a:gd name="connsiteX123" fmla="*/ 6222 w 10000"/>
                    <a:gd name="connsiteY123" fmla="*/ 8045 h 10000"/>
                    <a:gd name="connsiteX124" fmla="*/ 6111 w 10000"/>
                    <a:gd name="connsiteY124" fmla="*/ 8022 h 10000"/>
                    <a:gd name="connsiteX125" fmla="*/ 6056 w 10000"/>
                    <a:gd name="connsiteY125" fmla="*/ 8003 h 10000"/>
                    <a:gd name="connsiteX126" fmla="*/ 6056 w 10000"/>
                    <a:gd name="connsiteY126" fmla="*/ 8003 h 10000"/>
                    <a:gd name="connsiteX127" fmla="*/ 6056 w 10000"/>
                    <a:gd name="connsiteY127" fmla="*/ 7646 h 10000"/>
                    <a:gd name="connsiteX128" fmla="*/ 6056 w 10000"/>
                    <a:gd name="connsiteY128" fmla="*/ 7646 h 10000"/>
                    <a:gd name="connsiteX129" fmla="*/ 6056 w 10000"/>
                    <a:gd name="connsiteY129" fmla="*/ 7563 h 10000"/>
                    <a:gd name="connsiteX130" fmla="*/ 5944 w 10000"/>
                    <a:gd name="connsiteY130" fmla="*/ 7464 h 10000"/>
                    <a:gd name="connsiteX131" fmla="*/ 5889 w 10000"/>
                    <a:gd name="connsiteY131" fmla="*/ 7443 h 10000"/>
                    <a:gd name="connsiteX132" fmla="*/ 5778 w 10000"/>
                    <a:gd name="connsiteY132" fmla="*/ 7425 h 10000"/>
                    <a:gd name="connsiteX133" fmla="*/ 5667 w 10000"/>
                    <a:gd name="connsiteY133" fmla="*/ 7425 h 10000"/>
                    <a:gd name="connsiteX134" fmla="*/ 5500 w 10000"/>
                    <a:gd name="connsiteY134" fmla="*/ 7443 h 10000"/>
                    <a:gd name="connsiteX135" fmla="*/ 5500 w 10000"/>
                    <a:gd name="connsiteY135" fmla="*/ 7443 h 10000"/>
                    <a:gd name="connsiteX136" fmla="*/ 4889 w 10000"/>
                    <a:gd name="connsiteY136" fmla="*/ 7584 h 10000"/>
                    <a:gd name="connsiteX137" fmla="*/ 4611 w 10000"/>
                    <a:gd name="connsiteY137" fmla="*/ 7626 h 10000"/>
                    <a:gd name="connsiteX138" fmla="*/ 4556 w 10000"/>
                    <a:gd name="connsiteY138" fmla="*/ 7646 h 10000"/>
                    <a:gd name="connsiteX139" fmla="*/ 4500 w 10000"/>
                    <a:gd name="connsiteY139" fmla="*/ 7626 h 10000"/>
                    <a:gd name="connsiteX140" fmla="*/ 4500 w 10000"/>
                    <a:gd name="connsiteY140" fmla="*/ 7626 h 10000"/>
                    <a:gd name="connsiteX141" fmla="*/ 4222 w 10000"/>
                    <a:gd name="connsiteY141" fmla="*/ 7425 h 10000"/>
                    <a:gd name="connsiteX142" fmla="*/ 4222 w 10000"/>
                    <a:gd name="connsiteY142" fmla="*/ 7425 h 10000"/>
                    <a:gd name="connsiteX143" fmla="*/ 4111 w 10000"/>
                    <a:gd name="connsiteY143" fmla="*/ 7326 h 10000"/>
                    <a:gd name="connsiteX144" fmla="*/ 4111 w 10000"/>
                    <a:gd name="connsiteY144" fmla="*/ 7265 h 10000"/>
                    <a:gd name="connsiteX145" fmla="*/ 4111 w 10000"/>
                    <a:gd name="connsiteY145" fmla="*/ 7205 h 10000"/>
                    <a:gd name="connsiteX146" fmla="*/ 4111 w 10000"/>
                    <a:gd name="connsiteY146" fmla="*/ 7205 h 10000"/>
                    <a:gd name="connsiteX147" fmla="*/ 4278 w 10000"/>
                    <a:gd name="connsiteY147" fmla="*/ 7145 h 10000"/>
                    <a:gd name="connsiteX148" fmla="*/ 4389 w 10000"/>
                    <a:gd name="connsiteY148" fmla="*/ 7126 h 10000"/>
                    <a:gd name="connsiteX149" fmla="*/ 4389 w 10000"/>
                    <a:gd name="connsiteY149" fmla="*/ 7126 h 10000"/>
                    <a:gd name="connsiteX150" fmla="*/ 4000 w 10000"/>
                    <a:gd name="connsiteY150" fmla="*/ 7126 h 10000"/>
                    <a:gd name="connsiteX151" fmla="*/ 3722 w 10000"/>
                    <a:gd name="connsiteY151" fmla="*/ 7145 h 10000"/>
                    <a:gd name="connsiteX152" fmla="*/ 3611 w 10000"/>
                    <a:gd name="connsiteY152" fmla="*/ 7166 h 10000"/>
                    <a:gd name="connsiteX153" fmla="*/ 3556 w 10000"/>
                    <a:gd name="connsiteY153" fmla="*/ 7187 h 10000"/>
                    <a:gd name="connsiteX154" fmla="*/ 3556 w 10000"/>
                    <a:gd name="connsiteY154" fmla="*/ 7187 h 10000"/>
                    <a:gd name="connsiteX155" fmla="*/ 3444 w 10000"/>
                    <a:gd name="connsiteY155" fmla="*/ 7265 h 10000"/>
                    <a:gd name="connsiteX156" fmla="*/ 3278 w 10000"/>
                    <a:gd name="connsiteY156" fmla="*/ 7386 h 10000"/>
                    <a:gd name="connsiteX157" fmla="*/ 3000 w 10000"/>
                    <a:gd name="connsiteY157" fmla="*/ 7525 h 10000"/>
                    <a:gd name="connsiteX158" fmla="*/ 2667 w 10000"/>
                    <a:gd name="connsiteY158" fmla="*/ 7626 h 10000"/>
                    <a:gd name="connsiteX159" fmla="*/ 2667 w 10000"/>
                    <a:gd name="connsiteY159" fmla="*/ 7626 h 10000"/>
                    <a:gd name="connsiteX160" fmla="*/ 2333 w 10000"/>
                    <a:gd name="connsiteY160" fmla="*/ 7706 h 10000"/>
                    <a:gd name="connsiteX161" fmla="*/ 1833 w 10000"/>
                    <a:gd name="connsiteY161" fmla="*/ 7786 h 10000"/>
                    <a:gd name="connsiteX162" fmla="*/ 1389 w 10000"/>
                    <a:gd name="connsiteY162" fmla="*/ 7826 h 10000"/>
                    <a:gd name="connsiteX163" fmla="*/ 889 w 10000"/>
                    <a:gd name="connsiteY163" fmla="*/ 7845 h 10000"/>
                    <a:gd name="connsiteX164" fmla="*/ 889 w 10000"/>
                    <a:gd name="connsiteY164" fmla="*/ 7845 h 10000"/>
                    <a:gd name="connsiteX165" fmla="*/ 500 w 10000"/>
                    <a:gd name="connsiteY165" fmla="*/ 7867 h 10000"/>
                    <a:gd name="connsiteX166" fmla="*/ 222 w 10000"/>
                    <a:gd name="connsiteY166" fmla="*/ 7885 h 10000"/>
                    <a:gd name="connsiteX167" fmla="*/ 0 w 10000"/>
                    <a:gd name="connsiteY167" fmla="*/ 7904 h 10000"/>
                    <a:gd name="connsiteX168" fmla="*/ 0 w 10000"/>
                    <a:gd name="connsiteY168" fmla="*/ 7904 h 10000"/>
                    <a:gd name="connsiteX169" fmla="*/ 278 w 10000"/>
                    <a:gd name="connsiteY169" fmla="*/ 8225 h 10000"/>
                    <a:gd name="connsiteX170" fmla="*/ 500 w 10000"/>
                    <a:gd name="connsiteY170" fmla="*/ 8461 h 10000"/>
                    <a:gd name="connsiteX171" fmla="*/ 722 w 10000"/>
                    <a:gd name="connsiteY171" fmla="*/ 8662 h 10000"/>
                    <a:gd name="connsiteX172" fmla="*/ 722 w 10000"/>
                    <a:gd name="connsiteY172" fmla="*/ 8662 h 10000"/>
                    <a:gd name="connsiteX173" fmla="*/ 889 w 10000"/>
                    <a:gd name="connsiteY173" fmla="*/ 8783 h 10000"/>
                    <a:gd name="connsiteX174" fmla="*/ 944 w 10000"/>
                    <a:gd name="connsiteY174" fmla="*/ 8884 h 10000"/>
                    <a:gd name="connsiteX175" fmla="*/ 1111 w 10000"/>
                    <a:gd name="connsiteY175" fmla="*/ 8985 h 10000"/>
                    <a:gd name="connsiteX176" fmla="*/ 1333 w 10000"/>
                    <a:gd name="connsiteY176" fmla="*/ 9140 h 10000"/>
                    <a:gd name="connsiteX177" fmla="*/ 1333 w 10000"/>
                    <a:gd name="connsiteY177" fmla="*/ 9140 h 10000"/>
                    <a:gd name="connsiteX178" fmla="*/ 1444 w 10000"/>
                    <a:gd name="connsiteY178" fmla="*/ 9222 h 10000"/>
                    <a:gd name="connsiteX179" fmla="*/ 1500 w 10000"/>
                    <a:gd name="connsiteY179" fmla="*/ 9281 h 10000"/>
                    <a:gd name="connsiteX180" fmla="*/ 1500 w 10000"/>
                    <a:gd name="connsiteY180" fmla="*/ 9339 h 10000"/>
                    <a:gd name="connsiteX181" fmla="*/ 1556 w 10000"/>
                    <a:gd name="connsiteY181" fmla="*/ 9363 h 10000"/>
                    <a:gd name="connsiteX182" fmla="*/ 1722 w 10000"/>
                    <a:gd name="connsiteY182" fmla="*/ 9380 h 10000"/>
                    <a:gd name="connsiteX183" fmla="*/ 1944 w 10000"/>
                    <a:gd name="connsiteY183" fmla="*/ 9400 h 10000"/>
                    <a:gd name="connsiteX184" fmla="*/ 2944 w 10000"/>
                    <a:gd name="connsiteY184" fmla="*/ 9421 h 10000"/>
                    <a:gd name="connsiteX185" fmla="*/ 2944 w 10000"/>
                    <a:gd name="connsiteY185" fmla="*/ 9421 h 10000"/>
                    <a:gd name="connsiteX186" fmla="*/ 4167 w 10000"/>
                    <a:gd name="connsiteY186" fmla="*/ 9461 h 10000"/>
                    <a:gd name="connsiteX187" fmla="*/ 4889 w 10000"/>
                    <a:gd name="connsiteY187" fmla="*/ 9520 h 10000"/>
                    <a:gd name="connsiteX188" fmla="*/ 5278 w 10000"/>
                    <a:gd name="connsiteY188" fmla="*/ 9582 h 10000"/>
                    <a:gd name="connsiteX189" fmla="*/ 5444 w 10000"/>
                    <a:gd name="connsiteY189" fmla="*/ 9598 h 10000"/>
                    <a:gd name="connsiteX190" fmla="*/ 5444 w 10000"/>
                    <a:gd name="connsiteY190" fmla="*/ 9598 h 10000"/>
                    <a:gd name="connsiteX191" fmla="*/ 5722 w 10000"/>
                    <a:gd name="connsiteY191" fmla="*/ 9643 h 10000"/>
                    <a:gd name="connsiteX192" fmla="*/ 5833 w 10000"/>
                    <a:gd name="connsiteY192" fmla="*/ 9664 h 10000"/>
                    <a:gd name="connsiteX193" fmla="*/ 5833 w 10000"/>
                    <a:gd name="connsiteY193" fmla="*/ 9664 h 10000"/>
                    <a:gd name="connsiteX194" fmla="*/ 5833 w 10000"/>
                    <a:gd name="connsiteY194" fmla="*/ 9643 h 10000"/>
                    <a:gd name="connsiteX195" fmla="*/ 5889 w 10000"/>
                    <a:gd name="connsiteY195" fmla="*/ 9621 h 10000"/>
                    <a:gd name="connsiteX196" fmla="*/ 6000 w 10000"/>
                    <a:gd name="connsiteY196" fmla="*/ 9598 h 10000"/>
                    <a:gd name="connsiteX197" fmla="*/ 6167 w 10000"/>
                    <a:gd name="connsiteY197" fmla="*/ 9582 h 10000"/>
                    <a:gd name="connsiteX198" fmla="*/ 6444 w 10000"/>
                    <a:gd name="connsiteY198" fmla="*/ 9582 h 10000"/>
                    <a:gd name="connsiteX199" fmla="*/ 6833 w 10000"/>
                    <a:gd name="connsiteY199" fmla="*/ 9598 h 10000"/>
                    <a:gd name="connsiteX200" fmla="*/ 7278 w 10000"/>
                    <a:gd name="connsiteY200" fmla="*/ 9664 h 10000"/>
                    <a:gd name="connsiteX201" fmla="*/ 7278 w 10000"/>
                    <a:gd name="connsiteY201" fmla="*/ 9664 h 10000"/>
                    <a:gd name="connsiteX202" fmla="*/ 8722 w 10000"/>
                    <a:gd name="connsiteY202" fmla="*/ 9838 h 10000"/>
                    <a:gd name="connsiteX203" fmla="*/ 10000 w 10000"/>
                    <a:gd name="connsiteY203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5333 w 10000"/>
                    <a:gd name="connsiteY71" fmla="*/ 2712 h 10000"/>
                    <a:gd name="connsiteX72" fmla="*/ 5333 w 10000"/>
                    <a:gd name="connsiteY72" fmla="*/ 2712 h 10000"/>
                    <a:gd name="connsiteX73" fmla="*/ 5167 w 10000"/>
                    <a:gd name="connsiteY73" fmla="*/ 2652 h 10000"/>
                    <a:gd name="connsiteX74" fmla="*/ 4889 w 10000"/>
                    <a:gd name="connsiteY74" fmla="*/ 2573 h 10000"/>
                    <a:gd name="connsiteX75" fmla="*/ 4056 w 10000"/>
                    <a:gd name="connsiteY75" fmla="*/ 2395 h 10000"/>
                    <a:gd name="connsiteX76" fmla="*/ 2889 w 10000"/>
                    <a:gd name="connsiteY76" fmla="*/ 2176 h 10000"/>
                    <a:gd name="connsiteX77" fmla="*/ 2889 w 10000"/>
                    <a:gd name="connsiteY77" fmla="*/ 2176 h 10000"/>
                    <a:gd name="connsiteX78" fmla="*/ 2389 w 10000"/>
                    <a:gd name="connsiteY78" fmla="*/ 2154 h 10000"/>
                    <a:gd name="connsiteX79" fmla="*/ 2000 w 10000"/>
                    <a:gd name="connsiteY79" fmla="*/ 2135 h 10000"/>
                    <a:gd name="connsiteX80" fmla="*/ 1889 w 10000"/>
                    <a:gd name="connsiteY80" fmla="*/ 2116 h 10000"/>
                    <a:gd name="connsiteX81" fmla="*/ 1778 w 10000"/>
                    <a:gd name="connsiteY81" fmla="*/ 2094 h 10000"/>
                    <a:gd name="connsiteX82" fmla="*/ 1778 w 10000"/>
                    <a:gd name="connsiteY82" fmla="*/ 2094 h 10000"/>
                    <a:gd name="connsiteX83" fmla="*/ 1667 w 10000"/>
                    <a:gd name="connsiteY83" fmla="*/ 2016 h 10000"/>
                    <a:gd name="connsiteX84" fmla="*/ 1500 w 10000"/>
                    <a:gd name="connsiteY84" fmla="*/ 1876 h 10000"/>
                    <a:gd name="connsiteX85" fmla="*/ 1444 w 10000"/>
                    <a:gd name="connsiteY85" fmla="*/ 1796 h 10000"/>
                    <a:gd name="connsiteX86" fmla="*/ 1444 w 10000"/>
                    <a:gd name="connsiteY86" fmla="*/ 1716 h 10000"/>
                    <a:gd name="connsiteX87" fmla="*/ 1444 w 10000"/>
                    <a:gd name="connsiteY87" fmla="*/ 1656 h 10000"/>
                    <a:gd name="connsiteX88" fmla="*/ 1556 w 10000"/>
                    <a:gd name="connsiteY88" fmla="*/ 1596 h 10000"/>
                    <a:gd name="connsiteX89" fmla="*/ 1556 w 10000"/>
                    <a:gd name="connsiteY89" fmla="*/ 1596 h 10000"/>
                    <a:gd name="connsiteX90" fmla="*/ 1833 w 10000"/>
                    <a:gd name="connsiteY90" fmla="*/ 1497 h 10000"/>
                    <a:gd name="connsiteX91" fmla="*/ 2111 w 10000"/>
                    <a:gd name="connsiteY91" fmla="*/ 1394 h 10000"/>
                    <a:gd name="connsiteX92" fmla="*/ 2278 w 10000"/>
                    <a:gd name="connsiteY92" fmla="*/ 1337 h 10000"/>
                    <a:gd name="connsiteX93" fmla="*/ 2389 w 10000"/>
                    <a:gd name="connsiteY93" fmla="*/ 1278 h 10000"/>
                    <a:gd name="connsiteX94" fmla="*/ 2389 w 10000"/>
                    <a:gd name="connsiteY94" fmla="*/ 1197 h 10000"/>
                    <a:gd name="connsiteX95" fmla="*/ 2389 w 10000"/>
                    <a:gd name="connsiteY95" fmla="*/ 1099 h 10000"/>
                    <a:gd name="connsiteX96" fmla="*/ 2389 w 10000"/>
                    <a:gd name="connsiteY96" fmla="*/ 1099 h 10000"/>
                    <a:gd name="connsiteX97" fmla="*/ 2167 w 10000"/>
                    <a:gd name="connsiteY97" fmla="*/ 818 h 10000"/>
                    <a:gd name="connsiteX98" fmla="*/ 1889 w 10000"/>
                    <a:gd name="connsiteY98" fmla="*/ 438 h 10000"/>
                    <a:gd name="connsiteX99" fmla="*/ 1667 w 10000"/>
                    <a:gd name="connsiteY99" fmla="*/ 99 h 10000"/>
                    <a:gd name="connsiteX100" fmla="*/ 1611 w 10000"/>
                    <a:gd name="connsiteY100" fmla="*/ 0 h 10000"/>
                    <a:gd name="connsiteX101" fmla="*/ 10000 w 10000"/>
                    <a:gd name="connsiteY101" fmla="*/ 8662 h 10000"/>
                    <a:gd name="connsiteX102" fmla="*/ 10000 w 10000"/>
                    <a:gd name="connsiteY102" fmla="*/ 8662 h 10000"/>
                    <a:gd name="connsiteX103" fmla="*/ 9722 w 10000"/>
                    <a:gd name="connsiteY103" fmla="*/ 8641 h 10000"/>
                    <a:gd name="connsiteX104" fmla="*/ 9389 w 10000"/>
                    <a:gd name="connsiteY104" fmla="*/ 8662 h 10000"/>
                    <a:gd name="connsiteX105" fmla="*/ 9389 w 10000"/>
                    <a:gd name="connsiteY105" fmla="*/ 8662 h 10000"/>
                    <a:gd name="connsiteX106" fmla="*/ 9278 w 10000"/>
                    <a:gd name="connsiteY106" fmla="*/ 8686 h 10000"/>
                    <a:gd name="connsiteX107" fmla="*/ 9056 w 10000"/>
                    <a:gd name="connsiteY107" fmla="*/ 8662 h 10000"/>
                    <a:gd name="connsiteX108" fmla="*/ 8889 w 10000"/>
                    <a:gd name="connsiteY108" fmla="*/ 8641 h 10000"/>
                    <a:gd name="connsiteX109" fmla="*/ 8722 w 10000"/>
                    <a:gd name="connsiteY109" fmla="*/ 8603 h 10000"/>
                    <a:gd name="connsiteX110" fmla="*/ 8611 w 10000"/>
                    <a:gd name="connsiteY110" fmla="*/ 8541 h 10000"/>
                    <a:gd name="connsiteX111" fmla="*/ 8444 w 10000"/>
                    <a:gd name="connsiteY111" fmla="*/ 8442 h 10000"/>
                    <a:gd name="connsiteX112" fmla="*/ 8444 w 10000"/>
                    <a:gd name="connsiteY112" fmla="*/ 8442 h 10000"/>
                    <a:gd name="connsiteX113" fmla="*/ 8222 w 10000"/>
                    <a:gd name="connsiteY113" fmla="*/ 8265 h 10000"/>
                    <a:gd name="connsiteX114" fmla="*/ 8111 w 10000"/>
                    <a:gd name="connsiteY114" fmla="*/ 8185 h 10000"/>
                    <a:gd name="connsiteX115" fmla="*/ 7944 w 10000"/>
                    <a:gd name="connsiteY115" fmla="*/ 8125 h 10000"/>
                    <a:gd name="connsiteX116" fmla="*/ 7778 w 10000"/>
                    <a:gd name="connsiteY116" fmla="*/ 8086 h 10000"/>
                    <a:gd name="connsiteX117" fmla="*/ 7556 w 10000"/>
                    <a:gd name="connsiteY117" fmla="*/ 8062 h 10000"/>
                    <a:gd name="connsiteX118" fmla="*/ 7333 w 10000"/>
                    <a:gd name="connsiteY118" fmla="*/ 8045 h 10000"/>
                    <a:gd name="connsiteX119" fmla="*/ 7000 w 10000"/>
                    <a:gd name="connsiteY119" fmla="*/ 8022 h 10000"/>
                    <a:gd name="connsiteX120" fmla="*/ 7000 w 10000"/>
                    <a:gd name="connsiteY120" fmla="*/ 8022 h 10000"/>
                    <a:gd name="connsiteX121" fmla="*/ 6556 w 10000"/>
                    <a:gd name="connsiteY121" fmla="*/ 8045 h 10000"/>
                    <a:gd name="connsiteX122" fmla="*/ 6222 w 10000"/>
                    <a:gd name="connsiteY122" fmla="*/ 8045 h 10000"/>
                    <a:gd name="connsiteX123" fmla="*/ 6111 w 10000"/>
                    <a:gd name="connsiteY123" fmla="*/ 8022 h 10000"/>
                    <a:gd name="connsiteX124" fmla="*/ 6056 w 10000"/>
                    <a:gd name="connsiteY124" fmla="*/ 8003 h 10000"/>
                    <a:gd name="connsiteX125" fmla="*/ 6056 w 10000"/>
                    <a:gd name="connsiteY125" fmla="*/ 8003 h 10000"/>
                    <a:gd name="connsiteX126" fmla="*/ 6056 w 10000"/>
                    <a:gd name="connsiteY126" fmla="*/ 7646 h 10000"/>
                    <a:gd name="connsiteX127" fmla="*/ 6056 w 10000"/>
                    <a:gd name="connsiteY127" fmla="*/ 7646 h 10000"/>
                    <a:gd name="connsiteX128" fmla="*/ 6056 w 10000"/>
                    <a:gd name="connsiteY128" fmla="*/ 7563 h 10000"/>
                    <a:gd name="connsiteX129" fmla="*/ 5944 w 10000"/>
                    <a:gd name="connsiteY129" fmla="*/ 7464 h 10000"/>
                    <a:gd name="connsiteX130" fmla="*/ 5889 w 10000"/>
                    <a:gd name="connsiteY130" fmla="*/ 7443 h 10000"/>
                    <a:gd name="connsiteX131" fmla="*/ 5778 w 10000"/>
                    <a:gd name="connsiteY131" fmla="*/ 7425 h 10000"/>
                    <a:gd name="connsiteX132" fmla="*/ 5667 w 10000"/>
                    <a:gd name="connsiteY132" fmla="*/ 7425 h 10000"/>
                    <a:gd name="connsiteX133" fmla="*/ 5500 w 10000"/>
                    <a:gd name="connsiteY133" fmla="*/ 7443 h 10000"/>
                    <a:gd name="connsiteX134" fmla="*/ 5500 w 10000"/>
                    <a:gd name="connsiteY134" fmla="*/ 7443 h 10000"/>
                    <a:gd name="connsiteX135" fmla="*/ 4889 w 10000"/>
                    <a:gd name="connsiteY135" fmla="*/ 7584 h 10000"/>
                    <a:gd name="connsiteX136" fmla="*/ 4611 w 10000"/>
                    <a:gd name="connsiteY136" fmla="*/ 7626 h 10000"/>
                    <a:gd name="connsiteX137" fmla="*/ 4556 w 10000"/>
                    <a:gd name="connsiteY137" fmla="*/ 7646 h 10000"/>
                    <a:gd name="connsiteX138" fmla="*/ 4500 w 10000"/>
                    <a:gd name="connsiteY138" fmla="*/ 7626 h 10000"/>
                    <a:gd name="connsiteX139" fmla="*/ 4500 w 10000"/>
                    <a:gd name="connsiteY139" fmla="*/ 7626 h 10000"/>
                    <a:gd name="connsiteX140" fmla="*/ 4222 w 10000"/>
                    <a:gd name="connsiteY140" fmla="*/ 7425 h 10000"/>
                    <a:gd name="connsiteX141" fmla="*/ 4222 w 10000"/>
                    <a:gd name="connsiteY141" fmla="*/ 7425 h 10000"/>
                    <a:gd name="connsiteX142" fmla="*/ 4111 w 10000"/>
                    <a:gd name="connsiteY142" fmla="*/ 7326 h 10000"/>
                    <a:gd name="connsiteX143" fmla="*/ 4111 w 10000"/>
                    <a:gd name="connsiteY143" fmla="*/ 7265 h 10000"/>
                    <a:gd name="connsiteX144" fmla="*/ 4111 w 10000"/>
                    <a:gd name="connsiteY144" fmla="*/ 7205 h 10000"/>
                    <a:gd name="connsiteX145" fmla="*/ 4111 w 10000"/>
                    <a:gd name="connsiteY145" fmla="*/ 7205 h 10000"/>
                    <a:gd name="connsiteX146" fmla="*/ 4278 w 10000"/>
                    <a:gd name="connsiteY146" fmla="*/ 7145 h 10000"/>
                    <a:gd name="connsiteX147" fmla="*/ 4389 w 10000"/>
                    <a:gd name="connsiteY147" fmla="*/ 7126 h 10000"/>
                    <a:gd name="connsiteX148" fmla="*/ 4389 w 10000"/>
                    <a:gd name="connsiteY148" fmla="*/ 7126 h 10000"/>
                    <a:gd name="connsiteX149" fmla="*/ 4000 w 10000"/>
                    <a:gd name="connsiteY149" fmla="*/ 7126 h 10000"/>
                    <a:gd name="connsiteX150" fmla="*/ 3722 w 10000"/>
                    <a:gd name="connsiteY150" fmla="*/ 7145 h 10000"/>
                    <a:gd name="connsiteX151" fmla="*/ 3611 w 10000"/>
                    <a:gd name="connsiteY151" fmla="*/ 7166 h 10000"/>
                    <a:gd name="connsiteX152" fmla="*/ 3556 w 10000"/>
                    <a:gd name="connsiteY152" fmla="*/ 7187 h 10000"/>
                    <a:gd name="connsiteX153" fmla="*/ 3556 w 10000"/>
                    <a:gd name="connsiteY153" fmla="*/ 7187 h 10000"/>
                    <a:gd name="connsiteX154" fmla="*/ 3444 w 10000"/>
                    <a:gd name="connsiteY154" fmla="*/ 7265 h 10000"/>
                    <a:gd name="connsiteX155" fmla="*/ 3278 w 10000"/>
                    <a:gd name="connsiteY155" fmla="*/ 7386 h 10000"/>
                    <a:gd name="connsiteX156" fmla="*/ 3000 w 10000"/>
                    <a:gd name="connsiteY156" fmla="*/ 7525 h 10000"/>
                    <a:gd name="connsiteX157" fmla="*/ 2667 w 10000"/>
                    <a:gd name="connsiteY157" fmla="*/ 7626 h 10000"/>
                    <a:gd name="connsiteX158" fmla="*/ 2667 w 10000"/>
                    <a:gd name="connsiteY158" fmla="*/ 7626 h 10000"/>
                    <a:gd name="connsiteX159" fmla="*/ 2333 w 10000"/>
                    <a:gd name="connsiteY159" fmla="*/ 7706 h 10000"/>
                    <a:gd name="connsiteX160" fmla="*/ 1833 w 10000"/>
                    <a:gd name="connsiteY160" fmla="*/ 7786 h 10000"/>
                    <a:gd name="connsiteX161" fmla="*/ 1389 w 10000"/>
                    <a:gd name="connsiteY161" fmla="*/ 7826 h 10000"/>
                    <a:gd name="connsiteX162" fmla="*/ 889 w 10000"/>
                    <a:gd name="connsiteY162" fmla="*/ 7845 h 10000"/>
                    <a:gd name="connsiteX163" fmla="*/ 889 w 10000"/>
                    <a:gd name="connsiteY163" fmla="*/ 7845 h 10000"/>
                    <a:gd name="connsiteX164" fmla="*/ 500 w 10000"/>
                    <a:gd name="connsiteY164" fmla="*/ 7867 h 10000"/>
                    <a:gd name="connsiteX165" fmla="*/ 222 w 10000"/>
                    <a:gd name="connsiteY165" fmla="*/ 7885 h 10000"/>
                    <a:gd name="connsiteX166" fmla="*/ 0 w 10000"/>
                    <a:gd name="connsiteY166" fmla="*/ 7904 h 10000"/>
                    <a:gd name="connsiteX167" fmla="*/ 0 w 10000"/>
                    <a:gd name="connsiteY167" fmla="*/ 7904 h 10000"/>
                    <a:gd name="connsiteX168" fmla="*/ 278 w 10000"/>
                    <a:gd name="connsiteY168" fmla="*/ 8225 h 10000"/>
                    <a:gd name="connsiteX169" fmla="*/ 500 w 10000"/>
                    <a:gd name="connsiteY169" fmla="*/ 8461 h 10000"/>
                    <a:gd name="connsiteX170" fmla="*/ 722 w 10000"/>
                    <a:gd name="connsiteY170" fmla="*/ 8662 h 10000"/>
                    <a:gd name="connsiteX171" fmla="*/ 722 w 10000"/>
                    <a:gd name="connsiteY171" fmla="*/ 8662 h 10000"/>
                    <a:gd name="connsiteX172" fmla="*/ 889 w 10000"/>
                    <a:gd name="connsiteY172" fmla="*/ 8783 h 10000"/>
                    <a:gd name="connsiteX173" fmla="*/ 944 w 10000"/>
                    <a:gd name="connsiteY173" fmla="*/ 8884 h 10000"/>
                    <a:gd name="connsiteX174" fmla="*/ 1111 w 10000"/>
                    <a:gd name="connsiteY174" fmla="*/ 8985 h 10000"/>
                    <a:gd name="connsiteX175" fmla="*/ 1333 w 10000"/>
                    <a:gd name="connsiteY175" fmla="*/ 9140 h 10000"/>
                    <a:gd name="connsiteX176" fmla="*/ 1333 w 10000"/>
                    <a:gd name="connsiteY176" fmla="*/ 9140 h 10000"/>
                    <a:gd name="connsiteX177" fmla="*/ 1444 w 10000"/>
                    <a:gd name="connsiteY177" fmla="*/ 9222 h 10000"/>
                    <a:gd name="connsiteX178" fmla="*/ 1500 w 10000"/>
                    <a:gd name="connsiteY178" fmla="*/ 9281 h 10000"/>
                    <a:gd name="connsiteX179" fmla="*/ 1500 w 10000"/>
                    <a:gd name="connsiteY179" fmla="*/ 9339 h 10000"/>
                    <a:gd name="connsiteX180" fmla="*/ 1556 w 10000"/>
                    <a:gd name="connsiteY180" fmla="*/ 9363 h 10000"/>
                    <a:gd name="connsiteX181" fmla="*/ 1722 w 10000"/>
                    <a:gd name="connsiteY181" fmla="*/ 9380 h 10000"/>
                    <a:gd name="connsiteX182" fmla="*/ 1944 w 10000"/>
                    <a:gd name="connsiteY182" fmla="*/ 9400 h 10000"/>
                    <a:gd name="connsiteX183" fmla="*/ 2944 w 10000"/>
                    <a:gd name="connsiteY183" fmla="*/ 9421 h 10000"/>
                    <a:gd name="connsiteX184" fmla="*/ 2944 w 10000"/>
                    <a:gd name="connsiteY184" fmla="*/ 9421 h 10000"/>
                    <a:gd name="connsiteX185" fmla="*/ 4167 w 10000"/>
                    <a:gd name="connsiteY185" fmla="*/ 9461 h 10000"/>
                    <a:gd name="connsiteX186" fmla="*/ 4889 w 10000"/>
                    <a:gd name="connsiteY186" fmla="*/ 9520 h 10000"/>
                    <a:gd name="connsiteX187" fmla="*/ 5278 w 10000"/>
                    <a:gd name="connsiteY187" fmla="*/ 9582 h 10000"/>
                    <a:gd name="connsiteX188" fmla="*/ 5444 w 10000"/>
                    <a:gd name="connsiteY188" fmla="*/ 9598 h 10000"/>
                    <a:gd name="connsiteX189" fmla="*/ 5444 w 10000"/>
                    <a:gd name="connsiteY189" fmla="*/ 9598 h 10000"/>
                    <a:gd name="connsiteX190" fmla="*/ 5722 w 10000"/>
                    <a:gd name="connsiteY190" fmla="*/ 9643 h 10000"/>
                    <a:gd name="connsiteX191" fmla="*/ 5833 w 10000"/>
                    <a:gd name="connsiteY191" fmla="*/ 9664 h 10000"/>
                    <a:gd name="connsiteX192" fmla="*/ 5833 w 10000"/>
                    <a:gd name="connsiteY192" fmla="*/ 9664 h 10000"/>
                    <a:gd name="connsiteX193" fmla="*/ 5833 w 10000"/>
                    <a:gd name="connsiteY193" fmla="*/ 9643 h 10000"/>
                    <a:gd name="connsiteX194" fmla="*/ 5889 w 10000"/>
                    <a:gd name="connsiteY194" fmla="*/ 9621 h 10000"/>
                    <a:gd name="connsiteX195" fmla="*/ 6000 w 10000"/>
                    <a:gd name="connsiteY195" fmla="*/ 9598 h 10000"/>
                    <a:gd name="connsiteX196" fmla="*/ 6167 w 10000"/>
                    <a:gd name="connsiteY196" fmla="*/ 9582 h 10000"/>
                    <a:gd name="connsiteX197" fmla="*/ 6444 w 10000"/>
                    <a:gd name="connsiteY197" fmla="*/ 9582 h 10000"/>
                    <a:gd name="connsiteX198" fmla="*/ 6833 w 10000"/>
                    <a:gd name="connsiteY198" fmla="*/ 9598 h 10000"/>
                    <a:gd name="connsiteX199" fmla="*/ 7278 w 10000"/>
                    <a:gd name="connsiteY199" fmla="*/ 9664 h 10000"/>
                    <a:gd name="connsiteX200" fmla="*/ 7278 w 10000"/>
                    <a:gd name="connsiteY200" fmla="*/ 9664 h 10000"/>
                    <a:gd name="connsiteX201" fmla="*/ 8722 w 10000"/>
                    <a:gd name="connsiteY201" fmla="*/ 9838 h 10000"/>
                    <a:gd name="connsiteX202" fmla="*/ 10000 w 10000"/>
                    <a:gd name="connsiteY202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5333 w 10000"/>
                    <a:gd name="connsiteY71" fmla="*/ 2712 h 10000"/>
                    <a:gd name="connsiteX72" fmla="*/ 5333 w 10000"/>
                    <a:gd name="connsiteY72" fmla="*/ 2712 h 10000"/>
                    <a:gd name="connsiteX73" fmla="*/ 5167 w 10000"/>
                    <a:gd name="connsiteY73" fmla="*/ 2652 h 10000"/>
                    <a:gd name="connsiteX74" fmla="*/ 4056 w 10000"/>
                    <a:gd name="connsiteY74" fmla="*/ 2395 h 10000"/>
                    <a:gd name="connsiteX75" fmla="*/ 2889 w 10000"/>
                    <a:gd name="connsiteY75" fmla="*/ 2176 h 10000"/>
                    <a:gd name="connsiteX76" fmla="*/ 2889 w 10000"/>
                    <a:gd name="connsiteY76" fmla="*/ 2176 h 10000"/>
                    <a:gd name="connsiteX77" fmla="*/ 2389 w 10000"/>
                    <a:gd name="connsiteY77" fmla="*/ 2154 h 10000"/>
                    <a:gd name="connsiteX78" fmla="*/ 2000 w 10000"/>
                    <a:gd name="connsiteY78" fmla="*/ 2135 h 10000"/>
                    <a:gd name="connsiteX79" fmla="*/ 1889 w 10000"/>
                    <a:gd name="connsiteY79" fmla="*/ 2116 h 10000"/>
                    <a:gd name="connsiteX80" fmla="*/ 1778 w 10000"/>
                    <a:gd name="connsiteY80" fmla="*/ 2094 h 10000"/>
                    <a:gd name="connsiteX81" fmla="*/ 1778 w 10000"/>
                    <a:gd name="connsiteY81" fmla="*/ 2094 h 10000"/>
                    <a:gd name="connsiteX82" fmla="*/ 1667 w 10000"/>
                    <a:gd name="connsiteY82" fmla="*/ 2016 h 10000"/>
                    <a:gd name="connsiteX83" fmla="*/ 1500 w 10000"/>
                    <a:gd name="connsiteY83" fmla="*/ 1876 h 10000"/>
                    <a:gd name="connsiteX84" fmla="*/ 1444 w 10000"/>
                    <a:gd name="connsiteY84" fmla="*/ 1796 h 10000"/>
                    <a:gd name="connsiteX85" fmla="*/ 1444 w 10000"/>
                    <a:gd name="connsiteY85" fmla="*/ 1716 h 10000"/>
                    <a:gd name="connsiteX86" fmla="*/ 1444 w 10000"/>
                    <a:gd name="connsiteY86" fmla="*/ 1656 h 10000"/>
                    <a:gd name="connsiteX87" fmla="*/ 1556 w 10000"/>
                    <a:gd name="connsiteY87" fmla="*/ 1596 h 10000"/>
                    <a:gd name="connsiteX88" fmla="*/ 1556 w 10000"/>
                    <a:gd name="connsiteY88" fmla="*/ 1596 h 10000"/>
                    <a:gd name="connsiteX89" fmla="*/ 1833 w 10000"/>
                    <a:gd name="connsiteY89" fmla="*/ 1497 h 10000"/>
                    <a:gd name="connsiteX90" fmla="*/ 2111 w 10000"/>
                    <a:gd name="connsiteY90" fmla="*/ 1394 h 10000"/>
                    <a:gd name="connsiteX91" fmla="*/ 2278 w 10000"/>
                    <a:gd name="connsiteY91" fmla="*/ 1337 h 10000"/>
                    <a:gd name="connsiteX92" fmla="*/ 2389 w 10000"/>
                    <a:gd name="connsiteY92" fmla="*/ 1278 h 10000"/>
                    <a:gd name="connsiteX93" fmla="*/ 2389 w 10000"/>
                    <a:gd name="connsiteY93" fmla="*/ 1197 h 10000"/>
                    <a:gd name="connsiteX94" fmla="*/ 2389 w 10000"/>
                    <a:gd name="connsiteY94" fmla="*/ 1099 h 10000"/>
                    <a:gd name="connsiteX95" fmla="*/ 2389 w 10000"/>
                    <a:gd name="connsiteY95" fmla="*/ 1099 h 10000"/>
                    <a:gd name="connsiteX96" fmla="*/ 2167 w 10000"/>
                    <a:gd name="connsiteY96" fmla="*/ 818 h 10000"/>
                    <a:gd name="connsiteX97" fmla="*/ 1889 w 10000"/>
                    <a:gd name="connsiteY97" fmla="*/ 438 h 10000"/>
                    <a:gd name="connsiteX98" fmla="*/ 1667 w 10000"/>
                    <a:gd name="connsiteY98" fmla="*/ 99 h 10000"/>
                    <a:gd name="connsiteX99" fmla="*/ 1611 w 10000"/>
                    <a:gd name="connsiteY99" fmla="*/ 0 h 10000"/>
                    <a:gd name="connsiteX100" fmla="*/ 10000 w 10000"/>
                    <a:gd name="connsiteY100" fmla="*/ 8662 h 10000"/>
                    <a:gd name="connsiteX101" fmla="*/ 10000 w 10000"/>
                    <a:gd name="connsiteY101" fmla="*/ 8662 h 10000"/>
                    <a:gd name="connsiteX102" fmla="*/ 9722 w 10000"/>
                    <a:gd name="connsiteY102" fmla="*/ 8641 h 10000"/>
                    <a:gd name="connsiteX103" fmla="*/ 9389 w 10000"/>
                    <a:gd name="connsiteY103" fmla="*/ 8662 h 10000"/>
                    <a:gd name="connsiteX104" fmla="*/ 9389 w 10000"/>
                    <a:gd name="connsiteY104" fmla="*/ 8662 h 10000"/>
                    <a:gd name="connsiteX105" fmla="*/ 9278 w 10000"/>
                    <a:gd name="connsiteY105" fmla="*/ 8686 h 10000"/>
                    <a:gd name="connsiteX106" fmla="*/ 9056 w 10000"/>
                    <a:gd name="connsiteY106" fmla="*/ 8662 h 10000"/>
                    <a:gd name="connsiteX107" fmla="*/ 8889 w 10000"/>
                    <a:gd name="connsiteY107" fmla="*/ 8641 h 10000"/>
                    <a:gd name="connsiteX108" fmla="*/ 8722 w 10000"/>
                    <a:gd name="connsiteY108" fmla="*/ 8603 h 10000"/>
                    <a:gd name="connsiteX109" fmla="*/ 8611 w 10000"/>
                    <a:gd name="connsiteY109" fmla="*/ 8541 h 10000"/>
                    <a:gd name="connsiteX110" fmla="*/ 8444 w 10000"/>
                    <a:gd name="connsiteY110" fmla="*/ 8442 h 10000"/>
                    <a:gd name="connsiteX111" fmla="*/ 8444 w 10000"/>
                    <a:gd name="connsiteY111" fmla="*/ 8442 h 10000"/>
                    <a:gd name="connsiteX112" fmla="*/ 8222 w 10000"/>
                    <a:gd name="connsiteY112" fmla="*/ 8265 h 10000"/>
                    <a:gd name="connsiteX113" fmla="*/ 8111 w 10000"/>
                    <a:gd name="connsiteY113" fmla="*/ 8185 h 10000"/>
                    <a:gd name="connsiteX114" fmla="*/ 7944 w 10000"/>
                    <a:gd name="connsiteY114" fmla="*/ 8125 h 10000"/>
                    <a:gd name="connsiteX115" fmla="*/ 7778 w 10000"/>
                    <a:gd name="connsiteY115" fmla="*/ 8086 h 10000"/>
                    <a:gd name="connsiteX116" fmla="*/ 7556 w 10000"/>
                    <a:gd name="connsiteY116" fmla="*/ 8062 h 10000"/>
                    <a:gd name="connsiteX117" fmla="*/ 7333 w 10000"/>
                    <a:gd name="connsiteY117" fmla="*/ 8045 h 10000"/>
                    <a:gd name="connsiteX118" fmla="*/ 7000 w 10000"/>
                    <a:gd name="connsiteY118" fmla="*/ 8022 h 10000"/>
                    <a:gd name="connsiteX119" fmla="*/ 7000 w 10000"/>
                    <a:gd name="connsiteY119" fmla="*/ 8022 h 10000"/>
                    <a:gd name="connsiteX120" fmla="*/ 6556 w 10000"/>
                    <a:gd name="connsiteY120" fmla="*/ 8045 h 10000"/>
                    <a:gd name="connsiteX121" fmla="*/ 6222 w 10000"/>
                    <a:gd name="connsiteY121" fmla="*/ 8045 h 10000"/>
                    <a:gd name="connsiteX122" fmla="*/ 6111 w 10000"/>
                    <a:gd name="connsiteY122" fmla="*/ 8022 h 10000"/>
                    <a:gd name="connsiteX123" fmla="*/ 6056 w 10000"/>
                    <a:gd name="connsiteY123" fmla="*/ 8003 h 10000"/>
                    <a:gd name="connsiteX124" fmla="*/ 6056 w 10000"/>
                    <a:gd name="connsiteY124" fmla="*/ 8003 h 10000"/>
                    <a:gd name="connsiteX125" fmla="*/ 6056 w 10000"/>
                    <a:gd name="connsiteY125" fmla="*/ 7646 h 10000"/>
                    <a:gd name="connsiteX126" fmla="*/ 6056 w 10000"/>
                    <a:gd name="connsiteY126" fmla="*/ 7646 h 10000"/>
                    <a:gd name="connsiteX127" fmla="*/ 6056 w 10000"/>
                    <a:gd name="connsiteY127" fmla="*/ 7563 h 10000"/>
                    <a:gd name="connsiteX128" fmla="*/ 5944 w 10000"/>
                    <a:gd name="connsiteY128" fmla="*/ 7464 h 10000"/>
                    <a:gd name="connsiteX129" fmla="*/ 5889 w 10000"/>
                    <a:gd name="connsiteY129" fmla="*/ 7443 h 10000"/>
                    <a:gd name="connsiteX130" fmla="*/ 5778 w 10000"/>
                    <a:gd name="connsiteY130" fmla="*/ 7425 h 10000"/>
                    <a:gd name="connsiteX131" fmla="*/ 5667 w 10000"/>
                    <a:gd name="connsiteY131" fmla="*/ 7425 h 10000"/>
                    <a:gd name="connsiteX132" fmla="*/ 5500 w 10000"/>
                    <a:gd name="connsiteY132" fmla="*/ 7443 h 10000"/>
                    <a:gd name="connsiteX133" fmla="*/ 5500 w 10000"/>
                    <a:gd name="connsiteY133" fmla="*/ 7443 h 10000"/>
                    <a:gd name="connsiteX134" fmla="*/ 4889 w 10000"/>
                    <a:gd name="connsiteY134" fmla="*/ 7584 h 10000"/>
                    <a:gd name="connsiteX135" fmla="*/ 4611 w 10000"/>
                    <a:gd name="connsiteY135" fmla="*/ 7626 h 10000"/>
                    <a:gd name="connsiteX136" fmla="*/ 4556 w 10000"/>
                    <a:gd name="connsiteY136" fmla="*/ 7646 h 10000"/>
                    <a:gd name="connsiteX137" fmla="*/ 4500 w 10000"/>
                    <a:gd name="connsiteY137" fmla="*/ 7626 h 10000"/>
                    <a:gd name="connsiteX138" fmla="*/ 4500 w 10000"/>
                    <a:gd name="connsiteY138" fmla="*/ 7626 h 10000"/>
                    <a:gd name="connsiteX139" fmla="*/ 4222 w 10000"/>
                    <a:gd name="connsiteY139" fmla="*/ 7425 h 10000"/>
                    <a:gd name="connsiteX140" fmla="*/ 4222 w 10000"/>
                    <a:gd name="connsiteY140" fmla="*/ 7425 h 10000"/>
                    <a:gd name="connsiteX141" fmla="*/ 4111 w 10000"/>
                    <a:gd name="connsiteY141" fmla="*/ 7326 h 10000"/>
                    <a:gd name="connsiteX142" fmla="*/ 4111 w 10000"/>
                    <a:gd name="connsiteY142" fmla="*/ 7265 h 10000"/>
                    <a:gd name="connsiteX143" fmla="*/ 4111 w 10000"/>
                    <a:gd name="connsiteY143" fmla="*/ 7205 h 10000"/>
                    <a:gd name="connsiteX144" fmla="*/ 4111 w 10000"/>
                    <a:gd name="connsiteY144" fmla="*/ 7205 h 10000"/>
                    <a:gd name="connsiteX145" fmla="*/ 4278 w 10000"/>
                    <a:gd name="connsiteY145" fmla="*/ 7145 h 10000"/>
                    <a:gd name="connsiteX146" fmla="*/ 4389 w 10000"/>
                    <a:gd name="connsiteY146" fmla="*/ 7126 h 10000"/>
                    <a:gd name="connsiteX147" fmla="*/ 4389 w 10000"/>
                    <a:gd name="connsiteY147" fmla="*/ 7126 h 10000"/>
                    <a:gd name="connsiteX148" fmla="*/ 4000 w 10000"/>
                    <a:gd name="connsiteY148" fmla="*/ 7126 h 10000"/>
                    <a:gd name="connsiteX149" fmla="*/ 3722 w 10000"/>
                    <a:gd name="connsiteY149" fmla="*/ 7145 h 10000"/>
                    <a:gd name="connsiteX150" fmla="*/ 3611 w 10000"/>
                    <a:gd name="connsiteY150" fmla="*/ 7166 h 10000"/>
                    <a:gd name="connsiteX151" fmla="*/ 3556 w 10000"/>
                    <a:gd name="connsiteY151" fmla="*/ 7187 h 10000"/>
                    <a:gd name="connsiteX152" fmla="*/ 3556 w 10000"/>
                    <a:gd name="connsiteY152" fmla="*/ 7187 h 10000"/>
                    <a:gd name="connsiteX153" fmla="*/ 3444 w 10000"/>
                    <a:gd name="connsiteY153" fmla="*/ 7265 h 10000"/>
                    <a:gd name="connsiteX154" fmla="*/ 3278 w 10000"/>
                    <a:gd name="connsiteY154" fmla="*/ 7386 h 10000"/>
                    <a:gd name="connsiteX155" fmla="*/ 3000 w 10000"/>
                    <a:gd name="connsiteY155" fmla="*/ 7525 h 10000"/>
                    <a:gd name="connsiteX156" fmla="*/ 2667 w 10000"/>
                    <a:gd name="connsiteY156" fmla="*/ 7626 h 10000"/>
                    <a:gd name="connsiteX157" fmla="*/ 2667 w 10000"/>
                    <a:gd name="connsiteY157" fmla="*/ 7626 h 10000"/>
                    <a:gd name="connsiteX158" fmla="*/ 2333 w 10000"/>
                    <a:gd name="connsiteY158" fmla="*/ 7706 h 10000"/>
                    <a:gd name="connsiteX159" fmla="*/ 1833 w 10000"/>
                    <a:gd name="connsiteY159" fmla="*/ 7786 h 10000"/>
                    <a:gd name="connsiteX160" fmla="*/ 1389 w 10000"/>
                    <a:gd name="connsiteY160" fmla="*/ 7826 h 10000"/>
                    <a:gd name="connsiteX161" fmla="*/ 889 w 10000"/>
                    <a:gd name="connsiteY161" fmla="*/ 7845 h 10000"/>
                    <a:gd name="connsiteX162" fmla="*/ 889 w 10000"/>
                    <a:gd name="connsiteY162" fmla="*/ 7845 h 10000"/>
                    <a:gd name="connsiteX163" fmla="*/ 500 w 10000"/>
                    <a:gd name="connsiteY163" fmla="*/ 7867 h 10000"/>
                    <a:gd name="connsiteX164" fmla="*/ 222 w 10000"/>
                    <a:gd name="connsiteY164" fmla="*/ 7885 h 10000"/>
                    <a:gd name="connsiteX165" fmla="*/ 0 w 10000"/>
                    <a:gd name="connsiteY165" fmla="*/ 7904 h 10000"/>
                    <a:gd name="connsiteX166" fmla="*/ 0 w 10000"/>
                    <a:gd name="connsiteY166" fmla="*/ 7904 h 10000"/>
                    <a:gd name="connsiteX167" fmla="*/ 278 w 10000"/>
                    <a:gd name="connsiteY167" fmla="*/ 8225 h 10000"/>
                    <a:gd name="connsiteX168" fmla="*/ 500 w 10000"/>
                    <a:gd name="connsiteY168" fmla="*/ 8461 h 10000"/>
                    <a:gd name="connsiteX169" fmla="*/ 722 w 10000"/>
                    <a:gd name="connsiteY169" fmla="*/ 8662 h 10000"/>
                    <a:gd name="connsiteX170" fmla="*/ 722 w 10000"/>
                    <a:gd name="connsiteY170" fmla="*/ 8662 h 10000"/>
                    <a:gd name="connsiteX171" fmla="*/ 889 w 10000"/>
                    <a:gd name="connsiteY171" fmla="*/ 8783 h 10000"/>
                    <a:gd name="connsiteX172" fmla="*/ 944 w 10000"/>
                    <a:gd name="connsiteY172" fmla="*/ 8884 h 10000"/>
                    <a:gd name="connsiteX173" fmla="*/ 1111 w 10000"/>
                    <a:gd name="connsiteY173" fmla="*/ 8985 h 10000"/>
                    <a:gd name="connsiteX174" fmla="*/ 1333 w 10000"/>
                    <a:gd name="connsiteY174" fmla="*/ 9140 h 10000"/>
                    <a:gd name="connsiteX175" fmla="*/ 1333 w 10000"/>
                    <a:gd name="connsiteY175" fmla="*/ 9140 h 10000"/>
                    <a:gd name="connsiteX176" fmla="*/ 1444 w 10000"/>
                    <a:gd name="connsiteY176" fmla="*/ 9222 h 10000"/>
                    <a:gd name="connsiteX177" fmla="*/ 1500 w 10000"/>
                    <a:gd name="connsiteY177" fmla="*/ 9281 h 10000"/>
                    <a:gd name="connsiteX178" fmla="*/ 1500 w 10000"/>
                    <a:gd name="connsiteY178" fmla="*/ 9339 h 10000"/>
                    <a:gd name="connsiteX179" fmla="*/ 1556 w 10000"/>
                    <a:gd name="connsiteY179" fmla="*/ 9363 h 10000"/>
                    <a:gd name="connsiteX180" fmla="*/ 1722 w 10000"/>
                    <a:gd name="connsiteY180" fmla="*/ 9380 h 10000"/>
                    <a:gd name="connsiteX181" fmla="*/ 1944 w 10000"/>
                    <a:gd name="connsiteY181" fmla="*/ 9400 h 10000"/>
                    <a:gd name="connsiteX182" fmla="*/ 2944 w 10000"/>
                    <a:gd name="connsiteY182" fmla="*/ 9421 h 10000"/>
                    <a:gd name="connsiteX183" fmla="*/ 2944 w 10000"/>
                    <a:gd name="connsiteY183" fmla="*/ 9421 h 10000"/>
                    <a:gd name="connsiteX184" fmla="*/ 4167 w 10000"/>
                    <a:gd name="connsiteY184" fmla="*/ 9461 h 10000"/>
                    <a:gd name="connsiteX185" fmla="*/ 4889 w 10000"/>
                    <a:gd name="connsiteY185" fmla="*/ 9520 h 10000"/>
                    <a:gd name="connsiteX186" fmla="*/ 5278 w 10000"/>
                    <a:gd name="connsiteY186" fmla="*/ 9582 h 10000"/>
                    <a:gd name="connsiteX187" fmla="*/ 5444 w 10000"/>
                    <a:gd name="connsiteY187" fmla="*/ 9598 h 10000"/>
                    <a:gd name="connsiteX188" fmla="*/ 5444 w 10000"/>
                    <a:gd name="connsiteY188" fmla="*/ 9598 h 10000"/>
                    <a:gd name="connsiteX189" fmla="*/ 5722 w 10000"/>
                    <a:gd name="connsiteY189" fmla="*/ 9643 h 10000"/>
                    <a:gd name="connsiteX190" fmla="*/ 5833 w 10000"/>
                    <a:gd name="connsiteY190" fmla="*/ 9664 h 10000"/>
                    <a:gd name="connsiteX191" fmla="*/ 5833 w 10000"/>
                    <a:gd name="connsiteY191" fmla="*/ 9664 h 10000"/>
                    <a:gd name="connsiteX192" fmla="*/ 5833 w 10000"/>
                    <a:gd name="connsiteY192" fmla="*/ 9643 h 10000"/>
                    <a:gd name="connsiteX193" fmla="*/ 5889 w 10000"/>
                    <a:gd name="connsiteY193" fmla="*/ 9621 h 10000"/>
                    <a:gd name="connsiteX194" fmla="*/ 6000 w 10000"/>
                    <a:gd name="connsiteY194" fmla="*/ 9598 h 10000"/>
                    <a:gd name="connsiteX195" fmla="*/ 6167 w 10000"/>
                    <a:gd name="connsiteY195" fmla="*/ 9582 h 10000"/>
                    <a:gd name="connsiteX196" fmla="*/ 6444 w 10000"/>
                    <a:gd name="connsiteY196" fmla="*/ 9582 h 10000"/>
                    <a:gd name="connsiteX197" fmla="*/ 6833 w 10000"/>
                    <a:gd name="connsiteY197" fmla="*/ 9598 h 10000"/>
                    <a:gd name="connsiteX198" fmla="*/ 7278 w 10000"/>
                    <a:gd name="connsiteY198" fmla="*/ 9664 h 10000"/>
                    <a:gd name="connsiteX199" fmla="*/ 7278 w 10000"/>
                    <a:gd name="connsiteY199" fmla="*/ 9664 h 10000"/>
                    <a:gd name="connsiteX200" fmla="*/ 8722 w 10000"/>
                    <a:gd name="connsiteY200" fmla="*/ 9838 h 10000"/>
                    <a:gd name="connsiteX201" fmla="*/ 10000 w 10000"/>
                    <a:gd name="connsiteY201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5333 w 10000"/>
                    <a:gd name="connsiteY71" fmla="*/ 2712 h 10000"/>
                    <a:gd name="connsiteX72" fmla="*/ 5333 w 10000"/>
                    <a:gd name="connsiteY72" fmla="*/ 2712 h 10000"/>
                    <a:gd name="connsiteX73" fmla="*/ 4056 w 10000"/>
                    <a:gd name="connsiteY73" fmla="*/ 2395 h 10000"/>
                    <a:gd name="connsiteX74" fmla="*/ 2889 w 10000"/>
                    <a:gd name="connsiteY74" fmla="*/ 2176 h 10000"/>
                    <a:gd name="connsiteX75" fmla="*/ 2889 w 10000"/>
                    <a:gd name="connsiteY75" fmla="*/ 2176 h 10000"/>
                    <a:gd name="connsiteX76" fmla="*/ 2389 w 10000"/>
                    <a:gd name="connsiteY76" fmla="*/ 2154 h 10000"/>
                    <a:gd name="connsiteX77" fmla="*/ 2000 w 10000"/>
                    <a:gd name="connsiteY77" fmla="*/ 2135 h 10000"/>
                    <a:gd name="connsiteX78" fmla="*/ 1889 w 10000"/>
                    <a:gd name="connsiteY78" fmla="*/ 2116 h 10000"/>
                    <a:gd name="connsiteX79" fmla="*/ 1778 w 10000"/>
                    <a:gd name="connsiteY79" fmla="*/ 2094 h 10000"/>
                    <a:gd name="connsiteX80" fmla="*/ 1778 w 10000"/>
                    <a:gd name="connsiteY80" fmla="*/ 2094 h 10000"/>
                    <a:gd name="connsiteX81" fmla="*/ 1667 w 10000"/>
                    <a:gd name="connsiteY81" fmla="*/ 2016 h 10000"/>
                    <a:gd name="connsiteX82" fmla="*/ 1500 w 10000"/>
                    <a:gd name="connsiteY82" fmla="*/ 1876 h 10000"/>
                    <a:gd name="connsiteX83" fmla="*/ 1444 w 10000"/>
                    <a:gd name="connsiteY83" fmla="*/ 1796 h 10000"/>
                    <a:gd name="connsiteX84" fmla="*/ 1444 w 10000"/>
                    <a:gd name="connsiteY84" fmla="*/ 1716 h 10000"/>
                    <a:gd name="connsiteX85" fmla="*/ 1444 w 10000"/>
                    <a:gd name="connsiteY85" fmla="*/ 1656 h 10000"/>
                    <a:gd name="connsiteX86" fmla="*/ 1556 w 10000"/>
                    <a:gd name="connsiteY86" fmla="*/ 1596 h 10000"/>
                    <a:gd name="connsiteX87" fmla="*/ 1556 w 10000"/>
                    <a:gd name="connsiteY87" fmla="*/ 1596 h 10000"/>
                    <a:gd name="connsiteX88" fmla="*/ 1833 w 10000"/>
                    <a:gd name="connsiteY88" fmla="*/ 1497 h 10000"/>
                    <a:gd name="connsiteX89" fmla="*/ 2111 w 10000"/>
                    <a:gd name="connsiteY89" fmla="*/ 1394 h 10000"/>
                    <a:gd name="connsiteX90" fmla="*/ 2278 w 10000"/>
                    <a:gd name="connsiteY90" fmla="*/ 1337 h 10000"/>
                    <a:gd name="connsiteX91" fmla="*/ 2389 w 10000"/>
                    <a:gd name="connsiteY91" fmla="*/ 1278 h 10000"/>
                    <a:gd name="connsiteX92" fmla="*/ 2389 w 10000"/>
                    <a:gd name="connsiteY92" fmla="*/ 1197 h 10000"/>
                    <a:gd name="connsiteX93" fmla="*/ 2389 w 10000"/>
                    <a:gd name="connsiteY93" fmla="*/ 1099 h 10000"/>
                    <a:gd name="connsiteX94" fmla="*/ 2389 w 10000"/>
                    <a:gd name="connsiteY94" fmla="*/ 1099 h 10000"/>
                    <a:gd name="connsiteX95" fmla="*/ 2167 w 10000"/>
                    <a:gd name="connsiteY95" fmla="*/ 818 h 10000"/>
                    <a:gd name="connsiteX96" fmla="*/ 1889 w 10000"/>
                    <a:gd name="connsiteY96" fmla="*/ 438 h 10000"/>
                    <a:gd name="connsiteX97" fmla="*/ 1667 w 10000"/>
                    <a:gd name="connsiteY97" fmla="*/ 99 h 10000"/>
                    <a:gd name="connsiteX98" fmla="*/ 1611 w 10000"/>
                    <a:gd name="connsiteY98" fmla="*/ 0 h 10000"/>
                    <a:gd name="connsiteX99" fmla="*/ 10000 w 10000"/>
                    <a:gd name="connsiteY99" fmla="*/ 8662 h 10000"/>
                    <a:gd name="connsiteX100" fmla="*/ 10000 w 10000"/>
                    <a:gd name="connsiteY100" fmla="*/ 8662 h 10000"/>
                    <a:gd name="connsiteX101" fmla="*/ 9722 w 10000"/>
                    <a:gd name="connsiteY101" fmla="*/ 8641 h 10000"/>
                    <a:gd name="connsiteX102" fmla="*/ 9389 w 10000"/>
                    <a:gd name="connsiteY102" fmla="*/ 8662 h 10000"/>
                    <a:gd name="connsiteX103" fmla="*/ 9389 w 10000"/>
                    <a:gd name="connsiteY103" fmla="*/ 8662 h 10000"/>
                    <a:gd name="connsiteX104" fmla="*/ 9278 w 10000"/>
                    <a:gd name="connsiteY104" fmla="*/ 8686 h 10000"/>
                    <a:gd name="connsiteX105" fmla="*/ 9056 w 10000"/>
                    <a:gd name="connsiteY105" fmla="*/ 8662 h 10000"/>
                    <a:gd name="connsiteX106" fmla="*/ 8889 w 10000"/>
                    <a:gd name="connsiteY106" fmla="*/ 8641 h 10000"/>
                    <a:gd name="connsiteX107" fmla="*/ 8722 w 10000"/>
                    <a:gd name="connsiteY107" fmla="*/ 8603 h 10000"/>
                    <a:gd name="connsiteX108" fmla="*/ 8611 w 10000"/>
                    <a:gd name="connsiteY108" fmla="*/ 8541 h 10000"/>
                    <a:gd name="connsiteX109" fmla="*/ 8444 w 10000"/>
                    <a:gd name="connsiteY109" fmla="*/ 8442 h 10000"/>
                    <a:gd name="connsiteX110" fmla="*/ 8444 w 10000"/>
                    <a:gd name="connsiteY110" fmla="*/ 8442 h 10000"/>
                    <a:gd name="connsiteX111" fmla="*/ 8222 w 10000"/>
                    <a:gd name="connsiteY111" fmla="*/ 8265 h 10000"/>
                    <a:gd name="connsiteX112" fmla="*/ 8111 w 10000"/>
                    <a:gd name="connsiteY112" fmla="*/ 8185 h 10000"/>
                    <a:gd name="connsiteX113" fmla="*/ 7944 w 10000"/>
                    <a:gd name="connsiteY113" fmla="*/ 8125 h 10000"/>
                    <a:gd name="connsiteX114" fmla="*/ 7778 w 10000"/>
                    <a:gd name="connsiteY114" fmla="*/ 8086 h 10000"/>
                    <a:gd name="connsiteX115" fmla="*/ 7556 w 10000"/>
                    <a:gd name="connsiteY115" fmla="*/ 8062 h 10000"/>
                    <a:gd name="connsiteX116" fmla="*/ 7333 w 10000"/>
                    <a:gd name="connsiteY116" fmla="*/ 8045 h 10000"/>
                    <a:gd name="connsiteX117" fmla="*/ 7000 w 10000"/>
                    <a:gd name="connsiteY117" fmla="*/ 8022 h 10000"/>
                    <a:gd name="connsiteX118" fmla="*/ 7000 w 10000"/>
                    <a:gd name="connsiteY118" fmla="*/ 8022 h 10000"/>
                    <a:gd name="connsiteX119" fmla="*/ 6556 w 10000"/>
                    <a:gd name="connsiteY119" fmla="*/ 8045 h 10000"/>
                    <a:gd name="connsiteX120" fmla="*/ 6222 w 10000"/>
                    <a:gd name="connsiteY120" fmla="*/ 8045 h 10000"/>
                    <a:gd name="connsiteX121" fmla="*/ 6111 w 10000"/>
                    <a:gd name="connsiteY121" fmla="*/ 8022 h 10000"/>
                    <a:gd name="connsiteX122" fmla="*/ 6056 w 10000"/>
                    <a:gd name="connsiteY122" fmla="*/ 8003 h 10000"/>
                    <a:gd name="connsiteX123" fmla="*/ 6056 w 10000"/>
                    <a:gd name="connsiteY123" fmla="*/ 8003 h 10000"/>
                    <a:gd name="connsiteX124" fmla="*/ 6056 w 10000"/>
                    <a:gd name="connsiteY124" fmla="*/ 7646 h 10000"/>
                    <a:gd name="connsiteX125" fmla="*/ 6056 w 10000"/>
                    <a:gd name="connsiteY125" fmla="*/ 7646 h 10000"/>
                    <a:gd name="connsiteX126" fmla="*/ 6056 w 10000"/>
                    <a:gd name="connsiteY126" fmla="*/ 7563 h 10000"/>
                    <a:gd name="connsiteX127" fmla="*/ 5944 w 10000"/>
                    <a:gd name="connsiteY127" fmla="*/ 7464 h 10000"/>
                    <a:gd name="connsiteX128" fmla="*/ 5889 w 10000"/>
                    <a:gd name="connsiteY128" fmla="*/ 7443 h 10000"/>
                    <a:gd name="connsiteX129" fmla="*/ 5778 w 10000"/>
                    <a:gd name="connsiteY129" fmla="*/ 7425 h 10000"/>
                    <a:gd name="connsiteX130" fmla="*/ 5667 w 10000"/>
                    <a:gd name="connsiteY130" fmla="*/ 7425 h 10000"/>
                    <a:gd name="connsiteX131" fmla="*/ 5500 w 10000"/>
                    <a:gd name="connsiteY131" fmla="*/ 7443 h 10000"/>
                    <a:gd name="connsiteX132" fmla="*/ 5500 w 10000"/>
                    <a:gd name="connsiteY132" fmla="*/ 7443 h 10000"/>
                    <a:gd name="connsiteX133" fmla="*/ 4889 w 10000"/>
                    <a:gd name="connsiteY133" fmla="*/ 7584 h 10000"/>
                    <a:gd name="connsiteX134" fmla="*/ 4611 w 10000"/>
                    <a:gd name="connsiteY134" fmla="*/ 7626 h 10000"/>
                    <a:gd name="connsiteX135" fmla="*/ 4556 w 10000"/>
                    <a:gd name="connsiteY135" fmla="*/ 7646 h 10000"/>
                    <a:gd name="connsiteX136" fmla="*/ 4500 w 10000"/>
                    <a:gd name="connsiteY136" fmla="*/ 7626 h 10000"/>
                    <a:gd name="connsiteX137" fmla="*/ 4500 w 10000"/>
                    <a:gd name="connsiteY137" fmla="*/ 7626 h 10000"/>
                    <a:gd name="connsiteX138" fmla="*/ 4222 w 10000"/>
                    <a:gd name="connsiteY138" fmla="*/ 7425 h 10000"/>
                    <a:gd name="connsiteX139" fmla="*/ 4222 w 10000"/>
                    <a:gd name="connsiteY139" fmla="*/ 7425 h 10000"/>
                    <a:gd name="connsiteX140" fmla="*/ 4111 w 10000"/>
                    <a:gd name="connsiteY140" fmla="*/ 7326 h 10000"/>
                    <a:gd name="connsiteX141" fmla="*/ 4111 w 10000"/>
                    <a:gd name="connsiteY141" fmla="*/ 7265 h 10000"/>
                    <a:gd name="connsiteX142" fmla="*/ 4111 w 10000"/>
                    <a:gd name="connsiteY142" fmla="*/ 7205 h 10000"/>
                    <a:gd name="connsiteX143" fmla="*/ 4111 w 10000"/>
                    <a:gd name="connsiteY143" fmla="*/ 7205 h 10000"/>
                    <a:gd name="connsiteX144" fmla="*/ 4278 w 10000"/>
                    <a:gd name="connsiteY144" fmla="*/ 7145 h 10000"/>
                    <a:gd name="connsiteX145" fmla="*/ 4389 w 10000"/>
                    <a:gd name="connsiteY145" fmla="*/ 7126 h 10000"/>
                    <a:gd name="connsiteX146" fmla="*/ 4389 w 10000"/>
                    <a:gd name="connsiteY146" fmla="*/ 7126 h 10000"/>
                    <a:gd name="connsiteX147" fmla="*/ 4000 w 10000"/>
                    <a:gd name="connsiteY147" fmla="*/ 7126 h 10000"/>
                    <a:gd name="connsiteX148" fmla="*/ 3722 w 10000"/>
                    <a:gd name="connsiteY148" fmla="*/ 7145 h 10000"/>
                    <a:gd name="connsiteX149" fmla="*/ 3611 w 10000"/>
                    <a:gd name="connsiteY149" fmla="*/ 7166 h 10000"/>
                    <a:gd name="connsiteX150" fmla="*/ 3556 w 10000"/>
                    <a:gd name="connsiteY150" fmla="*/ 7187 h 10000"/>
                    <a:gd name="connsiteX151" fmla="*/ 3556 w 10000"/>
                    <a:gd name="connsiteY151" fmla="*/ 7187 h 10000"/>
                    <a:gd name="connsiteX152" fmla="*/ 3444 w 10000"/>
                    <a:gd name="connsiteY152" fmla="*/ 7265 h 10000"/>
                    <a:gd name="connsiteX153" fmla="*/ 3278 w 10000"/>
                    <a:gd name="connsiteY153" fmla="*/ 7386 h 10000"/>
                    <a:gd name="connsiteX154" fmla="*/ 3000 w 10000"/>
                    <a:gd name="connsiteY154" fmla="*/ 7525 h 10000"/>
                    <a:gd name="connsiteX155" fmla="*/ 2667 w 10000"/>
                    <a:gd name="connsiteY155" fmla="*/ 7626 h 10000"/>
                    <a:gd name="connsiteX156" fmla="*/ 2667 w 10000"/>
                    <a:gd name="connsiteY156" fmla="*/ 7626 h 10000"/>
                    <a:gd name="connsiteX157" fmla="*/ 2333 w 10000"/>
                    <a:gd name="connsiteY157" fmla="*/ 7706 h 10000"/>
                    <a:gd name="connsiteX158" fmla="*/ 1833 w 10000"/>
                    <a:gd name="connsiteY158" fmla="*/ 7786 h 10000"/>
                    <a:gd name="connsiteX159" fmla="*/ 1389 w 10000"/>
                    <a:gd name="connsiteY159" fmla="*/ 7826 h 10000"/>
                    <a:gd name="connsiteX160" fmla="*/ 889 w 10000"/>
                    <a:gd name="connsiteY160" fmla="*/ 7845 h 10000"/>
                    <a:gd name="connsiteX161" fmla="*/ 889 w 10000"/>
                    <a:gd name="connsiteY161" fmla="*/ 7845 h 10000"/>
                    <a:gd name="connsiteX162" fmla="*/ 500 w 10000"/>
                    <a:gd name="connsiteY162" fmla="*/ 7867 h 10000"/>
                    <a:gd name="connsiteX163" fmla="*/ 222 w 10000"/>
                    <a:gd name="connsiteY163" fmla="*/ 7885 h 10000"/>
                    <a:gd name="connsiteX164" fmla="*/ 0 w 10000"/>
                    <a:gd name="connsiteY164" fmla="*/ 7904 h 10000"/>
                    <a:gd name="connsiteX165" fmla="*/ 0 w 10000"/>
                    <a:gd name="connsiteY165" fmla="*/ 7904 h 10000"/>
                    <a:gd name="connsiteX166" fmla="*/ 278 w 10000"/>
                    <a:gd name="connsiteY166" fmla="*/ 8225 h 10000"/>
                    <a:gd name="connsiteX167" fmla="*/ 500 w 10000"/>
                    <a:gd name="connsiteY167" fmla="*/ 8461 h 10000"/>
                    <a:gd name="connsiteX168" fmla="*/ 722 w 10000"/>
                    <a:gd name="connsiteY168" fmla="*/ 8662 h 10000"/>
                    <a:gd name="connsiteX169" fmla="*/ 722 w 10000"/>
                    <a:gd name="connsiteY169" fmla="*/ 8662 h 10000"/>
                    <a:gd name="connsiteX170" fmla="*/ 889 w 10000"/>
                    <a:gd name="connsiteY170" fmla="*/ 8783 h 10000"/>
                    <a:gd name="connsiteX171" fmla="*/ 944 w 10000"/>
                    <a:gd name="connsiteY171" fmla="*/ 8884 h 10000"/>
                    <a:gd name="connsiteX172" fmla="*/ 1111 w 10000"/>
                    <a:gd name="connsiteY172" fmla="*/ 8985 h 10000"/>
                    <a:gd name="connsiteX173" fmla="*/ 1333 w 10000"/>
                    <a:gd name="connsiteY173" fmla="*/ 9140 h 10000"/>
                    <a:gd name="connsiteX174" fmla="*/ 1333 w 10000"/>
                    <a:gd name="connsiteY174" fmla="*/ 9140 h 10000"/>
                    <a:gd name="connsiteX175" fmla="*/ 1444 w 10000"/>
                    <a:gd name="connsiteY175" fmla="*/ 9222 h 10000"/>
                    <a:gd name="connsiteX176" fmla="*/ 1500 w 10000"/>
                    <a:gd name="connsiteY176" fmla="*/ 9281 h 10000"/>
                    <a:gd name="connsiteX177" fmla="*/ 1500 w 10000"/>
                    <a:gd name="connsiteY177" fmla="*/ 9339 h 10000"/>
                    <a:gd name="connsiteX178" fmla="*/ 1556 w 10000"/>
                    <a:gd name="connsiteY178" fmla="*/ 9363 h 10000"/>
                    <a:gd name="connsiteX179" fmla="*/ 1722 w 10000"/>
                    <a:gd name="connsiteY179" fmla="*/ 9380 h 10000"/>
                    <a:gd name="connsiteX180" fmla="*/ 1944 w 10000"/>
                    <a:gd name="connsiteY180" fmla="*/ 9400 h 10000"/>
                    <a:gd name="connsiteX181" fmla="*/ 2944 w 10000"/>
                    <a:gd name="connsiteY181" fmla="*/ 9421 h 10000"/>
                    <a:gd name="connsiteX182" fmla="*/ 2944 w 10000"/>
                    <a:gd name="connsiteY182" fmla="*/ 9421 h 10000"/>
                    <a:gd name="connsiteX183" fmla="*/ 4167 w 10000"/>
                    <a:gd name="connsiteY183" fmla="*/ 9461 h 10000"/>
                    <a:gd name="connsiteX184" fmla="*/ 4889 w 10000"/>
                    <a:gd name="connsiteY184" fmla="*/ 9520 h 10000"/>
                    <a:gd name="connsiteX185" fmla="*/ 5278 w 10000"/>
                    <a:gd name="connsiteY185" fmla="*/ 9582 h 10000"/>
                    <a:gd name="connsiteX186" fmla="*/ 5444 w 10000"/>
                    <a:gd name="connsiteY186" fmla="*/ 9598 h 10000"/>
                    <a:gd name="connsiteX187" fmla="*/ 5444 w 10000"/>
                    <a:gd name="connsiteY187" fmla="*/ 9598 h 10000"/>
                    <a:gd name="connsiteX188" fmla="*/ 5722 w 10000"/>
                    <a:gd name="connsiteY188" fmla="*/ 9643 h 10000"/>
                    <a:gd name="connsiteX189" fmla="*/ 5833 w 10000"/>
                    <a:gd name="connsiteY189" fmla="*/ 9664 h 10000"/>
                    <a:gd name="connsiteX190" fmla="*/ 5833 w 10000"/>
                    <a:gd name="connsiteY190" fmla="*/ 9664 h 10000"/>
                    <a:gd name="connsiteX191" fmla="*/ 5833 w 10000"/>
                    <a:gd name="connsiteY191" fmla="*/ 9643 h 10000"/>
                    <a:gd name="connsiteX192" fmla="*/ 5889 w 10000"/>
                    <a:gd name="connsiteY192" fmla="*/ 9621 h 10000"/>
                    <a:gd name="connsiteX193" fmla="*/ 6000 w 10000"/>
                    <a:gd name="connsiteY193" fmla="*/ 9598 h 10000"/>
                    <a:gd name="connsiteX194" fmla="*/ 6167 w 10000"/>
                    <a:gd name="connsiteY194" fmla="*/ 9582 h 10000"/>
                    <a:gd name="connsiteX195" fmla="*/ 6444 w 10000"/>
                    <a:gd name="connsiteY195" fmla="*/ 9582 h 10000"/>
                    <a:gd name="connsiteX196" fmla="*/ 6833 w 10000"/>
                    <a:gd name="connsiteY196" fmla="*/ 9598 h 10000"/>
                    <a:gd name="connsiteX197" fmla="*/ 7278 w 10000"/>
                    <a:gd name="connsiteY197" fmla="*/ 9664 h 10000"/>
                    <a:gd name="connsiteX198" fmla="*/ 7278 w 10000"/>
                    <a:gd name="connsiteY198" fmla="*/ 9664 h 10000"/>
                    <a:gd name="connsiteX199" fmla="*/ 8722 w 10000"/>
                    <a:gd name="connsiteY199" fmla="*/ 9838 h 10000"/>
                    <a:gd name="connsiteX200" fmla="*/ 10000 w 10000"/>
                    <a:gd name="connsiteY200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6556 w 10000"/>
                    <a:gd name="connsiteY70" fmla="*/ 3631 h 10000"/>
                    <a:gd name="connsiteX71" fmla="*/ 5333 w 10000"/>
                    <a:gd name="connsiteY71" fmla="*/ 2712 h 10000"/>
                    <a:gd name="connsiteX72" fmla="*/ 4056 w 10000"/>
                    <a:gd name="connsiteY72" fmla="*/ 2395 h 10000"/>
                    <a:gd name="connsiteX73" fmla="*/ 2889 w 10000"/>
                    <a:gd name="connsiteY73" fmla="*/ 2176 h 10000"/>
                    <a:gd name="connsiteX74" fmla="*/ 2889 w 10000"/>
                    <a:gd name="connsiteY74" fmla="*/ 2176 h 10000"/>
                    <a:gd name="connsiteX75" fmla="*/ 2389 w 10000"/>
                    <a:gd name="connsiteY75" fmla="*/ 2154 h 10000"/>
                    <a:gd name="connsiteX76" fmla="*/ 2000 w 10000"/>
                    <a:gd name="connsiteY76" fmla="*/ 2135 h 10000"/>
                    <a:gd name="connsiteX77" fmla="*/ 1889 w 10000"/>
                    <a:gd name="connsiteY77" fmla="*/ 2116 h 10000"/>
                    <a:gd name="connsiteX78" fmla="*/ 1778 w 10000"/>
                    <a:gd name="connsiteY78" fmla="*/ 2094 h 10000"/>
                    <a:gd name="connsiteX79" fmla="*/ 1778 w 10000"/>
                    <a:gd name="connsiteY79" fmla="*/ 2094 h 10000"/>
                    <a:gd name="connsiteX80" fmla="*/ 1667 w 10000"/>
                    <a:gd name="connsiteY80" fmla="*/ 2016 h 10000"/>
                    <a:gd name="connsiteX81" fmla="*/ 1500 w 10000"/>
                    <a:gd name="connsiteY81" fmla="*/ 1876 h 10000"/>
                    <a:gd name="connsiteX82" fmla="*/ 1444 w 10000"/>
                    <a:gd name="connsiteY82" fmla="*/ 1796 h 10000"/>
                    <a:gd name="connsiteX83" fmla="*/ 1444 w 10000"/>
                    <a:gd name="connsiteY83" fmla="*/ 1716 h 10000"/>
                    <a:gd name="connsiteX84" fmla="*/ 1444 w 10000"/>
                    <a:gd name="connsiteY84" fmla="*/ 1656 h 10000"/>
                    <a:gd name="connsiteX85" fmla="*/ 1556 w 10000"/>
                    <a:gd name="connsiteY85" fmla="*/ 1596 h 10000"/>
                    <a:gd name="connsiteX86" fmla="*/ 1556 w 10000"/>
                    <a:gd name="connsiteY86" fmla="*/ 1596 h 10000"/>
                    <a:gd name="connsiteX87" fmla="*/ 1833 w 10000"/>
                    <a:gd name="connsiteY87" fmla="*/ 1497 h 10000"/>
                    <a:gd name="connsiteX88" fmla="*/ 2111 w 10000"/>
                    <a:gd name="connsiteY88" fmla="*/ 1394 h 10000"/>
                    <a:gd name="connsiteX89" fmla="*/ 2278 w 10000"/>
                    <a:gd name="connsiteY89" fmla="*/ 1337 h 10000"/>
                    <a:gd name="connsiteX90" fmla="*/ 2389 w 10000"/>
                    <a:gd name="connsiteY90" fmla="*/ 1278 h 10000"/>
                    <a:gd name="connsiteX91" fmla="*/ 2389 w 10000"/>
                    <a:gd name="connsiteY91" fmla="*/ 1197 h 10000"/>
                    <a:gd name="connsiteX92" fmla="*/ 2389 w 10000"/>
                    <a:gd name="connsiteY92" fmla="*/ 1099 h 10000"/>
                    <a:gd name="connsiteX93" fmla="*/ 2389 w 10000"/>
                    <a:gd name="connsiteY93" fmla="*/ 1099 h 10000"/>
                    <a:gd name="connsiteX94" fmla="*/ 2167 w 10000"/>
                    <a:gd name="connsiteY94" fmla="*/ 818 h 10000"/>
                    <a:gd name="connsiteX95" fmla="*/ 1889 w 10000"/>
                    <a:gd name="connsiteY95" fmla="*/ 438 h 10000"/>
                    <a:gd name="connsiteX96" fmla="*/ 1667 w 10000"/>
                    <a:gd name="connsiteY96" fmla="*/ 99 h 10000"/>
                    <a:gd name="connsiteX97" fmla="*/ 1611 w 10000"/>
                    <a:gd name="connsiteY97" fmla="*/ 0 h 10000"/>
                    <a:gd name="connsiteX98" fmla="*/ 10000 w 10000"/>
                    <a:gd name="connsiteY98" fmla="*/ 8662 h 10000"/>
                    <a:gd name="connsiteX99" fmla="*/ 10000 w 10000"/>
                    <a:gd name="connsiteY99" fmla="*/ 8662 h 10000"/>
                    <a:gd name="connsiteX100" fmla="*/ 9722 w 10000"/>
                    <a:gd name="connsiteY100" fmla="*/ 8641 h 10000"/>
                    <a:gd name="connsiteX101" fmla="*/ 9389 w 10000"/>
                    <a:gd name="connsiteY101" fmla="*/ 8662 h 10000"/>
                    <a:gd name="connsiteX102" fmla="*/ 9389 w 10000"/>
                    <a:gd name="connsiteY102" fmla="*/ 8662 h 10000"/>
                    <a:gd name="connsiteX103" fmla="*/ 9278 w 10000"/>
                    <a:gd name="connsiteY103" fmla="*/ 8686 h 10000"/>
                    <a:gd name="connsiteX104" fmla="*/ 9056 w 10000"/>
                    <a:gd name="connsiteY104" fmla="*/ 8662 h 10000"/>
                    <a:gd name="connsiteX105" fmla="*/ 8889 w 10000"/>
                    <a:gd name="connsiteY105" fmla="*/ 8641 h 10000"/>
                    <a:gd name="connsiteX106" fmla="*/ 8722 w 10000"/>
                    <a:gd name="connsiteY106" fmla="*/ 8603 h 10000"/>
                    <a:gd name="connsiteX107" fmla="*/ 8611 w 10000"/>
                    <a:gd name="connsiteY107" fmla="*/ 8541 h 10000"/>
                    <a:gd name="connsiteX108" fmla="*/ 8444 w 10000"/>
                    <a:gd name="connsiteY108" fmla="*/ 8442 h 10000"/>
                    <a:gd name="connsiteX109" fmla="*/ 8444 w 10000"/>
                    <a:gd name="connsiteY109" fmla="*/ 8442 h 10000"/>
                    <a:gd name="connsiteX110" fmla="*/ 8222 w 10000"/>
                    <a:gd name="connsiteY110" fmla="*/ 8265 h 10000"/>
                    <a:gd name="connsiteX111" fmla="*/ 8111 w 10000"/>
                    <a:gd name="connsiteY111" fmla="*/ 8185 h 10000"/>
                    <a:gd name="connsiteX112" fmla="*/ 7944 w 10000"/>
                    <a:gd name="connsiteY112" fmla="*/ 8125 h 10000"/>
                    <a:gd name="connsiteX113" fmla="*/ 7778 w 10000"/>
                    <a:gd name="connsiteY113" fmla="*/ 8086 h 10000"/>
                    <a:gd name="connsiteX114" fmla="*/ 7556 w 10000"/>
                    <a:gd name="connsiteY114" fmla="*/ 8062 h 10000"/>
                    <a:gd name="connsiteX115" fmla="*/ 7333 w 10000"/>
                    <a:gd name="connsiteY115" fmla="*/ 8045 h 10000"/>
                    <a:gd name="connsiteX116" fmla="*/ 7000 w 10000"/>
                    <a:gd name="connsiteY116" fmla="*/ 8022 h 10000"/>
                    <a:gd name="connsiteX117" fmla="*/ 7000 w 10000"/>
                    <a:gd name="connsiteY117" fmla="*/ 8022 h 10000"/>
                    <a:gd name="connsiteX118" fmla="*/ 6556 w 10000"/>
                    <a:gd name="connsiteY118" fmla="*/ 8045 h 10000"/>
                    <a:gd name="connsiteX119" fmla="*/ 6222 w 10000"/>
                    <a:gd name="connsiteY119" fmla="*/ 8045 h 10000"/>
                    <a:gd name="connsiteX120" fmla="*/ 6111 w 10000"/>
                    <a:gd name="connsiteY120" fmla="*/ 8022 h 10000"/>
                    <a:gd name="connsiteX121" fmla="*/ 6056 w 10000"/>
                    <a:gd name="connsiteY121" fmla="*/ 8003 h 10000"/>
                    <a:gd name="connsiteX122" fmla="*/ 6056 w 10000"/>
                    <a:gd name="connsiteY122" fmla="*/ 8003 h 10000"/>
                    <a:gd name="connsiteX123" fmla="*/ 6056 w 10000"/>
                    <a:gd name="connsiteY123" fmla="*/ 7646 h 10000"/>
                    <a:gd name="connsiteX124" fmla="*/ 6056 w 10000"/>
                    <a:gd name="connsiteY124" fmla="*/ 7646 h 10000"/>
                    <a:gd name="connsiteX125" fmla="*/ 6056 w 10000"/>
                    <a:gd name="connsiteY125" fmla="*/ 7563 h 10000"/>
                    <a:gd name="connsiteX126" fmla="*/ 5944 w 10000"/>
                    <a:gd name="connsiteY126" fmla="*/ 7464 h 10000"/>
                    <a:gd name="connsiteX127" fmla="*/ 5889 w 10000"/>
                    <a:gd name="connsiteY127" fmla="*/ 7443 h 10000"/>
                    <a:gd name="connsiteX128" fmla="*/ 5778 w 10000"/>
                    <a:gd name="connsiteY128" fmla="*/ 7425 h 10000"/>
                    <a:gd name="connsiteX129" fmla="*/ 5667 w 10000"/>
                    <a:gd name="connsiteY129" fmla="*/ 7425 h 10000"/>
                    <a:gd name="connsiteX130" fmla="*/ 5500 w 10000"/>
                    <a:gd name="connsiteY130" fmla="*/ 7443 h 10000"/>
                    <a:gd name="connsiteX131" fmla="*/ 5500 w 10000"/>
                    <a:gd name="connsiteY131" fmla="*/ 7443 h 10000"/>
                    <a:gd name="connsiteX132" fmla="*/ 4889 w 10000"/>
                    <a:gd name="connsiteY132" fmla="*/ 7584 h 10000"/>
                    <a:gd name="connsiteX133" fmla="*/ 4611 w 10000"/>
                    <a:gd name="connsiteY133" fmla="*/ 7626 h 10000"/>
                    <a:gd name="connsiteX134" fmla="*/ 4556 w 10000"/>
                    <a:gd name="connsiteY134" fmla="*/ 7646 h 10000"/>
                    <a:gd name="connsiteX135" fmla="*/ 4500 w 10000"/>
                    <a:gd name="connsiteY135" fmla="*/ 7626 h 10000"/>
                    <a:gd name="connsiteX136" fmla="*/ 4500 w 10000"/>
                    <a:gd name="connsiteY136" fmla="*/ 7626 h 10000"/>
                    <a:gd name="connsiteX137" fmla="*/ 4222 w 10000"/>
                    <a:gd name="connsiteY137" fmla="*/ 7425 h 10000"/>
                    <a:gd name="connsiteX138" fmla="*/ 4222 w 10000"/>
                    <a:gd name="connsiteY138" fmla="*/ 7425 h 10000"/>
                    <a:gd name="connsiteX139" fmla="*/ 4111 w 10000"/>
                    <a:gd name="connsiteY139" fmla="*/ 7326 h 10000"/>
                    <a:gd name="connsiteX140" fmla="*/ 4111 w 10000"/>
                    <a:gd name="connsiteY140" fmla="*/ 7265 h 10000"/>
                    <a:gd name="connsiteX141" fmla="*/ 4111 w 10000"/>
                    <a:gd name="connsiteY141" fmla="*/ 7205 h 10000"/>
                    <a:gd name="connsiteX142" fmla="*/ 4111 w 10000"/>
                    <a:gd name="connsiteY142" fmla="*/ 7205 h 10000"/>
                    <a:gd name="connsiteX143" fmla="*/ 4278 w 10000"/>
                    <a:gd name="connsiteY143" fmla="*/ 7145 h 10000"/>
                    <a:gd name="connsiteX144" fmla="*/ 4389 w 10000"/>
                    <a:gd name="connsiteY144" fmla="*/ 7126 h 10000"/>
                    <a:gd name="connsiteX145" fmla="*/ 4389 w 10000"/>
                    <a:gd name="connsiteY145" fmla="*/ 7126 h 10000"/>
                    <a:gd name="connsiteX146" fmla="*/ 4000 w 10000"/>
                    <a:gd name="connsiteY146" fmla="*/ 7126 h 10000"/>
                    <a:gd name="connsiteX147" fmla="*/ 3722 w 10000"/>
                    <a:gd name="connsiteY147" fmla="*/ 7145 h 10000"/>
                    <a:gd name="connsiteX148" fmla="*/ 3611 w 10000"/>
                    <a:gd name="connsiteY148" fmla="*/ 7166 h 10000"/>
                    <a:gd name="connsiteX149" fmla="*/ 3556 w 10000"/>
                    <a:gd name="connsiteY149" fmla="*/ 7187 h 10000"/>
                    <a:gd name="connsiteX150" fmla="*/ 3556 w 10000"/>
                    <a:gd name="connsiteY150" fmla="*/ 7187 h 10000"/>
                    <a:gd name="connsiteX151" fmla="*/ 3444 w 10000"/>
                    <a:gd name="connsiteY151" fmla="*/ 7265 h 10000"/>
                    <a:gd name="connsiteX152" fmla="*/ 3278 w 10000"/>
                    <a:gd name="connsiteY152" fmla="*/ 7386 h 10000"/>
                    <a:gd name="connsiteX153" fmla="*/ 3000 w 10000"/>
                    <a:gd name="connsiteY153" fmla="*/ 7525 h 10000"/>
                    <a:gd name="connsiteX154" fmla="*/ 2667 w 10000"/>
                    <a:gd name="connsiteY154" fmla="*/ 7626 h 10000"/>
                    <a:gd name="connsiteX155" fmla="*/ 2667 w 10000"/>
                    <a:gd name="connsiteY155" fmla="*/ 7626 h 10000"/>
                    <a:gd name="connsiteX156" fmla="*/ 2333 w 10000"/>
                    <a:gd name="connsiteY156" fmla="*/ 7706 h 10000"/>
                    <a:gd name="connsiteX157" fmla="*/ 1833 w 10000"/>
                    <a:gd name="connsiteY157" fmla="*/ 7786 h 10000"/>
                    <a:gd name="connsiteX158" fmla="*/ 1389 w 10000"/>
                    <a:gd name="connsiteY158" fmla="*/ 7826 h 10000"/>
                    <a:gd name="connsiteX159" fmla="*/ 889 w 10000"/>
                    <a:gd name="connsiteY159" fmla="*/ 7845 h 10000"/>
                    <a:gd name="connsiteX160" fmla="*/ 889 w 10000"/>
                    <a:gd name="connsiteY160" fmla="*/ 7845 h 10000"/>
                    <a:gd name="connsiteX161" fmla="*/ 500 w 10000"/>
                    <a:gd name="connsiteY161" fmla="*/ 7867 h 10000"/>
                    <a:gd name="connsiteX162" fmla="*/ 222 w 10000"/>
                    <a:gd name="connsiteY162" fmla="*/ 7885 h 10000"/>
                    <a:gd name="connsiteX163" fmla="*/ 0 w 10000"/>
                    <a:gd name="connsiteY163" fmla="*/ 7904 h 10000"/>
                    <a:gd name="connsiteX164" fmla="*/ 0 w 10000"/>
                    <a:gd name="connsiteY164" fmla="*/ 7904 h 10000"/>
                    <a:gd name="connsiteX165" fmla="*/ 278 w 10000"/>
                    <a:gd name="connsiteY165" fmla="*/ 8225 h 10000"/>
                    <a:gd name="connsiteX166" fmla="*/ 500 w 10000"/>
                    <a:gd name="connsiteY166" fmla="*/ 8461 h 10000"/>
                    <a:gd name="connsiteX167" fmla="*/ 722 w 10000"/>
                    <a:gd name="connsiteY167" fmla="*/ 8662 h 10000"/>
                    <a:gd name="connsiteX168" fmla="*/ 722 w 10000"/>
                    <a:gd name="connsiteY168" fmla="*/ 8662 h 10000"/>
                    <a:gd name="connsiteX169" fmla="*/ 889 w 10000"/>
                    <a:gd name="connsiteY169" fmla="*/ 8783 h 10000"/>
                    <a:gd name="connsiteX170" fmla="*/ 944 w 10000"/>
                    <a:gd name="connsiteY170" fmla="*/ 8884 h 10000"/>
                    <a:gd name="connsiteX171" fmla="*/ 1111 w 10000"/>
                    <a:gd name="connsiteY171" fmla="*/ 8985 h 10000"/>
                    <a:gd name="connsiteX172" fmla="*/ 1333 w 10000"/>
                    <a:gd name="connsiteY172" fmla="*/ 9140 h 10000"/>
                    <a:gd name="connsiteX173" fmla="*/ 1333 w 10000"/>
                    <a:gd name="connsiteY173" fmla="*/ 9140 h 10000"/>
                    <a:gd name="connsiteX174" fmla="*/ 1444 w 10000"/>
                    <a:gd name="connsiteY174" fmla="*/ 9222 h 10000"/>
                    <a:gd name="connsiteX175" fmla="*/ 1500 w 10000"/>
                    <a:gd name="connsiteY175" fmla="*/ 9281 h 10000"/>
                    <a:gd name="connsiteX176" fmla="*/ 1500 w 10000"/>
                    <a:gd name="connsiteY176" fmla="*/ 9339 h 10000"/>
                    <a:gd name="connsiteX177" fmla="*/ 1556 w 10000"/>
                    <a:gd name="connsiteY177" fmla="*/ 9363 h 10000"/>
                    <a:gd name="connsiteX178" fmla="*/ 1722 w 10000"/>
                    <a:gd name="connsiteY178" fmla="*/ 9380 h 10000"/>
                    <a:gd name="connsiteX179" fmla="*/ 1944 w 10000"/>
                    <a:gd name="connsiteY179" fmla="*/ 9400 h 10000"/>
                    <a:gd name="connsiteX180" fmla="*/ 2944 w 10000"/>
                    <a:gd name="connsiteY180" fmla="*/ 9421 h 10000"/>
                    <a:gd name="connsiteX181" fmla="*/ 2944 w 10000"/>
                    <a:gd name="connsiteY181" fmla="*/ 9421 h 10000"/>
                    <a:gd name="connsiteX182" fmla="*/ 4167 w 10000"/>
                    <a:gd name="connsiteY182" fmla="*/ 9461 h 10000"/>
                    <a:gd name="connsiteX183" fmla="*/ 4889 w 10000"/>
                    <a:gd name="connsiteY183" fmla="*/ 9520 h 10000"/>
                    <a:gd name="connsiteX184" fmla="*/ 5278 w 10000"/>
                    <a:gd name="connsiteY184" fmla="*/ 9582 h 10000"/>
                    <a:gd name="connsiteX185" fmla="*/ 5444 w 10000"/>
                    <a:gd name="connsiteY185" fmla="*/ 9598 h 10000"/>
                    <a:gd name="connsiteX186" fmla="*/ 5444 w 10000"/>
                    <a:gd name="connsiteY186" fmla="*/ 9598 h 10000"/>
                    <a:gd name="connsiteX187" fmla="*/ 5722 w 10000"/>
                    <a:gd name="connsiteY187" fmla="*/ 9643 h 10000"/>
                    <a:gd name="connsiteX188" fmla="*/ 5833 w 10000"/>
                    <a:gd name="connsiteY188" fmla="*/ 9664 h 10000"/>
                    <a:gd name="connsiteX189" fmla="*/ 5833 w 10000"/>
                    <a:gd name="connsiteY189" fmla="*/ 9664 h 10000"/>
                    <a:gd name="connsiteX190" fmla="*/ 5833 w 10000"/>
                    <a:gd name="connsiteY190" fmla="*/ 9643 h 10000"/>
                    <a:gd name="connsiteX191" fmla="*/ 5889 w 10000"/>
                    <a:gd name="connsiteY191" fmla="*/ 9621 h 10000"/>
                    <a:gd name="connsiteX192" fmla="*/ 6000 w 10000"/>
                    <a:gd name="connsiteY192" fmla="*/ 9598 h 10000"/>
                    <a:gd name="connsiteX193" fmla="*/ 6167 w 10000"/>
                    <a:gd name="connsiteY193" fmla="*/ 9582 h 10000"/>
                    <a:gd name="connsiteX194" fmla="*/ 6444 w 10000"/>
                    <a:gd name="connsiteY194" fmla="*/ 9582 h 10000"/>
                    <a:gd name="connsiteX195" fmla="*/ 6833 w 10000"/>
                    <a:gd name="connsiteY195" fmla="*/ 9598 h 10000"/>
                    <a:gd name="connsiteX196" fmla="*/ 7278 w 10000"/>
                    <a:gd name="connsiteY196" fmla="*/ 9664 h 10000"/>
                    <a:gd name="connsiteX197" fmla="*/ 7278 w 10000"/>
                    <a:gd name="connsiteY197" fmla="*/ 9664 h 10000"/>
                    <a:gd name="connsiteX198" fmla="*/ 8722 w 10000"/>
                    <a:gd name="connsiteY198" fmla="*/ 9838 h 10000"/>
                    <a:gd name="connsiteX199" fmla="*/ 10000 w 10000"/>
                    <a:gd name="connsiteY199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5333 w 10000"/>
                    <a:gd name="connsiteY70" fmla="*/ 2712 h 10000"/>
                    <a:gd name="connsiteX71" fmla="*/ 4056 w 10000"/>
                    <a:gd name="connsiteY71" fmla="*/ 2395 h 10000"/>
                    <a:gd name="connsiteX72" fmla="*/ 2889 w 10000"/>
                    <a:gd name="connsiteY72" fmla="*/ 2176 h 10000"/>
                    <a:gd name="connsiteX73" fmla="*/ 2889 w 10000"/>
                    <a:gd name="connsiteY73" fmla="*/ 2176 h 10000"/>
                    <a:gd name="connsiteX74" fmla="*/ 2389 w 10000"/>
                    <a:gd name="connsiteY74" fmla="*/ 2154 h 10000"/>
                    <a:gd name="connsiteX75" fmla="*/ 2000 w 10000"/>
                    <a:gd name="connsiteY75" fmla="*/ 2135 h 10000"/>
                    <a:gd name="connsiteX76" fmla="*/ 1889 w 10000"/>
                    <a:gd name="connsiteY76" fmla="*/ 2116 h 10000"/>
                    <a:gd name="connsiteX77" fmla="*/ 1778 w 10000"/>
                    <a:gd name="connsiteY77" fmla="*/ 2094 h 10000"/>
                    <a:gd name="connsiteX78" fmla="*/ 1778 w 10000"/>
                    <a:gd name="connsiteY78" fmla="*/ 2094 h 10000"/>
                    <a:gd name="connsiteX79" fmla="*/ 1667 w 10000"/>
                    <a:gd name="connsiteY79" fmla="*/ 2016 h 10000"/>
                    <a:gd name="connsiteX80" fmla="*/ 1500 w 10000"/>
                    <a:gd name="connsiteY80" fmla="*/ 1876 h 10000"/>
                    <a:gd name="connsiteX81" fmla="*/ 1444 w 10000"/>
                    <a:gd name="connsiteY81" fmla="*/ 1796 h 10000"/>
                    <a:gd name="connsiteX82" fmla="*/ 1444 w 10000"/>
                    <a:gd name="connsiteY82" fmla="*/ 1716 h 10000"/>
                    <a:gd name="connsiteX83" fmla="*/ 1444 w 10000"/>
                    <a:gd name="connsiteY83" fmla="*/ 1656 h 10000"/>
                    <a:gd name="connsiteX84" fmla="*/ 1556 w 10000"/>
                    <a:gd name="connsiteY84" fmla="*/ 1596 h 10000"/>
                    <a:gd name="connsiteX85" fmla="*/ 1556 w 10000"/>
                    <a:gd name="connsiteY85" fmla="*/ 1596 h 10000"/>
                    <a:gd name="connsiteX86" fmla="*/ 1833 w 10000"/>
                    <a:gd name="connsiteY86" fmla="*/ 1497 h 10000"/>
                    <a:gd name="connsiteX87" fmla="*/ 2111 w 10000"/>
                    <a:gd name="connsiteY87" fmla="*/ 1394 h 10000"/>
                    <a:gd name="connsiteX88" fmla="*/ 2278 w 10000"/>
                    <a:gd name="connsiteY88" fmla="*/ 1337 h 10000"/>
                    <a:gd name="connsiteX89" fmla="*/ 2389 w 10000"/>
                    <a:gd name="connsiteY89" fmla="*/ 1278 h 10000"/>
                    <a:gd name="connsiteX90" fmla="*/ 2389 w 10000"/>
                    <a:gd name="connsiteY90" fmla="*/ 1197 h 10000"/>
                    <a:gd name="connsiteX91" fmla="*/ 2389 w 10000"/>
                    <a:gd name="connsiteY91" fmla="*/ 1099 h 10000"/>
                    <a:gd name="connsiteX92" fmla="*/ 2389 w 10000"/>
                    <a:gd name="connsiteY92" fmla="*/ 1099 h 10000"/>
                    <a:gd name="connsiteX93" fmla="*/ 2167 w 10000"/>
                    <a:gd name="connsiteY93" fmla="*/ 818 h 10000"/>
                    <a:gd name="connsiteX94" fmla="*/ 1889 w 10000"/>
                    <a:gd name="connsiteY94" fmla="*/ 438 h 10000"/>
                    <a:gd name="connsiteX95" fmla="*/ 1667 w 10000"/>
                    <a:gd name="connsiteY95" fmla="*/ 99 h 10000"/>
                    <a:gd name="connsiteX96" fmla="*/ 1611 w 10000"/>
                    <a:gd name="connsiteY96" fmla="*/ 0 h 10000"/>
                    <a:gd name="connsiteX97" fmla="*/ 10000 w 10000"/>
                    <a:gd name="connsiteY97" fmla="*/ 8662 h 10000"/>
                    <a:gd name="connsiteX98" fmla="*/ 10000 w 10000"/>
                    <a:gd name="connsiteY98" fmla="*/ 8662 h 10000"/>
                    <a:gd name="connsiteX99" fmla="*/ 9722 w 10000"/>
                    <a:gd name="connsiteY99" fmla="*/ 8641 h 10000"/>
                    <a:gd name="connsiteX100" fmla="*/ 9389 w 10000"/>
                    <a:gd name="connsiteY100" fmla="*/ 8662 h 10000"/>
                    <a:gd name="connsiteX101" fmla="*/ 9389 w 10000"/>
                    <a:gd name="connsiteY101" fmla="*/ 8662 h 10000"/>
                    <a:gd name="connsiteX102" fmla="*/ 9278 w 10000"/>
                    <a:gd name="connsiteY102" fmla="*/ 8686 h 10000"/>
                    <a:gd name="connsiteX103" fmla="*/ 9056 w 10000"/>
                    <a:gd name="connsiteY103" fmla="*/ 8662 h 10000"/>
                    <a:gd name="connsiteX104" fmla="*/ 8889 w 10000"/>
                    <a:gd name="connsiteY104" fmla="*/ 8641 h 10000"/>
                    <a:gd name="connsiteX105" fmla="*/ 8722 w 10000"/>
                    <a:gd name="connsiteY105" fmla="*/ 8603 h 10000"/>
                    <a:gd name="connsiteX106" fmla="*/ 8611 w 10000"/>
                    <a:gd name="connsiteY106" fmla="*/ 8541 h 10000"/>
                    <a:gd name="connsiteX107" fmla="*/ 8444 w 10000"/>
                    <a:gd name="connsiteY107" fmla="*/ 8442 h 10000"/>
                    <a:gd name="connsiteX108" fmla="*/ 8444 w 10000"/>
                    <a:gd name="connsiteY108" fmla="*/ 8442 h 10000"/>
                    <a:gd name="connsiteX109" fmla="*/ 8222 w 10000"/>
                    <a:gd name="connsiteY109" fmla="*/ 8265 h 10000"/>
                    <a:gd name="connsiteX110" fmla="*/ 8111 w 10000"/>
                    <a:gd name="connsiteY110" fmla="*/ 8185 h 10000"/>
                    <a:gd name="connsiteX111" fmla="*/ 7944 w 10000"/>
                    <a:gd name="connsiteY111" fmla="*/ 8125 h 10000"/>
                    <a:gd name="connsiteX112" fmla="*/ 7778 w 10000"/>
                    <a:gd name="connsiteY112" fmla="*/ 8086 h 10000"/>
                    <a:gd name="connsiteX113" fmla="*/ 7556 w 10000"/>
                    <a:gd name="connsiteY113" fmla="*/ 8062 h 10000"/>
                    <a:gd name="connsiteX114" fmla="*/ 7333 w 10000"/>
                    <a:gd name="connsiteY114" fmla="*/ 8045 h 10000"/>
                    <a:gd name="connsiteX115" fmla="*/ 7000 w 10000"/>
                    <a:gd name="connsiteY115" fmla="*/ 8022 h 10000"/>
                    <a:gd name="connsiteX116" fmla="*/ 7000 w 10000"/>
                    <a:gd name="connsiteY116" fmla="*/ 8022 h 10000"/>
                    <a:gd name="connsiteX117" fmla="*/ 6556 w 10000"/>
                    <a:gd name="connsiteY117" fmla="*/ 8045 h 10000"/>
                    <a:gd name="connsiteX118" fmla="*/ 6222 w 10000"/>
                    <a:gd name="connsiteY118" fmla="*/ 8045 h 10000"/>
                    <a:gd name="connsiteX119" fmla="*/ 6111 w 10000"/>
                    <a:gd name="connsiteY119" fmla="*/ 8022 h 10000"/>
                    <a:gd name="connsiteX120" fmla="*/ 6056 w 10000"/>
                    <a:gd name="connsiteY120" fmla="*/ 8003 h 10000"/>
                    <a:gd name="connsiteX121" fmla="*/ 6056 w 10000"/>
                    <a:gd name="connsiteY121" fmla="*/ 8003 h 10000"/>
                    <a:gd name="connsiteX122" fmla="*/ 6056 w 10000"/>
                    <a:gd name="connsiteY122" fmla="*/ 7646 h 10000"/>
                    <a:gd name="connsiteX123" fmla="*/ 6056 w 10000"/>
                    <a:gd name="connsiteY123" fmla="*/ 7646 h 10000"/>
                    <a:gd name="connsiteX124" fmla="*/ 6056 w 10000"/>
                    <a:gd name="connsiteY124" fmla="*/ 7563 h 10000"/>
                    <a:gd name="connsiteX125" fmla="*/ 5944 w 10000"/>
                    <a:gd name="connsiteY125" fmla="*/ 7464 h 10000"/>
                    <a:gd name="connsiteX126" fmla="*/ 5889 w 10000"/>
                    <a:gd name="connsiteY126" fmla="*/ 7443 h 10000"/>
                    <a:gd name="connsiteX127" fmla="*/ 5778 w 10000"/>
                    <a:gd name="connsiteY127" fmla="*/ 7425 h 10000"/>
                    <a:gd name="connsiteX128" fmla="*/ 5667 w 10000"/>
                    <a:gd name="connsiteY128" fmla="*/ 7425 h 10000"/>
                    <a:gd name="connsiteX129" fmla="*/ 5500 w 10000"/>
                    <a:gd name="connsiteY129" fmla="*/ 7443 h 10000"/>
                    <a:gd name="connsiteX130" fmla="*/ 5500 w 10000"/>
                    <a:gd name="connsiteY130" fmla="*/ 7443 h 10000"/>
                    <a:gd name="connsiteX131" fmla="*/ 4889 w 10000"/>
                    <a:gd name="connsiteY131" fmla="*/ 7584 h 10000"/>
                    <a:gd name="connsiteX132" fmla="*/ 4611 w 10000"/>
                    <a:gd name="connsiteY132" fmla="*/ 7626 h 10000"/>
                    <a:gd name="connsiteX133" fmla="*/ 4556 w 10000"/>
                    <a:gd name="connsiteY133" fmla="*/ 7646 h 10000"/>
                    <a:gd name="connsiteX134" fmla="*/ 4500 w 10000"/>
                    <a:gd name="connsiteY134" fmla="*/ 7626 h 10000"/>
                    <a:gd name="connsiteX135" fmla="*/ 4500 w 10000"/>
                    <a:gd name="connsiteY135" fmla="*/ 7626 h 10000"/>
                    <a:gd name="connsiteX136" fmla="*/ 4222 w 10000"/>
                    <a:gd name="connsiteY136" fmla="*/ 7425 h 10000"/>
                    <a:gd name="connsiteX137" fmla="*/ 4222 w 10000"/>
                    <a:gd name="connsiteY137" fmla="*/ 7425 h 10000"/>
                    <a:gd name="connsiteX138" fmla="*/ 4111 w 10000"/>
                    <a:gd name="connsiteY138" fmla="*/ 7326 h 10000"/>
                    <a:gd name="connsiteX139" fmla="*/ 4111 w 10000"/>
                    <a:gd name="connsiteY139" fmla="*/ 7265 h 10000"/>
                    <a:gd name="connsiteX140" fmla="*/ 4111 w 10000"/>
                    <a:gd name="connsiteY140" fmla="*/ 7205 h 10000"/>
                    <a:gd name="connsiteX141" fmla="*/ 4111 w 10000"/>
                    <a:gd name="connsiteY141" fmla="*/ 7205 h 10000"/>
                    <a:gd name="connsiteX142" fmla="*/ 4278 w 10000"/>
                    <a:gd name="connsiteY142" fmla="*/ 7145 h 10000"/>
                    <a:gd name="connsiteX143" fmla="*/ 4389 w 10000"/>
                    <a:gd name="connsiteY143" fmla="*/ 7126 h 10000"/>
                    <a:gd name="connsiteX144" fmla="*/ 4389 w 10000"/>
                    <a:gd name="connsiteY144" fmla="*/ 7126 h 10000"/>
                    <a:gd name="connsiteX145" fmla="*/ 4000 w 10000"/>
                    <a:gd name="connsiteY145" fmla="*/ 7126 h 10000"/>
                    <a:gd name="connsiteX146" fmla="*/ 3722 w 10000"/>
                    <a:gd name="connsiteY146" fmla="*/ 7145 h 10000"/>
                    <a:gd name="connsiteX147" fmla="*/ 3611 w 10000"/>
                    <a:gd name="connsiteY147" fmla="*/ 7166 h 10000"/>
                    <a:gd name="connsiteX148" fmla="*/ 3556 w 10000"/>
                    <a:gd name="connsiteY148" fmla="*/ 7187 h 10000"/>
                    <a:gd name="connsiteX149" fmla="*/ 3556 w 10000"/>
                    <a:gd name="connsiteY149" fmla="*/ 7187 h 10000"/>
                    <a:gd name="connsiteX150" fmla="*/ 3444 w 10000"/>
                    <a:gd name="connsiteY150" fmla="*/ 7265 h 10000"/>
                    <a:gd name="connsiteX151" fmla="*/ 3278 w 10000"/>
                    <a:gd name="connsiteY151" fmla="*/ 7386 h 10000"/>
                    <a:gd name="connsiteX152" fmla="*/ 3000 w 10000"/>
                    <a:gd name="connsiteY152" fmla="*/ 7525 h 10000"/>
                    <a:gd name="connsiteX153" fmla="*/ 2667 w 10000"/>
                    <a:gd name="connsiteY153" fmla="*/ 7626 h 10000"/>
                    <a:gd name="connsiteX154" fmla="*/ 2667 w 10000"/>
                    <a:gd name="connsiteY154" fmla="*/ 7626 h 10000"/>
                    <a:gd name="connsiteX155" fmla="*/ 2333 w 10000"/>
                    <a:gd name="connsiteY155" fmla="*/ 7706 h 10000"/>
                    <a:gd name="connsiteX156" fmla="*/ 1833 w 10000"/>
                    <a:gd name="connsiteY156" fmla="*/ 7786 h 10000"/>
                    <a:gd name="connsiteX157" fmla="*/ 1389 w 10000"/>
                    <a:gd name="connsiteY157" fmla="*/ 7826 h 10000"/>
                    <a:gd name="connsiteX158" fmla="*/ 889 w 10000"/>
                    <a:gd name="connsiteY158" fmla="*/ 7845 h 10000"/>
                    <a:gd name="connsiteX159" fmla="*/ 889 w 10000"/>
                    <a:gd name="connsiteY159" fmla="*/ 7845 h 10000"/>
                    <a:gd name="connsiteX160" fmla="*/ 500 w 10000"/>
                    <a:gd name="connsiteY160" fmla="*/ 7867 h 10000"/>
                    <a:gd name="connsiteX161" fmla="*/ 222 w 10000"/>
                    <a:gd name="connsiteY161" fmla="*/ 7885 h 10000"/>
                    <a:gd name="connsiteX162" fmla="*/ 0 w 10000"/>
                    <a:gd name="connsiteY162" fmla="*/ 7904 h 10000"/>
                    <a:gd name="connsiteX163" fmla="*/ 0 w 10000"/>
                    <a:gd name="connsiteY163" fmla="*/ 7904 h 10000"/>
                    <a:gd name="connsiteX164" fmla="*/ 278 w 10000"/>
                    <a:gd name="connsiteY164" fmla="*/ 8225 h 10000"/>
                    <a:gd name="connsiteX165" fmla="*/ 500 w 10000"/>
                    <a:gd name="connsiteY165" fmla="*/ 8461 h 10000"/>
                    <a:gd name="connsiteX166" fmla="*/ 722 w 10000"/>
                    <a:gd name="connsiteY166" fmla="*/ 8662 h 10000"/>
                    <a:gd name="connsiteX167" fmla="*/ 722 w 10000"/>
                    <a:gd name="connsiteY167" fmla="*/ 8662 h 10000"/>
                    <a:gd name="connsiteX168" fmla="*/ 889 w 10000"/>
                    <a:gd name="connsiteY168" fmla="*/ 8783 h 10000"/>
                    <a:gd name="connsiteX169" fmla="*/ 944 w 10000"/>
                    <a:gd name="connsiteY169" fmla="*/ 8884 h 10000"/>
                    <a:gd name="connsiteX170" fmla="*/ 1111 w 10000"/>
                    <a:gd name="connsiteY170" fmla="*/ 8985 h 10000"/>
                    <a:gd name="connsiteX171" fmla="*/ 1333 w 10000"/>
                    <a:gd name="connsiteY171" fmla="*/ 9140 h 10000"/>
                    <a:gd name="connsiteX172" fmla="*/ 1333 w 10000"/>
                    <a:gd name="connsiteY172" fmla="*/ 9140 h 10000"/>
                    <a:gd name="connsiteX173" fmla="*/ 1444 w 10000"/>
                    <a:gd name="connsiteY173" fmla="*/ 9222 h 10000"/>
                    <a:gd name="connsiteX174" fmla="*/ 1500 w 10000"/>
                    <a:gd name="connsiteY174" fmla="*/ 9281 h 10000"/>
                    <a:gd name="connsiteX175" fmla="*/ 1500 w 10000"/>
                    <a:gd name="connsiteY175" fmla="*/ 9339 h 10000"/>
                    <a:gd name="connsiteX176" fmla="*/ 1556 w 10000"/>
                    <a:gd name="connsiteY176" fmla="*/ 9363 h 10000"/>
                    <a:gd name="connsiteX177" fmla="*/ 1722 w 10000"/>
                    <a:gd name="connsiteY177" fmla="*/ 9380 h 10000"/>
                    <a:gd name="connsiteX178" fmla="*/ 1944 w 10000"/>
                    <a:gd name="connsiteY178" fmla="*/ 9400 h 10000"/>
                    <a:gd name="connsiteX179" fmla="*/ 2944 w 10000"/>
                    <a:gd name="connsiteY179" fmla="*/ 9421 h 10000"/>
                    <a:gd name="connsiteX180" fmla="*/ 2944 w 10000"/>
                    <a:gd name="connsiteY180" fmla="*/ 9421 h 10000"/>
                    <a:gd name="connsiteX181" fmla="*/ 4167 w 10000"/>
                    <a:gd name="connsiteY181" fmla="*/ 9461 h 10000"/>
                    <a:gd name="connsiteX182" fmla="*/ 4889 w 10000"/>
                    <a:gd name="connsiteY182" fmla="*/ 9520 h 10000"/>
                    <a:gd name="connsiteX183" fmla="*/ 5278 w 10000"/>
                    <a:gd name="connsiteY183" fmla="*/ 9582 h 10000"/>
                    <a:gd name="connsiteX184" fmla="*/ 5444 w 10000"/>
                    <a:gd name="connsiteY184" fmla="*/ 9598 h 10000"/>
                    <a:gd name="connsiteX185" fmla="*/ 5444 w 10000"/>
                    <a:gd name="connsiteY185" fmla="*/ 9598 h 10000"/>
                    <a:gd name="connsiteX186" fmla="*/ 5722 w 10000"/>
                    <a:gd name="connsiteY186" fmla="*/ 9643 h 10000"/>
                    <a:gd name="connsiteX187" fmla="*/ 5833 w 10000"/>
                    <a:gd name="connsiteY187" fmla="*/ 9664 h 10000"/>
                    <a:gd name="connsiteX188" fmla="*/ 5833 w 10000"/>
                    <a:gd name="connsiteY188" fmla="*/ 9664 h 10000"/>
                    <a:gd name="connsiteX189" fmla="*/ 5833 w 10000"/>
                    <a:gd name="connsiteY189" fmla="*/ 9643 h 10000"/>
                    <a:gd name="connsiteX190" fmla="*/ 5889 w 10000"/>
                    <a:gd name="connsiteY190" fmla="*/ 9621 h 10000"/>
                    <a:gd name="connsiteX191" fmla="*/ 6000 w 10000"/>
                    <a:gd name="connsiteY191" fmla="*/ 9598 h 10000"/>
                    <a:gd name="connsiteX192" fmla="*/ 6167 w 10000"/>
                    <a:gd name="connsiteY192" fmla="*/ 9582 h 10000"/>
                    <a:gd name="connsiteX193" fmla="*/ 6444 w 10000"/>
                    <a:gd name="connsiteY193" fmla="*/ 9582 h 10000"/>
                    <a:gd name="connsiteX194" fmla="*/ 6833 w 10000"/>
                    <a:gd name="connsiteY194" fmla="*/ 9598 h 10000"/>
                    <a:gd name="connsiteX195" fmla="*/ 7278 w 10000"/>
                    <a:gd name="connsiteY195" fmla="*/ 9664 h 10000"/>
                    <a:gd name="connsiteX196" fmla="*/ 7278 w 10000"/>
                    <a:gd name="connsiteY196" fmla="*/ 9664 h 10000"/>
                    <a:gd name="connsiteX197" fmla="*/ 8722 w 10000"/>
                    <a:gd name="connsiteY197" fmla="*/ 9838 h 10000"/>
                    <a:gd name="connsiteX198" fmla="*/ 10000 w 10000"/>
                    <a:gd name="connsiteY198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4056 w 10000"/>
                    <a:gd name="connsiteY70" fmla="*/ 2395 h 10000"/>
                    <a:gd name="connsiteX71" fmla="*/ 2889 w 10000"/>
                    <a:gd name="connsiteY71" fmla="*/ 2176 h 10000"/>
                    <a:gd name="connsiteX72" fmla="*/ 2889 w 10000"/>
                    <a:gd name="connsiteY72" fmla="*/ 2176 h 10000"/>
                    <a:gd name="connsiteX73" fmla="*/ 2389 w 10000"/>
                    <a:gd name="connsiteY73" fmla="*/ 2154 h 10000"/>
                    <a:gd name="connsiteX74" fmla="*/ 2000 w 10000"/>
                    <a:gd name="connsiteY74" fmla="*/ 2135 h 10000"/>
                    <a:gd name="connsiteX75" fmla="*/ 1889 w 10000"/>
                    <a:gd name="connsiteY75" fmla="*/ 2116 h 10000"/>
                    <a:gd name="connsiteX76" fmla="*/ 1778 w 10000"/>
                    <a:gd name="connsiteY76" fmla="*/ 2094 h 10000"/>
                    <a:gd name="connsiteX77" fmla="*/ 1778 w 10000"/>
                    <a:gd name="connsiteY77" fmla="*/ 2094 h 10000"/>
                    <a:gd name="connsiteX78" fmla="*/ 1667 w 10000"/>
                    <a:gd name="connsiteY78" fmla="*/ 2016 h 10000"/>
                    <a:gd name="connsiteX79" fmla="*/ 1500 w 10000"/>
                    <a:gd name="connsiteY79" fmla="*/ 1876 h 10000"/>
                    <a:gd name="connsiteX80" fmla="*/ 1444 w 10000"/>
                    <a:gd name="connsiteY80" fmla="*/ 1796 h 10000"/>
                    <a:gd name="connsiteX81" fmla="*/ 1444 w 10000"/>
                    <a:gd name="connsiteY81" fmla="*/ 1716 h 10000"/>
                    <a:gd name="connsiteX82" fmla="*/ 1444 w 10000"/>
                    <a:gd name="connsiteY82" fmla="*/ 1656 h 10000"/>
                    <a:gd name="connsiteX83" fmla="*/ 1556 w 10000"/>
                    <a:gd name="connsiteY83" fmla="*/ 1596 h 10000"/>
                    <a:gd name="connsiteX84" fmla="*/ 1556 w 10000"/>
                    <a:gd name="connsiteY84" fmla="*/ 1596 h 10000"/>
                    <a:gd name="connsiteX85" fmla="*/ 1833 w 10000"/>
                    <a:gd name="connsiteY85" fmla="*/ 1497 h 10000"/>
                    <a:gd name="connsiteX86" fmla="*/ 2111 w 10000"/>
                    <a:gd name="connsiteY86" fmla="*/ 1394 h 10000"/>
                    <a:gd name="connsiteX87" fmla="*/ 2278 w 10000"/>
                    <a:gd name="connsiteY87" fmla="*/ 1337 h 10000"/>
                    <a:gd name="connsiteX88" fmla="*/ 2389 w 10000"/>
                    <a:gd name="connsiteY88" fmla="*/ 1278 h 10000"/>
                    <a:gd name="connsiteX89" fmla="*/ 2389 w 10000"/>
                    <a:gd name="connsiteY89" fmla="*/ 1197 h 10000"/>
                    <a:gd name="connsiteX90" fmla="*/ 2389 w 10000"/>
                    <a:gd name="connsiteY90" fmla="*/ 1099 h 10000"/>
                    <a:gd name="connsiteX91" fmla="*/ 2389 w 10000"/>
                    <a:gd name="connsiteY91" fmla="*/ 1099 h 10000"/>
                    <a:gd name="connsiteX92" fmla="*/ 2167 w 10000"/>
                    <a:gd name="connsiteY92" fmla="*/ 818 h 10000"/>
                    <a:gd name="connsiteX93" fmla="*/ 1889 w 10000"/>
                    <a:gd name="connsiteY93" fmla="*/ 438 h 10000"/>
                    <a:gd name="connsiteX94" fmla="*/ 1667 w 10000"/>
                    <a:gd name="connsiteY94" fmla="*/ 99 h 10000"/>
                    <a:gd name="connsiteX95" fmla="*/ 1611 w 10000"/>
                    <a:gd name="connsiteY95" fmla="*/ 0 h 10000"/>
                    <a:gd name="connsiteX96" fmla="*/ 10000 w 10000"/>
                    <a:gd name="connsiteY96" fmla="*/ 8662 h 10000"/>
                    <a:gd name="connsiteX97" fmla="*/ 10000 w 10000"/>
                    <a:gd name="connsiteY97" fmla="*/ 8662 h 10000"/>
                    <a:gd name="connsiteX98" fmla="*/ 9722 w 10000"/>
                    <a:gd name="connsiteY98" fmla="*/ 8641 h 10000"/>
                    <a:gd name="connsiteX99" fmla="*/ 9389 w 10000"/>
                    <a:gd name="connsiteY99" fmla="*/ 8662 h 10000"/>
                    <a:gd name="connsiteX100" fmla="*/ 9389 w 10000"/>
                    <a:gd name="connsiteY100" fmla="*/ 8662 h 10000"/>
                    <a:gd name="connsiteX101" fmla="*/ 9278 w 10000"/>
                    <a:gd name="connsiteY101" fmla="*/ 8686 h 10000"/>
                    <a:gd name="connsiteX102" fmla="*/ 9056 w 10000"/>
                    <a:gd name="connsiteY102" fmla="*/ 8662 h 10000"/>
                    <a:gd name="connsiteX103" fmla="*/ 8889 w 10000"/>
                    <a:gd name="connsiteY103" fmla="*/ 8641 h 10000"/>
                    <a:gd name="connsiteX104" fmla="*/ 8722 w 10000"/>
                    <a:gd name="connsiteY104" fmla="*/ 8603 h 10000"/>
                    <a:gd name="connsiteX105" fmla="*/ 8611 w 10000"/>
                    <a:gd name="connsiteY105" fmla="*/ 8541 h 10000"/>
                    <a:gd name="connsiteX106" fmla="*/ 8444 w 10000"/>
                    <a:gd name="connsiteY106" fmla="*/ 8442 h 10000"/>
                    <a:gd name="connsiteX107" fmla="*/ 8444 w 10000"/>
                    <a:gd name="connsiteY107" fmla="*/ 8442 h 10000"/>
                    <a:gd name="connsiteX108" fmla="*/ 8222 w 10000"/>
                    <a:gd name="connsiteY108" fmla="*/ 8265 h 10000"/>
                    <a:gd name="connsiteX109" fmla="*/ 8111 w 10000"/>
                    <a:gd name="connsiteY109" fmla="*/ 8185 h 10000"/>
                    <a:gd name="connsiteX110" fmla="*/ 7944 w 10000"/>
                    <a:gd name="connsiteY110" fmla="*/ 8125 h 10000"/>
                    <a:gd name="connsiteX111" fmla="*/ 7778 w 10000"/>
                    <a:gd name="connsiteY111" fmla="*/ 8086 h 10000"/>
                    <a:gd name="connsiteX112" fmla="*/ 7556 w 10000"/>
                    <a:gd name="connsiteY112" fmla="*/ 8062 h 10000"/>
                    <a:gd name="connsiteX113" fmla="*/ 7333 w 10000"/>
                    <a:gd name="connsiteY113" fmla="*/ 8045 h 10000"/>
                    <a:gd name="connsiteX114" fmla="*/ 7000 w 10000"/>
                    <a:gd name="connsiteY114" fmla="*/ 8022 h 10000"/>
                    <a:gd name="connsiteX115" fmla="*/ 7000 w 10000"/>
                    <a:gd name="connsiteY115" fmla="*/ 8022 h 10000"/>
                    <a:gd name="connsiteX116" fmla="*/ 6556 w 10000"/>
                    <a:gd name="connsiteY116" fmla="*/ 8045 h 10000"/>
                    <a:gd name="connsiteX117" fmla="*/ 6222 w 10000"/>
                    <a:gd name="connsiteY117" fmla="*/ 8045 h 10000"/>
                    <a:gd name="connsiteX118" fmla="*/ 6111 w 10000"/>
                    <a:gd name="connsiteY118" fmla="*/ 8022 h 10000"/>
                    <a:gd name="connsiteX119" fmla="*/ 6056 w 10000"/>
                    <a:gd name="connsiteY119" fmla="*/ 8003 h 10000"/>
                    <a:gd name="connsiteX120" fmla="*/ 6056 w 10000"/>
                    <a:gd name="connsiteY120" fmla="*/ 8003 h 10000"/>
                    <a:gd name="connsiteX121" fmla="*/ 6056 w 10000"/>
                    <a:gd name="connsiteY121" fmla="*/ 7646 h 10000"/>
                    <a:gd name="connsiteX122" fmla="*/ 6056 w 10000"/>
                    <a:gd name="connsiteY122" fmla="*/ 7646 h 10000"/>
                    <a:gd name="connsiteX123" fmla="*/ 6056 w 10000"/>
                    <a:gd name="connsiteY123" fmla="*/ 7563 h 10000"/>
                    <a:gd name="connsiteX124" fmla="*/ 5944 w 10000"/>
                    <a:gd name="connsiteY124" fmla="*/ 7464 h 10000"/>
                    <a:gd name="connsiteX125" fmla="*/ 5889 w 10000"/>
                    <a:gd name="connsiteY125" fmla="*/ 7443 h 10000"/>
                    <a:gd name="connsiteX126" fmla="*/ 5778 w 10000"/>
                    <a:gd name="connsiteY126" fmla="*/ 7425 h 10000"/>
                    <a:gd name="connsiteX127" fmla="*/ 5667 w 10000"/>
                    <a:gd name="connsiteY127" fmla="*/ 7425 h 10000"/>
                    <a:gd name="connsiteX128" fmla="*/ 5500 w 10000"/>
                    <a:gd name="connsiteY128" fmla="*/ 7443 h 10000"/>
                    <a:gd name="connsiteX129" fmla="*/ 5500 w 10000"/>
                    <a:gd name="connsiteY129" fmla="*/ 7443 h 10000"/>
                    <a:gd name="connsiteX130" fmla="*/ 4889 w 10000"/>
                    <a:gd name="connsiteY130" fmla="*/ 7584 h 10000"/>
                    <a:gd name="connsiteX131" fmla="*/ 4611 w 10000"/>
                    <a:gd name="connsiteY131" fmla="*/ 7626 h 10000"/>
                    <a:gd name="connsiteX132" fmla="*/ 4556 w 10000"/>
                    <a:gd name="connsiteY132" fmla="*/ 7646 h 10000"/>
                    <a:gd name="connsiteX133" fmla="*/ 4500 w 10000"/>
                    <a:gd name="connsiteY133" fmla="*/ 7626 h 10000"/>
                    <a:gd name="connsiteX134" fmla="*/ 4500 w 10000"/>
                    <a:gd name="connsiteY134" fmla="*/ 7626 h 10000"/>
                    <a:gd name="connsiteX135" fmla="*/ 4222 w 10000"/>
                    <a:gd name="connsiteY135" fmla="*/ 7425 h 10000"/>
                    <a:gd name="connsiteX136" fmla="*/ 4222 w 10000"/>
                    <a:gd name="connsiteY136" fmla="*/ 7425 h 10000"/>
                    <a:gd name="connsiteX137" fmla="*/ 4111 w 10000"/>
                    <a:gd name="connsiteY137" fmla="*/ 7326 h 10000"/>
                    <a:gd name="connsiteX138" fmla="*/ 4111 w 10000"/>
                    <a:gd name="connsiteY138" fmla="*/ 7265 h 10000"/>
                    <a:gd name="connsiteX139" fmla="*/ 4111 w 10000"/>
                    <a:gd name="connsiteY139" fmla="*/ 7205 h 10000"/>
                    <a:gd name="connsiteX140" fmla="*/ 4111 w 10000"/>
                    <a:gd name="connsiteY140" fmla="*/ 7205 h 10000"/>
                    <a:gd name="connsiteX141" fmla="*/ 4278 w 10000"/>
                    <a:gd name="connsiteY141" fmla="*/ 7145 h 10000"/>
                    <a:gd name="connsiteX142" fmla="*/ 4389 w 10000"/>
                    <a:gd name="connsiteY142" fmla="*/ 7126 h 10000"/>
                    <a:gd name="connsiteX143" fmla="*/ 4389 w 10000"/>
                    <a:gd name="connsiteY143" fmla="*/ 7126 h 10000"/>
                    <a:gd name="connsiteX144" fmla="*/ 4000 w 10000"/>
                    <a:gd name="connsiteY144" fmla="*/ 7126 h 10000"/>
                    <a:gd name="connsiteX145" fmla="*/ 3722 w 10000"/>
                    <a:gd name="connsiteY145" fmla="*/ 7145 h 10000"/>
                    <a:gd name="connsiteX146" fmla="*/ 3611 w 10000"/>
                    <a:gd name="connsiteY146" fmla="*/ 7166 h 10000"/>
                    <a:gd name="connsiteX147" fmla="*/ 3556 w 10000"/>
                    <a:gd name="connsiteY147" fmla="*/ 7187 h 10000"/>
                    <a:gd name="connsiteX148" fmla="*/ 3556 w 10000"/>
                    <a:gd name="connsiteY148" fmla="*/ 7187 h 10000"/>
                    <a:gd name="connsiteX149" fmla="*/ 3444 w 10000"/>
                    <a:gd name="connsiteY149" fmla="*/ 7265 h 10000"/>
                    <a:gd name="connsiteX150" fmla="*/ 3278 w 10000"/>
                    <a:gd name="connsiteY150" fmla="*/ 7386 h 10000"/>
                    <a:gd name="connsiteX151" fmla="*/ 3000 w 10000"/>
                    <a:gd name="connsiteY151" fmla="*/ 7525 h 10000"/>
                    <a:gd name="connsiteX152" fmla="*/ 2667 w 10000"/>
                    <a:gd name="connsiteY152" fmla="*/ 7626 h 10000"/>
                    <a:gd name="connsiteX153" fmla="*/ 2667 w 10000"/>
                    <a:gd name="connsiteY153" fmla="*/ 7626 h 10000"/>
                    <a:gd name="connsiteX154" fmla="*/ 2333 w 10000"/>
                    <a:gd name="connsiteY154" fmla="*/ 7706 h 10000"/>
                    <a:gd name="connsiteX155" fmla="*/ 1833 w 10000"/>
                    <a:gd name="connsiteY155" fmla="*/ 7786 h 10000"/>
                    <a:gd name="connsiteX156" fmla="*/ 1389 w 10000"/>
                    <a:gd name="connsiteY156" fmla="*/ 7826 h 10000"/>
                    <a:gd name="connsiteX157" fmla="*/ 889 w 10000"/>
                    <a:gd name="connsiteY157" fmla="*/ 7845 h 10000"/>
                    <a:gd name="connsiteX158" fmla="*/ 889 w 10000"/>
                    <a:gd name="connsiteY158" fmla="*/ 7845 h 10000"/>
                    <a:gd name="connsiteX159" fmla="*/ 500 w 10000"/>
                    <a:gd name="connsiteY159" fmla="*/ 7867 h 10000"/>
                    <a:gd name="connsiteX160" fmla="*/ 222 w 10000"/>
                    <a:gd name="connsiteY160" fmla="*/ 7885 h 10000"/>
                    <a:gd name="connsiteX161" fmla="*/ 0 w 10000"/>
                    <a:gd name="connsiteY161" fmla="*/ 7904 h 10000"/>
                    <a:gd name="connsiteX162" fmla="*/ 0 w 10000"/>
                    <a:gd name="connsiteY162" fmla="*/ 7904 h 10000"/>
                    <a:gd name="connsiteX163" fmla="*/ 278 w 10000"/>
                    <a:gd name="connsiteY163" fmla="*/ 8225 h 10000"/>
                    <a:gd name="connsiteX164" fmla="*/ 500 w 10000"/>
                    <a:gd name="connsiteY164" fmla="*/ 8461 h 10000"/>
                    <a:gd name="connsiteX165" fmla="*/ 722 w 10000"/>
                    <a:gd name="connsiteY165" fmla="*/ 8662 h 10000"/>
                    <a:gd name="connsiteX166" fmla="*/ 722 w 10000"/>
                    <a:gd name="connsiteY166" fmla="*/ 8662 h 10000"/>
                    <a:gd name="connsiteX167" fmla="*/ 889 w 10000"/>
                    <a:gd name="connsiteY167" fmla="*/ 8783 h 10000"/>
                    <a:gd name="connsiteX168" fmla="*/ 944 w 10000"/>
                    <a:gd name="connsiteY168" fmla="*/ 8884 h 10000"/>
                    <a:gd name="connsiteX169" fmla="*/ 1111 w 10000"/>
                    <a:gd name="connsiteY169" fmla="*/ 8985 h 10000"/>
                    <a:gd name="connsiteX170" fmla="*/ 1333 w 10000"/>
                    <a:gd name="connsiteY170" fmla="*/ 9140 h 10000"/>
                    <a:gd name="connsiteX171" fmla="*/ 1333 w 10000"/>
                    <a:gd name="connsiteY171" fmla="*/ 9140 h 10000"/>
                    <a:gd name="connsiteX172" fmla="*/ 1444 w 10000"/>
                    <a:gd name="connsiteY172" fmla="*/ 9222 h 10000"/>
                    <a:gd name="connsiteX173" fmla="*/ 1500 w 10000"/>
                    <a:gd name="connsiteY173" fmla="*/ 9281 h 10000"/>
                    <a:gd name="connsiteX174" fmla="*/ 1500 w 10000"/>
                    <a:gd name="connsiteY174" fmla="*/ 9339 h 10000"/>
                    <a:gd name="connsiteX175" fmla="*/ 1556 w 10000"/>
                    <a:gd name="connsiteY175" fmla="*/ 9363 h 10000"/>
                    <a:gd name="connsiteX176" fmla="*/ 1722 w 10000"/>
                    <a:gd name="connsiteY176" fmla="*/ 9380 h 10000"/>
                    <a:gd name="connsiteX177" fmla="*/ 1944 w 10000"/>
                    <a:gd name="connsiteY177" fmla="*/ 9400 h 10000"/>
                    <a:gd name="connsiteX178" fmla="*/ 2944 w 10000"/>
                    <a:gd name="connsiteY178" fmla="*/ 9421 h 10000"/>
                    <a:gd name="connsiteX179" fmla="*/ 2944 w 10000"/>
                    <a:gd name="connsiteY179" fmla="*/ 9421 h 10000"/>
                    <a:gd name="connsiteX180" fmla="*/ 4167 w 10000"/>
                    <a:gd name="connsiteY180" fmla="*/ 9461 h 10000"/>
                    <a:gd name="connsiteX181" fmla="*/ 4889 w 10000"/>
                    <a:gd name="connsiteY181" fmla="*/ 9520 h 10000"/>
                    <a:gd name="connsiteX182" fmla="*/ 5278 w 10000"/>
                    <a:gd name="connsiteY182" fmla="*/ 9582 h 10000"/>
                    <a:gd name="connsiteX183" fmla="*/ 5444 w 10000"/>
                    <a:gd name="connsiteY183" fmla="*/ 9598 h 10000"/>
                    <a:gd name="connsiteX184" fmla="*/ 5444 w 10000"/>
                    <a:gd name="connsiteY184" fmla="*/ 9598 h 10000"/>
                    <a:gd name="connsiteX185" fmla="*/ 5722 w 10000"/>
                    <a:gd name="connsiteY185" fmla="*/ 9643 h 10000"/>
                    <a:gd name="connsiteX186" fmla="*/ 5833 w 10000"/>
                    <a:gd name="connsiteY186" fmla="*/ 9664 h 10000"/>
                    <a:gd name="connsiteX187" fmla="*/ 5833 w 10000"/>
                    <a:gd name="connsiteY187" fmla="*/ 9664 h 10000"/>
                    <a:gd name="connsiteX188" fmla="*/ 5833 w 10000"/>
                    <a:gd name="connsiteY188" fmla="*/ 9643 h 10000"/>
                    <a:gd name="connsiteX189" fmla="*/ 5889 w 10000"/>
                    <a:gd name="connsiteY189" fmla="*/ 9621 h 10000"/>
                    <a:gd name="connsiteX190" fmla="*/ 6000 w 10000"/>
                    <a:gd name="connsiteY190" fmla="*/ 9598 h 10000"/>
                    <a:gd name="connsiteX191" fmla="*/ 6167 w 10000"/>
                    <a:gd name="connsiteY191" fmla="*/ 9582 h 10000"/>
                    <a:gd name="connsiteX192" fmla="*/ 6444 w 10000"/>
                    <a:gd name="connsiteY192" fmla="*/ 9582 h 10000"/>
                    <a:gd name="connsiteX193" fmla="*/ 6833 w 10000"/>
                    <a:gd name="connsiteY193" fmla="*/ 9598 h 10000"/>
                    <a:gd name="connsiteX194" fmla="*/ 7278 w 10000"/>
                    <a:gd name="connsiteY194" fmla="*/ 9664 h 10000"/>
                    <a:gd name="connsiteX195" fmla="*/ 7278 w 10000"/>
                    <a:gd name="connsiteY195" fmla="*/ 9664 h 10000"/>
                    <a:gd name="connsiteX196" fmla="*/ 8722 w 10000"/>
                    <a:gd name="connsiteY196" fmla="*/ 9838 h 10000"/>
                    <a:gd name="connsiteX197" fmla="*/ 10000 w 10000"/>
                    <a:gd name="connsiteY197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2889 w 10000"/>
                    <a:gd name="connsiteY70" fmla="*/ 2176 h 10000"/>
                    <a:gd name="connsiteX71" fmla="*/ 2889 w 10000"/>
                    <a:gd name="connsiteY71" fmla="*/ 2176 h 10000"/>
                    <a:gd name="connsiteX72" fmla="*/ 2389 w 10000"/>
                    <a:gd name="connsiteY72" fmla="*/ 2154 h 10000"/>
                    <a:gd name="connsiteX73" fmla="*/ 2000 w 10000"/>
                    <a:gd name="connsiteY73" fmla="*/ 2135 h 10000"/>
                    <a:gd name="connsiteX74" fmla="*/ 1889 w 10000"/>
                    <a:gd name="connsiteY74" fmla="*/ 2116 h 10000"/>
                    <a:gd name="connsiteX75" fmla="*/ 1778 w 10000"/>
                    <a:gd name="connsiteY75" fmla="*/ 2094 h 10000"/>
                    <a:gd name="connsiteX76" fmla="*/ 1778 w 10000"/>
                    <a:gd name="connsiteY76" fmla="*/ 2094 h 10000"/>
                    <a:gd name="connsiteX77" fmla="*/ 1667 w 10000"/>
                    <a:gd name="connsiteY77" fmla="*/ 2016 h 10000"/>
                    <a:gd name="connsiteX78" fmla="*/ 1500 w 10000"/>
                    <a:gd name="connsiteY78" fmla="*/ 1876 h 10000"/>
                    <a:gd name="connsiteX79" fmla="*/ 1444 w 10000"/>
                    <a:gd name="connsiteY79" fmla="*/ 1796 h 10000"/>
                    <a:gd name="connsiteX80" fmla="*/ 1444 w 10000"/>
                    <a:gd name="connsiteY80" fmla="*/ 1716 h 10000"/>
                    <a:gd name="connsiteX81" fmla="*/ 1444 w 10000"/>
                    <a:gd name="connsiteY81" fmla="*/ 1656 h 10000"/>
                    <a:gd name="connsiteX82" fmla="*/ 1556 w 10000"/>
                    <a:gd name="connsiteY82" fmla="*/ 1596 h 10000"/>
                    <a:gd name="connsiteX83" fmla="*/ 1556 w 10000"/>
                    <a:gd name="connsiteY83" fmla="*/ 1596 h 10000"/>
                    <a:gd name="connsiteX84" fmla="*/ 1833 w 10000"/>
                    <a:gd name="connsiteY84" fmla="*/ 1497 h 10000"/>
                    <a:gd name="connsiteX85" fmla="*/ 2111 w 10000"/>
                    <a:gd name="connsiteY85" fmla="*/ 1394 h 10000"/>
                    <a:gd name="connsiteX86" fmla="*/ 2278 w 10000"/>
                    <a:gd name="connsiteY86" fmla="*/ 1337 h 10000"/>
                    <a:gd name="connsiteX87" fmla="*/ 2389 w 10000"/>
                    <a:gd name="connsiteY87" fmla="*/ 1278 h 10000"/>
                    <a:gd name="connsiteX88" fmla="*/ 2389 w 10000"/>
                    <a:gd name="connsiteY88" fmla="*/ 1197 h 10000"/>
                    <a:gd name="connsiteX89" fmla="*/ 2389 w 10000"/>
                    <a:gd name="connsiteY89" fmla="*/ 1099 h 10000"/>
                    <a:gd name="connsiteX90" fmla="*/ 2389 w 10000"/>
                    <a:gd name="connsiteY90" fmla="*/ 1099 h 10000"/>
                    <a:gd name="connsiteX91" fmla="*/ 2167 w 10000"/>
                    <a:gd name="connsiteY91" fmla="*/ 818 h 10000"/>
                    <a:gd name="connsiteX92" fmla="*/ 1889 w 10000"/>
                    <a:gd name="connsiteY92" fmla="*/ 438 h 10000"/>
                    <a:gd name="connsiteX93" fmla="*/ 1667 w 10000"/>
                    <a:gd name="connsiteY93" fmla="*/ 99 h 10000"/>
                    <a:gd name="connsiteX94" fmla="*/ 1611 w 10000"/>
                    <a:gd name="connsiteY94" fmla="*/ 0 h 10000"/>
                    <a:gd name="connsiteX95" fmla="*/ 10000 w 10000"/>
                    <a:gd name="connsiteY95" fmla="*/ 8662 h 10000"/>
                    <a:gd name="connsiteX96" fmla="*/ 10000 w 10000"/>
                    <a:gd name="connsiteY96" fmla="*/ 8662 h 10000"/>
                    <a:gd name="connsiteX97" fmla="*/ 9722 w 10000"/>
                    <a:gd name="connsiteY97" fmla="*/ 8641 h 10000"/>
                    <a:gd name="connsiteX98" fmla="*/ 9389 w 10000"/>
                    <a:gd name="connsiteY98" fmla="*/ 8662 h 10000"/>
                    <a:gd name="connsiteX99" fmla="*/ 9389 w 10000"/>
                    <a:gd name="connsiteY99" fmla="*/ 8662 h 10000"/>
                    <a:gd name="connsiteX100" fmla="*/ 9278 w 10000"/>
                    <a:gd name="connsiteY100" fmla="*/ 8686 h 10000"/>
                    <a:gd name="connsiteX101" fmla="*/ 9056 w 10000"/>
                    <a:gd name="connsiteY101" fmla="*/ 8662 h 10000"/>
                    <a:gd name="connsiteX102" fmla="*/ 8889 w 10000"/>
                    <a:gd name="connsiteY102" fmla="*/ 8641 h 10000"/>
                    <a:gd name="connsiteX103" fmla="*/ 8722 w 10000"/>
                    <a:gd name="connsiteY103" fmla="*/ 8603 h 10000"/>
                    <a:gd name="connsiteX104" fmla="*/ 8611 w 10000"/>
                    <a:gd name="connsiteY104" fmla="*/ 8541 h 10000"/>
                    <a:gd name="connsiteX105" fmla="*/ 8444 w 10000"/>
                    <a:gd name="connsiteY105" fmla="*/ 8442 h 10000"/>
                    <a:gd name="connsiteX106" fmla="*/ 8444 w 10000"/>
                    <a:gd name="connsiteY106" fmla="*/ 8442 h 10000"/>
                    <a:gd name="connsiteX107" fmla="*/ 8222 w 10000"/>
                    <a:gd name="connsiteY107" fmla="*/ 8265 h 10000"/>
                    <a:gd name="connsiteX108" fmla="*/ 8111 w 10000"/>
                    <a:gd name="connsiteY108" fmla="*/ 8185 h 10000"/>
                    <a:gd name="connsiteX109" fmla="*/ 7944 w 10000"/>
                    <a:gd name="connsiteY109" fmla="*/ 8125 h 10000"/>
                    <a:gd name="connsiteX110" fmla="*/ 7778 w 10000"/>
                    <a:gd name="connsiteY110" fmla="*/ 8086 h 10000"/>
                    <a:gd name="connsiteX111" fmla="*/ 7556 w 10000"/>
                    <a:gd name="connsiteY111" fmla="*/ 8062 h 10000"/>
                    <a:gd name="connsiteX112" fmla="*/ 7333 w 10000"/>
                    <a:gd name="connsiteY112" fmla="*/ 8045 h 10000"/>
                    <a:gd name="connsiteX113" fmla="*/ 7000 w 10000"/>
                    <a:gd name="connsiteY113" fmla="*/ 8022 h 10000"/>
                    <a:gd name="connsiteX114" fmla="*/ 7000 w 10000"/>
                    <a:gd name="connsiteY114" fmla="*/ 8022 h 10000"/>
                    <a:gd name="connsiteX115" fmla="*/ 6556 w 10000"/>
                    <a:gd name="connsiteY115" fmla="*/ 8045 h 10000"/>
                    <a:gd name="connsiteX116" fmla="*/ 6222 w 10000"/>
                    <a:gd name="connsiteY116" fmla="*/ 8045 h 10000"/>
                    <a:gd name="connsiteX117" fmla="*/ 6111 w 10000"/>
                    <a:gd name="connsiteY117" fmla="*/ 8022 h 10000"/>
                    <a:gd name="connsiteX118" fmla="*/ 6056 w 10000"/>
                    <a:gd name="connsiteY118" fmla="*/ 8003 h 10000"/>
                    <a:gd name="connsiteX119" fmla="*/ 6056 w 10000"/>
                    <a:gd name="connsiteY119" fmla="*/ 8003 h 10000"/>
                    <a:gd name="connsiteX120" fmla="*/ 6056 w 10000"/>
                    <a:gd name="connsiteY120" fmla="*/ 7646 h 10000"/>
                    <a:gd name="connsiteX121" fmla="*/ 6056 w 10000"/>
                    <a:gd name="connsiteY121" fmla="*/ 7646 h 10000"/>
                    <a:gd name="connsiteX122" fmla="*/ 6056 w 10000"/>
                    <a:gd name="connsiteY122" fmla="*/ 7563 h 10000"/>
                    <a:gd name="connsiteX123" fmla="*/ 5944 w 10000"/>
                    <a:gd name="connsiteY123" fmla="*/ 7464 h 10000"/>
                    <a:gd name="connsiteX124" fmla="*/ 5889 w 10000"/>
                    <a:gd name="connsiteY124" fmla="*/ 7443 h 10000"/>
                    <a:gd name="connsiteX125" fmla="*/ 5778 w 10000"/>
                    <a:gd name="connsiteY125" fmla="*/ 7425 h 10000"/>
                    <a:gd name="connsiteX126" fmla="*/ 5667 w 10000"/>
                    <a:gd name="connsiteY126" fmla="*/ 7425 h 10000"/>
                    <a:gd name="connsiteX127" fmla="*/ 5500 w 10000"/>
                    <a:gd name="connsiteY127" fmla="*/ 7443 h 10000"/>
                    <a:gd name="connsiteX128" fmla="*/ 5500 w 10000"/>
                    <a:gd name="connsiteY128" fmla="*/ 7443 h 10000"/>
                    <a:gd name="connsiteX129" fmla="*/ 4889 w 10000"/>
                    <a:gd name="connsiteY129" fmla="*/ 7584 h 10000"/>
                    <a:gd name="connsiteX130" fmla="*/ 4611 w 10000"/>
                    <a:gd name="connsiteY130" fmla="*/ 7626 h 10000"/>
                    <a:gd name="connsiteX131" fmla="*/ 4556 w 10000"/>
                    <a:gd name="connsiteY131" fmla="*/ 7646 h 10000"/>
                    <a:gd name="connsiteX132" fmla="*/ 4500 w 10000"/>
                    <a:gd name="connsiteY132" fmla="*/ 7626 h 10000"/>
                    <a:gd name="connsiteX133" fmla="*/ 4500 w 10000"/>
                    <a:gd name="connsiteY133" fmla="*/ 7626 h 10000"/>
                    <a:gd name="connsiteX134" fmla="*/ 4222 w 10000"/>
                    <a:gd name="connsiteY134" fmla="*/ 7425 h 10000"/>
                    <a:gd name="connsiteX135" fmla="*/ 4222 w 10000"/>
                    <a:gd name="connsiteY135" fmla="*/ 7425 h 10000"/>
                    <a:gd name="connsiteX136" fmla="*/ 4111 w 10000"/>
                    <a:gd name="connsiteY136" fmla="*/ 7326 h 10000"/>
                    <a:gd name="connsiteX137" fmla="*/ 4111 w 10000"/>
                    <a:gd name="connsiteY137" fmla="*/ 7265 h 10000"/>
                    <a:gd name="connsiteX138" fmla="*/ 4111 w 10000"/>
                    <a:gd name="connsiteY138" fmla="*/ 7205 h 10000"/>
                    <a:gd name="connsiteX139" fmla="*/ 4111 w 10000"/>
                    <a:gd name="connsiteY139" fmla="*/ 7205 h 10000"/>
                    <a:gd name="connsiteX140" fmla="*/ 4278 w 10000"/>
                    <a:gd name="connsiteY140" fmla="*/ 7145 h 10000"/>
                    <a:gd name="connsiteX141" fmla="*/ 4389 w 10000"/>
                    <a:gd name="connsiteY141" fmla="*/ 7126 h 10000"/>
                    <a:gd name="connsiteX142" fmla="*/ 4389 w 10000"/>
                    <a:gd name="connsiteY142" fmla="*/ 7126 h 10000"/>
                    <a:gd name="connsiteX143" fmla="*/ 4000 w 10000"/>
                    <a:gd name="connsiteY143" fmla="*/ 7126 h 10000"/>
                    <a:gd name="connsiteX144" fmla="*/ 3722 w 10000"/>
                    <a:gd name="connsiteY144" fmla="*/ 7145 h 10000"/>
                    <a:gd name="connsiteX145" fmla="*/ 3611 w 10000"/>
                    <a:gd name="connsiteY145" fmla="*/ 7166 h 10000"/>
                    <a:gd name="connsiteX146" fmla="*/ 3556 w 10000"/>
                    <a:gd name="connsiteY146" fmla="*/ 7187 h 10000"/>
                    <a:gd name="connsiteX147" fmla="*/ 3556 w 10000"/>
                    <a:gd name="connsiteY147" fmla="*/ 7187 h 10000"/>
                    <a:gd name="connsiteX148" fmla="*/ 3444 w 10000"/>
                    <a:gd name="connsiteY148" fmla="*/ 7265 h 10000"/>
                    <a:gd name="connsiteX149" fmla="*/ 3278 w 10000"/>
                    <a:gd name="connsiteY149" fmla="*/ 7386 h 10000"/>
                    <a:gd name="connsiteX150" fmla="*/ 3000 w 10000"/>
                    <a:gd name="connsiteY150" fmla="*/ 7525 h 10000"/>
                    <a:gd name="connsiteX151" fmla="*/ 2667 w 10000"/>
                    <a:gd name="connsiteY151" fmla="*/ 7626 h 10000"/>
                    <a:gd name="connsiteX152" fmla="*/ 2667 w 10000"/>
                    <a:gd name="connsiteY152" fmla="*/ 7626 h 10000"/>
                    <a:gd name="connsiteX153" fmla="*/ 2333 w 10000"/>
                    <a:gd name="connsiteY153" fmla="*/ 7706 h 10000"/>
                    <a:gd name="connsiteX154" fmla="*/ 1833 w 10000"/>
                    <a:gd name="connsiteY154" fmla="*/ 7786 h 10000"/>
                    <a:gd name="connsiteX155" fmla="*/ 1389 w 10000"/>
                    <a:gd name="connsiteY155" fmla="*/ 7826 h 10000"/>
                    <a:gd name="connsiteX156" fmla="*/ 889 w 10000"/>
                    <a:gd name="connsiteY156" fmla="*/ 7845 h 10000"/>
                    <a:gd name="connsiteX157" fmla="*/ 889 w 10000"/>
                    <a:gd name="connsiteY157" fmla="*/ 7845 h 10000"/>
                    <a:gd name="connsiteX158" fmla="*/ 500 w 10000"/>
                    <a:gd name="connsiteY158" fmla="*/ 7867 h 10000"/>
                    <a:gd name="connsiteX159" fmla="*/ 222 w 10000"/>
                    <a:gd name="connsiteY159" fmla="*/ 7885 h 10000"/>
                    <a:gd name="connsiteX160" fmla="*/ 0 w 10000"/>
                    <a:gd name="connsiteY160" fmla="*/ 7904 h 10000"/>
                    <a:gd name="connsiteX161" fmla="*/ 0 w 10000"/>
                    <a:gd name="connsiteY161" fmla="*/ 7904 h 10000"/>
                    <a:gd name="connsiteX162" fmla="*/ 278 w 10000"/>
                    <a:gd name="connsiteY162" fmla="*/ 8225 h 10000"/>
                    <a:gd name="connsiteX163" fmla="*/ 500 w 10000"/>
                    <a:gd name="connsiteY163" fmla="*/ 8461 h 10000"/>
                    <a:gd name="connsiteX164" fmla="*/ 722 w 10000"/>
                    <a:gd name="connsiteY164" fmla="*/ 8662 h 10000"/>
                    <a:gd name="connsiteX165" fmla="*/ 722 w 10000"/>
                    <a:gd name="connsiteY165" fmla="*/ 8662 h 10000"/>
                    <a:gd name="connsiteX166" fmla="*/ 889 w 10000"/>
                    <a:gd name="connsiteY166" fmla="*/ 8783 h 10000"/>
                    <a:gd name="connsiteX167" fmla="*/ 944 w 10000"/>
                    <a:gd name="connsiteY167" fmla="*/ 8884 h 10000"/>
                    <a:gd name="connsiteX168" fmla="*/ 1111 w 10000"/>
                    <a:gd name="connsiteY168" fmla="*/ 8985 h 10000"/>
                    <a:gd name="connsiteX169" fmla="*/ 1333 w 10000"/>
                    <a:gd name="connsiteY169" fmla="*/ 9140 h 10000"/>
                    <a:gd name="connsiteX170" fmla="*/ 1333 w 10000"/>
                    <a:gd name="connsiteY170" fmla="*/ 9140 h 10000"/>
                    <a:gd name="connsiteX171" fmla="*/ 1444 w 10000"/>
                    <a:gd name="connsiteY171" fmla="*/ 9222 h 10000"/>
                    <a:gd name="connsiteX172" fmla="*/ 1500 w 10000"/>
                    <a:gd name="connsiteY172" fmla="*/ 9281 h 10000"/>
                    <a:gd name="connsiteX173" fmla="*/ 1500 w 10000"/>
                    <a:gd name="connsiteY173" fmla="*/ 9339 h 10000"/>
                    <a:gd name="connsiteX174" fmla="*/ 1556 w 10000"/>
                    <a:gd name="connsiteY174" fmla="*/ 9363 h 10000"/>
                    <a:gd name="connsiteX175" fmla="*/ 1722 w 10000"/>
                    <a:gd name="connsiteY175" fmla="*/ 9380 h 10000"/>
                    <a:gd name="connsiteX176" fmla="*/ 1944 w 10000"/>
                    <a:gd name="connsiteY176" fmla="*/ 9400 h 10000"/>
                    <a:gd name="connsiteX177" fmla="*/ 2944 w 10000"/>
                    <a:gd name="connsiteY177" fmla="*/ 9421 h 10000"/>
                    <a:gd name="connsiteX178" fmla="*/ 2944 w 10000"/>
                    <a:gd name="connsiteY178" fmla="*/ 9421 h 10000"/>
                    <a:gd name="connsiteX179" fmla="*/ 4167 w 10000"/>
                    <a:gd name="connsiteY179" fmla="*/ 9461 h 10000"/>
                    <a:gd name="connsiteX180" fmla="*/ 4889 w 10000"/>
                    <a:gd name="connsiteY180" fmla="*/ 9520 h 10000"/>
                    <a:gd name="connsiteX181" fmla="*/ 5278 w 10000"/>
                    <a:gd name="connsiteY181" fmla="*/ 9582 h 10000"/>
                    <a:gd name="connsiteX182" fmla="*/ 5444 w 10000"/>
                    <a:gd name="connsiteY182" fmla="*/ 9598 h 10000"/>
                    <a:gd name="connsiteX183" fmla="*/ 5444 w 10000"/>
                    <a:gd name="connsiteY183" fmla="*/ 9598 h 10000"/>
                    <a:gd name="connsiteX184" fmla="*/ 5722 w 10000"/>
                    <a:gd name="connsiteY184" fmla="*/ 9643 h 10000"/>
                    <a:gd name="connsiteX185" fmla="*/ 5833 w 10000"/>
                    <a:gd name="connsiteY185" fmla="*/ 9664 h 10000"/>
                    <a:gd name="connsiteX186" fmla="*/ 5833 w 10000"/>
                    <a:gd name="connsiteY186" fmla="*/ 9664 h 10000"/>
                    <a:gd name="connsiteX187" fmla="*/ 5833 w 10000"/>
                    <a:gd name="connsiteY187" fmla="*/ 9643 h 10000"/>
                    <a:gd name="connsiteX188" fmla="*/ 5889 w 10000"/>
                    <a:gd name="connsiteY188" fmla="*/ 9621 h 10000"/>
                    <a:gd name="connsiteX189" fmla="*/ 6000 w 10000"/>
                    <a:gd name="connsiteY189" fmla="*/ 9598 h 10000"/>
                    <a:gd name="connsiteX190" fmla="*/ 6167 w 10000"/>
                    <a:gd name="connsiteY190" fmla="*/ 9582 h 10000"/>
                    <a:gd name="connsiteX191" fmla="*/ 6444 w 10000"/>
                    <a:gd name="connsiteY191" fmla="*/ 9582 h 10000"/>
                    <a:gd name="connsiteX192" fmla="*/ 6833 w 10000"/>
                    <a:gd name="connsiteY192" fmla="*/ 9598 h 10000"/>
                    <a:gd name="connsiteX193" fmla="*/ 7278 w 10000"/>
                    <a:gd name="connsiteY193" fmla="*/ 9664 h 10000"/>
                    <a:gd name="connsiteX194" fmla="*/ 7278 w 10000"/>
                    <a:gd name="connsiteY194" fmla="*/ 9664 h 10000"/>
                    <a:gd name="connsiteX195" fmla="*/ 8722 w 10000"/>
                    <a:gd name="connsiteY195" fmla="*/ 9838 h 10000"/>
                    <a:gd name="connsiteX196" fmla="*/ 10000 w 10000"/>
                    <a:gd name="connsiteY196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2889 w 10000"/>
                    <a:gd name="connsiteY70" fmla="*/ 2176 h 10000"/>
                    <a:gd name="connsiteX71" fmla="*/ 2389 w 10000"/>
                    <a:gd name="connsiteY71" fmla="*/ 2154 h 10000"/>
                    <a:gd name="connsiteX72" fmla="*/ 2000 w 10000"/>
                    <a:gd name="connsiteY72" fmla="*/ 2135 h 10000"/>
                    <a:gd name="connsiteX73" fmla="*/ 1889 w 10000"/>
                    <a:gd name="connsiteY73" fmla="*/ 2116 h 10000"/>
                    <a:gd name="connsiteX74" fmla="*/ 1778 w 10000"/>
                    <a:gd name="connsiteY74" fmla="*/ 2094 h 10000"/>
                    <a:gd name="connsiteX75" fmla="*/ 1778 w 10000"/>
                    <a:gd name="connsiteY75" fmla="*/ 2094 h 10000"/>
                    <a:gd name="connsiteX76" fmla="*/ 1667 w 10000"/>
                    <a:gd name="connsiteY76" fmla="*/ 2016 h 10000"/>
                    <a:gd name="connsiteX77" fmla="*/ 1500 w 10000"/>
                    <a:gd name="connsiteY77" fmla="*/ 1876 h 10000"/>
                    <a:gd name="connsiteX78" fmla="*/ 1444 w 10000"/>
                    <a:gd name="connsiteY78" fmla="*/ 1796 h 10000"/>
                    <a:gd name="connsiteX79" fmla="*/ 1444 w 10000"/>
                    <a:gd name="connsiteY79" fmla="*/ 1716 h 10000"/>
                    <a:gd name="connsiteX80" fmla="*/ 1444 w 10000"/>
                    <a:gd name="connsiteY80" fmla="*/ 1656 h 10000"/>
                    <a:gd name="connsiteX81" fmla="*/ 1556 w 10000"/>
                    <a:gd name="connsiteY81" fmla="*/ 1596 h 10000"/>
                    <a:gd name="connsiteX82" fmla="*/ 1556 w 10000"/>
                    <a:gd name="connsiteY82" fmla="*/ 1596 h 10000"/>
                    <a:gd name="connsiteX83" fmla="*/ 1833 w 10000"/>
                    <a:gd name="connsiteY83" fmla="*/ 1497 h 10000"/>
                    <a:gd name="connsiteX84" fmla="*/ 2111 w 10000"/>
                    <a:gd name="connsiteY84" fmla="*/ 1394 h 10000"/>
                    <a:gd name="connsiteX85" fmla="*/ 2278 w 10000"/>
                    <a:gd name="connsiteY85" fmla="*/ 1337 h 10000"/>
                    <a:gd name="connsiteX86" fmla="*/ 2389 w 10000"/>
                    <a:gd name="connsiteY86" fmla="*/ 1278 h 10000"/>
                    <a:gd name="connsiteX87" fmla="*/ 2389 w 10000"/>
                    <a:gd name="connsiteY87" fmla="*/ 1197 h 10000"/>
                    <a:gd name="connsiteX88" fmla="*/ 2389 w 10000"/>
                    <a:gd name="connsiteY88" fmla="*/ 1099 h 10000"/>
                    <a:gd name="connsiteX89" fmla="*/ 2389 w 10000"/>
                    <a:gd name="connsiteY89" fmla="*/ 1099 h 10000"/>
                    <a:gd name="connsiteX90" fmla="*/ 2167 w 10000"/>
                    <a:gd name="connsiteY90" fmla="*/ 818 h 10000"/>
                    <a:gd name="connsiteX91" fmla="*/ 1889 w 10000"/>
                    <a:gd name="connsiteY91" fmla="*/ 438 h 10000"/>
                    <a:gd name="connsiteX92" fmla="*/ 1667 w 10000"/>
                    <a:gd name="connsiteY92" fmla="*/ 99 h 10000"/>
                    <a:gd name="connsiteX93" fmla="*/ 1611 w 10000"/>
                    <a:gd name="connsiteY93" fmla="*/ 0 h 10000"/>
                    <a:gd name="connsiteX94" fmla="*/ 10000 w 10000"/>
                    <a:gd name="connsiteY94" fmla="*/ 8662 h 10000"/>
                    <a:gd name="connsiteX95" fmla="*/ 10000 w 10000"/>
                    <a:gd name="connsiteY95" fmla="*/ 8662 h 10000"/>
                    <a:gd name="connsiteX96" fmla="*/ 9722 w 10000"/>
                    <a:gd name="connsiteY96" fmla="*/ 8641 h 10000"/>
                    <a:gd name="connsiteX97" fmla="*/ 9389 w 10000"/>
                    <a:gd name="connsiteY97" fmla="*/ 8662 h 10000"/>
                    <a:gd name="connsiteX98" fmla="*/ 9389 w 10000"/>
                    <a:gd name="connsiteY98" fmla="*/ 8662 h 10000"/>
                    <a:gd name="connsiteX99" fmla="*/ 9278 w 10000"/>
                    <a:gd name="connsiteY99" fmla="*/ 8686 h 10000"/>
                    <a:gd name="connsiteX100" fmla="*/ 9056 w 10000"/>
                    <a:gd name="connsiteY100" fmla="*/ 8662 h 10000"/>
                    <a:gd name="connsiteX101" fmla="*/ 8889 w 10000"/>
                    <a:gd name="connsiteY101" fmla="*/ 8641 h 10000"/>
                    <a:gd name="connsiteX102" fmla="*/ 8722 w 10000"/>
                    <a:gd name="connsiteY102" fmla="*/ 8603 h 10000"/>
                    <a:gd name="connsiteX103" fmla="*/ 8611 w 10000"/>
                    <a:gd name="connsiteY103" fmla="*/ 8541 h 10000"/>
                    <a:gd name="connsiteX104" fmla="*/ 8444 w 10000"/>
                    <a:gd name="connsiteY104" fmla="*/ 8442 h 10000"/>
                    <a:gd name="connsiteX105" fmla="*/ 8444 w 10000"/>
                    <a:gd name="connsiteY105" fmla="*/ 8442 h 10000"/>
                    <a:gd name="connsiteX106" fmla="*/ 8222 w 10000"/>
                    <a:gd name="connsiteY106" fmla="*/ 8265 h 10000"/>
                    <a:gd name="connsiteX107" fmla="*/ 8111 w 10000"/>
                    <a:gd name="connsiteY107" fmla="*/ 8185 h 10000"/>
                    <a:gd name="connsiteX108" fmla="*/ 7944 w 10000"/>
                    <a:gd name="connsiteY108" fmla="*/ 8125 h 10000"/>
                    <a:gd name="connsiteX109" fmla="*/ 7778 w 10000"/>
                    <a:gd name="connsiteY109" fmla="*/ 8086 h 10000"/>
                    <a:gd name="connsiteX110" fmla="*/ 7556 w 10000"/>
                    <a:gd name="connsiteY110" fmla="*/ 8062 h 10000"/>
                    <a:gd name="connsiteX111" fmla="*/ 7333 w 10000"/>
                    <a:gd name="connsiteY111" fmla="*/ 8045 h 10000"/>
                    <a:gd name="connsiteX112" fmla="*/ 7000 w 10000"/>
                    <a:gd name="connsiteY112" fmla="*/ 8022 h 10000"/>
                    <a:gd name="connsiteX113" fmla="*/ 7000 w 10000"/>
                    <a:gd name="connsiteY113" fmla="*/ 8022 h 10000"/>
                    <a:gd name="connsiteX114" fmla="*/ 6556 w 10000"/>
                    <a:gd name="connsiteY114" fmla="*/ 8045 h 10000"/>
                    <a:gd name="connsiteX115" fmla="*/ 6222 w 10000"/>
                    <a:gd name="connsiteY115" fmla="*/ 8045 h 10000"/>
                    <a:gd name="connsiteX116" fmla="*/ 6111 w 10000"/>
                    <a:gd name="connsiteY116" fmla="*/ 8022 h 10000"/>
                    <a:gd name="connsiteX117" fmla="*/ 6056 w 10000"/>
                    <a:gd name="connsiteY117" fmla="*/ 8003 h 10000"/>
                    <a:gd name="connsiteX118" fmla="*/ 6056 w 10000"/>
                    <a:gd name="connsiteY118" fmla="*/ 8003 h 10000"/>
                    <a:gd name="connsiteX119" fmla="*/ 6056 w 10000"/>
                    <a:gd name="connsiteY119" fmla="*/ 7646 h 10000"/>
                    <a:gd name="connsiteX120" fmla="*/ 6056 w 10000"/>
                    <a:gd name="connsiteY120" fmla="*/ 7646 h 10000"/>
                    <a:gd name="connsiteX121" fmla="*/ 6056 w 10000"/>
                    <a:gd name="connsiteY121" fmla="*/ 7563 h 10000"/>
                    <a:gd name="connsiteX122" fmla="*/ 5944 w 10000"/>
                    <a:gd name="connsiteY122" fmla="*/ 7464 h 10000"/>
                    <a:gd name="connsiteX123" fmla="*/ 5889 w 10000"/>
                    <a:gd name="connsiteY123" fmla="*/ 7443 h 10000"/>
                    <a:gd name="connsiteX124" fmla="*/ 5778 w 10000"/>
                    <a:gd name="connsiteY124" fmla="*/ 7425 h 10000"/>
                    <a:gd name="connsiteX125" fmla="*/ 5667 w 10000"/>
                    <a:gd name="connsiteY125" fmla="*/ 7425 h 10000"/>
                    <a:gd name="connsiteX126" fmla="*/ 5500 w 10000"/>
                    <a:gd name="connsiteY126" fmla="*/ 7443 h 10000"/>
                    <a:gd name="connsiteX127" fmla="*/ 5500 w 10000"/>
                    <a:gd name="connsiteY127" fmla="*/ 7443 h 10000"/>
                    <a:gd name="connsiteX128" fmla="*/ 4889 w 10000"/>
                    <a:gd name="connsiteY128" fmla="*/ 7584 h 10000"/>
                    <a:gd name="connsiteX129" fmla="*/ 4611 w 10000"/>
                    <a:gd name="connsiteY129" fmla="*/ 7626 h 10000"/>
                    <a:gd name="connsiteX130" fmla="*/ 4556 w 10000"/>
                    <a:gd name="connsiteY130" fmla="*/ 7646 h 10000"/>
                    <a:gd name="connsiteX131" fmla="*/ 4500 w 10000"/>
                    <a:gd name="connsiteY131" fmla="*/ 7626 h 10000"/>
                    <a:gd name="connsiteX132" fmla="*/ 4500 w 10000"/>
                    <a:gd name="connsiteY132" fmla="*/ 7626 h 10000"/>
                    <a:gd name="connsiteX133" fmla="*/ 4222 w 10000"/>
                    <a:gd name="connsiteY133" fmla="*/ 7425 h 10000"/>
                    <a:gd name="connsiteX134" fmla="*/ 4222 w 10000"/>
                    <a:gd name="connsiteY134" fmla="*/ 7425 h 10000"/>
                    <a:gd name="connsiteX135" fmla="*/ 4111 w 10000"/>
                    <a:gd name="connsiteY135" fmla="*/ 7326 h 10000"/>
                    <a:gd name="connsiteX136" fmla="*/ 4111 w 10000"/>
                    <a:gd name="connsiteY136" fmla="*/ 7265 h 10000"/>
                    <a:gd name="connsiteX137" fmla="*/ 4111 w 10000"/>
                    <a:gd name="connsiteY137" fmla="*/ 7205 h 10000"/>
                    <a:gd name="connsiteX138" fmla="*/ 4111 w 10000"/>
                    <a:gd name="connsiteY138" fmla="*/ 7205 h 10000"/>
                    <a:gd name="connsiteX139" fmla="*/ 4278 w 10000"/>
                    <a:gd name="connsiteY139" fmla="*/ 7145 h 10000"/>
                    <a:gd name="connsiteX140" fmla="*/ 4389 w 10000"/>
                    <a:gd name="connsiteY140" fmla="*/ 7126 h 10000"/>
                    <a:gd name="connsiteX141" fmla="*/ 4389 w 10000"/>
                    <a:gd name="connsiteY141" fmla="*/ 7126 h 10000"/>
                    <a:gd name="connsiteX142" fmla="*/ 4000 w 10000"/>
                    <a:gd name="connsiteY142" fmla="*/ 7126 h 10000"/>
                    <a:gd name="connsiteX143" fmla="*/ 3722 w 10000"/>
                    <a:gd name="connsiteY143" fmla="*/ 7145 h 10000"/>
                    <a:gd name="connsiteX144" fmla="*/ 3611 w 10000"/>
                    <a:gd name="connsiteY144" fmla="*/ 7166 h 10000"/>
                    <a:gd name="connsiteX145" fmla="*/ 3556 w 10000"/>
                    <a:gd name="connsiteY145" fmla="*/ 7187 h 10000"/>
                    <a:gd name="connsiteX146" fmla="*/ 3556 w 10000"/>
                    <a:gd name="connsiteY146" fmla="*/ 7187 h 10000"/>
                    <a:gd name="connsiteX147" fmla="*/ 3444 w 10000"/>
                    <a:gd name="connsiteY147" fmla="*/ 7265 h 10000"/>
                    <a:gd name="connsiteX148" fmla="*/ 3278 w 10000"/>
                    <a:gd name="connsiteY148" fmla="*/ 7386 h 10000"/>
                    <a:gd name="connsiteX149" fmla="*/ 3000 w 10000"/>
                    <a:gd name="connsiteY149" fmla="*/ 7525 h 10000"/>
                    <a:gd name="connsiteX150" fmla="*/ 2667 w 10000"/>
                    <a:gd name="connsiteY150" fmla="*/ 7626 h 10000"/>
                    <a:gd name="connsiteX151" fmla="*/ 2667 w 10000"/>
                    <a:gd name="connsiteY151" fmla="*/ 7626 h 10000"/>
                    <a:gd name="connsiteX152" fmla="*/ 2333 w 10000"/>
                    <a:gd name="connsiteY152" fmla="*/ 7706 h 10000"/>
                    <a:gd name="connsiteX153" fmla="*/ 1833 w 10000"/>
                    <a:gd name="connsiteY153" fmla="*/ 7786 h 10000"/>
                    <a:gd name="connsiteX154" fmla="*/ 1389 w 10000"/>
                    <a:gd name="connsiteY154" fmla="*/ 7826 h 10000"/>
                    <a:gd name="connsiteX155" fmla="*/ 889 w 10000"/>
                    <a:gd name="connsiteY155" fmla="*/ 7845 h 10000"/>
                    <a:gd name="connsiteX156" fmla="*/ 889 w 10000"/>
                    <a:gd name="connsiteY156" fmla="*/ 7845 h 10000"/>
                    <a:gd name="connsiteX157" fmla="*/ 500 w 10000"/>
                    <a:gd name="connsiteY157" fmla="*/ 7867 h 10000"/>
                    <a:gd name="connsiteX158" fmla="*/ 222 w 10000"/>
                    <a:gd name="connsiteY158" fmla="*/ 7885 h 10000"/>
                    <a:gd name="connsiteX159" fmla="*/ 0 w 10000"/>
                    <a:gd name="connsiteY159" fmla="*/ 7904 h 10000"/>
                    <a:gd name="connsiteX160" fmla="*/ 0 w 10000"/>
                    <a:gd name="connsiteY160" fmla="*/ 7904 h 10000"/>
                    <a:gd name="connsiteX161" fmla="*/ 278 w 10000"/>
                    <a:gd name="connsiteY161" fmla="*/ 8225 h 10000"/>
                    <a:gd name="connsiteX162" fmla="*/ 500 w 10000"/>
                    <a:gd name="connsiteY162" fmla="*/ 8461 h 10000"/>
                    <a:gd name="connsiteX163" fmla="*/ 722 w 10000"/>
                    <a:gd name="connsiteY163" fmla="*/ 8662 h 10000"/>
                    <a:gd name="connsiteX164" fmla="*/ 722 w 10000"/>
                    <a:gd name="connsiteY164" fmla="*/ 8662 h 10000"/>
                    <a:gd name="connsiteX165" fmla="*/ 889 w 10000"/>
                    <a:gd name="connsiteY165" fmla="*/ 8783 h 10000"/>
                    <a:gd name="connsiteX166" fmla="*/ 944 w 10000"/>
                    <a:gd name="connsiteY166" fmla="*/ 8884 h 10000"/>
                    <a:gd name="connsiteX167" fmla="*/ 1111 w 10000"/>
                    <a:gd name="connsiteY167" fmla="*/ 8985 h 10000"/>
                    <a:gd name="connsiteX168" fmla="*/ 1333 w 10000"/>
                    <a:gd name="connsiteY168" fmla="*/ 9140 h 10000"/>
                    <a:gd name="connsiteX169" fmla="*/ 1333 w 10000"/>
                    <a:gd name="connsiteY169" fmla="*/ 9140 h 10000"/>
                    <a:gd name="connsiteX170" fmla="*/ 1444 w 10000"/>
                    <a:gd name="connsiteY170" fmla="*/ 9222 h 10000"/>
                    <a:gd name="connsiteX171" fmla="*/ 1500 w 10000"/>
                    <a:gd name="connsiteY171" fmla="*/ 9281 h 10000"/>
                    <a:gd name="connsiteX172" fmla="*/ 1500 w 10000"/>
                    <a:gd name="connsiteY172" fmla="*/ 9339 h 10000"/>
                    <a:gd name="connsiteX173" fmla="*/ 1556 w 10000"/>
                    <a:gd name="connsiteY173" fmla="*/ 9363 h 10000"/>
                    <a:gd name="connsiteX174" fmla="*/ 1722 w 10000"/>
                    <a:gd name="connsiteY174" fmla="*/ 9380 h 10000"/>
                    <a:gd name="connsiteX175" fmla="*/ 1944 w 10000"/>
                    <a:gd name="connsiteY175" fmla="*/ 9400 h 10000"/>
                    <a:gd name="connsiteX176" fmla="*/ 2944 w 10000"/>
                    <a:gd name="connsiteY176" fmla="*/ 9421 h 10000"/>
                    <a:gd name="connsiteX177" fmla="*/ 2944 w 10000"/>
                    <a:gd name="connsiteY177" fmla="*/ 9421 h 10000"/>
                    <a:gd name="connsiteX178" fmla="*/ 4167 w 10000"/>
                    <a:gd name="connsiteY178" fmla="*/ 9461 h 10000"/>
                    <a:gd name="connsiteX179" fmla="*/ 4889 w 10000"/>
                    <a:gd name="connsiteY179" fmla="*/ 9520 h 10000"/>
                    <a:gd name="connsiteX180" fmla="*/ 5278 w 10000"/>
                    <a:gd name="connsiteY180" fmla="*/ 9582 h 10000"/>
                    <a:gd name="connsiteX181" fmla="*/ 5444 w 10000"/>
                    <a:gd name="connsiteY181" fmla="*/ 9598 h 10000"/>
                    <a:gd name="connsiteX182" fmla="*/ 5444 w 10000"/>
                    <a:gd name="connsiteY182" fmla="*/ 9598 h 10000"/>
                    <a:gd name="connsiteX183" fmla="*/ 5722 w 10000"/>
                    <a:gd name="connsiteY183" fmla="*/ 9643 h 10000"/>
                    <a:gd name="connsiteX184" fmla="*/ 5833 w 10000"/>
                    <a:gd name="connsiteY184" fmla="*/ 9664 h 10000"/>
                    <a:gd name="connsiteX185" fmla="*/ 5833 w 10000"/>
                    <a:gd name="connsiteY185" fmla="*/ 9664 h 10000"/>
                    <a:gd name="connsiteX186" fmla="*/ 5833 w 10000"/>
                    <a:gd name="connsiteY186" fmla="*/ 9643 h 10000"/>
                    <a:gd name="connsiteX187" fmla="*/ 5889 w 10000"/>
                    <a:gd name="connsiteY187" fmla="*/ 9621 h 10000"/>
                    <a:gd name="connsiteX188" fmla="*/ 6000 w 10000"/>
                    <a:gd name="connsiteY188" fmla="*/ 9598 h 10000"/>
                    <a:gd name="connsiteX189" fmla="*/ 6167 w 10000"/>
                    <a:gd name="connsiteY189" fmla="*/ 9582 h 10000"/>
                    <a:gd name="connsiteX190" fmla="*/ 6444 w 10000"/>
                    <a:gd name="connsiteY190" fmla="*/ 9582 h 10000"/>
                    <a:gd name="connsiteX191" fmla="*/ 6833 w 10000"/>
                    <a:gd name="connsiteY191" fmla="*/ 9598 h 10000"/>
                    <a:gd name="connsiteX192" fmla="*/ 7278 w 10000"/>
                    <a:gd name="connsiteY192" fmla="*/ 9664 h 10000"/>
                    <a:gd name="connsiteX193" fmla="*/ 7278 w 10000"/>
                    <a:gd name="connsiteY193" fmla="*/ 9664 h 10000"/>
                    <a:gd name="connsiteX194" fmla="*/ 8722 w 10000"/>
                    <a:gd name="connsiteY194" fmla="*/ 9838 h 10000"/>
                    <a:gd name="connsiteX195" fmla="*/ 10000 w 10000"/>
                    <a:gd name="connsiteY195" fmla="*/ 10000 h 10000"/>
                    <a:gd name="connsiteX0" fmla="*/ 10000 w 10000"/>
                    <a:gd name="connsiteY0" fmla="*/ 8641 h 10000"/>
                    <a:gd name="connsiteX1" fmla="*/ 10000 w 10000"/>
                    <a:gd name="connsiteY1" fmla="*/ 8641 h 10000"/>
                    <a:gd name="connsiteX2" fmla="*/ 9222 w 10000"/>
                    <a:gd name="connsiteY2" fmla="*/ 8662 h 10000"/>
                    <a:gd name="connsiteX3" fmla="*/ 8944 w 10000"/>
                    <a:gd name="connsiteY3" fmla="*/ 8662 h 10000"/>
                    <a:gd name="connsiteX4" fmla="*/ 8833 w 10000"/>
                    <a:gd name="connsiteY4" fmla="*/ 8641 h 10000"/>
                    <a:gd name="connsiteX5" fmla="*/ 8778 w 10000"/>
                    <a:gd name="connsiteY5" fmla="*/ 8623 h 10000"/>
                    <a:gd name="connsiteX6" fmla="*/ 8778 w 10000"/>
                    <a:gd name="connsiteY6" fmla="*/ 8623 h 10000"/>
                    <a:gd name="connsiteX7" fmla="*/ 8444 w 10000"/>
                    <a:gd name="connsiteY7" fmla="*/ 8382 h 10000"/>
                    <a:gd name="connsiteX8" fmla="*/ 8167 w 10000"/>
                    <a:gd name="connsiteY8" fmla="*/ 8162 h 10000"/>
                    <a:gd name="connsiteX9" fmla="*/ 8167 w 10000"/>
                    <a:gd name="connsiteY9" fmla="*/ 8162 h 10000"/>
                    <a:gd name="connsiteX10" fmla="*/ 8056 w 10000"/>
                    <a:gd name="connsiteY10" fmla="*/ 8125 h 10000"/>
                    <a:gd name="connsiteX11" fmla="*/ 7889 w 10000"/>
                    <a:gd name="connsiteY11" fmla="*/ 8086 h 10000"/>
                    <a:gd name="connsiteX12" fmla="*/ 7444 w 10000"/>
                    <a:gd name="connsiteY12" fmla="*/ 8062 h 10000"/>
                    <a:gd name="connsiteX13" fmla="*/ 6889 w 10000"/>
                    <a:gd name="connsiteY13" fmla="*/ 8045 h 10000"/>
                    <a:gd name="connsiteX14" fmla="*/ 6389 w 10000"/>
                    <a:gd name="connsiteY14" fmla="*/ 8045 h 10000"/>
                    <a:gd name="connsiteX15" fmla="*/ 6389 w 10000"/>
                    <a:gd name="connsiteY15" fmla="*/ 8045 h 10000"/>
                    <a:gd name="connsiteX16" fmla="*/ 6167 w 10000"/>
                    <a:gd name="connsiteY16" fmla="*/ 8022 h 10000"/>
                    <a:gd name="connsiteX17" fmla="*/ 6056 w 10000"/>
                    <a:gd name="connsiteY17" fmla="*/ 7985 h 10000"/>
                    <a:gd name="connsiteX18" fmla="*/ 6000 w 10000"/>
                    <a:gd name="connsiteY18" fmla="*/ 7944 h 10000"/>
                    <a:gd name="connsiteX19" fmla="*/ 6000 w 10000"/>
                    <a:gd name="connsiteY19" fmla="*/ 7867 h 10000"/>
                    <a:gd name="connsiteX20" fmla="*/ 6056 w 10000"/>
                    <a:gd name="connsiteY20" fmla="*/ 7706 h 10000"/>
                    <a:gd name="connsiteX21" fmla="*/ 6111 w 10000"/>
                    <a:gd name="connsiteY21" fmla="*/ 7626 h 10000"/>
                    <a:gd name="connsiteX22" fmla="*/ 6056 w 10000"/>
                    <a:gd name="connsiteY22" fmla="*/ 7525 h 10000"/>
                    <a:gd name="connsiteX23" fmla="*/ 6056 w 10000"/>
                    <a:gd name="connsiteY23" fmla="*/ 7525 h 10000"/>
                    <a:gd name="connsiteX24" fmla="*/ 6000 w 10000"/>
                    <a:gd name="connsiteY24" fmla="*/ 7464 h 10000"/>
                    <a:gd name="connsiteX25" fmla="*/ 5944 w 10000"/>
                    <a:gd name="connsiteY25" fmla="*/ 7425 h 10000"/>
                    <a:gd name="connsiteX26" fmla="*/ 5833 w 10000"/>
                    <a:gd name="connsiteY26" fmla="*/ 7425 h 10000"/>
                    <a:gd name="connsiteX27" fmla="*/ 5667 w 10000"/>
                    <a:gd name="connsiteY27" fmla="*/ 7443 h 10000"/>
                    <a:gd name="connsiteX28" fmla="*/ 5333 w 10000"/>
                    <a:gd name="connsiteY28" fmla="*/ 7505 h 10000"/>
                    <a:gd name="connsiteX29" fmla="*/ 4889 w 10000"/>
                    <a:gd name="connsiteY29" fmla="*/ 7605 h 10000"/>
                    <a:gd name="connsiteX30" fmla="*/ 4889 w 10000"/>
                    <a:gd name="connsiteY30" fmla="*/ 7605 h 10000"/>
                    <a:gd name="connsiteX31" fmla="*/ 4611 w 10000"/>
                    <a:gd name="connsiteY31" fmla="*/ 7626 h 10000"/>
                    <a:gd name="connsiteX32" fmla="*/ 4500 w 10000"/>
                    <a:gd name="connsiteY32" fmla="*/ 7626 h 10000"/>
                    <a:gd name="connsiteX33" fmla="*/ 4444 w 10000"/>
                    <a:gd name="connsiteY33" fmla="*/ 7605 h 10000"/>
                    <a:gd name="connsiteX34" fmla="*/ 4389 w 10000"/>
                    <a:gd name="connsiteY34" fmla="*/ 7525 h 10000"/>
                    <a:gd name="connsiteX35" fmla="*/ 4222 w 10000"/>
                    <a:gd name="connsiteY35" fmla="*/ 7425 h 10000"/>
                    <a:gd name="connsiteX36" fmla="*/ 4222 w 10000"/>
                    <a:gd name="connsiteY36" fmla="*/ 7425 h 10000"/>
                    <a:gd name="connsiteX37" fmla="*/ 4111 w 10000"/>
                    <a:gd name="connsiteY37" fmla="*/ 7364 h 10000"/>
                    <a:gd name="connsiteX38" fmla="*/ 4111 w 10000"/>
                    <a:gd name="connsiteY38" fmla="*/ 7305 h 10000"/>
                    <a:gd name="connsiteX39" fmla="*/ 4111 w 10000"/>
                    <a:gd name="connsiteY39" fmla="*/ 7265 h 10000"/>
                    <a:gd name="connsiteX40" fmla="*/ 4167 w 10000"/>
                    <a:gd name="connsiteY40" fmla="*/ 7224 h 10000"/>
                    <a:gd name="connsiteX41" fmla="*/ 4278 w 10000"/>
                    <a:gd name="connsiteY41" fmla="*/ 7145 h 10000"/>
                    <a:gd name="connsiteX42" fmla="*/ 4389 w 10000"/>
                    <a:gd name="connsiteY42" fmla="*/ 7126 h 10000"/>
                    <a:gd name="connsiteX43" fmla="*/ 4389 w 10000"/>
                    <a:gd name="connsiteY43" fmla="*/ 7126 h 10000"/>
                    <a:gd name="connsiteX44" fmla="*/ 4389 w 10000"/>
                    <a:gd name="connsiteY44" fmla="*/ 7105 h 10000"/>
                    <a:gd name="connsiteX45" fmla="*/ 4444 w 10000"/>
                    <a:gd name="connsiteY45" fmla="*/ 7088 h 10000"/>
                    <a:gd name="connsiteX46" fmla="*/ 4667 w 10000"/>
                    <a:gd name="connsiteY46" fmla="*/ 7065 h 10000"/>
                    <a:gd name="connsiteX47" fmla="*/ 5333 w 10000"/>
                    <a:gd name="connsiteY47" fmla="*/ 7028 h 10000"/>
                    <a:gd name="connsiteX48" fmla="*/ 6500 w 10000"/>
                    <a:gd name="connsiteY48" fmla="*/ 6965 h 10000"/>
                    <a:gd name="connsiteX49" fmla="*/ 6500 w 10000"/>
                    <a:gd name="connsiteY49" fmla="*/ 6965 h 10000"/>
                    <a:gd name="connsiteX50" fmla="*/ 7167 w 10000"/>
                    <a:gd name="connsiteY50" fmla="*/ 6907 h 10000"/>
                    <a:gd name="connsiteX51" fmla="*/ 8389 w 10000"/>
                    <a:gd name="connsiteY51" fmla="*/ 6788 h 10000"/>
                    <a:gd name="connsiteX52" fmla="*/ 8389 w 10000"/>
                    <a:gd name="connsiteY52" fmla="*/ 6788 h 10000"/>
                    <a:gd name="connsiteX53" fmla="*/ 8667 w 10000"/>
                    <a:gd name="connsiteY53" fmla="*/ 6745 h 10000"/>
                    <a:gd name="connsiteX54" fmla="*/ 8778 w 10000"/>
                    <a:gd name="connsiteY54" fmla="*/ 6684 h 10000"/>
                    <a:gd name="connsiteX55" fmla="*/ 8889 w 10000"/>
                    <a:gd name="connsiteY55" fmla="*/ 6646 h 10000"/>
                    <a:gd name="connsiteX56" fmla="*/ 8833 w 10000"/>
                    <a:gd name="connsiteY56" fmla="*/ 6606 h 10000"/>
                    <a:gd name="connsiteX57" fmla="*/ 8833 w 10000"/>
                    <a:gd name="connsiteY57" fmla="*/ 6569 h 10000"/>
                    <a:gd name="connsiteX58" fmla="*/ 8722 w 10000"/>
                    <a:gd name="connsiteY58" fmla="*/ 6525 h 10000"/>
                    <a:gd name="connsiteX59" fmla="*/ 8556 w 10000"/>
                    <a:gd name="connsiteY59" fmla="*/ 6465 h 10000"/>
                    <a:gd name="connsiteX60" fmla="*/ 8556 w 10000"/>
                    <a:gd name="connsiteY60" fmla="*/ 6465 h 10000"/>
                    <a:gd name="connsiteX61" fmla="*/ 6556 w 10000"/>
                    <a:gd name="connsiteY61" fmla="*/ 6111 h 10000"/>
                    <a:gd name="connsiteX62" fmla="*/ 6556 w 10000"/>
                    <a:gd name="connsiteY62" fmla="*/ 6111 h 10000"/>
                    <a:gd name="connsiteX63" fmla="*/ 6333 w 10000"/>
                    <a:gd name="connsiteY63" fmla="*/ 6049 h 10000"/>
                    <a:gd name="connsiteX64" fmla="*/ 6167 w 10000"/>
                    <a:gd name="connsiteY64" fmla="*/ 5988 h 10000"/>
                    <a:gd name="connsiteX65" fmla="*/ 6056 w 10000"/>
                    <a:gd name="connsiteY65" fmla="*/ 5927 h 10000"/>
                    <a:gd name="connsiteX66" fmla="*/ 6056 w 10000"/>
                    <a:gd name="connsiteY66" fmla="*/ 5927 h 10000"/>
                    <a:gd name="connsiteX67" fmla="*/ 8056 w 10000"/>
                    <a:gd name="connsiteY67" fmla="*/ 5907 h 10000"/>
                    <a:gd name="connsiteX68" fmla="*/ 10000 w 10000"/>
                    <a:gd name="connsiteY68" fmla="*/ 6111 h 10000"/>
                    <a:gd name="connsiteX69" fmla="*/ 10000 w 10000"/>
                    <a:gd name="connsiteY69" fmla="*/ 4291 h 10000"/>
                    <a:gd name="connsiteX70" fmla="*/ 2889 w 10000"/>
                    <a:gd name="connsiteY70" fmla="*/ 2176 h 10000"/>
                    <a:gd name="connsiteX71" fmla="*/ 2000 w 10000"/>
                    <a:gd name="connsiteY71" fmla="*/ 2135 h 10000"/>
                    <a:gd name="connsiteX72" fmla="*/ 1889 w 10000"/>
                    <a:gd name="connsiteY72" fmla="*/ 2116 h 10000"/>
                    <a:gd name="connsiteX73" fmla="*/ 1778 w 10000"/>
                    <a:gd name="connsiteY73" fmla="*/ 2094 h 10000"/>
                    <a:gd name="connsiteX74" fmla="*/ 1778 w 10000"/>
                    <a:gd name="connsiteY74" fmla="*/ 2094 h 10000"/>
                    <a:gd name="connsiteX75" fmla="*/ 1667 w 10000"/>
                    <a:gd name="connsiteY75" fmla="*/ 2016 h 10000"/>
                    <a:gd name="connsiteX76" fmla="*/ 1500 w 10000"/>
                    <a:gd name="connsiteY76" fmla="*/ 1876 h 10000"/>
                    <a:gd name="connsiteX77" fmla="*/ 1444 w 10000"/>
                    <a:gd name="connsiteY77" fmla="*/ 1796 h 10000"/>
                    <a:gd name="connsiteX78" fmla="*/ 1444 w 10000"/>
                    <a:gd name="connsiteY78" fmla="*/ 1716 h 10000"/>
                    <a:gd name="connsiteX79" fmla="*/ 1444 w 10000"/>
                    <a:gd name="connsiteY79" fmla="*/ 1656 h 10000"/>
                    <a:gd name="connsiteX80" fmla="*/ 1556 w 10000"/>
                    <a:gd name="connsiteY80" fmla="*/ 1596 h 10000"/>
                    <a:gd name="connsiteX81" fmla="*/ 1556 w 10000"/>
                    <a:gd name="connsiteY81" fmla="*/ 1596 h 10000"/>
                    <a:gd name="connsiteX82" fmla="*/ 1833 w 10000"/>
                    <a:gd name="connsiteY82" fmla="*/ 1497 h 10000"/>
                    <a:gd name="connsiteX83" fmla="*/ 2111 w 10000"/>
                    <a:gd name="connsiteY83" fmla="*/ 1394 h 10000"/>
                    <a:gd name="connsiteX84" fmla="*/ 2278 w 10000"/>
                    <a:gd name="connsiteY84" fmla="*/ 1337 h 10000"/>
                    <a:gd name="connsiteX85" fmla="*/ 2389 w 10000"/>
                    <a:gd name="connsiteY85" fmla="*/ 1278 h 10000"/>
                    <a:gd name="connsiteX86" fmla="*/ 2389 w 10000"/>
                    <a:gd name="connsiteY86" fmla="*/ 1197 h 10000"/>
                    <a:gd name="connsiteX87" fmla="*/ 2389 w 10000"/>
                    <a:gd name="connsiteY87" fmla="*/ 1099 h 10000"/>
                    <a:gd name="connsiteX88" fmla="*/ 2389 w 10000"/>
                    <a:gd name="connsiteY88" fmla="*/ 1099 h 10000"/>
                    <a:gd name="connsiteX89" fmla="*/ 2167 w 10000"/>
                    <a:gd name="connsiteY89" fmla="*/ 818 h 10000"/>
                    <a:gd name="connsiteX90" fmla="*/ 1889 w 10000"/>
                    <a:gd name="connsiteY90" fmla="*/ 438 h 10000"/>
                    <a:gd name="connsiteX91" fmla="*/ 1667 w 10000"/>
                    <a:gd name="connsiteY91" fmla="*/ 99 h 10000"/>
                    <a:gd name="connsiteX92" fmla="*/ 1611 w 10000"/>
                    <a:gd name="connsiteY92" fmla="*/ 0 h 10000"/>
                    <a:gd name="connsiteX93" fmla="*/ 10000 w 10000"/>
                    <a:gd name="connsiteY93" fmla="*/ 8662 h 10000"/>
                    <a:gd name="connsiteX94" fmla="*/ 10000 w 10000"/>
                    <a:gd name="connsiteY94" fmla="*/ 8662 h 10000"/>
                    <a:gd name="connsiteX95" fmla="*/ 9722 w 10000"/>
                    <a:gd name="connsiteY95" fmla="*/ 8641 h 10000"/>
                    <a:gd name="connsiteX96" fmla="*/ 9389 w 10000"/>
                    <a:gd name="connsiteY96" fmla="*/ 8662 h 10000"/>
                    <a:gd name="connsiteX97" fmla="*/ 9389 w 10000"/>
                    <a:gd name="connsiteY97" fmla="*/ 8662 h 10000"/>
                    <a:gd name="connsiteX98" fmla="*/ 9278 w 10000"/>
                    <a:gd name="connsiteY98" fmla="*/ 8686 h 10000"/>
                    <a:gd name="connsiteX99" fmla="*/ 9056 w 10000"/>
                    <a:gd name="connsiteY99" fmla="*/ 8662 h 10000"/>
                    <a:gd name="connsiteX100" fmla="*/ 8889 w 10000"/>
                    <a:gd name="connsiteY100" fmla="*/ 8641 h 10000"/>
                    <a:gd name="connsiteX101" fmla="*/ 8722 w 10000"/>
                    <a:gd name="connsiteY101" fmla="*/ 8603 h 10000"/>
                    <a:gd name="connsiteX102" fmla="*/ 8611 w 10000"/>
                    <a:gd name="connsiteY102" fmla="*/ 8541 h 10000"/>
                    <a:gd name="connsiteX103" fmla="*/ 8444 w 10000"/>
                    <a:gd name="connsiteY103" fmla="*/ 8442 h 10000"/>
                    <a:gd name="connsiteX104" fmla="*/ 8444 w 10000"/>
                    <a:gd name="connsiteY104" fmla="*/ 8442 h 10000"/>
                    <a:gd name="connsiteX105" fmla="*/ 8222 w 10000"/>
                    <a:gd name="connsiteY105" fmla="*/ 8265 h 10000"/>
                    <a:gd name="connsiteX106" fmla="*/ 8111 w 10000"/>
                    <a:gd name="connsiteY106" fmla="*/ 8185 h 10000"/>
                    <a:gd name="connsiteX107" fmla="*/ 7944 w 10000"/>
                    <a:gd name="connsiteY107" fmla="*/ 8125 h 10000"/>
                    <a:gd name="connsiteX108" fmla="*/ 7778 w 10000"/>
                    <a:gd name="connsiteY108" fmla="*/ 8086 h 10000"/>
                    <a:gd name="connsiteX109" fmla="*/ 7556 w 10000"/>
                    <a:gd name="connsiteY109" fmla="*/ 8062 h 10000"/>
                    <a:gd name="connsiteX110" fmla="*/ 7333 w 10000"/>
                    <a:gd name="connsiteY110" fmla="*/ 8045 h 10000"/>
                    <a:gd name="connsiteX111" fmla="*/ 7000 w 10000"/>
                    <a:gd name="connsiteY111" fmla="*/ 8022 h 10000"/>
                    <a:gd name="connsiteX112" fmla="*/ 7000 w 10000"/>
                    <a:gd name="connsiteY112" fmla="*/ 8022 h 10000"/>
                    <a:gd name="connsiteX113" fmla="*/ 6556 w 10000"/>
                    <a:gd name="connsiteY113" fmla="*/ 8045 h 10000"/>
                    <a:gd name="connsiteX114" fmla="*/ 6222 w 10000"/>
                    <a:gd name="connsiteY114" fmla="*/ 8045 h 10000"/>
                    <a:gd name="connsiteX115" fmla="*/ 6111 w 10000"/>
                    <a:gd name="connsiteY115" fmla="*/ 8022 h 10000"/>
                    <a:gd name="connsiteX116" fmla="*/ 6056 w 10000"/>
                    <a:gd name="connsiteY116" fmla="*/ 8003 h 10000"/>
                    <a:gd name="connsiteX117" fmla="*/ 6056 w 10000"/>
                    <a:gd name="connsiteY117" fmla="*/ 8003 h 10000"/>
                    <a:gd name="connsiteX118" fmla="*/ 6056 w 10000"/>
                    <a:gd name="connsiteY118" fmla="*/ 7646 h 10000"/>
                    <a:gd name="connsiteX119" fmla="*/ 6056 w 10000"/>
                    <a:gd name="connsiteY119" fmla="*/ 7646 h 10000"/>
                    <a:gd name="connsiteX120" fmla="*/ 6056 w 10000"/>
                    <a:gd name="connsiteY120" fmla="*/ 7563 h 10000"/>
                    <a:gd name="connsiteX121" fmla="*/ 5944 w 10000"/>
                    <a:gd name="connsiteY121" fmla="*/ 7464 h 10000"/>
                    <a:gd name="connsiteX122" fmla="*/ 5889 w 10000"/>
                    <a:gd name="connsiteY122" fmla="*/ 7443 h 10000"/>
                    <a:gd name="connsiteX123" fmla="*/ 5778 w 10000"/>
                    <a:gd name="connsiteY123" fmla="*/ 7425 h 10000"/>
                    <a:gd name="connsiteX124" fmla="*/ 5667 w 10000"/>
                    <a:gd name="connsiteY124" fmla="*/ 7425 h 10000"/>
                    <a:gd name="connsiteX125" fmla="*/ 5500 w 10000"/>
                    <a:gd name="connsiteY125" fmla="*/ 7443 h 10000"/>
                    <a:gd name="connsiteX126" fmla="*/ 5500 w 10000"/>
                    <a:gd name="connsiteY126" fmla="*/ 7443 h 10000"/>
                    <a:gd name="connsiteX127" fmla="*/ 4889 w 10000"/>
                    <a:gd name="connsiteY127" fmla="*/ 7584 h 10000"/>
                    <a:gd name="connsiteX128" fmla="*/ 4611 w 10000"/>
                    <a:gd name="connsiteY128" fmla="*/ 7626 h 10000"/>
                    <a:gd name="connsiteX129" fmla="*/ 4556 w 10000"/>
                    <a:gd name="connsiteY129" fmla="*/ 7646 h 10000"/>
                    <a:gd name="connsiteX130" fmla="*/ 4500 w 10000"/>
                    <a:gd name="connsiteY130" fmla="*/ 7626 h 10000"/>
                    <a:gd name="connsiteX131" fmla="*/ 4500 w 10000"/>
                    <a:gd name="connsiteY131" fmla="*/ 7626 h 10000"/>
                    <a:gd name="connsiteX132" fmla="*/ 4222 w 10000"/>
                    <a:gd name="connsiteY132" fmla="*/ 7425 h 10000"/>
                    <a:gd name="connsiteX133" fmla="*/ 4222 w 10000"/>
                    <a:gd name="connsiteY133" fmla="*/ 7425 h 10000"/>
                    <a:gd name="connsiteX134" fmla="*/ 4111 w 10000"/>
                    <a:gd name="connsiteY134" fmla="*/ 7326 h 10000"/>
                    <a:gd name="connsiteX135" fmla="*/ 4111 w 10000"/>
                    <a:gd name="connsiteY135" fmla="*/ 7265 h 10000"/>
                    <a:gd name="connsiteX136" fmla="*/ 4111 w 10000"/>
                    <a:gd name="connsiteY136" fmla="*/ 7205 h 10000"/>
                    <a:gd name="connsiteX137" fmla="*/ 4111 w 10000"/>
                    <a:gd name="connsiteY137" fmla="*/ 7205 h 10000"/>
                    <a:gd name="connsiteX138" fmla="*/ 4278 w 10000"/>
                    <a:gd name="connsiteY138" fmla="*/ 7145 h 10000"/>
                    <a:gd name="connsiteX139" fmla="*/ 4389 w 10000"/>
                    <a:gd name="connsiteY139" fmla="*/ 7126 h 10000"/>
                    <a:gd name="connsiteX140" fmla="*/ 4389 w 10000"/>
                    <a:gd name="connsiteY140" fmla="*/ 7126 h 10000"/>
                    <a:gd name="connsiteX141" fmla="*/ 4000 w 10000"/>
                    <a:gd name="connsiteY141" fmla="*/ 7126 h 10000"/>
                    <a:gd name="connsiteX142" fmla="*/ 3722 w 10000"/>
                    <a:gd name="connsiteY142" fmla="*/ 7145 h 10000"/>
                    <a:gd name="connsiteX143" fmla="*/ 3611 w 10000"/>
                    <a:gd name="connsiteY143" fmla="*/ 7166 h 10000"/>
                    <a:gd name="connsiteX144" fmla="*/ 3556 w 10000"/>
                    <a:gd name="connsiteY144" fmla="*/ 7187 h 10000"/>
                    <a:gd name="connsiteX145" fmla="*/ 3556 w 10000"/>
                    <a:gd name="connsiteY145" fmla="*/ 7187 h 10000"/>
                    <a:gd name="connsiteX146" fmla="*/ 3444 w 10000"/>
                    <a:gd name="connsiteY146" fmla="*/ 7265 h 10000"/>
                    <a:gd name="connsiteX147" fmla="*/ 3278 w 10000"/>
                    <a:gd name="connsiteY147" fmla="*/ 7386 h 10000"/>
                    <a:gd name="connsiteX148" fmla="*/ 3000 w 10000"/>
                    <a:gd name="connsiteY148" fmla="*/ 7525 h 10000"/>
                    <a:gd name="connsiteX149" fmla="*/ 2667 w 10000"/>
                    <a:gd name="connsiteY149" fmla="*/ 7626 h 10000"/>
                    <a:gd name="connsiteX150" fmla="*/ 2667 w 10000"/>
                    <a:gd name="connsiteY150" fmla="*/ 7626 h 10000"/>
                    <a:gd name="connsiteX151" fmla="*/ 2333 w 10000"/>
                    <a:gd name="connsiteY151" fmla="*/ 7706 h 10000"/>
                    <a:gd name="connsiteX152" fmla="*/ 1833 w 10000"/>
                    <a:gd name="connsiteY152" fmla="*/ 7786 h 10000"/>
                    <a:gd name="connsiteX153" fmla="*/ 1389 w 10000"/>
                    <a:gd name="connsiteY153" fmla="*/ 7826 h 10000"/>
                    <a:gd name="connsiteX154" fmla="*/ 889 w 10000"/>
                    <a:gd name="connsiteY154" fmla="*/ 7845 h 10000"/>
                    <a:gd name="connsiteX155" fmla="*/ 889 w 10000"/>
                    <a:gd name="connsiteY155" fmla="*/ 7845 h 10000"/>
                    <a:gd name="connsiteX156" fmla="*/ 500 w 10000"/>
                    <a:gd name="connsiteY156" fmla="*/ 7867 h 10000"/>
                    <a:gd name="connsiteX157" fmla="*/ 222 w 10000"/>
                    <a:gd name="connsiteY157" fmla="*/ 7885 h 10000"/>
                    <a:gd name="connsiteX158" fmla="*/ 0 w 10000"/>
                    <a:gd name="connsiteY158" fmla="*/ 7904 h 10000"/>
                    <a:gd name="connsiteX159" fmla="*/ 0 w 10000"/>
                    <a:gd name="connsiteY159" fmla="*/ 7904 h 10000"/>
                    <a:gd name="connsiteX160" fmla="*/ 278 w 10000"/>
                    <a:gd name="connsiteY160" fmla="*/ 8225 h 10000"/>
                    <a:gd name="connsiteX161" fmla="*/ 500 w 10000"/>
                    <a:gd name="connsiteY161" fmla="*/ 8461 h 10000"/>
                    <a:gd name="connsiteX162" fmla="*/ 722 w 10000"/>
                    <a:gd name="connsiteY162" fmla="*/ 8662 h 10000"/>
                    <a:gd name="connsiteX163" fmla="*/ 722 w 10000"/>
                    <a:gd name="connsiteY163" fmla="*/ 8662 h 10000"/>
                    <a:gd name="connsiteX164" fmla="*/ 889 w 10000"/>
                    <a:gd name="connsiteY164" fmla="*/ 8783 h 10000"/>
                    <a:gd name="connsiteX165" fmla="*/ 944 w 10000"/>
                    <a:gd name="connsiteY165" fmla="*/ 8884 h 10000"/>
                    <a:gd name="connsiteX166" fmla="*/ 1111 w 10000"/>
                    <a:gd name="connsiteY166" fmla="*/ 8985 h 10000"/>
                    <a:gd name="connsiteX167" fmla="*/ 1333 w 10000"/>
                    <a:gd name="connsiteY167" fmla="*/ 9140 h 10000"/>
                    <a:gd name="connsiteX168" fmla="*/ 1333 w 10000"/>
                    <a:gd name="connsiteY168" fmla="*/ 9140 h 10000"/>
                    <a:gd name="connsiteX169" fmla="*/ 1444 w 10000"/>
                    <a:gd name="connsiteY169" fmla="*/ 9222 h 10000"/>
                    <a:gd name="connsiteX170" fmla="*/ 1500 w 10000"/>
                    <a:gd name="connsiteY170" fmla="*/ 9281 h 10000"/>
                    <a:gd name="connsiteX171" fmla="*/ 1500 w 10000"/>
                    <a:gd name="connsiteY171" fmla="*/ 9339 h 10000"/>
                    <a:gd name="connsiteX172" fmla="*/ 1556 w 10000"/>
                    <a:gd name="connsiteY172" fmla="*/ 9363 h 10000"/>
                    <a:gd name="connsiteX173" fmla="*/ 1722 w 10000"/>
                    <a:gd name="connsiteY173" fmla="*/ 9380 h 10000"/>
                    <a:gd name="connsiteX174" fmla="*/ 1944 w 10000"/>
                    <a:gd name="connsiteY174" fmla="*/ 9400 h 10000"/>
                    <a:gd name="connsiteX175" fmla="*/ 2944 w 10000"/>
                    <a:gd name="connsiteY175" fmla="*/ 9421 h 10000"/>
                    <a:gd name="connsiteX176" fmla="*/ 2944 w 10000"/>
                    <a:gd name="connsiteY176" fmla="*/ 9421 h 10000"/>
                    <a:gd name="connsiteX177" fmla="*/ 4167 w 10000"/>
                    <a:gd name="connsiteY177" fmla="*/ 9461 h 10000"/>
                    <a:gd name="connsiteX178" fmla="*/ 4889 w 10000"/>
                    <a:gd name="connsiteY178" fmla="*/ 9520 h 10000"/>
                    <a:gd name="connsiteX179" fmla="*/ 5278 w 10000"/>
                    <a:gd name="connsiteY179" fmla="*/ 9582 h 10000"/>
                    <a:gd name="connsiteX180" fmla="*/ 5444 w 10000"/>
                    <a:gd name="connsiteY180" fmla="*/ 9598 h 10000"/>
                    <a:gd name="connsiteX181" fmla="*/ 5444 w 10000"/>
                    <a:gd name="connsiteY181" fmla="*/ 9598 h 10000"/>
                    <a:gd name="connsiteX182" fmla="*/ 5722 w 10000"/>
                    <a:gd name="connsiteY182" fmla="*/ 9643 h 10000"/>
                    <a:gd name="connsiteX183" fmla="*/ 5833 w 10000"/>
                    <a:gd name="connsiteY183" fmla="*/ 9664 h 10000"/>
                    <a:gd name="connsiteX184" fmla="*/ 5833 w 10000"/>
                    <a:gd name="connsiteY184" fmla="*/ 9664 h 10000"/>
                    <a:gd name="connsiteX185" fmla="*/ 5833 w 10000"/>
                    <a:gd name="connsiteY185" fmla="*/ 9643 h 10000"/>
                    <a:gd name="connsiteX186" fmla="*/ 5889 w 10000"/>
                    <a:gd name="connsiteY186" fmla="*/ 9621 h 10000"/>
                    <a:gd name="connsiteX187" fmla="*/ 6000 w 10000"/>
                    <a:gd name="connsiteY187" fmla="*/ 9598 h 10000"/>
                    <a:gd name="connsiteX188" fmla="*/ 6167 w 10000"/>
                    <a:gd name="connsiteY188" fmla="*/ 9582 h 10000"/>
                    <a:gd name="connsiteX189" fmla="*/ 6444 w 10000"/>
                    <a:gd name="connsiteY189" fmla="*/ 9582 h 10000"/>
                    <a:gd name="connsiteX190" fmla="*/ 6833 w 10000"/>
                    <a:gd name="connsiteY190" fmla="*/ 9598 h 10000"/>
                    <a:gd name="connsiteX191" fmla="*/ 7278 w 10000"/>
                    <a:gd name="connsiteY191" fmla="*/ 9664 h 10000"/>
                    <a:gd name="connsiteX192" fmla="*/ 7278 w 10000"/>
                    <a:gd name="connsiteY192" fmla="*/ 9664 h 10000"/>
                    <a:gd name="connsiteX193" fmla="*/ 8722 w 10000"/>
                    <a:gd name="connsiteY193" fmla="*/ 9838 h 10000"/>
                    <a:gd name="connsiteX194" fmla="*/ 10000 w 10000"/>
                    <a:gd name="connsiteY194" fmla="*/ 10000 h 10000"/>
                    <a:gd name="connsiteX0" fmla="*/ 10000 w 10000"/>
                    <a:gd name="connsiteY0" fmla="*/ 8542 h 9901"/>
                    <a:gd name="connsiteX1" fmla="*/ 10000 w 10000"/>
                    <a:gd name="connsiteY1" fmla="*/ 8542 h 9901"/>
                    <a:gd name="connsiteX2" fmla="*/ 9222 w 10000"/>
                    <a:gd name="connsiteY2" fmla="*/ 8563 h 9901"/>
                    <a:gd name="connsiteX3" fmla="*/ 8944 w 10000"/>
                    <a:gd name="connsiteY3" fmla="*/ 8563 h 9901"/>
                    <a:gd name="connsiteX4" fmla="*/ 8833 w 10000"/>
                    <a:gd name="connsiteY4" fmla="*/ 8542 h 9901"/>
                    <a:gd name="connsiteX5" fmla="*/ 8778 w 10000"/>
                    <a:gd name="connsiteY5" fmla="*/ 8524 h 9901"/>
                    <a:gd name="connsiteX6" fmla="*/ 8778 w 10000"/>
                    <a:gd name="connsiteY6" fmla="*/ 8524 h 9901"/>
                    <a:gd name="connsiteX7" fmla="*/ 8444 w 10000"/>
                    <a:gd name="connsiteY7" fmla="*/ 8283 h 9901"/>
                    <a:gd name="connsiteX8" fmla="*/ 8167 w 10000"/>
                    <a:gd name="connsiteY8" fmla="*/ 8063 h 9901"/>
                    <a:gd name="connsiteX9" fmla="*/ 8167 w 10000"/>
                    <a:gd name="connsiteY9" fmla="*/ 8063 h 9901"/>
                    <a:gd name="connsiteX10" fmla="*/ 8056 w 10000"/>
                    <a:gd name="connsiteY10" fmla="*/ 8026 h 9901"/>
                    <a:gd name="connsiteX11" fmla="*/ 7889 w 10000"/>
                    <a:gd name="connsiteY11" fmla="*/ 7987 h 9901"/>
                    <a:gd name="connsiteX12" fmla="*/ 7444 w 10000"/>
                    <a:gd name="connsiteY12" fmla="*/ 7963 h 9901"/>
                    <a:gd name="connsiteX13" fmla="*/ 6889 w 10000"/>
                    <a:gd name="connsiteY13" fmla="*/ 7946 h 9901"/>
                    <a:gd name="connsiteX14" fmla="*/ 6389 w 10000"/>
                    <a:gd name="connsiteY14" fmla="*/ 7946 h 9901"/>
                    <a:gd name="connsiteX15" fmla="*/ 6389 w 10000"/>
                    <a:gd name="connsiteY15" fmla="*/ 7946 h 9901"/>
                    <a:gd name="connsiteX16" fmla="*/ 6167 w 10000"/>
                    <a:gd name="connsiteY16" fmla="*/ 7923 h 9901"/>
                    <a:gd name="connsiteX17" fmla="*/ 6056 w 10000"/>
                    <a:gd name="connsiteY17" fmla="*/ 7886 h 9901"/>
                    <a:gd name="connsiteX18" fmla="*/ 6000 w 10000"/>
                    <a:gd name="connsiteY18" fmla="*/ 7845 h 9901"/>
                    <a:gd name="connsiteX19" fmla="*/ 6000 w 10000"/>
                    <a:gd name="connsiteY19" fmla="*/ 7768 h 9901"/>
                    <a:gd name="connsiteX20" fmla="*/ 6056 w 10000"/>
                    <a:gd name="connsiteY20" fmla="*/ 7607 h 9901"/>
                    <a:gd name="connsiteX21" fmla="*/ 6111 w 10000"/>
                    <a:gd name="connsiteY21" fmla="*/ 7527 h 9901"/>
                    <a:gd name="connsiteX22" fmla="*/ 6056 w 10000"/>
                    <a:gd name="connsiteY22" fmla="*/ 7426 h 9901"/>
                    <a:gd name="connsiteX23" fmla="*/ 6056 w 10000"/>
                    <a:gd name="connsiteY23" fmla="*/ 7426 h 9901"/>
                    <a:gd name="connsiteX24" fmla="*/ 6000 w 10000"/>
                    <a:gd name="connsiteY24" fmla="*/ 7365 h 9901"/>
                    <a:gd name="connsiteX25" fmla="*/ 5944 w 10000"/>
                    <a:gd name="connsiteY25" fmla="*/ 7326 h 9901"/>
                    <a:gd name="connsiteX26" fmla="*/ 5833 w 10000"/>
                    <a:gd name="connsiteY26" fmla="*/ 7326 h 9901"/>
                    <a:gd name="connsiteX27" fmla="*/ 5667 w 10000"/>
                    <a:gd name="connsiteY27" fmla="*/ 7344 h 9901"/>
                    <a:gd name="connsiteX28" fmla="*/ 5333 w 10000"/>
                    <a:gd name="connsiteY28" fmla="*/ 7406 h 9901"/>
                    <a:gd name="connsiteX29" fmla="*/ 4889 w 10000"/>
                    <a:gd name="connsiteY29" fmla="*/ 7506 h 9901"/>
                    <a:gd name="connsiteX30" fmla="*/ 4889 w 10000"/>
                    <a:gd name="connsiteY30" fmla="*/ 7506 h 9901"/>
                    <a:gd name="connsiteX31" fmla="*/ 4611 w 10000"/>
                    <a:gd name="connsiteY31" fmla="*/ 7527 h 9901"/>
                    <a:gd name="connsiteX32" fmla="*/ 4500 w 10000"/>
                    <a:gd name="connsiteY32" fmla="*/ 7527 h 9901"/>
                    <a:gd name="connsiteX33" fmla="*/ 4444 w 10000"/>
                    <a:gd name="connsiteY33" fmla="*/ 7506 h 9901"/>
                    <a:gd name="connsiteX34" fmla="*/ 4389 w 10000"/>
                    <a:gd name="connsiteY34" fmla="*/ 7426 h 9901"/>
                    <a:gd name="connsiteX35" fmla="*/ 4222 w 10000"/>
                    <a:gd name="connsiteY35" fmla="*/ 7326 h 9901"/>
                    <a:gd name="connsiteX36" fmla="*/ 4222 w 10000"/>
                    <a:gd name="connsiteY36" fmla="*/ 7326 h 9901"/>
                    <a:gd name="connsiteX37" fmla="*/ 4111 w 10000"/>
                    <a:gd name="connsiteY37" fmla="*/ 7265 h 9901"/>
                    <a:gd name="connsiteX38" fmla="*/ 4111 w 10000"/>
                    <a:gd name="connsiteY38" fmla="*/ 7206 h 9901"/>
                    <a:gd name="connsiteX39" fmla="*/ 4111 w 10000"/>
                    <a:gd name="connsiteY39" fmla="*/ 7166 h 9901"/>
                    <a:gd name="connsiteX40" fmla="*/ 4167 w 10000"/>
                    <a:gd name="connsiteY40" fmla="*/ 7125 h 9901"/>
                    <a:gd name="connsiteX41" fmla="*/ 4278 w 10000"/>
                    <a:gd name="connsiteY41" fmla="*/ 7046 h 9901"/>
                    <a:gd name="connsiteX42" fmla="*/ 4389 w 10000"/>
                    <a:gd name="connsiteY42" fmla="*/ 7027 h 9901"/>
                    <a:gd name="connsiteX43" fmla="*/ 4389 w 10000"/>
                    <a:gd name="connsiteY43" fmla="*/ 7027 h 9901"/>
                    <a:gd name="connsiteX44" fmla="*/ 4389 w 10000"/>
                    <a:gd name="connsiteY44" fmla="*/ 7006 h 9901"/>
                    <a:gd name="connsiteX45" fmla="*/ 4444 w 10000"/>
                    <a:gd name="connsiteY45" fmla="*/ 6989 h 9901"/>
                    <a:gd name="connsiteX46" fmla="*/ 4667 w 10000"/>
                    <a:gd name="connsiteY46" fmla="*/ 6966 h 9901"/>
                    <a:gd name="connsiteX47" fmla="*/ 5333 w 10000"/>
                    <a:gd name="connsiteY47" fmla="*/ 6929 h 9901"/>
                    <a:gd name="connsiteX48" fmla="*/ 6500 w 10000"/>
                    <a:gd name="connsiteY48" fmla="*/ 6866 h 9901"/>
                    <a:gd name="connsiteX49" fmla="*/ 6500 w 10000"/>
                    <a:gd name="connsiteY49" fmla="*/ 6866 h 9901"/>
                    <a:gd name="connsiteX50" fmla="*/ 7167 w 10000"/>
                    <a:gd name="connsiteY50" fmla="*/ 6808 h 9901"/>
                    <a:gd name="connsiteX51" fmla="*/ 8389 w 10000"/>
                    <a:gd name="connsiteY51" fmla="*/ 6689 h 9901"/>
                    <a:gd name="connsiteX52" fmla="*/ 8389 w 10000"/>
                    <a:gd name="connsiteY52" fmla="*/ 6689 h 9901"/>
                    <a:gd name="connsiteX53" fmla="*/ 8667 w 10000"/>
                    <a:gd name="connsiteY53" fmla="*/ 6646 h 9901"/>
                    <a:gd name="connsiteX54" fmla="*/ 8778 w 10000"/>
                    <a:gd name="connsiteY54" fmla="*/ 6585 h 9901"/>
                    <a:gd name="connsiteX55" fmla="*/ 8889 w 10000"/>
                    <a:gd name="connsiteY55" fmla="*/ 6547 h 9901"/>
                    <a:gd name="connsiteX56" fmla="*/ 8833 w 10000"/>
                    <a:gd name="connsiteY56" fmla="*/ 6507 h 9901"/>
                    <a:gd name="connsiteX57" fmla="*/ 8833 w 10000"/>
                    <a:gd name="connsiteY57" fmla="*/ 6470 h 9901"/>
                    <a:gd name="connsiteX58" fmla="*/ 8722 w 10000"/>
                    <a:gd name="connsiteY58" fmla="*/ 6426 h 9901"/>
                    <a:gd name="connsiteX59" fmla="*/ 8556 w 10000"/>
                    <a:gd name="connsiteY59" fmla="*/ 6366 h 9901"/>
                    <a:gd name="connsiteX60" fmla="*/ 8556 w 10000"/>
                    <a:gd name="connsiteY60" fmla="*/ 6366 h 9901"/>
                    <a:gd name="connsiteX61" fmla="*/ 6556 w 10000"/>
                    <a:gd name="connsiteY61" fmla="*/ 6012 h 9901"/>
                    <a:gd name="connsiteX62" fmla="*/ 6556 w 10000"/>
                    <a:gd name="connsiteY62" fmla="*/ 6012 h 9901"/>
                    <a:gd name="connsiteX63" fmla="*/ 6333 w 10000"/>
                    <a:gd name="connsiteY63" fmla="*/ 5950 h 9901"/>
                    <a:gd name="connsiteX64" fmla="*/ 6167 w 10000"/>
                    <a:gd name="connsiteY64" fmla="*/ 5889 h 9901"/>
                    <a:gd name="connsiteX65" fmla="*/ 6056 w 10000"/>
                    <a:gd name="connsiteY65" fmla="*/ 5828 h 9901"/>
                    <a:gd name="connsiteX66" fmla="*/ 6056 w 10000"/>
                    <a:gd name="connsiteY66" fmla="*/ 5828 h 9901"/>
                    <a:gd name="connsiteX67" fmla="*/ 8056 w 10000"/>
                    <a:gd name="connsiteY67" fmla="*/ 5808 h 9901"/>
                    <a:gd name="connsiteX68" fmla="*/ 10000 w 10000"/>
                    <a:gd name="connsiteY68" fmla="*/ 6012 h 9901"/>
                    <a:gd name="connsiteX69" fmla="*/ 10000 w 10000"/>
                    <a:gd name="connsiteY69" fmla="*/ 4192 h 9901"/>
                    <a:gd name="connsiteX70" fmla="*/ 2889 w 10000"/>
                    <a:gd name="connsiteY70" fmla="*/ 2077 h 9901"/>
                    <a:gd name="connsiteX71" fmla="*/ 2000 w 10000"/>
                    <a:gd name="connsiteY71" fmla="*/ 2036 h 9901"/>
                    <a:gd name="connsiteX72" fmla="*/ 1889 w 10000"/>
                    <a:gd name="connsiteY72" fmla="*/ 2017 h 9901"/>
                    <a:gd name="connsiteX73" fmla="*/ 1778 w 10000"/>
                    <a:gd name="connsiteY73" fmla="*/ 1995 h 9901"/>
                    <a:gd name="connsiteX74" fmla="*/ 1778 w 10000"/>
                    <a:gd name="connsiteY74" fmla="*/ 1995 h 9901"/>
                    <a:gd name="connsiteX75" fmla="*/ 1667 w 10000"/>
                    <a:gd name="connsiteY75" fmla="*/ 1917 h 9901"/>
                    <a:gd name="connsiteX76" fmla="*/ 1500 w 10000"/>
                    <a:gd name="connsiteY76" fmla="*/ 1777 h 9901"/>
                    <a:gd name="connsiteX77" fmla="*/ 1444 w 10000"/>
                    <a:gd name="connsiteY77" fmla="*/ 1697 h 9901"/>
                    <a:gd name="connsiteX78" fmla="*/ 1444 w 10000"/>
                    <a:gd name="connsiteY78" fmla="*/ 1617 h 9901"/>
                    <a:gd name="connsiteX79" fmla="*/ 1444 w 10000"/>
                    <a:gd name="connsiteY79" fmla="*/ 1557 h 9901"/>
                    <a:gd name="connsiteX80" fmla="*/ 1556 w 10000"/>
                    <a:gd name="connsiteY80" fmla="*/ 1497 h 9901"/>
                    <a:gd name="connsiteX81" fmla="*/ 1556 w 10000"/>
                    <a:gd name="connsiteY81" fmla="*/ 1497 h 9901"/>
                    <a:gd name="connsiteX82" fmla="*/ 1833 w 10000"/>
                    <a:gd name="connsiteY82" fmla="*/ 1398 h 9901"/>
                    <a:gd name="connsiteX83" fmla="*/ 2111 w 10000"/>
                    <a:gd name="connsiteY83" fmla="*/ 1295 h 9901"/>
                    <a:gd name="connsiteX84" fmla="*/ 2278 w 10000"/>
                    <a:gd name="connsiteY84" fmla="*/ 1238 h 9901"/>
                    <a:gd name="connsiteX85" fmla="*/ 2389 w 10000"/>
                    <a:gd name="connsiteY85" fmla="*/ 1179 h 9901"/>
                    <a:gd name="connsiteX86" fmla="*/ 2389 w 10000"/>
                    <a:gd name="connsiteY86" fmla="*/ 1098 h 9901"/>
                    <a:gd name="connsiteX87" fmla="*/ 2389 w 10000"/>
                    <a:gd name="connsiteY87" fmla="*/ 1000 h 9901"/>
                    <a:gd name="connsiteX88" fmla="*/ 2389 w 10000"/>
                    <a:gd name="connsiteY88" fmla="*/ 1000 h 9901"/>
                    <a:gd name="connsiteX89" fmla="*/ 2167 w 10000"/>
                    <a:gd name="connsiteY89" fmla="*/ 719 h 9901"/>
                    <a:gd name="connsiteX90" fmla="*/ 1889 w 10000"/>
                    <a:gd name="connsiteY90" fmla="*/ 339 h 9901"/>
                    <a:gd name="connsiteX91" fmla="*/ 1667 w 10000"/>
                    <a:gd name="connsiteY91" fmla="*/ 0 h 9901"/>
                    <a:gd name="connsiteX92" fmla="*/ 10000 w 10000"/>
                    <a:gd name="connsiteY92" fmla="*/ 8563 h 9901"/>
                    <a:gd name="connsiteX93" fmla="*/ 10000 w 10000"/>
                    <a:gd name="connsiteY93" fmla="*/ 8563 h 9901"/>
                    <a:gd name="connsiteX94" fmla="*/ 9722 w 10000"/>
                    <a:gd name="connsiteY94" fmla="*/ 8542 h 9901"/>
                    <a:gd name="connsiteX95" fmla="*/ 9389 w 10000"/>
                    <a:gd name="connsiteY95" fmla="*/ 8563 h 9901"/>
                    <a:gd name="connsiteX96" fmla="*/ 9389 w 10000"/>
                    <a:gd name="connsiteY96" fmla="*/ 8563 h 9901"/>
                    <a:gd name="connsiteX97" fmla="*/ 9278 w 10000"/>
                    <a:gd name="connsiteY97" fmla="*/ 8587 h 9901"/>
                    <a:gd name="connsiteX98" fmla="*/ 9056 w 10000"/>
                    <a:gd name="connsiteY98" fmla="*/ 8563 h 9901"/>
                    <a:gd name="connsiteX99" fmla="*/ 8889 w 10000"/>
                    <a:gd name="connsiteY99" fmla="*/ 8542 h 9901"/>
                    <a:gd name="connsiteX100" fmla="*/ 8722 w 10000"/>
                    <a:gd name="connsiteY100" fmla="*/ 8504 h 9901"/>
                    <a:gd name="connsiteX101" fmla="*/ 8611 w 10000"/>
                    <a:gd name="connsiteY101" fmla="*/ 8442 h 9901"/>
                    <a:gd name="connsiteX102" fmla="*/ 8444 w 10000"/>
                    <a:gd name="connsiteY102" fmla="*/ 8343 h 9901"/>
                    <a:gd name="connsiteX103" fmla="*/ 8444 w 10000"/>
                    <a:gd name="connsiteY103" fmla="*/ 8343 h 9901"/>
                    <a:gd name="connsiteX104" fmla="*/ 8222 w 10000"/>
                    <a:gd name="connsiteY104" fmla="*/ 8166 h 9901"/>
                    <a:gd name="connsiteX105" fmla="*/ 8111 w 10000"/>
                    <a:gd name="connsiteY105" fmla="*/ 8086 h 9901"/>
                    <a:gd name="connsiteX106" fmla="*/ 7944 w 10000"/>
                    <a:gd name="connsiteY106" fmla="*/ 8026 h 9901"/>
                    <a:gd name="connsiteX107" fmla="*/ 7778 w 10000"/>
                    <a:gd name="connsiteY107" fmla="*/ 7987 h 9901"/>
                    <a:gd name="connsiteX108" fmla="*/ 7556 w 10000"/>
                    <a:gd name="connsiteY108" fmla="*/ 7963 h 9901"/>
                    <a:gd name="connsiteX109" fmla="*/ 7333 w 10000"/>
                    <a:gd name="connsiteY109" fmla="*/ 7946 h 9901"/>
                    <a:gd name="connsiteX110" fmla="*/ 7000 w 10000"/>
                    <a:gd name="connsiteY110" fmla="*/ 7923 h 9901"/>
                    <a:gd name="connsiteX111" fmla="*/ 7000 w 10000"/>
                    <a:gd name="connsiteY111" fmla="*/ 7923 h 9901"/>
                    <a:gd name="connsiteX112" fmla="*/ 6556 w 10000"/>
                    <a:gd name="connsiteY112" fmla="*/ 7946 h 9901"/>
                    <a:gd name="connsiteX113" fmla="*/ 6222 w 10000"/>
                    <a:gd name="connsiteY113" fmla="*/ 7946 h 9901"/>
                    <a:gd name="connsiteX114" fmla="*/ 6111 w 10000"/>
                    <a:gd name="connsiteY114" fmla="*/ 7923 h 9901"/>
                    <a:gd name="connsiteX115" fmla="*/ 6056 w 10000"/>
                    <a:gd name="connsiteY115" fmla="*/ 7904 h 9901"/>
                    <a:gd name="connsiteX116" fmla="*/ 6056 w 10000"/>
                    <a:gd name="connsiteY116" fmla="*/ 7904 h 9901"/>
                    <a:gd name="connsiteX117" fmla="*/ 6056 w 10000"/>
                    <a:gd name="connsiteY117" fmla="*/ 7547 h 9901"/>
                    <a:gd name="connsiteX118" fmla="*/ 6056 w 10000"/>
                    <a:gd name="connsiteY118" fmla="*/ 7547 h 9901"/>
                    <a:gd name="connsiteX119" fmla="*/ 6056 w 10000"/>
                    <a:gd name="connsiteY119" fmla="*/ 7464 h 9901"/>
                    <a:gd name="connsiteX120" fmla="*/ 5944 w 10000"/>
                    <a:gd name="connsiteY120" fmla="*/ 7365 h 9901"/>
                    <a:gd name="connsiteX121" fmla="*/ 5889 w 10000"/>
                    <a:gd name="connsiteY121" fmla="*/ 7344 h 9901"/>
                    <a:gd name="connsiteX122" fmla="*/ 5778 w 10000"/>
                    <a:gd name="connsiteY122" fmla="*/ 7326 h 9901"/>
                    <a:gd name="connsiteX123" fmla="*/ 5667 w 10000"/>
                    <a:gd name="connsiteY123" fmla="*/ 7326 h 9901"/>
                    <a:gd name="connsiteX124" fmla="*/ 5500 w 10000"/>
                    <a:gd name="connsiteY124" fmla="*/ 7344 h 9901"/>
                    <a:gd name="connsiteX125" fmla="*/ 5500 w 10000"/>
                    <a:gd name="connsiteY125" fmla="*/ 7344 h 9901"/>
                    <a:gd name="connsiteX126" fmla="*/ 4889 w 10000"/>
                    <a:gd name="connsiteY126" fmla="*/ 7485 h 9901"/>
                    <a:gd name="connsiteX127" fmla="*/ 4611 w 10000"/>
                    <a:gd name="connsiteY127" fmla="*/ 7527 h 9901"/>
                    <a:gd name="connsiteX128" fmla="*/ 4556 w 10000"/>
                    <a:gd name="connsiteY128" fmla="*/ 7547 h 9901"/>
                    <a:gd name="connsiteX129" fmla="*/ 4500 w 10000"/>
                    <a:gd name="connsiteY129" fmla="*/ 7527 h 9901"/>
                    <a:gd name="connsiteX130" fmla="*/ 4500 w 10000"/>
                    <a:gd name="connsiteY130" fmla="*/ 7527 h 9901"/>
                    <a:gd name="connsiteX131" fmla="*/ 4222 w 10000"/>
                    <a:gd name="connsiteY131" fmla="*/ 7326 h 9901"/>
                    <a:gd name="connsiteX132" fmla="*/ 4222 w 10000"/>
                    <a:gd name="connsiteY132" fmla="*/ 7326 h 9901"/>
                    <a:gd name="connsiteX133" fmla="*/ 4111 w 10000"/>
                    <a:gd name="connsiteY133" fmla="*/ 7227 h 9901"/>
                    <a:gd name="connsiteX134" fmla="*/ 4111 w 10000"/>
                    <a:gd name="connsiteY134" fmla="*/ 7166 h 9901"/>
                    <a:gd name="connsiteX135" fmla="*/ 4111 w 10000"/>
                    <a:gd name="connsiteY135" fmla="*/ 7106 h 9901"/>
                    <a:gd name="connsiteX136" fmla="*/ 4111 w 10000"/>
                    <a:gd name="connsiteY136" fmla="*/ 7106 h 9901"/>
                    <a:gd name="connsiteX137" fmla="*/ 4278 w 10000"/>
                    <a:gd name="connsiteY137" fmla="*/ 7046 h 9901"/>
                    <a:gd name="connsiteX138" fmla="*/ 4389 w 10000"/>
                    <a:gd name="connsiteY138" fmla="*/ 7027 h 9901"/>
                    <a:gd name="connsiteX139" fmla="*/ 4389 w 10000"/>
                    <a:gd name="connsiteY139" fmla="*/ 7027 h 9901"/>
                    <a:gd name="connsiteX140" fmla="*/ 4000 w 10000"/>
                    <a:gd name="connsiteY140" fmla="*/ 7027 h 9901"/>
                    <a:gd name="connsiteX141" fmla="*/ 3722 w 10000"/>
                    <a:gd name="connsiteY141" fmla="*/ 7046 h 9901"/>
                    <a:gd name="connsiteX142" fmla="*/ 3611 w 10000"/>
                    <a:gd name="connsiteY142" fmla="*/ 7067 h 9901"/>
                    <a:gd name="connsiteX143" fmla="*/ 3556 w 10000"/>
                    <a:gd name="connsiteY143" fmla="*/ 7088 h 9901"/>
                    <a:gd name="connsiteX144" fmla="*/ 3556 w 10000"/>
                    <a:gd name="connsiteY144" fmla="*/ 7088 h 9901"/>
                    <a:gd name="connsiteX145" fmla="*/ 3444 w 10000"/>
                    <a:gd name="connsiteY145" fmla="*/ 7166 h 9901"/>
                    <a:gd name="connsiteX146" fmla="*/ 3278 w 10000"/>
                    <a:gd name="connsiteY146" fmla="*/ 7287 h 9901"/>
                    <a:gd name="connsiteX147" fmla="*/ 3000 w 10000"/>
                    <a:gd name="connsiteY147" fmla="*/ 7426 h 9901"/>
                    <a:gd name="connsiteX148" fmla="*/ 2667 w 10000"/>
                    <a:gd name="connsiteY148" fmla="*/ 7527 h 9901"/>
                    <a:gd name="connsiteX149" fmla="*/ 2667 w 10000"/>
                    <a:gd name="connsiteY149" fmla="*/ 7527 h 9901"/>
                    <a:gd name="connsiteX150" fmla="*/ 2333 w 10000"/>
                    <a:gd name="connsiteY150" fmla="*/ 7607 h 9901"/>
                    <a:gd name="connsiteX151" fmla="*/ 1833 w 10000"/>
                    <a:gd name="connsiteY151" fmla="*/ 7687 h 9901"/>
                    <a:gd name="connsiteX152" fmla="*/ 1389 w 10000"/>
                    <a:gd name="connsiteY152" fmla="*/ 7727 h 9901"/>
                    <a:gd name="connsiteX153" fmla="*/ 889 w 10000"/>
                    <a:gd name="connsiteY153" fmla="*/ 7746 h 9901"/>
                    <a:gd name="connsiteX154" fmla="*/ 889 w 10000"/>
                    <a:gd name="connsiteY154" fmla="*/ 7746 h 9901"/>
                    <a:gd name="connsiteX155" fmla="*/ 500 w 10000"/>
                    <a:gd name="connsiteY155" fmla="*/ 7768 h 9901"/>
                    <a:gd name="connsiteX156" fmla="*/ 222 w 10000"/>
                    <a:gd name="connsiteY156" fmla="*/ 7786 h 9901"/>
                    <a:gd name="connsiteX157" fmla="*/ 0 w 10000"/>
                    <a:gd name="connsiteY157" fmla="*/ 7805 h 9901"/>
                    <a:gd name="connsiteX158" fmla="*/ 0 w 10000"/>
                    <a:gd name="connsiteY158" fmla="*/ 7805 h 9901"/>
                    <a:gd name="connsiteX159" fmla="*/ 278 w 10000"/>
                    <a:gd name="connsiteY159" fmla="*/ 8126 h 9901"/>
                    <a:gd name="connsiteX160" fmla="*/ 500 w 10000"/>
                    <a:gd name="connsiteY160" fmla="*/ 8362 h 9901"/>
                    <a:gd name="connsiteX161" fmla="*/ 722 w 10000"/>
                    <a:gd name="connsiteY161" fmla="*/ 8563 h 9901"/>
                    <a:gd name="connsiteX162" fmla="*/ 722 w 10000"/>
                    <a:gd name="connsiteY162" fmla="*/ 8563 h 9901"/>
                    <a:gd name="connsiteX163" fmla="*/ 889 w 10000"/>
                    <a:gd name="connsiteY163" fmla="*/ 8684 h 9901"/>
                    <a:gd name="connsiteX164" fmla="*/ 944 w 10000"/>
                    <a:gd name="connsiteY164" fmla="*/ 8785 h 9901"/>
                    <a:gd name="connsiteX165" fmla="*/ 1111 w 10000"/>
                    <a:gd name="connsiteY165" fmla="*/ 8886 h 9901"/>
                    <a:gd name="connsiteX166" fmla="*/ 1333 w 10000"/>
                    <a:gd name="connsiteY166" fmla="*/ 9041 h 9901"/>
                    <a:gd name="connsiteX167" fmla="*/ 1333 w 10000"/>
                    <a:gd name="connsiteY167" fmla="*/ 9041 h 9901"/>
                    <a:gd name="connsiteX168" fmla="*/ 1444 w 10000"/>
                    <a:gd name="connsiteY168" fmla="*/ 9123 h 9901"/>
                    <a:gd name="connsiteX169" fmla="*/ 1500 w 10000"/>
                    <a:gd name="connsiteY169" fmla="*/ 9182 h 9901"/>
                    <a:gd name="connsiteX170" fmla="*/ 1500 w 10000"/>
                    <a:gd name="connsiteY170" fmla="*/ 9240 h 9901"/>
                    <a:gd name="connsiteX171" fmla="*/ 1556 w 10000"/>
                    <a:gd name="connsiteY171" fmla="*/ 9264 h 9901"/>
                    <a:gd name="connsiteX172" fmla="*/ 1722 w 10000"/>
                    <a:gd name="connsiteY172" fmla="*/ 9281 h 9901"/>
                    <a:gd name="connsiteX173" fmla="*/ 1944 w 10000"/>
                    <a:gd name="connsiteY173" fmla="*/ 9301 h 9901"/>
                    <a:gd name="connsiteX174" fmla="*/ 2944 w 10000"/>
                    <a:gd name="connsiteY174" fmla="*/ 9322 h 9901"/>
                    <a:gd name="connsiteX175" fmla="*/ 2944 w 10000"/>
                    <a:gd name="connsiteY175" fmla="*/ 9322 h 9901"/>
                    <a:gd name="connsiteX176" fmla="*/ 4167 w 10000"/>
                    <a:gd name="connsiteY176" fmla="*/ 9362 h 9901"/>
                    <a:gd name="connsiteX177" fmla="*/ 4889 w 10000"/>
                    <a:gd name="connsiteY177" fmla="*/ 9421 h 9901"/>
                    <a:gd name="connsiteX178" fmla="*/ 5278 w 10000"/>
                    <a:gd name="connsiteY178" fmla="*/ 9483 h 9901"/>
                    <a:gd name="connsiteX179" fmla="*/ 5444 w 10000"/>
                    <a:gd name="connsiteY179" fmla="*/ 9499 h 9901"/>
                    <a:gd name="connsiteX180" fmla="*/ 5444 w 10000"/>
                    <a:gd name="connsiteY180" fmla="*/ 9499 h 9901"/>
                    <a:gd name="connsiteX181" fmla="*/ 5722 w 10000"/>
                    <a:gd name="connsiteY181" fmla="*/ 9544 h 9901"/>
                    <a:gd name="connsiteX182" fmla="*/ 5833 w 10000"/>
                    <a:gd name="connsiteY182" fmla="*/ 9565 h 9901"/>
                    <a:gd name="connsiteX183" fmla="*/ 5833 w 10000"/>
                    <a:gd name="connsiteY183" fmla="*/ 9565 h 9901"/>
                    <a:gd name="connsiteX184" fmla="*/ 5833 w 10000"/>
                    <a:gd name="connsiteY184" fmla="*/ 9544 h 9901"/>
                    <a:gd name="connsiteX185" fmla="*/ 5889 w 10000"/>
                    <a:gd name="connsiteY185" fmla="*/ 9522 h 9901"/>
                    <a:gd name="connsiteX186" fmla="*/ 6000 w 10000"/>
                    <a:gd name="connsiteY186" fmla="*/ 9499 h 9901"/>
                    <a:gd name="connsiteX187" fmla="*/ 6167 w 10000"/>
                    <a:gd name="connsiteY187" fmla="*/ 9483 h 9901"/>
                    <a:gd name="connsiteX188" fmla="*/ 6444 w 10000"/>
                    <a:gd name="connsiteY188" fmla="*/ 9483 h 9901"/>
                    <a:gd name="connsiteX189" fmla="*/ 6833 w 10000"/>
                    <a:gd name="connsiteY189" fmla="*/ 9499 h 9901"/>
                    <a:gd name="connsiteX190" fmla="*/ 7278 w 10000"/>
                    <a:gd name="connsiteY190" fmla="*/ 9565 h 9901"/>
                    <a:gd name="connsiteX191" fmla="*/ 7278 w 10000"/>
                    <a:gd name="connsiteY191" fmla="*/ 9565 h 9901"/>
                    <a:gd name="connsiteX192" fmla="*/ 8722 w 10000"/>
                    <a:gd name="connsiteY192" fmla="*/ 9739 h 9901"/>
                    <a:gd name="connsiteX193" fmla="*/ 10000 w 10000"/>
                    <a:gd name="connsiteY193" fmla="*/ 9901 h 9901"/>
                    <a:gd name="connsiteX0" fmla="*/ 10000 w 10000"/>
                    <a:gd name="connsiteY0" fmla="*/ 8285 h 9658"/>
                    <a:gd name="connsiteX1" fmla="*/ 10000 w 10000"/>
                    <a:gd name="connsiteY1" fmla="*/ 8285 h 9658"/>
                    <a:gd name="connsiteX2" fmla="*/ 9222 w 10000"/>
                    <a:gd name="connsiteY2" fmla="*/ 8307 h 9658"/>
                    <a:gd name="connsiteX3" fmla="*/ 8944 w 10000"/>
                    <a:gd name="connsiteY3" fmla="*/ 8307 h 9658"/>
                    <a:gd name="connsiteX4" fmla="*/ 8833 w 10000"/>
                    <a:gd name="connsiteY4" fmla="*/ 8285 h 9658"/>
                    <a:gd name="connsiteX5" fmla="*/ 8778 w 10000"/>
                    <a:gd name="connsiteY5" fmla="*/ 8267 h 9658"/>
                    <a:gd name="connsiteX6" fmla="*/ 8778 w 10000"/>
                    <a:gd name="connsiteY6" fmla="*/ 8267 h 9658"/>
                    <a:gd name="connsiteX7" fmla="*/ 8444 w 10000"/>
                    <a:gd name="connsiteY7" fmla="*/ 8024 h 9658"/>
                    <a:gd name="connsiteX8" fmla="*/ 8167 w 10000"/>
                    <a:gd name="connsiteY8" fmla="*/ 7802 h 9658"/>
                    <a:gd name="connsiteX9" fmla="*/ 8167 w 10000"/>
                    <a:gd name="connsiteY9" fmla="*/ 7802 h 9658"/>
                    <a:gd name="connsiteX10" fmla="*/ 8056 w 10000"/>
                    <a:gd name="connsiteY10" fmla="*/ 7764 h 9658"/>
                    <a:gd name="connsiteX11" fmla="*/ 7889 w 10000"/>
                    <a:gd name="connsiteY11" fmla="*/ 7725 h 9658"/>
                    <a:gd name="connsiteX12" fmla="*/ 7444 w 10000"/>
                    <a:gd name="connsiteY12" fmla="*/ 7701 h 9658"/>
                    <a:gd name="connsiteX13" fmla="*/ 6889 w 10000"/>
                    <a:gd name="connsiteY13" fmla="*/ 7683 h 9658"/>
                    <a:gd name="connsiteX14" fmla="*/ 6389 w 10000"/>
                    <a:gd name="connsiteY14" fmla="*/ 7683 h 9658"/>
                    <a:gd name="connsiteX15" fmla="*/ 6389 w 10000"/>
                    <a:gd name="connsiteY15" fmla="*/ 7683 h 9658"/>
                    <a:gd name="connsiteX16" fmla="*/ 6167 w 10000"/>
                    <a:gd name="connsiteY16" fmla="*/ 7660 h 9658"/>
                    <a:gd name="connsiteX17" fmla="*/ 6056 w 10000"/>
                    <a:gd name="connsiteY17" fmla="*/ 7623 h 9658"/>
                    <a:gd name="connsiteX18" fmla="*/ 6000 w 10000"/>
                    <a:gd name="connsiteY18" fmla="*/ 7581 h 9658"/>
                    <a:gd name="connsiteX19" fmla="*/ 6000 w 10000"/>
                    <a:gd name="connsiteY19" fmla="*/ 7504 h 9658"/>
                    <a:gd name="connsiteX20" fmla="*/ 6056 w 10000"/>
                    <a:gd name="connsiteY20" fmla="*/ 7341 h 9658"/>
                    <a:gd name="connsiteX21" fmla="*/ 6111 w 10000"/>
                    <a:gd name="connsiteY21" fmla="*/ 7260 h 9658"/>
                    <a:gd name="connsiteX22" fmla="*/ 6056 w 10000"/>
                    <a:gd name="connsiteY22" fmla="*/ 7158 h 9658"/>
                    <a:gd name="connsiteX23" fmla="*/ 6056 w 10000"/>
                    <a:gd name="connsiteY23" fmla="*/ 7158 h 9658"/>
                    <a:gd name="connsiteX24" fmla="*/ 6000 w 10000"/>
                    <a:gd name="connsiteY24" fmla="*/ 7097 h 9658"/>
                    <a:gd name="connsiteX25" fmla="*/ 5944 w 10000"/>
                    <a:gd name="connsiteY25" fmla="*/ 7057 h 9658"/>
                    <a:gd name="connsiteX26" fmla="*/ 5833 w 10000"/>
                    <a:gd name="connsiteY26" fmla="*/ 7057 h 9658"/>
                    <a:gd name="connsiteX27" fmla="*/ 5667 w 10000"/>
                    <a:gd name="connsiteY27" fmla="*/ 7075 h 9658"/>
                    <a:gd name="connsiteX28" fmla="*/ 5333 w 10000"/>
                    <a:gd name="connsiteY28" fmla="*/ 7138 h 9658"/>
                    <a:gd name="connsiteX29" fmla="*/ 4889 w 10000"/>
                    <a:gd name="connsiteY29" fmla="*/ 7239 h 9658"/>
                    <a:gd name="connsiteX30" fmla="*/ 4889 w 10000"/>
                    <a:gd name="connsiteY30" fmla="*/ 7239 h 9658"/>
                    <a:gd name="connsiteX31" fmla="*/ 4611 w 10000"/>
                    <a:gd name="connsiteY31" fmla="*/ 7260 h 9658"/>
                    <a:gd name="connsiteX32" fmla="*/ 4500 w 10000"/>
                    <a:gd name="connsiteY32" fmla="*/ 7260 h 9658"/>
                    <a:gd name="connsiteX33" fmla="*/ 4444 w 10000"/>
                    <a:gd name="connsiteY33" fmla="*/ 7239 h 9658"/>
                    <a:gd name="connsiteX34" fmla="*/ 4389 w 10000"/>
                    <a:gd name="connsiteY34" fmla="*/ 7158 h 9658"/>
                    <a:gd name="connsiteX35" fmla="*/ 4222 w 10000"/>
                    <a:gd name="connsiteY35" fmla="*/ 7057 h 9658"/>
                    <a:gd name="connsiteX36" fmla="*/ 4222 w 10000"/>
                    <a:gd name="connsiteY36" fmla="*/ 7057 h 9658"/>
                    <a:gd name="connsiteX37" fmla="*/ 4111 w 10000"/>
                    <a:gd name="connsiteY37" fmla="*/ 6996 h 9658"/>
                    <a:gd name="connsiteX38" fmla="*/ 4111 w 10000"/>
                    <a:gd name="connsiteY38" fmla="*/ 6936 h 9658"/>
                    <a:gd name="connsiteX39" fmla="*/ 4111 w 10000"/>
                    <a:gd name="connsiteY39" fmla="*/ 6896 h 9658"/>
                    <a:gd name="connsiteX40" fmla="*/ 4167 w 10000"/>
                    <a:gd name="connsiteY40" fmla="*/ 6854 h 9658"/>
                    <a:gd name="connsiteX41" fmla="*/ 4278 w 10000"/>
                    <a:gd name="connsiteY41" fmla="*/ 6774 h 9658"/>
                    <a:gd name="connsiteX42" fmla="*/ 4389 w 10000"/>
                    <a:gd name="connsiteY42" fmla="*/ 6755 h 9658"/>
                    <a:gd name="connsiteX43" fmla="*/ 4389 w 10000"/>
                    <a:gd name="connsiteY43" fmla="*/ 6755 h 9658"/>
                    <a:gd name="connsiteX44" fmla="*/ 4389 w 10000"/>
                    <a:gd name="connsiteY44" fmla="*/ 6734 h 9658"/>
                    <a:gd name="connsiteX45" fmla="*/ 4444 w 10000"/>
                    <a:gd name="connsiteY45" fmla="*/ 6717 h 9658"/>
                    <a:gd name="connsiteX46" fmla="*/ 4667 w 10000"/>
                    <a:gd name="connsiteY46" fmla="*/ 6694 h 9658"/>
                    <a:gd name="connsiteX47" fmla="*/ 5333 w 10000"/>
                    <a:gd name="connsiteY47" fmla="*/ 6656 h 9658"/>
                    <a:gd name="connsiteX48" fmla="*/ 6500 w 10000"/>
                    <a:gd name="connsiteY48" fmla="*/ 6593 h 9658"/>
                    <a:gd name="connsiteX49" fmla="*/ 6500 w 10000"/>
                    <a:gd name="connsiteY49" fmla="*/ 6593 h 9658"/>
                    <a:gd name="connsiteX50" fmla="*/ 7167 w 10000"/>
                    <a:gd name="connsiteY50" fmla="*/ 6534 h 9658"/>
                    <a:gd name="connsiteX51" fmla="*/ 8389 w 10000"/>
                    <a:gd name="connsiteY51" fmla="*/ 6414 h 9658"/>
                    <a:gd name="connsiteX52" fmla="*/ 8389 w 10000"/>
                    <a:gd name="connsiteY52" fmla="*/ 6414 h 9658"/>
                    <a:gd name="connsiteX53" fmla="*/ 8667 w 10000"/>
                    <a:gd name="connsiteY53" fmla="*/ 6370 h 9658"/>
                    <a:gd name="connsiteX54" fmla="*/ 8778 w 10000"/>
                    <a:gd name="connsiteY54" fmla="*/ 6309 h 9658"/>
                    <a:gd name="connsiteX55" fmla="*/ 8889 w 10000"/>
                    <a:gd name="connsiteY55" fmla="*/ 6270 h 9658"/>
                    <a:gd name="connsiteX56" fmla="*/ 8833 w 10000"/>
                    <a:gd name="connsiteY56" fmla="*/ 6230 h 9658"/>
                    <a:gd name="connsiteX57" fmla="*/ 8833 w 10000"/>
                    <a:gd name="connsiteY57" fmla="*/ 6193 h 9658"/>
                    <a:gd name="connsiteX58" fmla="*/ 8722 w 10000"/>
                    <a:gd name="connsiteY58" fmla="*/ 6148 h 9658"/>
                    <a:gd name="connsiteX59" fmla="*/ 8556 w 10000"/>
                    <a:gd name="connsiteY59" fmla="*/ 6088 h 9658"/>
                    <a:gd name="connsiteX60" fmla="*/ 8556 w 10000"/>
                    <a:gd name="connsiteY60" fmla="*/ 6088 h 9658"/>
                    <a:gd name="connsiteX61" fmla="*/ 6556 w 10000"/>
                    <a:gd name="connsiteY61" fmla="*/ 5730 h 9658"/>
                    <a:gd name="connsiteX62" fmla="*/ 6556 w 10000"/>
                    <a:gd name="connsiteY62" fmla="*/ 5730 h 9658"/>
                    <a:gd name="connsiteX63" fmla="*/ 6333 w 10000"/>
                    <a:gd name="connsiteY63" fmla="*/ 5667 h 9658"/>
                    <a:gd name="connsiteX64" fmla="*/ 6167 w 10000"/>
                    <a:gd name="connsiteY64" fmla="*/ 5606 h 9658"/>
                    <a:gd name="connsiteX65" fmla="*/ 6056 w 10000"/>
                    <a:gd name="connsiteY65" fmla="*/ 5544 h 9658"/>
                    <a:gd name="connsiteX66" fmla="*/ 6056 w 10000"/>
                    <a:gd name="connsiteY66" fmla="*/ 5544 h 9658"/>
                    <a:gd name="connsiteX67" fmla="*/ 8056 w 10000"/>
                    <a:gd name="connsiteY67" fmla="*/ 5524 h 9658"/>
                    <a:gd name="connsiteX68" fmla="*/ 10000 w 10000"/>
                    <a:gd name="connsiteY68" fmla="*/ 5730 h 9658"/>
                    <a:gd name="connsiteX69" fmla="*/ 10000 w 10000"/>
                    <a:gd name="connsiteY69" fmla="*/ 3892 h 9658"/>
                    <a:gd name="connsiteX70" fmla="*/ 2889 w 10000"/>
                    <a:gd name="connsiteY70" fmla="*/ 1756 h 9658"/>
                    <a:gd name="connsiteX71" fmla="*/ 2000 w 10000"/>
                    <a:gd name="connsiteY71" fmla="*/ 1714 h 9658"/>
                    <a:gd name="connsiteX72" fmla="*/ 1889 w 10000"/>
                    <a:gd name="connsiteY72" fmla="*/ 1695 h 9658"/>
                    <a:gd name="connsiteX73" fmla="*/ 1778 w 10000"/>
                    <a:gd name="connsiteY73" fmla="*/ 1673 h 9658"/>
                    <a:gd name="connsiteX74" fmla="*/ 1778 w 10000"/>
                    <a:gd name="connsiteY74" fmla="*/ 1673 h 9658"/>
                    <a:gd name="connsiteX75" fmla="*/ 1667 w 10000"/>
                    <a:gd name="connsiteY75" fmla="*/ 1594 h 9658"/>
                    <a:gd name="connsiteX76" fmla="*/ 1500 w 10000"/>
                    <a:gd name="connsiteY76" fmla="*/ 1453 h 9658"/>
                    <a:gd name="connsiteX77" fmla="*/ 1444 w 10000"/>
                    <a:gd name="connsiteY77" fmla="*/ 1372 h 9658"/>
                    <a:gd name="connsiteX78" fmla="*/ 1444 w 10000"/>
                    <a:gd name="connsiteY78" fmla="*/ 1291 h 9658"/>
                    <a:gd name="connsiteX79" fmla="*/ 1444 w 10000"/>
                    <a:gd name="connsiteY79" fmla="*/ 1231 h 9658"/>
                    <a:gd name="connsiteX80" fmla="*/ 1556 w 10000"/>
                    <a:gd name="connsiteY80" fmla="*/ 1170 h 9658"/>
                    <a:gd name="connsiteX81" fmla="*/ 1556 w 10000"/>
                    <a:gd name="connsiteY81" fmla="*/ 1170 h 9658"/>
                    <a:gd name="connsiteX82" fmla="*/ 1833 w 10000"/>
                    <a:gd name="connsiteY82" fmla="*/ 1070 h 9658"/>
                    <a:gd name="connsiteX83" fmla="*/ 2111 w 10000"/>
                    <a:gd name="connsiteY83" fmla="*/ 966 h 9658"/>
                    <a:gd name="connsiteX84" fmla="*/ 2278 w 10000"/>
                    <a:gd name="connsiteY84" fmla="*/ 908 h 9658"/>
                    <a:gd name="connsiteX85" fmla="*/ 2389 w 10000"/>
                    <a:gd name="connsiteY85" fmla="*/ 849 h 9658"/>
                    <a:gd name="connsiteX86" fmla="*/ 2389 w 10000"/>
                    <a:gd name="connsiteY86" fmla="*/ 767 h 9658"/>
                    <a:gd name="connsiteX87" fmla="*/ 2389 w 10000"/>
                    <a:gd name="connsiteY87" fmla="*/ 668 h 9658"/>
                    <a:gd name="connsiteX88" fmla="*/ 2389 w 10000"/>
                    <a:gd name="connsiteY88" fmla="*/ 668 h 9658"/>
                    <a:gd name="connsiteX89" fmla="*/ 2167 w 10000"/>
                    <a:gd name="connsiteY89" fmla="*/ 384 h 9658"/>
                    <a:gd name="connsiteX90" fmla="*/ 1889 w 10000"/>
                    <a:gd name="connsiteY90" fmla="*/ 0 h 9658"/>
                    <a:gd name="connsiteX91" fmla="*/ 10000 w 10000"/>
                    <a:gd name="connsiteY91" fmla="*/ 8307 h 9658"/>
                    <a:gd name="connsiteX92" fmla="*/ 10000 w 10000"/>
                    <a:gd name="connsiteY92" fmla="*/ 8307 h 9658"/>
                    <a:gd name="connsiteX93" fmla="*/ 9722 w 10000"/>
                    <a:gd name="connsiteY93" fmla="*/ 8285 h 9658"/>
                    <a:gd name="connsiteX94" fmla="*/ 9389 w 10000"/>
                    <a:gd name="connsiteY94" fmla="*/ 8307 h 9658"/>
                    <a:gd name="connsiteX95" fmla="*/ 9389 w 10000"/>
                    <a:gd name="connsiteY95" fmla="*/ 8307 h 9658"/>
                    <a:gd name="connsiteX96" fmla="*/ 9278 w 10000"/>
                    <a:gd name="connsiteY96" fmla="*/ 8331 h 9658"/>
                    <a:gd name="connsiteX97" fmla="*/ 9056 w 10000"/>
                    <a:gd name="connsiteY97" fmla="*/ 8307 h 9658"/>
                    <a:gd name="connsiteX98" fmla="*/ 8889 w 10000"/>
                    <a:gd name="connsiteY98" fmla="*/ 8285 h 9658"/>
                    <a:gd name="connsiteX99" fmla="*/ 8722 w 10000"/>
                    <a:gd name="connsiteY99" fmla="*/ 8247 h 9658"/>
                    <a:gd name="connsiteX100" fmla="*/ 8611 w 10000"/>
                    <a:gd name="connsiteY100" fmla="*/ 8184 h 9658"/>
                    <a:gd name="connsiteX101" fmla="*/ 8444 w 10000"/>
                    <a:gd name="connsiteY101" fmla="*/ 8084 h 9658"/>
                    <a:gd name="connsiteX102" fmla="*/ 8444 w 10000"/>
                    <a:gd name="connsiteY102" fmla="*/ 8084 h 9658"/>
                    <a:gd name="connsiteX103" fmla="*/ 8222 w 10000"/>
                    <a:gd name="connsiteY103" fmla="*/ 7906 h 9658"/>
                    <a:gd name="connsiteX104" fmla="*/ 8111 w 10000"/>
                    <a:gd name="connsiteY104" fmla="*/ 7825 h 9658"/>
                    <a:gd name="connsiteX105" fmla="*/ 7944 w 10000"/>
                    <a:gd name="connsiteY105" fmla="*/ 7764 h 9658"/>
                    <a:gd name="connsiteX106" fmla="*/ 7778 w 10000"/>
                    <a:gd name="connsiteY106" fmla="*/ 7725 h 9658"/>
                    <a:gd name="connsiteX107" fmla="*/ 7556 w 10000"/>
                    <a:gd name="connsiteY107" fmla="*/ 7701 h 9658"/>
                    <a:gd name="connsiteX108" fmla="*/ 7333 w 10000"/>
                    <a:gd name="connsiteY108" fmla="*/ 7683 h 9658"/>
                    <a:gd name="connsiteX109" fmla="*/ 7000 w 10000"/>
                    <a:gd name="connsiteY109" fmla="*/ 7660 h 9658"/>
                    <a:gd name="connsiteX110" fmla="*/ 7000 w 10000"/>
                    <a:gd name="connsiteY110" fmla="*/ 7660 h 9658"/>
                    <a:gd name="connsiteX111" fmla="*/ 6556 w 10000"/>
                    <a:gd name="connsiteY111" fmla="*/ 7683 h 9658"/>
                    <a:gd name="connsiteX112" fmla="*/ 6222 w 10000"/>
                    <a:gd name="connsiteY112" fmla="*/ 7683 h 9658"/>
                    <a:gd name="connsiteX113" fmla="*/ 6111 w 10000"/>
                    <a:gd name="connsiteY113" fmla="*/ 7660 h 9658"/>
                    <a:gd name="connsiteX114" fmla="*/ 6056 w 10000"/>
                    <a:gd name="connsiteY114" fmla="*/ 7641 h 9658"/>
                    <a:gd name="connsiteX115" fmla="*/ 6056 w 10000"/>
                    <a:gd name="connsiteY115" fmla="*/ 7641 h 9658"/>
                    <a:gd name="connsiteX116" fmla="*/ 6056 w 10000"/>
                    <a:gd name="connsiteY116" fmla="*/ 7280 h 9658"/>
                    <a:gd name="connsiteX117" fmla="*/ 6056 w 10000"/>
                    <a:gd name="connsiteY117" fmla="*/ 7280 h 9658"/>
                    <a:gd name="connsiteX118" fmla="*/ 6056 w 10000"/>
                    <a:gd name="connsiteY118" fmla="*/ 7197 h 9658"/>
                    <a:gd name="connsiteX119" fmla="*/ 5944 w 10000"/>
                    <a:gd name="connsiteY119" fmla="*/ 7097 h 9658"/>
                    <a:gd name="connsiteX120" fmla="*/ 5889 w 10000"/>
                    <a:gd name="connsiteY120" fmla="*/ 7075 h 9658"/>
                    <a:gd name="connsiteX121" fmla="*/ 5778 w 10000"/>
                    <a:gd name="connsiteY121" fmla="*/ 7057 h 9658"/>
                    <a:gd name="connsiteX122" fmla="*/ 5667 w 10000"/>
                    <a:gd name="connsiteY122" fmla="*/ 7057 h 9658"/>
                    <a:gd name="connsiteX123" fmla="*/ 5500 w 10000"/>
                    <a:gd name="connsiteY123" fmla="*/ 7075 h 9658"/>
                    <a:gd name="connsiteX124" fmla="*/ 5500 w 10000"/>
                    <a:gd name="connsiteY124" fmla="*/ 7075 h 9658"/>
                    <a:gd name="connsiteX125" fmla="*/ 4889 w 10000"/>
                    <a:gd name="connsiteY125" fmla="*/ 7218 h 9658"/>
                    <a:gd name="connsiteX126" fmla="*/ 4611 w 10000"/>
                    <a:gd name="connsiteY126" fmla="*/ 7260 h 9658"/>
                    <a:gd name="connsiteX127" fmla="*/ 4556 w 10000"/>
                    <a:gd name="connsiteY127" fmla="*/ 7280 h 9658"/>
                    <a:gd name="connsiteX128" fmla="*/ 4500 w 10000"/>
                    <a:gd name="connsiteY128" fmla="*/ 7260 h 9658"/>
                    <a:gd name="connsiteX129" fmla="*/ 4500 w 10000"/>
                    <a:gd name="connsiteY129" fmla="*/ 7260 h 9658"/>
                    <a:gd name="connsiteX130" fmla="*/ 4222 w 10000"/>
                    <a:gd name="connsiteY130" fmla="*/ 7057 h 9658"/>
                    <a:gd name="connsiteX131" fmla="*/ 4222 w 10000"/>
                    <a:gd name="connsiteY131" fmla="*/ 7057 h 9658"/>
                    <a:gd name="connsiteX132" fmla="*/ 4111 w 10000"/>
                    <a:gd name="connsiteY132" fmla="*/ 6957 h 9658"/>
                    <a:gd name="connsiteX133" fmla="*/ 4111 w 10000"/>
                    <a:gd name="connsiteY133" fmla="*/ 6896 h 9658"/>
                    <a:gd name="connsiteX134" fmla="*/ 4111 w 10000"/>
                    <a:gd name="connsiteY134" fmla="*/ 6835 h 9658"/>
                    <a:gd name="connsiteX135" fmla="*/ 4111 w 10000"/>
                    <a:gd name="connsiteY135" fmla="*/ 6835 h 9658"/>
                    <a:gd name="connsiteX136" fmla="*/ 4278 w 10000"/>
                    <a:gd name="connsiteY136" fmla="*/ 6774 h 9658"/>
                    <a:gd name="connsiteX137" fmla="*/ 4389 w 10000"/>
                    <a:gd name="connsiteY137" fmla="*/ 6755 h 9658"/>
                    <a:gd name="connsiteX138" fmla="*/ 4389 w 10000"/>
                    <a:gd name="connsiteY138" fmla="*/ 6755 h 9658"/>
                    <a:gd name="connsiteX139" fmla="*/ 4000 w 10000"/>
                    <a:gd name="connsiteY139" fmla="*/ 6755 h 9658"/>
                    <a:gd name="connsiteX140" fmla="*/ 3722 w 10000"/>
                    <a:gd name="connsiteY140" fmla="*/ 6774 h 9658"/>
                    <a:gd name="connsiteX141" fmla="*/ 3611 w 10000"/>
                    <a:gd name="connsiteY141" fmla="*/ 6796 h 9658"/>
                    <a:gd name="connsiteX142" fmla="*/ 3556 w 10000"/>
                    <a:gd name="connsiteY142" fmla="*/ 6817 h 9658"/>
                    <a:gd name="connsiteX143" fmla="*/ 3556 w 10000"/>
                    <a:gd name="connsiteY143" fmla="*/ 6817 h 9658"/>
                    <a:gd name="connsiteX144" fmla="*/ 3444 w 10000"/>
                    <a:gd name="connsiteY144" fmla="*/ 6896 h 9658"/>
                    <a:gd name="connsiteX145" fmla="*/ 3278 w 10000"/>
                    <a:gd name="connsiteY145" fmla="*/ 7018 h 9658"/>
                    <a:gd name="connsiteX146" fmla="*/ 3000 w 10000"/>
                    <a:gd name="connsiteY146" fmla="*/ 7158 h 9658"/>
                    <a:gd name="connsiteX147" fmla="*/ 2667 w 10000"/>
                    <a:gd name="connsiteY147" fmla="*/ 7260 h 9658"/>
                    <a:gd name="connsiteX148" fmla="*/ 2667 w 10000"/>
                    <a:gd name="connsiteY148" fmla="*/ 7260 h 9658"/>
                    <a:gd name="connsiteX149" fmla="*/ 2333 w 10000"/>
                    <a:gd name="connsiteY149" fmla="*/ 7341 h 9658"/>
                    <a:gd name="connsiteX150" fmla="*/ 1833 w 10000"/>
                    <a:gd name="connsiteY150" fmla="*/ 7422 h 9658"/>
                    <a:gd name="connsiteX151" fmla="*/ 1389 w 10000"/>
                    <a:gd name="connsiteY151" fmla="*/ 7462 h 9658"/>
                    <a:gd name="connsiteX152" fmla="*/ 889 w 10000"/>
                    <a:gd name="connsiteY152" fmla="*/ 7481 h 9658"/>
                    <a:gd name="connsiteX153" fmla="*/ 889 w 10000"/>
                    <a:gd name="connsiteY153" fmla="*/ 7481 h 9658"/>
                    <a:gd name="connsiteX154" fmla="*/ 500 w 10000"/>
                    <a:gd name="connsiteY154" fmla="*/ 7504 h 9658"/>
                    <a:gd name="connsiteX155" fmla="*/ 222 w 10000"/>
                    <a:gd name="connsiteY155" fmla="*/ 7522 h 9658"/>
                    <a:gd name="connsiteX156" fmla="*/ 0 w 10000"/>
                    <a:gd name="connsiteY156" fmla="*/ 7541 h 9658"/>
                    <a:gd name="connsiteX157" fmla="*/ 0 w 10000"/>
                    <a:gd name="connsiteY157" fmla="*/ 7541 h 9658"/>
                    <a:gd name="connsiteX158" fmla="*/ 278 w 10000"/>
                    <a:gd name="connsiteY158" fmla="*/ 7865 h 9658"/>
                    <a:gd name="connsiteX159" fmla="*/ 500 w 10000"/>
                    <a:gd name="connsiteY159" fmla="*/ 8104 h 9658"/>
                    <a:gd name="connsiteX160" fmla="*/ 722 w 10000"/>
                    <a:gd name="connsiteY160" fmla="*/ 8307 h 9658"/>
                    <a:gd name="connsiteX161" fmla="*/ 722 w 10000"/>
                    <a:gd name="connsiteY161" fmla="*/ 8307 h 9658"/>
                    <a:gd name="connsiteX162" fmla="*/ 889 w 10000"/>
                    <a:gd name="connsiteY162" fmla="*/ 8429 h 9658"/>
                    <a:gd name="connsiteX163" fmla="*/ 944 w 10000"/>
                    <a:gd name="connsiteY163" fmla="*/ 8531 h 9658"/>
                    <a:gd name="connsiteX164" fmla="*/ 1111 w 10000"/>
                    <a:gd name="connsiteY164" fmla="*/ 8633 h 9658"/>
                    <a:gd name="connsiteX165" fmla="*/ 1333 w 10000"/>
                    <a:gd name="connsiteY165" fmla="*/ 8789 h 9658"/>
                    <a:gd name="connsiteX166" fmla="*/ 1333 w 10000"/>
                    <a:gd name="connsiteY166" fmla="*/ 8789 h 9658"/>
                    <a:gd name="connsiteX167" fmla="*/ 1444 w 10000"/>
                    <a:gd name="connsiteY167" fmla="*/ 8872 h 9658"/>
                    <a:gd name="connsiteX168" fmla="*/ 1500 w 10000"/>
                    <a:gd name="connsiteY168" fmla="*/ 8932 h 9658"/>
                    <a:gd name="connsiteX169" fmla="*/ 1500 w 10000"/>
                    <a:gd name="connsiteY169" fmla="*/ 8990 h 9658"/>
                    <a:gd name="connsiteX170" fmla="*/ 1556 w 10000"/>
                    <a:gd name="connsiteY170" fmla="*/ 9015 h 9658"/>
                    <a:gd name="connsiteX171" fmla="*/ 1722 w 10000"/>
                    <a:gd name="connsiteY171" fmla="*/ 9032 h 9658"/>
                    <a:gd name="connsiteX172" fmla="*/ 1944 w 10000"/>
                    <a:gd name="connsiteY172" fmla="*/ 9052 h 9658"/>
                    <a:gd name="connsiteX173" fmla="*/ 2944 w 10000"/>
                    <a:gd name="connsiteY173" fmla="*/ 9073 h 9658"/>
                    <a:gd name="connsiteX174" fmla="*/ 2944 w 10000"/>
                    <a:gd name="connsiteY174" fmla="*/ 9073 h 9658"/>
                    <a:gd name="connsiteX175" fmla="*/ 4167 w 10000"/>
                    <a:gd name="connsiteY175" fmla="*/ 9114 h 9658"/>
                    <a:gd name="connsiteX176" fmla="*/ 4889 w 10000"/>
                    <a:gd name="connsiteY176" fmla="*/ 9173 h 9658"/>
                    <a:gd name="connsiteX177" fmla="*/ 5278 w 10000"/>
                    <a:gd name="connsiteY177" fmla="*/ 9236 h 9658"/>
                    <a:gd name="connsiteX178" fmla="*/ 5444 w 10000"/>
                    <a:gd name="connsiteY178" fmla="*/ 9252 h 9658"/>
                    <a:gd name="connsiteX179" fmla="*/ 5444 w 10000"/>
                    <a:gd name="connsiteY179" fmla="*/ 9252 h 9658"/>
                    <a:gd name="connsiteX180" fmla="*/ 5722 w 10000"/>
                    <a:gd name="connsiteY180" fmla="*/ 9297 h 9658"/>
                    <a:gd name="connsiteX181" fmla="*/ 5833 w 10000"/>
                    <a:gd name="connsiteY181" fmla="*/ 9319 h 9658"/>
                    <a:gd name="connsiteX182" fmla="*/ 5833 w 10000"/>
                    <a:gd name="connsiteY182" fmla="*/ 9319 h 9658"/>
                    <a:gd name="connsiteX183" fmla="*/ 5833 w 10000"/>
                    <a:gd name="connsiteY183" fmla="*/ 9297 h 9658"/>
                    <a:gd name="connsiteX184" fmla="*/ 5889 w 10000"/>
                    <a:gd name="connsiteY184" fmla="*/ 9275 h 9658"/>
                    <a:gd name="connsiteX185" fmla="*/ 6000 w 10000"/>
                    <a:gd name="connsiteY185" fmla="*/ 9252 h 9658"/>
                    <a:gd name="connsiteX186" fmla="*/ 6167 w 10000"/>
                    <a:gd name="connsiteY186" fmla="*/ 9236 h 9658"/>
                    <a:gd name="connsiteX187" fmla="*/ 6444 w 10000"/>
                    <a:gd name="connsiteY187" fmla="*/ 9236 h 9658"/>
                    <a:gd name="connsiteX188" fmla="*/ 6833 w 10000"/>
                    <a:gd name="connsiteY188" fmla="*/ 9252 h 9658"/>
                    <a:gd name="connsiteX189" fmla="*/ 7278 w 10000"/>
                    <a:gd name="connsiteY189" fmla="*/ 9319 h 9658"/>
                    <a:gd name="connsiteX190" fmla="*/ 7278 w 10000"/>
                    <a:gd name="connsiteY190" fmla="*/ 9319 h 9658"/>
                    <a:gd name="connsiteX191" fmla="*/ 8722 w 10000"/>
                    <a:gd name="connsiteY191" fmla="*/ 9494 h 9658"/>
                    <a:gd name="connsiteX192" fmla="*/ 10000 w 10000"/>
                    <a:gd name="connsiteY192" fmla="*/ 9658 h 9658"/>
                    <a:gd name="connsiteX0" fmla="*/ 10000 w 10000"/>
                    <a:gd name="connsiteY0" fmla="*/ 8180 h 9602"/>
                    <a:gd name="connsiteX1" fmla="*/ 10000 w 10000"/>
                    <a:gd name="connsiteY1" fmla="*/ 8180 h 9602"/>
                    <a:gd name="connsiteX2" fmla="*/ 9222 w 10000"/>
                    <a:gd name="connsiteY2" fmla="*/ 8203 h 9602"/>
                    <a:gd name="connsiteX3" fmla="*/ 8944 w 10000"/>
                    <a:gd name="connsiteY3" fmla="*/ 8203 h 9602"/>
                    <a:gd name="connsiteX4" fmla="*/ 8833 w 10000"/>
                    <a:gd name="connsiteY4" fmla="*/ 8180 h 9602"/>
                    <a:gd name="connsiteX5" fmla="*/ 8778 w 10000"/>
                    <a:gd name="connsiteY5" fmla="*/ 8162 h 9602"/>
                    <a:gd name="connsiteX6" fmla="*/ 8778 w 10000"/>
                    <a:gd name="connsiteY6" fmla="*/ 8162 h 9602"/>
                    <a:gd name="connsiteX7" fmla="*/ 8444 w 10000"/>
                    <a:gd name="connsiteY7" fmla="*/ 7910 h 9602"/>
                    <a:gd name="connsiteX8" fmla="*/ 8167 w 10000"/>
                    <a:gd name="connsiteY8" fmla="*/ 7680 h 9602"/>
                    <a:gd name="connsiteX9" fmla="*/ 8167 w 10000"/>
                    <a:gd name="connsiteY9" fmla="*/ 7680 h 9602"/>
                    <a:gd name="connsiteX10" fmla="*/ 8056 w 10000"/>
                    <a:gd name="connsiteY10" fmla="*/ 7641 h 9602"/>
                    <a:gd name="connsiteX11" fmla="*/ 7889 w 10000"/>
                    <a:gd name="connsiteY11" fmla="*/ 7601 h 9602"/>
                    <a:gd name="connsiteX12" fmla="*/ 7444 w 10000"/>
                    <a:gd name="connsiteY12" fmla="*/ 7576 h 9602"/>
                    <a:gd name="connsiteX13" fmla="*/ 6889 w 10000"/>
                    <a:gd name="connsiteY13" fmla="*/ 7557 h 9602"/>
                    <a:gd name="connsiteX14" fmla="*/ 6389 w 10000"/>
                    <a:gd name="connsiteY14" fmla="*/ 7557 h 9602"/>
                    <a:gd name="connsiteX15" fmla="*/ 6389 w 10000"/>
                    <a:gd name="connsiteY15" fmla="*/ 7557 h 9602"/>
                    <a:gd name="connsiteX16" fmla="*/ 6167 w 10000"/>
                    <a:gd name="connsiteY16" fmla="*/ 7533 h 9602"/>
                    <a:gd name="connsiteX17" fmla="*/ 6056 w 10000"/>
                    <a:gd name="connsiteY17" fmla="*/ 7495 h 9602"/>
                    <a:gd name="connsiteX18" fmla="*/ 6000 w 10000"/>
                    <a:gd name="connsiteY18" fmla="*/ 7451 h 9602"/>
                    <a:gd name="connsiteX19" fmla="*/ 6000 w 10000"/>
                    <a:gd name="connsiteY19" fmla="*/ 7372 h 9602"/>
                    <a:gd name="connsiteX20" fmla="*/ 6056 w 10000"/>
                    <a:gd name="connsiteY20" fmla="*/ 7203 h 9602"/>
                    <a:gd name="connsiteX21" fmla="*/ 6111 w 10000"/>
                    <a:gd name="connsiteY21" fmla="*/ 7119 h 9602"/>
                    <a:gd name="connsiteX22" fmla="*/ 6056 w 10000"/>
                    <a:gd name="connsiteY22" fmla="*/ 7013 h 9602"/>
                    <a:gd name="connsiteX23" fmla="*/ 6056 w 10000"/>
                    <a:gd name="connsiteY23" fmla="*/ 7013 h 9602"/>
                    <a:gd name="connsiteX24" fmla="*/ 6000 w 10000"/>
                    <a:gd name="connsiteY24" fmla="*/ 6950 h 9602"/>
                    <a:gd name="connsiteX25" fmla="*/ 5944 w 10000"/>
                    <a:gd name="connsiteY25" fmla="*/ 6909 h 9602"/>
                    <a:gd name="connsiteX26" fmla="*/ 5833 w 10000"/>
                    <a:gd name="connsiteY26" fmla="*/ 6909 h 9602"/>
                    <a:gd name="connsiteX27" fmla="*/ 5667 w 10000"/>
                    <a:gd name="connsiteY27" fmla="*/ 6928 h 9602"/>
                    <a:gd name="connsiteX28" fmla="*/ 5333 w 10000"/>
                    <a:gd name="connsiteY28" fmla="*/ 6993 h 9602"/>
                    <a:gd name="connsiteX29" fmla="*/ 4889 w 10000"/>
                    <a:gd name="connsiteY29" fmla="*/ 7097 h 9602"/>
                    <a:gd name="connsiteX30" fmla="*/ 4889 w 10000"/>
                    <a:gd name="connsiteY30" fmla="*/ 7097 h 9602"/>
                    <a:gd name="connsiteX31" fmla="*/ 4611 w 10000"/>
                    <a:gd name="connsiteY31" fmla="*/ 7119 h 9602"/>
                    <a:gd name="connsiteX32" fmla="*/ 4500 w 10000"/>
                    <a:gd name="connsiteY32" fmla="*/ 7119 h 9602"/>
                    <a:gd name="connsiteX33" fmla="*/ 4444 w 10000"/>
                    <a:gd name="connsiteY33" fmla="*/ 7097 h 9602"/>
                    <a:gd name="connsiteX34" fmla="*/ 4389 w 10000"/>
                    <a:gd name="connsiteY34" fmla="*/ 7013 h 9602"/>
                    <a:gd name="connsiteX35" fmla="*/ 4222 w 10000"/>
                    <a:gd name="connsiteY35" fmla="*/ 6909 h 9602"/>
                    <a:gd name="connsiteX36" fmla="*/ 4222 w 10000"/>
                    <a:gd name="connsiteY36" fmla="*/ 6909 h 9602"/>
                    <a:gd name="connsiteX37" fmla="*/ 4111 w 10000"/>
                    <a:gd name="connsiteY37" fmla="*/ 6846 h 9602"/>
                    <a:gd name="connsiteX38" fmla="*/ 4111 w 10000"/>
                    <a:gd name="connsiteY38" fmla="*/ 6784 h 9602"/>
                    <a:gd name="connsiteX39" fmla="*/ 4111 w 10000"/>
                    <a:gd name="connsiteY39" fmla="*/ 6742 h 9602"/>
                    <a:gd name="connsiteX40" fmla="*/ 4167 w 10000"/>
                    <a:gd name="connsiteY40" fmla="*/ 6699 h 9602"/>
                    <a:gd name="connsiteX41" fmla="*/ 4278 w 10000"/>
                    <a:gd name="connsiteY41" fmla="*/ 6616 h 9602"/>
                    <a:gd name="connsiteX42" fmla="*/ 4389 w 10000"/>
                    <a:gd name="connsiteY42" fmla="*/ 6596 h 9602"/>
                    <a:gd name="connsiteX43" fmla="*/ 4389 w 10000"/>
                    <a:gd name="connsiteY43" fmla="*/ 6596 h 9602"/>
                    <a:gd name="connsiteX44" fmla="*/ 4389 w 10000"/>
                    <a:gd name="connsiteY44" fmla="*/ 6574 h 9602"/>
                    <a:gd name="connsiteX45" fmla="*/ 4444 w 10000"/>
                    <a:gd name="connsiteY45" fmla="*/ 6557 h 9602"/>
                    <a:gd name="connsiteX46" fmla="*/ 4667 w 10000"/>
                    <a:gd name="connsiteY46" fmla="*/ 6533 h 9602"/>
                    <a:gd name="connsiteX47" fmla="*/ 5333 w 10000"/>
                    <a:gd name="connsiteY47" fmla="*/ 6494 h 9602"/>
                    <a:gd name="connsiteX48" fmla="*/ 6500 w 10000"/>
                    <a:gd name="connsiteY48" fmla="*/ 6428 h 9602"/>
                    <a:gd name="connsiteX49" fmla="*/ 6500 w 10000"/>
                    <a:gd name="connsiteY49" fmla="*/ 6428 h 9602"/>
                    <a:gd name="connsiteX50" fmla="*/ 7167 w 10000"/>
                    <a:gd name="connsiteY50" fmla="*/ 6367 h 9602"/>
                    <a:gd name="connsiteX51" fmla="*/ 8389 w 10000"/>
                    <a:gd name="connsiteY51" fmla="*/ 6243 h 9602"/>
                    <a:gd name="connsiteX52" fmla="*/ 8389 w 10000"/>
                    <a:gd name="connsiteY52" fmla="*/ 6243 h 9602"/>
                    <a:gd name="connsiteX53" fmla="*/ 8667 w 10000"/>
                    <a:gd name="connsiteY53" fmla="*/ 6198 h 9602"/>
                    <a:gd name="connsiteX54" fmla="*/ 8778 w 10000"/>
                    <a:gd name="connsiteY54" fmla="*/ 6134 h 9602"/>
                    <a:gd name="connsiteX55" fmla="*/ 8889 w 10000"/>
                    <a:gd name="connsiteY55" fmla="*/ 6094 h 9602"/>
                    <a:gd name="connsiteX56" fmla="*/ 8833 w 10000"/>
                    <a:gd name="connsiteY56" fmla="*/ 6053 h 9602"/>
                    <a:gd name="connsiteX57" fmla="*/ 8833 w 10000"/>
                    <a:gd name="connsiteY57" fmla="*/ 6014 h 9602"/>
                    <a:gd name="connsiteX58" fmla="*/ 8722 w 10000"/>
                    <a:gd name="connsiteY58" fmla="*/ 5968 h 9602"/>
                    <a:gd name="connsiteX59" fmla="*/ 8556 w 10000"/>
                    <a:gd name="connsiteY59" fmla="*/ 5906 h 9602"/>
                    <a:gd name="connsiteX60" fmla="*/ 8556 w 10000"/>
                    <a:gd name="connsiteY60" fmla="*/ 5906 h 9602"/>
                    <a:gd name="connsiteX61" fmla="*/ 6556 w 10000"/>
                    <a:gd name="connsiteY61" fmla="*/ 5535 h 9602"/>
                    <a:gd name="connsiteX62" fmla="*/ 6556 w 10000"/>
                    <a:gd name="connsiteY62" fmla="*/ 5535 h 9602"/>
                    <a:gd name="connsiteX63" fmla="*/ 6333 w 10000"/>
                    <a:gd name="connsiteY63" fmla="*/ 5470 h 9602"/>
                    <a:gd name="connsiteX64" fmla="*/ 6167 w 10000"/>
                    <a:gd name="connsiteY64" fmla="*/ 5407 h 9602"/>
                    <a:gd name="connsiteX65" fmla="*/ 6056 w 10000"/>
                    <a:gd name="connsiteY65" fmla="*/ 5342 h 9602"/>
                    <a:gd name="connsiteX66" fmla="*/ 6056 w 10000"/>
                    <a:gd name="connsiteY66" fmla="*/ 5342 h 9602"/>
                    <a:gd name="connsiteX67" fmla="*/ 8056 w 10000"/>
                    <a:gd name="connsiteY67" fmla="*/ 5322 h 9602"/>
                    <a:gd name="connsiteX68" fmla="*/ 10000 w 10000"/>
                    <a:gd name="connsiteY68" fmla="*/ 5535 h 9602"/>
                    <a:gd name="connsiteX69" fmla="*/ 10000 w 10000"/>
                    <a:gd name="connsiteY69" fmla="*/ 3632 h 9602"/>
                    <a:gd name="connsiteX70" fmla="*/ 2889 w 10000"/>
                    <a:gd name="connsiteY70" fmla="*/ 1420 h 9602"/>
                    <a:gd name="connsiteX71" fmla="*/ 2000 w 10000"/>
                    <a:gd name="connsiteY71" fmla="*/ 1377 h 9602"/>
                    <a:gd name="connsiteX72" fmla="*/ 1889 w 10000"/>
                    <a:gd name="connsiteY72" fmla="*/ 1357 h 9602"/>
                    <a:gd name="connsiteX73" fmla="*/ 1778 w 10000"/>
                    <a:gd name="connsiteY73" fmla="*/ 1334 h 9602"/>
                    <a:gd name="connsiteX74" fmla="*/ 1778 w 10000"/>
                    <a:gd name="connsiteY74" fmla="*/ 1334 h 9602"/>
                    <a:gd name="connsiteX75" fmla="*/ 1667 w 10000"/>
                    <a:gd name="connsiteY75" fmla="*/ 1252 h 9602"/>
                    <a:gd name="connsiteX76" fmla="*/ 1500 w 10000"/>
                    <a:gd name="connsiteY76" fmla="*/ 1106 h 9602"/>
                    <a:gd name="connsiteX77" fmla="*/ 1444 w 10000"/>
                    <a:gd name="connsiteY77" fmla="*/ 1023 h 9602"/>
                    <a:gd name="connsiteX78" fmla="*/ 1444 w 10000"/>
                    <a:gd name="connsiteY78" fmla="*/ 939 h 9602"/>
                    <a:gd name="connsiteX79" fmla="*/ 1444 w 10000"/>
                    <a:gd name="connsiteY79" fmla="*/ 877 h 9602"/>
                    <a:gd name="connsiteX80" fmla="*/ 1556 w 10000"/>
                    <a:gd name="connsiteY80" fmla="*/ 813 h 9602"/>
                    <a:gd name="connsiteX81" fmla="*/ 1556 w 10000"/>
                    <a:gd name="connsiteY81" fmla="*/ 813 h 9602"/>
                    <a:gd name="connsiteX82" fmla="*/ 1833 w 10000"/>
                    <a:gd name="connsiteY82" fmla="*/ 710 h 9602"/>
                    <a:gd name="connsiteX83" fmla="*/ 2111 w 10000"/>
                    <a:gd name="connsiteY83" fmla="*/ 602 h 9602"/>
                    <a:gd name="connsiteX84" fmla="*/ 2278 w 10000"/>
                    <a:gd name="connsiteY84" fmla="*/ 542 h 9602"/>
                    <a:gd name="connsiteX85" fmla="*/ 2389 w 10000"/>
                    <a:gd name="connsiteY85" fmla="*/ 481 h 9602"/>
                    <a:gd name="connsiteX86" fmla="*/ 2389 w 10000"/>
                    <a:gd name="connsiteY86" fmla="*/ 396 h 9602"/>
                    <a:gd name="connsiteX87" fmla="*/ 2389 w 10000"/>
                    <a:gd name="connsiteY87" fmla="*/ 294 h 9602"/>
                    <a:gd name="connsiteX88" fmla="*/ 2389 w 10000"/>
                    <a:gd name="connsiteY88" fmla="*/ 294 h 9602"/>
                    <a:gd name="connsiteX89" fmla="*/ 2167 w 10000"/>
                    <a:gd name="connsiteY89" fmla="*/ 0 h 9602"/>
                    <a:gd name="connsiteX90" fmla="*/ 10000 w 10000"/>
                    <a:gd name="connsiteY90" fmla="*/ 8203 h 9602"/>
                    <a:gd name="connsiteX91" fmla="*/ 10000 w 10000"/>
                    <a:gd name="connsiteY91" fmla="*/ 8203 h 9602"/>
                    <a:gd name="connsiteX92" fmla="*/ 9722 w 10000"/>
                    <a:gd name="connsiteY92" fmla="*/ 8180 h 9602"/>
                    <a:gd name="connsiteX93" fmla="*/ 9389 w 10000"/>
                    <a:gd name="connsiteY93" fmla="*/ 8203 h 9602"/>
                    <a:gd name="connsiteX94" fmla="*/ 9389 w 10000"/>
                    <a:gd name="connsiteY94" fmla="*/ 8203 h 9602"/>
                    <a:gd name="connsiteX95" fmla="*/ 9278 w 10000"/>
                    <a:gd name="connsiteY95" fmla="*/ 8228 h 9602"/>
                    <a:gd name="connsiteX96" fmla="*/ 9056 w 10000"/>
                    <a:gd name="connsiteY96" fmla="*/ 8203 h 9602"/>
                    <a:gd name="connsiteX97" fmla="*/ 8889 w 10000"/>
                    <a:gd name="connsiteY97" fmla="*/ 8180 h 9602"/>
                    <a:gd name="connsiteX98" fmla="*/ 8722 w 10000"/>
                    <a:gd name="connsiteY98" fmla="*/ 8141 h 9602"/>
                    <a:gd name="connsiteX99" fmla="*/ 8611 w 10000"/>
                    <a:gd name="connsiteY99" fmla="*/ 8076 h 9602"/>
                    <a:gd name="connsiteX100" fmla="*/ 8444 w 10000"/>
                    <a:gd name="connsiteY100" fmla="*/ 7972 h 9602"/>
                    <a:gd name="connsiteX101" fmla="*/ 8444 w 10000"/>
                    <a:gd name="connsiteY101" fmla="*/ 7972 h 9602"/>
                    <a:gd name="connsiteX102" fmla="*/ 8222 w 10000"/>
                    <a:gd name="connsiteY102" fmla="*/ 7788 h 9602"/>
                    <a:gd name="connsiteX103" fmla="*/ 8111 w 10000"/>
                    <a:gd name="connsiteY103" fmla="*/ 7704 h 9602"/>
                    <a:gd name="connsiteX104" fmla="*/ 7944 w 10000"/>
                    <a:gd name="connsiteY104" fmla="*/ 7641 h 9602"/>
                    <a:gd name="connsiteX105" fmla="*/ 7778 w 10000"/>
                    <a:gd name="connsiteY105" fmla="*/ 7601 h 9602"/>
                    <a:gd name="connsiteX106" fmla="*/ 7556 w 10000"/>
                    <a:gd name="connsiteY106" fmla="*/ 7576 h 9602"/>
                    <a:gd name="connsiteX107" fmla="*/ 7333 w 10000"/>
                    <a:gd name="connsiteY107" fmla="*/ 7557 h 9602"/>
                    <a:gd name="connsiteX108" fmla="*/ 7000 w 10000"/>
                    <a:gd name="connsiteY108" fmla="*/ 7533 h 9602"/>
                    <a:gd name="connsiteX109" fmla="*/ 7000 w 10000"/>
                    <a:gd name="connsiteY109" fmla="*/ 7533 h 9602"/>
                    <a:gd name="connsiteX110" fmla="*/ 6556 w 10000"/>
                    <a:gd name="connsiteY110" fmla="*/ 7557 h 9602"/>
                    <a:gd name="connsiteX111" fmla="*/ 6222 w 10000"/>
                    <a:gd name="connsiteY111" fmla="*/ 7557 h 9602"/>
                    <a:gd name="connsiteX112" fmla="*/ 6111 w 10000"/>
                    <a:gd name="connsiteY112" fmla="*/ 7533 h 9602"/>
                    <a:gd name="connsiteX113" fmla="*/ 6056 w 10000"/>
                    <a:gd name="connsiteY113" fmla="*/ 7514 h 9602"/>
                    <a:gd name="connsiteX114" fmla="*/ 6056 w 10000"/>
                    <a:gd name="connsiteY114" fmla="*/ 7514 h 9602"/>
                    <a:gd name="connsiteX115" fmla="*/ 6056 w 10000"/>
                    <a:gd name="connsiteY115" fmla="*/ 7140 h 9602"/>
                    <a:gd name="connsiteX116" fmla="*/ 6056 w 10000"/>
                    <a:gd name="connsiteY116" fmla="*/ 7140 h 9602"/>
                    <a:gd name="connsiteX117" fmla="*/ 6056 w 10000"/>
                    <a:gd name="connsiteY117" fmla="*/ 7054 h 9602"/>
                    <a:gd name="connsiteX118" fmla="*/ 5944 w 10000"/>
                    <a:gd name="connsiteY118" fmla="*/ 6950 h 9602"/>
                    <a:gd name="connsiteX119" fmla="*/ 5889 w 10000"/>
                    <a:gd name="connsiteY119" fmla="*/ 6928 h 9602"/>
                    <a:gd name="connsiteX120" fmla="*/ 5778 w 10000"/>
                    <a:gd name="connsiteY120" fmla="*/ 6909 h 9602"/>
                    <a:gd name="connsiteX121" fmla="*/ 5667 w 10000"/>
                    <a:gd name="connsiteY121" fmla="*/ 6909 h 9602"/>
                    <a:gd name="connsiteX122" fmla="*/ 5500 w 10000"/>
                    <a:gd name="connsiteY122" fmla="*/ 6928 h 9602"/>
                    <a:gd name="connsiteX123" fmla="*/ 5500 w 10000"/>
                    <a:gd name="connsiteY123" fmla="*/ 6928 h 9602"/>
                    <a:gd name="connsiteX124" fmla="*/ 4889 w 10000"/>
                    <a:gd name="connsiteY124" fmla="*/ 7076 h 9602"/>
                    <a:gd name="connsiteX125" fmla="*/ 4611 w 10000"/>
                    <a:gd name="connsiteY125" fmla="*/ 7119 h 9602"/>
                    <a:gd name="connsiteX126" fmla="*/ 4556 w 10000"/>
                    <a:gd name="connsiteY126" fmla="*/ 7140 h 9602"/>
                    <a:gd name="connsiteX127" fmla="*/ 4500 w 10000"/>
                    <a:gd name="connsiteY127" fmla="*/ 7119 h 9602"/>
                    <a:gd name="connsiteX128" fmla="*/ 4500 w 10000"/>
                    <a:gd name="connsiteY128" fmla="*/ 7119 h 9602"/>
                    <a:gd name="connsiteX129" fmla="*/ 4222 w 10000"/>
                    <a:gd name="connsiteY129" fmla="*/ 6909 h 9602"/>
                    <a:gd name="connsiteX130" fmla="*/ 4222 w 10000"/>
                    <a:gd name="connsiteY130" fmla="*/ 6909 h 9602"/>
                    <a:gd name="connsiteX131" fmla="*/ 4111 w 10000"/>
                    <a:gd name="connsiteY131" fmla="*/ 6805 h 9602"/>
                    <a:gd name="connsiteX132" fmla="*/ 4111 w 10000"/>
                    <a:gd name="connsiteY132" fmla="*/ 6742 h 9602"/>
                    <a:gd name="connsiteX133" fmla="*/ 4111 w 10000"/>
                    <a:gd name="connsiteY133" fmla="*/ 6679 h 9602"/>
                    <a:gd name="connsiteX134" fmla="*/ 4111 w 10000"/>
                    <a:gd name="connsiteY134" fmla="*/ 6679 h 9602"/>
                    <a:gd name="connsiteX135" fmla="*/ 4278 w 10000"/>
                    <a:gd name="connsiteY135" fmla="*/ 6616 h 9602"/>
                    <a:gd name="connsiteX136" fmla="*/ 4389 w 10000"/>
                    <a:gd name="connsiteY136" fmla="*/ 6596 h 9602"/>
                    <a:gd name="connsiteX137" fmla="*/ 4389 w 10000"/>
                    <a:gd name="connsiteY137" fmla="*/ 6596 h 9602"/>
                    <a:gd name="connsiteX138" fmla="*/ 4000 w 10000"/>
                    <a:gd name="connsiteY138" fmla="*/ 6596 h 9602"/>
                    <a:gd name="connsiteX139" fmla="*/ 3722 w 10000"/>
                    <a:gd name="connsiteY139" fmla="*/ 6616 h 9602"/>
                    <a:gd name="connsiteX140" fmla="*/ 3611 w 10000"/>
                    <a:gd name="connsiteY140" fmla="*/ 6639 h 9602"/>
                    <a:gd name="connsiteX141" fmla="*/ 3556 w 10000"/>
                    <a:gd name="connsiteY141" fmla="*/ 6660 h 9602"/>
                    <a:gd name="connsiteX142" fmla="*/ 3556 w 10000"/>
                    <a:gd name="connsiteY142" fmla="*/ 6660 h 9602"/>
                    <a:gd name="connsiteX143" fmla="*/ 3444 w 10000"/>
                    <a:gd name="connsiteY143" fmla="*/ 6742 h 9602"/>
                    <a:gd name="connsiteX144" fmla="*/ 3278 w 10000"/>
                    <a:gd name="connsiteY144" fmla="*/ 6869 h 9602"/>
                    <a:gd name="connsiteX145" fmla="*/ 3000 w 10000"/>
                    <a:gd name="connsiteY145" fmla="*/ 7013 h 9602"/>
                    <a:gd name="connsiteX146" fmla="*/ 2667 w 10000"/>
                    <a:gd name="connsiteY146" fmla="*/ 7119 h 9602"/>
                    <a:gd name="connsiteX147" fmla="*/ 2667 w 10000"/>
                    <a:gd name="connsiteY147" fmla="*/ 7119 h 9602"/>
                    <a:gd name="connsiteX148" fmla="*/ 2333 w 10000"/>
                    <a:gd name="connsiteY148" fmla="*/ 7203 h 9602"/>
                    <a:gd name="connsiteX149" fmla="*/ 1833 w 10000"/>
                    <a:gd name="connsiteY149" fmla="*/ 7287 h 9602"/>
                    <a:gd name="connsiteX150" fmla="*/ 1389 w 10000"/>
                    <a:gd name="connsiteY150" fmla="*/ 7328 h 9602"/>
                    <a:gd name="connsiteX151" fmla="*/ 889 w 10000"/>
                    <a:gd name="connsiteY151" fmla="*/ 7348 h 9602"/>
                    <a:gd name="connsiteX152" fmla="*/ 889 w 10000"/>
                    <a:gd name="connsiteY152" fmla="*/ 7348 h 9602"/>
                    <a:gd name="connsiteX153" fmla="*/ 500 w 10000"/>
                    <a:gd name="connsiteY153" fmla="*/ 7372 h 9602"/>
                    <a:gd name="connsiteX154" fmla="*/ 222 w 10000"/>
                    <a:gd name="connsiteY154" fmla="*/ 7390 h 9602"/>
                    <a:gd name="connsiteX155" fmla="*/ 0 w 10000"/>
                    <a:gd name="connsiteY155" fmla="*/ 7410 h 9602"/>
                    <a:gd name="connsiteX156" fmla="*/ 0 w 10000"/>
                    <a:gd name="connsiteY156" fmla="*/ 7410 h 9602"/>
                    <a:gd name="connsiteX157" fmla="*/ 278 w 10000"/>
                    <a:gd name="connsiteY157" fmla="*/ 7746 h 9602"/>
                    <a:gd name="connsiteX158" fmla="*/ 500 w 10000"/>
                    <a:gd name="connsiteY158" fmla="*/ 7993 h 9602"/>
                    <a:gd name="connsiteX159" fmla="*/ 722 w 10000"/>
                    <a:gd name="connsiteY159" fmla="*/ 8203 h 9602"/>
                    <a:gd name="connsiteX160" fmla="*/ 722 w 10000"/>
                    <a:gd name="connsiteY160" fmla="*/ 8203 h 9602"/>
                    <a:gd name="connsiteX161" fmla="*/ 889 w 10000"/>
                    <a:gd name="connsiteY161" fmla="*/ 8329 h 9602"/>
                    <a:gd name="connsiteX162" fmla="*/ 944 w 10000"/>
                    <a:gd name="connsiteY162" fmla="*/ 8435 h 9602"/>
                    <a:gd name="connsiteX163" fmla="*/ 1111 w 10000"/>
                    <a:gd name="connsiteY163" fmla="*/ 8541 h 9602"/>
                    <a:gd name="connsiteX164" fmla="*/ 1333 w 10000"/>
                    <a:gd name="connsiteY164" fmla="*/ 8702 h 9602"/>
                    <a:gd name="connsiteX165" fmla="*/ 1333 w 10000"/>
                    <a:gd name="connsiteY165" fmla="*/ 8702 h 9602"/>
                    <a:gd name="connsiteX166" fmla="*/ 1444 w 10000"/>
                    <a:gd name="connsiteY166" fmla="*/ 8788 h 9602"/>
                    <a:gd name="connsiteX167" fmla="*/ 1500 w 10000"/>
                    <a:gd name="connsiteY167" fmla="*/ 8850 h 9602"/>
                    <a:gd name="connsiteX168" fmla="*/ 1500 w 10000"/>
                    <a:gd name="connsiteY168" fmla="*/ 8910 h 9602"/>
                    <a:gd name="connsiteX169" fmla="*/ 1556 w 10000"/>
                    <a:gd name="connsiteY169" fmla="*/ 8936 h 9602"/>
                    <a:gd name="connsiteX170" fmla="*/ 1722 w 10000"/>
                    <a:gd name="connsiteY170" fmla="*/ 8954 h 9602"/>
                    <a:gd name="connsiteX171" fmla="*/ 1944 w 10000"/>
                    <a:gd name="connsiteY171" fmla="*/ 8975 h 9602"/>
                    <a:gd name="connsiteX172" fmla="*/ 2944 w 10000"/>
                    <a:gd name="connsiteY172" fmla="*/ 8996 h 9602"/>
                    <a:gd name="connsiteX173" fmla="*/ 2944 w 10000"/>
                    <a:gd name="connsiteY173" fmla="*/ 8996 h 9602"/>
                    <a:gd name="connsiteX174" fmla="*/ 4167 w 10000"/>
                    <a:gd name="connsiteY174" fmla="*/ 9039 h 9602"/>
                    <a:gd name="connsiteX175" fmla="*/ 4889 w 10000"/>
                    <a:gd name="connsiteY175" fmla="*/ 9100 h 9602"/>
                    <a:gd name="connsiteX176" fmla="*/ 5278 w 10000"/>
                    <a:gd name="connsiteY176" fmla="*/ 9165 h 9602"/>
                    <a:gd name="connsiteX177" fmla="*/ 5444 w 10000"/>
                    <a:gd name="connsiteY177" fmla="*/ 9182 h 9602"/>
                    <a:gd name="connsiteX178" fmla="*/ 5444 w 10000"/>
                    <a:gd name="connsiteY178" fmla="*/ 9182 h 9602"/>
                    <a:gd name="connsiteX179" fmla="*/ 5722 w 10000"/>
                    <a:gd name="connsiteY179" fmla="*/ 9228 h 9602"/>
                    <a:gd name="connsiteX180" fmla="*/ 5833 w 10000"/>
                    <a:gd name="connsiteY180" fmla="*/ 9251 h 9602"/>
                    <a:gd name="connsiteX181" fmla="*/ 5833 w 10000"/>
                    <a:gd name="connsiteY181" fmla="*/ 9251 h 9602"/>
                    <a:gd name="connsiteX182" fmla="*/ 5833 w 10000"/>
                    <a:gd name="connsiteY182" fmla="*/ 9228 h 9602"/>
                    <a:gd name="connsiteX183" fmla="*/ 5889 w 10000"/>
                    <a:gd name="connsiteY183" fmla="*/ 9205 h 9602"/>
                    <a:gd name="connsiteX184" fmla="*/ 6000 w 10000"/>
                    <a:gd name="connsiteY184" fmla="*/ 9182 h 9602"/>
                    <a:gd name="connsiteX185" fmla="*/ 6167 w 10000"/>
                    <a:gd name="connsiteY185" fmla="*/ 9165 h 9602"/>
                    <a:gd name="connsiteX186" fmla="*/ 6444 w 10000"/>
                    <a:gd name="connsiteY186" fmla="*/ 9165 h 9602"/>
                    <a:gd name="connsiteX187" fmla="*/ 6833 w 10000"/>
                    <a:gd name="connsiteY187" fmla="*/ 9182 h 9602"/>
                    <a:gd name="connsiteX188" fmla="*/ 7278 w 10000"/>
                    <a:gd name="connsiteY188" fmla="*/ 9251 h 9602"/>
                    <a:gd name="connsiteX189" fmla="*/ 7278 w 10000"/>
                    <a:gd name="connsiteY189" fmla="*/ 9251 h 9602"/>
                    <a:gd name="connsiteX190" fmla="*/ 8722 w 10000"/>
                    <a:gd name="connsiteY190" fmla="*/ 9432 h 9602"/>
                    <a:gd name="connsiteX191" fmla="*/ 10000 w 10000"/>
                    <a:gd name="connsiteY191" fmla="*/ 9602 h 9602"/>
                    <a:gd name="connsiteX0" fmla="*/ 10000 w 10000"/>
                    <a:gd name="connsiteY0" fmla="*/ 8213 h 9694"/>
                    <a:gd name="connsiteX1" fmla="*/ 10000 w 10000"/>
                    <a:gd name="connsiteY1" fmla="*/ 8213 h 9694"/>
                    <a:gd name="connsiteX2" fmla="*/ 9222 w 10000"/>
                    <a:gd name="connsiteY2" fmla="*/ 8237 h 9694"/>
                    <a:gd name="connsiteX3" fmla="*/ 8944 w 10000"/>
                    <a:gd name="connsiteY3" fmla="*/ 8237 h 9694"/>
                    <a:gd name="connsiteX4" fmla="*/ 8833 w 10000"/>
                    <a:gd name="connsiteY4" fmla="*/ 8213 h 9694"/>
                    <a:gd name="connsiteX5" fmla="*/ 8778 w 10000"/>
                    <a:gd name="connsiteY5" fmla="*/ 8194 h 9694"/>
                    <a:gd name="connsiteX6" fmla="*/ 8778 w 10000"/>
                    <a:gd name="connsiteY6" fmla="*/ 8194 h 9694"/>
                    <a:gd name="connsiteX7" fmla="*/ 8444 w 10000"/>
                    <a:gd name="connsiteY7" fmla="*/ 7932 h 9694"/>
                    <a:gd name="connsiteX8" fmla="*/ 8167 w 10000"/>
                    <a:gd name="connsiteY8" fmla="*/ 7692 h 9694"/>
                    <a:gd name="connsiteX9" fmla="*/ 8167 w 10000"/>
                    <a:gd name="connsiteY9" fmla="*/ 7692 h 9694"/>
                    <a:gd name="connsiteX10" fmla="*/ 8056 w 10000"/>
                    <a:gd name="connsiteY10" fmla="*/ 7652 h 9694"/>
                    <a:gd name="connsiteX11" fmla="*/ 7889 w 10000"/>
                    <a:gd name="connsiteY11" fmla="*/ 7610 h 9694"/>
                    <a:gd name="connsiteX12" fmla="*/ 7444 w 10000"/>
                    <a:gd name="connsiteY12" fmla="*/ 7584 h 9694"/>
                    <a:gd name="connsiteX13" fmla="*/ 6889 w 10000"/>
                    <a:gd name="connsiteY13" fmla="*/ 7564 h 9694"/>
                    <a:gd name="connsiteX14" fmla="*/ 6389 w 10000"/>
                    <a:gd name="connsiteY14" fmla="*/ 7564 h 9694"/>
                    <a:gd name="connsiteX15" fmla="*/ 6389 w 10000"/>
                    <a:gd name="connsiteY15" fmla="*/ 7564 h 9694"/>
                    <a:gd name="connsiteX16" fmla="*/ 6167 w 10000"/>
                    <a:gd name="connsiteY16" fmla="*/ 7539 h 9694"/>
                    <a:gd name="connsiteX17" fmla="*/ 6056 w 10000"/>
                    <a:gd name="connsiteY17" fmla="*/ 7500 h 9694"/>
                    <a:gd name="connsiteX18" fmla="*/ 6000 w 10000"/>
                    <a:gd name="connsiteY18" fmla="*/ 7454 h 9694"/>
                    <a:gd name="connsiteX19" fmla="*/ 6000 w 10000"/>
                    <a:gd name="connsiteY19" fmla="*/ 7372 h 9694"/>
                    <a:gd name="connsiteX20" fmla="*/ 6056 w 10000"/>
                    <a:gd name="connsiteY20" fmla="*/ 7196 h 9694"/>
                    <a:gd name="connsiteX21" fmla="*/ 6111 w 10000"/>
                    <a:gd name="connsiteY21" fmla="*/ 7108 h 9694"/>
                    <a:gd name="connsiteX22" fmla="*/ 6056 w 10000"/>
                    <a:gd name="connsiteY22" fmla="*/ 6998 h 9694"/>
                    <a:gd name="connsiteX23" fmla="*/ 6056 w 10000"/>
                    <a:gd name="connsiteY23" fmla="*/ 6998 h 9694"/>
                    <a:gd name="connsiteX24" fmla="*/ 6000 w 10000"/>
                    <a:gd name="connsiteY24" fmla="*/ 6932 h 9694"/>
                    <a:gd name="connsiteX25" fmla="*/ 5944 w 10000"/>
                    <a:gd name="connsiteY25" fmla="*/ 6889 h 9694"/>
                    <a:gd name="connsiteX26" fmla="*/ 5833 w 10000"/>
                    <a:gd name="connsiteY26" fmla="*/ 6889 h 9694"/>
                    <a:gd name="connsiteX27" fmla="*/ 5667 w 10000"/>
                    <a:gd name="connsiteY27" fmla="*/ 6909 h 9694"/>
                    <a:gd name="connsiteX28" fmla="*/ 5333 w 10000"/>
                    <a:gd name="connsiteY28" fmla="*/ 6977 h 9694"/>
                    <a:gd name="connsiteX29" fmla="*/ 4889 w 10000"/>
                    <a:gd name="connsiteY29" fmla="*/ 7085 h 9694"/>
                    <a:gd name="connsiteX30" fmla="*/ 4889 w 10000"/>
                    <a:gd name="connsiteY30" fmla="*/ 7085 h 9694"/>
                    <a:gd name="connsiteX31" fmla="*/ 4611 w 10000"/>
                    <a:gd name="connsiteY31" fmla="*/ 7108 h 9694"/>
                    <a:gd name="connsiteX32" fmla="*/ 4500 w 10000"/>
                    <a:gd name="connsiteY32" fmla="*/ 7108 h 9694"/>
                    <a:gd name="connsiteX33" fmla="*/ 4444 w 10000"/>
                    <a:gd name="connsiteY33" fmla="*/ 7085 h 9694"/>
                    <a:gd name="connsiteX34" fmla="*/ 4389 w 10000"/>
                    <a:gd name="connsiteY34" fmla="*/ 6998 h 9694"/>
                    <a:gd name="connsiteX35" fmla="*/ 4222 w 10000"/>
                    <a:gd name="connsiteY35" fmla="*/ 6889 h 9694"/>
                    <a:gd name="connsiteX36" fmla="*/ 4222 w 10000"/>
                    <a:gd name="connsiteY36" fmla="*/ 6889 h 9694"/>
                    <a:gd name="connsiteX37" fmla="*/ 4111 w 10000"/>
                    <a:gd name="connsiteY37" fmla="*/ 6824 h 9694"/>
                    <a:gd name="connsiteX38" fmla="*/ 4111 w 10000"/>
                    <a:gd name="connsiteY38" fmla="*/ 6759 h 9694"/>
                    <a:gd name="connsiteX39" fmla="*/ 4111 w 10000"/>
                    <a:gd name="connsiteY39" fmla="*/ 6715 h 9694"/>
                    <a:gd name="connsiteX40" fmla="*/ 4167 w 10000"/>
                    <a:gd name="connsiteY40" fmla="*/ 6671 h 9694"/>
                    <a:gd name="connsiteX41" fmla="*/ 4278 w 10000"/>
                    <a:gd name="connsiteY41" fmla="*/ 6584 h 9694"/>
                    <a:gd name="connsiteX42" fmla="*/ 4389 w 10000"/>
                    <a:gd name="connsiteY42" fmla="*/ 6563 h 9694"/>
                    <a:gd name="connsiteX43" fmla="*/ 4389 w 10000"/>
                    <a:gd name="connsiteY43" fmla="*/ 6563 h 9694"/>
                    <a:gd name="connsiteX44" fmla="*/ 4389 w 10000"/>
                    <a:gd name="connsiteY44" fmla="*/ 6540 h 9694"/>
                    <a:gd name="connsiteX45" fmla="*/ 4444 w 10000"/>
                    <a:gd name="connsiteY45" fmla="*/ 6523 h 9694"/>
                    <a:gd name="connsiteX46" fmla="*/ 4667 w 10000"/>
                    <a:gd name="connsiteY46" fmla="*/ 6498 h 9694"/>
                    <a:gd name="connsiteX47" fmla="*/ 5333 w 10000"/>
                    <a:gd name="connsiteY47" fmla="*/ 6457 h 9694"/>
                    <a:gd name="connsiteX48" fmla="*/ 6500 w 10000"/>
                    <a:gd name="connsiteY48" fmla="*/ 6388 h 9694"/>
                    <a:gd name="connsiteX49" fmla="*/ 6500 w 10000"/>
                    <a:gd name="connsiteY49" fmla="*/ 6388 h 9694"/>
                    <a:gd name="connsiteX50" fmla="*/ 7167 w 10000"/>
                    <a:gd name="connsiteY50" fmla="*/ 6325 h 9694"/>
                    <a:gd name="connsiteX51" fmla="*/ 8389 w 10000"/>
                    <a:gd name="connsiteY51" fmla="*/ 6196 h 9694"/>
                    <a:gd name="connsiteX52" fmla="*/ 8389 w 10000"/>
                    <a:gd name="connsiteY52" fmla="*/ 6196 h 9694"/>
                    <a:gd name="connsiteX53" fmla="*/ 8667 w 10000"/>
                    <a:gd name="connsiteY53" fmla="*/ 6149 h 9694"/>
                    <a:gd name="connsiteX54" fmla="*/ 8778 w 10000"/>
                    <a:gd name="connsiteY54" fmla="*/ 6082 h 9694"/>
                    <a:gd name="connsiteX55" fmla="*/ 8889 w 10000"/>
                    <a:gd name="connsiteY55" fmla="*/ 6041 h 9694"/>
                    <a:gd name="connsiteX56" fmla="*/ 8833 w 10000"/>
                    <a:gd name="connsiteY56" fmla="*/ 5998 h 9694"/>
                    <a:gd name="connsiteX57" fmla="*/ 8833 w 10000"/>
                    <a:gd name="connsiteY57" fmla="*/ 5957 h 9694"/>
                    <a:gd name="connsiteX58" fmla="*/ 8722 w 10000"/>
                    <a:gd name="connsiteY58" fmla="*/ 5909 h 9694"/>
                    <a:gd name="connsiteX59" fmla="*/ 8556 w 10000"/>
                    <a:gd name="connsiteY59" fmla="*/ 5845 h 9694"/>
                    <a:gd name="connsiteX60" fmla="*/ 8556 w 10000"/>
                    <a:gd name="connsiteY60" fmla="*/ 5845 h 9694"/>
                    <a:gd name="connsiteX61" fmla="*/ 6556 w 10000"/>
                    <a:gd name="connsiteY61" fmla="*/ 5458 h 9694"/>
                    <a:gd name="connsiteX62" fmla="*/ 6556 w 10000"/>
                    <a:gd name="connsiteY62" fmla="*/ 5458 h 9694"/>
                    <a:gd name="connsiteX63" fmla="*/ 6333 w 10000"/>
                    <a:gd name="connsiteY63" fmla="*/ 5391 h 9694"/>
                    <a:gd name="connsiteX64" fmla="*/ 6167 w 10000"/>
                    <a:gd name="connsiteY64" fmla="*/ 5325 h 9694"/>
                    <a:gd name="connsiteX65" fmla="*/ 6056 w 10000"/>
                    <a:gd name="connsiteY65" fmla="*/ 5257 h 9694"/>
                    <a:gd name="connsiteX66" fmla="*/ 6056 w 10000"/>
                    <a:gd name="connsiteY66" fmla="*/ 5257 h 9694"/>
                    <a:gd name="connsiteX67" fmla="*/ 8056 w 10000"/>
                    <a:gd name="connsiteY67" fmla="*/ 5237 h 9694"/>
                    <a:gd name="connsiteX68" fmla="*/ 10000 w 10000"/>
                    <a:gd name="connsiteY68" fmla="*/ 5458 h 9694"/>
                    <a:gd name="connsiteX69" fmla="*/ 10000 w 10000"/>
                    <a:gd name="connsiteY69" fmla="*/ 3477 h 9694"/>
                    <a:gd name="connsiteX70" fmla="*/ 2889 w 10000"/>
                    <a:gd name="connsiteY70" fmla="*/ 1173 h 9694"/>
                    <a:gd name="connsiteX71" fmla="*/ 2000 w 10000"/>
                    <a:gd name="connsiteY71" fmla="*/ 1128 h 9694"/>
                    <a:gd name="connsiteX72" fmla="*/ 1889 w 10000"/>
                    <a:gd name="connsiteY72" fmla="*/ 1107 h 9694"/>
                    <a:gd name="connsiteX73" fmla="*/ 1778 w 10000"/>
                    <a:gd name="connsiteY73" fmla="*/ 1083 h 9694"/>
                    <a:gd name="connsiteX74" fmla="*/ 1778 w 10000"/>
                    <a:gd name="connsiteY74" fmla="*/ 1083 h 9694"/>
                    <a:gd name="connsiteX75" fmla="*/ 1667 w 10000"/>
                    <a:gd name="connsiteY75" fmla="*/ 998 h 9694"/>
                    <a:gd name="connsiteX76" fmla="*/ 1500 w 10000"/>
                    <a:gd name="connsiteY76" fmla="*/ 846 h 9694"/>
                    <a:gd name="connsiteX77" fmla="*/ 1444 w 10000"/>
                    <a:gd name="connsiteY77" fmla="*/ 759 h 9694"/>
                    <a:gd name="connsiteX78" fmla="*/ 1444 w 10000"/>
                    <a:gd name="connsiteY78" fmla="*/ 672 h 9694"/>
                    <a:gd name="connsiteX79" fmla="*/ 1444 w 10000"/>
                    <a:gd name="connsiteY79" fmla="*/ 607 h 9694"/>
                    <a:gd name="connsiteX80" fmla="*/ 1556 w 10000"/>
                    <a:gd name="connsiteY80" fmla="*/ 541 h 9694"/>
                    <a:gd name="connsiteX81" fmla="*/ 1556 w 10000"/>
                    <a:gd name="connsiteY81" fmla="*/ 541 h 9694"/>
                    <a:gd name="connsiteX82" fmla="*/ 1833 w 10000"/>
                    <a:gd name="connsiteY82" fmla="*/ 433 h 9694"/>
                    <a:gd name="connsiteX83" fmla="*/ 2111 w 10000"/>
                    <a:gd name="connsiteY83" fmla="*/ 321 h 9694"/>
                    <a:gd name="connsiteX84" fmla="*/ 2278 w 10000"/>
                    <a:gd name="connsiteY84" fmla="*/ 258 h 9694"/>
                    <a:gd name="connsiteX85" fmla="*/ 2389 w 10000"/>
                    <a:gd name="connsiteY85" fmla="*/ 195 h 9694"/>
                    <a:gd name="connsiteX86" fmla="*/ 2389 w 10000"/>
                    <a:gd name="connsiteY86" fmla="*/ 106 h 9694"/>
                    <a:gd name="connsiteX87" fmla="*/ 2389 w 10000"/>
                    <a:gd name="connsiteY87" fmla="*/ 0 h 9694"/>
                    <a:gd name="connsiteX88" fmla="*/ 2389 w 10000"/>
                    <a:gd name="connsiteY88" fmla="*/ 0 h 9694"/>
                    <a:gd name="connsiteX89" fmla="*/ 10000 w 10000"/>
                    <a:gd name="connsiteY89" fmla="*/ 8237 h 9694"/>
                    <a:gd name="connsiteX90" fmla="*/ 10000 w 10000"/>
                    <a:gd name="connsiteY90" fmla="*/ 8237 h 9694"/>
                    <a:gd name="connsiteX91" fmla="*/ 9722 w 10000"/>
                    <a:gd name="connsiteY91" fmla="*/ 8213 h 9694"/>
                    <a:gd name="connsiteX92" fmla="*/ 9389 w 10000"/>
                    <a:gd name="connsiteY92" fmla="*/ 8237 h 9694"/>
                    <a:gd name="connsiteX93" fmla="*/ 9389 w 10000"/>
                    <a:gd name="connsiteY93" fmla="*/ 8237 h 9694"/>
                    <a:gd name="connsiteX94" fmla="*/ 9278 w 10000"/>
                    <a:gd name="connsiteY94" fmla="*/ 8263 h 9694"/>
                    <a:gd name="connsiteX95" fmla="*/ 9056 w 10000"/>
                    <a:gd name="connsiteY95" fmla="*/ 8237 h 9694"/>
                    <a:gd name="connsiteX96" fmla="*/ 8889 w 10000"/>
                    <a:gd name="connsiteY96" fmla="*/ 8213 h 9694"/>
                    <a:gd name="connsiteX97" fmla="*/ 8722 w 10000"/>
                    <a:gd name="connsiteY97" fmla="*/ 8172 h 9694"/>
                    <a:gd name="connsiteX98" fmla="*/ 8611 w 10000"/>
                    <a:gd name="connsiteY98" fmla="*/ 8105 h 9694"/>
                    <a:gd name="connsiteX99" fmla="*/ 8444 w 10000"/>
                    <a:gd name="connsiteY99" fmla="*/ 7996 h 9694"/>
                    <a:gd name="connsiteX100" fmla="*/ 8444 w 10000"/>
                    <a:gd name="connsiteY100" fmla="*/ 7996 h 9694"/>
                    <a:gd name="connsiteX101" fmla="*/ 8222 w 10000"/>
                    <a:gd name="connsiteY101" fmla="*/ 7805 h 9694"/>
                    <a:gd name="connsiteX102" fmla="*/ 8111 w 10000"/>
                    <a:gd name="connsiteY102" fmla="*/ 7717 h 9694"/>
                    <a:gd name="connsiteX103" fmla="*/ 7944 w 10000"/>
                    <a:gd name="connsiteY103" fmla="*/ 7652 h 9694"/>
                    <a:gd name="connsiteX104" fmla="*/ 7778 w 10000"/>
                    <a:gd name="connsiteY104" fmla="*/ 7610 h 9694"/>
                    <a:gd name="connsiteX105" fmla="*/ 7556 w 10000"/>
                    <a:gd name="connsiteY105" fmla="*/ 7584 h 9694"/>
                    <a:gd name="connsiteX106" fmla="*/ 7333 w 10000"/>
                    <a:gd name="connsiteY106" fmla="*/ 7564 h 9694"/>
                    <a:gd name="connsiteX107" fmla="*/ 7000 w 10000"/>
                    <a:gd name="connsiteY107" fmla="*/ 7539 h 9694"/>
                    <a:gd name="connsiteX108" fmla="*/ 7000 w 10000"/>
                    <a:gd name="connsiteY108" fmla="*/ 7539 h 9694"/>
                    <a:gd name="connsiteX109" fmla="*/ 6556 w 10000"/>
                    <a:gd name="connsiteY109" fmla="*/ 7564 h 9694"/>
                    <a:gd name="connsiteX110" fmla="*/ 6222 w 10000"/>
                    <a:gd name="connsiteY110" fmla="*/ 7564 h 9694"/>
                    <a:gd name="connsiteX111" fmla="*/ 6111 w 10000"/>
                    <a:gd name="connsiteY111" fmla="*/ 7539 h 9694"/>
                    <a:gd name="connsiteX112" fmla="*/ 6056 w 10000"/>
                    <a:gd name="connsiteY112" fmla="*/ 7519 h 9694"/>
                    <a:gd name="connsiteX113" fmla="*/ 6056 w 10000"/>
                    <a:gd name="connsiteY113" fmla="*/ 7519 h 9694"/>
                    <a:gd name="connsiteX114" fmla="*/ 6056 w 10000"/>
                    <a:gd name="connsiteY114" fmla="*/ 7130 h 9694"/>
                    <a:gd name="connsiteX115" fmla="*/ 6056 w 10000"/>
                    <a:gd name="connsiteY115" fmla="*/ 7130 h 9694"/>
                    <a:gd name="connsiteX116" fmla="*/ 6056 w 10000"/>
                    <a:gd name="connsiteY116" fmla="*/ 7040 h 9694"/>
                    <a:gd name="connsiteX117" fmla="*/ 5944 w 10000"/>
                    <a:gd name="connsiteY117" fmla="*/ 6932 h 9694"/>
                    <a:gd name="connsiteX118" fmla="*/ 5889 w 10000"/>
                    <a:gd name="connsiteY118" fmla="*/ 6909 h 9694"/>
                    <a:gd name="connsiteX119" fmla="*/ 5778 w 10000"/>
                    <a:gd name="connsiteY119" fmla="*/ 6889 h 9694"/>
                    <a:gd name="connsiteX120" fmla="*/ 5667 w 10000"/>
                    <a:gd name="connsiteY120" fmla="*/ 6889 h 9694"/>
                    <a:gd name="connsiteX121" fmla="*/ 5500 w 10000"/>
                    <a:gd name="connsiteY121" fmla="*/ 6909 h 9694"/>
                    <a:gd name="connsiteX122" fmla="*/ 5500 w 10000"/>
                    <a:gd name="connsiteY122" fmla="*/ 6909 h 9694"/>
                    <a:gd name="connsiteX123" fmla="*/ 4889 w 10000"/>
                    <a:gd name="connsiteY123" fmla="*/ 7063 h 9694"/>
                    <a:gd name="connsiteX124" fmla="*/ 4611 w 10000"/>
                    <a:gd name="connsiteY124" fmla="*/ 7108 h 9694"/>
                    <a:gd name="connsiteX125" fmla="*/ 4556 w 10000"/>
                    <a:gd name="connsiteY125" fmla="*/ 7130 h 9694"/>
                    <a:gd name="connsiteX126" fmla="*/ 4500 w 10000"/>
                    <a:gd name="connsiteY126" fmla="*/ 7108 h 9694"/>
                    <a:gd name="connsiteX127" fmla="*/ 4500 w 10000"/>
                    <a:gd name="connsiteY127" fmla="*/ 7108 h 9694"/>
                    <a:gd name="connsiteX128" fmla="*/ 4222 w 10000"/>
                    <a:gd name="connsiteY128" fmla="*/ 6889 h 9694"/>
                    <a:gd name="connsiteX129" fmla="*/ 4222 w 10000"/>
                    <a:gd name="connsiteY129" fmla="*/ 6889 h 9694"/>
                    <a:gd name="connsiteX130" fmla="*/ 4111 w 10000"/>
                    <a:gd name="connsiteY130" fmla="*/ 6781 h 9694"/>
                    <a:gd name="connsiteX131" fmla="*/ 4111 w 10000"/>
                    <a:gd name="connsiteY131" fmla="*/ 6715 h 9694"/>
                    <a:gd name="connsiteX132" fmla="*/ 4111 w 10000"/>
                    <a:gd name="connsiteY132" fmla="*/ 6650 h 9694"/>
                    <a:gd name="connsiteX133" fmla="*/ 4111 w 10000"/>
                    <a:gd name="connsiteY133" fmla="*/ 6650 h 9694"/>
                    <a:gd name="connsiteX134" fmla="*/ 4278 w 10000"/>
                    <a:gd name="connsiteY134" fmla="*/ 6584 h 9694"/>
                    <a:gd name="connsiteX135" fmla="*/ 4389 w 10000"/>
                    <a:gd name="connsiteY135" fmla="*/ 6563 h 9694"/>
                    <a:gd name="connsiteX136" fmla="*/ 4389 w 10000"/>
                    <a:gd name="connsiteY136" fmla="*/ 6563 h 9694"/>
                    <a:gd name="connsiteX137" fmla="*/ 4000 w 10000"/>
                    <a:gd name="connsiteY137" fmla="*/ 6563 h 9694"/>
                    <a:gd name="connsiteX138" fmla="*/ 3722 w 10000"/>
                    <a:gd name="connsiteY138" fmla="*/ 6584 h 9694"/>
                    <a:gd name="connsiteX139" fmla="*/ 3611 w 10000"/>
                    <a:gd name="connsiteY139" fmla="*/ 6608 h 9694"/>
                    <a:gd name="connsiteX140" fmla="*/ 3556 w 10000"/>
                    <a:gd name="connsiteY140" fmla="*/ 6630 h 9694"/>
                    <a:gd name="connsiteX141" fmla="*/ 3556 w 10000"/>
                    <a:gd name="connsiteY141" fmla="*/ 6630 h 9694"/>
                    <a:gd name="connsiteX142" fmla="*/ 3444 w 10000"/>
                    <a:gd name="connsiteY142" fmla="*/ 6715 h 9694"/>
                    <a:gd name="connsiteX143" fmla="*/ 3278 w 10000"/>
                    <a:gd name="connsiteY143" fmla="*/ 6848 h 9694"/>
                    <a:gd name="connsiteX144" fmla="*/ 3000 w 10000"/>
                    <a:gd name="connsiteY144" fmla="*/ 6998 h 9694"/>
                    <a:gd name="connsiteX145" fmla="*/ 2667 w 10000"/>
                    <a:gd name="connsiteY145" fmla="*/ 7108 h 9694"/>
                    <a:gd name="connsiteX146" fmla="*/ 2667 w 10000"/>
                    <a:gd name="connsiteY146" fmla="*/ 7108 h 9694"/>
                    <a:gd name="connsiteX147" fmla="*/ 2333 w 10000"/>
                    <a:gd name="connsiteY147" fmla="*/ 7196 h 9694"/>
                    <a:gd name="connsiteX148" fmla="*/ 1833 w 10000"/>
                    <a:gd name="connsiteY148" fmla="*/ 7283 h 9694"/>
                    <a:gd name="connsiteX149" fmla="*/ 1389 w 10000"/>
                    <a:gd name="connsiteY149" fmla="*/ 7326 h 9694"/>
                    <a:gd name="connsiteX150" fmla="*/ 889 w 10000"/>
                    <a:gd name="connsiteY150" fmla="*/ 7347 h 9694"/>
                    <a:gd name="connsiteX151" fmla="*/ 889 w 10000"/>
                    <a:gd name="connsiteY151" fmla="*/ 7347 h 9694"/>
                    <a:gd name="connsiteX152" fmla="*/ 500 w 10000"/>
                    <a:gd name="connsiteY152" fmla="*/ 7372 h 9694"/>
                    <a:gd name="connsiteX153" fmla="*/ 222 w 10000"/>
                    <a:gd name="connsiteY153" fmla="*/ 7390 h 9694"/>
                    <a:gd name="connsiteX154" fmla="*/ 0 w 10000"/>
                    <a:gd name="connsiteY154" fmla="*/ 7411 h 9694"/>
                    <a:gd name="connsiteX155" fmla="*/ 0 w 10000"/>
                    <a:gd name="connsiteY155" fmla="*/ 7411 h 9694"/>
                    <a:gd name="connsiteX156" fmla="*/ 278 w 10000"/>
                    <a:gd name="connsiteY156" fmla="*/ 7761 h 9694"/>
                    <a:gd name="connsiteX157" fmla="*/ 500 w 10000"/>
                    <a:gd name="connsiteY157" fmla="*/ 8018 h 9694"/>
                    <a:gd name="connsiteX158" fmla="*/ 722 w 10000"/>
                    <a:gd name="connsiteY158" fmla="*/ 8237 h 9694"/>
                    <a:gd name="connsiteX159" fmla="*/ 722 w 10000"/>
                    <a:gd name="connsiteY159" fmla="*/ 8237 h 9694"/>
                    <a:gd name="connsiteX160" fmla="*/ 889 w 10000"/>
                    <a:gd name="connsiteY160" fmla="*/ 8368 h 9694"/>
                    <a:gd name="connsiteX161" fmla="*/ 944 w 10000"/>
                    <a:gd name="connsiteY161" fmla="*/ 8479 h 9694"/>
                    <a:gd name="connsiteX162" fmla="*/ 1111 w 10000"/>
                    <a:gd name="connsiteY162" fmla="*/ 8589 h 9694"/>
                    <a:gd name="connsiteX163" fmla="*/ 1333 w 10000"/>
                    <a:gd name="connsiteY163" fmla="*/ 8757 h 9694"/>
                    <a:gd name="connsiteX164" fmla="*/ 1333 w 10000"/>
                    <a:gd name="connsiteY164" fmla="*/ 8757 h 9694"/>
                    <a:gd name="connsiteX165" fmla="*/ 1444 w 10000"/>
                    <a:gd name="connsiteY165" fmla="*/ 8846 h 9694"/>
                    <a:gd name="connsiteX166" fmla="*/ 1500 w 10000"/>
                    <a:gd name="connsiteY166" fmla="*/ 8911 h 9694"/>
                    <a:gd name="connsiteX167" fmla="*/ 1500 w 10000"/>
                    <a:gd name="connsiteY167" fmla="*/ 8973 h 9694"/>
                    <a:gd name="connsiteX168" fmla="*/ 1556 w 10000"/>
                    <a:gd name="connsiteY168" fmla="*/ 9000 h 9694"/>
                    <a:gd name="connsiteX169" fmla="*/ 1722 w 10000"/>
                    <a:gd name="connsiteY169" fmla="*/ 9019 h 9694"/>
                    <a:gd name="connsiteX170" fmla="*/ 1944 w 10000"/>
                    <a:gd name="connsiteY170" fmla="*/ 9041 h 9694"/>
                    <a:gd name="connsiteX171" fmla="*/ 2944 w 10000"/>
                    <a:gd name="connsiteY171" fmla="*/ 9063 h 9694"/>
                    <a:gd name="connsiteX172" fmla="*/ 2944 w 10000"/>
                    <a:gd name="connsiteY172" fmla="*/ 9063 h 9694"/>
                    <a:gd name="connsiteX173" fmla="*/ 4167 w 10000"/>
                    <a:gd name="connsiteY173" fmla="*/ 9108 h 9694"/>
                    <a:gd name="connsiteX174" fmla="*/ 4889 w 10000"/>
                    <a:gd name="connsiteY174" fmla="*/ 9171 h 9694"/>
                    <a:gd name="connsiteX175" fmla="*/ 5278 w 10000"/>
                    <a:gd name="connsiteY175" fmla="*/ 9239 h 9694"/>
                    <a:gd name="connsiteX176" fmla="*/ 5444 w 10000"/>
                    <a:gd name="connsiteY176" fmla="*/ 9257 h 9694"/>
                    <a:gd name="connsiteX177" fmla="*/ 5444 w 10000"/>
                    <a:gd name="connsiteY177" fmla="*/ 9257 h 9694"/>
                    <a:gd name="connsiteX178" fmla="*/ 5722 w 10000"/>
                    <a:gd name="connsiteY178" fmla="*/ 9304 h 9694"/>
                    <a:gd name="connsiteX179" fmla="*/ 5833 w 10000"/>
                    <a:gd name="connsiteY179" fmla="*/ 9328 h 9694"/>
                    <a:gd name="connsiteX180" fmla="*/ 5833 w 10000"/>
                    <a:gd name="connsiteY180" fmla="*/ 9328 h 9694"/>
                    <a:gd name="connsiteX181" fmla="*/ 5833 w 10000"/>
                    <a:gd name="connsiteY181" fmla="*/ 9304 h 9694"/>
                    <a:gd name="connsiteX182" fmla="*/ 5889 w 10000"/>
                    <a:gd name="connsiteY182" fmla="*/ 9281 h 9694"/>
                    <a:gd name="connsiteX183" fmla="*/ 6000 w 10000"/>
                    <a:gd name="connsiteY183" fmla="*/ 9257 h 9694"/>
                    <a:gd name="connsiteX184" fmla="*/ 6167 w 10000"/>
                    <a:gd name="connsiteY184" fmla="*/ 9239 h 9694"/>
                    <a:gd name="connsiteX185" fmla="*/ 6444 w 10000"/>
                    <a:gd name="connsiteY185" fmla="*/ 9239 h 9694"/>
                    <a:gd name="connsiteX186" fmla="*/ 6833 w 10000"/>
                    <a:gd name="connsiteY186" fmla="*/ 9257 h 9694"/>
                    <a:gd name="connsiteX187" fmla="*/ 7278 w 10000"/>
                    <a:gd name="connsiteY187" fmla="*/ 9328 h 9694"/>
                    <a:gd name="connsiteX188" fmla="*/ 7278 w 10000"/>
                    <a:gd name="connsiteY188" fmla="*/ 9328 h 9694"/>
                    <a:gd name="connsiteX189" fmla="*/ 8722 w 10000"/>
                    <a:gd name="connsiteY189" fmla="*/ 9517 h 9694"/>
                    <a:gd name="connsiteX190" fmla="*/ 10000 w 10000"/>
                    <a:gd name="connsiteY190" fmla="*/ 9694 h 9694"/>
                    <a:gd name="connsiteX0" fmla="*/ 10000 w 10000"/>
                    <a:gd name="connsiteY0" fmla="*/ 8472 h 10000"/>
                    <a:gd name="connsiteX1" fmla="*/ 10000 w 10000"/>
                    <a:gd name="connsiteY1" fmla="*/ 8472 h 10000"/>
                    <a:gd name="connsiteX2" fmla="*/ 9222 w 10000"/>
                    <a:gd name="connsiteY2" fmla="*/ 8497 h 10000"/>
                    <a:gd name="connsiteX3" fmla="*/ 8944 w 10000"/>
                    <a:gd name="connsiteY3" fmla="*/ 8497 h 10000"/>
                    <a:gd name="connsiteX4" fmla="*/ 8833 w 10000"/>
                    <a:gd name="connsiteY4" fmla="*/ 8472 h 10000"/>
                    <a:gd name="connsiteX5" fmla="*/ 8778 w 10000"/>
                    <a:gd name="connsiteY5" fmla="*/ 8453 h 10000"/>
                    <a:gd name="connsiteX6" fmla="*/ 8778 w 10000"/>
                    <a:gd name="connsiteY6" fmla="*/ 8453 h 10000"/>
                    <a:gd name="connsiteX7" fmla="*/ 8444 w 10000"/>
                    <a:gd name="connsiteY7" fmla="*/ 8182 h 10000"/>
                    <a:gd name="connsiteX8" fmla="*/ 8167 w 10000"/>
                    <a:gd name="connsiteY8" fmla="*/ 7935 h 10000"/>
                    <a:gd name="connsiteX9" fmla="*/ 8167 w 10000"/>
                    <a:gd name="connsiteY9" fmla="*/ 7935 h 10000"/>
                    <a:gd name="connsiteX10" fmla="*/ 8056 w 10000"/>
                    <a:gd name="connsiteY10" fmla="*/ 7894 h 10000"/>
                    <a:gd name="connsiteX11" fmla="*/ 7889 w 10000"/>
                    <a:gd name="connsiteY11" fmla="*/ 7850 h 10000"/>
                    <a:gd name="connsiteX12" fmla="*/ 7444 w 10000"/>
                    <a:gd name="connsiteY12" fmla="*/ 7823 h 10000"/>
                    <a:gd name="connsiteX13" fmla="*/ 6889 w 10000"/>
                    <a:gd name="connsiteY13" fmla="*/ 7803 h 10000"/>
                    <a:gd name="connsiteX14" fmla="*/ 6389 w 10000"/>
                    <a:gd name="connsiteY14" fmla="*/ 7803 h 10000"/>
                    <a:gd name="connsiteX15" fmla="*/ 6389 w 10000"/>
                    <a:gd name="connsiteY15" fmla="*/ 7803 h 10000"/>
                    <a:gd name="connsiteX16" fmla="*/ 6167 w 10000"/>
                    <a:gd name="connsiteY16" fmla="*/ 7777 h 10000"/>
                    <a:gd name="connsiteX17" fmla="*/ 6056 w 10000"/>
                    <a:gd name="connsiteY17" fmla="*/ 7737 h 10000"/>
                    <a:gd name="connsiteX18" fmla="*/ 6000 w 10000"/>
                    <a:gd name="connsiteY18" fmla="*/ 7689 h 10000"/>
                    <a:gd name="connsiteX19" fmla="*/ 6000 w 10000"/>
                    <a:gd name="connsiteY19" fmla="*/ 7605 h 10000"/>
                    <a:gd name="connsiteX20" fmla="*/ 6056 w 10000"/>
                    <a:gd name="connsiteY20" fmla="*/ 7423 h 10000"/>
                    <a:gd name="connsiteX21" fmla="*/ 6111 w 10000"/>
                    <a:gd name="connsiteY21" fmla="*/ 7332 h 10000"/>
                    <a:gd name="connsiteX22" fmla="*/ 6056 w 10000"/>
                    <a:gd name="connsiteY22" fmla="*/ 7219 h 10000"/>
                    <a:gd name="connsiteX23" fmla="*/ 6056 w 10000"/>
                    <a:gd name="connsiteY23" fmla="*/ 7219 h 10000"/>
                    <a:gd name="connsiteX24" fmla="*/ 6000 w 10000"/>
                    <a:gd name="connsiteY24" fmla="*/ 7151 h 10000"/>
                    <a:gd name="connsiteX25" fmla="*/ 5944 w 10000"/>
                    <a:gd name="connsiteY25" fmla="*/ 7106 h 10000"/>
                    <a:gd name="connsiteX26" fmla="*/ 5833 w 10000"/>
                    <a:gd name="connsiteY26" fmla="*/ 7106 h 10000"/>
                    <a:gd name="connsiteX27" fmla="*/ 5667 w 10000"/>
                    <a:gd name="connsiteY27" fmla="*/ 7127 h 10000"/>
                    <a:gd name="connsiteX28" fmla="*/ 5333 w 10000"/>
                    <a:gd name="connsiteY28" fmla="*/ 7197 h 10000"/>
                    <a:gd name="connsiteX29" fmla="*/ 4889 w 10000"/>
                    <a:gd name="connsiteY29" fmla="*/ 7309 h 10000"/>
                    <a:gd name="connsiteX30" fmla="*/ 4889 w 10000"/>
                    <a:gd name="connsiteY30" fmla="*/ 7309 h 10000"/>
                    <a:gd name="connsiteX31" fmla="*/ 4611 w 10000"/>
                    <a:gd name="connsiteY31" fmla="*/ 7332 h 10000"/>
                    <a:gd name="connsiteX32" fmla="*/ 4500 w 10000"/>
                    <a:gd name="connsiteY32" fmla="*/ 7332 h 10000"/>
                    <a:gd name="connsiteX33" fmla="*/ 4444 w 10000"/>
                    <a:gd name="connsiteY33" fmla="*/ 7309 h 10000"/>
                    <a:gd name="connsiteX34" fmla="*/ 4389 w 10000"/>
                    <a:gd name="connsiteY34" fmla="*/ 7219 h 10000"/>
                    <a:gd name="connsiteX35" fmla="*/ 4222 w 10000"/>
                    <a:gd name="connsiteY35" fmla="*/ 7106 h 10000"/>
                    <a:gd name="connsiteX36" fmla="*/ 4222 w 10000"/>
                    <a:gd name="connsiteY36" fmla="*/ 7106 h 10000"/>
                    <a:gd name="connsiteX37" fmla="*/ 4111 w 10000"/>
                    <a:gd name="connsiteY37" fmla="*/ 7039 h 10000"/>
                    <a:gd name="connsiteX38" fmla="*/ 4111 w 10000"/>
                    <a:gd name="connsiteY38" fmla="*/ 6972 h 10000"/>
                    <a:gd name="connsiteX39" fmla="*/ 4111 w 10000"/>
                    <a:gd name="connsiteY39" fmla="*/ 6927 h 10000"/>
                    <a:gd name="connsiteX40" fmla="*/ 4167 w 10000"/>
                    <a:gd name="connsiteY40" fmla="*/ 6882 h 10000"/>
                    <a:gd name="connsiteX41" fmla="*/ 4278 w 10000"/>
                    <a:gd name="connsiteY41" fmla="*/ 6792 h 10000"/>
                    <a:gd name="connsiteX42" fmla="*/ 4389 w 10000"/>
                    <a:gd name="connsiteY42" fmla="*/ 6770 h 10000"/>
                    <a:gd name="connsiteX43" fmla="*/ 4389 w 10000"/>
                    <a:gd name="connsiteY43" fmla="*/ 6770 h 10000"/>
                    <a:gd name="connsiteX44" fmla="*/ 4389 w 10000"/>
                    <a:gd name="connsiteY44" fmla="*/ 6746 h 10000"/>
                    <a:gd name="connsiteX45" fmla="*/ 4444 w 10000"/>
                    <a:gd name="connsiteY45" fmla="*/ 6729 h 10000"/>
                    <a:gd name="connsiteX46" fmla="*/ 4667 w 10000"/>
                    <a:gd name="connsiteY46" fmla="*/ 6703 h 10000"/>
                    <a:gd name="connsiteX47" fmla="*/ 5333 w 10000"/>
                    <a:gd name="connsiteY47" fmla="*/ 6661 h 10000"/>
                    <a:gd name="connsiteX48" fmla="*/ 6500 w 10000"/>
                    <a:gd name="connsiteY48" fmla="*/ 6590 h 10000"/>
                    <a:gd name="connsiteX49" fmla="*/ 6500 w 10000"/>
                    <a:gd name="connsiteY49" fmla="*/ 6590 h 10000"/>
                    <a:gd name="connsiteX50" fmla="*/ 7167 w 10000"/>
                    <a:gd name="connsiteY50" fmla="*/ 6525 h 10000"/>
                    <a:gd name="connsiteX51" fmla="*/ 8389 w 10000"/>
                    <a:gd name="connsiteY51" fmla="*/ 6392 h 10000"/>
                    <a:gd name="connsiteX52" fmla="*/ 8389 w 10000"/>
                    <a:gd name="connsiteY52" fmla="*/ 6392 h 10000"/>
                    <a:gd name="connsiteX53" fmla="*/ 8667 w 10000"/>
                    <a:gd name="connsiteY53" fmla="*/ 6343 h 10000"/>
                    <a:gd name="connsiteX54" fmla="*/ 8778 w 10000"/>
                    <a:gd name="connsiteY54" fmla="*/ 6274 h 10000"/>
                    <a:gd name="connsiteX55" fmla="*/ 8889 w 10000"/>
                    <a:gd name="connsiteY55" fmla="*/ 6232 h 10000"/>
                    <a:gd name="connsiteX56" fmla="*/ 8833 w 10000"/>
                    <a:gd name="connsiteY56" fmla="*/ 6187 h 10000"/>
                    <a:gd name="connsiteX57" fmla="*/ 8833 w 10000"/>
                    <a:gd name="connsiteY57" fmla="*/ 6145 h 10000"/>
                    <a:gd name="connsiteX58" fmla="*/ 8722 w 10000"/>
                    <a:gd name="connsiteY58" fmla="*/ 6096 h 10000"/>
                    <a:gd name="connsiteX59" fmla="*/ 8556 w 10000"/>
                    <a:gd name="connsiteY59" fmla="*/ 6030 h 10000"/>
                    <a:gd name="connsiteX60" fmla="*/ 8556 w 10000"/>
                    <a:gd name="connsiteY60" fmla="*/ 6030 h 10000"/>
                    <a:gd name="connsiteX61" fmla="*/ 6556 w 10000"/>
                    <a:gd name="connsiteY61" fmla="*/ 5630 h 10000"/>
                    <a:gd name="connsiteX62" fmla="*/ 6556 w 10000"/>
                    <a:gd name="connsiteY62" fmla="*/ 5630 h 10000"/>
                    <a:gd name="connsiteX63" fmla="*/ 6333 w 10000"/>
                    <a:gd name="connsiteY63" fmla="*/ 5561 h 10000"/>
                    <a:gd name="connsiteX64" fmla="*/ 6167 w 10000"/>
                    <a:gd name="connsiteY64" fmla="*/ 5493 h 10000"/>
                    <a:gd name="connsiteX65" fmla="*/ 6056 w 10000"/>
                    <a:gd name="connsiteY65" fmla="*/ 5423 h 10000"/>
                    <a:gd name="connsiteX66" fmla="*/ 6056 w 10000"/>
                    <a:gd name="connsiteY66" fmla="*/ 5423 h 10000"/>
                    <a:gd name="connsiteX67" fmla="*/ 8056 w 10000"/>
                    <a:gd name="connsiteY67" fmla="*/ 5402 h 10000"/>
                    <a:gd name="connsiteX68" fmla="*/ 10000 w 10000"/>
                    <a:gd name="connsiteY68" fmla="*/ 5630 h 10000"/>
                    <a:gd name="connsiteX69" fmla="*/ 10000 w 10000"/>
                    <a:gd name="connsiteY69" fmla="*/ 3587 h 10000"/>
                    <a:gd name="connsiteX70" fmla="*/ 2889 w 10000"/>
                    <a:gd name="connsiteY70" fmla="*/ 1210 h 10000"/>
                    <a:gd name="connsiteX71" fmla="*/ 2000 w 10000"/>
                    <a:gd name="connsiteY71" fmla="*/ 1164 h 10000"/>
                    <a:gd name="connsiteX72" fmla="*/ 1889 w 10000"/>
                    <a:gd name="connsiteY72" fmla="*/ 1142 h 10000"/>
                    <a:gd name="connsiteX73" fmla="*/ 1778 w 10000"/>
                    <a:gd name="connsiteY73" fmla="*/ 1117 h 10000"/>
                    <a:gd name="connsiteX74" fmla="*/ 1778 w 10000"/>
                    <a:gd name="connsiteY74" fmla="*/ 1117 h 10000"/>
                    <a:gd name="connsiteX75" fmla="*/ 1667 w 10000"/>
                    <a:gd name="connsiteY75" fmla="*/ 1030 h 10000"/>
                    <a:gd name="connsiteX76" fmla="*/ 1500 w 10000"/>
                    <a:gd name="connsiteY76" fmla="*/ 873 h 10000"/>
                    <a:gd name="connsiteX77" fmla="*/ 1444 w 10000"/>
                    <a:gd name="connsiteY77" fmla="*/ 783 h 10000"/>
                    <a:gd name="connsiteX78" fmla="*/ 1444 w 10000"/>
                    <a:gd name="connsiteY78" fmla="*/ 693 h 10000"/>
                    <a:gd name="connsiteX79" fmla="*/ 1444 w 10000"/>
                    <a:gd name="connsiteY79" fmla="*/ 626 h 10000"/>
                    <a:gd name="connsiteX80" fmla="*/ 1556 w 10000"/>
                    <a:gd name="connsiteY80" fmla="*/ 558 h 10000"/>
                    <a:gd name="connsiteX81" fmla="*/ 1556 w 10000"/>
                    <a:gd name="connsiteY81" fmla="*/ 558 h 10000"/>
                    <a:gd name="connsiteX82" fmla="*/ 1833 w 10000"/>
                    <a:gd name="connsiteY82" fmla="*/ 447 h 10000"/>
                    <a:gd name="connsiteX83" fmla="*/ 2111 w 10000"/>
                    <a:gd name="connsiteY83" fmla="*/ 331 h 10000"/>
                    <a:gd name="connsiteX84" fmla="*/ 2278 w 10000"/>
                    <a:gd name="connsiteY84" fmla="*/ 266 h 10000"/>
                    <a:gd name="connsiteX85" fmla="*/ 2389 w 10000"/>
                    <a:gd name="connsiteY85" fmla="*/ 201 h 10000"/>
                    <a:gd name="connsiteX86" fmla="*/ 2389 w 10000"/>
                    <a:gd name="connsiteY86" fmla="*/ 109 h 10000"/>
                    <a:gd name="connsiteX87" fmla="*/ 2389 w 10000"/>
                    <a:gd name="connsiteY87" fmla="*/ 0 h 10000"/>
                    <a:gd name="connsiteX88" fmla="*/ 10000 w 10000"/>
                    <a:gd name="connsiteY88" fmla="*/ 8497 h 10000"/>
                    <a:gd name="connsiteX89" fmla="*/ 10000 w 10000"/>
                    <a:gd name="connsiteY89" fmla="*/ 8497 h 10000"/>
                    <a:gd name="connsiteX90" fmla="*/ 9722 w 10000"/>
                    <a:gd name="connsiteY90" fmla="*/ 8472 h 10000"/>
                    <a:gd name="connsiteX91" fmla="*/ 9389 w 10000"/>
                    <a:gd name="connsiteY91" fmla="*/ 8497 h 10000"/>
                    <a:gd name="connsiteX92" fmla="*/ 9389 w 10000"/>
                    <a:gd name="connsiteY92" fmla="*/ 8497 h 10000"/>
                    <a:gd name="connsiteX93" fmla="*/ 9278 w 10000"/>
                    <a:gd name="connsiteY93" fmla="*/ 8524 h 10000"/>
                    <a:gd name="connsiteX94" fmla="*/ 9056 w 10000"/>
                    <a:gd name="connsiteY94" fmla="*/ 8497 h 10000"/>
                    <a:gd name="connsiteX95" fmla="*/ 8889 w 10000"/>
                    <a:gd name="connsiteY95" fmla="*/ 8472 h 10000"/>
                    <a:gd name="connsiteX96" fmla="*/ 8722 w 10000"/>
                    <a:gd name="connsiteY96" fmla="*/ 8430 h 10000"/>
                    <a:gd name="connsiteX97" fmla="*/ 8611 w 10000"/>
                    <a:gd name="connsiteY97" fmla="*/ 8361 h 10000"/>
                    <a:gd name="connsiteX98" fmla="*/ 8444 w 10000"/>
                    <a:gd name="connsiteY98" fmla="*/ 8248 h 10000"/>
                    <a:gd name="connsiteX99" fmla="*/ 8444 w 10000"/>
                    <a:gd name="connsiteY99" fmla="*/ 8248 h 10000"/>
                    <a:gd name="connsiteX100" fmla="*/ 8222 w 10000"/>
                    <a:gd name="connsiteY100" fmla="*/ 8051 h 10000"/>
                    <a:gd name="connsiteX101" fmla="*/ 8111 w 10000"/>
                    <a:gd name="connsiteY101" fmla="*/ 7961 h 10000"/>
                    <a:gd name="connsiteX102" fmla="*/ 7944 w 10000"/>
                    <a:gd name="connsiteY102" fmla="*/ 7894 h 10000"/>
                    <a:gd name="connsiteX103" fmla="*/ 7778 w 10000"/>
                    <a:gd name="connsiteY103" fmla="*/ 7850 h 10000"/>
                    <a:gd name="connsiteX104" fmla="*/ 7556 w 10000"/>
                    <a:gd name="connsiteY104" fmla="*/ 7823 h 10000"/>
                    <a:gd name="connsiteX105" fmla="*/ 7333 w 10000"/>
                    <a:gd name="connsiteY105" fmla="*/ 7803 h 10000"/>
                    <a:gd name="connsiteX106" fmla="*/ 7000 w 10000"/>
                    <a:gd name="connsiteY106" fmla="*/ 7777 h 10000"/>
                    <a:gd name="connsiteX107" fmla="*/ 7000 w 10000"/>
                    <a:gd name="connsiteY107" fmla="*/ 7777 h 10000"/>
                    <a:gd name="connsiteX108" fmla="*/ 6556 w 10000"/>
                    <a:gd name="connsiteY108" fmla="*/ 7803 h 10000"/>
                    <a:gd name="connsiteX109" fmla="*/ 6222 w 10000"/>
                    <a:gd name="connsiteY109" fmla="*/ 7803 h 10000"/>
                    <a:gd name="connsiteX110" fmla="*/ 6111 w 10000"/>
                    <a:gd name="connsiteY110" fmla="*/ 7777 h 10000"/>
                    <a:gd name="connsiteX111" fmla="*/ 6056 w 10000"/>
                    <a:gd name="connsiteY111" fmla="*/ 7756 h 10000"/>
                    <a:gd name="connsiteX112" fmla="*/ 6056 w 10000"/>
                    <a:gd name="connsiteY112" fmla="*/ 7756 h 10000"/>
                    <a:gd name="connsiteX113" fmla="*/ 6056 w 10000"/>
                    <a:gd name="connsiteY113" fmla="*/ 7355 h 10000"/>
                    <a:gd name="connsiteX114" fmla="*/ 6056 w 10000"/>
                    <a:gd name="connsiteY114" fmla="*/ 7355 h 10000"/>
                    <a:gd name="connsiteX115" fmla="*/ 6056 w 10000"/>
                    <a:gd name="connsiteY115" fmla="*/ 7262 h 10000"/>
                    <a:gd name="connsiteX116" fmla="*/ 5944 w 10000"/>
                    <a:gd name="connsiteY116" fmla="*/ 7151 h 10000"/>
                    <a:gd name="connsiteX117" fmla="*/ 5889 w 10000"/>
                    <a:gd name="connsiteY117" fmla="*/ 7127 h 10000"/>
                    <a:gd name="connsiteX118" fmla="*/ 5778 w 10000"/>
                    <a:gd name="connsiteY118" fmla="*/ 7106 h 10000"/>
                    <a:gd name="connsiteX119" fmla="*/ 5667 w 10000"/>
                    <a:gd name="connsiteY119" fmla="*/ 7106 h 10000"/>
                    <a:gd name="connsiteX120" fmla="*/ 5500 w 10000"/>
                    <a:gd name="connsiteY120" fmla="*/ 7127 h 10000"/>
                    <a:gd name="connsiteX121" fmla="*/ 5500 w 10000"/>
                    <a:gd name="connsiteY121" fmla="*/ 7127 h 10000"/>
                    <a:gd name="connsiteX122" fmla="*/ 4889 w 10000"/>
                    <a:gd name="connsiteY122" fmla="*/ 7286 h 10000"/>
                    <a:gd name="connsiteX123" fmla="*/ 4611 w 10000"/>
                    <a:gd name="connsiteY123" fmla="*/ 7332 h 10000"/>
                    <a:gd name="connsiteX124" fmla="*/ 4556 w 10000"/>
                    <a:gd name="connsiteY124" fmla="*/ 7355 h 10000"/>
                    <a:gd name="connsiteX125" fmla="*/ 4500 w 10000"/>
                    <a:gd name="connsiteY125" fmla="*/ 7332 h 10000"/>
                    <a:gd name="connsiteX126" fmla="*/ 4500 w 10000"/>
                    <a:gd name="connsiteY126" fmla="*/ 7332 h 10000"/>
                    <a:gd name="connsiteX127" fmla="*/ 4222 w 10000"/>
                    <a:gd name="connsiteY127" fmla="*/ 7106 h 10000"/>
                    <a:gd name="connsiteX128" fmla="*/ 4222 w 10000"/>
                    <a:gd name="connsiteY128" fmla="*/ 7106 h 10000"/>
                    <a:gd name="connsiteX129" fmla="*/ 4111 w 10000"/>
                    <a:gd name="connsiteY129" fmla="*/ 6995 h 10000"/>
                    <a:gd name="connsiteX130" fmla="*/ 4111 w 10000"/>
                    <a:gd name="connsiteY130" fmla="*/ 6927 h 10000"/>
                    <a:gd name="connsiteX131" fmla="*/ 4111 w 10000"/>
                    <a:gd name="connsiteY131" fmla="*/ 6860 h 10000"/>
                    <a:gd name="connsiteX132" fmla="*/ 4111 w 10000"/>
                    <a:gd name="connsiteY132" fmla="*/ 6860 h 10000"/>
                    <a:gd name="connsiteX133" fmla="*/ 4278 w 10000"/>
                    <a:gd name="connsiteY133" fmla="*/ 6792 h 10000"/>
                    <a:gd name="connsiteX134" fmla="*/ 4389 w 10000"/>
                    <a:gd name="connsiteY134" fmla="*/ 6770 h 10000"/>
                    <a:gd name="connsiteX135" fmla="*/ 4389 w 10000"/>
                    <a:gd name="connsiteY135" fmla="*/ 6770 h 10000"/>
                    <a:gd name="connsiteX136" fmla="*/ 4000 w 10000"/>
                    <a:gd name="connsiteY136" fmla="*/ 6770 h 10000"/>
                    <a:gd name="connsiteX137" fmla="*/ 3722 w 10000"/>
                    <a:gd name="connsiteY137" fmla="*/ 6792 h 10000"/>
                    <a:gd name="connsiteX138" fmla="*/ 3611 w 10000"/>
                    <a:gd name="connsiteY138" fmla="*/ 6817 h 10000"/>
                    <a:gd name="connsiteX139" fmla="*/ 3556 w 10000"/>
                    <a:gd name="connsiteY139" fmla="*/ 6839 h 10000"/>
                    <a:gd name="connsiteX140" fmla="*/ 3556 w 10000"/>
                    <a:gd name="connsiteY140" fmla="*/ 6839 h 10000"/>
                    <a:gd name="connsiteX141" fmla="*/ 3444 w 10000"/>
                    <a:gd name="connsiteY141" fmla="*/ 6927 h 10000"/>
                    <a:gd name="connsiteX142" fmla="*/ 3278 w 10000"/>
                    <a:gd name="connsiteY142" fmla="*/ 7064 h 10000"/>
                    <a:gd name="connsiteX143" fmla="*/ 3000 w 10000"/>
                    <a:gd name="connsiteY143" fmla="*/ 7219 h 10000"/>
                    <a:gd name="connsiteX144" fmla="*/ 2667 w 10000"/>
                    <a:gd name="connsiteY144" fmla="*/ 7332 h 10000"/>
                    <a:gd name="connsiteX145" fmla="*/ 2667 w 10000"/>
                    <a:gd name="connsiteY145" fmla="*/ 7332 h 10000"/>
                    <a:gd name="connsiteX146" fmla="*/ 2333 w 10000"/>
                    <a:gd name="connsiteY146" fmla="*/ 7423 h 10000"/>
                    <a:gd name="connsiteX147" fmla="*/ 1833 w 10000"/>
                    <a:gd name="connsiteY147" fmla="*/ 7513 h 10000"/>
                    <a:gd name="connsiteX148" fmla="*/ 1389 w 10000"/>
                    <a:gd name="connsiteY148" fmla="*/ 7557 h 10000"/>
                    <a:gd name="connsiteX149" fmla="*/ 889 w 10000"/>
                    <a:gd name="connsiteY149" fmla="*/ 7579 h 10000"/>
                    <a:gd name="connsiteX150" fmla="*/ 889 w 10000"/>
                    <a:gd name="connsiteY150" fmla="*/ 7579 h 10000"/>
                    <a:gd name="connsiteX151" fmla="*/ 500 w 10000"/>
                    <a:gd name="connsiteY151" fmla="*/ 7605 h 10000"/>
                    <a:gd name="connsiteX152" fmla="*/ 222 w 10000"/>
                    <a:gd name="connsiteY152" fmla="*/ 7623 h 10000"/>
                    <a:gd name="connsiteX153" fmla="*/ 0 w 10000"/>
                    <a:gd name="connsiteY153" fmla="*/ 7645 h 10000"/>
                    <a:gd name="connsiteX154" fmla="*/ 0 w 10000"/>
                    <a:gd name="connsiteY154" fmla="*/ 7645 h 10000"/>
                    <a:gd name="connsiteX155" fmla="*/ 278 w 10000"/>
                    <a:gd name="connsiteY155" fmla="*/ 8006 h 10000"/>
                    <a:gd name="connsiteX156" fmla="*/ 500 w 10000"/>
                    <a:gd name="connsiteY156" fmla="*/ 8271 h 10000"/>
                    <a:gd name="connsiteX157" fmla="*/ 722 w 10000"/>
                    <a:gd name="connsiteY157" fmla="*/ 8497 h 10000"/>
                    <a:gd name="connsiteX158" fmla="*/ 722 w 10000"/>
                    <a:gd name="connsiteY158" fmla="*/ 8497 h 10000"/>
                    <a:gd name="connsiteX159" fmla="*/ 889 w 10000"/>
                    <a:gd name="connsiteY159" fmla="*/ 8632 h 10000"/>
                    <a:gd name="connsiteX160" fmla="*/ 944 w 10000"/>
                    <a:gd name="connsiteY160" fmla="*/ 8747 h 10000"/>
                    <a:gd name="connsiteX161" fmla="*/ 1111 w 10000"/>
                    <a:gd name="connsiteY161" fmla="*/ 8860 h 10000"/>
                    <a:gd name="connsiteX162" fmla="*/ 1333 w 10000"/>
                    <a:gd name="connsiteY162" fmla="*/ 9033 h 10000"/>
                    <a:gd name="connsiteX163" fmla="*/ 1333 w 10000"/>
                    <a:gd name="connsiteY163" fmla="*/ 9033 h 10000"/>
                    <a:gd name="connsiteX164" fmla="*/ 1444 w 10000"/>
                    <a:gd name="connsiteY164" fmla="*/ 9125 h 10000"/>
                    <a:gd name="connsiteX165" fmla="*/ 1500 w 10000"/>
                    <a:gd name="connsiteY165" fmla="*/ 9192 h 10000"/>
                    <a:gd name="connsiteX166" fmla="*/ 1500 w 10000"/>
                    <a:gd name="connsiteY166" fmla="*/ 9256 h 10000"/>
                    <a:gd name="connsiteX167" fmla="*/ 1556 w 10000"/>
                    <a:gd name="connsiteY167" fmla="*/ 9284 h 10000"/>
                    <a:gd name="connsiteX168" fmla="*/ 1722 w 10000"/>
                    <a:gd name="connsiteY168" fmla="*/ 9304 h 10000"/>
                    <a:gd name="connsiteX169" fmla="*/ 1944 w 10000"/>
                    <a:gd name="connsiteY169" fmla="*/ 9326 h 10000"/>
                    <a:gd name="connsiteX170" fmla="*/ 2944 w 10000"/>
                    <a:gd name="connsiteY170" fmla="*/ 9349 h 10000"/>
                    <a:gd name="connsiteX171" fmla="*/ 2944 w 10000"/>
                    <a:gd name="connsiteY171" fmla="*/ 9349 h 10000"/>
                    <a:gd name="connsiteX172" fmla="*/ 4167 w 10000"/>
                    <a:gd name="connsiteY172" fmla="*/ 9396 h 10000"/>
                    <a:gd name="connsiteX173" fmla="*/ 4889 w 10000"/>
                    <a:gd name="connsiteY173" fmla="*/ 9460 h 10000"/>
                    <a:gd name="connsiteX174" fmla="*/ 5278 w 10000"/>
                    <a:gd name="connsiteY174" fmla="*/ 9531 h 10000"/>
                    <a:gd name="connsiteX175" fmla="*/ 5444 w 10000"/>
                    <a:gd name="connsiteY175" fmla="*/ 9549 h 10000"/>
                    <a:gd name="connsiteX176" fmla="*/ 5444 w 10000"/>
                    <a:gd name="connsiteY176" fmla="*/ 9549 h 10000"/>
                    <a:gd name="connsiteX177" fmla="*/ 5722 w 10000"/>
                    <a:gd name="connsiteY177" fmla="*/ 9598 h 10000"/>
                    <a:gd name="connsiteX178" fmla="*/ 5833 w 10000"/>
                    <a:gd name="connsiteY178" fmla="*/ 9622 h 10000"/>
                    <a:gd name="connsiteX179" fmla="*/ 5833 w 10000"/>
                    <a:gd name="connsiteY179" fmla="*/ 9622 h 10000"/>
                    <a:gd name="connsiteX180" fmla="*/ 5833 w 10000"/>
                    <a:gd name="connsiteY180" fmla="*/ 9598 h 10000"/>
                    <a:gd name="connsiteX181" fmla="*/ 5889 w 10000"/>
                    <a:gd name="connsiteY181" fmla="*/ 9574 h 10000"/>
                    <a:gd name="connsiteX182" fmla="*/ 6000 w 10000"/>
                    <a:gd name="connsiteY182" fmla="*/ 9549 h 10000"/>
                    <a:gd name="connsiteX183" fmla="*/ 6167 w 10000"/>
                    <a:gd name="connsiteY183" fmla="*/ 9531 h 10000"/>
                    <a:gd name="connsiteX184" fmla="*/ 6444 w 10000"/>
                    <a:gd name="connsiteY184" fmla="*/ 9531 h 10000"/>
                    <a:gd name="connsiteX185" fmla="*/ 6833 w 10000"/>
                    <a:gd name="connsiteY185" fmla="*/ 9549 h 10000"/>
                    <a:gd name="connsiteX186" fmla="*/ 7278 w 10000"/>
                    <a:gd name="connsiteY186" fmla="*/ 9622 h 10000"/>
                    <a:gd name="connsiteX187" fmla="*/ 7278 w 10000"/>
                    <a:gd name="connsiteY187" fmla="*/ 9622 h 10000"/>
                    <a:gd name="connsiteX188" fmla="*/ 8722 w 10000"/>
                    <a:gd name="connsiteY188" fmla="*/ 9817 h 10000"/>
                    <a:gd name="connsiteX189" fmla="*/ 10000 w 10000"/>
                    <a:gd name="connsiteY189" fmla="*/ 10000 h 10000"/>
                    <a:gd name="connsiteX0" fmla="*/ 10000 w 10000"/>
                    <a:gd name="connsiteY0" fmla="*/ 8363 h 9891"/>
                    <a:gd name="connsiteX1" fmla="*/ 10000 w 10000"/>
                    <a:gd name="connsiteY1" fmla="*/ 8363 h 9891"/>
                    <a:gd name="connsiteX2" fmla="*/ 9222 w 10000"/>
                    <a:gd name="connsiteY2" fmla="*/ 8388 h 9891"/>
                    <a:gd name="connsiteX3" fmla="*/ 8944 w 10000"/>
                    <a:gd name="connsiteY3" fmla="*/ 8388 h 9891"/>
                    <a:gd name="connsiteX4" fmla="*/ 8833 w 10000"/>
                    <a:gd name="connsiteY4" fmla="*/ 8363 h 9891"/>
                    <a:gd name="connsiteX5" fmla="*/ 8778 w 10000"/>
                    <a:gd name="connsiteY5" fmla="*/ 8344 h 9891"/>
                    <a:gd name="connsiteX6" fmla="*/ 8778 w 10000"/>
                    <a:gd name="connsiteY6" fmla="*/ 8344 h 9891"/>
                    <a:gd name="connsiteX7" fmla="*/ 8444 w 10000"/>
                    <a:gd name="connsiteY7" fmla="*/ 8073 h 9891"/>
                    <a:gd name="connsiteX8" fmla="*/ 8167 w 10000"/>
                    <a:gd name="connsiteY8" fmla="*/ 7826 h 9891"/>
                    <a:gd name="connsiteX9" fmla="*/ 8167 w 10000"/>
                    <a:gd name="connsiteY9" fmla="*/ 7826 h 9891"/>
                    <a:gd name="connsiteX10" fmla="*/ 8056 w 10000"/>
                    <a:gd name="connsiteY10" fmla="*/ 7785 h 9891"/>
                    <a:gd name="connsiteX11" fmla="*/ 7889 w 10000"/>
                    <a:gd name="connsiteY11" fmla="*/ 7741 h 9891"/>
                    <a:gd name="connsiteX12" fmla="*/ 7444 w 10000"/>
                    <a:gd name="connsiteY12" fmla="*/ 7714 h 9891"/>
                    <a:gd name="connsiteX13" fmla="*/ 6889 w 10000"/>
                    <a:gd name="connsiteY13" fmla="*/ 7694 h 9891"/>
                    <a:gd name="connsiteX14" fmla="*/ 6389 w 10000"/>
                    <a:gd name="connsiteY14" fmla="*/ 7694 h 9891"/>
                    <a:gd name="connsiteX15" fmla="*/ 6389 w 10000"/>
                    <a:gd name="connsiteY15" fmla="*/ 7694 h 9891"/>
                    <a:gd name="connsiteX16" fmla="*/ 6167 w 10000"/>
                    <a:gd name="connsiteY16" fmla="*/ 7668 h 9891"/>
                    <a:gd name="connsiteX17" fmla="*/ 6056 w 10000"/>
                    <a:gd name="connsiteY17" fmla="*/ 7628 h 9891"/>
                    <a:gd name="connsiteX18" fmla="*/ 6000 w 10000"/>
                    <a:gd name="connsiteY18" fmla="*/ 7580 h 9891"/>
                    <a:gd name="connsiteX19" fmla="*/ 6000 w 10000"/>
                    <a:gd name="connsiteY19" fmla="*/ 7496 h 9891"/>
                    <a:gd name="connsiteX20" fmla="*/ 6056 w 10000"/>
                    <a:gd name="connsiteY20" fmla="*/ 7314 h 9891"/>
                    <a:gd name="connsiteX21" fmla="*/ 6111 w 10000"/>
                    <a:gd name="connsiteY21" fmla="*/ 7223 h 9891"/>
                    <a:gd name="connsiteX22" fmla="*/ 6056 w 10000"/>
                    <a:gd name="connsiteY22" fmla="*/ 7110 h 9891"/>
                    <a:gd name="connsiteX23" fmla="*/ 6056 w 10000"/>
                    <a:gd name="connsiteY23" fmla="*/ 7110 h 9891"/>
                    <a:gd name="connsiteX24" fmla="*/ 6000 w 10000"/>
                    <a:gd name="connsiteY24" fmla="*/ 7042 h 9891"/>
                    <a:gd name="connsiteX25" fmla="*/ 5944 w 10000"/>
                    <a:gd name="connsiteY25" fmla="*/ 6997 h 9891"/>
                    <a:gd name="connsiteX26" fmla="*/ 5833 w 10000"/>
                    <a:gd name="connsiteY26" fmla="*/ 6997 h 9891"/>
                    <a:gd name="connsiteX27" fmla="*/ 5667 w 10000"/>
                    <a:gd name="connsiteY27" fmla="*/ 7018 h 9891"/>
                    <a:gd name="connsiteX28" fmla="*/ 5333 w 10000"/>
                    <a:gd name="connsiteY28" fmla="*/ 7088 h 9891"/>
                    <a:gd name="connsiteX29" fmla="*/ 4889 w 10000"/>
                    <a:gd name="connsiteY29" fmla="*/ 7200 h 9891"/>
                    <a:gd name="connsiteX30" fmla="*/ 4889 w 10000"/>
                    <a:gd name="connsiteY30" fmla="*/ 7200 h 9891"/>
                    <a:gd name="connsiteX31" fmla="*/ 4611 w 10000"/>
                    <a:gd name="connsiteY31" fmla="*/ 7223 h 9891"/>
                    <a:gd name="connsiteX32" fmla="*/ 4500 w 10000"/>
                    <a:gd name="connsiteY32" fmla="*/ 7223 h 9891"/>
                    <a:gd name="connsiteX33" fmla="*/ 4444 w 10000"/>
                    <a:gd name="connsiteY33" fmla="*/ 7200 h 9891"/>
                    <a:gd name="connsiteX34" fmla="*/ 4389 w 10000"/>
                    <a:gd name="connsiteY34" fmla="*/ 7110 h 9891"/>
                    <a:gd name="connsiteX35" fmla="*/ 4222 w 10000"/>
                    <a:gd name="connsiteY35" fmla="*/ 6997 h 9891"/>
                    <a:gd name="connsiteX36" fmla="*/ 4222 w 10000"/>
                    <a:gd name="connsiteY36" fmla="*/ 6997 h 9891"/>
                    <a:gd name="connsiteX37" fmla="*/ 4111 w 10000"/>
                    <a:gd name="connsiteY37" fmla="*/ 6930 h 9891"/>
                    <a:gd name="connsiteX38" fmla="*/ 4111 w 10000"/>
                    <a:gd name="connsiteY38" fmla="*/ 6863 h 9891"/>
                    <a:gd name="connsiteX39" fmla="*/ 4111 w 10000"/>
                    <a:gd name="connsiteY39" fmla="*/ 6818 h 9891"/>
                    <a:gd name="connsiteX40" fmla="*/ 4167 w 10000"/>
                    <a:gd name="connsiteY40" fmla="*/ 6773 h 9891"/>
                    <a:gd name="connsiteX41" fmla="*/ 4278 w 10000"/>
                    <a:gd name="connsiteY41" fmla="*/ 6683 h 9891"/>
                    <a:gd name="connsiteX42" fmla="*/ 4389 w 10000"/>
                    <a:gd name="connsiteY42" fmla="*/ 6661 h 9891"/>
                    <a:gd name="connsiteX43" fmla="*/ 4389 w 10000"/>
                    <a:gd name="connsiteY43" fmla="*/ 6661 h 9891"/>
                    <a:gd name="connsiteX44" fmla="*/ 4389 w 10000"/>
                    <a:gd name="connsiteY44" fmla="*/ 6637 h 9891"/>
                    <a:gd name="connsiteX45" fmla="*/ 4444 w 10000"/>
                    <a:gd name="connsiteY45" fmla="*/ 6620 h 9891"/>
                    <a:gd name="connsiteX46" fmla="*/ 4667 w 10000"/>
                    <a:gd name="connsiteY46" fmla="*/ 6594 h 9891"/>
                    <a:gd name="connsiteX47" fmla="*/ 5333 w 10000"/>
                    <a:gd name="connsiteY47" fmla="*/ 6552 h 9891"/>
                    <a:gd name="connsiteX48" fmla="*/ 6500 w 10000"/>
                    <a:gd name="connsiteY48" fmla="*/ 6481 h 9891"/>
                    <a:gd name="connsiteX49" fmla="*/ 6500 w 10000"/>
                    <a:gd name="connsiteY49" fmla="*/ 6481 h 9891"/>
                    <a:gd name="connsiteX50" fmla="*/ 7167 w 10000"/>
                    <a:gd name="connsiteY50" fmla="*/ 6416 h 9891"/>
                    <a:gd name="connsiteX51" fmla="*/ 8389 w 10000"/>
                    <a:gd name="connsiteY51" fmla="*/ 6283 h 9891"/>
                    <a:gd name="connsiteX52" fmla="*/ 8389 w 10000"/>
                    <a:gd name="connsiteY52" fmla="*/ 6283 h 9891"/>
                    <a:gd name="connsiteX53" fmla="*/ 8667 w 10000"/>
                    <a:gd name="connsiteY53" fmla="*/ 6234 h 9891"/>
                    <a:gd name="connsiteX54" fmla="*/ 8778 w 10000"/>
                    <a:gd name="connsiteY54" fmla="*/ 6165 h 9891"/>
                    <a:gd name="connsiteX55" fmla="*/ 8889 w 10000"/>
                    <a:gd name="connsiteY55" fmla="*/ 6123 h 9891"/>
                    <a:gd name="connsiteX56" fmla="*/ 8833 w 10000"/>
                    <a:gd name="connsiteY56" fmla="*/ 6078 h 9891"/>
                    <a:gd name="connsiteX57" fmla="*/ 8833 w 10000"/>
                    <a:gd name="connsiteY57" fmla="*/ 6036 h 9891"/>
                    <a:gd name="connsiteX58" fmla="*/ 8722 w 10000"/>
                    <a:gd name="connsiteY58" fmla="*/ 5987 h 9891"/>
                    <a:gd name="connsiteX59" fmla="*/ 8556 w 10000"/>
                    <a:gd name="connsiteY59" fmla="*/ 5921 h 9891"/>
                    <a:gd name="connsiteX60" fmla="*/ 8556 w 10000"/>
                    <a:gd name="connsiteY60" fmla="*/ 5921 h 9891"/>
                    <a:gd name="connsiteX61" fmla="*/ 6556 w 10000"/>
                    <a:gd name="connsiteY61" fmla="*/ 5521 h 9891"/>
                    <a:gd name="connsiteX62" fmla="*/ 6556 w 10000"/>
                    <a:gd name="connsiteY62" fmla="*/ 5521 h 9891"/>
                    <a:gd name="connsiteX63" fmla="*/ 6333 w 10000"/>
                    <a:gd name="connsiteY63" fmla="*/ 5452 h 9891"/>
                    <a:gd name="connsiteX64" fmla="*/ 6167 w 10000"/>
                    <a:gd name="connsiteY64" fmla="*/ 5384 h 9891"/>
                    <a:gd name="connsiteX65" fmla="*/ 6056 w 10000"/>
                    <a:gd name="connsiteY65" fmla="*/ 5314 h 9891"/>
                    <a:gd name="connsiteX66" fmla="*/ 6056 w 10000"/>
                    <a:gd name="connsiteY66" fmla="*/ 5314 h 9891"/>
                    <a:gd name="connsiteX67" fmla="*/ 8056 w 10000"/>
                    <a:gd name="connsiteY67" fmla="*/ 5293 h 9891"/>
                    <a:gd name="connsiteX68" fmla="*/ 10000 w 10000"/>
                    <a:gd name="connsiteY68" fmla="*/ 5521 h 9891"/>
                    <a:gd name="connsiteX69" fmla="*/ 10000 w 10000"/>
                    <a:gd name="connsiteY69" fmla="*/ 3478 h 9891"/>
                    <a:gd name="connsiteX70" fmla="*/ 2889 w 10000"/>
                    <a:gd name="connsiteY70" fmla="*/ 1101 h 9891"/>
                    <a:gd name="connsiteX71" fmla="*/ 2000 w 10000"/>
                    <a:gd name="connsiteY71" fmla="*/ 1055 h 9891"/>
                    <a:gd name="connsiteX72" fmla="*/ 1889 w 10000"/>
                    <a:gd name="connsiteY72" fmla="*/ 1033 h 9891"/>
                    <a:gd name="connsiteX73" fmla="*/ 1778 w 10000"/>
                    <a:gd name="connsiteY73" fmla="*/ 1008 h 9891"/>
                    <a:gd name="connsiteX74" fmla="*/ 1778 w 10000"/>
                    <a:gd name="connsiteY74" fmla="*/ 1008 h 9891"/>
                    <a:gd name="connsiteX75" fmla="*/ 1667 w 10000"/>
                    <a:gd name="connsiteY75" fmla="*/ 921 h 9891"/>
                    <a:gd name="connsiteX76" fmla="*/ 1500 w 10000"/>
                    <a:gd name="connsiteY76" fmla="*/ 764 h 9891"/>
                    <a:gd name="connsiteX77" fmla="*/ 1444 w 10000"/>
                    <a:gd name="connsiteY77" fmla="*/ 674 h 9891"/>
                    <a:gd name="connsiteX78" fmla="*/ 1444 w 10000"/>
                    <a:gd name="connsiteY78" fmla="*/ 584 h 9891"/>
                    <a:gd name="connsiteX79" fmla="*/ 1444 w 10000"/>
                    <a:gd name="connsiteY79" fmla="*/ 517 h 9891"/>
                    <a:gd name="connsiteX80" fmla="*/ 1556 w 10000"/>
                    <a:gd name="connsiteY80" fmla="*/ 449 h 9891"/>
                    <a:gd name="connsiteX81" fmla="*/ 1556 w 10000"/>
                    <a:gd name="connsiteY81" fmla="*/ 449 h 9891"/>
                    <a:gd name="connsiteX82" fmla="*/ 1833 w 10000"/>
                    <a:gd name="connsiteY82" fmla="*/ 338 h 9891"/>
                    <a:gd name="connsiteX83" fmla="*/ 2111 w 10000"/>
                    <a:gd name="connsiteY83" fmla="*/ 222 h 9891"/>
                    <a:gd name="connsiteX84" fmla="*/ 2278 w 10000"/>
                    <a:gd name="connsiteY84" fmla="*/ 157 h 9891"/>
                    <a:gd name="connsiteX85" fmla="*/ 2389 w 10000"/>
                    <a:gd name="connsiteY85" fmla="*/ 92 h 9891"/>
                    <a:gd name="connsiteX86" fmla="*/ 2389 w 10000"/>
                    <a:gd name="connsiteY86" fmla="*/ 0 h 9891"/>
                    <a:gd name="connsiteX87" fmla="*/ 10000 w 10000"/>
                    <a:gd name="connsiteY87" fmla="*/ 8388 h 9891"/>
                    <a:gd name="connsiteX88" fmla="*/ 10000 w 10000"/>
                    <a:gd name="connsiteY88" fmla="*/ 8388 h 9891"/>
                    <a:gd name="connsiteX89" fmla="*/ 9722 w 10000"/>
                    <a:gd name="connsiteY89" fmla="*/ 8363 h 9891"/>
                    <a:gd name="connsiteX90" fmla="*/ 9389 w 10000"/>
                    <a:gd name="connsiteY90" fmla="*/ 8388 h 9891"/>
                    <a:gd name="connsiteX91" fmla="*/ 9389 w 10000"/>
                    <a:gd name="connsiteY91" fmla="*/ 8388 h 9891"/>
                    <a:gd name="connsiteX92" fmla="*/ 9278 w 10000"/>
                    <a:gd name="connsiteY92" fmla="*/ 8415 h 9891"/>
                    <a:gd name="connsiteX93" fmla="*/ 9056 w 10000"/>
                    <a:gd name="connsiteY93" fmla="*/ 8388 h 9891"/>
                    <a:gd name="connsiteX94" fmla="*/ 8889 w 10000"/>
                    <a:gd name="connsiteY94" fmla="*/ 8363 h 9891"/>
                    <a:gd name="connsiteX95" fmla="*/ 8722 w 10000"/>
                    <a:gd name="connsiteY95" fmla="*/ 8321 h 9891"/>
                    <a:gd name="connsiteX96" fmla="*/ 8611 w 10000"/>
                    <a:gd name="connsiteY96" fmla="*/ 8252 h 9891"/>
                    <a:gd name="connsiteX97" fmla="*/ 8444 w 10000"/>
                    <a:gd name="connsiteY97" fmla="*/ 8139 h 9891"/>
                    <a:gd name="connsiteX98" fmla="*/ 8444 w 10000"/>
                    <a:gd name="connsiteY98" fmla="*/ 8139 h 9891"/>
                    <a:gd name="connsiteX99" fmla="*/ 8222 w 10000"/>
                    <a:gd name="connsiteY99" fmla="*/ 7942 h 9891"/>
                    <a:gd name="connsiteX100" fmla="*/ 8111 w 10000"/>
                    <a:gd name="connsiteY100" fmla="*/ 7852 h 9891"/>
                    <a:gd name="connsiteX101" fmla="*/ 7944 w 10000"/>
                    <a:gd name="connsiteY101" fmla="*/ 7785 h 9891"/>
                    <a:gd name="connsiteX102" fmla="*/ 7778 w 10000"/>
                    <a:gd name="connsiteY102" fmla="*/ 7741 h 9891"/>
                    <a:gd name="connsiteX103" fmla="*/ 7556 w 10000"/>
                    <a:gd name="connsiteY103" fmla="*/ 7714 h 9891"/>
                    <a:gd name="connsiteX104" fmla="*/ 7333 w 10000"/>
                    <a:gd name="connsiteY104" fmla="*/ 7694 h 9891"/>
                    <a:gd name="connsiteX105" fmla="*/ 7000 w 10000"/>
                    <a:gd name="connsiteY105" fmla="*/ 7668 h 9891"/>
                    <a:gd name="connsiteX106" fmla="*/ 7000 w 10000"/>
                    <a:gd name="connsiteY106" fmla="*/ 7668 h 9891"/>
                    <a:gd name="connsiteX107" fmla="*/ 6556 w 10000"/>
                    <a:gd name="connsiteY107" fmla="*/ 7694 h 9891"/>
                    <a:gd name="connsiteX108" fmla="*/ 6222 w 10000"/>
                    <a:gd name="connsiteY108" fmla="*/ 7694 h 9891"/>
                    <a:gd name="connsiteX109" fmla="*/ 6111 w 10000"/>
                    <a:gd name="connsiteY109" fmla="*/ 7668 h 9891"/>
                    <a:gd name="connsiteX110" fmla="*/ 6056 w 10000"/>
                    <a:gd name="connsiteY110" fmla="*/ 7647 h 9891"/>
                    <a:gd name="connsiteX111" fmla="*/ 6056 w 10000"/>
                    <a:gd name="connsiteY111" fmla="*/ 7647 h 9891"/>
                    <a:gd name="connsiteX112" fmla="*/ 6056 w 10000"/>
                    <a:gd name="connsiteY112" fmla="*/ 7246 h 9891"/>
                    <a:gd name="connsiteX113" fmla="*/ 6056 w 10000"/>
                    <a:gd name="connsiteY113" fmla="*/ 7246 h 9891"/>
                    <a:gd name="connsiteX114" fmla="*/ 6056 w 10000"/>
                    <a:gd name="connsiteY114" fmla="*/ 7153 h 9891"/>
                    <a:gd name="connsiteX115" fmla="*/ 5944 w 10000"/>
                    <a:gd name="connsiteY115" fmla="*/ 7042 h 9891"/>
                    <a:gd name="connsiteX116" fmla="*/ 5889 w 10000"/>
                    <a:gd name="connsiteY116" fmla="*/ 7018 h 9891"/>
                    <a:gd name="connsiteX117" fmla="*/ 5778 w 10000"/>
                    <a:gd name="connsiteY117" fmla="*/ 6997 h 9891"/>
                    <a:gd name="connsiteX118" fmla="*/ 5667 w 10000"/>
                    <a:gd name="connsiteY118" fmla="*/ 6997 h 9891"/>
                    <a:gd name="connsiteX119" fmla="*/ 5500 w 10000"/>
                    <a:gd name="connsiteY119" fmla="*/ 7018 h 9891"/>
                    <a:gd name="connsiteX120" fmla="*/ 5500 w 10000"/>
                    <a:gd name="connsiteY120" fmla="*/ 7018 h 9891"/>
                    <a:gd name="connsiteX121" fmla="*/ 4889 w 10000"/>
                    <a:gd name="connsiteY121" fmla="*/ 7177 h 9891"/>
                    <a:gd name="connsiteX122" fmla="*/ 4611 w 10000"/>
                    <a:gd name="connsiteY122" fmla="*/ 7223 h 9891"/>
                    <a:gd name="connsiteX123" fmla="*/ 4556 w 10000"/>
                    <a:gd name="connsiteY123" fmla="*/ 7246 h 9891"/>
                    <a:gd name="connsiteX124" fmla="*/ 4500 w 10000"/>
                    <a:gd name="connsiteY124" fmla="*/ 7223 h 9891"/>
                    <a:gd name="connsiteX125" fmla="*/ 4500 w 10000"/>
                    <a:gd name="connsiteY125" fmla="*/ 7223 h 9891"/>
                    <a:gd name="connsiteX126" fmla="*/ 4222 w 10000"/>
                    <a:gd name="connsiteY126" fmla="*/ 6997 h 9891"/>
                    <a:gd name="connsiteX127" fmla="*/ 4222 w 10000"/>
                    <a:gd name="connsiteY127" fmla="*/ 6997 h 9891"/>
                    <a:gd name="connsiteX128" fmla="*/ 4111 w 10000"/>
                    <a:gd name="connsiteY128" fmla="*/ 6886 h 9891"/>
                    <a:gd name="connsiteX129" fmla="*/ 4111 w 10000"/>
                    <a:gd name="connsiteY129" fmla="*/ 6818 h 9891"/>
                    <a:gd name="connsiteX130" fmla="*/ 4111 w 10000"/>
                    <a:gd name="connsiteY130" fmla="*/ 6751 h 9891"/>
                    <a:gd name="connsiteX131" fmla="*/ 4111 w 10000"/>
                    <a:gd name="connsiteY131" fmla="*/ 6751 h 9891"/>
                    <a:gd name="connsiteX132" fmla="*/ 4278 w 10000"/>
                    <a:gd name="connsiteY132" fmla="*/ 6683 h 9891"/>
                    <a:gd name="connsiteX133" fmla="*/ 4389 w 10000"/>
                    <a:gd name="connsiteY133" fmla="*/ 6661 h 9891"/>
                    <a:gd name="connsiteX134" fmla="*/ 4389 w 10000"/>
                    <a:gd name="connsiteY134" fmla="*/ 6661 h 9891"/>
                    <a:gd name="connsiteX135" fmla="*/ 4000 w 10000"/>
                    <a:gd name="connsiteY135" fmla="*/ 6661 h 9891"/>
                    <a:gd name="connsiteX136" fmla="*/ 3722 w 10000"/>
                    <a:gd name="connsiteY136" fmla="*/ 6683 h 9891"/>
                    <a:gd name="connsiteX137" fmla="*/ 3611 w 10000"/>
                    <a:gd name="connsiteY137" fmla="*/ 6708 h 9891"/>
                    <a:gd name="connsiteX138" fmla="*/ 3556 w 10000"/>
                    <a:gd name="connsiteY138" fmla="*/ 6730 h 9891"/>
                    <a:gd name="connsiteX139" fmla="*/ 3556 w 10000"/>
                    <a:gd name="connsiteY139" fmla="*/ 6730 h 9891"/>
                    <a:gd name="connsiteX140" fmla="*/ 3444 w 10000"/>
                    <a:gd name="connsiteY140" fmla="*/ 6818 h 9891"/>
                    <a:gd name="connsiteX141" fmla="*/ 3278 w 10000"/>
                    <a:gd name="connsiteY141" fmla="*/ 6955 h 9891"/>
                    <a:gd name="connsiteX142" fmla="*/ 3000 w 10000"/>
                    <a:gd name="connsiteY142" fmla="*/ 7110 h 9891"/>
                    <a:gd name="connsiteX143" fmla="*/ 2667 w 10000"/>
                    <a:gd name="connsiteY143" fmla="*/ 7223 h 9891"/>
                    <a:gd name="connsiteX144" fmla="*/ 2667 w 10000"/>
                    <a:gd name="connsiteY144" fmla="*/ 7223 h 9891"/>
                    <a:gd name="connsiteX145" fmla="*/ 2333 w 10000"/>
                    <a:gd name="connsiteY145" fmla="*/ 7314 h 9891"/>
                    <a:gd name="connsiteX146" fmla="*/ 1833 w 10000"/>
                    <a:gd name="connsiteY146" fmla="*/ 7404 h 9891"/>
                    <a:gd name="connsiteX147" fmla="*/ 1389 w 10000"/>
                    <a:gd name="connsiteY147" fmla="*/ 7448 h 9891"/>
                    <a:gd name="connsiteX148" fmla="*/ 889 w 10000"/>
                    <a:gd name="connsiteY148" fmla="*/ 7470 h 9891"/>
                    <a:gd name="connsiteX149" fmla="*/ 889 w 10000"/>
                    <a:gd name="connsiteY149" fmla="*/ 7470 h 9891"/>
                    <a:gd name="connsiteX150" fmla="*/ 500 w 10000"/>
                    <a:gd name="connsiteY150" fmla="*/ 7496 h 9891"/>
                    <a:gd name="connsiteX151" fmla="*/ 222 w 10000"/>
                    <a:gd name="connsiteY151" fmla="*/ 7514 h 9891"/>
                    <a:gd name="connsiteX152" fmla="*/ 0 w 10000"/>
                    <a:gd name="connsiteY152" fmla="*/ 7536 h 9891"/>
                    <a:gd name="connsiteX153" fmla="*/ 0 w 10000"/>
                    <a:gd name="connsiteY153" fmla="*/ 7536 h 9891"/>
                    <a:gd name="connsiteX154" fmla="*/ 278 w 10000"/>
                    <a:gd name="connsiteY154" fmla="*/ 7897 h 9891"/>
                    <a:gd name="connsiteX155" fmla="*/ 500 w 10000"/>
                    <a:gd name="connsiteY155" fmla="*/ 8162 h 9891"/>
                    <a:gd name="connsiteX156" fmla="*/ 722 w 10000"/>
                    <a:gd name="connsiteY156" fmla="*/ 8388 h 9891"/>
                    <a:gd name="connsiteX157" fmla="*/ 722 w 10000"/>
                    <a:gd name="connsiteY157" fmla="*/ 8388 h 9891"/>
                    <a:gd name="connsiteX158" fmla="*/ 889 w 10000"/>
                    <a:gd name="connsiteY158" fmla="*/ 8523 h 9891"/>
                    <a:gd name="connsiteX159" fmla="*/ 944 w 10000"/>
                    <a:gd name="connsiteY159" fmla="*/ 8638 h 9891"/>
                    <a:gd name="connsiteX160" fmla="*/ 1111 w 10000"/>
                    <a:gd name="connsiteY160" fmla="*/ 8751 h 9891"/>
                    <a:gd name="connsiteX161" fmla="*/ 1333 w 10000"/>
                    <a:gd name="connsiteY161" fmla="*/ 8924 h 9891"/>
                    <a:gd name="connsiteX162" fmla="*/ 1333 w 10000"/>
                    <a:gd name="connsiteY162" fmla="*/ 8924 h 9891"/>
                    <a:gd name="connsiteX163" fmla="*/ 1444 w 10000"/>
                    <a:gd name="connsiteY163" fmla="*/ 9016 h 9891"/>
                    <a:gd name="connsiteX164" fmla="*/ 1500 w 10000"/>
                    <a:gd name="connsiteY164" fmla="*/ 9083 h 9891"/>
                    <a:gd name="connsiteX165" fmla="*/ 1500 w 10000"/>
                    <a:gd name="connsiteY165" fmla="*/ 9147 h 9891"/>
                    <a:gd name="connsiteX166" fmla="*/ 1556 w 10000"/>
                    <a:gd name="connsiteY166" fmla="*/ 9175 h 9891"/>
                    <a:gd name="connsiteX167" fmla="*/ 1722 w 10000"/>
                    <a:gd name="connsiteY167" fmla="*/ 9195 h 9891"/>
                    <a:gd name="connsiteX168" fmla="*/ 1944 w 10000"/>
                    <a:gd name="connsiteY168" fmla="*/ 9217 h 9891"/>
                    <a:gd name="connsiteX169" fmla="*/ 2944 w 10000"/>
                    <a:gd name="connsiteY169" fmla="*/ 9240 h 9891"/>
                    <a:gd name="connsiteX170" fmla="*/ 2944 w 10000"/>
                    <a:gd name="connsiteY170" fmla="*/ 9240 h 9891"/>
                    <a:gd name="connsiteX171" fmla="*/ 4167 w 10000"/>
                    <a:gd name="connsiteY171" fmla="*/ 9287 h 9891"/>
                    <a:gd name="connsiteX172" fmla="*/ 4889 w 10000"/>
                    <a:gd name="connsiteY172" fmla="*/ 9351 h 9891"/>
                    <a:gd name="connsiteX173" fmla="*/ 5278 w 10000"/>
                    <a:gd name="connsiteY173" fmla="*/ 9422 h 9891"/>
                    <a:gd name="connsiteX174" fmla="*/ 5444 w 10000"/>
                    <a:gd name="connsiteY174" fmla="*/ 9440 h 9891"/>
                    <a:gd name="connsiteX175" fmla="*/ 5444 w 10000"/>
                    <a:gd name="connsiteY175" fmla="*/ 9440 h 9891"/>
                    <a:gd name="connsiteX176" fmla="*/ 5722 w 10000"/>
                    <a:gd name="connsiteY176" fmla="*/ 9489 h 9891"/>
                    <a:gd name="connsiteX177" fmla="*/ 5833 w 10000"/>
                    <a:gd name="connsiteY177" fmla="*/ 9513 h 9891"/>
                    <a:gd name="connsiteX178" fmla="*/ 5833 w 10000"/>
                    <a:gd name="connsiteY178" fmla="*/ 9513 h 9891"/>
                    <a:gd name="connsiteX179" fmla="*/ 5833 w 10000"/>
                    <a:gd name="connsiteY179" fmla="*/ 9489 h 9891"/>
                    <a:gd name="connsiteX180" fmla="*/ 5889 w 10000"/>
                    <a:gd name="connsiteY180" fmla="*/ 9465 h 9891"/>
                    <a:gd name="connsiteX181" fmla="*/ 6000 w 10000"/>
                    <a:gd name="connsiteY181" fmla="*/ 9440 h 9891"/>
                    <a:gd name="connsiteX182" fmla="*/ 6167 w 10000"/>
                    <a:gd name="connsiteY182" fmla="*/ 9422 h 9891"/>
                    <a:gd name="connsiteX183" fmla="*/ 6444 w 10000"/>
                    <a:gd name="connsiteY183" fmla="*/ 9422 h 9891"/>
                    <a:gd name="connsiteX184" fmla="*/ 6833 w 10000"/>
                    <a:gd name="connsiteY184" fmla="*/ 9440 h 9891"/>
                    <a:gd name="connsiteX185" fmla="*/ 7278 w 10000"/>
                    <a:gd name="connsiteY185" fmla="*/ 9513 h 9891"/>
                    <a:gd name="connsiteX186" fmla="*/ 7278 w 10000"/>
                    <a:gd name="connsiteY186" fmla="*/ 9513 h 9891"/>
                    <a:gd name="connsiteX187" fmla="*/ 8722 w 10000"/>
                    <a:gd name="connsiteY187" fmla="*/ 9708 h 9891"/>
                    <a:gd name="connsiteX188" fmla="*/ 10000 w 10000"/>
                    <a:gd name="connsiteY188" fmla="*/ 9891 h 9891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500 w 10000"/>
                    <a:gd name="connsiteY76" fmla="*/ 772 h 10000"/>
                    <a:gd name="connsiteX77" fmla="*/ 1444 w 10000"/>
                    <a:gd name="connsiteY77" fmla="*/ 681 h 10000"/>
                    <a:gd name="connsiteX78" fmla="*/ 1444 w 10000"/>
                    <a:gd name="connsiteY78" fmla="*/ 590 h 10000"/>
                    <a:gd name="connsiteX79" fmla="*/ 1444 w 10000"/>
                    <a:gd name="connsiteY79" fmla="*/ 523 h 10000"/>
                    <a:gd name="connsiteX80" fmla="*/ 1556 w 10000"/>
                    <a:gd name="connsiteY80" fmla="*/ 454 h 10000"/>
                    <a:gd name="connsiteX81" fmla="*/ 1556 w 10000"/>
                    <a:gd name="connsiteY81" fmla="*/ 454 h 10000"/>
                    <a:gd name="connsiteX82" fmla="*/ 1833 w 10000"/>
                    <a:gd name="connsiteY82" fmla="*/ 342 h 10000"/>
                    <a:gd name="connsiteX83" fmla="*/ 2111 w 10000"/>
                    <a:gd name="connsiteY83" fmla="*/ 224 h 10000"/>
                    <a:gd name="connsiteX84" fmla="*/ 2278 w 10000"/>
                    <a:gd name="connsiteY84" fmla="*/ 159 h 10000"/>
                    <a:gd name="connsiteX85" fmla="*/ 2389 w 10000"/>
                    <a:gd name="connsiteY85" fmla="*/ 0 h 10000"/>
                    <a:gd name="connsiteX86" fmla="*/ 10000 w 10000"/>
                    <a:gd name="connsiteY86" fmla="*/ 8480 h 10000"/>
                    <a:gd name="connsiteX87" fmla="*/ 10000 w 10000"/>
                    <a:gd name="connsiteY87" fmla="*/ 8480 h 10000"/>
                    <a:gd name="connsiteX88" fmla="*/ 9722 w 10000"/>
                    <a:gd name="connsiteY88" fmla="*/ 8455 h 10000"/>
                    <a:gd name="connsiteX89" fmla="*/ 9389 w 10000"/>
                    <a:gd name="connsiteY89" fmla="*/ 8480 h 10000"/>
                    <a:gd name="connsiteX90" fmla="*/ 9389 w 10000"/>
                    <a:gd name="connsiteY90" fmla="*/ 8480 h 10000"/>
                    <a:gd name="connsiteX91" fmla="*/ 9278 w 10000"/>
                    <a:gd name="connsiteY91" fmla="*/ 8508 h 10000"/>
                    <a:gd name="connsiteX92" fmla="*/ 9056 w 10000"/>
                    <a:gd name="connsiteY92" fmla="*/ 8480 h 10000"/>
                    <a:gd name="connsiteX93" fmla="*/ 8889 w 10000"/>
                    <a:gd name="connsiteY93" fmla="*/ 8455 h 10000"/>
                    <a:gd name="connsiteX94" fmla="*/ 8722 w 10000"/>
                    <a:gd name="connsiteY94" fmla="*/ 8413 h 10000"/>
                    <a:gd name="connsiteX95" fmla="*/ 8611 w 10000"/>
                    <a:gd name="connsiteY95" fmla="*/ 8343 h 10000"/>
                    <a:gd name="connsiteX96" fmla="*/ 8444 w 10000"/>
                    <a:gd name="connsiteY96" fmla="*/ 8229 h 10000"/>
                    <a:gd name="connsiteX97" fmla="*/ 8444 w 10000"/>
                    <a:gd name="connsiteY97" fmla="*/ 8229 h 10000"/>
                    <a:gd name="connsiteX98" fmla="*/ 8222 w 10000"/>
                    <a:gd name="connsiteY98" fmla="*/ 8030 h 10000"/>
                    <a:gd name="connsiteX99" fmla="*/ 8111 w 10000"/>
                    <a:gd name="connsiteY99" fmla="*/ 7939 h 10000"/>
                    <a:gd name="connsiteX100" fmla="*/ 7944 w 10000"/>
                    <a:gd name="connsiteY100" fmla="*/ 7871 h 10000"/>
                    <a:gd name="connsiteX101" fmla="*/ 7778 w 10000"/>
                    <a:gd name="connsiteY101" fmla="*/ 7826 h 10000"/>
                    <a:gd name="connsiteX102" fmla="*/ 7556 w 10000"/>
                    <a:gd name="connsiteY102" fmla="*/ 7799 h 10000"/>
                    <a:gd name="connsiteX103" fmla="*/ 7333 w 10000"/>
                    <a:gd name="connsiteY103" fmla="*/ 7779 h 10000"/>
                    <a:gd name="connsiteX104" fmla="*/ 7000 w 10000"/>
                    <a:gd name="connsiteY104" fmla="*/ 7753 h 10000"/>
                    <a:gd name="connsiteX105" fmla="*/ 7000 w 10000"/>
                    <a:gd name="connsiteY105" fmla="*/ 7753 h 10000"/>
                    <a:gd name="connsiteX106" fmla="*/ 6556 w 10000"/>
                    <a:gd name="connsiteY106" fmla="*/ 7779 h 10000"/>
                    <a:gd name="connsiteX107" fmla="*/ 6222 w 10000"/>
                    <a:gd name="connsiteY107" fmla="*/ 7779 h 10000"/>
                    <a:gd name="connsiteX108" fmla="*/ 6111 w 10000"/>
                    <a:gd name="connsiteY108" fmla="*/ 7753 h 10000"/>
                    <a:gd name="connsiteX109" fmla="*/ 6056 w 10000"/>
                    <a:gd name="connsiteY109" fmla="*/ 7731 h 10000"/>
                    <a:gd name="connsiteX110" fmla="*/ 6056 w 10000"/>
                    <a:gd name="connsiteY110" fmla="*/ 7731 h 10000"/>
                    <a:gd name="connsiteX111" fmla="*/ 6056 w 10000"/>
                    <a:gd name="connsiteY111" fmla="*/ 7326 h 10000"/>
                    <a:gd name="connsiteX112" fmla="*/ 6056 w 10000"/>
                    <a:gd name="connsiteY112" fmla="*/ 7326 h 10000"/>
                    <a:gd name="connsiteX113" fmla="*/ 6056 w 10000"/>
                    <a:gd name="connsiteY113" fmla="*/ 7232 h 10000"/>
                    <a:gd name="connsiteX114" fmla="*/ 5944 w 10000"/>
                    <a:gd name="connsiteY114" fmla="*/ 7120 h 10000"/>
                    <a:gd name="connsiteX115" fmla="*/ 5889 w 10000"/>
                    <a:gd name="connsiteY115" fmla="*/ 7095 h 10000"/>
                    <a:gd name="connsiteX116" fmla="*/ 5778 w 10000"/>
                    <a:gd name="connsiteY116" fmla="*/ 7074 h 10000"/>
                    <a:gd name="connsiteX117" fmla="*/ 5667 w 10000"/>
                    <a:gd name="connsiteY117" fmla="*/ 7074 h 10000"/>
                    <a:gd name="connsiteX118" fmla="*/ 5500 w 10000"/>
                    <a:gd name="connsiteY118" fmla="*/ 7095 h 10000"/>
                    <a:gd name="connsiteX119" fmla="*/ 5500 w 10000"/>
                    <a:gd name="connsiteY119" fmla="*/ 7095 h 10000"/>
                    <a:gd name="connsiteX120" fmla="*/ 4889 w 10000"/>
                    <a:gd name="connsiteY120" fmla="*/ 7256 h 10000"/>
                    <a:gd name="connsiteX121" fmla="*/ 4611 w 10000"/>
                    <a:gd name="connsiteY121" fmla="*/ 7303 h 10000"/>
                    <a:gd name="connsiteX122" fmla="*/ 4556 w 10000"/>
                    <a:gd name="connsiteY122" fmla="*/ 7326 h 10000"/>
                    <a:gd name="connsiteX123" fmla="*/ 4500 w 10000"/>
                    <a:gd name="connsiteY123" fmla="*/ 7303 h 10000"/>
                    <a:gd name="connsiteX124" fmla="*/ 4500 w 10000"/>
                    <a:gd name="connsiteY124" fmla="*/ 7303 h 10000"/>
                    <a:gd name="connsiteX125" fmla="*/ 4222 w 10000"/>
                    <a:gd name="connsiteY125" fmla="*/ 7074 h 10000"/>
                    <a:gd name="connsiteX126" fmla="*/ 4222 w 10000"/>
                    <a:gd name="connsiteY126" fmla="*/ 7074 h 10000"/>
                    <a:gd name="connsiteX127" fmla="*/ 4111 w 10000"/>
                    <a:gd name="connsiteY127" fmla="*/ 6962 h 10000"/>
                    <a:gd name="connsiteX128" fmla="*/ 4111 w 10000"/>
                    <a:gd name="connsiteY128" fmla="*/ 6893 h 10000"/>
                    <a:gd name="connsiteX129" fmla="*/ 4111 w 10000"/>
                    <a:gd name="connsiteY129" fmla="*/ 6825 h 10000"/>
                    <a:gd name="connsiteX130" fmla="*/ 4111 w 10000"/>
                    <a:gd name="connsiteY130" fmla="*/ 6825 h 10000"/>
                    <a:gd name="connsiteX131" fmla="*/ 4278 w 10000"/>
                    <a:gd name="connsiteY131" fmla="*/ 6757 h 10000"/>
                    <a:gd name="connsiteX132" fmla="*/ 4389 w 10000"/>
                    <a:gd name="connsiteY132" fmla="*/ 6734 h 10000"/>
                    <a:gd name="connsiteX133" fmla="*/ 4389 w 10000"/>
                    <a:gd name="connsiteY133" fmla="*/ 6734 h 10000"/>
                    <a:gd name="connsiteX134" fmla="*/ 4000 w 10000"/>
                    <a:gd name="connsiteY134" fmla="*/ 6734 h 10000"/>
                    <a:gd name="connsiteX135" fmla="*/ 3722 w 10000"/>
                    <a:gd name="connsiteY135" fmla="*/ 6757 h 10000"/>
                    <a:gd name="connsiteX136" fmla="*/ 3611 w 10000"/>
                    <a:gd name="connsiteY136" fmla="*/ 6782 h 10000"/>
                    <a:gd name="connsiteX137" fmla="*/ 3556 w 10000"/>
                    <a:gd name="connsiteY137" fmla="*/ 6804 h 10000"/>
                    <a:gd name="connsiteX138" fmla="*/ 3556 w 10000"/>
                    <a:gd name="connsiteY138" fmla="*/ 6804 h 10000"/>
                    <a:gd name="connsiteX139" fmla="*/ 3444 w 10000"/>
                    <a:gd name="connsiteY139" fmla="*/ 6893 h 10000"/>
                    <a:gd name="connsiteX140" fmla="*/ 3278 w 10000"/>
                    <a:gd name="connsiteY140" fmla="*/ 7032 h 10000"/>
                    <a:gd name="connsiteX141" fmla="*/ 3000 w 10000"/>
                    <a:gd name="connsiteY141" fmla="*/ 7188 h 10000"/>
                    <a:gd name="connsiteX142" fmla="*/ 2667 w 10000"/>
                    <a:gd name="connsiteY142" fmla="*/ 7303 h 10000"/>
                    <a:gd name="connsiteX143" fmla="*/ 2667 w 10000"/>
                    <a:gd name="connsiteY143" fmla="*/ 7303 h 10000"/>
                    <a:gd name="connsiteX144" fmla="*/ 2333 w 10000"/>
                    <a:gd name="connsiteY144" fmla="*/ 7395 h 10000"/>
                    <a:gd name="connsiteX145" fmla="*/ 1833 w 10000"/>
                    <a:gd name="connsiteY145" fmla="*/ 7486 h 10000"/>
                    <a:gd name="connsiteX146" fmla="*/ 1389 w 10000"/>
                    <a:gd name="connsiteY146" fmla="*/ 7530 h 10000"/>
                    <a:gd name="connsiteX147" fmla="*/ 889 w 10000"/>
                    <a:gd name="connsiteY147" fmla="*/ 7552 h 10000"/>
                    <a:gd name="connsiteX148" fmla="*/ 889 w 10000"/>
                    <a:gd name="connsiteY148" fmla="*/ 7552 h 10000"/>
                    <a:gd name="connsiteX149" fmla="*/ 500 w 10000"/>
                    <a:gd name="connsiteY149" fmla="*/ 7579 h 10000"/>
                    <a:gd name="connsiteX150" fmla="*/ 222 w 10000"/>
                    <a:gd name="connsiteY150" fmla="*/ 7597 h 10000"/>
                    <a:gd name="connsiteX151" fmla="*/ 0 w 10000"/>
                    <a:gd name="connsiteY151" fmla="*/ 7619 h 10000"/>
                    <a:gd name="connsiteX152" fmla="*/ 0 w 10000"/>
                    <a:gd name="connsiteY152" fmla="*/ 7619 h 10000"/>
                    <a:gd name="connsiteX153" fmla="*/ 278 w 10000"/>
                    <a:gd name="connsiteY153" fmla="*/ 7984 h 10000"/>
                    <a:gd name="connsiteX154" fmla="*/ 500 w 10000"/>
                    <a:gd name="connsiteY154" fmla="*/ 8252 h 10000"/>
                    <a:gd name="connsiteX155" fmla="*/ 722 w 10000"/>
                    <a:gd name="connsiteY155" fmla="*/ 8480 h 10000"/>
                    <a:gd name="connsiteX156" fmla="*/ 722 w 10000"/>
                    <a:gd name="connsiteY156" fmla="*/ 8480 h 10000"/>
                    <a:gd name="connsiteX157" fmla="*/ 889 w 10000"/>
                    <a:gd name="connsiteY157" fmla="*/ 8617 h 10000"/>
                    <a:gd name="connsiteX158" fmla="*/ 944 w 10000"/>
                    <a:gd name="connsiteY158" fmla="*/ 8733 h 10000"/>
                    <a:gd name="connsiteX159" fmla="*/ 1111 w 10000"/>
                    <a:gd name="connsiteY159" fmla="*/ 8847 h 10000"/>
                    <a:gd name="connsiteX160" fmla="*/ 1333 w 10000"/>
                    <a:gd name="connsiteY160" fmla="*/ 9022 h 10000"/>
                    <a:gd name="connsiteX161" fmla="*/ 1333 w 10000"/>
                    <a:gd name="connsiteY161" fmla="*/ 9022 h 10000"/>
                    <a:gd name="connsiteX162" fmla="*/ 1444 w 10000"/>
                    <a:gd name="connsiteY162" fmla="*/ 9115 h 10000"/>
                    <a:gd name="connsiteX163" fmla="*/ 1500 w 10000"/>
                    <a:gd name="connsiteY163" fmla="*/ 9183 h 10000"/>
                    <a:gd name="connsiteX164" fmla="*/ 1500 w 10000"/>
                    <a:gd name="connsiteY164" fmla="*/ 9248 h 10000"/>
                    <a:gd name="connsiteX165" fmla="*/ 1556 w 10000"/>
                    <a:gd name="connsiteY165" fmla="*/ 9276 h 10000"/>
                    <a:gd name="connsiteX166" fmla="*/ 1722 w 10000"/>
                    <a:gd name="connsiteY166" fmla="*/ 9296 h 10000"/>
                    <a:gd name="connsiteX167" fmla="*/ 1944 w 10000"/>
                    <a:gd name="connsiteY167" fmla="*/ 9319 h 10000"/>
                    <a:gd name="connsiteX168" fmla="*/ 2944 w 10000"/>
                    <a:gd name="connsiteY168" fmla="*/ 9342 h 10000"/>
                    <a:gd name="connsiteX169" fmla="*/ 2944 w 10000"/>
                    <a:gd name="connsiteY169" fmla="*/ 9342 h 10000"/>
                    <a:gd name="connsiteX170" fmla="*/ 4167 w 10000"/>
                    <a:gd name="connsiteY170" fmla="*/ 9389 h 10000"/>
                    <a:gd name="connsiteX171" fmla="*/ 4889 w 10000"/>
                    <a:gd name="connsiteY171" fmla="*/ 9454 h 10000"/>
                    <a:gd name="connsiteX172" fmla="*/ 5278 w 10000"/>
                    <a:gd name="connsiteY172" fmla="*/ 9526 h 10000"/>
                    <a:gd name="connsiteX173" fmla="*/ 5444 w 10000"/>
                    <a:gd name="connsiteY173" fmla="*/ 9544 h 10000"/>
                    <a:gd name="connsiteX174" fmla="*/ 5444 w 10000"/>
                    <a:gd name="connsiteY174" fmla="*/ 9544 h 10000"/>
                    <a:gd name="connsiteX175" fmla="*/ 5722 w 10000"/>
                    <a:gd name="connsiteY175" fmla="*/ 9594 h 10000"/>
                    <a:gd name="connsiteX176" fmla="*/ 5833 w 10000"/>
                    <a:gd name="connsiteY176" fmla="*/ 9618 h 10000"/>
                    <a:gd name="connsiteX177" fmla="*/ 5833 w 10000"/>
                    <a:gd name="connsiteY177" fmla="*/ 9618 h 10000"/>
                    <a:gd name="connsiteX178" fmla="*/ 5833 w 10000"/>
                    <a:gd name="connsiteY178" fmla="*/ 9594 h 10000"/>
                    <a:gd name="connsiteX179" fmla="*/ 5889 w 10000"/>
                    <a:gd name="connsiteY179" fmla="*/ 9569 h 10000"/>
                    <a:gd name="connsiteX180" fmla="*/ 6000 w 10000"/>
                    <a:gd name="connsiteY180" fmla="*/ 9544 h 10000"/>
                    <a:gd name="connsiteX181" fmla="*/ 6167 w 10000"/>
                    <a:gd name="connsiteY181" fmla="*/ 9526 h 10000"/>
                    <a:gd name="connsiteX182" fmla="*/ 6444 w 10000"/>
                    <a:gd name="connsiteY182" fmla="*/ 9526 h 10000"/>
                    <a:gd name="connsiteX183" fmla="*/ 6833 w 10000"/>
                    <a:gd name="connsiteY183" fmla="*/ 9544 h 10000"/>
                    <a:gd name="connsiteX184" fmla="*/ 7278 w 10000"/>
                    <a:gd name="connsiteY184" fmla="*/ 9618 h 10000"/>
                    <a:gd name="connsiteX185" fmla="*/ 7278 w 10000"/>
                    <a:gd name="connsiteY185" fmla="*/ 9618 h 10000"/>
                    <a:gd name="connsiteX186" fmla="*/ 8722 w 10000"/>
                    <a:gd name="connsiteY186" fmla="*/ 9815 h 10000"/>
                    <a:gd name="connsiteX187" fmla="*/ 10000 w 10000"/>
                    <a:gd name="connsiteY187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500 w 10000"/>
                    <a:gd name="connsiteY76" fmla="*/ 772 h 10000"/>
                    <a:gd name="connsiteX77" fmla="*/ 1444 w 10000"/>
                    <a:gd name="connsiteY77" fmla="*/ 681 h 10000"/>
                    <a:gd name="connsiteX78" fmla="*/ 1444 w 10000"/>
                    <a:gd name="connsiteY78" fmla="*/ 590 h 10000"/>
                    <a:gd name="connsiteX79" fmla="*/ 1444 w 10000"/>
                    <a:gd name="connsiteY79" fmla="*/ 523 h 10000"/>
                    <a:gd name="connsiteX80" fmla="*/ 1556 w 10000"/>
                    <a:gd name="connsiteY80" fmla="*/ 454 h 10000"/>
                    <a:gd name="connsiteX81" fmla="*/ 1556 w 10000"/>
                    <a:gd name="connsiteY81" fmla="*/ 454 h 10000"/>
                    <a:gd name="connsiteX82" fmla="*/ 1833 w 10000"/>
                    <a:gd name="connsiteY82" fmla="*/ 342 h 10000"/>
                    <a:gd name="connsiteX83" fmla="*/ 2111 w 10000"/>
                    <a:gd name="connsiteY83" fmla="*/ 224 h 10000"/>
                    <a:gd name="connsiteX84" fmla="*/ 2389 w 10000"/>
                    <a:gd name="connsiteY84" fmla="*/ 0 h 10000"/>
                    <a:gd name="connsiteX85" fmla="*/ 10000 w 10000"/>
                    <a:gd name="connsiteY85" fmla="*/ 8480 h 10000"/>
                    <a:gd name="connsiteX86" fmla="*/ 10000 w 10000"/>
                    <a:gd name="connsiteY86" fmla="*/ 8480 h 10000"/>
                    <a:gd name="connsiteX87" fmla="*/ 9722 w 10000"/>
                    <a:gd name="connsiteY87" fmla="*/ 8455 h 10000"/>
                    <a:gd name="connsiteX88" fmla="*/ 9389 w 10000"/>
                    <a:gd name="connsiteY88" fmla="*/ 8480 h 10000"/>
                    <a:gd name="connsiteX89" fmla="*/ 9389 w 10000"/>
                    <a:gd name="connsiteY89" fmla="*/ 8480 h 10000"/>
                    <a:gd name="connsiteX90" fmla="*/ 9278 w 10000"/>
                    <a:gd name="connsiteY90" fmla="*/ 8508 h 10000"/>
                    <a:gd name="connsiteX91" fmla="*/ 9056 w 10000"/>
                    <a:gd name="connsiteY91" fmla="*/ 8480 h 10000"/>
                    <a:gd name="connsiteX92" fmla="*/ 8889 w 10000"/>
                    <a:gd name="connsiteY92" fmla="*/ 8455 h 10000"/>
                    <a:gd name="connsiteX93" fmla="*/ 8722 w 10000"/>
                    <a:gd name="connsiteY93" fmla="*/ 8413 h 10000"/>
                    <a:gd name="connsiteX94" fmla="*/ 8611 w 10000"/>
                    <a:gd name="connsiteY94" fmla="*/ 8343 h 10000"/>
                    <a:gd name="connsiteX95" fmla="*/ 8444 w 10000"/>
                    <a:gd name="connsiteY95" fmla="*/ 8229 h 10000"/>
                    <a:gd name="connsiteX96" fmla="*/ 8444 w 10000"/>
                    <a:gd name="connsiteY96" fmla="*/ 8229 h 10000"/>
                    <a:gd name="connsiteX97" fmla="*/ 8222 w 10000"/>
                    <a:gd name="connsiteY97" fmla="*/ 8030 h 10000"/>
                    <a:gd name="connsiteX98" fmla="*/ 8111 w 10000"/>
                    <a:gd name="connsiteY98" fmla="*/ 7939 h 10000"/>
                    <a:gd name="connsiteX99" fmla="*/ 7944 w 10000"/>
                    <a:gd name="connsiteY99" fmla="*/ 7871 h 10000"/>
                    <a:gd name="connsiteX100" fmla="*/ 7778 w 10000"/>
                    <a:gd name="connsiteY100" fmla="*/ 7826 h 10000"/>
                    <a:gd name="connsiteX101" fmla="*/ 7556 w 10000"/>
                    <a:gd name="connsiteY101" fmla="*/ 7799 h 10000"/>
                    <a:gd name="connsiteX102" fmla="*/ 7333 w 10000"/>
                    <a:gd name="connsiteY102" fmla="*/ 7779 h 10000"/>
                    <a:gd name="connsiteX103" fmla="*/ 7000 w 10000"/>
                    <a:gd name="connsiteY103" fmla="*/ 7753 h 10000"/>
                    <a:gd name="connsiteX104" fmla="*/ 7000 w 10000"/>
                    <a:gd name="connsiteY104" fmla="*/ 7753 h 10000"/>
                    <a:gd name="connsiteX105" fmla="*/ 6556 w 10000"/>
                    <a:gd name="connsiteY105" fmla="*/ 7779 h 10000"/>
                    <a:gd name="connsiteX106" fmla="*/ 6222 w 10000"/>
                    <a:gd name="connsiteY106" fmla="*/ 7779 h 10000"/>
                    <a:gd name="connsiteX107" fmla="*/ 6111 w 10000"/>
                    <a:gd name="connsiteY107" fmla="*/ 7753 h 10000"/>
                    <a:gd name="connsiteX108" fmla="*/ 6056 w 10000"/>
                    <a:gd name="connsiteY108" fmla="*/ 7731 h 10000"/>
                    <a:gd name="connsiteX109" fmla="*/ 6056 w 10000"/>
                    <a:gd name="connsiteY109" fmla="*/ 7731 h 10000"/>
                    <a:gd name="connsiteX110" fmla="*/ 6056 w 10000"/>
                    <a:gd name="connsiteY110" fmla="*/ 7326 h 10000"/>
                    <a:gd name="connsiteX111" fmla="*/ 6056 w 10000"/>
                    <a:gd name="connsiteY111" fmla="*/ 7326 h 10000"/>
                    <a:gd name="connsiteX112" fmla="*/ 6056 w 10000"/>
                    <a:gd name="connsiteY112" fmla="*/ 7232 h 10000"/>
                    <a:gd name="connsiteX113" fmla="*/ 5944 w 10000"/>
                    <a:gd name="connsiteY113" fmla="*/ 7120 h 10000"/>
                    <a:gd name="connsiteX114" fmla="*/ 5889 w 10000"/>
                    <a:gd name="connsiteY114" fmla="*/ 7095 h 10000"/>
                    <a:gd name="connsiteX115" fmla="*/ 5778 w 10000"/>
                    <a:gd name="connsiteY115" fmla="*/ 7074 h 10000"/>
                    <a:gd name="connsiteX116" fmla="*/ 5667 w 10000"/>
                    <a:gd name="connsiteY116" fmla="*/ 7074 h 10000"/>
                    <a:gd name="connsiteX117" fmla="*/ 5500 w 10000"/>
                    <a:gd name="connsiteY117" fmla="*/ 7095 h 10000"/>
                    <a:gd name="connsiteX118" fmla="*/ 5500 w 10000"/>
                    <a:gd name="connsiteY118" fmla="*/ 7095 h 10000"/>
                    <a:gd name="connsiteX119" fmla="*/ 4889 w 10000"/>
                    <a:gd name="connsiteY119" fmla="*/ 7256 h 10000"/>
                    <a:gd name="connsiteX120" fmla="*/ 4611 w 10000"/>
                    <a:gd name="connsiteY120" fmla="*/ 7303 h 10000"/>
                    <a:gd name="connsiteX121" fmla="*/ 4556 w 10000"/>
                    <a:gd name="connsiteY121" fmla="*/ 7326 h 10000"/>
                    <a:gd name="connsiteX122" fmla="*/ 4500 w 10000"/>
                    <a:gd name="connsiteY122" fmla="*/ 7303 h 10000"/>
                    <a:gd name="connsiteX123" fmla="*/ 4500 w 10000"/>
                    <a:gd name="connsiteY123" fmla="*/ 7303 h 10000"/>
                    <a:gd name="connsiteX124" fmla="*/ 4222 w 10000"/>
                    <a:gd name="connsiteY124" fmla="*/ 7074 h 10000"/>
                    <a:gd name="connsiteX125" fmla="*/ 4222 w 10000"/>
                    <a:gd name="connsiteY125" fmla="*/ 7074 h 10000"/>
                    <a:gd name="connsiteX126" fmla="*/ 4111 w 10000"/>
                    <a:gd name="connsiteY126" fmla="*/ 6962 h 10000"/>
                    <a:gd name="connsiteX127" fmla="*/ 4111 w 10000"/>
                    <a:gd name="connsiteY127" fmla="*/ 6893 h 10000"/>
                    <a:gd name="connsiteX128" fmla="*/ 4111 w 10000"/>
                    <a:gd name="connsiteY128" fmla="*/ 6825 h 10000"/>
                    <a:gd name="connsiteX129" fmla="*/ 4111 w 10000"/>
                    <a:gd name="connsiteY129" fmla="*/ 6825 h 10000"/>
                    <a:gd name="connsiteX130" fmla="*/ 4278 w 10000"/>
                    <a:gd name="connsiteY130" fmla="*/ 6757 h 10000"/>
                    <a:gd name="connsiteX131" fmla="*/ 4389 w 10000"/>
                    <a:gd name="connsiteY131" fmla="*/ 6734 h 10000"/>
                    <a:gd name="connsiteX132" fmla="*/ 4389 w 10000"/>
                    <a:gd name="connsiteY132" fmla="*/ 6734 h 10000"/>
                    <a:gd name="connsiteX133" fmla="*/ 4000 w 10000"/>
                    <a:gd name="connsiteY133" fmla="*/ 6734 h 10000"/>
                    <a:gd name="connsiteX134" fmla="*/ 3722 w 10000"/>
                    <a:gd name="connsiteY134" fmla="*/ 6757 h 10000"/>
                    <a:gd name="connsiteX135" fmla="*/ 3611 w 10000"/>
                    <a:gd name="connsiteY135" fmla="*/ 6782 h 10000"/>
                    <a:gd name="connsiteX136" fmla="*/ 3556 w 10000"/>
                    <a:gd name="connsiteY136" fmla="*/ 6804 h 10000"/>
                    <a:gd name="connsiteX137" fmla="*/ 3556 w 10000"/>
                    <a:gd name="connsiteY137" fmla="*/ 6804 h 10000"/>
                    <a:gd name="connsiteX138" fmla="*/ 3444 w 10000"/>
                    <a:gd name="connsiteY138" fmla="*/ 6893 h 10000"/>
                    <a:gd name="connsiteX139" fmla="*/ 3278 w 10000"/>
                    <a:gd name="connsiteY139" fmla="*/ 7032 h 10000"/>
                    <a:gd name="connsiteX140" fmla="*/ 3000 w 10000"/>
                    <a:gd name="connsiteY140" fmla="*/ 7188 h 10000"/>
                    <a:gd name="connsiteX141" fmla="*/ 2667 w 10000"/>
                    <a:gd name="connsiteY141" fmla="*/ 7303 h 10000"/>
                    <a:gd name="connsiteX142" fmla="*/ 2667 w 10000"/>
                    <a:gd name="connsiteY142" fmla="*/ 7303 h 10000"/>
                    <a:gd name="connsiteX143" fmla="*/ 2333 w 10000"/>
                    <a:gd name="connsiteY143" fmla="*/ 7395 h 10000"/>
                    <a:gd name="connsiteX144" fmla="*/ 1833 w 10000"/>
                    <a:gd name="connsiteY144" fmla="*/ 7486 h 10000"/>
                    <a:gd name="connsiteX145" fmla="*/ 1389 w 10000"/>
                    <a:gd name="connsiteY145" fmla="*/ 7530 h 10000"/>
                    <a:gd name="connsiteX146" fmla="*/ 889 w 10000"/>
                    <a:gd name="connsiteY146" fmla="*/ 7552 h 10000"/>
                    <a:gd name="connsiteX147" fmla="*/ 889 w 10000"/>
                    <a:gd name="connsiteY147" fmla="*/ 7552 h 10000"/>
                    <a:gd name="connsiteX148" fmla="*/ 500 w 10000"/>
                    <a:gd name="connsiteY148" fmla="*/ 7579 h 10000"/>
                    <a:gd name="connsiteX149" fmla="*/ 222 w 10000"/>
                    <a:gd name="connsiteY149" fmla="*/ 7597 h 10000"/>
                    <a:gd name="connsiteX150" fmla="*/ 0 w 10000"/>
                    <a:gd name="connsiteY150" fmla="*/ 7619 h 10000"/>
                    <a:gd name="connsiteX151" fmla="*/ 0 w 10000"/>
                    <a:gd name="connsiteY151" fmla="*/ 7619 h 10000"/>
                    <a:gd name="connsiteX152" fmla="*/ 278 w 10000"/>
                    <a:gd name="connsiteY152" fmla="*/ 7984 h 10000"/>
                    <a:gd name="connsiteX153" fmla="*/ 500 w 10000"/>
                    <a:gd name="connsiteY153" fmla="*/ 8252 h 10000"/>
                    <a:gd name="connsiteX154" fmla="*/ 722 w 10000"/>
                    <a:gd name="connsiteY154" fmla="*/ 8480 h 10000"/>
                    <a:gd name="connsiteX155" fmla="*/ 722 w 10000"/>
                    <a:gd name="connsiteY155" fmla="*/ 8480 h 10000"/>
                    <a:gd name="connsiteX156" fmla="*/ 889 w 10000"/>
                    <a:gd name="connsiteY156" fmla="*/ 8617 h 10000"/>
                    <a:gd name="connsiteX157" fmla="*/ 944 w 10000"/>
                    <a:gd name="connsiteY157" fmla="*/ 8733 h 10000"/>
                    <a:gd name="connsiteX158" fmla="*/ 1111 w 10000"/>
                    <a:gd name="connsiteY158" fmla="*/ 8847 h 10000"/>
                    <a:gd name="connsiteX159" fmla="*/ 1333 w 10000"/>
                    <a:gd name="connsiteY159" fmla="*/ 9022 h 10000"/>
                    <a:gd name="connsiteX160" fmla="*/ 1333 w 10000"/>
                    <a:gd name="connsiteY160" fmla="*/ 9022 h 10000"/>
                    <a:gd name="connsiteX161" fmla="*/ 1444 w 10000"/>
                    <a:gd name="connsiteY161" fmla="*/ 9115 h 10000"/>
                    <a:gd name="connsiteX162" fmla="*/ 1500 w 10000"/>
                    <a:gd name="connsiteY162" fmla="*/ 9183 h 10000"/>
                    <a:gd name="connsiteX163" fmla="*/ 1500 w 10000"/>
                    <a:gd name="connsiteY163" fmla="*/ 9248 h 10000"/>
                    <a:gd name="connsiteX164" fmla="*/ 1556 w 10000"/>
                    <a:gd name="connsiteY164" fmla="*/ 9276 h 10000"/>
                    <a:gd name="connsiteX165" fmla="*/ 1722 w 10000"/>
                    <a:gd name="connsiteY165" fmla="*/ 9296 h 10000"/>
                    <a:gd name="connsiteX166" fmla="*/ 1944 w 10000"/>
                    <a:gd name="connsiteY166" fmla="*/ 9319 h 10000"/>
                    <a:gd name="connsiteX167" fmla="*/ 2944 w 10000"/>
                    <a:gd name="connsiteY167" fmla="*/ 9342 h 10000"/>
                    <a:gd name="connsiteX168" fmla="*/ 2944 w 10000"/>
                    <a:gd name="connsiteY168" fmla="*/ 9342 h 10000"/>
                    <a:gd name="connsiteX169" fmla="*/ 4167 w 10000"/>
                    <a:gd name="connsiteY169" fmla="*/ 9389 h 10000"/>
                    <a:gd name="connsiteX170" fmla="*/ 4889 w 10000"/>
                    <a:gd name="connsiteY170" fmla="*/ 9454 h 10000"/>
                    <a:gd name="connsiteX171" fmla="*/ 5278 w 10000"/>
                    <a:gd name="connsiteY171" fmla="*/ 9526 h 10000"/>
                    <a:gd name="connsiteX172" fmla="*/ 5444 w 10000"/>
                    <a:gd name="connsiteY172" fmla="*/ 9544 h 10000"/>
                    <a:gd name="connsiteX173" fmla="*/ 5444 w 10000"/>
                    <a:gd name="connsiteY173" fmla="*/ 9544 h 10000"/>
                    <a:gd name="connsiteX174" fmla="*/ 5722 w 10000"/>
                    <a:gd name="connsiteY174" fmla="*/ 9594 h 10000"/>
                    <a:gd name="connsiteX175" fmla="*/ 5833 w 10000"/>
                    <a:gd name="connsiteY175" fmla="*/ 9618 h 10000"/>
                    <a:gd name="connsiteX176" fmla="*/ 5833 w 10000"/>
                    <a:gd name="connsiteY176" fmla="*/ 9618 h 10000"/>
                    <a:gd name="connsiteX177" fmla="*/ 5833 w 10000"/>
                    <a:gd name="connsiteY177" fmla="*/ 9594 h 10000"/>
                    <a:gd name="connsiteX178" fmla="*/ 5889 w 10000"/>
                    <a:gd name="connsiteY178" fmla="*/ 9569 h 10000"/>
                    <a:gd name="connsiteX179" fmla="*/ 6000 w 10000"/>
                    <a:gd name="connsiteY179" fmla="*/ 9544 h 10000"/>
                    <a:gd name="connsiteX180" fmla="*/ 6167 w 10000"/>
                    <a:gd name="connsiteY180" fmla="*/ 9526 h 10000"/>
                    <a:gd name="connsiteX181" fmla="*/ 6444 w 10000"/>
                    <a:gd name="connsiteY181" fmla="*/ 9526 h 10000"/>
                    <a:gd name="connsiteX182" fmla="*/ 6833 w 10000"/>
                    <a:gd name="connsiteY182" fmla="*/ 9544 h 10000"/>
                    <a:gd name="connsiteX183" fmla="*/ 7278 w 10000"/>
                    <a:gd name="connsiteY183" fmla="*/ 9618 h 10000"/>
                    <a:gd name="connsiteX184" fmla="*/ 7278 w 10000"/>
                    <a:gd name="connsiteY184" fmla="*/ 9618 h 10000"/>
                    <a:gd name="connsiteX185" fmla="*/ 8722 w 10000"/>
                    <a:gd name="connsiteY185" fmla="*/ 9815 h 10000"/>
                    <a:gd name="connsiteX186" fmla="*/ 10000 w 10000"/>
                    <a:gd name="connsiteY186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500 w 10000"/>
                    <a:gd name="connsiteY76" fmla="*/ 772 h 10000"/>
                    <a:gd name="connsiteX77" fmla="*/ 1444 w 10000"/>
                    <a:gd name="connsiteY77" fmla="*/ 681 h 10000"/>
                    <a:gd name="connsiteX78" fmla="*/ 1444 w 10000"/>
                    <a:gd name="connsiteY78" fmla="*/ 590 h 10000"/>
                    <a:gd name="connsiteX79" fmla="*/ 1444 w 10000"/>
                    <a:gd name="connsiteY79" fmla="*/ 523 h 10000"/>
                    <a:gd name="connsiteX80" fmla="*/ 1556 w 10000"/>
                    <a:gd name="connsiteY80" fmla="*/ 454 h 10000"/>
                    <a:gd name="connsiteX81" fmla="*/ 1556 w 10000"/>
                    <a:gd name="connsiteY81" fmla="*/ 454 h 10000"/>
                    <a:gd name="connsiteX82" fmla="*/ 2111 w 10000"/>
                    <a:gd name="connsiteY82" fmla="*/ 224 h 10000"/>
                    <a:gd name="connsiteX83" fmla="*/ 2389 w 10000"/>
                    <a:gd name="connsiteY83" fmla="*/ 0 h 10000"/>
                    <a:gd name="connsiteX84" fmla="*/ 10000 w 10000"/>
                    <a:gd name="connsiteY84" fmla="*/ 8480 h 10000"/>
                    <a:gd name="connsiteX85" fmla="*/ 10000 w 10000"/>
                    <a:gd name="connsiteY85" fmla="*/ 8480 h 10000"/>
                    <a:gd name="connsiteX86" fmla="*/ 9722 w 10000"/>
                    <a:gd name="connsiteY86" fmla="*/ 8455 h 10000"/>
                    <a:gd name="connsiteX87" fmla="*/ 9389 w 10000"/>
                    <a:gd name="connsiteY87" fmla="*/ 8480 h 10000"/>
                    <a:gd name="connsiteX88" fmla="*/ 9389 w 10000"/>
                    <a:gd name="connsiteY88" fmla="*/ 8480 h 10000"/>
                    <a:gd name="connsiteX89" fmla="*/ 9278 w 10000"/>
                    <a:gd name="connsiteY89" fmla="*/ 8508 h 10000"/>
                    <a:gd name="connsiteX90" fmla="*/ 9056 w 10000"/>
                    <a:gd name="connsiteY90" fmla="*/ 8480 h 10000"/>
                    <a:gd name="connsiteX91" fmla="*/ 8889 w 10000"/>
                    <a:gd name="connsiteY91" fmla="*/ 8455 h 10000"/>
                    <a:gd name="connsiteX92" fmla="*/ 8722 w 10000"/>
                    <a:gd name="connsiteY92" fmla="*/ 8413 h 10000"/>
                    <a:gd name="connsiteX93" fmla="*/ 8611 w 10000"/>
                    <a:gd name="connsiteY93" fmla="*/ 8343 h 10000"/>
                    <a:gd name="connsiteX94" fmla="*/ 8444 w 10000"/>
                    <a:gd name="connsiteY94" fmla="*/ 8229 h 10000"/>
                    <a:gd name="connsiteX95" fmla="*/ 8444 w 10000"/>
                    <a:gd name="connsiteY95" fmla="*/ 8229 h 10000"/>
                    <a:gd name="connsiteX96" fmla="*/ 8222 w 10000"/>
                    <a:gd name="connsiteY96" fmla="*/ 8030 h 10000"/>
                    <a:gd name="connsiteX97" fmla="*/ 8111 w 10000"/>
                    <a:gd name="connsiteY97" fmla="*/ 7939 h 10000"/>
                    <a:gd name="connsiteX98" fmla="*/ 7944 w 10000"/>
                    <a:gd name="connsiteY98" fmla="*/ 7871 h 10000"/>
                    <a:gd name="connsiteX99" fmla="*/ 7778 w 10000"/>
                    <a:gd name="connsiteY99" fmla="*/ 7826 h 10000"/>
                    <a:gd name="connsiteX100" fmla="*/ 7556 w 10000"/>
                    <a:gd name="connsiteY100" fmla="*/ 7799 h 10000"/>
                    <a:gd name="connsiteX101" fmla="*/ 7333 w 10000"/>
                    <a:gd name="connsiteY101" fmla="*/ 7779 h 10000"/>
                    <a:gd name="connsiteX102" fmla="*/ 7000 w 10000"/>
                    <a:gd name="connsiteY102" fmla="*/ 7753 h 10000"/>
                    <a:gd name="connsiteX103" fmla="*/ 7000 w 10000"/>
                    <a:gd name="connsiteY103" fmla="*/ 7753 h 10000"/>
                    <a:gd name="connsiteX104" fmla="*/ 6556 w 10000"/>
                    <a:gd name="connsiteY104" fmla="*/ 7779 h 10000"/>
                    <a:gd name="connsiteX105" fmla="*/ 6222 w 10000"/>
                    <a:gd name="connsiteY105" fmla="*/ 7779 h 10000"/>
                    <a:gd name="connsiteX106" fmla="*/ 6111 w 10000"/>
                    <a:gd name="connsiteY106" fmla="*/ 7753 h 10000"/>
                    <a:gd name="connsiteX107" fmla="*/ 6056 w 10000"/>
                    <a:gd name="connsiteY107" fmla="*/ 7731 h 10000"/>
                    <a:gd name="connsiteX108" fmla="*/ 6056 w 10000"/>
                    <a:gd name="connsiteY108" fmla="*/ 7731 h 10000"/>
                    <a:gd name="connsiteX109" fmla="*/ 6056 w 10000"/>
                    <a:gd name="connsiteY109" fmla="*/ 7326 h 10000"/>
                    <a:gd name="connsiteX110" fmla="*/ 6056 w 10000"/>
                    <a:gd name="connsiteY110" fmla="*/ 7326 h 10000"/>
                    <a:gd name="connsiteX111" fmla="*/ 6056 w 10000"/>
                    <a:gd name="connsiteY111" fmla="*/ 7232 h 10000"/>
                    <a:gd name="connsiteX112" fmla="*/ 5944 w 10000"/>
                    <a:gd name="connsiteY112" fmla="*/ 7120 h 10000"/>
                    <a:gd name="connsiteX113" fmla="*/ 5889 w 10000"/>
                    <a:gd name="connsiteY113" fmla="*/ 7095 h 10000"/>
                    <a:gd name="connsiteX114" fmla="*/ 5778 w 10000"/>
                    <a:gd name="connsiteY114" fmla="*/ 7074 h 10000"/>
                    <a:gd name="connsiteX115" fmla="*/ 5667 w 10000"/>
                    <a:gd name="connsiteY115" fmla="*/ 7074 h 10000"/>
                    <a:gd name="connsiteX116" fmla="*/ 5500 w 10000"/>
                    <a:gd name="connsiteY116" fmla="*/ 7095 h 10000"/>
                    <a:gd name="connsiteX117" fmla="*/ 5500 w 10000"/>
                    <a:gd name="connsiteY117" fmla="*/ 7095 h 10000"/>
                    <a:gd name="connsiteX118" fmla="*/ 4889 w 10000"/>
                    <a:gd name="connsiteY118" fmla="*/ 7256 h 10000"/>
                    <a:gd name="connsiteX119" fmla="*/ 4611 w 10000"/>
                    <a:gd name="connsiteY119" fmla="*/ 7303 h 10000"/>
                    <a:gd name="connsiteX120" fmla="*/ 4556 w 10000"/>
                    <a:gd name="connsiteY120" fmla="*/ 7326 h 10000"/>
                    <a:gd name="connsiteX121" fmla="*/ 4500 w 10000"/>
                    <a:gd name="connsiteY121" fmla="*/ 7303 h 10000"/>
                    <a:gd name="connsiteX122" fmla="*/ 4500 w 10000"/>
                    <a:gd name="connsiteY122" fmla="*/ 7303 h 10000"/>
                    <a:gd name="connsiteX123" fmla="*/ 4222 w 10000"/>
                    <a:gd name="connsiteY123" fmla="*/ 7074 h 10000"/>
                    <a:gd name="connsiteX124" fmla="*/ 4222 w 10000"/>
                    <a:gd name="connsiteY124" fmla="*/ 7074 h 10000"/>
                    <a:gd name="connsiteX125" fmla="*/ 4111 w 10000"/>
                    <a:gd name="connsiteY125" fmla="*/ 6962 h 10000"/>
                    <a:gd name="connsiteX126" fmla="*/ 4111 w 10000"/>
                    <a:gd name="connsiteY126" fmla="*/ 6893 h 10000"/>
                    <a:gd name="connsiteX127" fmla="*/ 4111 w 10000"/>
                    <a:gd name="connsiteY127" fmla="*/ 6825 h 10000"/>
                    <a:gd name="connsiteX128" fmla="*/ 4111 w 10000"/>
                    <a:gd name="connsiteY128" fmla="*/ 6825 h 10000"/>
                    <a:gd name="connsiteX129" fmla="*/ 4278 w 10000"/>
                    <a:gd name="connsiteY129" fmla="*/ 6757 h 10000"/>
                    <a:gd name="connsiteX130" fmla="*/ 4389 w 10000"/>
                    <a:gd name="connsiteY130" fmla="*/ 6734 h 10000"/>
                    <a:gd name="connsiteX131" fmla="*/ 4389 w 10000"/>
                    <a:gd name="connsiteY131" fmla="*/ 6734 h 10000"/>
                    <a:gd name="connsiteX132" fmla="*/ 4000 w 10000"/>
                    <a:gd name="connsiteY132" fmla="*/ 6734 h 10000"/>
                    <a:gd name="connsiteX133" fmla="*/ 3722 w 10000"/>
                    <a:gd name="connsiteY133" fmla="*/ 6757 h 10000"/>
                    <a:gd name="connsiteX134" fmla="*/ 3611 w 10000"/>
                    <a:gd name="connsiteY134" fmla="*/ 6782 h 10000"/>
                    <a:gd name="connsiteX135" fmla="*/ 3556 w 10000"/>
                    <a:gd name="connsiteY135" fmla="*/ 6804 h 10000"/>
                    <a:gd name="connsiteX136" fmla="*/ 3556 w 10000"/>
                    <a:gd name="connsiteY136" fmla="*/ 6804 h 10000"/>
                    <a:gd name="connsiteX137" fmla="*/ 3444 w 10000"/>
                    <a:gd name="connsiteY137" fmla="*/ 6893 h 10000"/>
                    <a:gd name="connsiteX138" fmla="*/ 3278 w 10000"/>
                    <a:gd name="connsiteY138" fmla="*/ 7032 h 10000"/>
                    <a:gd name="connsiteX139" fmla="*/ 3000 w 10000"/>
                    <a:gd name="connsiteY139" fmla="*/ 7188 h 10000"/>
                    <a:gd name="connsiteX140" fmla="*/ 2667 w 10000"/>
                    <a:gd name="connsiteY140" fmla="*/ 7303 h 10000"/>
                    <a:gd name="connsiteX141" fmla="*/ 2667 w 10000"/>
                    <a:gd name="connsiteY141" fmla="*/ 7303 h 10000"/>
                    <a:gd name="connsiteX142" fmla="*/ 2333 w 10000"/>
                    <a:gd name="connsiteY142" fmla="*/ 7395 h 10000"/>
                    <a:gd name="connsiteX143" fmla="*/ 1833 w 10000"/>
                    <a:gd name="connsiteY143" fmla="*/ 7486 h 10000"/>
                    <a:gd name="connsiteX144" fmla="*/ 1389 w 10000"/>
                    <a:gd name="connsiteY144" fmla="*/ 7530 h 10000"/>
                    <a:gd name="connsiteX145" fmla="*/ 889 w 10000"/>
                    <a:gd name="connsiteY145" fmla="*/ 7552 h 10000"/>
                    <a:gd name="connsiteX146" fmla="*/ 889 w 10000"/>
                    <a:gd name="connsiteY146" fmla="*/ 7552 h 10000"/>
                    <a:gd name="connsiteX147" fmla="*/ 500 w 10000"/>
                    <a:gd name="connsiteY147" fmla="*/ 7579 h 10000"/>
                    <a:gd name="connsiteX148" fmla="*/ 222 w 10000"/>
                    <a:gd name="connsiteY148" fmla="*/ 7597 h 10000"/>
                    <a:gd name="connsiteX149" fmla="*/ 0 w 10000"/>
                    <a:gd name="connsiteY149" fmla="*/ 7619 h 10000"/>
                    <a:gd name="connsiteX150" fmla="*/ 0 w 10000"/>
                    <a:gd name="connsiteY150" fmla="*/ 7619 h 10000"/>
                    <a:gd name="connsiteX151" fmla="*/ 278 w 10000"/>
                    <a:gd name="connsiteY151" fmla="*/ 7984 h 10000"/>
                    <a:gd name="connsiteX152" fmla="*/ 500 w 10000"/>
                    <a:gd name="connsiteY152" fmla="*/ 8252 h 10000"/>
                    <a:gd name="connsiteX153" fmla="*/ 722 w 10000"/>
                    <a:gd name="connsiteY153" fmla="*/ 8480 h 10000"/>
                    <a:gd name="connsiteX154" fmla="*/ 722 w 10000"/>
                    <a:gd name="connsiteY154" fmla="*/ 8480 h 10000"/>
                    <a:gd name="connsiteX155" fmla="*/ 889 w 10000"/>
                    <a:gd name="connsiteY155" fmla="*/ 8617 h 10000"/>
                    <a:gd name="connsiteX156" fmla="*/ 944 w 10000"/>
                    <a:gd name="connsiteY156" fmla="*/ 8733 h 10000"/>
                    <a:gd name="connsiteX157" fmla="*/ 1111 w 10000"/>
                    <a:gd name="connsiteY157" fmla="*/ 8847 h 10000"/>
                    <a:gd name="connsiteX158" fmla="*/ 1333 w 10000"/>
                    <a:gd name="connsiteY158" fmla="*/ 9022 h 10000"/>
                    <a:gd name="connsiteX159" fmla="*/ 1333 w 10000"/>
                    <a:gd name="connsiteY159" fmla="*/ 9022 h 10000"/>
                    <a:gd name="connsiteX160" fmla="*/ 1444 w 10000"/>
                    <a:gd name="connsiteY160" fmla="*/ 9115 h 10000"/>
                    <a:gd name="connsiteX161" fmla="*/ 1500 w 10000"/>
                    <a:gd name="connsiteY161" fmla="*/ 9183 h 10000"/>
                    <a:gd name="connsiteX162" fmla="*/ 1500 w 10000"/>
                    <a:gd name="connsiteY162" fmla="*/ 9248 h 10000"/>
                    <a:gd name="connsiteX163" fmla="*/ 1556 w 10000"/>
                    <a:gd name="connsiteY163" fmla="*/ 9276 h 10000"/>
                    <a:gd name="connsiteX164" fmla="*/ 1722 w 10000"/>
                    <a:gd name="connsiteY164" fmla="*/ 9296 h 10000"/>
                    <a:gd name="connsiteX165" fmla="*/ 1944 w 10000"/>
                    <a:gd name="connsiteY165" fmla="*/ 9319 h 10000"/>
                    <a:gd name="connsiteX166" fmla="*/ 2944 w 10000"/>
                    <a:gd name="connsiteY166" fmla="*/ 9342 h 10000"/>
                    <a:gd name="connsiteX167" fmla="*/ 2944 w 10000"/>
                    <a:gd name="connsiteY167" fmla="*/ 9342 h 10000"/>
                    <a:gd name="connsiteX168" fmla="*/ 4167 w 10000"/>
                    <a:gd name="connsiteY168" fmla="*/ 9389 h 10000"/>
                    <a:gd name="connsiteX169" fmla="*/ 4889 w 10000"/>
                    <a:gd name="connsiteY169" fmla="*/ 9454 h 10000"/>
                    <a:gd name="connsiteX170" fmla="*/ 5278 w 10000"/>
                    <a:gd name="connsiteY170" fmla="*/ 9526 h 10000"/>
                    <a:gd name="connsiteX171" fmla="*/ 5444 w 10000"/>
                    <a:gd name="connsiteY171" fmla="*/ 9544 h 10000"/>
                    <a:gd name="connsiteX172" fmla="*/ 5444 w 10000"/>
                    <a:gd name="connsiteY172" fmla="*/ 9544 h 10000"/>
                    <a:gd name="connsiteX173" fmla="*/ 5722 w 10000"/>
                    <a:gd name="connsiteY173" fmla="*/ 9594 h 10000"/>
                    <a:gd name="connsiteX174" fmla="*/ 5833 w 10000"/>
                    <a:gd name="connsiteY174" fmla="*/ 9618 h 10000"/>
                    <a:gd name="connsiteX175" fmla="*/ 5833 w 10000"/>
                    <a:gd name="connsiteY175" fmla="*/ 9618 h 10000"/>
                    <a:gd name="connsiteX176" fmla="*/ 5833 w 10000"/>
                    <a:gd name="connsiteY176" fmla="*/ 9594 h 10000"/>
                    <a:gd name="connsiteX177" fmla="*/ 5889 w 10000"/>
                    <a:gd name="connsiteY177" fmla="*/ 9569 h 10000"/>
                    <a:gd name="connsiteX178" fmla="*/ 6000 w 10000"/>
                    <a:gd name="connsiteY178" fmla="*/ 9544 h 10000"/>
                    <a:gd name="connsiteX179" fmla="*/ 6167 w 10000"/>
                    <a:gd name="connsiteY179" fmla="*/ 9526 h 10000"/>
                    <a:gd name="connsiteX180" fmla="*/ 6444 w 10000"/>
                    <a:gd name="connsiteY180" fmla="*/ 9526 h 10000"/>
                    <a:gd name="connsiteX181" fmla="*/ 6833 w 10000"/>
                    <a:gd name="connsiteY181" fmla="*/ 9544 h 10000"/>
                    <a:gd name="connsiteX182" fmla="*/ 7278 w 10000"/>
                    <a:gd name="connsiteY182" fmla="*/ 9618 h 10000"/>
                    <a:gd name="connsiteX183" fmla="*/ 7278 w 10000"/>
                    <a:gd name="connsiteY183" fmla="*/ 9618 h 10000"/>
                    <a:gd name="connsiteX184" fmla="*/ 8722 w 10000"/>
                    <a:gd name="connsiteY184" fmla="*/ 9815 h 10000"/>
                    <a:gd name="connsiteX185" fmla="*/ 10000 w 10000"/>
                    <a:gd name="connsiteY185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500 w 10000"/>
                    <a:gd name="connsiteY76" fmla="*/ 772 h 10000"/>
                    <a:gd name="connsiteX77" fmla="*/ 1444 w 10000"/>
                    <a:gd name="connsiteY77" fmla="*/ 681 h 10000"/>
                    <a:gd name="connsiteX78" fmla="*/ 1444 w 10000"/>
                    <a:gd name="connsiteY78" fmla="*/ 590 h 10000"/>
                    <a:gd name="connsiteX79" fmla="*/ 1444 w 10000"/>
                    <a:gd name="connsiteY79" fmla="*/ 523 h 10000"/>
                    <a:gd name="connsiteX80" fmla="*/ 1556 w 10000"/>
                    <a:gd name="connsiteY80" fmla="*/ 454 h 10000"/>
                    <a:gd name="connsiteX81" fmla="*/ 2111 w 10000"/>
                    <a:gd name="connsiteY81" fmla="*/ 224 h 10000"/>
                    <a:gd name="connsiteX82" fmla="*/ 2389 w 10000"/>
                    <a:gd name="connsiteY82" fmla="*/ 0 h 10000"/>
                    <a:gd name="connsiteX83" fmla="*/ 10000 w 10000"/>
                    <a:gd name="connsiteY83" fmla="*/ 8480 h 10000"/>
                    <a:gd name="connsiteX84" fmla="*/ 10000 w 10000"/>
                    <a:gd name="connsiteY84" fmla="*/ 8480 h 10000"/>
                    <a:gd name="connsiteX85" fmla="*/ 9722 w 10000"/>
                    <a:gd name="connsiteY85" fmla="*/ 8455 h 10000"/>
                    <a:gd name="connsiteX86" fmla="*/ 9389 w 10000"/>
                    <a:gd name="connsiteY86" fmla="*/ 8480 h 10000"/>
                    <a:gd name="connsiteX87" fmla="*/ 9389 w 10000"/>
                    <a:gd name="connsiteY87" fmla="*/ 8480 h 10000"/>
                    <a:gd name="connsiteX88" fmla="*/ 9278 w 10000"/>
                    <a:gd name="connsiteY88" fmla="*/ 8508 h 10000"/>
                    <a:gd name="connsiteX89" fmla="*/ 9056 w 10000"/>
                    <a:gd name="connsiteY89" fmla="*/ 8480 h 10000"/>
                    <a:gd name="connsiteX90" fmla="*/ 8889 w 10000"/>
                    <a:gd name="connsiteY90" fmla="*/ 8455 h 10000"/>
                    <a:gd name="connsiteX91" fmla="*/ 8722 w 10000"/>
                    <a:gd name="connsiteY91" fmla="*/ 8413 h 10000"/>
                    <a:gd name="connsiteX92" fmla="*/ 8611 w 10000"/>
                    <a:gd name="connsiteY92" fmla="*/ 8343 h 10000"/>
                    <a:gd name="connsiteX93" fmla="*/ 8444 w 10000"/>
                    <a:gd name="connsiteY93" fmla="*/ 8229 h 10000"/>
                    <a:gd name="connsiteX94" fmla="*/ 8444 w 10000"/>
                    <a:gd name="connsiteY94" fmla="*/ 8229 h 10000"/>
                    <a:gd name="connsiteX95" fmla="*/ 8222 w 10000"/>
                    <a:gd name="connsiteY95" fmla="*/ 8030 h 10000"/>
                    <a:gd name="connsiteX96" fmla="*/ 8111 w 10000"/>
                    <a:gd name="connsiteY96" fmla="*/ 7939 h 10000"/>
                    <a:gd name="connsiteX97" fmla="*/ 7944 w 10000"/>
                    <a:gd name="connsiteY97" fmla="*/ 7871 h 10000"/>
                    <a:gd name="connsiteX98" fmla="*/ 7778 w 10000"/>
                    <a:gd name="connsiteY98" fmla="*/ 7826 h 10000"/>
                    <a:gd name="connsiteX99" fmla="*/ 7556 w 10000"/>
                    <a:gd name="connsiteY99" fmla="*/ 7799 h 10000"/>
                    <a:gd name="connsiteX100" fmla="*/ 7333 w 10000"/>
                    <a:gd name="connsiteY100" fmla="*/ 7779 h 10000"/>
                    <a:gd name="connsiteX101" fmla="*/ 7000 w 10000"/>
                    <a:gd name="connsiteY101" fmla="*/ 7753 h 10000"/>
                    <a:gd name="connsiteX102" fmla="*/ 7000 w 10000"/>
                    <a:gd name="connsiteY102" fmla="*/ 7753 h 10000"/>
                    <a:gd name="connsiteX103" fmla="*/ 6556 w 10000"/>
                    <a:gd name="connsiteY103" fmla="*/ 7779 h 10000"/>
                    <a:gd name="connsiteX104" fmla="*/ 6222 w 10000"/>
                    <a:gd name="connsiteY104" fmla="*/ 7779 h 10000"/>
                    <a:gd name="connsiteX105" fmla="*/ 6111 w 10000"/>
                    <a:gd name="connsiteY105" fmla="*/ 7753 h 10000"/>
                    <a:gd name="connsiteX106" fmla="*/ 6056 w 10000"/>
                    <a:gd name="connsiteY106" fmla="*/ 7731 h 10000"/>
                    <a:gd name="connsiteX107" fmla="*/ 6056 w 10000"/>
                    <a:gd name="connsiteY107" fmla="*/ 7731 h 10000"/>
                    <a:gd name="connsiteX108" fmla="*/ 6056 w 10000"/>
                    <a:gd name="connsiteY108" fmla="*/ 7326 h 10000"/>
                    <a:gd name="connsiteX109" fmla="*/ 6056 w 10000"/>
                    <a:gd name="connsiteY109" fmla="*/ 7326 h 10000"/>
                    <a:gd name="connsiteX110" fmla="*/ 6056 w 10000"/>
                    <a:gd name="connsiteY110" fmla="*/ 7232 h 10000"/>
                    <a:gd name="connsiteX111" fmla="*/ 5944 w 10000"/>
                    <a:gd name="connsiteY111" fmla="*/ 7120 h 10000"/>
                    <a:gd name="connsiteX112" fmla="*/ 5889 w 10000"/>
                    <a:gd name="connsiteY112" fmla="*/ 7095 h 10000"/>
                    <a:gd name="connsiteX113" fmla="*/ 5778 w 10000"/>
                    <a:gd name="connsiteY113" fmla="*/ 7074 h 10000"/>
                    <a:gd name="connsiteX114" fmla="*/ 5667 w 10000"/>
                    <a:gd name="connsiteY114" fmla="*/ 7074 h 10000"/>
                    <a:gd name="connsiteX115" fmla="*/ 5500 w 10000"/>
                    <a:gd name="connsiteY115" fmla="*/ 7095 h 10000"/>
                    <a:gd name="connsiteX116" fmla="*/ 5500 w 10000"/>
                    <a:gd name="connsiteY116" fmla="*/ 7095 h 10000"/>
                    <a:gd name="connsiteX117" fmla="*/ 4889 w 10000"/>
                    <a:gd name="connsiteY117" fmla="*/ 7256 h 10000"/>
                    <a:gd name="connsiteX118" fmla="*/ 4611 w 10000"/>
                    <a:gd name="connsiteY118" fmla="*/ 7303 h 10000"/>
                    <a:gd name="connsiteX119" fmla="*/ 4556 w 10000"/>
                    <a:gd name="connsiteY119" fmla="*/ 7326 h 10000"/>
                    <a:gd name="connsiteX120" fmla="*/ 4500 w 10000"/>
                    <a:gd name="connsiteY120" fmla="*/ 7303 h 10000"/>
                    <a:gd name="connsiteX121" fmla="*/ 4500 w 10000"/>
                    <a:gd name="connsiteY121" fmla="*/ 7303 h 10000"/>
                    <a:gd name="connsiteX122" fmla="*/ 4222 w 10000"/>
                    <a:gd name="connsiteY122" fmla="*/ 7074 h 10000"/>
                    <a:gd name="connsiteX123" fmla="*/ 4222 w 10000"/>
                    <a:gd name="connsiteY123" fmla="*/ 7074 h 10000"/>
                    <a:gd name="connsiteX124" fmla="*/ 4111 w 10000"/>
                    <a:gd name="connsiteY124" fmla="*/ 6962 h 10000"/>
                    <a:gd name="connsiteX125" fmla="*/ 4111 w 10000"/>
                    <a:gd name="connsiteY125" fmla="*/ 6893 h 10000"/>
                    <a:gd name="connsiteX126" fmla="*/ 4111 w 10000"/>
                    <a:gd name="connsiteY126" fmla="*/ 6825 h 10000"/>
                    <a:gd name="connsiteX127" fmla="*/ 4111 w 10000"/>
                    <a:gd name="connsiteY127" fmla="*/ 6825 h 10000"/>
                    <a:gd name="connsiteX128" fmla="*/ 4278 w 10000"/>
                    <a:gd name="connsiteY128" fmla="*/ 6757 h 10000"/>
                    <a:gd name="connsiteX129" fmla="*/ 4389 w 10000"/>
                    <a:gd name="connsiteY129" fmla="*/ 6734 h 10000"/>
                    <a:gd name="connsiteX130" fmla="*/ 4389 w 10000"/>
                    <a:gd name="connsiteY130" fmla="*/ 6734 h 10000"/>
                    <a:gd name="connsiteX131" fmla="*/ 4000 w 10000"/>
                    <a:gd name="connsiteY131" fmla="*/ 6734 h 10000"/>
                    <a:gd name="connsiteX132" fmla="*/ 3722 w 10000"/>
                    <a:gd name="connsiteY132" fmla="*/ 6757 h 10000"/>
                    <a:gd name="connsiteX133" fmla="*/ 3611 w 10000"/>
                    <a:gd name="connsiteY133" fmla="*/ 6782 h 10000"/>
                    <a:gd name="connsiteX134" fmla="*/ 3556 w 10000"/>
                    <a:gd name="connsiteY134" fmla="*/ 6804 h 10000"/>
                    <a:gd name="connsiteX135" fmla="*/ 3556 w 10000"/>
                    <a:gd name="connsiteY135" fmla="*/ 6804 h 10000"/>
                    <a:gd name="connsiteX136" fmla="*/ 3444 w 10000"/>
                    <a:gd name="connsiteY136" fmla="*/ 6893 h 10000"/>
                    <a:gd name="connsiteX137" fmla="*/ 3278 w 10000"/>
                    <a:gd name="connsiteY137" fmla="*/ 7032 h 10000"/>
                    <a:gd name="connsiteX138" fmla="*/ 3000 w 10000"/>
                    <a:gd name="connsiteY138" fmla="*/ 7188 h 10000"/>
                    <a:gd name="connsiteX139" fmla="*/ 2667 w 10000"/>
                    <a:gd name="connsiteY139" fmla="*/ 7303 h 10000"/>
                    <a:gd name="connsiteX140" fmla="*/ 2667 w 10000"/>
                    <a:gd name="connsiteY140" fmla="*/ 7303 h 10000"/>
                    <a:gd name="connsiteX141" fmla="*/ 2333 w 10000"/>
                    <a:gd name="connsiteY141" fmla="*/ 7395 h 10000"/>
                    <a:gd name="connsiteX142" fmla="*/ 1833 w 10000"/>
                    <a:gd name="connsiteY142" fmla="*/ 7486 h 10000"/>
                    <a:gd name="connsiteX143" fmla="*/ 1389 w 10000"/>
                    <a:gd name="connsiteY143" fmla="*/ 7530 h 10000"/>
                    <a:gd name="connsiteX144" fmla="*/ 889 w 10000"/>
                    <a:gd name="connsiteY144" fmla="*/ 7552 h 10000"/>
                    <a:gd name="connsiteX145" fmla="*/ 889 w 10000"/>
                    <a:gd name="connsiteY145" fmla="*/ 7552 h 10000"/>
                    <a:gd name="connsiteX146" fmla="*/ 500 w 10000"/>
                    <a:gd name="connsiteY146" fmla="*/ 7579 h 10000"/>
                    <a:gd name="connsiteX147" fmla="*/ 222 w 10000"/>
                    <a:gd name="connsiteY147" fmla="*/ 7597 h 10000"/>
                    <a:gd name="connsiteX148" fmla="*/ 0 w 10000"/>
                    <a:gd name="connsiteY148" fmla="*/ 7619 h 10000"/>
                    <a:gd name="connsiteX149" fmla="*/ 0 w 10000"/>
                    <a:gd name="connsiteY149" fmla="*/ 7619 h 10000"/>
                    <a:gd name="connsiteX150" fmla="*/ 278 w 10000"/>
                    <a:gd name="connsiteY150" fmla="*/ 7984 h 10000"/>
                    <a:gd name="connsiteX151" fmla="*/ 500 w 10000"/>
                    <a:gd name="connsiteY151" fmla="*/ 8252 h 10000"/>
                    <a:gd name="connsiteX152" fmla="*/ 722 w 10000"/>
                    <a:gd name="connsiteY152" fmla="*/ 8480 h 10000"/>
                    <a:gd name="connsiteX153" fmla="*/ 722 w 10000"/>
                    <a:gd name="connsiteY153" fmla="*/ 8480 h 10000"/>
                    <a:gd name="connsiteX154" fmla="*/ 889 w 10000"/>
                    <a:gd name="connsiteY154" fmla="*/ 8617 h 10000"/>
                    <a:gd name="connsiteX155" fmla="*/ 944 w 10000"/>
                    <a:gd name="connsiteY155" fmla="*/ 8733 h 10000"/>
                    <a:gd name="connsiteX156" fmla="*/ 1111 w 10000"/>
                    <a:gd name="connsiteY156" fmla="*/ 8847 h 10000"/>
                    <a:gd name="connsiteX157" fmla="*/ 1333 w 10000"/>
                    <a:gd name="connsiteY157" fmla="*/ 9022 h 10000"/>
                    <a:gd name="connsiteX158" fmla="*/ 1333 w 10000"/>
                    <a:gd name="connsiteY158" fmla="*/ 9022 h 10000"/>
                    <a:gd name="connsiteX159" fmla="*/ 1444 w 10000"/>
                    <a:gd name="connsiteY159" fmla="*/ 9115 h 10000"/>
                    <a:gd name="connsiteX160" fmla="*/ 1500 w 10000"/>
                    <a:gd name="connsiteY160" fmla="*/ 9183 h 10000"/>
                    <a:gd name="connsiteX161" fmla="*/ 1500 w 10000"/>
                    <a:gd name="connsiteY161" fmla="*/ 9248 h 10000"/>
                    <a:gd name="connsiteX162" fmla="*/ 1556 w 10000"/>
                    <a:gd name="connsiteY162" fmla="*/ 9276 h 10000"/>
                    <a:gd name="connsiteX163" fmla="*/ 1722 w 10000"/>
                    <a:gd name="connsiteY163" fmla="*/ 9296 h 10000"/>
                    <a:gd name="connsiteX164" fmla="*/ 1944 w 10000"/>
                    <a:gd name="connsiteY164" fmla="*/ 9319 h 10000"/>
                    <a:gd name="connsiteX165" fmla="*/ 2944 w 10000"/>
                    <a:gd name="connsiteY165" fmla="*/ 9342 h 10000"/>
                    <a:gd name="connsiteX166" fmla="*/ 2944 w 10000"/>
                    <a:gd name="connsiteY166" fmla="*/ 9342 h 10000"/>
                    <a:gd name="connsiteX167" fmla="*/ 4167 w 10000"/>
                    <a:gd name="connsiteY167" fmla="*/ 9389 h 10000"/>
                    <a:gd name="connsiteX168" fmla="*/ 4889 w 10000"/>
                    <a:gd name="connsiteY168" fmla="*/ 9454 h 10000"/>
                    <a:gd name="connsiteX169" fmla="*/ 5278 w 10000"/>
                    <a:gd name="connsiteY169" fmla="*/ 9526 h 10000"/>
                    <a:gd name="connsiteX170" fmla="*/ 5444 w 10000"/>
                    <a:gd name="connsiteY170" fmla="*/ 9544 h 10000"/>
                    <a:gd name="connsiteX171" fmla="*/ 5444 w 10000"/>
                    <a:gd name="connsiteY171" fmla="*/ 9544 h 10000"/>
                    <a:gd name="connsiteX172" fmla="*/ 5722 w 10000"/>
                    <a:gd name="connsiteY172" fmla="*/ 9594 h 10000"/>
                    <a:gd name="connsiteX173" fmla="*/ 5833 w 10000"/>
                    <a:gd name="connsiteY173" fmla="*/ 9618 h 10000"/>
                    <a:gd name="connsiteX174" fmla="*/ 5833 w 10000"/>
                    <a:gd name="connsiteY174" fmla="*/ 9618 h 10000"/>
                    <a:gd name="connsiteX175" fmla="*/ 5833 w 10000"/>
                    <a:gd name="connsiteY175" fmla="*/ 9594 h 10000"/>
                    <a:gd name="connsiteX176" fmla="*/ 5889 w 10000"/>
                    <a:gd name="connsiteY176" fmla="*/ 9569 h 10000"/>
                    <a:gd name="connsiteX177" fmla="*/ 6000 w 10000"/>
                    <a:gd name="connsiteY177" fmla="*/ 9544 h 10000"/>
                    <a:gd name="connsiteX178" fmla="*/ 6167 w 10000"/>
                    <a:gd name="connsiteY178" fmla="*/ 9526 h 10000"/>
                    <a:gd name="connsiteX179" fmla="*/ 6444 w 10000"/>
                    <a:gd name="connsiteY179" fmla="*/ 9526 h 10000"/>
                    <a:gd name="connsiteX180" fmla="*/ 6833 w 10000"/>
                    <a:gd name="connsiteY180" fmla="*/ 9544 h 10000"/>
                    <a:gd name="connsiteX181" fmla="*/ 7278 w 10000"/>
                    <a:gd name="connsiteY181" fmla="*/ 9618 h 10000"/>
                    <a:gd name="connsiteX182" fmla="*/ 7278 w 10000"/>
                    <a:gd name="connsiteY182" fmla="*/ 9618 h 10000"/>
                    <a:gd name="connsiteX183" fmla="*/ 8722 w 10000"/>
                    <a:gd name="connsiteY183" fmla="*/ 9815 h 10000"/>
                    <a:gd name="connsiteX184" fmla="*/ 10000 w 10000"/>
                    <a:gd name="connsiteY184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500 w 10000"/>
                    <a:gd name="connsiteY76" fmla="*/ 772 h 10000"/>
                    <a:gd name="connsiteX77" fmla="*/ 1444 w 10000"/>
                    <a:gd name="connsiteY77" fmla="*/ 681 h 10000"/>
                    <a:gd name="connsiteX78" fmla="*/ 1444 w 10000"/>
                    <a:gd name="connsiteY78" fmla="*/ 523 h 10000"/>
                    <a:gd name="connsiteX79" fmla="*/ 1556 w 10000"/>
                    <a:gd name="connsiteY79" fmla="*/ 454 h 10000"/>
                    <a:gd name="connsiteX80" fmla="*/ 2111 w 10000"/>
                    <a:gd name="connsiteY80" fmla="*/ 224 h 10000"/>
                    <a:gd name="connsiteX81" fmla="*/ 2389 w 10000"/>
                    <a:gd name="connsiteY81" fmla="*/ 0 h 10000"/>
                    <a:gd name="connsiteX82" fmla="*/ 10000 w 10000"/>
                    <a:gd name="connsiteY82" fmla="*/ 8480 h 10000"/>
                    <a:gd name="connsiteX83" fmla="*/ 10000 w 10000"/>
                    <a:gd name="connsiteY83" fmla="*/ 8480 h 10000"/>
                    <a:gd name="connsiteX84" fmla="*/ 9722 w 10000"/>
                    <a:gd name="connsiteY84" fmla="*/ 8455 h 10000"/>
                    <a:gd name="connsiteX85" fmla="*/ 9389 w 10000"/>
                    <a:gd name="connsiteY85" fmla="*/ 8480 h 10000"/>
                    <a:gd name="connsiteX86" fmla="*/ 9389 w 10000"/>
                    <a:gd name="connsiteY86" fmla="*/ 8480 h 10000"/>
                    <a:gd name="connsiteX87" fmla="*/ 9278 w 10000"/>
                    <a:gd name="connsiteY87" fmla="*/ 8508 h 10000"/>
                    <a:gd name="connsiteX88" fmla="*/ 9056 w 10000"/>
                    <a:gd name="connsiteY88" fmla="*/ 8480 h 10000"/>
                    <a:gd name="connsiteX89" fmla="*/ 8889 w 10000"/>
                    <a:gd name="connsiteY89" fmla="*/ 8455 h 10000"/>
                    <a:gd name="connsiteX90" fmla="*/ 8722 w 10000"/>
                    <a:gd name="connsiteY90" fmla="*/ 8413 h 10000"/>
                    <a:gd name="connsiteX91" fmla="*/ 8611 w 10000"/>
                    <a:gd name="connsiteY91" fmla="*/ 8343 h 10000"/>
                    <a:gd name="connsiteX92" fmla="*/ 8444 w 10000"/>
                    <a:gd name="connsiteY92" fmla="*/ 8229 h 10000"/>
                    <a:gd name="connsiteX93" fmla="*/ 8444 w 10000"/>
                    <a:gd name="connsiteY93" fmla="*/ 8229 h 10000"/>
                    <a:gd name="connsiteX94" fmla="*/ 8222 w 10000"/>
                    <a:gd name="connsiteY94" fmla="*/ 8030 h 10000"/>
                    <a:gd name="connsiteX95" fmla="*/ 8111 w 10000"/>
                    <a:gd name="connsiteY95" fmla="*/ 7939 h 10000"/>
                    <a:gd name="connsiteX96" fmla="*/ 7944 w 10000"/>
                    <a:gd name="connsiteY96" fmla="*/ 7871 h 10000"/>
                    <a:gd name="connsiteX97" fmla="*/ 7778 w 10000"/>
                    <a:gd name="connsiteY97" fmla="*/ 7826 h 10000"/>
                    <a:gd name="connsiteX98" fmla="*/ 7556 w 10000"/>
                    <a:gd name="connsiteY98" fmla="*/ 7799 h 10000"/>
                    <a:gd name="connsiteX99" fmla="*/ 7333 w 10000"/>
                    <a:gd name="connsiteY99" fmla="*/ 7779 h 10000"/>
                    <a:gd name="connsiteX100" fmla="*/ 7000 w 10000"/>
                    <a:gd name="connsiteY100" fmla="*/ 7753 h 10000"/>
                    <a:gd name="connsiteX101" fmla="*/ 7000 w 10000"/>
                    <a:gd name="connsiteY101" fmla="*/ 7753 h 10000"/>
                    <a:gd name="connsiteX102" fmla="*/ 6556 w 10000"/>
                    <a:gd name="connsiteY102" fmla="*/ 7779 h 10000"/>
                    <a:gd name="connsiteX103" fmla="*/ 6222 w 10000"/>
                    <a:gd name="connsiteY103" fmla="*/ 7779 h 10000"/>
                    <a:gd name="connsiteX104" fmla="*/ 6111 w 10000"/>
                    <a:gd name="connsiteY104" fmla="*/ 7753 h 10000"/>
                    <a:gd name="connsiteX105" fmla="*/ 6056 w 10000"/>
                    <a:gd name="connsiteY105" fmla="*/ 7731 h 10000"/>
                    <a:gd name="connsiteX106" fmla="*/ 6056 w 10000"/>
                    <a:gd name="connsiteY106" fmla="*/ 7731 h 10000"/>
                    <a:gd name="connsiteX107" fmla="*/ 6056 w 10000"/>
                    <a:gd name="connsiteY107" fmla="*/ 7326 h 10000"/>
                    <a:gd name="connsiteX108" fmla="*/ 6056 w 10000"/>
                    <a:gd name="connsiteY108" fmla="*/ 7326 h 10000"/>
                    <a:gd name="connsiteX109" fmla="*/ 6056 w 10000"/>
                    <a:gd name="connsiteY109" fmla="*/ 7232 h 10000"/>
                    <a:gd name="connsiteX110" fmla="*/ 5944 w 10000"/>
                    <a:gd name="connsiteY110" fmla="*/ 7120 h 10000"/>
                    <a:gd name="connsiteX111" fmla="*/ 5889 w 10000"/>
                    <a:gd name="connsiteY111" fmla="*/ 7095 h 10000"/>
                    <a:gd name="connsiteX112" fmla="*/ 5778 w 10000"/>
                    <a:gd name="connsiteY112" fmla="*/ 7074 h 10000"/>
                    <a:gd name="connsiteX113" fmla="*/ 5667 w 10000"/>
                    <a:gd name="connsiteY113" fmla="*/ 7074 h 10000"/>
                    <a:gd name="connsiteX114" fmla="*/ 5500 w 10000"/>
                    <a:gd name="connsiteY114" fmla="*/ 7095 h 10000"/>
                    <a:gd name="connsiteX115" fmla="*/ 5500 w 10000"/>
                    <a:gd name="connsiteY115" fmla="*/ 7095 h 10000"/>
                    <a:gd name="connsiteX116" fmla="*/ 4889 w 10000"/>
                    <a:gd name="connsiteY116" fmla="*/ 7256 h 10000"/>
                    <a:gd name="connsiteX117" fmla="*/ 4611 w 10000"/>
                    <a:gd name="connsiteY117" fmla="*/ 7303 h 10000"/>
                    <a:gd name="connsiteX118" fmla="*/ 4556 w 10000"/>
                    <a:gd name="connsiteY118" fmla="*/ 7326 h 10000"/>
                    <a:gd name="connsiteX119" fmla="*/ 4500 w 10000"/>
                    <a:gd name="connsiteY119" fmla="*/ 7303 h 10000"/>
                    <a:gd name="connsiteX120" fmla="*/ 4500 w 10000"/>
                    <a:gd name="connsiteY120" fmla="*/ 7303 h 10000"/>
                    <a:gd name="connsiteX121" fmla="*/ 4222 w 10000"/>
                    <a:gd name="connsiteY121" fmla="*/ 7074 h 10000"/>
                    <a:gd name="connsiteX122" fmla="*/ 4222 w 10000"/>
                    <a:gd name="connsiteY122" fmla="*/ 7074 h 10000"/>
                    <a:gd name="connsiteX123" fmla="*/ 4111 w 10000"/>
                    <a:gd name="connsiteY123" fmla="*/ 6962 h 10000"/>
                    <a:gd name="connsiteX124" fmla="*/ 4111 w 10000"/>
                    <a:gd name="connsiteY124" fmla="*/ 6893 h 10000"/>
                    <a:gd name="connsiteX125" fmla="*/ 4111 w 10000"/>
                    <a:gd name="connsiteY125" fmla="*/ 6825 h 10000"/>
                    <a:gd name="connsiteX126" fmla="*/ 4111 w 10000"/>
                    <a:gd name="connsiteY126" fmla="*/ 6825 h 10000"/>
                    <a:gd name="connsiteX127" fmla="*/ 4278 w 10000"/>
                    <a:gd name="connsiteY127" fmla="*/ 6757 h 10000"/>
                    <a:gd name="connsiteX128" fmla="*/ 4389 w 10000"/>
                    <a:gd name="connsiteY128" fmla="*/ 6734 h 10000"/>
                    <a:gd name="connsiteX129" fmla="*/ 4389 w 10000"/>
                    <a:gd name="connsiteY129" fmla="*/ 6734 h 10000"/>
                    <a:gd name="connsiteX130" fmla="*/ 4000 w 10000"/>
                    <a:gd name="connsiteY130" fmla="*/ 6734 h 10000"/>
                    <a:gd name="connsiteX131" fmla="*/ 3722 w 10000"/>
                    <a:gd name="connsiteY131" fmla="*/ 6757 h 10000"/>
                    <a:gd name="connsiteX132" fmla="*/ 3611 w 10000"/>
                    <a:gd name="connsiteY132" fmla="*/ 6782 h 10000"/>
                    <a:gd name="connsiteX133" fmla="*/ 3556 w 10000"/>
                    <a:gd name="connsiteY133" fmla="*/ 6804 h 10000"/>
                    <a:gd name="connsiteX134" fmla="*/ 3556 w 10000"/>
                    <a:gd name="connsiteY134" fmla="*/ 6804 h 10000"/>
                    <a:gd name="connsiteX135" fmla="*/ 3444 w 10000"/>
                    <a:gd name="connsiteY135" fmla="*/ 6893 h 10000"/>
                    <a:gd name="connsiteX136" fmla="*/ 3278 w 10000"/>
                    <a:gd name="connsiteY136" fmla="*/ 7032 h 10000"/>
                    <a:gd name="connsiteX137" fmla="*/ 3000 w 10000"/>
                    <a:gd name="connsiteY137" fmla="*/ 7188 h 10000"/>
                    <a:gd name="connsiteX138" fmla="*/ 2667 w 10000"/>
                    <a:gd name="connsiteY138" fmla="*/ 7303 h 10000"/>
                    <a:gd name="connsiteX139" fmla="*/ 2667 w 10000"/>
                    <a:gd name="connsiteY139" fmla="*/ 7303 h 10000"/>
                    <a:gd name="connsiteX140" fmla="*/ 2333 w 10000"/>
                    <a:gd name="connsiteY140" fmla="*/ 7395 h 10000"/>
                    <a:gd name="connsiteX141" fmla="*/ 1833 w 10000"/>
                    <a:gd name="connsiteY141" fmla="*/ 7486 h 10000"/>
                    <a:gd name="connsiteX142" fmla="*/ 1389 w 10000"/>
                    <a:gd name="connsiteY142" fmla="*/ 7530 h 10000"/>
                    <a:gd name="connsiteX143" fmla="*/ 889 w 10000"/>
                    <a:gd name="connsiteY143" fmla="*/ 7552 h 10000"/>
                    <a:gd name="connsiteX144" fmla="*/ 889 w 10000"/>
                    <a:gd name="connsiteY144" fmla="*/ 7552 h 10000"/>
                    <a:gd name="connsiteX145" fmla="*/ 500 w 10000"/>
                    <a:gd name="connsiteY145" fmla="*/ 7579 h 10000"/>
                    <a:gd name="connsiteX146" fmla="*/ 222 w 10000"/>
                    <a:gd name="connsiteY146" fmla="*/ 7597 h 10000"/>
                    <a:gd name="connsiteX147" fmla="*/ 0 w 10000"/>
                    <a:gd name="connsiteY147" fmla="*/ 7619 h 10000"/>
                    <a:gd name="connsiteX148" fmla="*/ 0 w 10000"/>
                    <a:gd name="connsiteY148" fmla="*/ 7619 h 10000"/>
                    <a:gd name="connsiteX149" fmla="*/ 278 w 10000"/>
                    <a:gd name="connsiteY149" fmla="*/ 7984 h 10000"/>
                    <a:gd name="connsiteX150" fmla="*/ 500 w 10000"/>
                    <a:gd name="connsiteY150" fmla="*/ 8252 h 10000"/>
                    <a:gd name="connsiteX151" fmla="*/ 722 w 10000"/>
                    <a:gd name="connsiteY151" fmla="*/ 8480 h 10000"/>
                    <a:gd name="connsiteX152" fmla="*/ 722 w 10000"/>
                    <a:gd name="connsiteY152" fmla="*/ 8480 h 10000"/>
                    <a:gd name="connsiteX153" fmla="*/ 889 w 10000"/>
                    <a:gd name="connsiteY153" fmla="*/ 8617 h 10000"/>
                    <a:gd name="connsiteX154" fmla="*/ 944 w 10000"/>
                    <a:gd name="connsiteY154" fmla="*/ 8733 h 10000"/>
                    <a:gd name="connsiteX155" fmla="*/ 1111 w 10000"/>
                    <a:gd name="connsiteY155" fmla="*/ 8847 h 10000"/>
                    <a:gd name="connsiteX156" fmla="*/ 1333 w 10000"/>
                    <a:gd name="connsiteY156" fmla="*/ 9022 h 10000"/>
                    <a:gd name="connsiteX157" fmla="*/ 1333 w 10000"/>
                    <a:gd name="connsiteY157" fmla="*/ 9022 h 10000"/>
                    <a:gd name="connsiteX158" fmla="*/ 1444 w 10000"/>
                    <a:gd name="connsiteY158" fmla="*/ 9115 h 10000"/>
                    <a:gd name="connsiteX159" fmla="*/ 1500 w 10000"/>
                    <a:gd name="connsiteY159" fmla="*/ 9183 h 10000"/>
                    <a:gd name="connsiteX160" fmla="*/ 1500 w 10000"/>
                    <a:gd name="connsiteY160" fmla="*/ 9248 h 10000"/>
                    <a:gd name="connsiteX161" fmla="*/ 1556 w 10000"/>
                    <a:gd name="connsiteY161" fmla="*/ 9276 h 10000"/>
                    <a:gd name="connsiteX162" fmla="*/ 1722 w 10000"/>
                    <a:gd name="connsiteY162" fmla="*/ 9296 h 10000"/>
                    <a:gd name="connsiteX163" fmla="*/ 1944 w 10000"/>
                    <a:gd name="connsiteY163" fmla="*/ 9319 h 10000"/>
                    <a:gd name="connsiteX164" fmla="*/ 2944 w 10000"/>
                    <a:gd name="connsiteY164" fmla="*/ 9342 h 10000"/>
                    <a:gd name="connsiteX165" fmla="*/ 2944 w 10000"/>
                    <a:gd name="connsiteY165" fmla="*/ 9342 h 10000"/>
                    <a:gd name="connsiteX166" fmla="*/ 4167 w 10000"/>
                    <a:gd name="connsiteY166" fmla="*/ 9389 h 10000"/>
                    <a:gd name="connsiteX167" fmla="*/ 4889 w 10000"/>
                    <a:gd name="connsiteY167" fmla="*/ 9454 h 10000"/>
                    <a:gd name="connsiteX168" fmla="*/ 5278 w 10000"/>
                    <a:gd name="connsiteY168" fmla="*/ 9526 h 10000"/>
                    <a:gd name="connsiteX169" fmla="*/ 5444 w 10000"/>
                    <a:gd name="connsiteY169" fmla="*/ 9544 h 10000"/>
                    <a:gd name="connsiteX170" fmla="*/ 5444 w 10000"/>
                    <a:gd name="connsiteY170" fmla="*/ 9544 h 10000"/>
                    <a:gd name="connsiteX171" fmla="*/ 5722 w 10000"/>
                    <a:gd name="connsiteY171" fmla="*/ 9594 h 10000"/>
                    <a:gd name="connsiteX172" fmla="*/ 5833 w 10000"/>
                    <a:gd name="connsiteY172" fmla="*/ 9618 h 10000"/>
                    <a:gd name="connsiteX173" fmla="*/ 5833 w 10000"/>
                    <a:gd name="connsiteY173" fmla="*/ 9618 h 10000"/>
                    <a:gd name="connsiteX174" fmla="*/ 5833 w 10000"/>
                    <a:gd name="connsiteY174" fmla="*/ 9594 h 10000"/>
                    <a:gd name="connsiteX175" fmla="*/ 5889 w 10000"/>
                    <a:gd name="connsiteY175" fmla="*/ 9569 h 10000"/>
                    <a:gd name="connsiteX176" fmla="*/ 6000 w 10000"/>
                    <a:gd name="connsiteY176" fmla="*/ 9544 h 10000"/>
                    <a:gd name="connsiteX177" fmla="*/ 6167 w 10000"/>
                    <a:gd name="connsiteY177" fmla="*/ 9526 h 10000"/>
                    <a:gd name="connsiteX178" fmla="*/ 6444 w 10000"/>
                    <a:gd name="connsiteY178" fmla="*/ 9526 h 10000"/>
                    <a:gd name="connsiteX179" fmla="*/ 6833 w 10000"/>
                    <a:gd name="connsiteY179" fmla="*/ 9544 h 10000"/>
                    <a:gd name="connsiteX180" fmla="*/ 7278 w 10000"/>
                    <a:gd name="connsiteY180" fmla="*/ 9618 h 10000"/>
                    <a:gd name="connsiteX181" fmla="*/ 7278 w 10000"/>
                    <a:gd name="connsiteY181" fmla="*/ 9618 h 10000"/>
                    <a:gd name="connsiteX182" fmla="*/ 8722 w 10000"/>
                    <a:gd name="connsiteY182" fmla="*/ 9815 h 10000"/>
                    <a:gd name="connsiteX183" fmla="*/ 10000 w 10000"/>
                    <a:gd name="connsiteY183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667 w 10000"/>
                    <a:gd name="connsiteY75" fmla="*/ 931 h 10000"/>
                    <a:gd name="connsiteX76" fmla="*/ 1444 w 10000"/>
                    <a:gd name="connsiteY76" fmla="*/ 681 h 10000"/>
                    <a:gd name="connsiteX77" fmla="*/ 1444 w 10000"/>
                    <a:gd name="connsiteY77" fmla="*/ 523 h 10000"/>
                    <a:gd name="connsiteX78" fmla="*/ 1556 w 10000"/>
                    <a:gd name="connsiteY78" fmla="*/ 454 h 10000"/>
                    <a:gd name="connsiteX79" fmla="*/ 2111 w 10000"/>
                    <a:gd name="connsiteY79" fmla="*/ 224 h 10000"/>
                    <a:gd name="connsiteX80" fmla="*/ 2389 w 10000"/>
                    <a:gd name="connsiteY80" fmla="*/ 0 h 10000"/>
                    <a:gd name="connsiteX81" fmla="*/ 10000 w 10000"/>
                    <a:gd name="connsiteY81" fmla="*/ 8480 h 10000"/>
                    <a:gd name="connsiteX82" fmla="*/ 10000 w 10000"/>
                    <a:gd name="connsiteY82" fmla="*/ 8480 h 10000"/>
                    <a:gd name="connsiteX83" fmla="*/ 9722 w 10000"/>
                    <a:gd name="connsiteY83" fmla="*/ 8455 h 10000"/>
                    <a:gd name="connsiteX84" fmla="*/ 9389 w 10000"/>
                    <a:gd name="connsiteY84" fmla="*/ 8480 h 10000"/>
                    <a:gd name="connsiteX85" fmla="*/ 9389 w 10000"/>
                    <a:gd name="connsiteY85" fmla="*/ 8480 h 10000"/>
                    <a:gd name="connsiteX86" fmla="*/ 9278 w 10000"/>
                    <a:gd name="connsiteY86" fmla="*/ 8508 h 10000"/>
                    <a:gd name="connsiteX87" fmla="*/ 9056 w 10000"/>
                    <a:gd name="connsiteY87" fmla="*/ 8480 h 10000"/>
                    <a:gd name="connsiteX88" fmla="*/ 8889 w 10000"/>
                    <a:gd name="connsiteY88" fmla="*/ 8455 h 10000"/>
                    <a:gd name="connsiteX89" fmla="*/ 8722 w 10000"/>
                    <a:gd name="connsiteY89" fmla="*/ 8413 h 10000"/>
                    <a:gd name="connsiteX90" fmla="*/ 8611 w 10000"/>
                    <a:gd name="connsiteY90" fmla="*/ 8343 h 10000"/>
                    <a:gd name="connsiteX91" fmla="*/ 8444 w 10000"/>
                    <a:gd name="connsiteY91" fmla="*/ 8229 h 10000"/>
                    <a:gd name="connsiteX92" fmla="*/ 8444 w 10000"/>
                    <a:gd name="connsiteY92" fmla="*/ 8229 h 10000"/>
                    <a:gd name="connsiteX93" fmla="*/ 8222 w 10000"/>
                    <a:gd name="connsiteY93" fmla="*/ 8030 h 10000"/>
                    <a:gd name="connsiteX94" fmla="*/ 8111 w 10000"/>
                    <a:gd name="connsiteY94" fmla="*/ 7939 h 10000"/>
                    <a:gd name="connsiteX95" fmla="*/ 7944 w 10000"/>
                    <a:gd name="connsiteY95" fmla="*/ 7871 h 10000"/>
                    <a:gd name="connsiteX96" fmla="*/ 7778 w 10000"/>
                    <a:gd name="connsiteY96" fmla="*/ 7826 h 10000"/>
                    <a:gd name="connsiteX97" fmla="*/ 7556 w 10000"/>
                    <a:gd name="connsiteY97" fmla="*/ 7799 h 10000"/>
                    <a:gd name="connsiteX98" fmla="*/ 7333 w 10000"/>
                    <a:gd name="connsiteY98" fmla="*/ 7779 h 10000"/>
                    <a:gd name="connsiteX99" fmla="*/ 7000 w 10000"/>
                    <a:gd name="connsiteY99" fmla="*/ 7753 h 10000"/>
                    <a:gd name="connsiteX100" fmla="*/ 7000 w 10000"/>
                    <a:gd name="connsiteY100" fmla="*/ 7753 h 10000"/>
                    <a:gd name="connsiteX101" fmla="*/ 6556 w 10000"/>
                    <a:gd name="connsiteY101" fmla="*/ 7779 h 10000"/>
                    <a:gd name="connsiteX102" fmla="*/ 6222 w 10000"/>
                    <a:gd name="connsiteY102" fmla="*/ 7779 h 10000"/>
                    <a:gd name="connsiteX103" fmla="*/ 6111 w 10000"/>
                    <a:gd name="connsiteY103" fmla="*/ 7753 h 10000"/>
                    <a:gd name="connsiteX104" fmla="*/ 6056 w 10000"/>
                    <a:gd name="connsiteY104" fmla="*/ 7731 h 10000"/>
                    <a:gd name="connsiteX105" fmla="*/ 6056 w 10000"/>
                    <a:gd name="connsiteY105" fmla="*/ 7731 h 10000"/>
                    <a:gd name="connsiteX106" fmla="*/ 6056 w 10000"/>
                    <a:gd name="connsiteY106" fmla="*/ 7326 h 10000"/>
                    <a:gd name="connsiteX107" fmla="*/ 6056 w 10000"/>
                    <a:gd name="connsiteY107" fmla="*/ 7326 h 10000"/>
                    <a:gd name="connsiteX108" fmla="*/ 6056 w 10000"/>
                    <a:gd name="connsiteY108" fmla="*/ 7232 h 10000"/>
                    <a:gd name="connsiteX109" fmla="*/ 5944 w 10000"/>
                    <a:gd name="connsiteY109" fmla="*/ 7120 h 10000"/>
                    <a:gd name="connsiteX110" fmla="*/ 5889 w 10000"/>
                    <a:gd name="connsiteY110" fmla="*/ 7095 h 10000"/>
                    <a:gd name="connsiteX111" fmla="*/ 5778 w 10000"/>
                    <a:gd name="connsiteY111" fmla="*/ 7074 h 10000"/>
                    <a:gd name="connsiteX112" fmla="*/ 5667 w 10000"/>
                    <a:gd name="connsiteY112" fmla="*/ 7074 h 10000"/>
                    <a:gd name="connsiteX113" fmla="*/ 5500 w 10000"/>
                    <a:gd name="connsiteY113" fmla="*/ 7095 h 10000"/>
                    <a:gd name="connsiteX114" fmla="*/ 5500 w 10000"/>
                    <a:gd name="connsiteY114" fmla="*/ 7095 h 10000"/>
                    <a:gd name="connsiteX115" fmla="*/ 4889 w 10000"/>
                    <a:gd name="connsiteY115" fmla="*/ 7256 h 10000"/>
                    <a:gd name="connsiteX116" fmla="*/ 4611 w 10000"/>
                    <a:gd name="connsiteY116" fmla="*/ 7303 h 10000"/>
                    <a:gd name="connsiteX117" fmla="*/ 4556 w 10000"/>
                    <a:gd name="connsiteY117" fmla="*/ 7326 h 10000"/>
                    <a:gd name="connsiteX118" fmla="*/ 4500 w 10000"/>
                    <a:gd name="connsiteY118" fmla="*/ 7303 h 10000"/>
                    <a:gd name="connsiteX119" fmla="*/ 4500 w 10000"/>
                    <a:gd name="connsiteY119" fmla="*/ 7303 h 10000"/>
                    <a:gd name="connsiteX120" fmla="*/ 4222 w 10000"/>
                    <a:gd name="connsiteY120" fmla="*/ 7074 h 10000"/>
                    <a:gd name="connsiteX121" fmla="*/ 4222 w 10000"/>
                    <a:gd name="connsiteY121" fmla="*/ 7074 h 10000"/>
                    <a:gd name="connsiteX122" fmla="*/ 4111 w 10000"/>
                    <a:gd name="connsiteY122" fmla="*/ 6962 h 10000"/>
                    <a:gd name="connsiteX123" fmla="*/ 4111 w 10000"/>
                    <a:gd name="connsiteY123" fmla="*/ 6893 h 10000"/>
                    <a:gd name="connsiteX124" fmla="*/ 4111 w 10000"/>
                    <a:gd name="connsiteY124" fmla="*/ 6825 h 10000"/>
                    <a:gd name="connsiteX125" fmla="*/ 4111 w 10000"/>
                    <a:gd name="connsiteY125" fmla="*/ 6825 h 10000"/>
                    <a:gd name="connsiteX126" fmla="*/ 4278 w 10000"/>
                    <a:gd name="connsiteY126" fmla="*/ 6757 h 10000"/>
                    <a:gd name="connsiteX127" fmla="*/ 4389 w 10000"/>
                    <a:gd name="connsiteY127" fmla="*/ 6734 h 10000"/>
                    <a:gd name="connsiteX128" fmla="*/ 4389 w 10000"/>
                    <a:gd name="connsiteY128" fmla="*/ 6734 h 10000"/>
                    <a:gd name="connsiteX129" fmla="*/ 4000 w 10000"/>
                    <a:gd name="connsiteY129" fmla="*/ 6734 h 10000"/>
                    <a:gd name="connsiteX130" fmla="*/ 3722 w 10000"/>
                    <a:gd name="connsiteY130" fmla="*/ 6757 h 10000"/>
                    <a:gd name="connsiteX131" fmla="*/ 3611 w 10000"/>
                    <a:gd name="connsiteY131" fmla="*/ 6782 h 10000"/>
                    <a:gd name="connsiteX132" fmla="*/ 3556 w 10000"/>
                    <a:gd name="connsiteY132" fmla="*/ 6804 h 10000"/>
                    <a:gd name="connsiteX133" fmla="*/ 3556 w 10000"/>
                    <a:gd name="connsiteY133" fmla="*/ 6804 h 10000"/>
                    <a:gd name="connsiteX134" fmla="*/ 3444 w 10000"/>
                    <a:gd name="connsiteY134" fmla="*/ 6893 h 10000"/>
                    <a:gd name="connsiteX135" fmla="*/ 3278 w 10000"/>
                    <a:gd name="connsiteY135" fmla="*/ 7032 h 10000"/>
                    <a:gd name="connsiteX136" fmla="*/ 3000 w 10000"/>
                    <a:gd name="connsiteY136" fmla="*/ 7188 h 10000"/>
                    <a:gd name="connsiteX137" fmla="*/ 2667 w 10000"/>
                    <a:gd name="connsiteY137" fmla="*/ 7303 h 10000"/>
                    <a:gd name="connsiteX138" fmla="*/ 2667 w 10000"/>
                    <a:gd name="connsiteY138" fmla="*/ 7303 h 10000"/>
                    <a:gd name="connsiteX139" fmla="*/ 2333 w 10000"/>
                    <a:gd name="connsiteY139" fmla="*/ 7395 h 10000"/>
                    <a:gd name="connsiteX140" fmla="*/ 1833 w 10000"/>
                    <a:gd name="connsiteY140" fmla="*/ 7486 h 10000"/>
                    <a:gd name="connsiteX141" fmla="*/ 1389 w 10000"/>
                    <a:gd name="connsiteY141" fmla="*/ 7530 h 10000"/>
                    <a:gd name="connsiteX142" fmla="*/ 889 w 10000"/>
                    <a:gd name="connsiteY142" fmla="*/ 7552 h 10000"/>
                    <a:gd name="connsiteX143" fmla="*/ 889 w 10000"/>
                    <a:gd name="connsiteY143" fmla="*/ 7552 h 10000"/>
                    <a:gd name="connsiteX144" fmla="*/ 500 w 10000"/>
                    <a:gd name="connsiteY144" fmla="*/ 7579 h 10000"/>
                    <a:gd name="connsiteX145" fmla="*/ 222 w 10000"/>
                    <a:gd name="connsiteY145" fmla="*/ 7597 h 10000"/>
                    <a:gd name="connsiteX146" fmla="*/ 0 w 10000"/>
                    <a:gd name="connsiteY146" fmla="*/ 7619 h 10000"/>
                    <a:gd name="connsiteX147" fmla="*/ 0 w 10000"/>
                    <a:gd name="connsiteY147" fmla="*/ 7619 h 10000"/>
                    <a:gd name="connsiteX148" fmla="*/ 278 w 10000"/>
                    <a:gd name="connsiteY148" fmla="*/ 7984 h 10000"/>
                    <a:gd name="connsiteX149" fmla="*/ 500 w 10000"/>
                    <a:gd name="connsiteY149" fmla="*/ 8252 h 10000"/>
                    <a:gd name="connsiteX150" fmla="*/ 722 w 10000"/>
                    <a:gd name="connsiteY150" fmla="*/ 8480 h 10000"/>
                    <a:gd name="connsiteX151" fmla="*/ 722 w 10000"/>
                    <a:gd name="connsiteY151" fmla="*/ 8480 h 10000"/>
                    <a:gd name="connsiteX152" fmla="*/ 889 w 10000"/>
                    <a:gd name="connsiteY152" fmla="*/ 8617 h 10000"/>
                    <a:gd name="connsiteX153" fmla="*/ 944 w 10000"/>
                    <a:gd name="connsiteY153" fmla="*/ 8733 h 10000"/>
                    <a:gd name="connsiteX154" fmla="*/ 1111 w 10000"/>
                    <a:gd name="connsiteY154" fmla="*/ 8847 h 10000"/>
                    <a:gd name="connsiteX155" fmla="*/ 1333 w 10000"/>
                    <a:gd name="connsiteY155" fmla="*/ 9022 h 10000"/>
                    <a:gd name="connsiteX156" fmla="*/ 1333 w 10000"/>
                    <a:gd name="connsiteY156" fmla="*/ 9022 h 10000"/>
                    <a:gd name="connsiteX157" fmla="*/ 1444 w 10000"/>
                    <a:gd name="connsiteY157" fmla="*/ 9115 h 10000"/>
                    <a:gd name="connsiteX158" fmla="*/ 1500 w 10000"/>
                    <a:gd name="connsiteY158" fmla="*/ 9183 h 10000"/>
                    <a:gd name="connsiteX159" fmla="*/ 1500 w 10000"/>
                    <a:gd name="connsiteY159" fmla="*/ 9248 h 10000"/>
                    <a:gd name="connsiteX160" fmla="*/ 1556 w 10000"/>
                    <a:gd name="connsiteY160" fmla="*/ 9276 h 10000"/>
                    <a:gd name="connsiteX161" fmla="*/ 1722 w 10000"/>
                    <a:gd name="connsiteY161" fmla="*/ 9296 h 10000"/>
                    <a:gd name="connsiteX162" fmla="*/ 1944 w 10000"/>
                    <a:gd name="connsiteY162" fmla="*/ 9319 h 10000"/>
                    <a:gd name="connsiteX163" fmla="*/ 2944 w 10000"/>
                    <a:gd name="connsiteY163" fmla="*/ 9342 h 10000"/>
                    <a:gd name="connsiteX164" fmla="*/ 2944 w 10000"/>
                    <a:gd name="connsiteY164" fmla="*/ 9342 h 10000"/>
                    <a:gd name="connsiteX165" fmla="*/ 4167 w 10000"/>
                    <a:gd name="connsiteY165" fmla="*/ 9389 h 10000"/>
                    <a:gd name="connsiteX166" fmla="*/ 4889 w 10000"/>
                    <a:gd name="connsiteY166" fmla="*/ 9454 h 10000"/>
                    <a:gd name="connsiteX167" fmla="*/ 5278 w 10000"/>
                    <a:gd name="connsiteY167" fmla="*/ 9526 h 10000"/>
                    <a:gd name="connsiteX168" fmla="*/ 5444 w 10000"/>
                    <a:gd name="connsiteY168" fmla="*/ 9544 h 10000"/>
                    <a:gd name="connsiteX169" fmla="*/ 5444 w 10000"/>
                    <a:gd name="connsiteY169" fmla="*/ 9544 h 10000"/>
                    <a:gd name="connsiteX170" fmla="*/ 5722 w 10000"/>
                    <a:gd name="connsiteY170" fmla="*/ 9594 h 10000"/>
                    <a:gd name="connsiteX171" fmla="*/ 5833 w 10000"/>
                    <a:gd name="connsiteY171" fmla="*/ 9618 h 10000"/>
                    <a:gd name="connsiteX172" fmla="*/ 5833 w 10000"/>
                    <a:gd name="connsiteY172" fmla="*/ 9618 h 10000"/>
                    <a:gd name="connsiteX173" fmla="*/ 5833 w 10000"/>
                    <a:gd name="connsiteY173" fmla="*/ 9594 h 10000"/>
                    <a:gd name="connsiteX174" fmla="*/ 5889 w 10000"/>
                    <a:gd name="connsiteY174" fmla="*/ 9569 h 10000"/>
                    <a:gd name="connsiteX175" fmla="*/ 6000 w 10000"/>
                    <a:gd name="connsiteY175" fmla="*/ 9544 h 10000"/>
                    <a:gd name="connsiteX176" fmla="*/ 6167 w 10000"/>
                    <a:gd name="connsiteY176" fmla="*/ 9526 h 10000"/>
                    <a:gd name="connsiteX177" fmla="*/ 6444 w 10000"/>
                    <a:gd name="connsiteY177" fmla="*/ 9526 h 10000"/>
                    <a:gd name="connsiteX178" fmla="*/ 6833 w 10000"/>
                    <a:gd name="connsiteY178" fmla="*/ 9544 h 10000"/>
                    <a:gd name="connsiteX179" fmla="*/ 7278 w 10000"/>
                    <a:gd name="connsiteY179" fmla="*/ 9618 h 10000"/>
                    <a:gd name="connsiteX180" fmla="*/ 7278 w 10000"/>
                    <a:gd name="connsiteY180" fmla="*/ 9618 h 10000"/>
                    <a:gd name="connsiteX181" fmla="*/ 8722 w 10000"/>
                    <a:gd name="connsiteY181" fmla="*/ 9815 h 10000"/>
                    <a:gd name="connsiteX182" fmla="*/ 10000 w 10000"/>
                    <a:gd name="connsiteY182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778 w 10000"/>
                    <a:gd name="connsiteY74" fmla="*/ 1019 h 10000"/>
                    <a:gd name="connsiteX75" fmla="*/ 1444 w 10000"/>
                    <a:gd name="connsiteY75" fmla="*/ 681 h 10000"/>
                    <a:gd name="connsiteX76" fmla="*/ 1444 w 10000"/>
                    <a:gd name="connsiteY76" fmla="*/ 523 h 10000"/>
                    <a:gd name="connsiteX77" fmla="*/ 1556 w 10000"/>
                    <a:gd name="connsiteY77" fmla="*/ 454 h 10000"/>
                    <a:gd name="connsiteX78" fmla="*/ 2111 w 10000"/>
                    <a:gd name="connsiteY78" fmla="*/ 224 h 10000"/>
                    <a:gd name="connsiteX79" fmla="*/ 2389 w 10000"/>
                    <a:gd name="connsiteY79" fmla="*/ 0 h 10000"/>
                    <a:gd name="connsiteX80" fmla="*/ 10000 w 10000"/>
                    <a:gd name="connsiteY80" fmla="*/ 8480 h 10000"/>
                    <a:gd name="connsiteX81" fmla="*/ 10000 w 10000"/>
                    <a:gd name="connsiteY81" fmla="*/ 8480 h 10000"/>
                    <a:gd name="connsiteX82" fmla="*/ 9722 w 10000"/>
                    <a:gd name="connsiteY82" fmla="*/ 8455 h 10000"/>
                    <a:gd name="connsiteX83" fmla="*/ 9389 w 10000"/>
                    <a:gd name="connsiteY83" fmla="*/ 8480 h 10000"/>
                    <a:gd name="connsiteX84" fmla="*/ 9389 w 10000"/>
                    <a:gd name="connsiteY84" fmla="*/ 8480 h 10000"/>
                    <a:gd name="connsiteX85" fmla="*/ 9278 w 10000"/>
                    <a:gd name="connsiteY85" fmla="*/ 8508 h 10000"/>
                    <a:gd name="connsiteX86" fmla="*/ 9056 w 10000"/>
                    <a:gd name="connsiteY86" fmla="*/ 8480 h 10000"/>
                    <a:gd name="connsiteX87" fmla="*/ 8889 w 10000"/>
                    <a:gd name="connsiteY87" fmla="*/ 8455 h 10000"/>
                    <a:gd name="connsiteX88" fmla="*/ 8722 w 10000"/>
                    <a:gd name="connsiteY88" fmla="*/ 8413 h 10000"/>
                    <a:gd name="connsiteX89" fmla="*/ 8611 w 10000"/>
                    <a:gd name="connsiteY89" fmla="*/ 8343 h 10000"/>
                    <a:gd name="connsiteX90" fmla="*/ 8444 w 10000"/>
                    <a:gd name="connsiteY90" fmla="*/ 8229 h 10000"/>
                    <a:gd name="connsiteX91" fmla="*/ 8444 w 10000"/>
                    <a:gd name="connsiteY91" fmla="*/ 8229 h 10000"/>
                    <a:gd name="connsiteX92" fmla="*/ 8222 w 10000"/>
                    <a:gd name="connsiteY92" fmla="*/ 8030 h 10000"/>
                    <a:gd name="connsiteX93" fmla="*/ 8111 w 10000"/>
                    <a:gd name="connsiteY93" fmla="*/ 7939 h 10000"/>
                    <a:gd name="connsiteX94" fmla="*/ 7944 w 10000"/>
                    <a:gd name="connsiteY94" fmla="*/ 7871 h 10000"/>
                    <a:gd name="connsiteX95" fmla="*/ 7778 w 10000"/>
                    <a:gd name="connsiteY95" fmla="*/ 7826 h 10000"/>
                    <a:gd name="connsiteX96" fmla="*/ 7556 w 10000"/>
                    <a:gd name="connsiteY96" fmla="*/ 7799 h 10000"/>
                    <a:gd name="connsiteX97" fmla="*/ 7333 w 10000"/>
                    <a:gd name="connsiteY97" fmla="*/ 7779 h 10000"/>
                    <a:gd name="connsiteX98" fmla="*/ 7000 w 10000"/>
                    <a:gd name="connsiteY98" fmla="*/ 7753 h 10000"/>
                    <a:gd name="connsiteX99" fmla="*/ 7000 w 10000"/>
                    <a:gd name="connsiteY99" fmla="*/ 7753 h 10000"/>
                    <a:gd name="connsiteX100" fmla="*/ 6556 w 10000"/>
                    <a:gd name="connsiteY100" fmla="*/ 7779 h 10000"/>
                    <a:gd name="connsiteX101" fmla="*/ 6222 w 10000"/>
                    <a:gd name="connsiteY101" fmla="*/ 7779 h 10000"/>
                    <a:gd name="connsiteX102" fmla="*/ 6111 w 10000"/>
                    <a:gd name="connsiteY102" fmla="*/ 7753 h 10000"/>
                    <a:gd name="connsiteX103" fmla="*/ 6056 w 10000"/>
                    <a:gd name="connsiteY103" fmla="*/ 7731 h 10000"/>
                    <a:gd name="connsiteX104" fmla="*/ 6056 w 10000"/>
                    <a:gd name="connsiteY104" fmla="*/ 7731 h 10000"/>
                    <a:gd name="connsiteX105" fmla="*/ 6056 w 10000"/>
                    <a:gd name="connsiteY105" fmla="*/ 7326 h 10000"/>
                    <a:gd name="connsiteX106" fmla="*/ 6056 w 10000"/>
                    <a:gd name="connsiteY106" fmla="*/ 7326 h 10000"/>
                    <a:gd name="connsiteX107" fmla="*/ 6056 w 10000"/>
                    <a:gd name="connsiteY107" fmla="*/ 7232 h 10000"/>
                    <a:gd name="connsiteX108" fmla="*/ 5944 w 10000"/>
                    <a:gd name="connsiteY108" fmla="*/ 7120 h 10000"/>
                    <a:gd name="connsiteX109" fmla="*/ 5889 w 10000"/>
                    <a:gd name="connsiteY109" fmla="*/ 7095 h 10000"/>
                    <a:gd name="connsiteX110" fmla="*/ 5778 w 10000"/>
                    <a:gd name="connsiteY110" fmla="*/ 7074 h 10000"/>
                    <a:gd name="connsiteX111" fmla="*/ 5667 w 10000"/>
                    <a:gd name="connsiteY111" fmla="*/ 7074 h 10000"/>
                    <a:gd name="connsiteX112" fmla="*/ 5500 w 10000"/>
                    <a:gd name="connsiteY112" fmla="*/ 7095 h 10000"/>
                    <a:gd name="connsiteX113" fmla="*/ 5500 w 10000"/>
                    <a:gd name="connsiteY113" fmla="*/ 7095 h 10000"/>
                    <a:gd name="connsiteX114" fmla="*/ 4889 w 10000"/>
                    <a:gd name="connsiteY114" fmla="*/ 7256 h 10000"/>
                    <a:gd name="connsiteX115" fmla="*/ 4611 w 10000"/>
                    <a:gd name="connsiteY115" fmla="*/ 7303 h 10000"/>
                    <a:gd name="connsiteX116" fmla="*/ 4556 w 10000"/>
                    <a:gd name="connsiteY116" fmla="*/ 7326 h 10000"/>
                    <a:gd name="connsiteX117" fmla="*/ 4500 w 10000"/>
                    <a:gd name="connsiteY117" fmla="*/ 7303 h 10000"/>
                    <a:gd name="connsiteX118" fmla="*/ 4500 w 10000"/>
                    <a:gd name="connsiteY118" fmla="*/ 7303 h 10000"/>
                    <a:gd name="connsiteX119" fmla="*/ 4222 w 10000"/>
                    <a:gd name="connsiteY119" fmla="*/ 7074 h 10000"/>
                    <a:gd name="connsiteX120" fmla="*/ 4222 w 10000"/>
                    <a:gd name="connsiteY120" fmla="*/ 7074 h 10000"/>
                    <a:gd name="connsiteX121" fmla="*/ 4111 w 10000"/>
                    <a:gd name="connsiteY121" fmla="*/ 6962 h 10000"/>
                    <a:gd name="connsiteX122" fmla="*/ 4111 w 10000"/>
                    <a:gd name="connsiteY122" fmla="*/ 6893 h 10000"/>
                    <a:gd name="connsiteX123" fmla="*/ 4111 w 10000"/>
                    <a:gd name="connsiteY123" fmla="*/ 6825 h 10000"/>
                    <a:gd name="connsiteX124" fmla="*/ 4111 w 10000"/>
                    <a:gd name="connsiteY124" fmla="*/ 6825 h 10000"/>
                    <a:gd name="connsiteX125" fmla="*/ 4278 w 10000"/>
                    <a:gd name="connsiteY125" fmla="*/ 6757 h 10000"/>
                    <a:gd name="connsiteX126" fmla="*/ 4389 w 10000"/>
                    <a:gd name="connsiteY126" fmla="*/ 6734 h 10000"/>
                    <a:gd name="connsiteX127" fmla="*/ 4389 w 10000"/>
                    <a:gd name="connsiteY127" fmla="*/ 6734 h 10000"/>
                    <a:gd name="connsiteX128" fmla="*/ 4000 w 10000"/>
                    <a:gd name="connsiteY128" fmla="*/ 6734 h 10000"/>
                    <a:gd name="connsiteX129" fmla="*/ 3722 w 10000"/>
                    <a:gd name="connsiteY129" fmla="*/ 6757 h 10000"/>
                    <a:gd name="connsiteX130" fmla="*/ 3611 w 10000"/>
                    <a:gd name="connsiteY130" fmla="*/ 6782 h 10000"/>
                    <a:gd name="connsiteX131" fmla="*/ 3556 w 10000"/>
                    <a:gd name="connsiteY131" fmla="*/ 6804 h 10000"/>
                    <a:gd name="connsiteX132" fmla="*/ 3556 w 10000"/>
                    <a:gd name="connsiteY132" fmla="*/ 6804 h 10000"/>
                    <a:gd name="connsiteX133" fmla="*/ 3444 w 10000"/>
                    <a:gd name="connsiteY133" fmla="*/ 6893 h 10000"/>
                    <a:gd name="connsiteX134" fmla="*/ 3278 w 10000"/>
                    <a:gd name="connsiteY134" fmla="*/ 7032 h 10000"/>
                    <a:gd name="connsiteX135" fmla="*/ 3000 w 10000"/>
                    <a:gd name="connsiteY135" fmla="*/ 7188 h 10000"/>
                    <a:gd name="connsiteX136" fmla="*/ 2667 w 10000"/>
                    <a:gd name="connsiteY136" fmla="*/ 7303 h 10000"/>
                    <a:gd name="connsiteX137" fmla="*/ 2667 w 10000"/>
                    <a:gd name="connsiteY137" fmla="*/ 7303 h 10000"/>
                    <a:gd name="connsiteX138" fmla="*/ 2333 w 10000"/>
                    <a:gd name="connsiteY138" fmla="*/ 7395 h 10000"/>
                    <a:gd name="connsiteX139" fmla="*/ 1833 w 10000"/>
                    <a:gd name="connsiteY139" fmla="*/ 7486 h 10000"/>
                    <a:gd name="connsiteX140" fmla="*/ 1389 w 10000"/>
                    <a:gd name="connsiteY140" fmla="*/ 7530 h 10000"/>
                    <a:gd name="connsiteX141" fmla="*/ 889 w 10000"/>
                    <a:gd name="connsiteY141" fmla="*/ 7552 h 10000"/>
                    <a:gd name="connsiteX142" fmla="*/ 889 w 10000"/>
                    <a:gd name="connsiteY142" fmla="*/ 7552 h 10000"/>
                    <a:gd name="connsiteX143" fmla="*/ 500 w 10000"/>
                    <a:gd name="connsiteY143" fmla="*/ 7579 h 10000"/>
                    <a:gd name="connsiteX144" fmla="*/ 222 w 10000"/>
                    <a:gd name="connsiteY144" fmla="*/ 7597 h 10000"/>
                    <a:gd name="connsiteX145" fmla="*/ 0 w 10000"/>
                    <a:gd name="connsiteY145" fmla="*/ 7619 h 10000"/>
                    <a:gd name="connsiteX146" fmla="*/ 0 w 10000"/>
                    <a:gd name="connsiteY146" fmla="*/ 7619 h 10000"/>
                    <a:gd name="connsiteX147" fmla="*/ 278 w 10000"/>
                    <a:gd name="connsiteY147" fmla="*/ 7984 h 10000"/>
                    <a:gd name="connsiteX148" fmla="*/ 500 w 10000"/>
                    <a:gd name="connsiteY148" fmla="*/ 8252 h 10000"/>
                    <a:gd name="connsiteX149" fmla="*/ 722 w 10000"/>
                    <a:gd name="connsiteY149" fmla="*/ 8480 h 10000"/>
                    <a:gd name="connsiteX150" fmla="*/ 722 w 10000"/>
                    <a:gd name="connsiteY150" fmla="*/ 8480 h 10000"/>
                    <a:gd name="connsiteX151" fmla="*/ 889 w 10000"/>
                    <a:gd name="connsiteY151" fmla="*/ 8617 h 10000"/>
                    <a:gd name="connsiteX152" fmla="*/ 944 w 10000"/>
                    <a:gd name="connsiteY152" fmla="*/ 8733 h 10000"/>
                    <a:gd name="connsiteX153" fmla="*/ 1111 w 10000"/>
                    <a:gd name="connsiteY153" fmla="*/ 8847 h 10000"/>
                    <a:gd name="connsiteX154" fmla="*/ 1333 w 10000"/>
                    <a:gd name="connsiteY154" fmla="*/ 9022 h 10000"/>
                    <a:gd name="connsiteX155" fmla="*/ 1333 w 10000"/>
                    <a:gd name="connsiteY155" fmla="*/ 9022 h 10000"/>
                    <a:gd name="connsiteX156" fmla="*/ 1444 w 10000"/>
                    <a:gd name="connsiteY156" fmla="*/ 9115 h 10000"/>
                    <a:gd name="connsiteX157" fmla="*/ 1500 w 10000"/>
                    <a:gd name="connsiteY157" fmla="*/ 9183 h 10000"/>
                    <a:gd name="connsiteX158" fmla="*/ 1500 w 10000"/>
                    <a:gd name="connsiteY158" fmla="*/ 9248 h 10000"/>
                    <a:gd name="connsiteX159" fmla="*/ 1556 w 10000"/>
                    <a:gd name="connsiteY159" fmla="*/ 9276 h 10000"/>
                    <a:gd name="connsiteX160" fmla="*/ 1722 w 10000"/>
                    <a:gd name="connsiteY160" fmla="*/ 9296 h 10000"/>
                    <a:gd name="connsiteX161" fmla="*/ 1944 w 10000"/>
                    <a:gd name="connsiteY161" fmla="*/ 9319 h 10000"/>
                    <a:gd name="connsiteX162" fmla="*/ 2944 w 10000"/>
                    <a:gd name="connsiteY162" fmla="*/ 9342 h 10000"/>
                    <a:gd name="connsiteX163" fmla="*/ 2944 w 10000"/>
                    <a:gd name="connsiteY163" fmla="*/ 9342 h 10000"/>
                    <a:gd name="connsiteX164" fmla="*/ 4167 w 10000"/>
                    <a:gd name="connsiteY164" fmla="*/ 9389 h 10000"/>
                    <a:gd name="connsiteX165" fmla="*/ 4889 w 10000"/>
                    <a:gd name="connsiteY165" fmla="*/ 9454 h 10000"/>
                    <a:gd name="connsiteX166" fmla="*/ 5278 w 10000"/>
                    <a:gd name="connsiteY166" fmla="*/ 9526 h 10000"/>
                    <a:gd name="connsiteX167" fmla="*/ 5444 w 10000"/>
                    <a:gd name="connsiteY167" fmla="*/ 9544 h 10000"/>
                    <a:gd name="connsiteX168" fmla="*/ 5444 w 10000"/>
                    <a:gd name="connsiteY168" fmla="*/ 9544 h 10000"/>
                    <a:gd name="connsiteX169" fmla="*/ 5722 w 10000"/>
                    <a:gd name="connsiteY169" fmla="*/ 9594 h 10000"/>
                    <a:gd name="connsiteX170" fmla="*/ 5833 w 10000"/>
                    <a:gd name="connsiteY170" fmla="*/ 9618 h 10000"/>
                    <a:gd name="connsiteX171" fmla="*/ 5833 w 10000"/>
                    <a:gd name="connsiteY171" fmla="*/ 9618 h 10000"/>
                    <a:gd name="connsiteX172" fmla="*/ 5833 w 10000"/>
                    <a:gd name="connsiteY172" fmla="*/ 9594 h 10000"/>
                    <a:gd name="connsiteX173" fmla="*/ 5889 w 10000"/>
                    <a:gd name="connsiteY173" fmla="*/ 9569 h 10000"/>
                    <a:gd name="connsiteX174" fmla="*/ 6000 w 10000"/>
                    <a:gd name="connsiteY174" fmla="*/ 9544 h 10000"/>
                    <a:gd name="connsiteX175" fmla="*/ 6167 w 10000"/>
                    <a:gd name="connsiteY175" fmla="*/ 9526 h 10000"/>
                    <a:gd name="connsiteX176" fmla="*/ 6444 w 10000"/>
                    <a:gd name="connsiteY176" fmla="*/ 9526 h 10000"/>
                    <a:gd name="connsiteX177" fmla="*/ 6833 w 10000"/>
                    <a:gd name="connsiteY177" fmla="*/ 9544 h 10000"/>
                    <a:gd name="connsiteX178" fmla="*/ 7278 w 10000"/>
                    <a:gd name="connsiteY178" fmla="*/ 9618 h 10000"/>
                    <a:gd name="connsiteX179" fmla="*/ 7278 w 10000"/>
                    <a:gd name="connsiteY179" fmla="*/ 9618 h 10000"/>
                    <a:gd name="connsiteX180" fmla="*/ 8722 w 10000"/>
                    <a:gd name="connsiteY180" fmla="*/ 9815 h 10000"/>
                    <a:gd name="connsiteX181" fmla="*/ 10000 w 10000"/>
                    <a:gd name="connsiteY181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778 w 10000"/>
                    <a:gd name="connsiteY73" fmla="*/ 1019 h 10000"/>
                    <a:gd name="connsiteX74" fmla="*/ 1444 w 10000"/>
                    <a:gd name="connsiteY74" fmla="*/ 681 h 10000"/>
                    <a:gd name="connsiteX75" fmla="*/ 1444 w 10000"/>
                    <a:gd name="connsiteY75" fmla="*/ 523 h 10000"/>
                    <a:gd name="connsiteX76" fmla="*/ 1556 w 10000"/>
                    <a:gd name="connsiteY76" fmla="*/ 454 h 10000"/>
                    <a:gd name="connsiteX77" fmla="*/ 2111 w 10000"/>
                    <a:gd name="connsiteY77" fmla="*/ 224 h 10000"/>
                    <a:gd name="connsiteX78" fmla="*/ 2389 w 10000"/>
                    <a:gd name="connsiteY78" fmla="*/ 0 h 10000"/>
                    <a:gd name="connsiteX79" fmla="*/ 10000 w 10000"/>
                    <a:gd name="connsiteY79" fmla="*/ 8480 h 10000"/>
                    <a:gd name="connsiteX80" fmla="*/ 10000 w 10000"/>
                    <a:gd name="connsiteY80" fmla="*/ 8480 h 10000"/>
                    <a:gd name="connsiteX81" fmla="*/ 9722 w 10000"/>
                    <a:gd name="connsiteY81" fmla="*/ 8455 h 10000"/>
                    <a:gd name="connsiteX82" fmla="*/ 9389 w 10000"/>
                    <a:gd name="connsiteY82" fmla="*/ 8480 h 10000"/>
                    <a:gd name="connsiteX83" fmla="*/ 9389 w 10000"/>
                    <a:gd name="connsiteY83" fmla="*/ 8480 h 10000"/>
                    <a:gd name="connsiteX84" fmla="*/ 9278 w 10000"/>
                    <a:gd name="connsiteY84" fmla="*/ 8508 h 10000"/>
                    <a:gd name="connsiteX85" fmla="*/ 9056 w 10000"/>
                    <a:gd name="connsiteY85" fmla="*/ 8480 h 10000"/>
                    <a:gd name="connsiteX86" fmla="*/ 8889 w 10000"/>
                    <a:gd name="connsiteY86" fmla="*/ 8455 h 10000"/>
                    <a:gd name="connsiteX87" fmla="*/ 8722 w 10000"/>
                    <a:gd name="connsiteY87" fmla="*/ 8413 h 10000"/>
                    <a:gd name="connsiteX88" fmla="*/ 8611 w 10000"/>
                    <a:gd name="connsiteY88" fmla="*/ 8343 h 10000"/>
                    <a:gd name="connsiteX89" fmla="*/ 8444 w 10000"/>
                    <a:gd name="connsiteY89" fmla="*/ 8229 h 10000"/>
                    <a:gd name="connsiteX90" fmla="*/ 8444 w 10000"/>
                    <a:gd name="connsiteY90" fmla="*/ 8229 h 10000"/>
                    <a:gd name="connsiteX91" fmla="*/ 8222 w 10000"/>
                    <a:gd name="connsiteY91" fmla="*/ 8030 h 10000"/>
                    <a:gd name="connsiteX92" fmla="*/ 8111 w 10000"/>
                    <a:gd name="connsiteY92" fmla="*/ 7939 h 10000"/>
                    <a:gd name="connsiteX93" fmla="*/ 7944 w 10000"/>
                    <a:gd name="connsiteY93" fmla="*/ 7871 h 10000"/>
                    <a:gd name="connsiteX94" fmla="*/ 7778 w 10000"/>
                    <a:gd name="connsiteY94" fmla="*/ 7826 h 10000"/>
                    <a:gd name="connsiteX95" fmla="*/ 7556 w 10000"/>
                    <a:gd name="connsiteY95" fmla="*/ 7799 h 10000"/>
                    <a:gd name="connsiteX96" fmla="*/ 7333 w 10000"/>
                    <a:gd name="connsiteY96" fmla="*/ 7779 h 10000"/>
                    <a:gd name="connsiteX97" fmla="*/ 7000 w 10000"/>
                    <a:gd name="connsiteY97" fmla="*/ 7753 h 10000"/>
                    <a:gd name="connsiteX98" fmla="*/ 7000 w 10000"/>
                    <a:gd name="connsiteY98" fmla="*/ 7753 h 10000"/>
                    <a:gd name="connsiteX99" fmla="*/ 6556 w 10000"/>
                    <a:gd name="connsiteY99" fmla="*/ 7779 h 10000"/>
                    <a:gd name="connsiteX100" fmla="*/ 6222 w 10000"/>
                    <a:gd name="connsiteY100" fmla="*/ 7779 h 10000"/>
                    <a:gd name="connsiteX101" fmla="*/ 6111 w 10000"/>
                    <a:gd name="connsiteY101" fmla="*/ 7753 h 10000"/>
                    <a:gd name="connsiteX102" fmla="*/ 6056 w 10000"/>
                    <a:gd name="connsiteY102" fmla="*/ 7731 h 10000"/>
                    <a:gd name="connsiteX103" fmla="*/ 6056 w 10000"/>
                    <a:gd name="connsiteY103" fmla="*/ 7731 h 10000"/>
                    <a:gd name="connsiteX104" fmla="*/ 6056 w 10000"/>
                    <a:gd name="connsiteY104" fmla="*/ 7326 h 10000"/>
                    <a:gd name="connsiteX105" fmla="*/ 6056 w 10000"/>
                    <a:gd name="connsiteY105" fmla="*/ 7326 h 10000"/>
                    <a:gd name="connsiteX106" fmla="*/ 6056 w 10000"/>
                    <a:gd name="connsiteY106" fmla="*/ 7232 h 10000"/>
                    <a:gd name="connsiteX107" fmla="*/ 5944 w 10000"/>
                    <a:gd name="connsiteY107" fmla="*/ 7120 h 10000"/>
                    <a:gd name="connsiteX108" fmla="*/ 5889 w 10000"/>
                    <a:gd name="connsiteY108" fmla="*/ 7095 h 10000"/>
                    <a:gd name="connsiteX109" fmla="*/ 5778 w 10000"/>
                    <a:gd name="connsiteY109" fmla="*/ 7074 h 10000"/>
                    <a:gd name="connsiteX110" fmla="*/ 5667 w 10000"/>
                    <a:gd name="connsiteY110" fmla="*/ 7074 h 10000"/>
                    <a:gd name="connsiteX111" fmla="*/ 5500 w 10000"/>
                    <a:gd name="connsiteY111" fmla="*/ 7095 h 10000"/>
                    <a:gd name="connsiteX112" fmla="*/ 5500 w 10000"/>
                    <a:gd name="connsiteY112" fmla="*/ 7095 h 10000"/>
                    <a:gd name="connsiteX113" fmla="*/ 4889 w 10000"/>
                    <a:gd name="connsiteY113" fmla="*/ 7256 h 10000"/>
                    <a:gd name="connsiteX114" fmla="*/ 4611 w 10000"/>
                    <a:gd name="connsiteY114" fmla="*/ 7303 h 10000"/>
                    <a:gd name="connsiteX115" fmla="*/ 4556 w 10000"/>
                    <a:gd name="connsiteY115" fmla="*/ 7326 h 10000"/>
                    <a:gd name="connsiteX116" fmla="*/ 4500 w 10000"/>
                    <a:gd name="connsiteY116" fmla="*/ 7303 h 10000"/>
                    <a:gd name="connsiteX117" fmla="*/ 4500 w 10000"/>
                    <a:gd name="connsiteY117" fmla="*/ 7303 h 10000"/>
                    <a:gd name="connsiteX118" fmla="*/ 4222 w 10000"/>
                    <a:gd name="connsiteY118" fmla="*/ 7074 h 10000"/>
                    <a:gd name="connsiteX119" fmla="*/ 4222 w 10000"/>
                    <a:gd name="connsiteY119" fmla="*/ 7074 h 10000"/>
                    <a:gd name="connsiteX120" fmla="*/ 4111 w 10000"/>
                    <a:gd name="connsiteY120" fmla="*/ 6962 h 10000"/>
                    <a:gd name="connsiteX121" fmla="*/ 4111 w 10000"/>
                    <a:gd name="connsiteY121" fmla="*/ 6893 h 10000"/>
                    <a:gd name="connsiteX122" fmla="*/ 4111 w 10000"/>
                    <a:gd name="connsiteY122" fmla="*/ 6825 h 10000"/>
                    <a:gd name="connsiteX123" fmla="*/ 4111 w 10000"/>
                    <a:gd name="connsiteY123" fmla="*/ 6825 h 10000"/>
                    <a:gd name="connsiteX124" fmla="*/ 4278 w 10000"/>
                    <a:gd name="connsiteY124" fmla="*/ 6757 h 10000"/>
                    <a:gd name="connsiteX125" fmla="*/ 4389 w 10000"/>
                    <a:gd name="connsiteY125" fmla="*/ 6734 h 10000"/>
                    <a:gd name="connsiteX126" fmla="*/ 4389 w 10000"/>
                    <a:gd name="connsiteY126" fmla="*/ 6734 h 10000"/>
                    <a:gd name="connsiteX127" fmla="*/ 4000 w 10000"/>
                    <a:gd name="connsiteY127" fmla="*/ 6734 h 10000"/>
                    <a:gd name="connsiteX128" fmla="*/ 3722 w 10000"/>
                    <a:gd name="connsiteY128" fmla="*/ 6757 h 10000"/>
                    <a:gd name="connsiteX129" fmla="*/ 3611 w 10000"/>
                    <a:gd name="connsiteY129" fmla="*/ 6782 h 10000"/>
                    <a:gd name="connsiteX130" fmla="*/ 3556 w 10000"/>
                    <a:gd name="connsiteY130" fmla="*/ 6804 h 10000"/>
                    <a:gd name="connsiteX131" fmla="*/ 3556 w 10000"/>
                    <a:gd name="connsiteY131" fmla="*/ 6804 h 10000"/>
                    <a:gd name="connsiteX132" fmla="*/ 3444 w 10000"/>
                    <a:gd name="connsiteY132" fmla="*/ 6893 h 10000"/>
                    <a:gd name="connsiteX133" fmla="*/ 3278 w 10000"/>
                    <a:gd name="connsiteY133" fmla="*/ 7032 h 10000"/>
                    <a:gd name="connsiteX134" fmla="*/ 3000 w 10000"/>
                    <a:gd name="connsiteY134" fmla="*/ 7188 h 10000"/>
                    <a:gd name="connsiteX135" fmla="*/ 2667 w 10000"/>
                    <a:gd name="connsiteY135" fmla="*/ 7303 h 10000"/>
                    <a:gd name="connsiteX136" fmla="*/ 2667 w 10000"/>
                    <a:gd name="connsiteY136" fmla="*/ 7303 h 10000"/>
                    <a:gd name="connsiteX137" fmla="*/ 2333 w 10000"/>
                    <a:gd name="connsiteY137" fmla="*/ 7395 h 10000"/>
                    <a:gd name="connsiteX138" fmla="*/ 1833 w 10000"/>
                    <a:gd name="connsiteY138" fmla="*/ 7486 h 10000"/>
                    <a:gd name="connsiteX139" fmla="*/ 1389 w 10000"/>
                    <a:gd name="connsiteY139" fmla="*/ 7530 h 10000"/>
                    <a:gd name="connsiteX140" fmla="*/ 889 w 10000"/>
                    <a:gd name="connsiteY140" fmla="*/ 7552 h 10000"/>
                    <a:gd name="connsiteX141" fmla="*/ 889 w 10000"/>
                    <a:gd name="connsiteY141" fmla="*/ 7552 h 10000"/>
                    <a:gd name="connsiteX142" fmla="*/ 500 w 10000"/>
                    <a:gd name="connsiteY142" fmla="*/ 7579 h 10000"/>
                    <a:gd name="connsiteX143" fmla="*/ 222 w 10000"/>
                    <a:gd name="connsiteY143" fmla="*/ 7597 h 10000"/>
                    <a:gd name="connsiteX144" fmla="*/ 0 w 10000"/>
                    <a:gd name="connsiteY144" fmla="*/ 7619 h 10000"/>
                    <a:gd name="connsiteX145" fmla="*/ 0 w 10000"/>
                    <a:gd name="connsiteY145" fmla="*/ 7619 h 10000"/>
                    <a:gd name="connsiteX146" fmla="*/ 278 w 10000"/>
                    <a:gd name="connsiteY146" fmla="*/ 7984 h 10000"/>
                    <a:gd name="connsiteX147" fmla="*/ 500 w 10000"/>
                    <a:gd name="connsiteY147" fmla="*/ 8252 h 10000"/>
                    <a:gd name="connsiteX148" fmla="*/ 722 w 10000"/>
                    <a:gd name="connsiteY148" fmla="*/ 8480 h 10000"/>
                    <a:gd name="connsiteX149" fmla="*/ 722 w 10000"/>
                    <a:gd name="connsiteY149" fmla="*/ 8480 h 10000"/>
                    <a:gd name="connsiteX150" fmla="*/ 889 w 10000"/>
                    <a:gd name="connsiteY150" fmla="*/ 8617 h 10000"/>
                    <a:gd name="connsiteX151" fmla="*/ 944 w 10000"/>
                    <a:gd name="connsiteY151" fmla="*/ 8733 h 10000"/>
                    <a:gd name="connsiteX152" fmla="*/ 1111 w 10000"/>
                    <a:gd name="connsiteY152" fmla="*/ 8847 h 10000"/>
                    <a:gd name="connsiteX153" fmla="*/ 1333 w 10000"/>
                    <a:gd name="connsiteY153" fmla="*/ 9022 h 10000"/>
                    <a:gd name="connsiteX154" fmla="*/ 1333 w 10000"/>
                    <a:gd name="connsiteY154" fmla="*/ 9022 h 10000"/>
                    <a:gd name="connsiteX155" fmla="*/ 1444 w 10000"/>
                    <a:gd name="connsiteY155" fmla="*/ 9115 h 10000"/>
                    <a:gd name="connsiteX156" fmla="*/ 1500 w 10000"/>
                    <a:gd name="connsiteY156" fmla="*/ 9183 h 10000"/>
                    <a:gd name="connsiteX157" fmla="*/ 1500 w 10000"/>
                    <a:gd name="connsiteY157" fmla="*/ 9248 h 10000"/>
                    <a:gd name="connsiteX158" fmla="*/ 1556 w 10000"/>
                    <a:gd name="connsiteY158" fmla="*/ 9276 h 10000"/>
                    <a:gd name="connsiteX159" fmla="*/ 1722 w 10000"/>
                    <a:gd name="connsiteY159" fmla="*/ 9296 h 10000"/>
                    <a:gd name="connsiteX160" fmla="*/ 1944 w 10000"/>
                    <a:gd name="connsiteY160" fmla="*/ 9319 h 10000"/>
                    <a:gd name="connsiteX161" fmla="*/ 2944 w 10000"/>
                    <a:gd name="connsiteY161" fmla="*/ 9342 h 10000"/>
                    <a:gd name="connsiteX162" fmla="*/ 2944 w 10000"/>
                    <a:gd name="connsiteY162" fmla="*/ 9342 h 10000"/>
                    <a:gd name="connsiteX163" fmla="*/ 4167 w 10000"/>
                    <a:gd name="connsiteY163" fmla="*/ 9389 h 10000"/>
                    <a:gd name="connsiteX164" fmla="*/ 4889 w 10000"/>
                    <a:gd name="connsiteY164" fmla="*/ 9454 h 10000"/>
                    <a:gd name="connsiteX165" fmla="*/ 5278 w 10000"/>
                    <a:gd name="connsiteY165" fmla="*/ 9526 h 10000"/>
                    <a:gd name="connsiteX166" fmla="*/ 5444 w 10000"/>
                    <a:gd name="connsiteY166" fmla="*/ 9544 h 10000"/>
                    <a:gd name="connsiteX167" fmla="*/ 5444 w 10000"/>
                    <a:gd name="connsiteY167" fmla="*/ 9544 h 10000"/>
                    <a:gd name="connsiteX168" fmla="*/ 5722 w 10000"/>
                    <a:gd name="connsiteY168" fmla="*/ 9594 h 10000"/>
                    <a:gd name="connsiteX169" fmla="*/ 5833 w 10000"/>
                    <a:gd name="connsiteY169" fmla="*/ 9618 h 10000"/>
                    <a:gd name="connsiteX170" fmla="*/ 5833 w 10000"/>
                    <a:gd name="connsiteY170" fmla="*/ 9618 h 10000"/>
                    <a:gd name="connsiteX171" fmla="*/ 5833 w 10000"/>
                    <a:gd name="connsiteY171" fmla="*/ 9594 h 10000"/>
                    <a:gd name="connsiteX172" fmla="*/ 5889 w 10000"/>
                    <a:gd name="connsiteY172" fmla="*/ 9569 h 10000"/>
                    <a:gd name="connsiteX173" fmla="*/ 6000 w 10000"/>
                    <a:gd name="connsiteY173" fmla="*/ 9544 h 10000"/>
                    <a:gd name="connsiteX174" fmla="*/ 6167 w 10000"/>
                    <a:gd name="connsiteY174" fmla="*/ 9526 h 10000"/>
                    <a:gd name="connsiteX175" fmla="*/ 6444 w 10000"/>
                    <a:gd name="connsiteY175" fmla="*/ 9526 h 10000"/>
                    <a:gd name="connsiteX176" fmla="*/ 6833 w 10000"/>
                    <a:gd name="connsiteY176" fmla="*/ 9544 h 10000"/>
                    <a:gd name="connsiteX177" fmla="*/ 7278 w 10000"/>
                    <a:gd name="connsiteY177" fmla="*/ 9618 h 10000"/>
                    <a:gd name="connsiteX178" fmla="*/ 7278 w 10000"/>
                    <a:gd name="connsiteY178" fmla="*/ 9618 h 10000"/>
                    <a:gd name="connsiteX179" fmla="*/ 8722 w 10000"/>
                    <a:gd name="connsiteY179" fmla="*/ 9815 h 10000"/>
                    <a:gd name="connsiteX180" fmla="*/ 10000 w 10000"/>
                    <a:gd name="connsiteY180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889 w 10000"/>
                    <a:gd name="connsiteY72" fmla="*/ 1044 h 10000"/>
                    <a:gd name="connsiteX73" fmla="*/ 1444 w 10000"/>
                    <a:gd name="connsiteY73" fmla="*/ 681 h 10000"/>
                    <a:gd name="connsiteX74" fmla="*/ 1444 w 10000"/>
                    <a:gd name="connsiteY74" fmla="*/ 523 h 10000"/>
                    <a:gd name="connsiteX75" fmla="*/ 1556 w 10000"/>
                    <a:gd name="connsiteY75" fmla="*/ 454 h 10000"/>
                    <a:gd name="connsiteX76" fmla="*/ 2111 w 10000"/>
                    <a:gd name="connsiteY76" fmla="*/ 224 h 10000"/>
                    <a:gd name="connsiteX77" fmla="*/ 2389 w 10000"/>
                    <a:gd name="connsiteY77" fmla="*/ 0 h 10000"/>
                    <a:gd name="connsiteX78" fmla="*/ 10000 w 10000"/>
                    <a:gd name="connsiteY78" fmla="*/ 8480 h 10000"/>
                    <a:gd name="connsiteX79" fmla="*/ 10000 w 10000"/>
                    <a:gd name="connsiteY79" fmla="*/ 8480 h 10000"/>
                    <a:gd name="connsiteX80" fmla="*/ 9722 w 10000"/>
                    <a:gd name="connsiteY80" fmla="*/ 8455 h 10000"/>
                    <a:gd name="connsiteX81" fmla="*/ 9389 w 10000"/>
                    <a:gd name="connsiteY81" fmla="*/ 8480 h 10000"/>
                    <a:gd name="connsiteX82" fmla="*/ 9389 w 10000"/>
                    <a:gd name="connsiteY82" fmla="*/ 8480 h 10000"/>
                    <a:gd name="connsiteX83" fmla="*/ 9278 w 10000"/>
                    <a:gd name="connsiteY83" fmla="*/ 8508 h 10000"/>
                    <a:gd name="connsiteX84" fmla="*/ 9056 w 10000"/>
                    <a:gd name="connsiteY84" fmla="*/ 8480 h 10000"/>
                    <a:gd name="connsiteX85" fmla="*/ 8889 w 10000"/>
                    <a:gd name="connsiteY85" fmla="*/ 8455 h 10000"/>
                    <a:gd name="connsiteX86" fmla="*/ 8722 w 10000"/>
                    <a:gd name="connsiteY86" fmla="*/ 8413 h 10000"/>
                    <a:gd name="connsiteX87" fmla="*/ 8611 w 10000"/>
                    <a:gd name="connsiteY87" fmla="*/ 8343 h 10000"/>
                    <a:gd name="connsiteX88" fmla="*/ 8444 w 10000"/>
                    <a:gd name="connsiteY88" fmla="*/ 8229 h 10000"/>
                    <a:gd name="connsiteX89" fmla="*/ 8444 w 10000"/>
                    <a:gd name="connsiteY89" fmla="*/ 8229 h 10000"/>
                    <a:gd name="connsiteX90" fmla="*/ 8222 w 10000"/>
                    <a:gd name="connsiteY90" fmla="*/ 8030 h 10000"/>
                    <a:gd name="connsiteX91" fmla="*/ 8111 w 10000"/>
                    <a:gd name="connsiteY91" fmla="*/ 7939 h 10000"/>
                    <a:gd name="connsiteX92" fmla="*/ 7944 w 10000"/>
                    <a:gd name="connsiteY92" fmla="*/ 7871 h 10000"/>
                    <a:gd name="connsiteX93" fmla="*/ 7778 w 10000"/>
                    <a:gd name="connsiteY93" fmla="*/ 7826 h 10000"/>
                    <a:gd name="connsiteX94" fmla="*/ 7556 w 10000"/>
                    <a:gd name="connsiteY94" fmla="*/ 7799 h 10000"/>
                    <a:gd name="connsiteX95" fmla="*/ 7333 w 10000"/>
                    <a:gd name="connsiteY95" fmla="*/ 7779 h 10000"/>
                    <a:gd name="connsiteX96" fmla="*/ 7000 w 10000"/>
                    <a:gd name="connsiteY96" fmla="*/ 7753 h 10000"/>
                    <a:gd name="connsiteX97" fmla="*/ 7000 w 10000"/>
                    <a:gd name="connsiteY97" fmla="*/ 7753 h 10000"/>
                    <a:gd name="connsiteX98" fmla="*/ 6556 w 10000"/>
                    <a:gd name="connsiteY98" fmla="*/ 7779 h 10000"/>
                    <a:gd name="connsiteX99" fmla="*/ 6222 w 10000"/>
                    <a:gd name="connsiteY99" fmla="*/ 7779 h 10000"/>
                    <a:gd name="connsiteX100" fmla="*/ 6111 w 10000"/>
                    <a:gd name="connsiteY100" fmla="*/ 7753 h 10000"/>
                    <a:gd name="connsiteX101" fmla="*/ 6056 w 10000"/>
                    <a:gd name="connsiteY101" fmla="*/ 7731 h 10000"/>
                    <a:gd name="connsiteX102" fmla="*/ 6056 w 10000"/>
                    <a:gd name="connsiteY102" fmla="*/ 7731 h 10000"/>
                    <a:gd name="connsiteX103" fmla="*/ 6056 w 10000"/>
                    <a:gd name="connsiteY103" fmla="*/ 7326 h 10000"/>
                    <a:gd name="connsiteX104" fmla="*/ 6056 w 10000"/>
                    <a:gd name="connsiteY104" fmla="*/ 7326 h 10000"/>
                    <a:gd name="connsiteX105" fmla="*/ 6056 w 10000"/>
                    <a:gd name="connsiteY105" fmla="*/ 7232 h 10000"/>
                    <a:gd name="connsiteX106" fmla="*/ 5944 w 10000"/>
                    <a:gd name="connsiteY106" fmla="*/ 7120 h 10000"/>
                    <a:gd name="connsiteX107" fmla="*/ 5889 w 10000"/>
                    <a:gd name="connsiteY107" fmla="*/ 7095 h 10000"/>
                    <a:gd name="connsiteX108" fmla="*/ 5778 w 10000"/>
                    <a:gd name="connsiteY108" fmla="*/ 7074 h 10000"/>
                    <a:gd name="connsiteX109" fmla="*/ 5667 w 10000"/>
                    <a:gd name="connsiteY109" fmla="*/ 7074 h 10000"/>
                    <a:gd name="connsiteX110" fmla="*/ 5500 w 10000"/>
                    <a:gd name="connsiteY110" fmla="*/ 7095 h 10000"/>
                    <a:gd name="connsiteX111" fmla="*/ 5500 w 10000"/>
                    <a:gd name="connsiteY111" fmla="*/ 7095 h 10000"/>
                    <a:gd name="connsiteX112" fmla="*/ 4889 w 10000"/>
                    <a:gd name="connsiteY112" fmla="*/ 7256 h 10000"/>
                    <a:gd name="connsiteX113" fmla="*/ 4611 w 10000"/>
                    <a:gd name="connsiteY113" fmla="*/ 7303 h 10000"/>
                    <a:gd name="connsiteX114" fmla="*/ 4556 w 10000"/>
                    <a:gd name="connsiteY114" fmla="*/ 7326 h 10000"/>
                    <a:gd name="connsiteX115" fmla="*/ 4500 w 10000"/>
                    <a:gd name="connsiteY115" fmla="*/ 7303 h 10000"/>
                    <a:gd name="connsiteX116" fmla="*/ 4500 w 10000"/>
                    <a:gd name="connsiteY116" fmla="*/ 7303 h 10000"/>
                    <a:gd name="connsiteX117" fmla="*/ 4222 w 10000"/>
                    <a:gd name="connsiteY117" fmla="*/ 7074 h 10000"/>
                    <a:gd name="connsiteX118" fmla="*/ 4222 w 10000"/>
                    <a:gd name="connsiteY118" fmla="*/ 7074 h 10000"/>
                    <a:gd name="connsiteX119" fmla="*/ 4111 w 10000"/>
                    <a:gd name="connsiteY119" fmla="*/ 6962 h 10000"/>
                    <a:gd name="connsiteX120" fmla="*/ 4111 w 10000"/>
                    <a:gd name="connsiteY120" fmla="*/ 6893 h 10000"/>
                    <a:gd name="connsiteX121" fmla="*/ 4111 w 10000"/>
                    <a:gd name="connsiteY121" fmla="*/ 6825 h 10000"/>
                    <a:gd name="connsiteX122" fmla="*/ 4111 w 10000"/>
                    <a:gd name="connsiteY122" fmla="*/ 6825 h 10000"/>
                    <a:gd name="connsiteX123" fmla="*/ 4278 w 10000"/>
                    <a:gd name="connsiteY123" fmla="*/ 6757 h 10000"/>
                    <a:gd name="connsiteX124" fmla="*/ 4389 w 10000"/>
                    <a:gd name="connsiteY124" fmla="*/ 6734 h 10000"/>
                    <a:gd name="connsiteX125" fmla="*/ 4389 w 10000"/>
                    <a:gd name="connsiteY125" fmla="*/ 6734 h 10000"/>
                    <a:gd name="connsiteX126" fmla="*/ 4000 w 10000"/>
                    <a:gd name="connsiteY126" fmla="*/ 6734 h 10000"/>
                    <a:gd name="connsiteX127" fmla="*/ 3722 w 10000"/>
                    <a:gd name="connsiteY127" fmla="*/ 6757 h 10000"/>
                    <a:gd name="connsiteX128" fmla="*/ 3611 w 10000"/>
                    <a:gd name="connsiteY128" fmla="*/ 6782 h 10000"/>
                    <a:gd name="connsiteX129" fmla="*/ 3556 w 10000"/>
                    <a:gd name="connsiteY129" fmla="*/ 6804 h 10000"/>
                    <a:gd name="connsiteX130" fmla="*/ 3556 w 10000"/>
                    <a:gd name="connsiteY130" fmla="*/ 6804 h 10000"/>
                    <a:gd name="connsiteX131" fmla="*/ 3444 w 10000"/>
                    <a:gd name="connsiteY131" fmla="*/ 6893 h 10000"/>
                    <a:gd name="connsiteX132" fmla="*/ 3278 w 10000"/>
                    <a:gd name="connsiteY132" fmla="*/ 7032 h 10000"/>
                    <a:gd name="connsiteX133" fmla="*/ 3000 w 10000"/>
                    <a:gd name="connsiteY133" fmla="*/ 7188 h 10000"/>
                    <a:gd name="connsiteX134" fmla="*/ 2667 w 10000"/>
                    <a:gd name="connsiteY134" fmla="*/ 7303 h 10000"/>
                    <a:gd name="connsiteX135" fmla="*/ 2667 w 10000"/>
                    <a:gd name="connsiteY135" fmla="*/ 7303 h 10000"/>
                    <a:gd name="connsiteX136" fmla="*/ 2333 w 10000"/>
                    <a:gd name="connsiteY136" fmla="*/ 7395 h 10000"/>
                    <a:gd name="connsiteX137" fmla="*/ 1833 w 10000"/>
                    <a:gd name="connsiteY137" fmla="*/ 7486 h 10000"/>
                    <a:gd name="connsiteX138" fmla="*/ 1389 w 10000"/>
                    <a:gd name="connsiteY138" fmla="*/ 7530 h 10000"/>
                    <a:gd name="connsiteX139" fmla="*/ 889 w 10000"/>
                    <a:gd name="connsiteY139" fmla="*/ 7552 h 10000"/>
                    <a:gd name="connsiteX140" fmla="*/ 889 w 10000"/>
                    <a:gd name="connsiteY140" fmla="*/ 7552 h 10000"/>
                    <a:gd name="connsiteX141" fmla="*/ 500 w 10000"/>
                    <a:gd name="connsiteY141" fmla="*/ 7579 h 10000"/>
                    <a:gd name="connsiteX142" fmla="*/ 222 w 10000"/>
                    <a:gd name="connsiteY142" fmla="*/ 7597 h 10000"/>
                    <a:gd name="connsiteX143" fmla="*/ 0 w 10000"/>
                    <a:gd name="connsiteY143" fmla="*/ 7619 h 10000"/>
                    <a:gd name="connsiteX144" fmla="*/ 0 w 10000"/>
                    <a:gd name="connsiteY144" fmla="*/ 7619 h 10000"/>
                    <a:gd name="connsiteX145" fmla="*/ 278 w 10000"/>
                    <a:gd name="connsiteY145" fmla="*/ 7984 h 10000"/>
                    <a:gd name="connsiteX146" fmla="*/ 500 w 10000"/>
                    <a:gd name="connsiteY146" fmla="*/ 8252 h 10000"/>
                    <a:gd name="connsiteX147" fmla="*/ 722 w 10000"/>
                    <a:gd name="connsiteY147" fmla="*/ 8480 h 10000"/>
                    <a:gd name="connsiteX148" fmla="*/ 722 w 10000"/>
                    <a:gd name="connsiteY148" fmla="*/ 8480 h 10000"/>
                    <a:gd name="connsiteX149" fmla="*/ 889 w 10000"/>
                    <a:gd name="connsiteY149" fmla="*/ 8617 h 10000"/>
                    <a:gd name="connsiteX150" fmla="*/ 944 w 10000"/>
                    <a:gd name="connsiteY150" fmla="*/ 8733 h 10000"/>
                    <a:gd name="connsiteX151" fmla="*/ 1111 w 10000"/>
                    <a:gd name="connsiteY151" fmla="*/ 8847 h 10000"/>
                    <a:gd name="connsiteX152" fmla="*/ 1333 w 10000"/>
                    <a:gd name="connsiteY152" fmla="*/ 9022 h 10000"/>
                    <a:gd name="connsiteX153" fmla="*/ 1333 w 10000"/>
                    <a:gd name="connsiteY153" fmla="*/ 9022 h 10000"/>
                    <a:gd name="connsiteX154" fmla="*/ 1444 w 10000"/>
                    <a:gd name="connsiteY154" fmla="*/ 9115 h 10000"/>
                    <a:gd name="connsiteX155" fmla="*/ 1500 w 10000"/>
                    <a:gd name="connsiteY155" fmla="*/ 9183 h 10000"/>
                    <a:gd name="connsiteX156" fmla="*/ 1500 w 10000"/>
                    <a:gd name="connsiteY156" fmla="*/ 9248 h 10000"/>
                    <a:gd name="connsiteX157" fmla="*/ 1556 w 10000"/>
                    <a:gd name="connsiteY157" fmla="*/ 9276 h 10000"/>
                    <a:gd name="connsiteX158" fmla="*/ 1722 w 10000"/>
                    <a:gd name="connsiteY158" fmla="*/ 9296 h 10000"/>
                    <a:gd name="connsiteX159" fmla="*/ 1944 w 10000"/>
                    <a:gd name="connsiteY159" fmla="*/ 9319 h 10000"/>
                    <a:gd name="connsiteX160" fmla="*/ 2944 w 10000"/>
                    <a:gd name="connsiteY160" fmla="*/ 9342 h 10000"/>
                    <a:gd name="connsiteX161" fmla="*/ 2944 w 10000"/>
                    <a:gd name="connsiteY161" fmla="*/ 9342 h 10000"/>
                    <a:gd name="connsiteX162" fmla="*/ 4167 w 10000"/>
                    <a:gd name="connsiteY162" fmla="*/ 9389 h 10000"/>
                    <a:gd name="connsiteX163" fmla="*/ 4889 w 10000"/>
                    <a:gd name="connsiteY163" fmla="*/ 9454 h 10000"/>
                    <a:gd name="connsiteX164" fmla="*/ 5278 w 10000"/>
                    <a:gd name="connsiteY164" fmla="*/ 9526 h 10000"/>
                    <a:gd name="connsiteX165" fmla="*/ 5444 w 10000"/>
                    <a:gd name="connsiteY165" fmla="*/ 9544 h 10000"/>
                    <a:gd name="connsiteX166" fmla="*/ 5444 w 10000"/>
                    <a:gd name="connsiteY166" fmla="*/ 9544 h 10000"/>
                    <a:gd name="connsiteX167" fmla="*/ 5722 w 10000"/>
                    <a:gd name="connsiteY167" fmla="*/ 9594 h 10000"/>
                    <a:gd name="connsiteX168" fmla="*/ 5833 w 10000"/>
                    <a:gd name="connsiteY168" fmla="*/ 9618 h 10000"/>
                    <a:gd name="connsiteX169" fmla="*/ 5833 w 10000"/>
                    <a:gd name="connsiteY169" fmla="*/ 9618 h 10000"/>
                    <a:gd name="connsiteX170" fmla="*/ 5833 w 10000"/>
                    <a:gd name="connsiteY170" fmla="*/ 9594 h 10000"/>
                    <a:gd name="connsiteX171" fmla="*/ 5889 w 10000"/>
                    <a:gd name="connsiteY171" fmla="*/ 9569 h 10000"/>
                    <a:gd name="connsiteX172" fmla="*/ 6000 w 10000"/>
                    <a:gd name="connsiteY172" fmla="*/ 9544 h 10000"/>
                    <a:gd name="connsiteX173" fmla="*/ 6167 w 10000"/>
                    <a:gd name="connsiteY173" fmla="*/ 9526 h 10000"/>
                    <a:gd name="connsiteX174" fmla="*/ 6444 w 10000"/>
                    <a:gd name="connsiteY174" fmla="*/ 9526 h 10000"/>
                    <a:gd name="connsiteX175" fmla="*/ 6833 w 10000"/>
                    <a:gd name="connsiteY175" fmla="*/ 9544 h 10000"/>
                    <a:gd name="connsiteX176" fmla="*/ 7278 w 10000"/>
                    <a:gd name="connsiteY176" fmla="*/ 9618 h 10000"/>
                    <a:gd name="connsiteX177" fmla="*/ 7278 w 10000"/>
                    <a:gd name="connsiteY177" fmla="*/ 9618 h 10000"/>
                    <a:gd name="connsiteX178" fmla="*/ 8722 w 10000"/>
                    <a:gd name="connsiteY178" fmla="*/ 9815 h 10000"/>
                    <a:gd name="connsiteX179" fmla="*/ 10000 w 10000"/>
                    <a:gd name="connsiteY179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444 w 10000"/>
                    <a:gd name="connsiteY72" fmla="*/ 681 h 10000"/>
                    <a:gd name="connsiteX73" fmla="*/ 1444 w 10000"/>
                    <a:gd name="connsiteY73" fmla="*/ 523 h 10000"/>
                    <a:gd name="connsiteX74" fmla="*/ 1556 w 10000"/>
                    <a:gd name="connsiteY74" fmla="*/ 454 h 10000"/>
                    <a:gd name="connsiteX75" fmla="*/ 2111 w 10000"/>
                    <a:gd name="connsiteY75" fmla="*/ 224 h 10000"/>
                    <a:gd name="connsiteX76" fmla="*/ 2389 w 10000"/>
                    <a:gd name="connsiteY76" fmla="*/ 0 h 10000"/>
                    <a:gd name="connsiteX77" fmla="*/ 10000 w 10000"/>
                    <a:gd name="connsiteY77" fmla="*/ 8480 h 10000"/>
                    <a:gd name="connsiteX78" fmla="*/ 10000 w 10000"/>
                    <a:gd name="connsiteY78" fmla="*/ 8480 h 10000"/>
                    <a:gd name="connsiteX79" fmla="*/ 9722 w 10000"/>
                    <a:gd name="connsiteY79" fmla="*/ 8455 h 10000"/>
                    <a:gd name="connsiteX80" fmla="*/ 9389 w 10000"/>
                    <a:gd name="connsiteY80" fmla="*/ 8480 h 10000"/>
                    <a:gd name="connsiteX81" fmla="*/ 9389 w 10000"/>
                    <a:gd name="connsiteY81" fmla="*/ 8480 h 10000"/>
                    <a:gd name="connsiteX82" fmla="*/ 9278 w 10000"/>
                    <a:gd name="connsiteY82" fmla="*/ 8508 h 10000"/>
                    <a:gd name="connsiteX83" fmla="*/ 9056 w 10000"/>
                    <a:gd name="connsiteY83" fmla="*/ 8480 h 10000"/>
                    <a:gd name="connsiteX84" fmla="*/ 8889 w 10000"/>
                    <a:gd name="connsiteY84" fmla="*/ 8455 h 10000"/>
                    <a:gd name="connsiteX85" fmla="*/ 8722 w 10000"/>
                    <a:gd name="connsiteY85" fmla="*/ 8413 h 10000"/>
                    <a:gd name="connsiteX86" fmla="*/ 8611 w 10000"/>
                    <a:gd name="connsiteY86" fmla="*/ 8343 h 10000"/>
                    <a:gd name="connsiteX87" fmla="*/ 8444 w 10000"/>
                    <a:gd name="connsiteY87" fmla="*/ 8229 h 10000"/>
                    <a:gd name="connsiteX88" fmla="*/ 8444 w 10000"/>
                    <a:gd name="connsiteY88" fmla="*/ 8229 h 10000"/>
                    <a:gd name="connsiteX89" fmla="*/ 8222 w 10000"/>
                    <a:gd name="connsiteY89" fmla="*/ 8030 h 10000"/>
                    <a:gd name="connsiteX90" fmla="*/ 8111 w 10000"/>
                    <a:gd name="connsiteY90" fmla="*/ 7939 h 10000"/>
                    <a:gd name="connsiteX91" fmla="*/ 7944 w 10000"/>
                    <a:gd name="connsiteY91" fmla="*/ 7871 h 10000"/>
                    <a:gd name="connsiteX92" fmla="*/ 7778 w 10000"/>
                    <a:gd name="connsiteY92" fmla="*/ 7826 h 10000"/>
                    <a:gd name="connsiteX93" fmla="*/ 7556 w 10000"/>
                    <a:gd name="connsiteY93" fmla="*/ 7799 h 10000"/>
                    <a:gd name="connsiteX94" fmla="*/ 7333 w 10000"/>
                    <a:gd name="connsiteY94" fmla="*/ 7779 h 10000"/>
                    <a:gd name="connsiteX95" fmla="*/ 7000 w 10000"/>
                    <a:gd name="connsiteY95" fmla="*/ 7753 h 10000"/>
                    <a:gd name="connsiteX96" fmla="*/ 7000 w 10000"/>
                    <a:gd name="connsiteY96" fmla="*/ 7753 h 10000"/>
                    <a:gd name="connsiteX97" fmla="*/ 6556 w 10000"/>
                    <a:gd name="connsiteY97" fmla="*/ 7779 h 10000"/>
                    <a:gd name="connsiteX98" fmla="*/ 6222 w 10000"/>
                    <a:gd name="connsiteY98" fmla="*/ 7779 h 10000"/>
                    <a:gd name="connsiteX99" fmla="*/ 6111 w 10000"/>
                    <a:gd name="connsiteY99" fmla="*/ 7753 h 10000"/>
                    <a:gd name="connsiteX100" fmla="*/ 6056 w 10000"/>
                    <a:gd name="connsiteY100" fmla="*/ 7731 h 10000"/>
                    <a:gd name="connsiteX101" fmla="*/ 6056 w 10000"/>
                    <a:gd name="connsiteY101" fmla="*/ 7731 h 10000"/>
                    <a:gd name="connsiteX102" fmla="*/ 6056 w 10000"/>
                    <a:gd name="connsiteY102" fmla="*/ 7326 h 10000"/>
                    <a:gd name="connsiteX103" fmla="*/ 6056 w 10000"/>
                    <a:gd name="connsiteY103" fmla="*/ 7326 h 10000"/>
                    <a:gd name="connsiteX104" fmla="*/ 6056 w 10000"/>
                    <a:gd name="connsiteY104" fmla="*/ 7232 h 10000"/>
                    <a:gd name="connsiteX105" fmla="*/ 5944 w 10000"/>
                    <a:gd name="connsiteY105" fmla="*/ 7120 h 10000"/>
                    <a:gd name="connsiteX106" fmla="*/ 5889 w 10000"/>
                    <a:gd name="connsiteY106" fmla="*/ 7095 h 10000"/>
                    <a:gd name="connsiteX107" fmla="*/ 5778 w 10000"/>
                    <a:gd name="connsiteY107" fmla="*/ 7074 h 10000"/>
                    <a:gd name="connsiteX108" fmla="*/ 5667 w 10000"/>
                    <a:gd name="connsiteY108" fmla="*/ 7074 h 10000"/>
                    <a:gd name="connsiteX109" fmla="*/ 5500 w 10000"/>
                    <a:gd name="connsiteY109" fmla="*/ 7095 h 10000"/>
                    <a:gd name="connsiteX110" fmla="*/ 5500 w 10000"/>
                    <a:gd name="connsiteY110" fmla="*/ 7095 h 10000"/>
                    <a:gd name="connsiteX111" fmla="*/ 4889 w 10000"/>
                    <a:gd name="connsiteY111" fmla="*/ 7256 h 10000"/>
                    <a:gd name="connsiteX112" fmla="*/ 4611 w 10000"/>
                    <a:gd name="connsiteY112" fmla="*/ 7303 h 10000"/>
                    <a:gd name="connsiteX113" fmla="*/ 4556 w 10000"/>
                    <a:gd name="connsiteY113" fmla="*/ 7326 h 10000"/>
                    <a:gd name="connsiteX114" fmla="*/ 4500 w 10000"/>
                    <a:gd name="connsiteY114" fmla="*/ 7303 h 10000"/>
                    <a:gd name="connsiteX115" fmla="*/ 4500 w 10000"/>
                    <a:gd name="connsiteY115" fmla="*/ 7303 h 10000"/>
                    <a:gd name="connsiteX116" fmla="*/ 4222 w 10000"/>
                    <a:gd name="connsiteY116" fmla="*/ 7074 h 10000"/>
                    <a:gd name="connsiteX117" fmla="*/ 4222 w 10000"/>
                    <a:gd name="connsiteY117" fmla="*/ 7074 h 10000"/>
                    <a:gd name="connsiteX118" fmla="*/ 4111 w 10000"/>
                    <a:gd name="connsiteY118" fmla="*/ 6962 h 10000"/>
                    <a:gd name="connsiteX119" fmla="*/ 4111 w 10000"/>
                    <a:gd name="connsiteY119" fmla="*/ 6893 h 10000"/>
                    <a:gd name="connsiteX120" fmla="*/ 4111 w 10000"/>
                    <a:gd name="connsiteY120" fmla="*/ 6825 h 10000"/>
                    <a:gd name="connsiteX121" fmla="*/ 4111 w 10000"/>
                    <a:gd name="connsiteY121" fmla="*/ 6825 h 10000"/>
                    <a:gd name="connsiteX122" fmla="*/ 4278 w 10000"/>
                    <a:gd name="connsiteY122" fmla="*/ 6757 h 10000"/>
                    <a:gd name="connsiteX123" fmla="*/ 4389 w 10000"/>
                    <a:gd name="connsiteY123" fmla="*/ 6734 h 10000"/>
                    <a:gd name="connsiteX124" fmla="*/ 4389 w 10000"/>
                    <a:gd name="connsiteY124" fmla="*/ 6734 h 10000"/>
                    <a:gd name="connsiteX125" fmla="*/ 4000 w 10000"/>
                    <a:gd name="connsiteY125" fmla="*/ 6734 h 10000"/>
                    <a:gd name="connsiteX126" fmla="*/ 3722 w 10000"/>
                    <a:gd name="connsiteY126" fmla="*/ 6757 h 10000"/>
                    <a:gd name="connsiteX127" fmla="*/ 3611 w 10000"/>
                    <a:gd name="connsiteY127" fmla="*/ 6782 h 10000"/>
                    <a:gd name="connsiteX128" fmla="*/ 3556 w 10000"/>
                    <a:gd name="connsiteY128" fmla="*/ 6804 h 10000"/>
                    <a:gd name="connsiteX129" fmla="*/ 3556 w 10000"/>
                    <a:gd name="connsiteY129" fmla="*/ 6804 h 10000"/>
                    <a:gd name="connsiteX130" fmla="*/ 3444 w 10000"/>
                    <a:gd name="connsiteY130" fmla="*/ 6893 h 10000"/>
                    <a:gd name="connsiteX131" fmla="*/ 3278 w 10000"/>
                    <a:gd name="connsiteY131" fmla="*/ 7032 h 10000"/>
                    <a:gd name="connsiteX132" fmla="*/ 3000 w 10000"/>
                    <a:gd name="connsiteY132" fmla="*/ 7188 h 10000"/>
                    <a:gd name="connsiteX133" fmla="*/ 2667 w 10000"/>
                    <a:gd name="connsiteY133" fmla="*/ 7303 h 10000"/>
                    <a:gd name="connsiteX134" fmla="*/ 2667 w 10000"/>
                    <a:gd name="connsiteY134" fmla="*/ 7303 h 10000"/>
                    <a:gd name="connsiteX135" fmla="*/ 2333 w 10000"/>
                    <a:gd name="connsiteY135" fmla="*/ 7395 h 10000"/>
                    <a:gd name="connsiteX136" fmla="*/ 1833 w 10000"/>
                    <a:gd name="connsiteY136" fmla="*/ 7486 h 10000"/>
                    <a:gd name="connsiteX137" fmla="*/ 1389 w 10000"/>
                    <a:gd name="connsiteY137" fmla="*/ 7530 h 10000"/>
                    <a:gd name="connsiteX138" fmla="*/ 889 w 10000"/>
                    <a:gd name="connsiteY138" fmla="*/ 7552 h 10000"/>
                    <a:gd name="connsiteX139" fmla="*/ 889 w 10000"/>
                    <a:gd name="connsiteY139" fmla="*/ 7552 h 10000"/>
                    <a:gd name="connsiteX140" fmla="*/ 500 w 10000"/>
                    <a:gd name="connsiteY140" fmla="*/ 7579 h 10000"/>
                    <a:gd name="connsiteX141" fmla="*/ 222 w 10000"/>
                    <a:gd name="connsiteY141" fmla="*/ 7597 h 10000"/>
                    <a:gd name="connsiteX142" fmla="*/ 0 w 10000"/>
                    <a:gd name="connsiteY142" fmla="*/ 7619 h 10000"/>
                    <a:gd name="connsiteX143" fmla="*/ 0 w 10000"/>
                    <a:gd name="connsiteY143" fmla="*/ 7619 h 10000"/>
                    <a:gd name="connsiteX144" fmla="*/ 278 w 10000"/>
                    <a:gd name="connsiteY144" fmla="*/ 7984 h 10000"/>
                    <a:gd name="connsiteX145" fmla="*/ 500 w 10000"/>
                    <a:gd name="connsiteY145" fmla="*/ 8252 h 10000"/>
                    <a:gd name="connsiteX146" fmla="*/ 722 w 10000"/>
                    <a:gd name="connsiteY146" fmla="*/ 8480 h 10000"/>
                    <a:gd name="connsiteX147" fmla="*/ 722 w 10000"/>
                    <a:gd name="connsiteY147" fmla="*/ 8480 h 10000"/>
                    <a:gd name="connsiteX148" fmla="*/ 889 w 10000"/>
                    <a:gd name="connsiteY148" fmla="*/ 8617 h 10000"/>
                    <a:gd name="connsiteX149" fmla="*/ 944 w 10000"/>
                    <a:gd name="connsiteY149" fmla="*/ 8733 h 10000"/>
                    <a:gd name="connsiteX150" fmla="*/ 1111 w 10000"/>
                    <a:gd name="connsiteY150" fmla="*/ 8847 h 10000"/>
                    <a:gd name="connsiteX151" fmla="*/ 1333 w 10000"/>
                    <a:gd name="connsiteY151" fmla="*/ 9022 h 10000"/>
                    <a:gd name="connsiteX152" fmla="*/ 1333 w 10000"/>
                    <a:gd name="connsiteY152" fmla="*/ 9022 h 10000"/>
                    <a:gd name="connsiteX153" fmla="*/ 1444 w 10000"/>
                    <a:gd name="connsiteY153" fmla="*/ 9115 h 10000"/>
                    <a:gd name="connsiteX154" fmla="*/ 1500 w 10000"/>
                    <a:gd name="connsiteY154" fmla="*/ 9183 h 10000"/>
                    <a:gd name="connsiteX155" fmla="*/ 1500 w 10000"/>
                    <a:gd name="connsiteY155" fmla="*/ 9248 h 10000"/>
                    <a:gd name="connsiteX156" fmla="*/ 1556 w 10000"/>
                    <a:gd name="connsiteY156" fmla="*/ 9276 h 10000"/>
                    <a:gd name="connsiteX157" fmla="*/ 1722 w 10000"/>
                    <a:gd name="connsiteY157" fmla="*/ 9296 h 10000"/>
                    <a:gd name="connsiteX158" fmla="*/ 1944 w 10000"/>
                    <a:gd name="connsiteY158" fmla="*/ 9319 h 10000"/>
                    <a:gd name="connsiteX159" fmla="*/ 2944 w 10000"/>
                    <a:gd name="connsiteY159" fmla="*/ 9342 h 10000"/>
                    <a:gd name="connsiteX160" fmla="*/ 2944 w 10000"/>
                    <a:gd name="connsiteY160" fmla="*/ 9342 h 10000"/>
                    <a:gd name="connsiteX161" fmla="*/ 4167 w 10000"/>
                    <a:gd name="connsiteY161" fmla="*/ 9389 h 10000"/>
                    <a:gd name="connsiteX162" fmla="*/ 4889 w 10000"/>
                    <a:gd name="connsiteY162" fmla="*/ 9454 h 10000"/>
                    <a:gd name="connsiteX163" fmla="*/ 5278 w 10000"/>
                    <a:gd name="connsiteY163" fmla="*/ 9526 h 10000"/>
                    <a:gd name="connsiteX164" fmla="*/ 5444 w 10000"/>
                    <a:gd name="connsiteY164" fmla="*/ 9544 h 10000"/>
                    <a:gd name="connsiteX165" fmla="*/ 5444 w 10000"/>
                    <a:gd name="connsiteY165" fmla="*/ 9544 h 10000"/>
                    <a:gd name="connsiteX166" fmla="*/ 5722 w 10000"/>
                    <a:gd name="connsiteY166" fmla="*/ 9594 h 10000"/>
                    <a:gd name="connsiteX167" fmla="*/ 5833 w 10000"/>
                    <a:gd name="connsiteY167" fmla="*/ 9618 h 10000"/>
                    <a:gd name="connsiteX168" fmla="*/ 5833 w 10000"/>
                    <a:gd name="connsiteY168" fmla="*/ 9618 h 10000"/>
                    <a:gd name="connsiteX169" fmla="*/ 5833 w 10000"/>
                    <a:gd name="connsiteY169" fmla="*/ 9594 h 10000"/>
                    <a:gd name="connsiteX170" fmla="*/ 5889 w 10000"/>
                    <a:gd name="connsiteY170" fmla="*/ 9569 h 10000"/>
                    <a:gd name="connsiteX171" fmla="*/ 6000 w 10000"/>
                    <a:gd name="connsiteY171" fmla="*/ 9544 h 10000"/>
                    <a:gd name="connsiteX172" fmla="*/ 6167 w 10000"/>
                    <a:gd name="connsiteY172" fmla="*/ 9526 h 10000"/>
                    <a:gd name="connsiteX173" fmla="*/ 6444 w 10000"/>
                    <a:gd name="connsiteY173" fmla="*/ 9526 h 10000"/>
                    <a:gd name="connsiteX174" fmla="*/ 6833 w 10000"/>
                    <a:gd name="connsiteY174" fmla="*/ 9544 h 10000"/>
                    <a:gd name="connsiteX175" fmla="*/ 7278 w 10000"/>
                    <a:gd name="connsiteY175" fmla="*/ 9618 h 10000"/>
                    <a:gd name="connsiteX176" fmla="*/ 7278 w 10000"/>
                    <a:gd name="connsiteY176" fmla="*/ 9618 h 10000"/>
                    <a:gd name="connsiteX177" fmla="*/ 8722 w 10000"/>
                    <a:gd name="connsiteY177" fmla="*/ 9815 h 10000"/>
                    <a:gd name="connsiteX178" fmla="*/ 10000 w 10000"/>
                    <a:gd name="connsiteY178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414 w 10000"/>
                    <a:gd name="connsiteY72" fmla="*/ 790 h 10000"/>
                    <a:gd name="connsiteX73" fmla="*/ 1444 w 10000"/>
                    <a:gd name="connsiteY73" fmla="*/ 681 h 10000"/>
                    <a:gd name="connsiteX74" fmla="*/ 1444 w 10000"/>
                    <a:gd name="connsiteY74" fmla="*/ 523 h 10000"/>
                    <a:gd name="connsiteX75" fmla="*/ 1556 w 10000"/>
                    <a:gd name="connsiteY75" fmla="*/ 454 h 10000"/>
                    <a:gd name="connsiteX76" fmla="*/ 2111 w 10000"/>
                    <a:gd name="connsiteY76" fmla="*/ 224 h 10000"/>
                    <a:gd name="connsiteX77" fmla="*/ 2389 w 10000"/>
                    <a:gd name="connsiteY77" fmla="*/ 0 h 10000"/>
                    <a:gd name="connsiteX78" fmla="*/ 10000 w 10000"/>
                    <a:gd name="connsiteY78" fmla="*/ 8480 h 10000"/>
                    <a:gd name="connsiteX79" fmla="*/ 10000 w 10000"/>
                    <a:gd name="connsiteY79" fmla="*/ 8480 h 10000"/>
                    <a:gd name="connsiteX80" fmla="*/ 9722 w 10000"/>
                    <a:gd name="connsiteY80" fmla="*/ 8455 h 10000"/>
                    <a:gd name="connsiteX81" fmla="*/ 9389 w 10000"/>
                    <a:gd name="connsiteY81" fmla="*/ 8480 h 10000"/>
                    <a:gd name="connsiteX82" fmla="*/ 9389 w 10000"/>
                    <a:gd name="connsiteY82" fmla="*/ 8480 h 10000"/>
                    <a:gd name="connsiteX83" fmla="*/ 9278 w 10000"/>
                    <a:gd name="connsiteY83" fmla="*/ 8508 h 10000"/>
                    <a:gd name="connsiteX84" fmla="*/ 9056 w 10000"/>
                    <a:gd name="connsiteY84" fmla="*/ 8480 h 10000"/>
                    <a:gd name="connsiteX85" fmla="*/ 8889 w 10000"/>
                    <a:gd name="connsiteY85" fmla="*/ 8455 h 10000"/>
                    <a:gd name="connsiteX86" fmla="*/ 8722 w 10000"/>
                    <a:gd name="connsiteY86" fmla="*/ 8413 h 10000"/>
                    <a:gd name="connsiteX87" fmla="*/ 8611 w 10000"/>
                    <a:gd name="connsiteY87" fmla="*/ 8343 h 10000"/>
                    <a:gd name="connsiteX88" fmla="*/ 8444 w 10000"/>
                    <a:gd name="connsiteY88" fmla="*/ 8229 h 10000"/>
                    <a:gd name="connsiteX89" fmla="*/ 8444 w 10000"/>
                    <a:gd name="connsiteY89" fmla="*/ 8229 h 10000"/>
                    <a:gd name="connsiteX90" fmla="*/ 8222 w 10000"/>
                    <a:gd name="connsiteY90" fmla="*/ 8030 h 10000"/>
                    <a:gd name="connsiteX91" fmla="*/ 8111 w 10000"/>
                    <a:gd name="connsiteY91" fmla="*/ 7939 h 10000"/>
                    <a:gd name="connsiteX92" fmla="*/ 7944 w 10000"/>
                    <a:gd name="connsiteY92" fmla="*/ 7871 h 10000"/>
                    <a:gd name="connsiteX93" fmla="*/ 7778 w 10000"/>
                    <a:gd name="connsiteY93" fmla="*/ 7826 h 10000"/>
                    <a:gd name="connsiteX94" fmla="*/ 7556 w 10000"/>
                    <a:gd name="connsiteY94" fmla="*/ 7799 h 10000"/>
                    <a:gd name="connsiteX95" fmla="*/ 7333 w 10000"/>
                    <a:gd name="connsiteY95" fmla="*/ 7779 h 10000"/>
                    <a:gd name="connsiteX96" fmla="*/ 7000 w 10000"/>
                    <a:gd name="connsiteY96" fmla="*/ 7753 h 10000"/>
                    <a:gd name="connsiteX97" fmla="*/ 7000 w 10000"/>
                    <a:gd name="connsiteY97" fmla="*/ 7753 h 10000"/>
                    <a:gd name="connsiteX98" fmla="*/ 6556 w 10000"/>
                    <a:gd name="connsiteY98" fmla="*/ 7779 h 10000"/>
                    <a:gd name="connsiteX99" fmla="*/ 6222 w 10000"/>
                    <a:gd name="connsiteY99" fmla="*/ 7779 h 10000"/>
                    <a:gd name="connsiteX100" fmla="*/ 6111 w 10000"/>
                    <a:gd name="connsiteY100" fmla="*/ 7753 h 10000"/>
                    <a:gd name="connsiteX101" fmla="*/ 6056 w 10000"/>
                    <a:gd name="connsiteY101" fmla="*/ 7731 h 10000"/>
                    <a:gd name="connsiteX102" fmla="*/ 6056 w 10000"/>
                    <a:gd name="connsiteY102" fmla="*/ 7731 h 10000"/>
                    <a:gd name="connsiteX103" fmla="*/ 6056 w 10000"/>
                    <a:gd name="connsiteY103" fmla="*/ 7326 h 10000"/>
                    <a:gd name="connsiteX104" fmla="*/ 6056 w 10000"/>
                    <a:gd name="connsiteY104" fmla="*/ 7326 h 10000"/>
                    <a:gd name="connsiteX105" fmla="*/ 6056 w 10000"/>
                    <a:gd name="connsiteY105" fmla="*/ 7232 h 10000"/>
                    <a:gd name="connsiteX106" fmla="*/ 5944 w 10000"/>
                    <a:gd name="connsiteY106" fmla="*/ 7120 h 10000"/>
                    <a:gd name="connsiteX107" fmla="*/ 5889 w 10000"/>
                    <a:gd name="connsiteY107" fmla="*/ 7095 h 10000"/>
                    <a:gd name="connsiteX108" fmla="*/ 5778 w 10000"/>
                    <a:gd name="connsiteY108" fmla="*/ 7074 h 10000"/>
                    <a:gd name="connsiteX109" fmla="*/ 5667 w 10000"/>
                    <a:gd name="connsiteY109" fmla="*/ 7074 h 10000"/>
                    <a:gd name="connsiteX110" fmla="*/ 5500 w 10000"/>
                    <a:gd name="connsiteY110" fmla="*/ 7095 h 10000"/>
                    <a:gd name="connsiteX111" fmla="*/ 5500 w 10000"/>
                    <a:gd name="connsiteY111" fmla="*/ 7095 h 10000"/>
                    <a:gd name="connsiteX112" fmla="*/ 4889 w 10000"/>
                    <a:gd name="connsiteY112" fmla="*/ 7256 h 10000"/>
                    <a:gd name="connsiteX113" fmla="*/ 4611 w 10000"/>
                    <a:gd name="connsiteY113" fmla="*/ 7303 h 10000"/>
                    <a:gd name="connsiteX114" fmla="*/ 4556 w 10000"/>
                    <a:gd name="connsiteY114" fmla="*/ 7326 h 10000"/>
                    <a:gd name="connsiteX115" fmla="*/ 4500 w 10000"/>
                    <a:gd name="connsiteY115" fmla="*/ 7303 h 10000"/>
                    <a:gd name="connsiteX116" fmla="*/ 4500 w 10000"/>
                    <a:gd name="connsiteY116" fmla="*/ 7303 h 10000"/>
                    <a:gd name="connsiteX117" fmla="*/ 4222 w 10000"/>
                    <a:gd name="connsiteY117" fmla="*/ 7074 h 10000"/>
                    <a:gd name="connsiteX118" fmla="*/ 4222 w 10000"/>
                    <a:gd name="connsiteY118" fmla="*/ 7074 h 10000"/>
                    <a:gd name="connsiteX119" fmla="*/ 4111 w 10000"/>
                    <a:gd name="connsiteY119" fmla="*/ 6962 h 10000"/>
                    <a:gd name="connsiteX120" fmla="*/ 4111 w 10000"/>
                    <a:gd name="connsiteY120" fmla="*/ 6893 h 10000"/>
                    <a:gd name="connsiteX121" fmla="*/ 4111 w 10000"/>
                    <a:gd name="connsiteY121" fmla="*/ 6825 h 10000"/>
                    <a:gd name="connsiteX122" fmla="*/ 4111 w 10000"/>
                    <a:gd name="connsiteY122" fmla="*/ 6825 h 10000"/>
                    <a:gd name="connsiteX123" fmla="*/ 4278 w 10000"/>
                    <a:gd name="connsiteY123" fmla="*/ 6757 h 10000"/>
                    <a:gd name="connsiteX124" fmla="*/ 4389 w 10000"/>
                    <a:gd name="connsiteY124" fmla="*/ 6734 h 10000"/>
                    <a:gd name="connsiteX125" fmla="*/ 4389 w 10000"/>
                    <a:gd name="connsiteY125" fmla="*/ 6734 h 10000"/>
                    <a:gd name="connsiteX126" fmla="*/ 4000 w 10000"/>
                    <a:gd name="connsiteY126" fmla="*/ 6734 h 10000"/>
                    <a:gd name="connsiteX127" fmla="*/ 3722 w 10000"/>
                    <a:gd name="connsiteY127" fmla="*/ 6757 h 10000"/>
                    <a:gd name="connsiteX128" fmla="*/ 3611 w 10000"/>
                    <a:gd name="connsiteY128" fmla="*/ 6782 h 10000"/>
                    <a:gd name="connsiteX129" fmla="*/ 3556 w 10000"/>
                    <a:gd name="connsiteY129" fmla="*/ 6804 h 10000"/>
                    <a:gd name="connsiteX130" fmla="*/ 3556 w 10000"/>
                    <a:gd name="connsiteY130" fmla="*/ 6804 h 10000"/>
                    <a:gd name="connsiteX131" fmla="*/ 3444 w 10000"/>
                    <a:gd name="connsiteY131" fmla="*/ 6893 h 10000"/>
                    <a:gd name="connsiteX132" fmla="*/ 3278 w 10000"/>
                    <a:gd name="connsiteY132" fmla="*/ 7032 h 10000"/>
                    <a:gd name="connsiteX133" fmla="*/ 3000 w 10000"/>
                    <a:gd name="connsiteY133" fmla="*/ 7188 h 10000"/>
                    <a:gd name="connsiteX134" fmla="*/ 2667 w 10000"/>
                    <a:gd name="connsiteY134" fmla="*/ 7303 h 10000"/>
                    <a:gd name="connsiteX135" fmla="*/ 2667 w 10000"/>
                    <a:gd name="connsiteY135" fmla="*/ 7303 h 10000"/>
                    <a:gd name="connsiteX136" fmla="*/ 2333 w 10000"/>
                    <a:gd name="connsiteY136" fmla="*/ 7395 h 10000"/>
                    <a:gd name="connsiteX137" fmla="*/ 1833 w 10000"/>
                    <a:gd name="connsiteY137" fmla="*/ 7486 h 10000"/>
                    <a:gd name="connsiteX138" fmla="*/ 1389 w 10000"/>
                    <a:gd name="connsiteY138" fmla="*/ 7530 h 10000"/>
                    <a:gd name="connsiteX139" fmla="*/ 889 w 10000"/>
                    <a:gd name="connsiteY139" fmla="*/ 7552 h 10000"/>
                    <a:gd name="connsiteX140" fmla="*/ 889 w 10000"/>
                    <a:gd name="connsiteY140" fmla="*/ 7552 h 10000"/>
                    <a:gd name="connsiteX141" fmla="*/ 500 w 10000"/>
                    <a:gd name="connsiteY141" fmla="*/ 7579 h 10000"/>
                    <a:gd name="connsiteX142" fmla="*/ 222 w 10000"/>
                    <a:gd name="connsiteY142" fmla="*/ 7597 h 10000"/>
                    <a:gd name="connsiteX143" fmla="*/ 0 w 10000"/>
                    <a:gd name="connsiteY143" fmla="*/ 7619 h 10000"/>
                    <a:gd name="connsiteX144" fmla="*/ 0 w 10000"/>
                    <a:gd name="connsiteY144" fmla="*/ 7619 h 10000"/>
                    <a:gd name="connsiteX145" fmla="*/ 278 w 10000"/>
                    <a:gd name="connsiteY145" fmla="*/ 7984 h 10000"/>
                    <a:gd name="connsiteX146" fmla="*/ 500 w 10000"/>
                    <a:gd name="connsiteY146" fmla="*/ 8252 h 10000"/>
                    <a:gd name="connsiteX147" fmla="*/ 722 w 10000"/>
                    <a:gd name="connsiteY147" fmla="*/ 8480 h 10000"/>
                    <a:gd name="connsiteX148" fmla="*/ 722 w 10000"/>
                    <a:gd name="connsiteY148" fmla="*/ 8480 h 10000"/>
                    <a:gd name="connsiteX149" fmla="*/ 889 w 10000"/>
                    <a:gd name="connsiteY149" fmla="*/ 8617 h 10000"/>
                    <a:gd name="connsiteX150" fmla="*/ 944 w 10000"/>
                    <a:gd name="connsiteY150" fmla="*/ 8733 h 10000"/>
                    <a:gd name="connsiteX151" fmla="*/ 1111 w 10000"/>
                    <a:gd name="connsiteY151" fmla="*/ 8847 h 10000"/>
                    <a:gd name="connsiteX152" fmla="*/ 1333 w 10000"/>
                    <a:gd name="connsiteY152" fmla="*/ 9022 h 10000"/>
                    <a:gd name="connsiteX153" fmla="*/ 1333 w 10000"/>
                    <a:gd name="connsiteY153" fmla="*/ 9022 h 10000"/>
                    <a:gd name="connsiteX154" fmla="*/ 1444 w 10000"/>
                    <a:gd name="connsiteY154" fmla="*/ 9115 h 10000"/>
                    <a:gd name="connsiteX155" fmla="*/ 1500 w 10000"/>
                    <a:gd name="connsiteY155" fmla="*/ 9183 h 10000"/>
                    <a:gd name="connsiteX156" fmla="*/ 1500 w 10000"/>
                    <a:gd name="connsiteY156" fmla="*/ 9248 h 10000"/>
                    <a:gd name="connsiteX157" fmla="*/ 1556 w 10000"/>
                    <a:gd name="connsiteY157" fmla="*/ 9276 h 10000"/>
                    <a:gd name="connsiteX158" fmla="*/ 1722 w 10000"/>
                    <a:gd name="connsiteY158" fmla="*/ 9296 h 10000"/>
                    <a:gd name="connsiteX159" fmla="*/ 1944 w 10000"/>
                    <a:gd name="connsiteY159" fmla="*/ 9319 h 10000"/>
                    <a:gd name="connsiteX160" fmla="*/ 2944 w 10000"/>
                    <a:gd name="connsiteY160" fmla="*/ 9342 h 10000"/>
                    <a:gd name="connsiteX161" fmla="*/ 2944 w 10000"/>
                    <a:gd name="connsiteY161" fmla="*/ 9342 h 10000"/>
                    <a:gd name="connsiteX162" fmla="*/ 4167 w 10000"/>
                    <a:gd name="connsiteY162" fmla="*/ 9389 h 10000"/>
                    <a:gd name="connsiteX163" fmla="*/ 4889 w 10000"/>
                    <a:gd name="connsiteY163" fmla="*/ 9454 h 10000"/>
                    <a:gd name="connsiteX164" fmla="*/ 5278 w 10000"/>
                    <a:gd name="connsiteY164" fmla="*/ 9526 h 10000"/>
                    <a:gd name="connsiteX165" fmla="*/ 5444 w 10000"/>
                    <a:gd name="connsiteY165" fmla="*/ 9544 h 10000"/>
                    <a:gd name="connsiteX166" fmla="*/ 5444 w 10000"/>
                    <a:gd name="connsiteY166" fmla="*/ 9544 h 10000"/>
                    <a:gd name="connsiteX167" fmla="*/ 5722 w 10000"/>
                    <a:gd name="connsiteY167" fmla="*/ 9594 h 10000"/>
                    <a:gd name="connsiteX168" fmla="*/ 5833 w 10000"/>
                    <a:gd name="connsiteY168" fmla="*/ 9618 h 10000"/>
                    <a:gd name="connsiteX169" fmla="*/ 5833 w 10000"/>
                    <a:gd name="connsiteY169" fmla="*/ 9618 h 10000"/>
                    <a:gd name="connsiteX170" fmla="*/ 5833 w 10000"/>
                    <a:gd name="connsiteY170" fmla="*/ 9594 h 10000"/>
                    <a:gd name="connsiteX171" fmla="*/ 5889 w 10000"/>
                    <a:gd name="connsiteY171" fmla="*/ 9569 h 10000"/>
                    <a:gd name="connsiteX172" fmla="*/ 6000 w 10000"/>
                    <a:gd name="connsiteY172" fmla="*/ 9544 h 10000"/>
                    <a:gd name="connsiteX173" fmla="*/ 6167 w 10000"/>
                    <a:gd name="connsiteY173" fmla="*/ 9526 h 10000"/>
                    <a:gd name="connsiteX174" fmla="*/ 6444 w 10000"/>
                    <a:gd name="connsiteY174" fmla="*/ 9526 h 10000"/>
                    <a:gd name="connsiteX175" fmla="*/ 6833 w 10000"/>
                    <a:gd name="connsiteY175" fmla="*/ 9544 h 10000"/>
                    <a:gd name="connsiteX176" fmla="*/ 7278 w 10000"/>
                    <a:gd name="connsiteY176" fmla="*/ 9618 h 10000"/>
                    <a:gd name="connsiteX177" fmla="*/ 7278 w 10000"/>
                    <a:gd name="connsiteY177" fmla="*/ 9618 h 10000"/>
                    <a:gd name="connsiteX178" fmla="*/ 8722 w 10000"/>
                    <a:gd name="connsiteY178" fmla="*/ 9815 h 10000"/>
                    <a:gd name="connsiteX179" fmla="*/ 10000 w 10000"/>
                    <a:gd name="connsiteY179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414 w 10000"/>
                    <a:gd name="connsiteY72" fmla="*/ 790 h 10000"/>
                    <a:gd name="connsiteX73" fmla="*/ 1444 w 10000"/>
                    <a:gd name="connsiteY73" fmla="*/ 681 h 10000"/>
                    <a:gd name="connsiteX74" fmla="*/ 1444 w 10000"/>
                    <a:gd name="connsiteY74" fmla="*/ 523 h 10000"/>
                    <a:gd name="connsiteX75" fmla="*/ 2111 w 10000"/>
                    <a:gd name="connsiteY75" fmla="*/ 224 h 10000"/>
                    <a:gd name="connsiteX76" fmla="*/ 2389 w 10000"/>
                    <a:gd name="connsiteY76" fmla="*/ 0 h 10000"/>
                    <a:gd name="connsiteX77" fmla="*/ 10000 w 10000"/>
                    <a:gd name="connsiteY77" fmla="*/ 8480 h 10000"/>
                    <a:gd name="connsiteX78" fmla="*/ 10000 w 10000"/>
                    <a:gd name="connsiteY78" fmla="*/ 8480 h 10000"/>
                    <a:gd name="connsiteX79" fmla="*/ 9722 w 10000"/>
                    <a:gd name="connsiteY79" fmla="*/ 8455 h 10000"/>
                    <a:gd name="connsiteX80" fmla="*/ 9389 w 10000"/>
                    <a:gd name="connsiteY80" fmla="*/ 8480 h 10000"/>
                    <a:gd name="connsiteX81" fmla="*/ 9389 w 10000"/>
                    <a:gd name="connsiteY81" fmla="*/ 8480 h 10000"/>
                    <a:gd name="connsiteX82" fmla="*/ 9278 w 10000"/>
                    <a:gd name="connsiteY82" fmla="*/ 8508 h 10000"/>
                    <a:gd name="connsiteX83" fmla="*/ 9056 w 10000"/>
                    <a:gd name="connsiteY83" fmla="*/ 8480 h 10000"/>
                    <a:gd name="connsiteX84" fmla="*/ 8889 w 10000"/>
                    <a:gd name="connsiteY84" fmla="*/ 8455 h 10000"/>
                    <a:gd name="connsiteX85" fmla="*/ 8722 w 10000"/>
                    <a:gd name="connsiteY85" fmla="*/ 8413 h 10000"/>
                    <a:gd name="connsiteX86" fmla="*/ 8611 w 10000"/>
                    <a:gd name="connsiteY86" fmla="*/ 8343 h 10000"/>
                    <a:gd name="connsiteX87" fmla="*/ 8444 w 10000"/>
                    <a:gd name="connsiteY87" fmla="*/ 8229 h 10000"/>
                    <a:gd name="connsiteX88" fmla="*/ 8444 w 10000"/>
                    <a:gd name="connsiteY88" fmla="*/ 8229 h 10000"/>
                    <a:gd name="connsiteX89" fmla="*/ 8222 w 10000"/>
                    <a:gd name="connsiteY89" fmla="*/ 8030 h 10000"/>
                    <a:gd name="connsiteX90" fmla="*/ 8111 w 10000"/>
                    <a:gd name="connsiteY90" fmla="*/ 7939 h 10000"/>
                    <a:gd name="connsiteX91" fmla="*/ 7944 w 10000"/>
                    <a:gd name="connsiteY91" fmla="*/ 7871 h 10000"/>
                    <a:gd name="connsiteX92" fmla="*/ 7778 w 10000"/>
                    <a:gd name="connsiteY92" fmla="*/ 7826 h 10000"/>
                    <a:gd name="connsiteX93" fmla="*/ 7556 w 10000"/>
                    <a:gd name="connsiteY93" fmla="*/ 7799 h 10000"/>
                    <a:gd name="connsiteX94" fmla="*/ 7333 w 10000"/>
                    <a:gd name="connsiteY94" fmla="*/ 7779 h 10000"/>
                    <a:gd name="connsiteX95" fmla="*/ 7000 w 10000"/>
                    <a:gd name="connsiteY95" fmla="*/ 7753 h 10000"/>
                    <a:gd name="connsiteX96" fmla="*/ 7000 w 10000"/>
                    <a:gd name="connsiteY96" fmla="*/ 7753 h 10000"/>
                    <a:gd name="connsiteX97" fmla="*/ 6556 w 10000"/>
                    <a:gd name="connsiteY97" fmla="*/ 7779 h 10000"/>
                    <a:gd name="connsiteX98" fmla="*/ 6222 w 10000"/>
                    <a:gd name="connsiteY98" fmla="*/ 7779 h 10000"/>
                    <a:gd name="connsiteX99" fmla="*/ 6111 w 10000"/>
                    <a:gd name="connsiteY99" fmla="*/ 7753 h 10000"/>
                    <a:gd name="connsiteX100" fmla="*/ 6056 w 10000"/>
                    <a:gd name="connsiteY100" fmla="*/ 7731 h 10000"/>
                    <a:gd name="connsiteX101" fmla="*/ 6056 w 10000"/>
                    <a:gd name="connsiteY101" fmla="*/ 7731 h 10000"/>
                    <a:gd name="connsiteX102" fmla="*/ 6056 w 10000"/>
                    <a:gd name="connsiteY102" fmla="*/ 7326 h 10000"/>
                    <a:gd name="connsiteX103" fmla="*/ 6056 w 10000"/>
                    <a:gd name="connsiteY103" fmla="*/ 7326 h 10000"/>
                    <a:gd name="connsiteX104" fmla="*/ 6056 w 10000"/>
                    <a:gd name="connsiteY104" fmla="*/ 7232 h 10000"/>
                    <a:gd name="connsiteX105" fmla="*/ 5944 w 10000"/>
                    <a:gd name="connsiteY105" fmla="*/ 7120 h 10000"/>
                    <a:gd name="connsiteX106" fmla="*/ 5889 w 10000"/>
                    <a:gd name="connsiteY106" fmla="*/ 7095 h 10000"/>
                    <a:gd name="connsiteX107" fmla="*/ 5778 w 10000"/>
                    <a:gd name="connsiteY107" fmla="*/ 7074 h 10000"/>
                    <a:gd name="connsiteX108" fmla="*/ 5667 w 10000"/>
                    <a:gd name="connsiteY108" fmla="*/ 7074 h 10000"/>
                    <a:gd name="connsiteX109" fmla="*/ 5500 w 10000"/>
                    <a:gd name="connsiteY109" fmla="*/ 7095 h 10000"/>
                    <a:gd name="connsiteX110" fmla="*/ 5500 w 10000"/>
                    <a:gd name="connsiteY110" fmla="*/ 7095 h 10000"/>
                    <a:gd name="connsiteX111" fmla="*/ 4889 w 10000"/>
                    <a:gd name="connsiteY111" fmla="*/ 7256 h 10000"/>
                    <a:gd name="connsiteX112" fmla="*/ 4611 w 10000"/>
                    <a:gd name="connsiteY112" fmla="*/ 7303 h 10000"/>
                    <a:gd name="connsiteX113" fmla="*/ 4556 w 10000"/>
                    <a:gd name="connsiteY113" fmla="*/ 7326 h 10000"/>
                    <a:gd name="connsiteX114" fmla="*/ 4500 w 10000"/>
                    <a:gd name="connsiteY114" fmla="*/ 7303 h 10000"/>
                    <a:gd name="connsiteX115" fmla="*/ 4500 w 10000"/>
                    <a:gd name="connsiteY115" fmla="*/ 7303 h 10000"/>
                    <a:gd name="connsiteX116" fmla="*/ 4222 w 10000"/>
                    <a:gd name="connsiteY116" fmla="*/ 7074 h 10000"/>
                    <a:gd name="connsiteX117" fmla="*/ 4222 w 10000"/>
                    <a:gd name="connsiteY117" fmla="*/ 7074 h 10000"/>
                    <a:gd name="connsiteX118" fmla="*/ 4111 w 10000"/>
                    <a:gd name="connsiteY118" fmla="*/ 6962 h 10000"/>
                    <a:gd name="connsiteX119" fmla="*/ 4111 w 10000"/>
                    <a:gd name="connsiteY119" fmla="*/ 6893 h 10000"/>
                    <a:gd name="connsiteX120" fmla="*/ 4111 w 10000"/>
                    <a:gd name="connsiteY120" fmla="*/ 6825 h 10000"/>
                    <a:gd name="connsiteX121" fmla="*/ 4111 w 10000"/>
                    <a:gd name="connsiteY121" fmla="*/ 6825 h 10000"/>
                    <a:gd name="connsiteX122" fmla="*/ 4278 w 10000"/>
                    <a:gd name="connsiteY122" fmla="*/ 6757 h 10000"/>
                    <a:gd name="connsiteX123" fmla="*/ 4389 w 10000"/>
                    <a:gd name="connsiteY123" fmla="*/ 6734 h 10000"/>
                    <a:gd name="connsiteX124" fmla="*/ 4389 w 10000"/>
                    <a:gd name="connsiteY124" fmla="*/ 6734 h 10000"/>
                    <a:gd name="connsiteX125" fmla="*/ 4000 w 10000"/>
                    <a:gd name="connsiteY125" fmla="*/ 6734 h 10000"/>
                    <a:gd name="connsiteX126" fmla="*/ 3722 w 10000"/>
                    <a:gd name="connsiteY126" fmla="*/ 6757 h 10000"/>
                    <a:gd name="connsiteX127" fmla="*/ 3611 w 10000"/>
                    <a:gd name="connsiteY127" fmla="*/ 6782 h 10000"/>
                    <a:gd name="connsiteX128" fmla="*/ 3556 w 10000"/>
                    <a:gd name="connsiteY128" fmla="*/ 6804 h 10000"/>
                    <a:gd name="connsiteX129" fmla="*/ 3556 w 10000"/>
                    <a:gd name="connsiteY129" fmla="*/ 6804 h 10000"/>
                    <a:gd name="connsiteX130" fmla="*/ 3444 w 10000"/>
                    <a:gd name="connsiteY130" fmla="*/ 6893 h 10000"/>
                    <a:gd name="connsiteX131" fmla="*/ 3278 w 10000"/>
                    <a:gd name="connsiteY131" fmla="*/ 7032 h 10000"/>
                    <a:gd name="connsiteX132" fmla="*/ 3000 w 10000"/>
                    <a:gd name="connsiteY132" fmla="*/ 7188 h 10000"/>
                    <a:gd name="connsiteX133" fmla="*/ 2667 w 10000"/>
                    <a:gd name="connsiteY133" fmla="*/ 7303 h 10000"/>
                    <a:gd name="connsiteX134" fmla="*/ 2667 w 10000"/>
                    <a:gd name="connsiteY134" fmla="*/ 7303 h 10000"/>
                    <a:gd name="connsiteX135" fmla="*/ 2333 w 10000"/>
                    <a:gd name="connsiteY135" fmla="*/ 7395 h 10000"/>
                    <a:gd name="connsiteX136" fmla="*/ 1833 w 10000"/>
                    <a:gd name="connsiteY136" fmla="*/ 7486 h 10000"/>
                    <a:gd name="connsiteX137" fmla="*/ 1389 w 10000"/>
                    <a:gd name="connsiteY137" fmla="*/ 7530 h 10000"/>
                    <a:gd name="connsiteX138" fmla="*/ 889 w 10000"/>
                    <a:gd name="connsiteY138" fmla="*/ 7552 h 10000"/>
                    <a:gd name="connsiteX139" fmla="*/ 889 w 10000"/>
                    <a:gd name="connsiteY139" fmla="*/ 7552 h 10000"/>
                    <a:gd name="connsiteX140" fmla="*/ 500 w 10000"/>
                    <a:gd name="connsiteY140" fmla="*/ 7579 h 10000"/>
                    <a:gd name="connsiteX141" fmla="*/ 222 w 10000"/>
                    <a:gd name="connsiteY141" fmla="*/ 7597 h 10000"/>
                    <a:gd name="connsiteX142" fmla="*/ 0 w 10000"/>
                    <a:gd name="connsiteY142" fmla="*/ 7619 h 10000"/>
                    <a:gd name="connsiteX143" fmla="*/ 0 w 10000"/>
                    <a:gd name="connsiteY143" fmla="*/ 7619 h 10000"/>
                    <a:gd name="connsiteX144" fmla="*/ 278 w 10000"/>
                    <a:gd name="connsiteY144" fmla="*/ 7984 h 10000"/>
                    <a:gd name="connsiteX145" fmla="*/ 500 w 10000"/>
                    <a:gd name="connsiteY145" fmla="*/ 8252 h 10000"/>
                    <a:gd name="connsiteX146" fmla="*/ 722 w 10000"/>
                    <a:gd name="connsiteY146" fmla="*/ 8480 h 10000"/>
                    <a:gd name="connsiteX147" fmla="*/ 722 w 10000"/>
                    <a:gd name="connsiteY147" fmla="*/ 8480 h 10000"/>
                    <a:gd name="connsiteX148" fmla="*/ 889 w 10000"/>
                    <a:gd name="connsiteY148" fmla="*/ 8617 h 10000"/>
                    <a:gd name="connsiteX149" fmla="*/ 944 w 10000"/>
                    <a:gd name="connsiteY149" fmla="*/ 8733 h 10000"/>
                    <a:gd name="connsiteX150" fmla="*/ 1111 w 10000"/>
                    <a:gd name="connsiteY150" fmla="*/ 8847 h 10000"/>
                    <a:gd name="connsiteX151" fmla="*/ 1333 w 10000"/>
                    <a:gd name="connsiteY151" fmla="*/ 9022 h 10000"/>
                    <a:gd name="connsiteX152" fmla="*/ 1333 w 10000"/>
                    <a:gd name="connsiteY152" fmla="*/ 9022 h 10000"/>
                    <a:gd name="connsiteX153" fmla="*/ 1444 w 10000"/>
                    <a:gd name="connsiteY153" fmla="*/ 9115 h 10000"/>
                    <a:gd name="connsiteX154" fmla="*/ 1500 w 10000"/>
                    <a:gd name="connsiteY154" fmla="*/ 9183 h 10000"/>
                    <a:gd name="connsiteX155" fmla="*/ 1500 w 10000"/>
                    <a:gd name="connsiteY155" fmla="*/ 9248 h 10000"/>
                    <a:gd name="connsiteX156" fmla="*/ 1556 w 10000"/>
                    <a:gd name="connsiteY156" fmla="*/ 9276 h 10000"/>
                    <a:gd name="connsiteX157" fmla="*/ 1722 w 10000"/>
                    <a:gd name="connsiteY157" fmla="*/ 9296 h 10000"/>
                    <a:gd name="connsiteX158" fmla="*/ 1944 w 10000"/>
                    <a:gd name="connsiteY158" fmla="*/ 9319 h 10000"/>
                    <a:gd name="connsiteX159" fmla="*/ 2944 w 10000"/>
                    <a:gd name="connsiteY159" fmla="*/ 9342 h 10000"/>
                    <a:gd name="connsiteX160" fmla="*/ 2944 w 10000"/>
                    <a:gd name="connsiteY160" fmla="*/ 9342 h 10000"/>
                    <a:gd name="connsiteX161" fmla="*/ 4167 w 10000"/>
                    <a:gd name="connsiteY161" fmla="*/ 9389 h 10000"/>
                    <a:gd name="connsiteX162" fmla="*/ 4889 w 10000"/>
                    <a:gd name="connsiteY162" fmla="*/ 9454 h 10000"/>
                    <a:gd name="connsiteX163" fmla="*/ 5278 w 10000"/>
                    <a:gd name="connsiteY163" fmla="*/ 9526 h 10000"/>
                    <a:gd name="connsiteX164" fmla="*/ 5444 w 10000"/>
                    <a:gd name="connsiteY164" fmla="*/ 9544 h 10000"/>
                    <a:gd name="connsiteX165" fmla="*/ 5444 w 10000"/>
                    <a:gd name="connsiteY165" fmla="*/ 9544 h 10000"/>
                    <a:gd name="connsiteX166" fmla="*/ 5722 w 10000"/>
                    <a:gd name="connsiteY166" fmla="*/ 9594 h 10000"/>
                    <a:gd name="connsiteX167" fmla="*/ 5833 w 10000"/>
                    <a:gd name="connsiteY167" fmla="*/ 9618 h 10000"/>
                    <a:gd name="connsiteX168" fmla="*/ 5833 w 10000"/>
                    <a:gd name="connsiteY168" fmla="*/ 9618 h 10000"/>
                    <a:gd name="connsiteX169" fmla="*/ 5833 w 10000"/>
                    <a:gd name="connsiteY169" fmla="*/ 9594 h 10000"/>
                    <a:gd name="connsiteX170" fmla="*/ 5889 w 10000"/>
                    <a:gd name="connsiteY170" fmla="*/ 9569 h 10000"/>
                    <a:gd name="connsiteX171" fmla="*/ 6000 w 10000"/>
                    <a:gd name="connsiteY171" fmla="*/ 9544 h 10000"/>
                    <a:gd name="connsiteX172" fmla="*/ 6167 w 10000"/>
                    <a:gd name="connsiteY172" fmla="*/ 9526 h 10000"/>
                    <a:gd name="connsiteX173" fmla="*/ 6444 w 10000"/>
                    <a:gd name="connsiteY173" fmla="*/ 9526 h 10000"/>
                    <a:gd name="connsiteX174" fmla="*/ 6833 w 10000"/>
                    <a:gd name="connsiteY174" fmla="*/ 9544 h 10000"/>
                    <a:gd name="connsiteX175" fmla="*/ 7278 w 10000"/>
                    <a:gd name="connsiteY175" fmla="*/ 9618 h 10000"/>
                    <a:gd name="connsiteX176" fmla="*/ 7278 w 10000"/>
                    <a:gd name="connsiteY176" fmla="*/ 9618 h 10000"/>
                    <a:gd name="connsiteX177" fmla="*/ 8722 w 10000"/>
                    <a:gd name="connsiteY177" fmla="*/ 9815 h 10000"/>
                    <a:gd name="connsiteX178" fmla="*/ 10000 w 10000"/>
                    <a:gd name="connsiteY178" fmla="*/ 10000 h 10000"/>
                    <a:gd name="connsiteX0" fmla="*/ 10000 w 10000"/>
                    <a:gd name="connsiteY0" fmla="*/ 8455 h 10000"/>
                    <a:gd name="connsiteX1" fmla="*/ 10000 w 10000"/>
                    <a:gd name="connsiteY1" fmla="*/ 8455 h 10000"/>
                    <a:gd name="connsiteX2" fmla="*/ 9222 w 10000"/>
                    <a:gd name="connsiteY2" fmla="*/ 8480 h 10000"/>
                    <a:gd name="connsiteX3" fmla="*/ 8944 w 10000"/>
                    <a:gd name="connsiteY3" fmla="*/ 8480 h 10000"/>
                    <a:gd name="connsiteX4" fmla="*/ 8833 w 10000"/>
                    <a:gd name="connsiteY4" fmla="*/ 8455 h 10000"/>
                    <a:gd name="connsiteX5" fmla="*/ 8778 w 10000"/>
                    <a:gd name="connsiteY5" fmla="*/ 8436 h 10000"/>
                    <a:gd name="connsiteX6" fmla="*/ 8778 w 10000"/>
                    <a:gd name="connsiteY6" fmla="*/ 8436 h 10000"/>
                    <a:gd name="connsiteX7" fmla="*/ 8444 w 10000"/>
                    <a:gd name="connsiteY7" fmla="*/ 8162 h 10000"/>
                    <a:gd name="connsiteX8" fmla="*/ 8167 w 10000"/>
                    <a:gd name="connsiteY8" fmla="*/ 7912 h 10000"/>
                    <a:gd name="connsiteX9" fmla="*/ 8167 w 10000"/>
                    <a:gd name="connsiteY9" fmla="*/ 7912 h 10000"/>
                    <a:gd name="connsiteX10" fmla="*/ 8056 w 10000"/>
                    <a:gd name="connsiteY10" fmla="*/ 7871 h 10000"/>
                    <a:gd name="connsiteX11" fmla="*/ 7889 w 10000"/>
                    <a:gd name="connsiteY11" fmla="*/ 7826 h 10000"/>
                    <a:gd name="connsiteX12" fmla="*/ 7444 w 10000"/>
                    <a:gd name="connsiteY12" fmla="*/ 7799 h 10000"/>
                    <a:gd name="connsiteX13" fmla="*/ 6889 w 10000"/>
                    <a:gd name="connsiteY13" fmla="*/ 7779 h 10000"/>
                    <a:gd name="connsiteX14" fmla="*/ 6389 w 10000"/>
                    <a:gd name="connsiteY14" fmla="*/ 7779 h 10000"/>
                    <a:gd name="connsiteX15" fmla="*/ 6389 w 10000"/>
                    <a:gd name="connsiteY15" fmla="*/ 7779 h 10000"/>
                    <a:gd name="connsiteX16" fmla="*/ 6167 w 10000"/>
                    <a:gd name="connsiteY16" fmla="*/ 7753 h 10000"/>
                    <a:gd name="connsiteX17" fmla="*/ 6056 w 10000"/>
                    <a:gd name="connsiteY17" fmla="*/ 7712 h 10000"/>
                    <a:gd name="connsiteX18" fmla="*/ 6000 w 10000"/>
                    <a:gd name="connsiteY18" fmla="*/ 7664 h 10000"/>
                    <a:gd name="connsiteX19" fmla="*/ 6000 w 10000"/>
                    <a:gd name="connsiteY19" fmla="*/ 7579 h 10000"/>
                    <a:gd name="connsiteX20" fmla="*/ 6056 w 10000"/>
                    <a:gd name="connsiteY20" fmla="*/ 7395 h 10000"/>
                    <a:gd name="connsiteX21" fmla="*/ 6111 w 10000"/>
                    <a:gd name="connsiteY21" fmla="*/ 7303 h 10000"/>
                    <a:gd name="connsiteX22" fmla="*/ 6056 w 10000"/>
                    <a:gd name="connsiteY22" fmla="*/ 7188 h 10000"/>
                    <a:gd name="connsiteX23" fmla="*/ 6056 w 10000"/>
                    <a:gd name="connsiteY23" fmla="*/ 7188 h 10000"/>
                    <a:gd name="connsiteX24" fmla="*/ 6000 w 10000"/>
                    <a:gd name="connsiteY24" fmla="*/ 7120 h 10000"/>
                    <a:gd name="connsiteX25" fmla="*/ 5944 w 10000"/>
                    <a:gd name="connsiteY25" fmla="*/ 7074 h 10000"/>
                    <a:gd name="connsiteX26" fmla="*/ 5833 w 10000"/>
                    <a:gd name="connsiteY26" fmla="*/ 7074 h 10000"/>
                    <a:gd name="connsiteX27" fmla="*/ 5667 w 10000"/>
                    <a:gd name="connsiteY27" fmla="*/ 7095 h 10000"/>
                    <a:gd name="connsiteX28" fmla="*/ 5333 w 10000"/>
                    <a:gd name="connsiteY28" fmla="*/ 7166 h 10000"/>
                    <a:gd name="connsiteX29" fmla="*/ 4889 w 10000"/>
                    <a:gd name="connsiteY29" fmla="*/ 7279 h 10000"/>
                    <a:gd name="connsiteX30" fmla="*/ 4889 w 10000"/>
                    <a:gd name="connsiteY30" fmla="*/ 7279 h 10000"/>
                    <a:gd name="connsiteX31" fmla="*/ 4611 w 10000"/>
                    <a:gd name="connsiteY31" fmla="*/ 7303 h 10000"/>
                    <a:gd name="connsiteX32" fmla="*/ 4500 w 10000"/>
                    <a:gd name="connsiteY32" fmla="*/ 7303 h 10000"/>
                    <a:gd name="connsiteX33" fmla="*/ 4444 w 10000"/>
                    <a:gd name="connsiteY33" fmla="*/ 7279 h 10000"/>
                    <a:gd name="connsiteX34" fmla="*/ 4389 w 10000"/>
                    <a:gd name="connsiteY34" fmla="*/ 7188 h 10000"/>
                    <a:gd name="connsiteX35" fmla="*/ 4222 w 10000"/>
                    <a:gd name="connsiteY35" fmla="*/ 7074 h 10000"/>
                    <a:gd name="connsiteX36" fmla="*/ 4222 w 10000"/>
                    <a:gd name="connsiteY36" fmla="*/ 7074 h 10000"/>
                    <a:gd name="connsiteX37" fmla="*/ 4111 w 10000"/>
                    <a:gd name="connsiteY37" fmla="*/ 7006 h 10000"/>
                    <a:gd name="connsiteX38" fmla="*/ 4111 w 10000"/>
                    <a:gd name="connsiteY38" fmla="*/ 6939 h 10000"/>
                    <a:gd name="connsiteX39" fmla="*/ 4111 w 10000"/>
                    <a:gd name="connsiteY39" fmla="*/ 6893 h 10000"/>
                    <a:gd name="connsiteX40" fmla="*/ 4167 w 10000"/>
                    <a:gd name="connsiteY40" fmla="*/ 6848 h 10000"/>
                    <a:gd name="connsiteX41" fmla="*/ 4278 w 10000"/>
                    <a:gd name="connsiteY41" fmla="*/ 6757 h 10000"/>
                    <a:gd name="connsiteX42" fmla="*/ 4389 w 10000"/>
                    <a:gd name="connsiteY42" fmla="*/ 6734 h 10000"/>
                    <a:gd name="connsiteX43" fmla="*/ 4389 w 10000"/>
                    <a:gd name="connsiteY43" fmla="*/ 6734 h 10000"/>
                    <a:gd name="connsiteX44" fmla="*/ 4389 w 10000"/>
                    <a:gd name="connsiteY44" fmla="*/ 6710 h 10000"/>
                    <a:gd name="connsiteX45" fmla="*/ 4444 w 10000"/>
                    <a:gd name="connsiteY45" fmla="*/ 6693 h 10000"/>
                    <a:gd name="connsiteX46" fmla="*/ 4667 w 10000"/>
                    <a:gd name="connsiteY46" fmla="*/ 6667 h 10000"/>
                    <a:gd name="connsiteX47" fmla="*/ 5333 w 10000"/>
                    <a:gd name="connsiteY47" fmla="*/ 6624 h 10000"/>
                    <a:gd name="connsiteX48" fmla="*/ 6500 w 10000"/>
                    <a:gd name="connsiteY48" fmla="*/ 6552 h 10000"/>
                    <a:gd name="connsiteX49" fmla="*/ 6500 w 10000"/>
                    <a:gd name="connsiteY49" fmla="*/ 6552 h 10000"/>
                    <a:gd name="connsiteX50" fmla="*/ 7167 w 10000"/>
                    <a:gd name="connsiteY50" fmla="*/ 6487 h 10000"/>
                    <a:gd name="connsiteX51" fmla="*/ 8389 w 10000"/>
                    <a:gd name="connsiteY51" fmla="*/ 6352 h 10000"/>
                    <a:gd name="connsiteX52" fmla="*/ 8389 w 10000"/>
                    <a:gd name="connsiteY52" fmla="*/ 6352 h 10000"/>
                    <a:gd name="connsiteX53" fmla="*/ 8667 w 10000"/>
                    <a:gd name="connsiteY53" fmla="*/ 6303 h 10000"/>
                    <a:gd name="connsiteX54" fmla="*/ 8778 w 10000"/>
                    <a:gd name="connsiteY54" fmla="*/ 6233 h 10000"/>
                    <a:gd name="connsiteX55" fmla="*/ 8889 w 10000"/>
                    <a:gd name="connsiteY55" fmla="*/ 6190 h 10000"/>
                    <a:gd name="connsiteX56" fmla="*/ 8833 w 10000"/>
                    <a:gd name="connsiteY56" fmla="*/ 6145 h 10000"/>
                    <a:gd name="connsiteX57" fmla="*/ 8833 w 10000"/>
                    <a:gd name="connsiteY57" fmla="*/ 6103 h 10000"/>
                    <a:gd name="connsiteX58" fmla="*/ 8722 w 10000"/>
                    <a:gd name="connsiteY58" fmla="*/ 6053 h 10000"/>
                    <a:gd name="connsiteX59" fmla="*/ 8556 w 10000"/>
                    <a:gd name="connsiteY59" fmla="*/ 5986 h 10000"/>
                    <a:gd name="connsiteX60" fmla="*/ 8556 w 10000"/>
                    <a:gd name="connsiteY60" fmla="*/ 5986 h 10000"/>
                    <a:gd name="connsiteX61" fmla="*/ 6556 w 10000"/>
                    <a:gd name="connsiteY61" fmla="*/ 5582 h 10000"/>
                    <a:gd name="connsiteX62" fmla="*/ 6556 w 10000"/>
                    <a:gd name="connsiteY62" fmla="*/ 5582 h 10000"/>
                    <a:gd name="connsiteX63" fmla="*/ 6333 w 10000"/>
                    <a:gd name="connsiteY63" fmla="*/ 5512 h 10000"/>
                    <a:gd name="connsiteX64" fmla="*/ 6167 w 10000"/>
                    <a:gd name="connsiteY64" fmla="*/ 5443 h 10000"/>
                    <a:gd name="connsiteX65" fmla="*/ 6056 w 10000"/>
                    <a:gd name="connsiteY65" fmla="*/ 5373 h 10000"/>
                    <a:gd name="connsiteX66" fmla="*/ 6056 w 10000"/>
                    <a:gd name="connsiteY66" fmla="*/ 5373 h 10000"/>
                    <a:gd name="connsiteX67" fmla="*/ 8056 w 10000"/>
                    <a:gd name="connsiteY67" fmla="*/ 5351 h 10000"/>
                    <a:gd name="connsiteX68" fmla="*/ 10000 w 10000"/>
                    <a:gd name="connsiteY68" fmla="*/ 5582 h 10000"/>
                    <a:gd name="connsiteX69" fmla="*/ 10000 w 10000"/>
                    <a:gd name="connsiteY69" fmla="*/ 3516 h 10000"/>
                    <a:gd name="connsiteX70" fmla="*/ 2889 w 10000"/>
                    <a:gd name="connsiteY70" fmla="*/ 1113 h 10000"/>
                    <a:gd name="connsiteX71" fmla="*/ 2000 w 10000"/>
                    <a:gd name="connsiteY71" fmla="*/ 1067 h 10000"/>
                    <a:gd name="connsiteX72" fmla="*/ 1414 w 10000"/>
                    <a:gd name="connsiteY72" fmla="*/ 790 h 10000"/>
                    <a:gd name="connsiteX73" fmla="*/ 1444 w 10000"/>
                    <a:gd name="connsiteY73" fmla="*/ 681 h 10000"/>
                    <a:gd name="connsiteX74" fmla="*/ 1444 w 10000"/>
                    <a:gd name="connsiteY74" fmla="*/ 523 h 10000"/>
                    <a:gd name="connsiteX75" fmla="*/ 1675 w 10000"/>
                    <a:gd name="connsiteY75" fmla="*/ 329 h 10000"/>
                    <a:gd name="connsiteX76" fmla="*/ 2111 w 10000"/>
                    <a:gd name="connsiteY76" fmla="*/ 224 h 10000"/>
                    <a:gd name="connsiteX77" fmla="*/ 2389 w 10000"/>
                    <a:gd name="connsiteY77" fmla="*/ 0 h 10000"/>
                    <a:gd name="connsiteX78" fmla="*/ 10000 w 10000"/>
                    <a:gd name="connsiteY78" fmla="*/ 8480 h 10000"/>
                    <a:gd name="connsiteX79" fmla="*/ 10000 w 10000"/>
                    <a:gd name="connsiteY79" fmla="*/ 8480 h 10000"/>
                    <a:gd name="connsiteX80" fmla="*/ 9722 w 10000"/>
                    <a:gd name="connsiteY80" fmla="*/ 8455 h 10000"/>
                    <a:gd name="connsiteX81" fmla="*/ 9389 w 10000"/>
                    <a:gd name="connsiteY81" fmla="*/ 8480 h 10000"/>
                    <a:gd name="connsiteX82" fmla="*/ 9389 w 10000"/>
                    <a:gd name="connsiteY82" fmla="*/ 8480 h 10000"/>
                    <a:gd name="connsiteX83" fmla="*/ 9278 w 10000"/>
                    <a:gd name="connsiteY83" fmla="*/ 8508 h 10000"/>
                    <a:gd name="connsiteX84" fmla="*/ 9056 w 10000"/>
                    <a:gd name="connsiteY84" fmla="*/ 8480 h 10000"/>
                    <a:gd name="connsiteX85" fmla="*/ 8889 w 10000"/>
                    <a:gd name="connsiteY85" fmla="*/ 8455 h 10000"/>
                    <a:gd name="connsiteX86" fmla="*/ 8722 w 10000"/>
                    <a:gd name="connsiteY86" fmla="*/ 8413 h 10000"/>
                    <a:gd name="connsiteX87" fmla="*/ 8611 w 10000"/>
                    <a:gd name="connsiteY87" fmla="*/ 8343 h 10000"/>
                    <a:gd name="connsiteX88" fmla="*/ 8444 w 10000"/>
                    <a:gd name="connsiteY88" fmla="*/ 8229 h 10000"/>
                    <a:gd name="connsiteX89" fmla="*/ 8444 w 10000"/>
                    <a:gd name="connsiteY89" fmla="*/ 8229 h 10000"/>
                    <a:gd name="connsiteX90" fmla="*/ 8222 w 10000"/>
                    <a:gd name="connsiteY90" fmla="*/ 8030 h 10000"/>
                    <a:gd name="connsiteX91" fmla="*/ 8111 w 10000"/>
                    <a:gd name="connsiteY91" fmla="*/ 7939 h 10000"/>
                    <a:gd name="connsiteX92" fmla="*/ 7944 w 10000"/>
                    <a:gd name="connsiteY92" fmla="*/ 7871 h 10000"/>
                    <a:gd name="connsiteX93" fmla="*/ 7778 w 10000"/>
                    <a:gd name="connsiteY93" fmla="*/ 7826 h 10000"/>
                    <a:gd name="connsiteX94" fmla="*/ 7556 w 10000"/>
                    <a:gd name="connsiteY94" fmla="*/ 7799 h 10000"/>
                    <a:gd name="connsiteX95" fmla="*/ 7333 w 10000"/>
                    <a:gd name="connsiteY95" fmla="*/ 7779 h 10000"/>
                    <a:gd name="connsiteX96" fmla="*/ 7000 w 10000"/>
                    <a:gd name="connsiteY96" fmla="*/ 7753 h 10000"/>
                    <a:gd name="connsiteX97" fmla="*/ 7000 w 10000"/>
                    <a:gd name="connsiteY97" fmla="*/ 7753 h 10000"/>
                    <a:gd name="connsiteX98" fmla="*/ 6556 w 10000"/>
                    <a:gd name="connsiteY98" fmla="*/ 7779 h 10000"/>
                    <a:gd name="connsiteX99" fmla="*/ 6222 w 10000"/>
                    <a:gd name="connsiteY99" fmla="*/ 7779 h 10000"/>
                    <a:gd name="connsiteX100" fmla="*/ 6111 w 10000"/>
                    <a:gd name="connsiteY100" fmla="*/ 7753 h 10000"/>
                    <a:gd name="connsiteX101" fmla="*/ 6056 w 10000"/>
                    <a:gd name="connsiteY101" fmla="*/ 7731 h 10000"/>
                    <a:gd name="connsiteX102" fmla="*/ 6056 w 10000"/>
                    <a:gd name="connsiteY102" fmla="*/ 7731 h 10000"/>
                    <a:gd name="connsiteX103" fmla="*/ 6056 w 10000"/>
                    <a:gd name="connsiteY103" fmla="*/ 7326 h 10000"/>
                    <a:gd name="connsiteX104" fmla="*/ 6056 w 10000"/>
                    <a:gd name="connsiteY104" fmla="*/ 7326 h 10000"/>
                    <a:gd name="connsiteX105" fmla="*/ 6056 w 10000"/>
                    <a:gd name="connsiteY105" fmla="*/ 7232 h 10000"/>
                    <a:gd name="connsiteX106" fmla="*/ 5944 w 10000"/>
                    <a:gd name="connsiteY106" fmla="*/ 7120 h 10000"/>
                    <a:gd name="connsiteX107" fmla="*/ 5889 w 10000"/>
                    <a:gd name="connsiteY107" fmla="*/ 7095 h 10000"/>
                    <a:gd name="connsiteX108" fmla="*/ 5778 w 10000"/>
                    <a:gd name="connsiteY108" fmla="*/ 7074 h 10000"/>
                    <a:gd name="connsiteX109" fmla="*/ 5667 w 10000"/>
                    <a:gd name="connsiteY109" fmla="*/ 7074 h 10000"/>
                    <a:gd name="connsiteX110" fmla="*/ 5500 w 10000"/>
                    <a:gd name="connsiteY110" fmla="*/ 7095 h 10000"/>
                    <a:gd name="connsiteX111" fmla="*/ 5500 w 10000"/>
                    <a:gd name="connsiteY111" fmla="*/ 7095 h 10000"/>
                    <a:gd name="connsiteX112" fmla="*/ 4889 w 10000"/>
                    <a:gd name="connsiteY112" fmla="*/ 7256 h 10000"/>
                    <a:gd name="connsiteX113" fmla="*/ 4611 w 10000"/>
                    <a:gd name="connsiteY113" fmla="*/ 7303 h 10000"/>
                    <a:gd name="connsiteX114" fmla="*/ 4556 w 10000"/>
                    <a:gd name="connsiteY114" fmla="*/ 7326 h 10000"/>
                    <a:gd name="connsiteX115" fmla="*/ 4500 w 10000"/>
                    <a:gd name="connsiteY115" fmla="*/ 7303 h 10000"/>
                    <a:gd name="connsiteX116" fmla="*/ 4500 w 10000"/>
                    <a:gd name="connsiteY116" fmla="*/ 7303 h 10000"/>
                    <a:gd name="connsiteX117" fmla="*/ 4222 w 10000"/>
                    <a:gd name="connsiteY117" fmla="*/ 7074 h 10000"/>
                    <a:gd name="connsiteX118" fmla="*/ 4222 w 10000"/>
                    <a:gd name="connsiteY118" fmla="*/ 7074 h 10000"/>
                    <a:gd name="connsiteX119" fmla="*/ 4111 w 10000"/>
                    <a:gd name="connsiteY119" fmla="*/ 6962 h 10000"/>
                    <a:gd name="connsiteX120" fmla="*/ 4111 w 10000"/>
                    <a:gd name="connsiteY120" fmla="*/ 6893 h 10000"/>
                    <a:gd name="connsiteX121" fmla="*/ 4111 w 10000"/>
                    <a:gd name="connsiteY121" fmla="*/ 6825 h 10000"/>
                    <a:gd name="connsiteX122" fmla="*/ 4111 w 10000"/>
                    <a:gd name="connsiteY122" fmla="*/ 6825 h 10000"/>
                    <a:gd name="connsiteX123" fmla="*/ 4278 w 10000"/>
                    <a:gd name="connsiteY123" fmla="*/ 6757 h 10000"/>
                    <a:gd name="connsiteX124" fmla="*/ 4389 w 10000"/>
                    <a:gd name="connsiteY124" fmla="*/ 6734 h 10000"/>
                    <a:gd name="connsiteX125" fmla="*/ 4389 w 10000"/>
                    <a:gd name="connsiteY125" fmla="*/ 6734 h 10000"/>
                    <a:gd name="connsiteX126" fmla="*/ 4000 w 10000"/>
                    <a:gd name="connsiteY126" fmla="*/ 6734 h 10000"/>
                    <a:gd name="connsiteX127" fmla="*/ 3722 w 10000"/>
                    <a:gd name="connsiteY127" fmla="*/ 6757 h 10000"/>
                    <a:gd name="connsiteX128" fmla="*/ 3611 w 10000"/>
                    <a:gd name="connsiteY128" fmla="*/ 6782 h 10000"/>
                    <a:gd name="connsiteX129" fmla="*/ 3556 w 10000"/>
                    <a:gd name="connsiteY129" fmla="*/ 6804 h 10000"/>
                    <a:gd name="connsiteX130" fmla="*/ 3556 w 10000"/>
                    <a:gd name="connsiteY130" fmla="*/ 6804 h 10000"/>
                    <a:gd name="connsiteX131" fmla="*/ 3444 w 10000"/>
                    <a:gd name="connsiteY131" fmla="*/ 6893 h 10000"/>
                    <a:gd name="connsiteX132" fmla="*/ 3278 w 10000"/>
                    <a:gd name="connsiteY132" fmla="*/ 7032 h 10000"/>
                    <a:gd name="connsiteX133" fmla="*/ 3000 w 10000"/>
                    <a:gd name="connsiteY133" fmla="*/ 7188 h 10000"/>
                    <a:gd name="connsiteX134" fmla="*/ 2667 w 10000"/>
                    <a:gd name="connsiteY134" fmla="*/ 7303 h 10000"/>
                    <a:gd name="connsiteX135" fmla="*/ 2667 w 10000"/>
                    <a:gd name="connsiteY135" fmla="*/ 7303 h 10000"/>
                    <a:gd name="connsiteX136" fmla="*/ 2333 w 10000"/>
                    <a:gd name="connsiteY136" fmla="*/ 7395 h 10000"/>
                    <a:gd name="connsiteX137" fmla="*/ 1833 w 10000"/>
                    <a:gd name="connsiteY137" fmla="*/ 7486 h 10000"/>
                    <a:gd name="connsiteX138" fmla="*/ 1389 w 10000"/>
                    <a:gd name="connsiteY138" fmla="*/ 7530 h 10000"/>
                    <a:gd name="connsiteX139" fmla="*/ 889 w 10000"/>
                    <a:gd name="connsiteY139" fmla="*/ 7552 h 10000"/>
                    <a:gd name="connsiteX140" fmla="*/ 889 w 10000"/>
                    <a:gd name="connsiteY140" fmla="*/ 7552 h 10000"/>
                    <a:gd name="connsiteX141" fmla="*/ 500 w 10000"/>
                    <a:gd name="connsiteY141" fmla="*/ 7579 h 10000"/>
                    <a:gd name="connsiteX142" fmla="*/ 222 w 10000"/>
                    <a:gd name="connsiteY142" fmla="*/ 7597 h 10000"/>
                    <a:gd name="connsiteX143" fmla="*/ 0 w 10000"/>
                    <a:gd name="connsiteY143" fmla="*/ 7619 h 10000"/>
                    <a:gd name="connsiteX144" fmla="*/ 0 w 10000"/>
                    <a:gd name="connsiteY144" fmla="*/ 7619 h 10000"/>
                    <a:gd name="connsiteX145" fmla="*/ 278 w 10000"/>
                    <a:gd name="connsiteY145" fmla="*/ 7984 h 10000"/>
                    <a:gd name="connsiteX146" fmla="*/ 500 w 10000"/>
                    <a:gd name="connsiteY146" fmla="*/ 8252 h 10000"/>
                    <a:gd name="connsiteX147" fmla="*/ 722 w 10000"/>
                    <a:gd name="connsiteY147" fmla="*/ 8480 h 10000"/>
                    <a:gd name="connsiteX148" fmla="*/ 722 w 10000"/>
                    <a:gd name="connsiteY148" fmla="*/ 8480 h 10000"/>
                    <a:gd name="connsiteX149" fmla="*/ 889 w 10000"/>
                    <a:gd name="connsiteY149" fmla="*/ 8617 h 10000"/>
                    <a:gd name="connsiteX150" fmla="*/ 944 w 10000"/>
                    <a:gd name="connsiteY150" fmla="*/ 8733 h 10000"/>
                    <a:gd name="connsiteX151" fmla="*/ 1111 w 10000"/>
                    <a:gd name="connsiteY151" fmla="*/ 8847 h 10000"/>
                    <a:gd name="connsiteX152" fmla="*/ 1333 w 10000"/>
                    <a:gd name="connsiteY152" fmla="*/ 9022 h 10000"/>
                    <a:gd name="connsiteX153" fmla="*/ 1333 w 10000"/>
                    <a:gd name="connsiteY153" fmla="*/ 9022 h 10000"/>
                    <a:gd name="connsiteX154" fmla="*/ 1444 w 10000"/>
                    <a:gd name="connsiteY154" fmla="*/ 9115 h 10000"/>
                    <a:gd name="connsiteX155" fmla="*/ 1500 w 10000"/>
                    <a:gd name="connsiteY155" fmla="*/ 9183 h 10000"/>
                    <a:gd name="connsiteX156" fmla="*/ 1500 w 10000"/>
                    <a:gd name="connsiteY156" fmla="*/ 9248 h 10000"/>
                    <a:gd name="connsiteX157" fmla="*/ 1556 w 10000"/>
                    <a:gd name="connsiteY157" fmla="*/ 9276 h 10000"/>
                    <a:gd name="connsiteX158" fmla="*/ 1722 w 10000"/>
                    <a:gd name="connsiteY158" fmla="*/ 9296 h 10000"/>
                    <a:gd name="connsiteX159" fmla="*/ 1944 w 10000"/>
                    <a:gd name="connsiteY159" fmla="*/ 9319 h 10000"/>
                    <a:gd name="connsiteX160" fmla="*/ 2944 w 10000"/>
                    <a:gd name="connsiteY160" fmla="*/ 9342 h 10000"/>
                    <a:gd name="connsiteX161" fmla="*/ 2944 w 10000"/>
                    <a:gd name="connsiteY161" fmla="*/ 9342 h 10000"/>
                    <a:gd name="connsiteX162" fmla="*/ 4167 w 10000"/>
                    <a:gd name="connsiteY162" fmla="*/ 9389 h 10000"/>
                    <a:gd name="connsiteX163" fmla="*/ 4889 w 10000"/>
                    <a:gd name="connsiteY163" fmla="*/ 9454 h 10000"/>
                    <a:gd name="connsiteX164" fmla="*/ 5278 w 10000"/>
                    <a:gd name="connsiteY164" fmla="*/ 9526 h 10000"/>
                    <a:gd name="connsiteX165" fmla="*/ 5444 w 10000"/>
                    <a:gd name="connsiteY165" fmla="*/ 9544 h 10000"/>
                    <a:gd name="connsiteX166" fmla="*/ 5444 w 10000"/>
                    <a:gd name="connsiteY166" fmla="*/ 9544 h 10000"/>
                    <a:gd name="connsiteX167" fmla="*/ 5722 w 10000"/>
                    <a:gd name="connsiteY167" fmla="*/ 9594 h 10000"/>
                    <a:gd name="connsiteX168" fmla="*/ 5833 w 10000"/>
                    <a:gd name="connsiteY168" fmla="*/ 9618 h 10000"/>
                    <a:gd name="connsiteX169" fmla="*/ 5833 w 10000"/>
                    <a:gd name="connsiteY169" fmla="*/ 9618 h 10000"/>
                    <a:gd name="connsiteX170" fmla="*/ 5833 w 10000"/>
                    <a:gd name="connsiteY170" fmla="*/ 9594 h 10000"/>
                    <a:gd name="connsiteX171" fmla="*/ 5889 w 10000"/>
                    <a:gd name="connsiteY171" fmla="*/ 9569 h 10000"/>
                    <a:gd name="connsiteX172" fmla="*/ 6000 w 10000"/>
                    <a:gd name="connsiteY172" fmla="*/ 9544 h 10000"/>
                    <a:gd name="connsiteX173" fmla="*/ 6167 w 10000"/>
                    <a:gd name="connsiteY173" fmla="*/ 9526 h 10000"/>
                    <a:gd name="connsiteX174" fmla="*/ 6444 w 10000"/>
                    <a:gd name="connsiteY174" fmla="*/ 9526 h 10000"/>
                    <a:gd name="connsiteX175" fmla="*/ 6833 w 10000"/>
                    <a:gd name="connsiteY175" fmla="*/ 9544 h 10000"/>
                    <a:gd name="connsiteX176" fmla="*/ 7278 w 10000"/>
                    <a:gd name="connsiteY176" fmla="*/ 9618 h 10000"/>
                    <a:gd name="connsiteX177" fmla="*/ 7278 w 10000"/>
                    <a:gd name="connsiteY177" fmla="*/ 9618 h 10000"/>
                    <a:gd name="connsiteX178" fmla="*/ 8722 w 10000"/>
                    <a:gd name="connsiteY178" fmla="*/ 9815 h 10000"/>
                    <a:gd name="connsiteX179" fmla="*/ 10000 w 10000"/>
                    <a:gd name="connsiteY179" fmla="*/ 10000 h 10000"/>
                    <a:gd name="connsiteX0" fmla="*/ 10000 w 10000"/>
                    <a:gd name="connsiteY0" fmla="*/ 8231 h 9776"/>
                    <a:gd name="connsiteX1" fmla="*/ 10000 w 10000"/>
                    <a:gd name="connsiteY1" fmla="*/ 8231 h 9776"/>
                    <a:gd name="connsiteX2" fmla="*/ 9222 w 10000"/>
                    <a:gd name="connsiteY2" fmla="*/ 8256 h 9776"/>
                    <a:gd name="connsiteX3" fmla="*/ 8944 w 10000"/>
                    <a:gd name="connsiteY3" fmla="*/ 8256 h 9776"/>
                    <a:gd name="connsiteX4" fmla="*/ 8833 w 10000"/>
                    <a:gd name="connsiteY4" fmla="*/ 8231 h 9776"/>
                    <a:gd name="connsiteX5" fmla="*/ 8778 w 10000"/>
                    <a:gd name="connsiteY5" fmla="*/ 8212 h 9776"/>
                    <a:gd name="connsiteX6" fmla="*/ 8778 w 10000"/>
                    <a:gd name="connsiteY6" fmla="*/ 8212 h 9776"/>
                    <a:gd name="connsiteX7" fmla="*/ 8444 w 10000"/>
                    <a:gd name="connsiteY7" fmla="*/ 7938 h 9776"/>
                    <a:gd name="connsiteX8" fmla="*/ 8167 w 10000"/>
                    <a:gd name="connsiteY8" fmla="*/ 7688 h 9776"/>
                    <a:gd name="connsiteX9" fmla="*/ 8167 w 10000"/>
                    <a:gd name="connsiteY9" fmla="*/ 7688 h 9776"/>
                    <a:gd name="connsiteX10" fmla="*/ 8056 w 10000"/>
                    <a:gd name="connsiteY10" fmla="*/ 7647 h 9776"/>
                    <a:gd name="connsiteX11" fmla="*/ 7889 w 10000"/>
                    <a:gd name="connsiteY11" fmla="*/ 7602 h 9776"/>
                    <a:gd name="connsiteX12" fmla="*/ 7444 w 10000"/>
                    <a:gd name="connsiteY12" fmla="*/ 7575 h 9776"/>
                    <a:gd name="connsiteX13" fmla="*/ 6889 w 10000"/>
                    <a:gd name="connsiteY13" fmla="*/ 7555 h 9776"/>
                    <a:gd name="connsiteX14" fmla="*/ 6389 w 10000"/>
                    <a:gd name="connsiteY14" fmla="*/ 7555 h 9776"/>
                    <a:gd name="connsiteX15" fmla="*/ 6389 w 10000"/>
                    <a:gd name="connsiteY15" fmla="*/ 7555 h 9776"/>
                    <a:gd name="connsiteX16" fmla="*/ 6167 w 10000"/>
                    <a:gd name="connsiteY16" fmla="*/ 7529 h 9776"/>
                    <a:gd name="connsiteX17" fmla="*/ 6056 w 10000"/>
                    <a:gd name="connsiteY17" fmla="*/ 7488 h 9776"/>
                    <a:gd name="connsiteX18" fmla="*/ 6000 w 10000"/>
                    <a:gd name="connsiteY18" fmla="*/ 7440 h 9776"/>
                    <a:gd name="connsiteX19" fmla="*/ 6000 w 10000"/>
                    <a:gd name="connsiteY19" fmla="*/ 7355 h 9776"/>
                    <a:gd name="connsiteX20" fmla="*/ 6056 w 10000"/>
                    <a:gd name="connsiteY20" fmla="*/ 7171 h 9776"/>
                    <a:gd name="connsiteX21" fmla="*/ 6111 w 10000"/>
                    <a:gd name="connsiteY21" fmla="*/ 7079 h 9776"/>
                    <a:gd name="connsiteX22" fmla="*/ 6056 w 10000"/>
                    <a:gd name="connsiteY22" fmla="*/ 6964 h 9776"/>
                    <a:gd name="connsiteX23" fmla="*/ 6056 w 10000"/>
                    <a:gd name="connsiteY23" fmla="*/ 6964 h 9776"/>
                    <a:gd name="connsiteX24" fmla="*/ 6000 w 10000"/>
                    <a:gd name="connsiteY24" fmla="*/ 6896 h 9776"/>
                    <a:gd name="connsiteX25" fmla="*/ 5944 w 10000"/>
                    <a:gd name="connsiteY25" fmla="*/ 6850 h 9776"/>
                    <a:gd name="connsiteX26" fmla="*/ 5833 w 10000"/>
                    <a:gd name="connsiteY26" fmla="*/ 6850 h 9776"/>
                    <a:gd name="connsiteX27" fmla="*/ 5667 w 10000"/>
                    <a:gd name="connsiteY27" fmla="*/ 6871 h 9776"/>
                    <a:gd name="connsiteX28" fmla="*/ 5333 w 10000"/>
                    <a:gd name="connsiteY28" fmla="*/ 6942 h 9776"/>
                    <a:gd name="connsiteX29" fmla="*/ 4889 w 10000"/>
                    <a:gd name="connsiteY29" fmla="*/ 7055 h 9776"/>
                    <a:gd name="connsiteX30" fmla="*/ 4889 w 10000"/>
                    <a:gd name="connsiteY30" fmla="*/ 7055 h 9776"/>
                    <a:gd name="connsiteX31" fmla="*/ 4611 w 10000"/>
                    <a:gd name="connsiteY31" fmla="*/ 7079 h 9776"/>
                    <a:gd name="connsiteX32" fmla="*/ 4500 w 10000"/>
                    <a:gd name="connsiteY32" fmla="*/ 7079 h 9776"/>
                    <a:gd name="connsiteX33" fmla="*/ 4444 w 10000"/>
                    <a:gd name="connsiteY33" fmla="*/ 7055 h 9776"/>
                    <a:gd name="connsiteX34" fmla="*/ 4389 w 10000"/>
                    <a:gd name="connsiteY34" fmla="*/ 6964 h 9776"/>
                    <a:gd name="connsiteX35" fmla="*/ 4222 w 10000"/>
                    <a:gd name="connsiteY35" fmla="*/ 6850 h 9776"/>
                    <a:gd name="connsiteX36" fmla="*/ 4222 w 10000"/>
                    <a:gd name="connsiteY36" fmla="*/ 6850 h 9776"/>
                    <a:gd name="connsiteX37" fmla="*/ 4111 w 10000"/>
                    <a:gd name="connsiteY37" fmla="*/ 6782 h 9776"/>
                    <a:gd name="connsiteX38" fmla="*/ 4111 w 10000"/>
                    <a:gd name="connsiteY38" fmla="*/ 6715 h 9776"/>
                    <a:gd name="connsiteX39" fmla="*/ 4111 w 10000"/>
                    <a:gd name="connsiteY39" fmla="*/ 6669 h 9776"/>
                    <a:gd name="connsiteX40" fmla="*/ 4167 w 10000"/>
                    <a:gd name="connsiteY40" fmla="*/ 6624 h 9776"/>
                    <a:gd name="connsiteX41" fmla="*/ 4278 w 10000"/>
                    <a:gd name="connsiteY41" fmla="*/ 6533 h 9776"/>
                    <a:gd name="connsiteX42" fmla="*/ 4389 w 10000"/>
                    <a:gd name="connsiteY42" fmla="*/ 6510 h 9776"/>
                    <a:gd name="connsiteX43" fmla="*/ 4389 w 10000"/>
                    <a:gd name="connsiteY43" fmla="*/ 6510 h 9776"/>
                    <a:gd name="connsiteX44" fmla="*/ 4389 w 10000"/>
                    <a:gd name="connsiteY44" fmla="*/ 6486 h 9776"/>
                    <a:gd name="connsiteX45" fmla="*/ 4444 w 10000"/>
                    <a:gd name="connsiteY45" fmla="*/ 6469 h 9776"/>
                    <a:gd name="connsiteX46" fmla="*/ 4667 w 10000"/>
                    <a:gd name="connsiteY46" fmla="*/ 6443 h 9776"/>
                    <a:gd name="connsiteX47" fmla="*/ 5333 w 10000"/>
                    <a:gd name="connsiteY47" fmla="*/ 6400 h 9776"/>
                    <a:gd name="connsiteX48" fmla="*/ 6500 w 10000"/>
                    <a:gd name="connsiteY48" fmla="*/ 6328 h 9776"/>
                    <a:gd name="connsiteX49" fmla="*/ 6500 w 10000"/>
                    <a:gd name="connsiteY49" fmla="*/ 6328 h 9776"/>
                    <a:gd name="connsiteX50" fmla="*/ 7167 w 10000"/>
                    <a:gd name="connsiteY50" fmla="*/ 6263 h 9776"/>
                    <a:gd name="connsiteX51" fmla="*/ 8389 w 10000"/>
                    <a:gd name="connsiteY51" fmla="*/ 6128 h 9776"/>
                    <a:gd name="connsiteX52" fmla="*/ 8389 w 10000"/>
                    <a:gd name="connsiteY52" fmla="*/ 6128 h 9776"/>
                    <a:gd name="connsiteX53" fmla="*/ 8667 w 10000"/>
                    <a:gd name="connsiteY53" fmla="*/ 6079 h 9776"/>
                    <a:gd name="connsiteX54" fmla="*/ 8778 w 10000"/>
                    <a:gd name="connsiteY54" fmla="*/ 6009 h 9776"/>
                    <a:gd name="connsiteX55" fmla="*/ 8889 w 10000"/>
                    <a:gd name="connsiteY55" fmla="*/ 5966 h 9776"/>
                    <a:gd name="connsiteX56" fmla="*/ 8833 w 10000"/>
                    <a:gd name="connsiteY56" fmla="*/ 5921 h 9776"/>
                    <a:gd name="connsiteX57" fmla="*/ 8833 w 10000"/>
                    <a:gd name="connsiteY57" fmla="*/ 5879 h 9776"/>
                    <a:gd name="connsiteX58" fmla="*/ 8722 w 10000"/>
                    <a:gd name="connsiteY58" fmla="*/ 5829 h 9776"/>
                    <a:gd name="connsiteX59" fmla="*/ 8556 w 10000"/>
                    <a:gd name="connsiteY59" fmla="*/ 5762 h 9776"/>
                    <a:gd name="connsiteX60" fmla="*/ 8556 w 10000"/>
                    <a:gd name="connsiteY60" fmla="*/ 5762 h 9776"/>
                    <a:gd name="connsiteX61" fmla="*/ 6556 w 10000"/>
                    <a:gd name="connsiteY61" fmla="*/ 5358 h 9776"/>
                    <a:gd name="connsiteX62" fmla="*/ 6556 w 10000"/>
                    <a:gd name="connsiteY62" fmla="*/ 5358 h 9776"/>
                    <a:gd name="connsiteX63" fmla="*/ 6333 w 10000"/>
                    <a:gd name="connsiteY63" fmla="*/ 5288 h 9776"/>
                    <a:gd name="connsiteX64" fmla="*/ 6167 w 10000"/>
                    <a:gd name="connsiteY64" fmla="*/ 5219 h 9776"/>
                    <a:gd name="connsiteX65" fmla="*/ 6056 w 10000"/>
                    <a:gd name="connsiteY65" fmla="*/ 5149 h 9776"/>
                    <a:gd name="connsiteX66" fmla="*/ 6056 w 10000"/>
                    <a:gd name="connsiteY66" fmla="*/ 5149 h 9776"/>
                    <a:gd name="connsiteX67" fmla="*/ 8056 w 10000"/>
                    <a:gd name="connsiteY67" fmla="*/ 5127 h 9776"/>
                    <a:gd name="connsiteX68" fmla="*/ 10000 w 10000"/>
                    <a:gd name="connsiteY68" fmla="*/ 5358 h 9776"/>
                    <a:gd name="connsiteX69" fmla="*/ 10000 w 10000"/>
                    <a:gd name="connsiteY69" fmla="*/ 3292 h 9776"/>
                    <a:gd name="connsiteX70" fmla="*/ 2889 w 10000"/>
                    <a:gd name="connsiteY70" fmla="*/ 889 h 9776"/>
                    <a:gd name="connsiteX71" fmla="*/ 2000 w 10000"/>
                    <a:gd name="connsiteY71" fmla="*/ 843 h 9776"/>
                    <a:gd name="connsiteX72" fmla="*/ 1414 w 10000"/>
                    <a:gd name="connsiteY72" fmla="*/ 566 h 9776"/>
                    <a:gd name="connsiteX73" fmla="*/ 1444 w 10000"/>
                    <a:gd name="connsiteY73" fmla="*/ 457 h 9776"/>
                    <a:gd name="connsiteX74" fmla="*/ 1444 w 10000"/>
                    <a:gd name="connsiteY74" fmla="*/ 299 h 9776"/>
                    <a:gd name="connsiteX75" fmla="*/ 1675 w 10000"/>
                    <a:gd name="connsiteY75" fmla="*/ 105 h 9776"/>
                    <a:gd name="connsiteX76" fmla="*/ 2111 w 10000"/>
                    <a:gd name="connsiteY76" fmla="*/ 0 h 9776"/>
                    <a:gd name="connsiteX77" fmla="*/ 10000 w 10000"/>
                    <a:gd name="connsiteY77" fmla="*/ 8256 h 9776"/>
                    <a:gd name="connsiteX78" fmla="*/ 10000 w 10000"/>
                    <a:gd name="connsiteY78" fmla="*/ 8256 h 9776"/>
                    <a:gd name="connsiteX79" fmla="*/ 9722 w 10000"/>
                    <a:gd name="connsiteY79" fmla="*/ 8231 h 9776"/>
                    <a:gd name="connsiteX80" fmla="*/ 9389 w 10000"/>
                    <a:gd name="connsiteY80" fmla="*/ 8256 h 9776"/>
                    <a:gd name="connsiteX81" fmla="*/ 9389 w 10000"/>
                    <a:gd name="connsiteY81" fmla="*/ 8256 h 9776"/>
                    <a:gd name="connsiteX82" fmla="*/ 9278 w 10000"/>
                    <a:gd name="connsiteY82" fmla="*/ 8284 h 9776"/>
                    <a:gd name="connsiteX83" fmla="*/ 9056 w 10000"/>
                    <a:gd name="connsiteY83" fmla="*/ 8256 h 9776"/>
                    <a:gd name="connsiteX84" fmla="*/ 8889 w 10000"/>
                    <a:gd name="connsiteY84" fmla="*/ 8231 h 9776"/>
                    <a:gd name="connsiteX85" fmla="*/ 8722 w 10000"/>
                    <a:gd name="connsiteY85" fmla="*/ 8189 h 9776"/>
                    <a:gd name="connsiteX86" fmla="*/ 8611 w 10000"/>
                    <a:gd name="connsiteY86" fmla="*/ 8119 h 9776"/>
                    <a:gd name="connsiteX87" fmla="*/ 8444 w 10000"/>
                    <a:gd name="connsiteY87" fmla="*/ 8005 h 9776"/>
                    <a:gd name="connsiteX88" fmla="*/ 8444 w 10000"/>
                    <a:gd name="connsiteY88" fmla="*/ 8005 h 9776"/>
                    <a:gd name="connsiteX89" fmla="*/ 8222 w 10000"/>
                    <a:gd name="connsiteY89" fmla="*/ 7806 h 9776"/>
                    <a:gd name="connsiteX90" fmla="*/ 8111 w 10000"/>
                    <a:gd name="connsiteY90" fmla="*/ 7715 h 9776"/>
                    <a:gd name="connsiteX91" fmla="*/ 7944 w 10000"/>
                    <a:gd name="connsiteY91" fmla="*/ 7647 h 9776"/>
                    <a:gd name="connsiteX92" fmla="*/ 7778 w 10000"/>
                    <a:gd name="connsiteY92" fmla="*/ 7602 h 9776"/>
                    <a:gd name="connsiteX93" fmla="*/ 7556 w 10000"/>
                    <a:gd name="connsiteY93" fmla="*/ 7575 h 9776"/>
                    <a:gd name="connsiteX94" fmla="*/ 7333 w 10000"/>
                    <a:gd name="connsiteY94" fmla="*/ 7555 h 9776"/>
                    <a:gd name="connsiteX95" fmla="*/ 7000 w 10000"/>
                    <a:gd name="connsiteY95" fmla="*/ 7529 h 9776"/>
                    <a:gd name="connsiteX96" fmla="*/ 7000 w 10000"/>
                    <a:gd name="connsiteY96" fmla="*/ 7529 h 9776"/>
                    <a:gd name="connsiteX97" fmla="*/ 6556 w 10000"/>
                    <a:gd name="connsiteY97" fmla="*/ 7555 h 9776"/>
                    <a:gd name="connsiteX98" fmla="*/ 6222 w 10000"/>
                    <a:gd name="connsiteY98" fmla="*/ 7555 h 9776"/>
                    <a:gd name="connsiteX99" fmla="*/ 6111 w 10000"/>
                    <a:gd name="connsiteY99" fmla="*/ 7529 h 9776"/>
                    <a:gd name="connsiteX100" fmla="*/ 6056 w 10000"/>
                    <a:gd name="connsiteY100" fmla="*/ 7507 h 9776"/>
                    <a:gd name="connsiteX101" fmla="*/ 6056 w 10000"/>
                    <a:gd name="connsiteY101" fmla="*/ 7507 h 9776"/>
                    <a:gd name="connsiteX102" fmla="*/ 6056 w 10000"/>
                    <a:gd name="connsiteY102" fmla="*/ 7102 h 9776"/>
                    <a:gd name="connsiteX103" fmla="*/ 6056 w 10000"/>
                    <a:gd name="connsiteY103" fmla="*/ 7102 h 9776"/>
                    <a:gd name="connsiteX104" fmla="*/ 6056 w 10000"/>
                    <a:gd name="connsiteY104" fmla="*/ 7008 h 9776"/>
                    <a:gd name="connsiteX105" fmla="*/ 5944 w 10000"/>
                    <a:gd name="connsiteY105" fmla="*/ 6896 h 9776"/>
                    <a:gd name="connsiteX106" fmla="*/ 5889 w 10000"/>
                    <a:gd name="connsiteY106" fmla="*/ 6871 h 9776"/>
                    <a:gd name="connsiteX107" fmla="*/ 5778 w 10000"/>
                    <a:gd name="connsiteY107" fmla="*/ 6850 h 9776"/>
                    <a:gd name="connsiteX108" fmla="*/ 5667 w 10000"/>
                    <a:gd name="connsiteY108" fmla="*/ 6850 h 9776"/>
                    <a:gd name="connsiteX109" fmla="*/ 5500 w 10000"/>
                    <a:gd name="connsiteY109" fmla="*/ 6871 h 9776"/>
                    <a:gd name="connsiteX110" fmla="*/ 5500 w 10000"/>
                    <a:gd name="connsiteY110" fmla="*/ 6871 h 9776"/>
                    <a:gd name="connsiteX111" fmla="*/ 4889 w 10000"/>
                    <a:gd name="connsiteY111" fmla="*/ 7032 h 9776"/>
                    <a:gd name="connsiteX112" fmla="*/ 4611 w 10000"/>
                    <a:gd name="connsiteY112" fmla="*/ 7079 h 9776"/>
                    <a:gd name="connsiteX113" fmla="*/ 4556 w 10000"/>
                    <a:gd name="connsiteY113" fmla="*/ 7102 h 9776"/>
                    <a:gd name="connsiteX114" fmla="*/ 4500 w 10000"/>
                    <a:gd name="connsiteY114" fmla="*/ 7079 h 9776"/>
                    <a:gd name="connsiteX115" fmla="*/ 4500 w 10000"/>
                    <a:gd name="connsiteY115" fmla="*/ 7079 h 9776"/>
                    <a:gd name="connsiteX116" fmla="*/ 4222 w 10000"/>
                    <a:gd name="connsiteY116" fmla="*/ 6850 h 9776"/>
                    <a:gd name="connsiteX117" fmla="*/ 4222 w 10000"/>
                    <a:gd name="connsiteY117" fmla="*/ 6850 h 9776"/>
                    <a:gd name="connsiteX118" fmla="*/ 4111 w 10000"/>
                    <a:gd name="connsiteY118" fmla="*/ 6738 h 9776"/>
                    <a:gd name="connsiteX119" fmla="*/ 4111 w 10000"/>
                    <a:gd name="connsiteY119" fmla="*/ 6669 h 9776"/>
                    <a:gd name="connsiteX120" fmla="*/ 4111 w 10000"/>
                    <a:gd name="connsiteY120" fmla="*/ 6601 h 9776"/>
                    <a:gd name="connsiteX121" fmla="*/ 4111 w 10000"/>
                    <a:gd name="connsiteY121" fmla="*/ 6601 h 9776"/>
                    <a:gd name="connsiteX122" fmla="*/ 4278 w 10000"/>
                    <a:gd name="connsiteY122" fmla="*/ 6533 h 9776"/>
                    <a:gd name="connsiteX123" fmla="*/ 4389 w 10000"/>
                    <a:gd name="connsiteY123" fmla="*/ 6510 h 9776"/>
                    <a:gd name="connsiteX124" fmla="*/ 4389 w 10000"/>
                    <a:gd name="connsiteY124" fmla="*/ 6510 h 9776"/>
                    <a:gd name="connsiteX125" fmla="*/ 4000 w 10000"/>
                    <a:gd name="connsiteY125" fmla="*/ 6510 h 9776"/>
                    <a:gd name="connsiteX126" fmla="*/ 3722 w 10000"/>
                    <a:gd name="connsiteY126" fmla="*/ 6533 h 9776"/>
                    <a:gd name="connsiteX127" fmla="*/ 3611 w 10000"/>
                    <a:gd name="connsiteY127" fmla="*/ 6558 h 9776"/>
                    <a:gd name="connsiteX128" fmla="*/ 3556 w 10000"/>
                    <a:gd name="connsiteY128" fmla="*/ 6580 h 9776"/>
                    <a:gd name="connsiteX129" fmla="*/ 3556 w 10000"/>
                    <a:gd name="connsiteY129" fmla="*/ 6580 h 9776"/>
                    <a:gd name="connsiteX130" fmla="*/ 3444 w 10000"/>
                    <a:gd name="connsiteY130" fmla="*/ 6669 h 9776"/>
                    <a:gd name="connsiteX131" fmla="*/ 3278 w 10000"/>
                    <a:gd name="connsiteY131" fmla="*/ 6808 h 9776"/>
                    <a:gd name="connsiteX132" fmla="*/ 3000 w 10000"/>
                    <a:gd name="connsiteY132" fmla="*/ 6964 h 9776"/>
                    <a:gd name="connsiteX133" fmla="*/ 2667 w 10000"/>
                    <a:gd name="connsiteY133" fmla="*/ 7079 h 9776"/>
                    <a:gd name="connsiteX134" fmla="*/ 2667 w 10000"/>
                    <a:gd name="connsiteY134" fmla="*/ 7079 h 9776"/>
                    <a:gd name="connsiteX135" fmla="*/ 2333 w 10000"/>
                    <a:gd name="connsiteY135" fmla="*/ 7171 h 9776"/>
                    <a:gd name="connsiteX136" fmla="*/ 1833 w 10000"/>
                    <a:gd name="connsiteY136" fmla="*/ 7262 h 9776"/>
                    <a:gd name="connsiteX137" fmla="*/ 1389 w 10000"/>
                    <a:gd name="connsiteY137" fmla="*/ 7306 h 9776"/>
                    <a:gd name="connsiteX138" fmla="*/ 889 w 10000"/>
                    <a:gd name="connsiteY138" fmla="*/ 7328 h 9776"/>
                    <a:gd name="connsiteX139" fmla="*/ 889 w 10000"/>
                    <a:gd name="connsiteY139" fmla="*/ 7328 h 9776"/>
                    <a:gd name="connsiteX140" fmla="*/ 500 w 10000"/>
                    <a:gd name="connsiteY140" fmla="*/ 7355 h 9776"/>
                    <a:gd name="connsiteX141" fmla="*/ 222 w 10000"/>
                    <a:gd name="connsiteY141" fmla="*/ 7373 h 9776"/>
                    <a:gd name="connsiteX142" fmla="*/ 0 w 10000"/>
                    <a:gd name="connsiteY142" fmla="*/ 7395 h 9776"/>
                    <a:gd name="connsiteX143" fmla="*/ 0 w 10000"/>
                    <a:gd name="connsiteY143" fmla="*/ 7395 h 9776"/>
                    <a:gd name="connsiteX144" fmla="*/ 278 w 10000"/>
                    <a:gd name="connsiteY144" fmla="*/ 7760 h 9776"/>
                    <a:gd name="connsiteX145" fmla="*/ 500 w 10000"/>
                    <a:gd name="connsiteY145" fmla="*/ 8028 h 9776"/>
                    <a:gd name="connsiteX146" fmla="*/ 722 w 10000"/>
                    <a:gd name="connsiteY146" fmla="*/ 8256 h 9776"/>
                    <a:gd name="connsiteX147" fmla="*/ 722 w 10000"/>
                    <a:gd name="connsiteY147" fmla="*/ 8256 h 9776"/>
                    <a:gd name="connsiteX148" fmla="*/ 889 w 10000"/>
                    <a:gd name="connsiteY148" fmla="*/ 8393 h 9776"/>
                    <a:gd name="connsiteX149" fmla="*/ 944 w 10000"/>
                    <a:gd name="connsiteY149" fmla="*/ 8509 h 9776"/>
                    <a:gd name="connsiteX150" fmla="*/ 1111 w 10000"/>
                    <a:gd name="connsiteY150" fmla="*/ 8623 h 9776"/>
                    <a:gd name="connsiteX151" fmla="*/ 1333 w 10000"/>
                    <a:gd name="connsiteY151" fmla="*/ 8798 h 9776"/>
                    <a:gd name="connsiteX152" fmla="*/ 1333 w 10000"/>
                    <a:gd name="connsiteY152" fmla="*/ 8798 h 9776"/>
                    <a:gd name="connsiteX153" fmla="*/ 1444 w 10000"/>
                    <a:gd name="connsiteY153" fmla="*/ 8891 h 9776"/>
                    <a:gd name="connsiteX154" fmla="*/ 1500 w 10000"/>
                    <a:gd name="connsiteY154" fmla="*/ 8959 h 9776"/>
                    <a:gd name="connsiteX155" fmla="*/ 1500 w 10000"/>
                    <a:gd name="connsiteY155" fmla="*/ 9024 h 9776"/>
                    <a:gd name="connsiteX156" fmla="*/ 1556 w 10000"/>
                    <a:gd name="connsiteY156" fmla="*/ 9052 h 9776"/>
                    <a:gd name="connsiteX157" fmla="*/ 1722 w 10000"/>
                    <a:gd name="connsiteY157" fmla="*/ 9072 h 9776"/>
                    <a:gd name="connsiteX158" fmla="*/ 1944 w 10000"/>
                    <a:gd name="connsiteY158" fmla="*/ 9095 h 9776"/>
                    <a:gd name="connsiteX159" fmla="*/ 2944 w 10000"/>
                    <a:gd name="connsiteY159" fmla="*/ 9118 h 9776"/>
                    <a:gd name="connsiteX160" fmla="*/ 2944 w 10000"/>
                    <a:gd name="connsiteY160" fmla="*/ 9118 h 9776"/>
                    <a:gd name="connsiteX161" fmla="*/ 4167 w 10000"/>
                    <a:gd name="connsiteY161" fmla="*/ 9165 h 9776"/>
                    <a:gd name="connsiteX162" fmla="*/ 4889 w 10000"/>
                    <a:gd name="connsiteY162" fmla="*/ 9230 h 9776"/>
                    <a:gd name="connsiteX163" fmla="*/ 5278 w 10000"/>
                    <a:gd name="connsiteY163" fmla="*/ 9302 h 9776"/>
                    <a:gd name="connsiteX164" fmla="*/ 5444 w 10000"/>
                    <a:gd name="connsiteY164" fmla="*/ 9320 h 9776"/>
                    <a:gd name="connsiteX165" fmla="*/ 5444 w 10000"/>
                    <a:gd name="connsiteY165" fmla="*/ 9320 h 9776"/>
                    <a:gd name="connsiteX166" fmla="*/ 5722 w 10000"/>
                    <a:gd name="connsiteY166" fmla="*/ 9370 h 9776"/>
                    <a:gd name="connsiteX167" fmla="*/ 5833 w 10000"/>
                    <a:gd name="connsiteY167" fmla="*/ 9394 h 9776"/>
                    <a:gd name="connsiteX168" fmla="*/ 5833 w 10000"/>
                    <a:gd name="connsiteY168" fmla="*/ 9394 h 9776"/>
                    <a:gd name="connsiteX169" fmla="*/ 5833 w 10000"/>
                    <a:gd name="connsiteY169" fmla="*/ 9370 h 9776"/>
                    <a:gd name="connsiteX170" fmla="*/ 5889 w 10000"/>
                    <a:gd name="connsiteY170" fmla="*/ 9345 h 9776"/>
                    <a:gd name="connsiteX171" fmla="*/ 6000 w 10000"/>
                    <a:gd name="connsiteY171" fmla="*/ 9320 h 9776"/>
                    <a:gd name="connsiteX172" fmla="*/ 6167 w 10000"/>
                    <a:gd name="connsiteY172" fmla="*/ 9302 h 9776"/>
                    <a:gd name="connsiteX173" fmla="*/ 6444 w 10000"/>
                    <a:gd name="connsiteY173" fmla="*/ 9302 h 9776"/>
                    <a:gd name="connsiteX174" fmla="*/ 6833 w 10000"/>
                    <a:gd name="connsiteY174" fmla="*/ 9320 h 9776"/>
                    <a:gd name="connsiteX175" fmla="*/ 7278 w 10000"/>
                    <a:gd name="connsiteY175" fmla="*/ 9394 h 9776"/>
                    <a:gd name="connsiteX176" fmla="*/ 7278 w 10000"/>
                    <a:gd name="connsiteY176" fmla="*/ 9394 h 9776"/>
                    <a:gd name="connsiteX177" fmla="*/ 8722 w 10000"/>
                    <a:gd name="connsiteY177" fmla="*/ 9591 h 9776"/>
                    <a:gd name="connsiteX178" fmla="*/ 10000 w 10000"/>
                    <a:gd name="connsiteY178" fmla="*/ 9776 h 9776"/>
                    <a:gd name="connsiteX0" fmla="*/ 10000 w 10000"/>
                    <a:gd name="connsiteY0" fmla="*/ 8880 h 10460"/>
                    <a:gd name="connsiteX1" fmla="*/ 10000 w 10000"/>
                    <a:gd name="connsiteY1" fmla="*/ 8880 h 10460"/>
                    <a:gd name="connsiteX2" fmla="*/ 9222 w 10000"/>
                    <a:gd name="connsiteY2" fmla="*/ 8905 h 10460"/>
                    <a:gd name="connsiteX3" fmla="*/ 8944 w 10000"/>
                    <a:gd name="connsiteY3" fmla="*/ 8905 h 10460"/>
                    <a:gd name="connsiteX4" fmla="*/ 8833 w 10000"/>
                    <a:gd name="connsiteY4" fmla="*/ 8880 h 10460"/>
                    <a:gd name="connsiteX5" fmla="*/ 8778 w 10000"/>
                    <a:gd name="connsiteY5" fmla="*/ 8860 h 10460"/>
                    <a:gd name="connsiteX6" fmla="*/ 8778 w 10000"/>
                    <a:gd name="connsiteY6" fmla="*/ 8860 h 10460"/>
                    <a:gd name="connsiteX7" fmla="*/ 8444 w 10000"/>
                    <a:gd name="connsiteY7" fmla="*/ 8580 h 10460"/>
                    <a:gd name="connsiteX8" fmla="*/ 8167 w 10000"/>
                    <a:gd name="connsiteY8" fmla="*/ 8324 h 10460"/>
                    <a:gd name="connsiteX9" fmla="*/ 8167 w 10000"/>
                    <a:gd name="connsiteY9" fmla="*/ 8324 h 10460"/>
                    <a:gd name="connsiteX10" fmla="*/ 8056 w 10000"/>
                    <a:gd name="connsiteY10" fmla="*/ 8282 h 10460"/>
                    <a:gd name="connsiteX11" fmla="*/ 7889 w 10000"/>
                    <a:gd name="connsiteY11" fmla="*/ 8236 h 10460"/>
                    <a:gd name="connsiteX12" fmla="*/ 7444 w 10000"/>
                    <a:gd name="connsiteY12" fmla="*/ 8209 h 10460"/>
                    <a:gd name="connsiteX13" fmla="*/ 6889 w 10000"/>
                    <a:gd name="connsiteY13" fmla="*/ 8188 h 10460"/>
                    <a:gd name="connsiteX14" fmla="*/ 6389 w 10000"/>
                    <a:gd name="connsiteY14" fmla="*/ 8188 h 10460"/>
                    <a:gd name="connsiteX15" fmla="*/ 6389 w 10000"/>
                    <a:gd name="connsiteY15" fmla="*/ 8188 h 10460"/>
                    <a:gd name="connsiteX16" fmla="*/ 6167 w 10000"/>
                    <a:gd name="connsiteY16" fmla="*/ 8162 h 10460"/>
                    <a:gd name="connsiteX17" fmla="*/ 6056 w 10000"/>
                    <a:gd name="connsiteY17" fmla="*/ 8120 h 10460"/>
                    <a:gd name="connsiteX18" fmla="*/ 6000 w 10000"/>
                    <a:gd name="connsiteY18" fmla="*/ 8070 h 10460"/>
                    <a:gd name="connsiteX19" fmla="*/ 6000 w 10000"/>
                    <a:gd name="connsiteY19" fmla="*/ 7984 h 10460"/>
                    <a:gd name="connsiteX20" fmla="*/ 6056 w 10000"/>
                    <a:gd name="connsiteY20" fmla="*/ 7795 h 10460"/>
                    <a:gd name="connsiteX21" fmla="*/ 6111 w 10000"/>
                    <a:gd name="connsiteY21" fmla="*/ 7701 h 10460"/>
                    <a:gd name="connsiteX22" fmla="*/ 6056 w 10000"/>
                    <a:gd name="connsiteY22" fmla="*/ 7584 h 10460"/>
                    <a:gd name="connsiteX23" fmla="*/ 6056 w 10000"/>
                    <a:gd name="connsiteY23" fmla="*/ 7584 h 10460"/>
                    <a:gd name="connsiteX24" fmla="*/ 6000 w 10000"/>
                    <a:gd name="connsiteY24" fmla="*/ 7514 h 10460"/>
                    <a:gd name="connsiteX25" fmla="*/ 5944 w 10000"/>
                    <a:gd name="connsiteY25" fmla="*/ 7467 h 10460"/>
                    <a:gd name="connsiteX26" fmla="*/ 5833 w 10000"/>
                    <a:gd name="connsiteY26" fmla="*/ 7467 h 10460"/>
                    <a:gd name="connsiteX27" fmla="*/ 5667 w 10000"/>
                    <a:gd name="connsiteY27" fmla="*/ 7488 h 10460"/>
                    <a:gd name="connsiteX28" fmla="*/ 5333 w 10000"/>
                    <a:gd name="connsiteY28" fmla="*/ 7561 h 10460"/>
                    <a:gd name="connsiteX29" fmla="*/ 4889 w 10000"/>
                    <a:gd name="connsiteY29" fmla="*/ 7677 h 10460"/>
                    <a:gd name="connsiteX30" fmla="*/ 4889 w 10000"/>
                    <a:gd name="connsiteY30" fmla="*/ 7677 h 10460"/>
                    <a:gd name="connsiteX31" fmla="*/ 4611 w 10000"/>
                    <a:gd name="connsiteY31" fmla="*/ 7701 h 10460"/>
                    <a:gd name="connsiteX32" fmla="*/ 4500 w 10000"/>
                    <a:gd name="connsiteY32" fmla="*/ 7701 h 10460"/>
                    <a:gd name="connsiteX33" fmla="*/ 4444 w 10000"/>
                    <a:gd name="connsiteY33" fmla="*/ 7677 h 10460"/>
                    <a:gd name="connsiteX34" fmla="*/ 4389 w 10000"/>
                    <a:gd name="connsiteY34" fmla="*/ 7584 h 10460"/>
                    <a:gd name="connsiteX35" fmla="*/ 4222 w 10000"/>
                    <a:gd name="connsiteY35" fmla="*/ 7467 h 10460"/>
                    <a:gd name="connsiteX36" fmla="*/ 4222 w 10000"/>
                    <a:gd name="connsiteY36" fmla="*/ 7467 h 10460"/>
                    <a:gd name="connsiteX37" fmla="*/ 4111 w 10000"/>
                    <a:gd name="connsiteY37" fmla="*/ 7397 h 10460"/>
                    <a:gd name="connsiteX38" fmla="*/ 4111 w 10000"/>
                    <a:gd name="connsiteY38" fmla="*/ 7329 h 10460"/>
                    <a:gd name="connsiteX39" fmla="*/ 4111 w 10000"/>
                    <a:gd name="connsiteY39" fmla="*/ 7282 h 10460"/>
                    <a:gd name="connsiteX40" fmla="*/ 4167 w 10000"/>
                    <a:gd name="connsiteY40" fmla="*/ 7236 h 10460"/>
                    <a:gd name="connsiteX41" fmla="*/ 4278 w 10000"/>
                    <a:gd name="connsiteY41" fmla="*/ 7143 h 10460"/>
                    <a:gd name="connsiteX42" fmla="*/ 4389 w 10000"/>
                    <a:gd name="connsiteY42" fmla="*/ 7119 h 10460"/>
                    <a:gd name="connsiteX43" fmla="*/ 4389 w 10000"/>
                    <a:gd name="connsiteY43" fmla="*/ 7119 h 10460"/>
                    <a:gd name="connsiteX44" fmla="*/ 4389 w 10000"/>
                    <a:gd name="connsiteY44" fmla="*/ 7095 h 10460"/>
                    <a:gd name="connsiteX45" fmla="*/ 4444 w 10000"/>
                    <a:gd name="connsiteY45" fmla="*/ 7077 h 10460"/>
                    <a:gd name="connsiteX46" fmla="*/ 4667 w 10000"/>
                    <a:gd name="connsiteY46" fmla="*/ 7051 h 10460"/>
                    <a:gd name="connsiteX47" fmla="*/ 5333 w 10000"/>
                    <a:gd name="connsiteY47" fmla="*/ 7007 h 10460"/>
                    <a:gd name="connsiteX48" fmla="*/ 6500 w 10000"/>
                    <a:gd name="connsiteY48" fmla="*/ 6933 h 10460"/>
                    <a:gd name="connsiteX49" fmla="*/ 6500 w 10000"/>
                    <a:gd name="connsiteY49" fmla="*/ 6933 h 10460"/>
                    <a:gd name="connsiteX50" fmla="*/ 7167 w 10000"/>
                    <a:gd name="connsiteY50" fmla="*/ 6867 h 10460"/>
                    <a:gd name="connsiteX51" fmla="*/ 8389 w 10000"/>
                    <a:gd name="connsiteY51" fmla="*/ 6728 h 10460"/>
                    <a:gd name="connsiteX52" fmla="*/ 8389 w 10000"/>
                    <a:gd name="connsiteY52" fmla="*/ 6728 h 10460"/>
                    <a:gd name="connsiteX53" fmla="*/ 8667 w 10000"/>
                    <a:gd name="connsiteY53" fmla="*/ 6678 h 10460"/>
                    <a:gd name="connsiteX54" fmla="*/ 8778 w 10000"/>
                    <a:gd name="connsiteY54" fmla="*/ 6607 h 10460"/>
                    <a:gd name="connsiteX55" fmla="*/ 8889 w 10000"/>
                    <a:gd name="connsiteY55" fmla="*/ 6563 h 10460"/>
                    <a:gd name="connsiteX56" fmla="*/ 8833 w 10000"/>
                    <a:gd name="connsiteY56" fmla="*/ 6517 h 10460"/>
                    <a:gd name="connsiteX57" fmla="*/ 8833 w 10000"/>
                    <a:gd name="connsiteY57" fmla="*/ 6474 h 10460"/>
                    <a:gd name="connsiteX58" fmla="*/ 8722 w 10000"/>
                    <a:gd name="connsiteY58" fmla="*/ 6423 h 10460"/>
                    <a:gd name="connsiteX59" fmla="*/ 8556 w 10000"/>
                    <a:gd name="connsiteY59" fmla="*/ 6354 h 10460"/>
                    <a:gd name="connsiteX60" fmla="*/ 8556 w 10000"/>
                    <a:gd name="connsiteY60" fmla="*/ 6354 h 10460"/>
                    <a:gd name="connsiteX61" fmla="*/ 6556 w 10000"/>
                    <a:gd name="connsiteY61" fmla="*/ 5941 h 10460"/>
                    <a:gd name="connsiteX62" fmla="*/ 6556 w 10000"/>
                    <a:gd name="connsiteY62" fmla="*/ 5941 h 10460"/>
                    <a:gd name="connsiteX63" fmla="*/ 6333 w 10000"/>
                    <a:gd name="connsiteY63" fmla="*/ 5869 h 10460"/>
                    <a:gd name="connsiteX64" fmla="*/ 6167 w 10000"/>
                    <a:gd name="connsiteY64" fmla="*/ 5799 h 10460"/>
                    <a:gd name="connsiteX65" fmla="*/ 6056 w 10000"/>
                    <a:gd name="connsiteY65" fmla="*/ 5727 h 10460"/>
                    <a:gd name="connsiteX66" fmla="*/ 6056 w 10000"/>
                    <a:gd name="connsiteY66" fmla="*/ 5727 h 10460"/>
                    <a:gd name="connsiteX67" fmla="*/ 8056 w 10000"/>
                    <a:gd name="connsiteY67" fmla="*/ 5704 h 10460"/>
                    <a:gd name="connsiteX68" fmla="*/ 10000 w 10000"/>
                    <a:gd name="connsiteY68" fmla="*/ 5941 h 10460"/>
                    <a:gd name="connsiteX69" fmla="*/ 10000 w 10000"/>
                    <a:gd name="connsiteY69" fmla="*/ 3827 h 10460"/>
                    <a:gd name="connsiteX70" fmla="*/ 2889 w 10000"/>
                    <a:gd name="connsiteY70" fmla="*/ 1369 h 10460"/>
                    <a:gd name="connsiteX71" fmla="*/ 2000 w 10000"/>
                    <a:gd name="connsiteY71" fmla="*/ 1322 h 10460"/>
                    <a:gd name="connsiteX72" fmla="*/ 1414 w 10000"/>
                    <a:gd name="connsiteY72" fmla="*/ 1039 h 10460"/>
                    <a:gd name="connsiteX73" fmla="*/ 1444 w 10000"/>
                    <a:gd name="connsiteY73" fmla="*/ 927 h 10460"/>
                    <a:gd name="connsiteX74" fmla="*/ 1444 w 10000"/>
                    <a:gd name="connsiteY74" fmla="*/ 766 h 10460"/>
                    <a:gd name="connsiteX75" fmla="*/ 1675 w 10000"/>
                    <a:gd name="connsiteY75" fmla="*/ 567 h 10460"/>
                    <a:gd name="connsiteX76" fmla="*/ 10000 w 10000"/>
                    <a:gd name="connsiteY76" fmla="*/ 8905 h 10460"/>
                    <a:gd name="connsiteX77" fmla="*/ 10000 w 10000"/>
                    <a:gd name="connsiteY77" fmla="*/ 8905 h 10460"/>
                    <a:gd name="connsiteX78" fmla="*/ 9722 w 10000"/>
                    <a:gd name="connsiteY78" fmla="*/ 8880 h 10460"/>
                    <a:gd name="connsiteX79" fmla="*/ 9389 w 10000"/>
                    <a:gd name="connsiteY79" fmla="*/ 8905 h 10460"/>
                    <a:gd name="connsiteX80" fmla="*/ 9389 w 10000"/>
                    <a:gd name="connsiteY80" fmla="*/ 8905 h 10460"/>
                    <a:gd name="connsiteX81" fmla="*/ 9278 w 10000"/>
                    <a:gd name="connsiteY81" fmla="*/ 8934 h 10460"/>
                    <a:gd name="connsiteX82" fmla="*/ 9056 w 10000"/>
                    <a:gd name="connsiteY82" fmla="*/ 8905 h 10460"/>
                    <a:gd name="connsiteX83" fmla="*/ 8889 w 10000"/>
                    <a:gd name="connsiteY83" fmla="*/ 8880 h 10460"/>
                    <a:gd name="connsiteX84" fmla="*/ 8722 w 10000"/>
                    <a:gd name="connsiteY84" fmla="*/ 8837 h 10460"/>
                    <a:gd name="connsiteX85" fmla="*/ 8611 w 10000"/>
                    <a:gd name="connsiteY85" fmla="*/ 8765 h 10460"/>
                    <a:gd name="connsiteX86" fmla="*/ 8444 w 10000"/>
                    <a:gd name="connsiteY86" fmla="*/ 8648 h 10460"/>
                    <a:gd name="connsiteX87" fmla="*/ 8444 w 10000"/>
                    <a:gd name="connsiteY87" fmla="*/ 8648 h 10460"/>
                    <a:gd name="connsiteX88" fmla="*/ 8222 w 10000"/>
                    <a:gd name="connsiteY88" fmla="*/ 8445 h 10460"/>
                    <a:gd name="connsiteX89" fmla="*/ 8111 w 10000"/>
                    <a:gd name="connsiteY89" fmla="*/ 8352 h 10460"/>
                    <a:gd name="connsiteX90" fmla="*/ 7944 w 10000"/>
                    <a:gd name="connsiteY90" fmla="*/ 8282 h 10460"/>
                    <a:gd name="connsiteX91" fmla="*/ 7778 w 10000"/>
                    <a:gd name="connsiteY91" fmla="*/ 8236 h 10460"/>
                    <a:gd name="connsiteX92" fmla="*/ 7556 w 10000"/>
                    <a:gd name="connsiteY92" fmla="*/ 8209 h 10460"/>
                    <a:gd name="connsiteX93" fmla="*/ 7333 w 10000"/>
                    <a:gd name="connsiteY93" fmla="*/ 8188 h 10460"/>
                    <a:gd name="connsiteX94" fmla="*/ 7000 w 10000"/>
                    <a:gd name="connsiteY94" fmla="*/ 8162 h 10460"/>
                    <a:gd name="connsiteX95" fmla="*/ 7000 w 10000"/>
                    <a:gd name="connsiteY95" fmla="*/ 8162 h 10460"/>
                    <a:gd name="connsiteX96" fmla="*/ 6556 w 10000"/>
                    <a:gd name="connsiteY96" fmla="*/ 8188 h 10460"/>
                    <a:gd name="connsiteX97" fmla="*/ 6222 w 10000"/>
                    <a:gd name="connsiteY97" fmla="*/ 8188 h 10460"/>
                    <a:gd name="connsiteX98" fmla="*/ 6111 w 10000"/>
                    <a:gd name="connsiteY98" fmla="*/ 8162 h 10460"/>
                    <a:gd name="connsiteX99" fmla="*/ 6056 w 10000"/>
                    <a:gd name="connsiteY99" fmla="*/ 8139 h 10460"/>
                    <a:gd name="connsiteX100" fmla="*/ 6056 w 10000"/>
                    <a:gd name="connsiteY100" fmla="*/ 8139 h 10460"/>
                    <a:gd name="connsiteX101" fmla="*/ 6056 w 10000"/>
                    <a:gd name="connsiteY101" fmla="*/ 7725 h 10460"/>
                    <a:gd name="connsiteX102" fmla="*/ 6056 w 10000"/>
                    <a:gd name="connsiteY102" fmla="*/ 7725 h 10460"/>
                    <a:gd name="connsiteX103" fmla="*/ 6056 w 10000"/>
                    <a:gd name="connsiteY103" fmla="*/ 7629 h 10460"/>
                    <a:gd name="connsiteX104" fmla="*/ 5944 w 10000"/>
                    <a:gd name="connsiteY104" fmla="*/ 7514 h 10460"/>
                    <a:gd name="connsiteX105" fmla="*/ 5889 w 10000"/>
                    <a:gd name="connsiteY105" fmla="*/ 7488 h 10460"/>
                    <a:gd name="connsiteX106" fmla="*/ 5778 w 10000"/>
                    <a:gd name="connsiteY106" fmla="*/ 7467 h 10460"/>
                    <a:gd name="connsiteX107" fmla="*/ 5667 w 10000"/>
                    <a:gd name="connsiteY107" fmla="*/ 7467 h 10460"/>
                    <a:gd name="connsiteX108" fmla="*/ 5500 w 10000"/>
                    <a:gd name="connsiteY108" fmla="*/ 7488 h 10460"/>
                    <a:gd name="connsiteX109" fmla="*/ 5500 w 10000"/>
                    <a:gd name="connsiteY109" fmla="*/ 7488 h 10460"/>
                    <a:gd name="connsiteX110" fmla="*/ 4889 w 10000"/>
                    <a:gd name="connsiteY110" fmla="*/ 7653 h 10460"/>
                    <a:gd name="connsiteX111" fmla="*/ 4611 w 10000"/>
                    <a:gd name="connsiteY111" fmla="*/ 7701 h 10460"/>
                    <a:gd name="connsiteX112" fmla="*/ 4556 w 10000"/>
                    <a:gd name="connsiteY112" fmla="*/ 7725 h 10460"/>
                    <a:gd name="connsiteX113" fmla="*/ 4500 w 10000"/>
                    <a:gd name="connsiteY113" fmla="*/ 7701 h 10460"/>
                    <a:gd name="connsiteX114" fmla="*/ 4500 w 10000"/>
                    <a:gd name="connsiteY114" fmla="*/ 7701 h 10460"/>
                    <a:gd name="connsiteX115" fmla="*/ 4222 w 10000"/>
                    <a:gd name="connsiteY115" fmla="*/ 7467 h 10460"/>
                    <a:gd name="connsiteX116" fmla="*/ 4222 w 10000"/>
                    <a:gd name="connsiteY116" fmla="*/ 7467 h 10460"/>
                    <a:gd name="connsiteX117" fmla="*/ 4111 w 10000"/>
                    <a:gd name="connsiteY117" fmla="*/ 7352 h 10460"/>
                    <a:gd name="connsiteX118" fmla="*/ 4111 w 10000"/>
                    <a:gd name="connsiteY118" fmla="*/ 7282 h 10460"/>
                    <a:gd name="connsiteX119" fmla="*/ 4111 w 10000"/>
                    <a:gd name="connsiteY119" fmla="*/ 7212 h 10460"/>
                    <a:gd name="connsiteX120" fmla="*/ 4111 w 10000"/>
                    <a:gd name="connsiteY120" fmla="*/ 7212 h 10460"/>
                    <a:gd name="connsiteX121" fmla="*/ 4278 w 10000"/>
                    <a:gd name="connsiteY121" fmla="*/ 7143 h 10460"/>
                    <a:gd name="connsiteX122" fmla="*/ 4389 w 10000"/>
                    <a:gd name="connsiteY122" fmla="*/ 7119 h 10460"/>
                    <a:gd name="connsiteX123" fmla="*/ 4389 w 10000"/>
                    <a:gd name="connsiteY123" fmla="*/ 7119 h 10460"/>
                    <a:gd name="connsiteX124" fmla="*/ 4000 w 10000"/>
                    <a:gd name="connsiteY124" fmla="*/ 7119 h 10460"/>
                    <a:gd name="connsiteX125" fmla="*/ 3722 w 10000"/>
                    <a:gd name="connsiteY125" fmla="*/ 7143 h 10460"/>
                    <a:gd name="connsiteX126" fmla="*/ 3611 w 10000"/>
                    <a:gd name="connsiteY126" fmla="*/ 7168 h 10460"/>
                    <a:gd name="connsiteX127" fmla="*/ 3556 w 10000"/>
                    <a:gd name="connsiteY127" fmla="*/ 7191 h 10460"/>
                    <a:gd name="connsiteX128" fmla="*/ 3556 w 10000"/>
                    <a:gd name="connsiteY128" fmla="*/ 7191 h 10460"/>
                    <a:gd name="connsiteX129" fmla="*/ 3444 w 10000"/>
                    <a:gd name="connsiteY129" fmla="*/ 7282 h 10460"/>
                    <a:gd name="connsiteX130" fmla="*/ 3278 w 10000"/>
                    <a:gd name="connsiteY130" fmla="*/ 7424 h 10460"/>
                    <a:gd name="connsiteX131" fmla="*/ 3000 w 10000"/>
                    <a:gd name="connsiteY131" fmla="*/ 7584 h 10460"/>
                    <a:gd name="connsiteX132" fmla="*/ 2667 w 10000"/>
                    <a:gd name="connsiteY132" fmla="*/ 7701 h 10460"/>
                    <a:gd name="connsiteX133" fmla="*/ 2667 w 10000"/>
                    <a:gd name="connsiteY133" fmla="*/ 7701 h 10460"/>
                    <a:gd name="connsiteX134" fmla="*/ 2333 w 10000"/>
                    <a:gd name="connsiteY134" fmla="*/ 7795 h 10460"/>
                    <a:gd name="connsiteX135" fmla="*/ 1833 w 10000"/>
                    <a:gd name="connsiteY135" fmla="*/ 7888 h 10460"/>
                    <a:gd name="connsiteX136" fmla="*/ 1389 w 10000"/>
                    <a:gd name="connsiteY136" fmla="*/ 7933 h 10460"/>
                    <a:gd name="connsiteX137" fmla="*/ 889 w 10000"/>
                    <a:gd name="connsiteY137" fmla="*/ 7956 h 10460"/>
                    <a:gd name="connsiteX138" fmla="*/ 889 w 10000"/>
                    <a:gd name="connsiteY138" fmla="*/ 7956 h 10460"/>
                    <a:gd name="connsiteX139" fmla="*/ 500 w 10000"/>
                    <a:gd name="connsiteY139" fmla="*/ 7984 h 10460"/>
                    <a:gd name="connsiteX140" fmla="*/ 222 w 10000"/>
                    <a:gd name="connsiteY140" fmla="*/ 8002 h 10460"/>
                    <a:gd name="connsiteX141" fmla="*/ 0 w 10000"/>
                    <a:gd name="connsiteY141" fmla="*/ 8024 h 10460"/>
                    <a:gd name="connsiteX142" fmla="*/ 0 w 10000"/>
                    <a:gd name="connsiteY142" fmla="*/ 8024 h 10460"/>
                    <a:gd name="connsiteX143" fmla="*/ 278 w 10000"/>
                    <a:gd name="connsiteY143" fmla="*/ 8398 h 10460"/>
                    <a:gd name="connsiteX144" fmla="*/ 500 w 10000"/>
                    <a:gd name="connsiteY144" fmla="*/ 8672 h 10460"/>
                    <a:gd name="connsiteX145" fmla="*/ 722 w 10000"/>
                    <a:gd name="connsiteY145" fmla="*/ 8905 h 10460"/>
                    <a:gd name="connsiteX146" fmla="*/ 722 w 10000"/>
                    <a:gd name="connsiteY146" fmla="*/ 8905 h 10460"/>
                    <a:gd name="connsiteX147" fmla="*/ 889 w 10000"/>
                    <a:gd name="connsiteY147" fmla="*/ 9045 h 10460"/>
                    <a:gd name="connsiteX148" fmla="*/ 944 w 10000"/>
                    <a:gd name="connsiteY148" fmla="*/ 9164 h 10460"/>
                    <a:gd name="connsiteX149" fmla="*/ 1111 w 10000"/>
                    <a:gd name="connsiteY149" fmla="*/ 9281 h 10460"/>
                    <a:gd name="connsiteX150" fmla="*/ 1333 w 10000"/>
                    <a:gd name="connsiteY150" fmla="*/ 9460 h 10460"/>
                    <a:gd name="connsiteX151" fmla="*/ 1333 w 10000"/>
                    <a:gd name="connsiteY151" fmla="*/ 9460 h 10460"/>
                    <a:gd name="connsiteX152" fmla="*/ 1444 w 10000"/>
                    <a:gd name="connsiteY152" fmla="*/ 9555 h 10460"/>
                    <a:gd name="connsiteX153" fmla="*/ 1500 w 10000"/>
                    <a:gd name="connsiteY153" fmla="*/ 9624 h 10460"/>
                    <a:gd name="connsiteX154" fmla="*/ 1500 w 10000"/>
                    <a:gd name="connsiteY154" fmla="*/ 9691 h 10460"/>
                    <a:gd name="connsiteX155" fmla="*/ 1556 w 10000"/>
                    <a:gd name="connsiteY155" fmla="*/ 9719 h 10460"/>
                    <a:gd name="connsiteX156" fmla="*/ 1722 w 10000"/>
                    <a:gd name="connsiteY156" fmla="*/ 9740 h 10460"/>
                    <a:gd name="connsiteX157" fmla="*/ 1944 w 10000"/>
                    <a:gd name="connsiteY157" fmla="*/ 9763 h 10460"/>
                    <a:gd name="connsiteX158" fmla="*/ 2944 w 10000"/>
                    <a:gd name="connsiteY158" fmla="*/ 9787 h 10460"/>
                    <a:gd name="connsiteX159" fmla="*/ 2944 w 10000"/>
                    <a:gd name="connsiteY159" fmla="*/ 9787 h 10460"/>
                    <a:gd name="connsiteX160" fmla="*/ 4167 w 10000"/>
                    <a:gd name="connsiteY160" fmla="*/ 9835 h 10460"/>
                    <a:gd name="connsiteX161" fmla="*/ 4889 w 10000"/>
                    <a:gd name="connsiteY161" fmla="*/ 9901 h 10460"/>
                    <a:gd name="connsiteX162" fmla="*/ 5278 w 10000"/>
                    <a:gd name="connsiteY162" fmla="*/ 9975 h 10460"/>
                    <a:gd name="connsiteX163" fmla="*/ 5444 w 10000"/>
                    <a:gd name="connsiteY163" fmla="*/ 9994 h 10460"/>
                    <a:gd name="connsiteX164" fmla="*/ 5444 w 10000"/>
                    <a:gd name="connsiteY164" fmla="*/ 9994 h 10460"/>
                    <a:gd name="connsiteX165" fmla="*/ 5722 w 10000"/>
                    <a:gd name="connsiteY165" fmla="*/ 10045 h 10460"/>
                    <a:gd name="connsiteX166" fmla="*/ 5833 w 10000"/>
                    <a:gd name="connsiteY166" fmla="*/ 10069 h 10460"/>
                    <a:gd name="connsiteX167" fmla="*/ 5833 w 10000"/>
                    <a:gd name="connsiteY167" fmla="*/ 10069 h 10460"/>
                    <a:gd name="connsiteX168" fmla="*/ 5833 w 10000"/>
                    <a:gd name="connsiteY168" fmla="*/ 10045 h 10460"/>
                    <a:gd name="connsiteX169" fmla="*/ 5889 w 10000"/>
                    <a:gd name="connsiteY169" fmla="*/ 10019 h 10460"/>
                    <a:gd name="connsiteX170" fmla="*/ 6000 w 10000"/>
                    <a:gd name="connsiteY170" fmla="*/ 9994 h 10460"/>
                    <a:gd name="connsiteX171" fmla="*/ 6167 w 10000"/>
                    <a:gd name="connsiteY171" fmla="*/ 9975 h 10460"/>
                    <a:gd name="connsiteX172" fmla="*/ 6444 w 10000"/>
                    <a:gd name="connsiteY172" fmla="*/ 9975 h 10460"/>
                    <a:gd name="connsiteX173" fmla="*/ 6833 w 10000"/>
                    <a:gd name="connsiteY173" fmla="*/ 9994 h 10460"/>
                    <a:gd name="connsiteX174" fmla="*/ 7278 w 10000"/>
                    <a:gd name="connsiteY174" fmla="*/ 10069 h 10460"/>
                    <a:gd name="connsiteX175" fmla="*/ 7278 w 10000"/>
                    <a:gd name="connsiteY175" fmla="*/ 10069 h 10460"/>
                    <a:gd name="connsiteX176" fmla="*/ 8722 w 10000"/>
                    <a:gd name="connsiteY176" fmla="*/ 10271 h 10460"/>
                    <a:gd name="connsiteX177" fmla="*/ 10000 w 10000"/>
                    <a:gd name="connsiteY177" fmla="*/ 10460 h 10460"/>
                    <a:gd name="connsiteX0" fmla="*/ 10000 w 10000"/>
                    <a:gd name="connsiteY0" fmla="*/ 8114 h 9694"/>
                    <a:gd name="connsiteX1" fmla="*/ 10000 w 10000"/>
                    <a:gd name="connsiteY1" fmla="*/ 8114 h 9694"/>
                    <a:gd name="connsiteX2" fmla="*/ 9222 w 10000"/>
                    <a:gd name="connsiteY2" fmla="*/ 8139 h 9694"/>
                    <a:gd name="connsiteX3" fmla="*/ 8944 w 10000"/>
                    <a:gd name="connsiteY3" fmla="*/ 8139 h 9694"/>
                    <a:gd name="connsiteX4" fmla="*/ 8833 w 10000"/>
                    <a:gd name="connsiteY4" fmla="*/ 8114 h 9694"/>
                    <a:gd name="connsiteX5" fmla="*/ 8778 w 10000"/>
                    <a:gd name="connsiteY5" fmla="*/ 8094 h 9694"/>
                    <a:gd name="connsiteX6" fmla="*/ 8778 w 10000"/>
                    <a:gd name="connsiteY6" fmla="*/ 8094 h 9694"/>
                    <a:gd name="connsiteX7" fmla="*/ 8444 w 10000"/>
                    <a:gd name="connsiteY7" fmla="*/ 7814 h 9694"/>
                    <a:gd name="connsiteX8" fmla="*/ 8167 w 10000"/>
                    <a:gd name="connsiteY8" fmla="*/ 7558 h 9694"/>
                    <a:gd name="connsiteX9" fmla="*/ 8167 w 10000"/>
                    <a:gd name="connsiteY9" fmla="*/ 7558 h 9694"/>
                    <a:gd name="connsiteX10" fmla="*/ 8056 w 10000"/>
                    <a:gd name="connsiteY10" fmla="*/ 7516 h 9694"/>
                    <a:gd name="connsiteX11" fmla="*/ 7889 w 10000"/>
                    <a:gd name="connsiteY11" fmla="*/ 7470 h 9694"/>
                    <a:gd name="connsiteX12" fmla="*/ 7444 w 10000"/>
                    <a:gd name="connsiteY12" fmla="*/ 7443 h 9694"/>
                    <a:gd name="connsiteX13" fmla="*/ 6889 w 10000"/>
                    <a:gd name="connsiteY13" fmla="*/ 7422 h 9694"/>
                    <a:gd name="connsiteX14" fmla="*/ 6389 w 10000"/>
                    <a:gd name="connsiteY14" fmla="*/ 7422 h 9694"/>
                    <a:gd name="connsiteX15" fmla="*/ 6389 w 10000"/>
                    <a:gd name="connsiteY15" fmla="*/ 7422 h 9694"/>
                    <a:gd name="connsiteX16" fmla="*/ 6167 w 10000"/>
                    <a:gd name="connsiteY16" fmla="*/ 7396 h 9694"/>
                    <a:gd name="connsiteX17" fmla="*/ 6056 w 10000"/>
                    <a:gd name="connsiteY17" fmla="*/ 7354 h 9694"/>
                    <a:gd name="connsiteX18" fmla="*/ 6000 w 10000"/>
                    <a:gd name="connsiteY18" fmla="*/ 7304 h 9694"/>
                    <a:gd name="connsiteX19" fmla="*/ 6000 w 10000"/>
                    <a:gd name="connsiteY19" fmla="*/ 7218 h 9694"/>
                    <a:gd name="connsiteX20" fmla="*/ 6056 w 10000"/>
                    <a:gd name="connsiteY20" fmla="*/ 7029 h 9694"/>
                    <a:gd name="connsiteX21" fmla="*/ 6111 w 10000"/>
                    <a:gd name="connsiteY21" fmla="*/ 6935 h 9694"/>
                    <a:gd name="connsiteX22" fmla="*/ 6056 w 10000"/>
                    <a:gd name="connsiteY22" fmla="*/ 6818 h 9694"/>
                    <a:gd name="connsiteX23" fmla="*/ 6056 w 10000"/>
                    <a:gd name="connsiteY23" fmla="*/ 6818 h 9694"/>
                    <a:gd name="connsiteX24" fmla="*/ 6000 w 10000"/>
                    <a:gd name="connsiteY24" fmla="*/ 6748 h 9694"/>
                    <a:gd name="connsiteX25" fmla="*/ 5944 w 10000"/>
                    <a:gd name="connsiteY25" fmla="*/ 6701 h 9694"/>
                    <a:gd name="connsiteX26" fmla="*/ 5833 w 10000"/>
                    <a:gd name="connsiteY26" fmla="*/ 6701 h 9694"/>
                    <a:gd name="connsiteX27" fmla="*/ 5667 w 10000"/>
                    <a:gd name="connsiteY27" fmla="*/ 6722 h 9694"/>
                    <a:gd name="connsiteX28" fmla="*/ 5333 w 10000"/>
                    <a:gd name="connsiteY28" fmla="*/ 6795 h 9694"/>
                    <a:gd name="connsiteX29" fmla="*/ 4889 w 10000"/>
                    <a:gd name="connsiteY29" fmla="*/ 6911 h 9694"/>
                    <a:gd name="connsiteX30" fmla="*/ 4889 w 10000"/>
                    <a:gd name="connsiteY30" fmla="*/ 6911 h 9694"/>
                    <a:gd name="connsiteX31" fmla="*/ 4611 w 10000"/>
                    <a:gd name="connsiteY31" fmla="*/ 6935 h 9694"/>
                    <a:gd name="connsiteX32" fmla="*/ 4500 w 10000"/>
                    <a:gd name="connsiteY32" fmla="*/ 6935 h 9694"/>
                    <a:gd name="connsiteX33" fmla="*/ 4444 w 10000"/>
                    <a:gd name="connsiteY33" fmla="*/ 6911 h 9694"/>
                    <a:gd name="connsiteX34" fmla="*/ 4389 w 10000"/>
                    <a:gd name="connsiteY34" fmla="*/ 6818 h 9694"/>
                    <a:gd name="connsiteX35" fmla="*/ 4222 w 10000"/>
                    <a:gd name="connsiteY35" fmla="*/ 6701 h 9694"/>
                    <a:gd name="connsiteX36" fmla="*/ 4222 w 10000"/>
                    <a:gd name="connsiteY36" fmla="*/ 6701 h 9694"/>
                    <a:gd name="connsiteX37" fmla="*/ 4111 w 10000"/>
                    <a:gd name="connsiteY37" fmla="*/ 6631 h 9694"/>
                    <a:gd name="connsiteX38" fmla="*/ 4111 w 10000"/>
                    <a:gd name="connsiteY38" fmla="*/ 6563 h 9694"/>
                    <a:gd name="connsiteX39" fmla="*/ 4111 w 10000"/>
                    <a:gd name="connsiteY39" fmla="*/ 6516 h 9694"/>
                    <a:gd name="connsiteX40" fmla="*/ 4167 w 10000"/>
                    <a:gd name="connsiteY40" fmla="*/ 6470 h 9694"/>
                    <a:gd name="connsiteX41" fmla="*/ 4278 w 10000"/>
                    <a:gd name="connsiteY41" fmla="*/ 6377 h 9694"/>
                    <a:gd name="connsiteX42" fmla="*/ 4389 w 10000"/>
                    <a:gd name="connsiteY42" fmla="*/ 6353 h 9694"/>
                    <a:gd name="connsiteX43" fmla="*/ 4389 w 10000"/>
                    <a:gd name="connsiteY43" fmla="*/ 6353 h 9694"/>
                    <a:gd name="connsiteX44" fmla="*/ 4389 w 10000"/>
                    <a:gd name="connsiteY44" fmla="*/ 6329 h 9694"/>
                    <a:gd name="connsiteX45" fmla="*/ 4444 w 10000"/>
                    <a:gd name="connsiteY45" fmla="*/ 6311 h 9694"/>
                    <a:gd name="connsiteX46" fmla="*/ 4667 w 10000"/>
                    <a:gd name="connsiteY46" fmla="*/ 6285 h 9694"/>
                    <a:gd name="connsiteX47" fmla="*/ 5333 w 10000"/>
                    <a:gd name="connsiteY47" fmla="*/ 6241 h 9694"/>
                    <a:gd name="connsiteX48" fmla="*/ 6500 w 10000"/>
                    <a:gd name="connsiteY48" fmla="*/ 6167 h 9694"/>
                    <a:gd name="connsiteX49" fmla="*/ 6500 w 10000"/>
                    <a:gd name="connsiteY49" fmla="*/ 6167 h 9694"/>
                    <a:gd name="connsiteX50" fmla="*/ 7167 w 10000"/>
                    <a:gd name="connsiteY50" fmla="*/ 6101 h 9694"/>
                    <a:gd name="connsiteX51" fmla="*/ 8389 w 10000"/>
                    <a:gd name="connsiteY51" fmla="*/ 5962 h 9694"/>
                    <a:gd name="connsiteX52" fmla="*/ 8389 w 10000"/>
                    <a:gd name="connsiteY52" fmla="*/ 5962 h 9694"/>
                    <a:gd name="connsiteX53" fmla="*/ 8667 w 10000"/>
                    <a:gd name="connsiteY53" fmla="*/ 5912 h 9694"/>
                    <a:gd name="connsiteX54" fmla="*/ 8778 w 10000"/>
                    <a:gd name="connsiteY54" fmla="*/ 5841 h 9694"/>
                    <a:gd name="connsiteX55" fmla="*/ 8889 w 10000"/>
                    <a:gd name="connsiteY55" fmla="*/ 5797 h 9694"/>
                    <a:gd name="connsiteX56" fmla="*/ 8833 w 10000"/>
                    <a:gd name="connsiteY56" fmla="*/ 5751 h 9694"/>
                    <a:gd name="connsiteX57" fmla="*/ 8833 w 10000"/>
                    <a:gd name="connsiteY57" fmla="*/ 5708 h 9694"/>
                    <a:gd name="connsiteX58" fmla="*/ 8722 w 10000"/>
                    <a:gd name="connsiteY58" fmla="*/ 5657 h 9694"/>
                    <a:gd name="connsiteX59" fmla="*/ 8556 w 10000"/>
                    <a:gd name="connsiteY59" fmla="*/ 5588 h 9694"/>
                    <a:gd name="connsiteX60" fmla="*/ 8556 w 10000"/>
                    <a:gd name="connsiteY60" fmla="*/ 5588 h 9694"/>
                    <a:gd name="connsiteX61" fmla="*/ 6556 w 10000"/>
                    <a:gd name="connsiteY61" fmla="*/ 5175 h 9694"/>
                    <a:gd name="connsiteX62" fmla="*/ 6556 w 10000"/>
                    <a:gd name="connsiteY62" fmla="*/ 5175 h 9694"/>
                    <a:gd name="connsiteX63" fmla="*/ 6333 w 10000"/>
                    <a:gd name="connsiteY63" fmla="*/ 5103 h 9694"/>
                    <a:gd name="connsiteX64" fmla="*/ 6167 w 10000"/>
                    <a:gd name="connsiteY64" fmla="*/ 5033 h 9694"/>
                    <a:gd name="connsiteX65" fmla="*/ 6056 w 10000"/>
                    <a:gd name="connsiteY65" fmla="*/ 4961 h 9694"/>
                    <a:gd name="connsiteX66" fmla="*/ 6056 w 10000"/>
                    <a:gd name="connsiteY66" fmla="*/ 4961 h 9694"/>
                    <a:gd name="connsiteX67" fmla="*/ 8056 w 10000"/>
                    <a:gd name="connsiteY67" fmla="*/ 4938 h 9694"/>
                    <a:gd name="connsiteX68" fmla="*/ 10000 w 10000"/>
                    <a:gd name="connsiteY68" fmla="*/ 5175 h 9694"/>
                    <a:gd name="connsiteX69" fmla="*/ 10000 w 10000"/>
                    <a:gd name="connsiteY69" fmla="*/ 3061 h 9694"/>
                    <a:gd name="connsiteX70" fmla="*/ 2889 w 10000"/>
                    <a:gd name="connsiteY70" fmla="*/ 603 h 9694"/>
                    <a:gd name="connsiteX71" fmla="*/ 2000 w 10000"/>
                    <a:gd name="connsiteY71" fmla="*/ 556 h 9694"/>
                    <a:gd name="connsiteX72" fmla="*/ 1414 w 10000"/>
                    <a:gd name="connsiteY72" fmla="*/ 273 h 9694"/>
                    <a:gd name="connsiteX73" fmla="*/ 1444 w 10000"/>
                    <a:gd name="connsiteY73" fmla="*/ 161 h 9694"/>
                    <a:gd name="connsiteX74" fmla="*/ 1444 w 10000"/>
                    <a:gd name="connsiteY74" fmla="*/ 0 h 9694"/>
                    <a:gd name="connsiteX75" fmla="*/ 10000 w 10000"/>
                    <a:gd name="connsiteY75" fmla="*/ 8139 h 9694"/>
                    <a:gd name="connsiteX76" fmla="*/ 10000 w 10000"/>
                    <a:gd name="connsiteY76" fmla="*/ 8139 h 9694"/>
                    <a:gd name="connsiteX77" fmla="*/ 9722 w 10000"/>
                    <a:gd name="connsiteY77" fmla="*/ 8114 h 9694"/>
                    <a:gd name="connsiteX78" fmla="*/ 9389 w 10000"/>
                    <a:gd name="connsiteY78" fmla="*/ 8139 h 9694"/>
                    <a:gd name="connsiteX79" fmla="*/ 9389 w 10000"/>
                    <a:gd name="connsiteY79" fmla="*/ 8139 h 9694"/>
                    <a:gd name="connsiteX80" fmla="*/ 9278 w 10000"/>
                    <a:gd name="connsiteY80" fmla="*/ 8168 h 9694"/>
                    <a:gd name="connsiteX81" fmla="*/ 9056 w 10000"/>
                    <a:gd name="connsiteY81" fmla="*/ 8139 h 9694"/>
                    <a:gd name="connsiteX82" fmla="*/ 8889 w 10000"/>
                    <a:gd name="connsiteY82" fmla="*/ 8114 h 9694"/>
                    <a:gd name="connsiteX83" fmla="*/ 8722 w 10000"/>
                    <a:gd name="connsiteY83" fmla="*/ 8071 h 9694"/>
                    <a:gd name="connsiteX84" fmla="*/ 8611 w 10000"/>
                    <a:gd name="connsiteY84" fmla="*/ 7999 h 9694"/>
                    <a:gd name="connsiteX85" fmla="*/ 8444 w 10000"/>
                    <a:gd name="connsiteY85" fmla="*/ 7882 h 9694"/>
                    <a:gd name="connsiteX86" fmla="*/ 8444 w 10000"/>
                    <a:gd name="connsiteY86" fmla="*/ 7882 h 9694"/>
                    <a:gd name="connsiteX87" fmla="*/ 8222 w 10000"/>
                    <a:gd name="connsiteY87" fmla="*/ 7679 h 9694"/>
                    <a:gd name="connsiteX88" fmla="*/ 8111 w 10000"/>
                    <a:gd name="connsiteY88" fmla="*/ 7586 h 9694"/>
                    <a:gd name="connsiteX89" fmla="*/ 7944 w 10000"/>
                    <a:gd name="connsiteY89" fmla="*/ 7516 h 9694"/>
                    <a:gd name="connsiteX90" fmla="*/ 7778 w 10000"/>
                    <a:gd name="connsiteY90" fmla="*/ 7470 h 9694"/>
                    <a:gd name="connsiteX91" fmla="*/ 7556 w 10000"/>
                    <a:gd name="connsiteY91" fmla="*/ 7443 h 9694"/>
                    <a:gd name="connsiteX92" fmla="*/ 7333 w 10000"/>
                    <a:gd name="connsiteY92" fmla="*/ 7422 h 9694"/>
                    <a:gd name="connsiteX93" fmla="*/ 7000 w 10000"/>
                    <a:gd name="connsiteY93" fmla="*/ 7396 h 9694"/>
                    <a:gd name="connsiteX94" fmla="*/ 7000 w 10000"/>
                    <a:gd name="connsiteY94" fmla="*/ 7396 h 9694"/>
                    <a:gd name="connsiteX95" fmla="*/ 6556 w 10000"/>
                    <a:gd name="connsiteY95" fmla="*/ 7422 h 9694"/>
                    <a:gd name="connsiteX96" fmla="*/ 6222 w 10000"/>
                    <a:gd name="connsiteY96" fmla="*/ 7422 h 9694"/>
                    <a:gd name="connsiteX97" fmla="*/ 6111 w 10000"/>
                    <a:gd name="connsiteY97" fmla="*/ 7396 h 9694"/>
                    <a:gd name="connsiteX98" fmla="*/ 6056 w 10000"/>
                    <a:gd name="connsiteY98" fmla="*/ 7373 h 9694"/>
                    <a:gd name="connsiteX99" fmla="*/ 6056 w 10000"/>
                    <a:gd name="connsiteY99" fmla="*/ 7373 h 9694"/>
                    <a:gd name="connsiteX100" fmla="*/ 6056 w 10000"/>
                    <a:gd name="connsiteY100" fmla="*/ 6959 h 9694"/>
                    <a:gd name="connsiteX101" fmla="*/ 6056 w 10000"/>
                    <a:gd name="connsiteY101" fmla="*/ 6959 h 9694"/>
                    <a:gd name="connsiteX102" fmla="*/ 6056 w 10000"/>
                    <a:gd name="connsiteY102" fmla="*/ 6863 h 9694"/>
                    <a:gd name="connsiteX103" fmla="*/ 5944 w 10000"/>
                    <a:gd name="connsiteY103" fmla="*/ 6748 h 9694"/>
                    <a:gd name="connsiteX104" fmla="*/ 5889 w 10000"/>
                    <a:gd name="connsiteY104" fmla="*/ 6722 h 9694"/>
                    <a:gd name="connsiteX105" fmla="*/ 5778 w 10000"/>
                    <a:gd name="connsiteY105" fmla="*/ 6701 h 9694"/>
                    <a:gd name="connsiteX106" fmla="*/ 5667 w 10000"/>
                    <a:gd name="connsiteY106" fmla="*/ 6701 h 9694"/>
                    <a:gd name="connsiteX107" fmla="*/ 5500 w 10000"/>
                    <a:gd name="connsiteY107" fmla="*/ 6722 h 9694"/>
                    <a:gd name="connsiteX108" fmla="*/ 5500 w 10000"/>
                    <a:gd name="connsiteY108" fmla="*/ 6722 h 9694"/>
                    <a:gd name="connsiteX109" fmla="*/ 4889 w 10000"/>
                    <a:gd name="connsiteY109" fmla="*/ 6887 h 9694"/>
                    <a:gd name="connsiteX110" fmla="*/ 4611 w 10000"/>
                    <a:gd name="connsiteY110" fmla="*/ 6935 h 9694"/>
                    <a:gd name="connsiteX111" fmla="*/ 4556 w 10000"/>
                    <a:gd name="connsiteY111" fmla="*/ 6959 h 9694"/>
                    <a:gd name="connsiteX112" fmla="*/ 4500 w 10000"/>
                    <a:gd name="connsiteY112" fmla="*/ 6935 h 9694"/>
                    <a:gd name="connsiteX113" fmla="*/ 4500 w 10000"/>
                    <a:gd name="connsiteY113" fmla="*/ 6935 h 9694"/>
                    <a:gd name="connsiteX114" fmla="*/ 4222 w 10000"/>
                    <a:gd name="connsiteY114" fmla="*/ 6701 h 9694"/>
                    <a:gd name="connsiteX115" fmla="*/ 4222 w 10000"/>
                    <a:gd name="connsiteY115" fmla="*/ 6701 h 9694"/>
                    <a:gd name="connsiteX116" fmla="*/ 4111 w 10000"/>
                    <a:gd name="connsiteY116" fmla="*/ 6586 h 9694"/>
                    <a:gd name="connsiteX117" fmla="*/ 4111 w 10000"/>
                    <a:gd name="connsiteY117" fmla="*/ 6516 h 9694"/>
                    <a:gd name="connsiteX118" fmla="*/ 4111 w 10000"/>
                    <a:gd name="connsiteY118" fmla="*/ 6446 h 9694"/>
                    <a:gd name="connsiteX119" fmla="*/ 4111 w 10000"/>
                    <a:gd name="connsiteY119" fmla="*/ 6446 h 9694"/>
                    <a:gd name="connsiteX120" fmla="*/ 4278 w 10000"/>
                    <a:gd name="connsiteY120" fmla="*/ 6377 h 9694"/>
                    <a:gd name="connsiteX121" fmla="*/ 4389 w 10000"/>
                    <a:gd name="connsiteY121" fmla="*/ 6353 h 9694"/>
                    <a:gd name="connsiteX122" fmla="*/ 4389 w 10000"/>
                    <a:gd name="connsiteY122" fmla="*/ 6353 h 9694"/>
                    <a:gd name="connsiteX123" fmla="*/ 4000 w 10000"/>
                    <a:gd name="connsiteY123" fmla="*/ 6353 h 9694"/>
                    <a:gd name="connsiteX124" fmla="*/ 3722 w 10000"/>
                    <a:gd name="connsiteY124" fmla="*/ 6377 h 9694"/>
                    <a:gd name="connsiteX125" fmla="*/ 3611 w 10000"/>
                    <a:gd name="connsiteY125" fmla="*/ 6402 h 9694"/>
                    <a:gd name="connsiteX126" fmla="*/ 3556 w 10000"/>
                    <a:gd name="connsiteY126" fmla="*/ 6425 h 9694"/>
                    <a:gd name="connsiteX127" fmla="*/ 3556 w 10000"/>
                    <a:gd name="connsiteY127" fmla="*/ 6425 h 9694"/>
                    <a:gd name="connsiteX128" fmla="*/ 3444 w 10000"/>
                    <a:gd name="connsiteY128" fmla="*/ 6516 h 9694"/>
                    <a:gd name="connsiteX129" fmla="*/ 3278 w 10000"/>
                    <a:gd name="connsiteY129" fmla="*/ 6658 h 9694"/>
                    <a:gd name="connsiteX130" fmla="*/ 3000 w 10000"/>
                    <a:gd name="connsiteY130" fmla="*/ 6818 h 9694"/>
                    <a:gd name="connsiteX131" fmla="*/ 2667 w 10000"/>
                    <a:gd name="connsiteY131" fmla="*/ 6935 h 9694"/>
                    <a:gd name="connsiteX132" fmla="*/ 2667 w 10000"/>
                    <a:gd name="connsiteY132" fmla="*/ 6935 h 9694"/>
                    <a:gd name="connsiteX133" fmla="*/ 2333 w 10000"/>
                    <a:gd name="connsiteY133" fmla="*/ 7029 h 9694"/>
                    <a:gd name="connsiteX134" fmla="*/ 1833 w 10000"/>
                    <a:gd name="connsiteY134" fmla="*/ 7122 h 9694"/>
                    <a:gd name="connsiteX135" fmla="*/ 1389 w 10000"/>
                    <a:gd name="connsiteY135" fmla="*/ 7167 h 9694"/>
                    <a:gd name="connsiteX136" fmla="*/ 889 w 10000"/>
                    <a:gd name="connsiteY136" fmla="*/ 7190 h 9694"/>
                    <a:gd name="connsiteX137" fmla="*/ 889 w 10000"/>
                    <a:gd name="connsiteY137" fmla="*/ 7190 h 9694"/>
                    <a:gd name="connsiteX138" fmla="*/ 500 w 10000"/>
                    <a:gd name="connsiteY138" fmla="*/ 7218 h 9694"/>
                    <a:gd name="connsiteX139" fmla="*/ 222 w 10000"/>
                    <a:gd name="connsiteY139" fmla="*/ 7236 h 9694"/>
                    <a:gd name="connsiteX140" fmla="*/ 0 w 10000"/>
                    <a:gd name="connsiteY140" fmla="*/ 7258 h 9694"/>
                    <a:gd name="connsiteX141" fmla="*/ 0 w 10000"/>
                    <a:gd name="connsiteY141" fmla="*/ 7258 h 9694"/>
                    <a:gd name="connsiteX142" fmla="*/ 278 w 10000"/>
                    <a:gd name="connsiteY142" fmla="*/ 7632 h 9694"/>
                    <a:gd name="connsiteX143" fmla="*/ 500 w 10000"/>
                    <a:gd name="connsiteY143" fmla="*/ 7906 h 9694"/>
                    <a:gd name="connsiteX144" fmla="*/ 722 w 10000"/>
                    <a:gd name="connsiteY144" fmla="*/ 8139 h 9694"/>
                    <a:gd name="connsiteX145" fmla="*/ 722 w 10000"/>
                    <a:gd name="connsiteY145" fmla="*/ 8139 h 9694"/>
                    <a:gd name="connsiteX146" fmla="*/ 889 w 10000"/>
                    <a:gd name="connsiteY146" fmla="*/ 8279 h 9694"/>
                    <a:gd name="connsiteX147" fmla="*/ 944 w 10000"/>
                    <a:gd name="connsiteY147" fmla="*/ 8398 h 9694"/>
                    <a:gd name="connsiteX148" fmla="*/ 1111 w 10000"/>
                    <a:gd name="connsiteY148" fmla="*/ 8515 h 9694"/>
                    <a:gd name="connsiteX149" fmla="*/ 1333 w 10000"/>
                    <a:gd name="connsiteY149" fmla="*/ 8694 h 9694"/>
                    <a:gd name="connsiteX150" fmla="*/ 1333 w 10000"/>
                    <a:gd name="connsiteY150" fmla="*/ 8694 h 9694"/>
                    <a:gd name="connsiteX151" fmla="*/ 1444 w 10000"/>
                    <a:gd name="connsiteY151" fmla="*/ 8789 h 9694"/>
                    <a:gd name="connsiteX152" fmla="*/ 1500 w 10000"/>
                    <a:gd name="connsiteY152" fmla="*/ 8858 h 9694"/>
                    <a:gd name="connsiteX153" fmla="*/ 1500 w 10000"/>
                    <a:gd name="connsiteY153" fmla="*/ 8925 h 9694"/>
                    <a:gd name="connsiteX154" fmla="*/ 1556 w 10000"/>
                    <a:gd name="connsiteY154" fmla="*/ 8953 h 9694"/>
                    <a:gd name="connsiteX155" fmla="*/ 1722 w 10000"/>
                    <a:gd name="connsiteY155" fmla="*/ 8974 h 9694"/>
                    <a:gd name="connsiteX156" fmla="*/ 1944 w 10000"/>
                    <a:gd name="connsiteY156" fmla="*/ 8997 h 9694"/>
                    <a:gd name="connsiteX157" fmla="*/ 2944 w 10000"/>
                    <a:gd name="connsiteY157" fmla="*/ 9021 h 9694"/>
                    <a:gd name="connsiteX158" fmla="*/ 2944 w 10000"/>
                    <a:gd name="connsiteY158" fmla="*/ 9021 h 9694"/>
                    <a:gd name="connsiteX159" fmla="*/ 4167 w 10000"/>
                    <a:gd name="connsiteY159" fmla="*/ 9069 h 9694"/>
                    <a:gd name="connsiteX160" fmla="*/ 4889 w 10000"/>
                    <a:gd name="connsiteY160" fmla="*/ 9135 h 9694"/>
                    <a:gd name="connsiteX161" fmla="*/ 5278 w 10000"/>
                    <a:gd name="connsiteY161" fmla="*/ 9209 h 9694"/>
                    <a:gd name="connsiteX162" fmla="*/ 5444 w 10000"/>
                    <a:gd name="connsiteY162" fmla="*/ 9228 h 9694"/>
                    <a:gd name="connsiteX163" fmla="*/ 5444 w 10000"/>
                    <a:gd name="connsiteY163" fmla="*/ 9228 h 9694"/>
                    <a:gd name="connsiteX164" fmla="*/ 5722 w 10000"/>
                    <a:gd name="connsiteY164" fmla="*/ 9279 h 9694"/>
                    <a:gd name="connsiteX165" fmla="*/ 5833 w 10000"/>
                    <a:gd name="connsiteY165" fmla="*/ 9303 h 9694"/>
                    <a:gd name="connsiteX166" fmla="*/ 5833 w 10000"/>
                    <a:gd name="connsiteY166" fmla="*/ 9303 h 9694"/>
                    <a:gd name="connsiteX167" fmla="*/ 5833 w 10000"/>
                    <a:gd name="connsiteY167" fmla="*/ 9279 h 9694"/>
                    <a:gd name="connsiteX168" fmla="*/ 5889 w 10000"/>
                    <a:gd name="connsiteY168" fmla="*/ 9253 h 9694"/>
                    <a:gd name="connsiteX169" fmla="*/ 6000 w 10000"/>
                    <a:gd name="connsiteY169" fmla="*/ 9228 h 9694"/>
                    <a:gd name="connsiteX170" fmla="*/ 6167 w 10000"/>
                    <a:gd name="connsiteY170" fmla="*/ 9209 h 9694"/>
                    <a:gd name="connsiteX171" fmla="*/ 6444 w 10000"/>
                    <a:gd name="connsiteY171" fmla="*/ 9209 h 9694"/>
                    <a:gd name="connsiteX172" fmla="*/ 6833 w 10000"/>
                    <a:gd name="connsiteY172" fmla="*/ 9228 h 9694"/>
                    <a:gd name="connsiteX173" fmla="*/ 7278 w 10000"/>
                    <a:gd name="connsiteY173" fmla="*/ 9303 h 9694"/>
                    <a:gd name="connsiteX174" fmla="*/ 7278 w 10000"/>
                    <a:gd name="connsiteY174" fmla="*/ 9303 h 9694"/>
                    <a:gd name="connsiteX175" fmla="*/ 8722 w 10000"/>
                    <a:gd name="connsiteY175" fmla="*/ 9505 h 9694"/>
                    <a:gd name="connsiteX176" fmla="*/ 10000 w 10000"/>
                    <a:gd name="connsiteY176" fmla="*/ 9694 h 9694"/>
                    <a:gd name="connsiteX0" fmla="*/ 10000 w 10000"/>
                    <a:gd name="connsiteY0" fmla="*/ 8370 h 10000"/>
                    <a:gd name="connsiteX1" fmla="*/ 10000 w 10000"/>
                    <a:gd name="connsiteY1" fmla="*/ 8370 h 10000"/>
                    <a:gd name="connsiteX2" fmla="*/ 9222 w 10000"/>
                    <a:gd name="connsiteY2" fmla="*/ 8396 h 10000"/>
                    <a:gd name="connsiteX3" fmla="*/ 8944 w 10000"/>
                    <a:gd name="connsiteY3" fmla="*/ 8396 h 10000"/>
                    <a:gd name="connsiteX4" fmla="*/ 8833 w 10000"/>
                    <a:gd name="connsiteY4" fmla="*/ 8370 h 10000"/>
                    <a:gd name="connsiteX5" fmla="*/ 8778 w 10000"/>
                    <a:gd name="connsiteY5" fmla="*/ 8349 h 10000"/>
                    <a:gd name="connsiteX6" fmla="*/ 8778 w 10000"/>
                    <a:gd name="connsiteY6" fmla="*/ 8349 h 10000"/>
                    <a:gd name="connsiteX7" fmla="*/ 8444 w 10000"/>
                    <a:gd name="connsiteY7" fmla="*/ 8061 h 10000"/>
                    <a:gd name="connsiteX8" fmla="*/ 8167 w 10000"/>
                    <a:gd name="connsiteY8" fmla="*/ 7797 h 10000"/>
                    <a:gd name="connsiteX9" fmla="*/ 8167 w 10000"/>
                    <a:gd name="connsiteY9" fmla="*/ 7797 h 10000"/>
                    <a:gd name="connsiteX10" fmla="*/ 8056 w 10000"/>
                    <a:gd name="connsiteY10" fmla="*/ 7753 h 10000"/>
                    <a:gd name="connsiteX11" fmla="*/ 7889 w 10000"/>
                    <a:gd name="connsiteY11" fmla="*/ 7706 h 10000"/>
                    <a:gd name="connsiteX12" fmla="*/ 7444 w 10000"/>
                    <a:gd name="connsiteY12" fmla="*/ 7678 h 10000"/>
                    <a:gd name="connsiteX13" fmla="*/ 6889 w 10000"/>
                    <a:gd name="connsiteY13" fmla="*/ 7656 h 10000"/>
                    <a:gd name="connsiteX14" fmla="*/ 6389 w 10000"/>
                    <a:gd name="connsiteY14" fmla="*/ 7656 h 10000"/>
                    <a:gd name="connsiteX15" fmla="*/ 6389 w 10000"/>
                    <a:gd name="connsiteY15" fmla="*/ 7656 h 10000"/>
                    <a:gd name="connsiteX16" fmla="*/ 6167 w 10000"/>
                    <a:gd name="connsiteY16" fmla="*/ 7629 h 10000"/>
                    <a:gd name="connsiteX17" fmla="*/ 6056 w 10000"/>
                    <a:gd name="connsiteY17" fmla="*/ 7586 h 10000"/>
                    <a:gd name="connsiteX18" fmla="*/ 6000 w 10000"/>
                    <a:gd name="connsiteY18" fmla="*/ 7535 h 10000"/>
                    <a:gd name="connsiteX19" fmla="*/ 6000 w 10000"/>
                    <a:gd name="connsiteY19" fmla="*/ 7446 h 10000"/>
                    <a:gd name="connsiteX20" fmla="*/ 6056 w 10000"/>
                    <a:gd name="connsiteY20" fmla="*/ 7251 h 10000"/>
                    <a:gd name="connsiteX21" fmla="*/ 6111 w 10000"/>
                    <a:gd name="connsiteY21" fmla="*/ 7154 h 10000"/>
                    <a:gd name="connsiteX22" fmla="*/ 6056 w 10000"/>
                    <a:gd name="connsiteY22" fmla="*/ 7033 h 10000"/>
                    <a:gd name="connsiteX23" fmla="*/ 6056 w 10000"/>
                    <a:gd name="connsiteY23" fmla="*/ 7033 h 10000"/>
                    <a:gd name="connsiteX24" fmla="*/ 6000 w 10000"/>
                    <a:gd name="connsiteY24" fmla="*/ 6961 h 10000"/>
                    <a:gd name="connsiteX25" fmla="*/ 5944 w 10000"/>
                    <a:gd name="connsiteY25" fmla="*/ 6913 h 10000"/>
                    <a:gd name="connsiteX26" fmla="*/ 5833 w 10000"/>
                    <a:gd name="connsiteY26" fmla="*/ 6913 h 10000"/>
                    <a:gd name="connsiteX27" fmla="*/ 5667 w 10000"/>
                    <a:gd name="connsiteY27" fmla="*/ 6934 h 10000"/>
                    <a:gd name="connsiteX28" fmla="*/ 5333 w 10000"/>
                    <a:gd name="connsiteY28" fmla="*/ 7009 h 10000"/>
                    <a:gd name="connsiteX29" fmla="*/ 4889 w 10000"/>
                    <a:gd name="connsiteY29" fmla="*/ 7129 h 10000"/>
                    <a:gd name="connsiteX30" fmla="*/ 4889 w 10000"/>
                    <a:gd name="connsiteY30" fmla="*/ 7129 h 10000"/>
                    <a:gd name="connsiteX31" fmla="*/ 4611 w 10000"/>
                    <a:gd name="connsiteY31" fmla="*/ 7154 h 10000"/>
                    <a:gd name="connsiteX32" fmla="*/ 4500 w 10000"/>
                    <a:gd name="connsiteY32" fmla="*/ 7154 h 10000"/>
                    <a:gd name="connsiteX33" fmla="*/ 4444 w 10000"/>
                    <a:gd name="connsiteY33" fmla="*/ 7129 h 10000"/>
                    <a:gd name="connsiteX34" fmla="*/ 4389 w 10000"/>
                    <a:gd name="connsiteY34" fmla="*/ 7033 h 10000"/>
                    <a:gd name="connsiteX35" fmla="*/ 4222 w 10000"/>
                    <a:gd name="connsiteY35" fmla="*/ 6913 h 10000"/>
                    <a:gd name="connsiteX36" fmla="*/ 4222 w 10000"/>
                    <a:gd name="connsiteY36" fmla="*/ 6913 h 10000"/>
                    <a:gd name="connsiteX37" fmla="*/ 4111 w 10000"/>
                    <a:gd name="connsiteY37" fmla="*/ 6840 h 10000"/>
                    <a:gd name="connsiteX38" fmla="*/ 4111 w 10000"/>
                    <a:gd name="connsiteY38" fmla="*/ 6770 h 10000"/>
                    <a:gd name="connsiteX39" fmla="*/ 4111 w 10000"/>
                    <a:gd name="connsiteY39" fmla="*/ 6722 h 10000"/>
                    <a:gd name="connsiteX40" fmla="*/ 4167 w 10000"/>
                    <a:gd name="connsiteY40" fmla="*/ 6674 h 10000"/>
                    <a:gd name="connsiteX41" fmla="*/ 4278 w 10000"/>
                    <a:gd name="connsiteY41" fmla="*/ 6578 h 10000"/>
                    <a:gd name="connsiteX42" fmla="*/ 4389 w 10000"/>
                    <a:gd name="connsiteY42" fmla="*/ 6554 h 10000"/>
                    <a:gd name="connsiteX43" fmla="*/ 4389 w 10000"/>
                    <a:gd name="connsiteY43" fmla="*/ 6554 h 10000"/>
                    <a:gd name="connsiteX44" fmla="*/ 4389 w 10000"/>
                    <a:gd name="connsiteY44" fmla="*/ 6529 h 10000"/>
                    <a:gd name="connsiteX45" fmla="*/ 4444 w 10000"/>
                    <a:gd name="connsiteY45" fmla="*/ 6510 h 10000"/>
                    <a:gd name="connsiteX46" fmla="*/ 4667 w 10000"/>
                    <a:gd name="connsiteY46" fmla="*/ 6483 h 10000"/>
                    <a:gd name="connsiteX47" fmla="*/ 5333 w 10000"/>
                    <a:gd name="connsiteY47" fmla="*/ 6438 h 10000"/>
                    <a:gd name="connsiteX48" fmla="*/ 6500 w 10000"/>
                    <a:gd name="connsiteY48" fmla="*/ 6362 h 10000"/>
                    <a:gd name="connsiteX49" fmla="*/ 6500 w 10000"/>
                    <a:gd name="connsiteY49" fmla="*/ 6362 h 10000"/>
                    <a:gd name="connsiteX50" fmla="*/ 7167 w 10000"/>
                    <a:gd name="connsiteY50" fmla="*/ 6294 h 10000"/>
                    <a:gd name="connsiteX51" fmla="*/ 8389 w 10000"/>
                    <a:gd name="connsiteY51" fmla="*/ 6150 h 10000"/>
                    <a:gd name="connsiteX52" fmla="*/ 8389 w 10000"/>
                    <a:gd name="connsiteY52" fmla="*/ 6150 h 10000"/>
                    <a:gd name="connsiteX53" fmla="*/ 8667 w 10000"/>
                    <a:gd name="connsiteY53" fmla="*/ 6099 h 10000"/>
                    <a:gd name="connsiteX54" fmla="*/ 8778 w 10000"/>
                    <a:gd name="connsiteY54" fmla="*/ 6025 h 10000"/>
                    <a:gd name="connsiteX55" fmla="*/ 8889 w 10000"/>
                    <a:gd name="connsiteY55" fmla="*/ 5980 h 10000"/>
                    <a:gd name="connsiteX56" fmla="*/ 8833 w 10000"/>
                    <a:gd name="connsiteY56" fmla="*/ 5933 h 10000"/>
                    <a:gd name="connsiteX57" fmla="*/ 8833 w 10000"/>
                    <a:gd name="connsiteY57" fmla="*/ 5888 h 10000"/>
                    <a:gd name="connsiteX58" fmla="*/ 8722 w 10000"/>
                    <a:gd name="connsiteY58" fmla="*/ 5836 h 10000"/>
                    <a:gd name="connsiteX59" fmla="*/ 8556 w 10000"/>
                    <a:gd name="connsiteY59" fmla="*/ 5764 h 10000"/>
                    <a:gd name="connsiteX60" fmla="*/ 8556 w 10000"/>
                    <a:gd name="connsiteY60" fmla="*/ 5764 h 10000"/>
                    <a:gd name="connsiteX61" fmla="*/ 6556 w 10000"/>
                    <a:gd name="connsiteY61" fmla="*/ 5338 h 10000"/>
                    <a:gd name="connsiteX62" fmla="*/ 6556 w 10000"/>
                    <a:gd name="connsiteY62" fmla="*/ 5338 h 10000"/>
                    <a:gd name="connsiteX63" fmla="*/ 6333 w 10000"/>
                    <a:gd name="connsiteY63" fmla="*/ 5264 h 10000"/>
                    <a:gd name="connsiteX64" fmla="*/ 6167 w 10000"/>
                    <a:gd name="connsiteY64" fmla="*/ 5192 h 10000"/>
                    <a:gd name="connsiteX65" fmla="*/ 6056 w 10000"/>
                    <a:gd name="connsiteY65" fmla="*/ 5118 h 10000"/>
                    <a:gd name="connsiteX66" fmla="*/ 6056 w 10000"/>
                    <a:gd name="connsiteY66" fmla="*/ 5118 h 10000"/>
                    <a:gd name="connsiteX67" fmla="*/ 8056 w 10000"/>
                    <a:gd name="connsiteY67" fmla="*/ 5094 h 10000"/>
                    <a:gd name="connsiteX68" fmla="*/ 10000 w 10000"/>
                    <a:gd name="connsiteY68" fmla="*/ 5338 h 10000"/>
                    <a:gd name="connsiteX69" fmla="*/ 10000 w 10000"/>
                    <a:gd name="connsiteY69" fmla="*/ 3158 h 10000"/>
                    <a:gd name="connsiteX70" fmla="*/ 2889 w 10000"/>
                    <a:gd name="connsiteY70" fmla="*/ 622 h 10000"/>
                    <a:gd name="connsiteX71" fmla="*/ 1414 w 10000"/>
                    <a:gd name="connsiteY71" fmla="*/ 282 h 10000"/>
                    <a:gd name="connsiteX72" fmla="*/ 1444 w 10000"/>
                    <a:gd name="connsiteY72" fmla="*/ 166 h 10000"/>
                    <a:gd name="connsiteX73" fmla="*/ 1444 w 10000"/>
                    <a:gd name="connsiteY73" fmla="*/ 0 h 10000"/>
                    <a:gd name="connsiteX74" fmla="*/ 10000 w 10000"/>
                    <a:gd name="connsiteY74" fmla="*/ 8396 h 10000"/>
                    <a:gd name="connsiteX75" fmla="*/ 10000 w 10000"/>
                    <a:gd name="connsiteY75" fmla="*/ 8396 h 10000"/>
                    <a:gd name="connsiteX76" fmla="*/ 9722 w 10000"/>
                    <a:gd name="connsiteY76" fmla="*/ 8370 h 10000"/>
                    <a:gd name="connsiteX77" fmla="*/ 9389 w 10000"/>
                    <a:gd name="connsiteY77" fmla="*/ 8396 h 10000"/>
                    <a:gd name="connsiteX78" fmla="*/ 9389 w 10000"/>
                    <a:gd name="connsiteY78" fmla="*/ 8396 h 10000"/>
                    <a:gd name="connsiteX79" fmla="*/ 9278 w 10000"/>
                    <a:gd name="connsiteY79" fmla="*/ 8426 h 10000"/>
                    <a:gd name="connsiteX80" fmla="*/ 9056 w 10000"/>
                    <a:gd name="connsiteY80" fmla="*/ 8396 h 10000"/>
                    <a:gd name="connsiteX81" fmla="*/ 8889 w 10000"/>
                    <a:gd name="connsiteY81" fmla="*/ 8370 h 10000"/>
                    <a:gd name="connsiteX82" fmla="*/ 8722 w 10000"/>
                    <a:gd name="connsiteY82" fmla="*/ 8326 h 10000"/>
                    <a:gd name="connsiteX83" fmla="*/ 8611 w 10000"/>
                    <a:gd name="connsiteY83" fmla="*/ 8251 h 10000"/>
                    <a:gd name="connsiteX84" fmla="*/ 8444 w 10000"/>
                    <a:gd name="connsiteY84" fmla="*/ 8131 h 10000"/>
                    <a:gd name="connsiteX85" fmla="*/ 8444 w 10000"/>
                    <a:gd name="connsiteY85" fmla="*/ 8131 h 10000"/>
                    <a:gd name="connsiteX86" fmla="*/ 8222 w 10000"/>
                    <a:gd name="connsiteY86" fmla="*/ 7921 h 10000"/>
                    <a:gd name="connsiteX87" fmla="*/ 8111 w 10000"/>
                    <a:gd name="connsiteY87" fmla="*/ 7825 h 10000"/>
                    <a:gd name="connsiteX88" fmla="*/ 7944 w 10000"/>
                    <a:gd name="connsiteY88" fmla="*/ 7753 h 10000"/>
                    <a:gd name="connsiteX89" fmla="*/ 7778 w 10000"/>
                    <a:gd name="connsiteY89" fmla="*/ 7706 h 10000"/>
                    <a:gd name="connsiteX90" fmla="*/ 7556 w 10000"/>
                    <a:gd name="connsiteY90" fmla="*/ 7678 h 10000"/>
                    <a:gd name="connsiteX91" fmla="*/ 7333 w 10000"/>
                    <a:gd name="connsiteY91" fmla="*/ 7656 h 10000"/>
                    <a:gd name="connsiteX92" fmla="*/ 7000 w 10000"/>
                    <a:gd name="connsiteY92" fmla="*/ 7629 h 10000"/>
                    <a:gd name="connsiteX93" fmla="*/ 7000 w 10000"/>
                    <a:gd name="connsiteY93" fmla="*/ 7629 h 10000"/>
                    <a:gd name="connsiteX94" fmla="*/ 6556 w 10000"/>
                    <a:gd name="connsiteY94" fmla="*/ 7656 h 10000"/>
                    <a:gd name="connsiteX95" fmla="*/ 6222 w 10000"/>
                    <a:gd name="connsiteY95" fmla="*/ 7656 h 10000"/>
                    <a:gd name="connsiteX96" fmla="*/ 6111 w 10000"/>
                    <a:gd name="connsiteY96" fmla="*/ 7629 h 10000"/>
                    <a:gd name="connsiteX97" fmla="*/ 6056 w 10000"/>
                    <a:gd name="connsiteY97" fmla="*/ 7606 h 10000"/>
                    <a:gd name="connsiteX98" fmla="*/ 6056 w 10000"/>
                    <a:gd name="connsiteY98" fmla="*/ 7606 h 10000"/>
                    <a:gd name="connsiteX99" fmla="*/ 6056 w 10000"/>
                    <a:gd name="connsiteY99" fmla="*/ 7179 h 10000"/>
                    <a:gd name="connsiteX100" fmla="*/ 6056 w 10000"/>
                    <a:gd name="connsiteY100" fmla="*/ 7179 h 10000"/>
                    <a:gd name="connsiteX101" fmla="*/ 6056 w 10000"/>
                    <a:gd name="connsiteY101" fmla="*/ 7080 h 10000"/>
                    <a:gd name="connsiteX102" fmla="*/ 5944 w 10000"/>
                    <a:gd name="connsiteY102" fmla="*/ 6961 h 10000"/>
                    <a:gd name="connsiteX103" fmla="*/ 5889 w 10000"/>
                    <a:gd name="connsiteY103" fmla="*/ 6934 h 10000"/>
                    <a:gd name="connsiteX104" fmla="*/ 5778 w 10000"/>
                    <a:gd name="connsiteY104" fmla="*/ 6913 h 10000"/>
                    <a:gd name="connsiteX105" fmla="*/ 5667 w 10000"/>
                    <a:gd name="connsiteY105" fmla="*/ 6913 h 10000"/>
                    <a:gd name="connsiteX106" fmla="*/ 5500 w 10000"/>
                    <a:gd name="connsiteY106" fmla="*/ 6934 h 10000"/>
                    <a:gd name="connsiteX107" fmla="*/ 5500 w 10000"/>
                    <a:gd name="connsiteY107" fmla="*/ 6934 h 10000"/>
                    <a:gd name="connsiteX108" fmla="*/ 4889 w 10000"/>
                    <a:gd name="connsiteY108" fmla="*/ 7104 h 10000"/>
                    <a:gd name="connsiteX109" fmla="*/ 4611 w 10000"/>
                    <a:gd name="connsiteY109" fmla="*/ 7154 h 10000"/>
                    <a:gd name="connsiteX110" fmla="*/ 4556 w 10000"/>
                    <a:gd name="connsiteY110" fmla="*/ 7179 h 10000"/>
                    <a:gd name="connsiteX111" fmla="*/ 4500 w 10000"/>
                    <a:gd name="connsiteY111" fmla="*/ 7154 h 10000"/>
                    <a:gd name="connsiteX112" fmla="*/ 4500 w 10000"/>
                    <a:gd name="connsiteY112" fmla="*/ 7154 h 10000"/>
                    <a:gd name="connsiteX113" fmla="*/ 4222 w 10000"/>
                    <a:gd name="connsiteY113" fmla="*/ 6913 h 10000"/>
                    <a:gd name="connsiteX114" fmla="*/ 4222 w 10000"/>
                    <a:gd name="connsiteY114" fmla="*/ 6913 h 10000"/>
                    <a:gd name="connsiteX115" fmla="*/ 4111 w 10000"/>
                    <a:gd name="connsiteY115" fmla="*/ 6794 h 10000"/>
                    <a:gd name="connsiteX116" fmla="*/ 4111 w 10000"/>
                    <a:gd name="connsiteY116" fmla="*/ 6722 h 10000"/>
                    <a:gd name="connsiteX117" fmla="*/ 4111 w 10000"/>
                    <a:gd name="connsiteY117" fmla="*/ 6649 h 10000"/>
                    <a:gd name="connsiteX118" fmla="*/ 4111 w 10000"/>
                    <a:gd name="connsiteY118" fmla="*/ 6649 h 10000"/>
                    <a:gd name="connsiteX119" fmla="*/ 4278 w 10000"/>
                    <a:gd name="connsiteY119" fmla="*/ 6578 h 10000"/>
                    <a:gd name="connsiteX120" fmla="*/ 4389 w 10000"/>
                    <a:gd name="connsiteY120" fmla="*/ 6554 h 10000"/>
                    <a:gd name="connsiteX121" fmla="*/ 4389 w 10000"/>
                    <a:gd name="connsiteY121" fmla="*/ 6554 h 10000"/>
                    <a:gd name="connsiteX122" fmla="*/ 4000 w 10000"/>
                    <a:gd name="connsiteY122" fmla="*/ 6554 h 10000"/>
                    <a:gd name="connsiteX123" fmla="*/ 3722 w 10000"/>
                    <a:gd name="connsiteY123" fmla="*/ 6578 h 10000"/>
                    <a:gd name="connsiteX124" fmla="*/ 3611 w 10000"/>
                    <a:gd name="connsiteY124" fmla="*/ 6604 h 10000"/>
                    <a:gd name="connsiteX125" fmla="*/ 3556 w 10000"/>
                    <a:gd name="connsiteY125" fmla="*/ 6628 h 10000"/>
                    <a:gd name="connsiteX126" fmla="*/ 3556 w 10000"/>
                    <a:gd name="connsiteY126" fmla="*/ 6628 h 10000"/>
                    <a:gd name="connsiteX127" fmla="*/ 3444 w 10000"/>
                    <a:gd name="connsiteY127" fmla="*/ 6722 h 10000"/>
                    <a:gd name="connsiteX128" fmla="*/ 3278 w 10000"/>
                    <a:gd name="connsiteY128" fmla="*/ 6868 h 10000"/>
                    <a:gd name="connsiteX129" fmla="*/ 3000 w 10000"/>
                    <a:gd name="connsiteY129" fmla="*/ 7033 h 10000"/>
                    <a:gd name="connsiteX130" fmla="*/ 2667 w 10000"/>
                    <a:gd name="connsiteY130" fmla="*/ 7154 h 10000"/>
                    <a:gd name="connsiteX131" fmla="*/ 2667 w 10000"/>
                    <a:gd name="connsiteY131" fmla="*/ 7154 h 10000"/>
                    <a:gd name="connsiteX132" fmla="*/ 2333 w 10000"/>
                    <a:gd name="connsiteY132" fmla="*/ 7251 h 10000"/>
                    <a:gd name="connsiteX133" fmla="*/ 1833 w 10000"/>
                    <a:gd name="connsiteY133" fmla="*/ 7347 h 10000"/>
                    <a:gd name="connsiteX134" fmla="*/ 1389 w 10000"/>
                    <a:gd name="connsiteY134" fmla="*/ 7393 h 10000"/>
                    <a:gd name="connsiteX135" fmla="*/ 889 w 10000"/>
                    <a:gd name="connsiteY135" fmla="*/ 7417 h 10000"/>
                    <a:gd name="connsiteX136" fmla="*/ 889 w 10000"/>
                    <a:gd name="connsiteY136" fmla="*/ 7417 h 10000"/>
                    <a:gd name="connsiteX137" fmla="*/ 500 w 10000"/>
                    <a:gd name="connsiteY137" fmla="*/ 7446 h 10000"/>
                    <a:gd name="connsiteX138" fmla="*/ 222 w 10000"/>
                    <a:gd name="connsiteY138" fmla="*/ 7464 h 10000"/>
                    <a:gd name="connsiteX139" fmla="*/ 0 w 10000"/>
                    <a:gd name="connsiteY139" fmla="*/ 7487 h 10000"/>
                    <a:gd name="connsiteX140" fmla="*/ 0 w 10000"/>
                    <a:gd name="connsiteY140" fmla="*/ 7487 h 10000"/>
                    <a:gd name="connsiteX141" fmla="*/ 278 w 10000"/>
                    <a:gd name="connsiteY141" fmla="*/ 7873 h 10000"/>
                    <a:gd name="connsiteX142" fmla="*/ 500 w 10000"/>
                    <a:gd name="connsiteY142" fmla="*/ 8156 h 10000"/>
                    <a:gd name="connsiteX143" fmla="*/ 722 w 10000"/>
                    <a:gd name="connsiteY143" fmla="*/ 8396 h 10000"/>
                    <a:gd name="connsiteX144" fmla="*/ 722 w 10000"/>
                    <a:gd name="connsiteY144" fmla="*/ 8396 h 10000"/>
                    <a:gd name="connsiteX145" fmla="*/ 889 w 10000"/>
                    <a:gd name="connsiteY145" fmla="*/ 8540 h 10000"/>
                    <a:gd name="connsiteX146" fmla="*/ 944 w 10000"/>
                    <a:gd name="connsiteY146" fmla="*/ 8663 h 10000"/>
                    <a:gd name="connsiteX147" fmla="*/ 1111 w 10000"/>
                    <a:gd name="connsiteY147" fmla="*/ 8784 h 10000"/>
                    <a:gd name="connsiteX148" fmla="*/ 1333 w 10000"/>
                    <a:gd name="connsiteY148" fmla="*/ 8968 h 10000"/>
                    <a:gd name="connsiteX149" fmla="*/ 1333 w 10000"/>
                    <a:gd name="connsiteY149" fmla="*/ 8968 h 10000"/>
                    <a:gd name="connsiteX150" fmla="*/ 1444 w 10000"/>
                    <a:gd name="connsiteY150" fmla="*/ 9066 h 10000"/>
                    <a:gd name="connsiteX151" fmla="*/ 1500 w 10000"/>
                    <a:gd name="connsiteY151" fmla="*/ 9138 h 10000"/>
                    <a:gd name="connsiteX152" fmla="*/ 1500 w 10000"/>
                    <a:gd name="connsiteY152" fmla="*/ 9207 h 10000"/>
                    <a:gd name="connsiteX153" fmla="*/ 1556 w 10000"/>
                    <a:gd name="connsiteY153" fmla="*/ 9236 h 10000"/>
                    <a:gd name="connsiteX154" fmla="*/ 1722 w 10000"/>
                    <a:gd name="connsiteY154" fmla="*/ 9257 h 10000"/>
                    <a:gd name="connsiteX155" fmla="*/ 1944 w 10000"/>
                    <a:gd name="connsiteY155" fmla="*/ 9281 h 10000"/>
                    <a:gd name="connsiteX156" fmla="*/ 2944 w 10000"/>
                    <a:gd name="connsiteY156" fmla="*/ 9306 h 10000"/>
                    <a:gd name="connsiteX157" fmla="*/ 2944 w 10000"/>
                    <a:gd name="connsiteY157" fmla="*/ 9306 h 10000"/>
                    <a:gd name="connsiteX158" fmla="*/ 4167 w 10000"/>
                    <a:gd name="connsiteY158" fmla="*/ 9355 h 10000"/>
                    <a:gd name="connsiteX159" fmla="*/ 4889 w 10000"/>
                    <a:gd name="connsiteY159" fmla="*/ 9423 h 10000"/>
                    <a:gd name="connsiteX160" fmla="*/ 5278 w 10000"/>
                    <a:gd name="connsiteY160" fmla="*/ 9500 h 10000"/>
                    <a:gd name="connsiteX161" fmla="*/ 5444 w 10000"/>
                    <a:gd name="connsiteY161" fmla="*/ 9519 h 10000"/>
                    <a:gd name="connsiteX162" fmla="*/ 5444 w 10000"/>
                    <a:gd name="connsiteY162" fmla="*/ 9519 h 10000"/>
                    <a:gd name="connsiteX163" fmla="*/ 5722 w 10000"/>
                    <a:gd name="connsiteY163" fmla="*/ 9572 h 10000"/>
                    <a:gd name="connsiteX164" fmla="*/ 5833 w 10000"/>
                    <a:gd name="connsiteY164" fmla="*/ 9597 h 10000"/>
                    <a:gd name="connsiteX165" fmla="*/ 5833 w 10000"/>
                    <a:gd name="connsiteY165" fmla="*/ 9597 h 10000"/>
                    <a:gd name="connsiteX166" fmla="*/ 5833 w 10000"/>
                    <a:gd name="connsiteY166" fmla="*/ 9572 h 10000"/>
                    <a:gd name="connsiteX167" fmla="*/ 5889 w 10000"/>
                    <a:gd name="connsiteY167" fmla="*/ 9545 h 10000"/>
                    <a:gd name="connsiteX168" fmla="*/ 6000 w 10000"/>
                    <a:gd name="connsiteY168" fmla="*/ 9519 h 10000"/>
                    <a:gd name="connsiteX169" fmla="*/ 6167 w 10000"/>
                    <a:gd name="connsiteY169" fmla="*/ 9500 h 10000"/>
                    <a:gd name="connsiteX170" fmla="*/ 6444 w 10000"/>
                    <a:gd name="connsiteY170" fmla="*/ 9500 h 10000"/>
                    <a:gd name="connsiteX171" fmla="*/ 6833 w 10000"/>
                    <a:gd name="connsiteY171" fmla="*/ 9519 h 10000"/>
                    <a:gd name="connsiteX172" fmla="*/ 7278 w 10000"/>
                    <a:gd name="connsiteY172" fmla="*/ 9597 h 10000"/>
                    <a:gd name="connsiteX173" fmla="*/ 7278 w 10000"/>
                    <a:gd name="connsiteY173" fmla="*/ 9597 h 10000"/>
                    <a:gd name="connsiteX174" fmla="*/ 8722 w 10000"/>
                    <a:gd name="connsiteY174" fmla="*/ 9805 h 10000"/>
                    <a:gd name="connsiteX175" fmla="*/ 10000 w 10000"/>
                    <a:gd name="connsiteY175" fmla="*/ 10000 h 10000"/>
                    <a:gd name="connsiteX0" fmla="*/ 10000 w 10000"/>
                    <a:gd name="connsiteY0" fmla="*/ 8925 h 10555"/>
                    <a:gd name="connsiteX1" fmla="*/ 10000 w 10000"/>
                    <a:gd name="connsiteY1" fmla="*/ 8925 h 10555"/>
                    <a:gd name="connsiteX2" fmla="*/ 9222 w 10000"/>
                    <a:gd name="connsiteY2" fmla="*/ 8951 h 10555"/>
                    <a:gd name="connsiteX3" fmla="*/ 8944 w 10000"/>
                    <a:gd name="connsiteY3" fmla="*/ 8951 h 10555"/>
                    <a:gd name="connsiteX4" fmla="*/ 8833 w 10000"/>
                    <a:gd name="connsiteY4" fmla="*/ 8925 h 10555"/>
                    <a:gd name="connsiteX5" fmla="*/ 8778 w 10000"/>
                    <a:gd name="connsiteY5" fmla="*/ 8904 h 10555"/>
                    <a:gd name="connsiteX6" fmla="*/ 8778 w 10000"/>
                    <a:gd name="connsiteY6" fmla="*/ 8904 h 10555"/>
                    <a:gd name="connsiteX7" fmla="*/ 8444 w 10000"/>
                    <a:gd name="connsiteY7" fmla="*/ 8616 h 10555"/>
                    <a:gd name="connsiteX8" fmla="*/ 8167 w 10000"/>
                    <a:gd name="connsiteY8" fmla="*/ 8352 h 10555"/>
                    <a:gd name="connsiteX9" fmla="*/ 8167 w 10000"/>
                    <a:gd name="connsiteY9" fmla="*/ 8352 h 10555"/>
                    <a:gd name="connsiteX10" fmla="*/ 8056 w 10000"/>
                    <a:gd name="connsiteY10" fmla="*/ 8308 h 10555"/>
                    <a:gd name="connsiteX11" fmla="*/ 7889 w 10000"/>
                    <a:gd name="connsiteY11" fmla="*/ 8261 h 10555"/>
                    <a:gd name="connsiteX12" fmla="*/ 7444 w 10000"/>
                    <a:gd name="connsiteY12" fmla="*/ 8233 h 10555"/>
                    <a:gd name="connsiteX13" fmla="*/ 6889 w 10000"/>
                    <a:gd name="connsiteY13" fmla="*/ 8211 h 10555"/>
                    <a:gd name="connsiteX14" fmla="*/ 6389 w 10000"/>
                    <a:gd name="connsiteY14" fmla="*/ 8211 h 10555"/>
                    <a:gd name="connsiteX15" fmla="*/ 6389 w 10000"/>
                    <a:gd name="connsiteY15" fmla="*/ 8211 h 10555"/>
                    <a:gd name="connsiteX16" fmla="*/ 6167 w 10000"/>
                    <a:gd name="connsiteY16" fmla="*/ 8184 h 10555"/>
                    <a:gd name="connsiteX17" fmla="*/ 6056 w 10000"/>
                    <a:gd name="connsiteY17" fmla="*/ 8141 h 10555"/>
                    <a:gd name="connsiteX18" fmla="*/ 6000 w 10000"/>
                    <a:gd name="connsiteY18" fmla="*/ 8090 h 10555"/>
                    <a:gd name="connsiteX19" fmla="*/ 6000 w 10000"/>
                    <a:gd name="connsiteY19" fmla="*/ 8001 h 10555"/>
                    <a:gd name="connsiteX20" fmla="*/ 6056 w 10000"/>
                    <a:gd name="connsiteY20" fmla="*/ 7806 h 10555"/>
                    <a:gd name="connsiteX21" fmla="*/ 6111 w 10000"/>
                    <a:gd name="connsiteY21" fmla="*/ 7709 h 10555"/>
                    <a:gd name="connsiteX22" fmla="*/ 6056 w 10000"/>
                    <a:gd name="connsiteY22" fmla="*/ 7588 h 10555"/>
                    <a:gd name="connsiteX23" fmla="*/ 6056 w 10000"/>
                    <a:gd name="connsiteY23" fmla="*/ 7588 h 10555"/>
                    <a:gd name="connsiteX24" fmla="*/ 6000 w 10000"/>
                    <a:gd name="connsiteY24" fmla="*/ 7516 h 10555"/>
                    <a:gd name="connsiteX25" fmla="*/ 5944 w 10000"/>
                    <a:gd name="connsiteY25" fmla="*/ 7468 h 10555"/>
                    <a:gd name="connsiteX26" fmla="*/ 5833 w 10000"/>
                    <a:gd name="connsiteY26" fmla="*/ 7468 h 10555"/>
                    <a:gd name="connsiteX27" fmla="*/ 5667 w 10000"/>
                    <a:gd name="connsiteY27" fmla="*/ 7489 h 10555"/>
                    <a:gd name="connsiteX28" fmla="*/ 5333 w 10000"/>
                    <a:gd name="connsiteY28" fmla="*/ 7564 h 10555"/>
                    <a:gd name="connsiteX29" fmla="*/ 4889 w 10000"/>
                    <a:gd name="connsiteY29" fmla="*/ 7684 h 10555"/>
                    <a:gd name="connsiteX30" fmla="*/ 4889 w 10000"/>
                    <a:gd name="connsiteY30" fmla="*/ 7684 h 10555"/>
                    <a:gd name="connsiteX31" fmla="*/ 4611 w 10000"/>
                    <a:gd name="connsiteY31" fmla="*/ 7709 h 10555"/>
                    <a:gd name="connsiteX32" fmla="*/ 4500 w 10000"/>
                    <a:gd name="connsiteY32" fmla="*/ 7709 h 10555"/>
                    <a:gd name="connsiteX33" fmla="*/ 4444 w 10000"/>
                    <a:gd name="connsiteY33" fmla="*/ 7684 h 10555"/>
                    <a:gd name="connsiteX34" fmla="*/ 4389 w 10000"/>
                    <a:gd name="connsiteY34" fmla="*/ 7588 h 10555"/>
                    <a:gd name="connsiteX35" fmla="*/ 4222 w 10000"/>
                    <a:gd name="connsiteY35" fmla="*/ 7468 h 10555"/>
                    <a:gd name="connsiteX36" fmla="*/ 4222 w 10000"/>
                    <a:gd name="connsiteY36" fmla="*/ 7468 h 10555"/>
                    <a:gd name="connsiteX37" fmla="*/ 4111 w 10000"/>
                    <a:gd name="connsiteY37" fmla="*/ 7395 h 10555"/>
                    <a:gd name="connsiteX38" fmla="*/ 4111 w 10000"/>
                    <a:gd name="connsiteY38" fmla="*/ 7325 h 10555"/>
                    <a:gd name="connsiteX39" fmla="*/ 4111 w 10000"/>
                    <a:gd name="connsiteY39" fmla="*/ 7277 h 10555"/>
                    <a:gd name="connsiteX40" fmla="*/ 4167 w 10000"/>
                    <a:gd name="connsiteY40" fmla="*/ 7229 h 10555"/>
                    <a:gd name="connsiteX41" fmla="*/ 4278 w 10000"/>
                    <a:gd name="connsiteY41" fmla="*/ 7133 h 10555"/>
                    <a:gd name="connsiteX42" fmla="*/ 4389 w 10000"/>
                    <a:gd name="connsiteY42" fmla="*/ 7109 h 10555"/>
                    <a:gd name="connsiteX43" fmla="*/ 4389 w 10000"/>
                    <a:gd name="connsiteY43" fmla="*/ 7109 h 10555"/>
                    <a:gd name="connsiteX44" fmla="*/ 4389 w 10000"/>
                    <a:gd name="connsiteY44" fmla="*/ 7084 h 10555"/>
                    <a:gd name="connsiteX45" fmla="*/ 4444 w 10000"/>
                    <a:gd name="connsiteY45" fmla="*/ 7065 h 10555"/>
                    <a:gd name="connsiteX46" fmla="*/ 4667 w 10000"/>
                    <a:gd name="connsiteY46" fmla="*/ 7038 h 10555"/>
                    <a:gd name="connsiteX47" fmla="*/ 5333 w 10000"/>
                    <a:gd name="connsiteY47" fmla="*/ 6993 h 10555"/>
                    <a:gd name="connsiteX48" fmla="*/ 6500 w 10000"/>
                    <a:gd name="connsiteY48" fmla="*/ 6917 h 10555"/>
                    <a:gd name="connsiteX49" fmla="*/ 6500 w 10000"/>
                    <a:gd name="connsiteY49" fmla="*/ 6917 h 10555"/>
                    <a:gd name="connsiteX50" fmla="*/ 7167 w 10000"/>
                    <a:gd name="connsiteY50" fmla="*/ 6849 h 10555"/>
                    <a:gd name="connsiteX51" fmla="*/ 8389 w 10000"/>
                    <a:gd name="connsiteY51" fmla="*/ 6705 h 10555"/>
                    <a:gd name="connsiteX52" fmla="*/ 8389 w 10000"/>
                    <a:gd name="connsiteY52" fmla="*/ 6705 h 10555"/>
                    <a:gd name="connsiteX53" fmla="*/ 8667 w 10000"/>
                    <a:gd name="connsiteY53" fmla="*/ 6654 h 10555"/>
                    <a:gd name="connsiteX54" fmla="*/ 8778 w 10000"/>
                    <a:gd name="connsiteY54" fmla="*/ 6580 h 10555"/>
                    <a:gd name="connsiteX55" fmla="*/ 8889 w 10000"/>
                    <a:gd name="connsiteY55" fmla="*/ 6535 h 10555"/>
                    <a:gd name="connsiteX56" fmla="*/ 8833 w 10000"/>
                    <a:gd name="connsiteY56" fmla="*/ 6488 h 10555"/>
                    <a:gd name="connsiteX57" fmla="*/ 8833 w 10000"/>
                    <a:gd name="connsiteY57" fmla="*/ 6443 h 10555"/>
                    <a:gd name="connsiteX58" fmla="*/ 8722 w 10000"/>
                    <a:gd name="connsiteY58" fmla="*/ 6391 h 10555"/>
                    <a:gd name="connsiteX59" fmla="*/ 8556 w 10000"/>
                    <a:gd name="connsiteY59" fmla="*/ 6319 h 10555"/>
                    <a:gd name="connsiteX60" fmla="*/ 8556 w 10000"/>
                    <a:gd name="connsiteY60" fmla="*/ 6319 h 10555"/>
                    <a:gd name="connsiteX61" fmla="*/ 6556 w 10000"/>
                    <a:gd name="connsiteY61" fmla="*/ 5893 h 10555"/>
                    <a:gd name="connsiteX62" fmla="*/ 6556 w 10000"/>
                    <a:gd name="connsiteY62" fmla="*/ 5893 h 10555"/>
                    <a:gd name="connsiteX63" fmla="*/ 6333 w 10000"/>
                    <a:gd name="connsiteY63" fmla="*/ 5819 h 10555"/>
                    <a:gd name="connsiteX64" fmla="*/ 6167 w 10000"/>
                    <a:gd name="connsiteY64" fmla="*/ 5747 h 10555"/>
                    <a:gd name="connsiteX65" fmla="*/ 6056 w 10000"/>
                    <a:gd name="connsiteY65" fmla="*/ 5673 h 10555"/>
                    <a:gd name="connsiteX66" fmla="*/ 6056 w 10000"/>
                    <a:gd name="connsiteY66" fmla="*/ 5673 h 10555"/>
                    <a:gd name="connsiteX67" fmla="*/ 8056 w 10000"/>
                    <a:gd name="connsiteY67" fmla="*/ 5649 h 10555"/>
                    <a:gd name="connsiteX68" fmla="*/ 10000 w 10000"/>
                    <a:gd name="connsiteY68" fmla="*/ 5893 h 10555"/>
                    <a:gd name="connsiteX69" fmla="*/ 10000 w 10000"/>
                    <a:gd name="connsiteY69" fmla="*/ 3713 h 10555"/>
                    <a:gd name="connsiteX70" fmla="*/ 2889 w 10000"/>
                    <a:gd name="connsiteY70" fmla="*/ 1177 h 10555"/>
                    <a:gd name="connsiteX71" fmla="*/ 1414 w 10000"/>
                    <a:gd name="connsiteY71" fmla="*/ 837 h 10555"/>
                    <a:gd name="connsiteX72" fmla="*/ 1444 w 10000"/>
                    <a:gd name="connsiteY72" fmla="*/ 555 h 10555"/>
                    <a:gd name="connsiteX73" fmla="*/ 10000 w 10000"/>
                    <a:gd name="connsiteY73" fmla="*/ 8951 h 10555"/>
                    <a:gd name="connsiteX74" fmla="*/ 10000 w 10000"/>
                    <a:gd name="connsiteY74" fmla="*/ 8951 h 10555"/>
                    <a:gd name="connsiteX75" fmla="*/ 9722 w 10000"/>
                    <a:gd name="connsiteY75" fmla="*/ 8925 h 10555"/>
                    <a:gd name="connsiteX76" fmla="*/ 9389 w 10000"/>
                    <a:gd name="connsiteY76" fmla="*/ 8951 h 10555"/>
                    <a:gd name="connsiteX77" fmla="*/ 9389 w 10000"/>
                    <a:gd name="connsiteY77" fmla="*/ 8951 h 10555"/>
                    <a:gd name="connsiteX78" fmla="*/ 9278 w 10000"/>
                    <a:gd name="connsiteY78" fmla="*/ 8981 h 10555"/>
                    <a:gd name="connsiteX79" fmla="*/ 9056 w 10000"/>
                    <a:gd name="connsiteY79" fmla="*/ 8951 h 10555"/>
                    <a:gd name="connsiteX80" fmla="*/ 8889 w 10000"/>
                    <a:gd name="connsiteY80" fmla="*/ 8925 h 10555"/>
                    <a:gd name="connsiteX81" fmla="*/ 8722 w 10000"/>
                    <a:gd name="connsiteY81" fmla="*/ 8881 h 10555"/>
                    <a:gd name="connsiteX82" fmla="*/ 8611 w 10000"/>
                    <a:gd name="connsiteY82" fmla="*/ 8806 h 10555"/>
                    <a:gd name="connsiteX83" fmla="*/ 8444 w 10000"/>
                    <a:gd name="connsiteY83" fmla="*/ 8686 h 10555"/>
                    <a:gd name="connsiteX84" fmla="*/ 8444 w 10000"/>
                    <a:gd name="connsiteY84" fmla="*/ 8686 h 10555"/>
                    <a:gd name="connsiteX85" fmla="*/ 8222 w 10000"/>
                    <a:gd name="connsiteY85" fmla="*/ 8476 h 10555"/>
                    <a:gd name="connsiteX86" fmla="*/ 8111 w 10000"/>
                    <a:gd name="connsiteY86" fmla="*/ 8380 h 10555"/>
                    <a:gd name="connsiteX87" fmla="*/ 7944 w 10000"/>
                    <a:gd name="connsiteY87" fmla="*/ 8308 h 10555"/>
                    <a:gd name="connsiteX88" fmla="*/ 7778 w 10000"/>
                    <a:gd name="connsiteY88" fmla="*/ 8261 h 10555"/>
                    <a:gd name="connsiteX89" fmla="*/ 7556 w 10000"/>
                    <a:gd name="connsiteY89" fmla="*/ 8233 h 10555"/>
                    <a:gd name="connsiteX90" fmla="*/ 7333 w 10000"/>
                    <a:gd name="connsiteY90" fmla="*/ 8211 h 10555"/>
                    <a:gd name="connsiteX91" fmla="*/ 7000 w 10000"/>
                    <a:gd name="connsiteY91" fmla="*/ 8184 h 10555"/>
                    <a:gd name="connsiteX92" fmla="*/ 7000 w 10000"/>
                    <a:gd name="connsiteY92" fmla="*/ 8184 h 10555"/>
                    <a:gd name="connsiteX93" fmla="*/ 6556 w 10000"/>
                    <a:gd name="connsiteY93" fmla="*/ 8211 h 10555"/>
                    <a:gd name="connsiteX94" fmla="*/ 6222 w 10000"/>
                    <a:gd name="connsiteY94" fmla="*/ 8211 h 10555"/>
                    <a:gd name="connsiteX95" fmla="*/ 6111 w 10000"/>
                    <a:gd name="connsiteY95" fmla="*/ 8184 h 10555"/>
                    <a:gd name="connsiteX96" fmla="*/ 6056 w 10000"/>
                    <a:gd name="connsiteY96" fmla="*/ 8161 h 10555"/>
                    <a:gd name="connsiteX97" fmla="*/ 6056 w 10000"/>
                    <a:gd name="connsiteY97" fmla="*/ 8161 h 10555"/>
                    <a:gd name="connsiteX98" fmla="*/ 6056 w 10000"/>
                    <a:gd name="connsiteY98" fmla="*/ 7734 h 10555"/>
                    <a:gd name="connsiteX99" fmla="*/ 6056 w 10000"/>
                    <a:gd name="connsiteY99" fmla="*/ 7734 h 10555"/>
                    <a:gd name="connsiteX100" fmla="*/ 6056 w 10000"/>
                    <a:gd name="connsiteY100" fmla="*/ 7635 h 10555"/>
                    <a:gd name="connsiteX101" fmla="*/ 5944 w 10000"/>
                    <a:gd name="connsiteY101" fmla="*/ 7516 h 10555"/>
                    <a:gd name="connsiteX102" fmla="*/ 5889 w 10000"/>
                    <a:gd name="connsiteY102" fmla="*/ 7489 h 10555"/>
                    <a:gd name="connsiteX103" fmla="*/ 5778 w 10000"/>
                    <a:gd name="connsiteY103" fmla="*/ 7468 h 10555"/>
                    <a:gd name="connsiteX104" fmla="*/ 5667 w 10000"/>
                    <a:gd name="connsiteY104" fmla="*/ 7468 h 10555"/>
                    <a:gd name="connsiteX105" fmla="*/ 5500 w 10000"/>
                    <a:gd name="connsiteY105" fmla="*/ 7489 h 10555"/>
                    <a:gd name="connsiteX106" fmla="*/ 5500 w 10000"/>
                    <a:gd name="connsiteY106" fmla="*/ 7489 h 10555"/>
                    <a:gd name="connsiteX107" fmla="*/ 4889 w 10000"/>
                    <a:gd name="connsiteY107" fmla="*/ 7659 h 10555"/>
                    <a:gd name="connsiteX108" fmla="*/ 4611 w 10000"/>
                    <a:gd name="connsiteY108" fmla="*/ 7709 h 10555"/>
                    <a:gd name="connsiteX109" fmla="*/ 4556 w 10000"/>
                    <a:gd name="connsiteY109" fmla="*/ 7734 h 10555"/>
                    <a:gd name="connsiteX110" fmla="*/ 4500 w 10000"/>
                    <a:gd name="connsiteY110" fmla="*/ 7709 h 10555"/>
                    <a:gd name="connsiteX111" fmla="*/ 4500 w 10000"/>
                    <a:gd name="connsiteY111" fmla="*/ 7709 h 10555"/>
                    <a:gd name="connsiteX112" fmla="*/ 4222 w 10000"/>
                    <a:gd name="connsiteY112" fmla="*/ 7468 h 10555"/>
                    <a:gd name="connsiteX113" fmla="*/ 4222 w 10000"/>
                    <a:gd name="connsiteY113" fmla="*/ 7468 h 10555"/>
                    <a:gd name="connsiteX114" fmla="*/ 4111 w 10000"/>
                    <a:gd name="connsiteY114" fmla="*/ 7349 h 10555"/>
                    <a:gd name="connsiteX115" fmla="*/ 4111 w 10000"/>
                    <a:gd name="connsiteY115" fmla="*/ 7277 h 10555"/>
                    <a:gd name="connsiteX116" fmla="*/ 4111 w 10000"/>
                    <a:gd name="connsiteY116" fmla="*/ 7204 h 10555"/>
                    <a:gd name="connsiteX117" fmla="*/ 4111 w 10000"/>
                    <a:gd name="connsiteY117" fmla="*/ 7204 h 10555"/>
                    <a:gd name="connsiteX118" fmla="*/ 4278 w 10000"/>
                    <a:gd name="connsiteY118" fmla="*/ 7133 h 10555"/>
                    <a:gd name="connsiteX119" fmla="*/ 4389 w 10000"/>
                    <a:gd name="connsiteY119" fmla="*/ 7109 h 10555"/>
                    <a:gd name="connsiteX120" fmla="*/ 4389 w 10000"/>
                    <a:gd name="connsiteY120" fmla="*/ 7109 h 10555"/>
                    <a:gd name="connsiteX121" fmla="*/ 4000 w 10000"/>
                    <a:gd name="connsiteY121" fmla="*/ 7109 h 10555"/>
                    <a:gd name="connsiteX122" fmla="*/ 3722 w 10000"/>
                    <a:gd name="connsiteY122" fmla="*/ 7133 h 10555"/>
                    <a:gd name="connsiteX123" fmla="*/ 3611 w 10000"/>
                    <a:gd name="connsiteY123" fmla="*/ 7159 h 10555"/>
                    <a:gd name="connsiteX124" fmla="*/ 3556 w 10000"/>
                    <a:gd name="connsiteY124" fmla="*/ 7183 h 10555"/>
                    <a:gd name="connsiteX125" fmla="*/ 3556 w 10000"/>
                    <a:gd name="connsiteY125" fmla="*/ 7183 h 10555"/>
                    <a:gd name="connsiteX126" fmla="*/ 3444 w 10000"/>
                    <a:gd name="connsiteY126" fmla="*/ 7277 h 10555"/>
                    <a:gd name="connsiteX127" fmla="*/ 3278 w 10000"/>
                    <a:gd name="connsiteY127" fmla="*/ 7423 h 10555"/>
                    <a:gd name="connsiteX128" fmla="*/ 3000 w 10000"/>
                    <a:gd name="connsiteY128" fmla="*/ 7588 h 10555"/>
                    <a:gd name="connsiteX129" fmla="*/ 2667 w 10000"/>
                    <a:gd name="connsiteY129" fmla="*/ 7709 h 10555"/>
                    <a:gd name="connsiteX130" fmla="*/ 2667 w 10000"/>
                    <a:gd name="connsiteY130" fmla="*/ 7709 h 10555"/>
                    <a:gd name="connsiteX131" fmla="*/ 2333 w 10000"/>
                    <a:gd name="connsiteY131" fmla="*/ 7806 h 10555"/>
                    <a:gd name="connsiteX132" fmla="*/ 1833 w 10000"/>
                    <a:gd name="connsiteY132" fmla="*/ 7902 h 10555"/>
                    <a:gd name="connsiteX133" fmla="*/ 1389 w 10000"/>
                    <a:gd name="connsiteY133" fmla="*/ 7948 h 10555"/>
                    <a:gd name="connsiteX134" fmla="*/ 889 w 10000"/>
                    <a:gd name="connsiteY134" fmla="*/ 7972 h 10555"/>
                    <a:gd name="connsiteX135" fmla="*/ 889 w 10000"/>
                    <a:gd name="connsiteY135" fmla="*/ 7972 h 10555"/>
                    <a:gd name="connsiteX136" fmla="*/ 500 w 10000"/>
                    <a:gd name="connsiteY136" fmla="*/ 8001 h 10555"/>
                    <a:gd name="connsiteX137" fmla="*/ 222 w 10000"/>
                    <a:gd name="connsiteY137" fmla="*/ 8019 h 10555"/>
                    <a:gd name="connsiteX138" fmla="*/ 0 w 10000"/>
                    <a:gd name="connsiteY138" fmla="*/ 8042 h 10555"/>
                    <a:gd name="connsiteX139" fmla="*/ 0 w 10000"/>
                    <a:gd name="connsiteY139" fmla="*/ 8042 h 10555"/>
                    <a:gd name="connsiteX140" fmla="*/ 278 w 10000"/>
                    <a:gd name="connsiteY140" fmla="*/ 8428 h 10555"/>
                    <a:gd name="connsiteX141" fmla="*/ 500 w 10000"/>
                    <a:gd name="connsiteY141" fmla="*/ 8711 h 10555"/>
                    <a:gd name="connsiteX142" fmla="*/ 722 w 10000"/>
                    <a:gd name="connsiteY142" fmla="*/ 8951 h 10555"/>
                    <a:gd name="connsiteX143" fmla="*/ 722 w 10000"/>
                    <a:gd name="connsiteY143" fmla="*/ 8951 h 10555"/>
                    <a:gd name="connsiteX144" fmla="*/ 889 w 10000"/>
                    <a:gd name="connsiteY144" fmla="*/ 9095 h 10555"/>
                    <a:gd name="connsiteX145" fmla="*/ 944 w 10000"/>
                    <a:gd name="connsiteY145" fmla="*/ 9218 h 10555"/>
                    <a:gd name="connsiteX146" fmla="*/ 1111 w 10000"/>
                    <a:gd name="connsiteY146" fmla="*/ 9339 h 10555"/>
                    <a:gd name="connsiteX147" fmla="*/ 1333 w 10000"/>
                    <a:gd name="connsiteY147" fmla="*/ 9523 h 10555"/>
                    <a:gd name="connsiteX148" fmla="*/ 1333 w 10000"/>
                    <a:gd name="connsiteY148" fmla="*/ 9523 h 10555"/>
                    <a:gd name="connsiteX149" fmla="*/ 1444 w 10000"/>
                    <a:gd name="connsiteY149" fmla="*/ 9621 h 10555"/>
                    <a:gd name="connsiteX150" fmla="*/ 1500 w 10000"/>
                    <a:gd name="connsiteY150" fmla="*/ 9693 h 10555"/>
                    <a:gd name="connsiteX151" fmla="*/ 1500 w 10000"/>
                    <a:gd name="connsiteY151" fmla="*/ 9762 h 10555"/>
                    <a:gd name="connsiteX152" fmla="*/ 1556 w 10000"/>
                    <a:gd name="connsiteY152" fmla="*/ 9791 h 10555"/>
                    <a:gd name="connsiteX153" fmla="*/ 1722 w 10000"/>
                    <a:gd name="connsiteY153" fmla="*/ 9812 h 10555"/>
                    <a:gd name="connsiteX154" fmla="*/ 1944 w 10000"/>
                    <a:gd name="connsiteY154" fmla="*/ 9836 h 10555"/>
                    <a:gd name="connsiteX155" fmla="*/ 2944 w 10000"/>
                    <a:gd name="connsiteY155" fmla="*/ 9861 h 10555"/>
                    <a:gd name="connsiteX156" fmla="*/ 2944 w 10000"/>
                    <a:gd name="connsiteY156" fmla="*/ 9861 h 10555"/>
                    <a:gd name="connsiteX157" fmla="*/ 4167 w 10000"/>
                    <a:gd name="connsiteY157" fmla="*/ 9910 h 10555"/>
                    <a:gd name="connsiteX158" fmla="*/ 4889 w 10000"/>
                    <a:gd name="connsiteY158" fmla="*/ 9978 h 10555"/>
                    <a:gd name="connsiteX159" fmla="*/ 5278 w 10000"/>
                    <a:gd name="connsiteY159" fmla="*/ 10055 h 10555"/>
                    <a:gd name="connsiteX160" fmla="*/ 5444 w 10000"/>
                    <a:gd name="connsiteY160" fmla="*/ 10074 h 10555"/>
                    <a:gd name="connsiteX161" fmla="*/ 5444 w 10000"/>
                    <a:gd name="connsiteY161" fmla="*/ 10074 h 10555"/>
                    <a:gd name="connsiteX162" fmla="*/ 5722 w 10000"/>
                    <a:gd name="connsiteY162" fmla="*/ 10127 h 10555"/>
                    <a:gd name="connsiteX163" fmla="*/ 5833 w 10000"/>
                    <a:gd name="connsiteY163" fmla="*/ 10152 h 10555"/>
                    <a:gd name="connsiteX164" fmla="*/ 5833 w 10000"/>
                    <a:gd name="connsiteY164" fmla="*/ 10152 h 10555"/>
                    <a:gd name="connsiteX165" fmla="*/ 5833 w 10000"/>
                    <a:gd name="connsiteY165" fmla="*/ 10127 h 10555"/>
                    <a:gd name="connsiteX166" fmla="*/ 5889 w 10000"/>
                    <a:gd name="connsiteY166" fmla="*/ 10100 h 10555"/>
                    <a:gd name="connsiteX167" fmla="*/ 6000 w 10000"/>
                    <a:gd name="connsiteY167" fmla="*/ 10074 h 10555"/>
                    <a:gd name="connsiteX168" fmla="*/ 6167 w 10000"/>
                    <a:gd name="connsiteY168" fmla="*/ 10055 h 10555"/>
                    <a:gd name="connsiteX169" fmla="*/ 6444 w 10000"/>
                    <a:gd name="connsiteY169" fmla="*/ 10055 h 10555"/>
                    <a:gd name="connsiteX170" fmla="*/ 6833 w 10000"/>
                    <a:gd name="connsiteY170" fmla="*/ 10074 h 10555"/>
                    <a:gd name="connsiteX171" fmla="*/ 7278 w 10000"/>
                    <a:gd name="connsiteY171" fmla="*/ 10152 h 10555"/>
                    <a:gd name="connsiteX172" fmla="*/ 7278 w 10000"/>
                    <a:gd name="connsiteY172" fmla="*/ 10152 h 10555"/>
                    <a:gd name="connsiteX173" fmla="*/ 8722 w 10000"/>
                    <a:gd name="connsiteY173" fmla="*/ 10360 h 10555"/>
                    <a:gd name="connsiteX174" fmla="*/ 10000 w 10000"/>
                    <a:gd name="connsiteY174" fmla="*/ 10555 h 10555"/>
                    <a:gd name="connsiteX0" fmla="*/ 10000 w 10000"/>
                    <a:gd name="connsiteY0" fmla="*/ 8370 h 10000"/>
                    <a:gd name="connsiteX1" fmla="*/ 10000 w 10000"/>
                    <a:gd name="connsiteY1" fmla="*/ 8370 h 10000"/>
                    <a:gd name="connsiteX2" fmla="*/ 9222 w 10000"/>
                    <a:gd name="connsiteY2" fmla="*/ 8396 h 10000"/>
                    <a:gd name="connsiteX3" fmla="*/ 8944 w 10000"/>
                    <a:gd name="connsiteY3" fmla="*/ 8396 h 10000"/>
                    <a:gd name="connsiteX4" fmla="*/ 8833 w 10000"/>
                    <a:gd name="connsiteY4" fmla="*/ 8370 h 10000"/>
                    <a:gd name="connsiteX5" fmla="*/ 8778 w 10000"/>
                    <a:gd name="connsiteY5" fmla="*/ 8349 h 10000"/>
                    <a:gd name="connsiteX6" fmla="*/ 8778 w 10000"/>
                    <a:gd name="connsiteY6" fmla="*/ 8349 h 10000"/>
                    <a:gd name="connsiteX7" fmla="*/ 8444 w 10000"/>
                    <a:gd name="connsiteY7" fmla="*/ 8061 h 10000"/>
                    <a:gd name="connsiteX8" fmla="*/ 8167 w 10000"/>
                    <a:gd name="connsiteY8" fmla="*/ 7797 h 10000"/>
                    <a:gd name="connsiteX9" fmla="*/ 8167 w 10000"/>
                    <a:gd name="connsiteY9" fmla="*/ 7797 h 10000"/>
                    <a:gd name="connsiteX10" fmla="*/ 8056 w 10000"/>
                    <a:gd name="connsiteY10" fmla="*/ 7753 h 10000"/>
                    <a:gd name="connsiteX11" fmla="*/ 7889 w 10000"/>
                    <a:gd name="connsiteY11" fmla="*/ 7706 h 10000"/>
                    <a:gd name="connsiteX12" fmla="*/ 7444 w 10000"/>
                    <a:gd name="connsiteY12" fmla="*/ 7678 h 10000"/>
                    <a:gd name="connsiteX13" fmla="*/ 6889 w 10000"/>
                    <a:gd name="connsiteY13" fmla="*/ 7656 h 10000"/>
                    <a:gd name="connsiteX14" fmla="*/ 6389 w 10000"/>
                    <a:gd name="connsiteY14" fmla="*/ 7656 h 10000"/>
                    <a:gd name="connsiteX15" fmla="*/ 6389 w 10000"/>
                    <a:gd name="connsiteY15" fmla="*/ 7656 h 10000"/>
                    <a:gd name="connsiteX16" fmla="*/ 6167 w 10000"/>
                    <a:gd name="connsiteY16" fmla="*/ 7629 h 10000"/>
                    <a:gd name="connsiteX17" fmla="*/ 6056 w 10000"/>
                    <a:gd name="connsiteY17" fmla="*/ 7586 h 10000"/>
                    <a:gd name="connsiteX18" fmla="*/ 6000 w 10000"/>
                    <a:gd name="connsiteY18" fmla="*/ 7535 h 10000"/>
                    <a:gd name="connsiteX19" fmla="*/ 6000 w 10000"/>
                    <a:gd name="connsiteY19" fmla="*/ 7446 h 10000"/>
                    <a:gd name="connsiteX20" fmla="*/ 6056 w 10000"/>
                    <a:gd name="connsiteY20" fmla="*/ 7251 h 10000"/>
                    <a:gd name="connsiteX21" fmla="*/ 6111 w 10000"/>
                    <a:gd name="connsiteY21" fmla="*/ 7154 h 10000"/>
                    <a:gd name="connsiteX22" fmla="*/ 6056 w 10000"/>
                    <a:gd name="connsiteY22" fmla="*/ 7033 h 10000"/>
                    <a:gd name="connsiteX23" fmla="*/ 6056 w 10000"/>
                    <a:gd name="connsiteY23" fmla="*/ 7033 h 10000"/>
                    <a:gd name="connsiteX24" fmla="*/ 6000 w 10000"/>
                    <a:gd name="connsiteY24" fmla="*/ 6961 h 10000"/>
                    <a:gd name="connsiteX25" fmla="*/ 5944 w 10000"/>
                    <a:gd name="connsiteY25" fmla="*/ 6913 h 10000"/>
                    <a:gd name="connsiteX26" fmla="*/ 5833 w 10000"/>
                    <a:gd name="connsiteY26" fmla="*/ 6913 h 10000"/>
                    <a:gd name="connsiteX27" fmla="*/ 5667 w 10000"/>
                    <a:gd name="connsiteY27" fmla="*/ 6934 h 10000"/>
                    <a:gd name="connsiteX28" fmla="*/ 5333 w 10000"/>
                    <a:gd name="connsiteY28" fmla="*/ 7009 h 10000"/>
                    <a:gd name="connsiteX29" fmla="*/ 4889 w 10000"/>
                    <a:gd name="connsiteY29" fmla="*/ 7129 h 10000"/>
                    <a:gd name="connsiteX30" fmla="*/ 4889 w 10000"/>
                    <a:gd name="connsiteY30" fmla="*/ 7129 h 10000"/>
                    <a:gd name="connsiteX31" fmla="*/ 4611 w 10000"/>
                    <a:gd name="connsiteY31" fmla="*/ 7154 h 10000"/>
                    <a:gd name="connsiteX32" fmla="*/ 4500 w 10000"/>
                    <a:gd name="connsiteY32" fmla="*/ 7154 h 10000"/>
                    <a:gd name="connsiteX33" fmla="*/ 4444 w 10000"/>
                    <a:gd name="connsiteY33" fmla="*/ 7129 h 10000"/>
                    <a:gd name="connsiteX34" fmla="*/ 4389 w 10000"/>
                    <a:gd name="connsiteY34" fmla="*/ 7033 h 10000"/>
                    <a:gd name="connsiteX35" fmla="*/ 4222 w 10000"/>
                    <a:gd name="connsiteY35" fmla="*/ 6913 h 10000"/>
                    <a:gd name="connsiteX36" fmla="*/ 4222 w 10000"/>
                    <a:gd name="connsiteY36" fmla="*/ 6913 h 10000"/>
                    <a:gd name="connsiteX37" fmla="*/ 4111 w 10000"/>
                    <a:gd name="connsiteY37" fmla="*/ 6840 h 10000"/>
                    <a:gd name="connsiteX38" fmla="*/ 4111 w 10000"/>
                    <a:gd name="connsiteY38" fmla="*/ 6770 h 10000"/>
                    <a:gd name="connsiteX39" fmla="*/ 4111 w 10000"/>
                    <a:gd name="connsiteY39" fmla="*/ 6722 h 10000"/>
                    <a:gd name="connsiteX40" fmla="*/ 4167 w 10000"/>
                    <a:gd name="connsiteY40" fmla="*/ 6674 h 10000"/>
                    <a:gd name="connsiteX41" fmla="*/ 4278 w 10000"/>
                    <a:gd name="connsiteY41" fmla="*/ 6578 h 10000"/>
                    <a:gd name="connsiteX42" fmla="*/ 4389 w 10000"/>
                    <a:gd name="connsiteY42" fmla="*/ 6554 h 10000"/>
                    <a:gd name="connsiteX43" fmla="*/ 4389 w 10000"/>
                    <a:gd name="connsiteY43" fmla="*/ 6554 h 10000"/>
                    <a:gd name="connsiteX44" fmla="*/ 4389 w 10000"/>
                    <a:gd name="connsiteY44" fmla="*/ 6529 h 10000"/>
                    <a:gd name="connsiteX45" fmla="*/ 4444 w 10000"/>
                    <a:gd name="connsiteY45" fmla="*/ 6510 h 10000"/>
                    <a:gd name="connsiteX46" fmla="*/ 4667 w 10000"/>
                    <a:gd name="connsiteY46" fmla="*/ 6483 h 10000"/>
                    <a:gd name="connsiteX47" fmla="*/ 5333 w 10000"/>
                    <a:gd name="connsiteY47" fmla="*/ 6438 h 10000"/>
                    <a:gd name="connsiteX48" fmla="*/ 6500 w 10000"/>
                    <a:gd name="connsiteY48" fmla="*/ 6362 h 10000"/>
                    <a:gd name="connsiteX49" fmla="*/ 6500 w 10000"/>
                    <a:gd name="connsiteY49" fmla="*/ 6362 h 10000"/>
                    <a:gd name="connsiteX50" fmla="*/ 7167 w 10000"/>
                    <a:gd name="connsiteY50" fmla="*/ 6294 h 10000"/>
                    <a:gd name="connsiteX51" fmla="*/ 8389 w 10000"/>
                    <a:gd name="connsiteY51" fmla="*/ 6150 h 10000"/>
                    <a:gd name="connsiteX52" fmla="*/ 8389 w 10000"/>
                    <a:gd name="connsiteY52" fmla="*/ 6150 h 10000"/>
                    <a:gd name="connsiteX53" fmla="*/ 8667 w 10000"/>
                    <a:gd name="connsiteY53" fmla="*/ 6099 h 10000"/>
                    <a:gd name="connsiteX54" fmla="*/ 8778 w 10000"/>
                    <a:gd name="connsiteY54" fmla="*/ 6025 h 10000"/>
                    <a:gd name="connsiteX55" fmla="*/ 8889 w 10000"/>
                    <a:gd name="connsiteY55" fmla="*/ 5980 h 10000"/>
                    <a:gd name="connsiteX56" fmla="*/ 8833 w 10000"/>
                    <a:gd name="connsiteY56" fmla="*/ 5933 h 10000"/>
                    <a:gd name="connsiteX57" fmla="*/ 8833 w 10000"/>
                    <a:gd name="connsiteY57" fmla="*/ 5888 h 10000"/>
                    <a:gd name="connsiteX58" fmla="*/ 8722 w 10000"/>
                    <a:gd name="connsiteY58" fmla="*/ 5836 h 10000"/>
                    <a:gd name="connsiteX59" fmla="*/ 8556 w 10000"/>
                    <a:gd name="connsiteY59" fmla="*/ 5764 h 10000"/>
                    <a:gd name="connsiteX60" fmla="*/ 8556 w 10000"/>
                    <a:gd name="connsiteY60" fmla="*/ 5764 h 10000"/>
                    <a:gd name="connsiteX61" fmla="*/ 6556 w 10000"/>
                    <a:gd name="connsiteY61" fmla="*/ 5338 h 10000"/>
                    <a:gd name="connsiteX62" fmla="*/ 6556 w 10000"/>
                    <a:gd name="connsiteY62" fmla="*/ 5338 h 10000"/>
                    <a:gd name="connsiteX63" fmla="*/ 6333 w 10000"/>
                    <a:gd name="connsiteY63" fmla="*/ 5264 h 10000"/>
                    <a:gd name="connsiteX64" fmla="*/ 6167 w 10000"/>
                    <a:gd name="connsiteY64" fmla="*/ 5192 h 10000"/>
                    <a:gd name="connsiteX65" fmla="*/ 6056 w 10000"/>
                    <a:gd name="connsiteY65" fmla="*/ 5118 h 10000"/>
                    <a:gd name="connsiteX66" fmla="*/ 6056 w 10000"/>
                    <a:gd name="connsiteY66" fmla="*/ 5118 h 10000"/>
                    <a:gd name="connsiteX67" fmla="*/ 8056 w 10000"/>
                    <a:gd name="connsiteY67" fmla="*/ 5094 h 10000"/>
                    <a:gd name="connsiteX68" fmla="*/ 10000 w 10000"/>
                    <a:gd name="connsiteY68" fmla="*/ 5338 h 10000"/>
                    <a:gd name="connsiteX69" fmla="*/ 10000 w 10000"/>
                    <a:gd name="connsiteY69" fmla="*/ 3158 h 10000"/>
                    <a:gd name="connsiteX70" fmla="*/ 2889 w 10000"/>
                    <a:gd name="connsiteY70" fmla="*/ 622 h 10000"/>
                    <a:gd name="connsiteX71" fmla="*/ 1444 w 10000"/>
                    <a:gd name="connsiteY71" fmla="*/ 0 h 10000"/>
                    <a:gd name="connsiteX72" fmla="*/ 10000 w 10000"/>
                    <a:gd name="connsiteY72" fmla="*/ 8396 h 10000"/>
                    <a:gd name="connsiteX73" fmla="*/ 10000 w 10000"/>
                    <a:gd name="connsiteY73" fmla="*/ 8396 h 10000"/>
                    <a:gd name="connsiteX74" fmla="*/ 9722 w 10000"/>
                    <a:gd name="connsiteY74" fmla="*/ 8370 h 10000"/>
                    <a:gd name="connsiteX75" fmla="*/ 9389 w 10000"/>
                    <a:gd name="connsiteY75" fmla="*/ 8396 h 10000"/>
                    <a:gd name="connsiteX76" fmla="*/ 9389 w 10000"/>
                    <a:gd name="connsiteY76" fmla="*/ 8396 h 10000"/>
                    <a:gd name="connsiteX77" fmla="*/ 9278 w 10000"/>
                    <a:gd name="connsiteY77" fmla="*/ 8426 h 10000"/>
                    <a:gd name="connsiteX78" fmla="*/ 9056 w 10000"/>
                    <a:gd name="connsiteY78" fmla="*/ 8396 h 10000"/>
                    <a:gd name="connsiteX79" fmla="*/ 8889 w 10000"/>
                    <a:gd name="connsiteY79" fmla="*/ 8370 h 10000"/>
                    <a:gd name="connsiteX80" fmla="*/ 8722 w 10000"/>
                    <a:gd name="connsiteY80" fmla="*/ 8326 h 10000"/>
                    <a:gd name="connsiteX81" fmla="*/ 8611 w 10000"/>
                    <a:gd name="connsiteY81" fmla="*/ 8251 h 10000"/>
                    <a:gd name="connsiteX82" fmla="*/ 8444 w 10000"/>
                    <a:gd name="connsiteY82" fmla="*/ 8131 h 10000"/>
                    <a:gd name="connsiteX83" fmla="*/ 8444 w 10000"/>
                    <a:gd name="connsiteY83" fmla="*/ 8131 h 10000"/>
                    <a:gd name="connsiteX84" fmla="*/ 8222 w 10000"/>
                    <a:gd name="connsiteY84" fmla="*/ 7921 h 10000"/>
                    <a:gd name="connsiteX85" fmla="*/ 8111 w 10000"/>
                    <a:gd name="connsiteY85" fmla="*/ 7825 h 10000"/>
                    <a:gd name="connsiteX86" fmla="*/ 7944 w 10000"/>
                    <a:gd name="connsiteY86" fmla="*/ 7753 h 10000"/>
                    <a:gd name="connsiteX87" fmla="*/ 7778 w 10000"/>
                    <a:gd name="connsiteY87" fmla="*/ 7706 h 10000"/>
                    <a:gd name="connsiteX88" fmla="*/ 7556 w 10000"/>
                    <a:gd name="connsiteY88" fmla="*/ 7678 h 10000"/>
                    <a:gd name="connsiteX89" fmla="*/ 7333 w 10000"/>
                    <a:gd name="connsiteY89" fmla="*/ 7656 h 10000"/>
                    <a:gd name="connsiteX90" fmla="*/ 7000 w 10000"/>
                    <a:gd name="connsiteY90" fmla="*/ 7629 h 10000"/>
                    <a:gd name="connsiteX91" fmla="*/ 7000 w 10000"/>
                    <a:gd name="connsiteY91" fmla="*/ 7629 h 10000"/>
                    <a:gd name="connsiteX92" fmla="*/ 6556 w 10000"/>
                    <a:gd name="connsiteY92" fmla="*/ 7656 h 10000"/>
                    <a:gd name="connsiteX93" fmla="*/ 6222 w 10000"/>
                    <a:gd name="connsiteY93" fmla="*/ 7656 h 10000"/>
                    <a:gd name="connsiteX94" fmla="*/ 6111 w 10000"/>
                    <a:gd name="connsiteY94" fmla="*/ 7629 h 10000"/>
                    <a:gd name="connsiteX95" fmla="*/ 6056 w 10000"/>
                    <a:gd name="connsiteY95" fmla="*/ 7606 h 10000"/>
                    <a:gd name="connsiteX96" fmla="*/ 6056 w 10000"/>
                    <a:gd name="connsiteY96" fmla="*/ 7606 h 10000"/>
                    <a:gd name="connsiteX97" fmla="*/ 6056 w 10000"/>
                    <a:gd name="connsiteY97" fmla="*/ 7179 h 10000"/>
                    <a:gd name="connsiteX98" fmla="*/ 6056 w 10000"/>
                    <a:gd name="connsiteY98" fmla="*/ 7179 h 10000"/>
                    <a:gd name="connsiteX99" fmla="*/ 6056 w 10000"/>
                    <a:gd name="connsiteY99" fmla="*/ 7080 h 10000"/>
                    <a:gd name="connsiteX100" fmla="*/ 5944 w 10000"/>
                    <a:gd name="connsiteY100" fmla="*/ 6961 h 10000"/>
                    <a:gd name="connsiteX101" fmla="*/ 5889 w 10000"/>
                    <a:gd name="connsiteY101" fmla="*/ 6934 h 10000"/>
                    <a:gd name="connsiteX102" fmla="*/ 5778 w 10000"/>
                    <a:gd name="connsiteY102" fmla="*/ 6913 h 10000"/>
                    <a:gd name="connsiteX103" fmla="*/ 5667 w 10000"/>
                    <a:gd name="connsiteY103" fmla="*/ 6913 h 10000"/>
                    <a:gd name="connsiteX104" fmla="*/ 5500 w 10000"/>
                    <a:gd name="connsiteY104" fmla="*/ 6934 h 10000"/>
                    <a:gd name="connsiteX105" fmla="*/ 5500 w 10000"/>
                    <a:gd name="connsiteY105" fmla="*/ 6934 h 10000"/>
                    <a:gd name="connsiteX106" fmla="*/ 4889 w 10000"/>
                    <a:gd name="connsiteY106" fmla="*/ 7104 h 10000"/>
                    <a:gd name="connsiteX107" fmla="*/ 4611 w 10000"/>
                    <a:gd name="connsiteY107" fmla="*/ 7154 h 10000"/>
                    <a:gd name="connsiteX108" fmla="*/ 4556 w 10000"/>
                    <a:gd name="connsiteY108" fmla="*/ 7179 h 10000"/>
                    <a:gd name="connsiteX109" fmla="*/ 4500 w 10000"/>
                    <a:gd name="connsiteY109" fmla="*/ 7154 h 10000"/>
                    <a:gd name="connsiteX110" fmla="*/ 4500 w 10000"/>
                    <a:gd name="connsiteY110" fmla="*/ 7154 h 10000"/>
                    <a:gd name="connsiteX111" fmla="*/ 4222 w 10000"/>
                    <a:gd name="connsiteY111" fmla="*/ 6913 h 10000"/>
                    <a:gd name="connsiteX112" fmla="*/ 4222 w 10000"/>
                    <a:gd name="connsiteY112" fmla="*/ 6913 h 10000"/>
                    <a:gd name="connsiteX113" fmla="*/ 4111 w 10000"/>
                    <a:gd name="connsiteY113" fmla="*/ 6794 h 10000"/>
                    <a:gd name="connsiteX114" fmla="*/ 4111 w 10000"/>
                    <a:gd name="connsiteY114" fmla="*/ 6722 h 10000"/>
                    <a:gd name="connsiteX115" fmla="*/ 4111 w 10000"/>
                    <a:gd name="connsiteY115" fmla="*/ 6649 h 10000"/>
                    <a:gd name="connsiteX116" fmla="*/ 4111 w 10000"/>
                    <a:gd name="connsiteY116" fmla="*/ 6649 h 10000"/>
                    <a:gd name="connsiteX117" fmla="*/ 4278 w 10000"/>
                    <a:gd name="connsiteY117" fmla="*/ 6578 h 10000"/>
                    <a:gd name="connsiteX118" fmla="*/ 4389 w 10000"/>
                    <a:gd name="connsiteY118" fmla="*/ 6554 h 10000"/>
                    <a:gd name="connsiteX119" fmla="*/ 4389 w 10000"/>
                    <a:gd name="connsiteY119" fmla="*/ 6554 h 10000"/>
                    <a:gd name="connsiteX120" fmla="*/ 4000 w 10000"/>
                    <a:gd name="connsiteY120" fmla="*/ 6554 h 10000"/>
                    <a:gd name="connsiteX121" fmla="*/ 3722 w 10000"/>
                    <a:gd name="connsiteY121" fmla="*/ 6578 h 10000"/>
                    <a:gd name="connsiteX122" fmla="*/ 3611 w 10000"/>
                    <a:gd name="connsiteY122" fmla="*/ 6604 h 10000"/>
                    <a:gd name="connsiteX123" fmla="*/ 3556 w 10000"/>
                    <a:gd name="connsiteY123" fmla="*/ 6628 h 10000"/>
                    <a:gd name="connsiteX124" fmla="*/ 3556 w 10000"/>
                    <a:gd name="connsiteY124" fmla="*/ 6628 h 10000"/>
                    <a:gd name="connsiteX125" fmla="*/ 3444 w 10000"/>
                    <a:gd name="connsiteY125" fmla="*/ 6722 h 10000"/>
                    <a:gd name="connsiteX126" fmla="*/ 3278 w 10000"/>
                    <a:gd name="connsiteY126" fmla="*/ 6868 h 10000"/>
                    <a:gd name="connsiteX127" fmla="*/ 3000 w 10000"/>
                    <a:gd name="connsiteY127" fmla="*/ 7033 h 10000"/>
                    <a:gd name="connsiteX128" fmla="*/ 2667 w 10000"/>
                    <a:gd name="connsiteY128" fmla="*/ 7154 h 10000"/>
                    <a:gd name="connsiteX129" fmla="*/ 2667 w 10000"/>
                    <a:gd name="connsiteY129" fmla="*/ 7154 h 10000"/>
                    <a:gd name="connsiteX130" fmla="*/ 2333 w 10000"/>
                    <a:gd name="connsiteY130" fmla="*/ 7251 h 10000"/>
                    <a:gd name="connsiteX131" fmla="*/ 1833 w 10000"/>
                    <a:gd name="connsiteY131" fmla="*/ 7347 h 10000"/>
                    <a:gd name="connsiteX132" fmla="*/ 1389 w 10000"/>
                    <a:gd name="connsiteY132" fmla="*/ 7393 h 10000"/>
                    <a:gd name="connsiteX133" fmla="*/ 889 w 10000"/>
                    <a:gd name="connsiteY133" fmla="*/ 7417 h 10000"/>
                    <a:gd name="connsiteX134" fmla="*/ 889 w 10000"/>
                    <a:gd name="connsiteY134" fmla="*/ 7417 h 10000"/>
                    <a:gd name="connsiteX135" fmla="*/ 500 w 10000"/>
                    <a:gd name="connsiteY135" fmla="*/ 7446 h 10000"/>
                    <a:gd name="connsiteX136" fmla="*/ 222 w 10000"/>
                    <a:gd name="connsiteY136" fmla="*/ 7464 h 10000"/>
                    <a:gd name="connsiteX137" fmla="*/ 0 w 10000"/>
                    <a:gd name="connsiteY137" fmla="*/ 7487 h 10000"/>
                    <a:gd name="connsiteX138" fmla="*/ 0 w 10000"/>
                    <a:gd name="connsiteY138" fmla="*/ 7487 h 10000"/>
                    <a:gd name="connsiteX139" fmla="*/ 278 w 10000"/>
                    <a:gd name="connsiteY139" fmla="*/ 7873 h 10000"/>
                    <a:gd name="connsiteX140" fmla="*/ 500 w 10000"/>
                    <a:gd name="connsiteY140" fmla="*/ 8156 h 10000"/>
                    <a:gd name="connsiteX141" fmla="*/ 722 w 10000"/>
                    <a:gd name="connsiteY141" fmla="*/ 8396 h 10000"/>
                    <a:gd name="connsiteX142" fmla="*/ 722 w 10000"/>
                    <a:gd name="connsiteY142" fmla="*/ 8396 h 10000"/>
                    <a:gd name="connsiteX143" fmla="*/ 889 w 10000"/>
                    <a:gd name="connsiteY143" fmla="*/ 8540 h 10000"/>
                    <a:gd name="connsiteX144" fmla="*/ 944 w 10000"/>
                    <a:gd name="connsiteY144" fmla="*/ 8663 h 10000"/>
                    <a:gd name="connsiteX145" fmla="*/ 1111 w 10000"/>
                    <a:gd name="connsiteY145" fmla="*/ 8784 h 10000"/>
                    <a:gd name="connsiteX146" fmla="*/ 1333 w 10000"/>
                    <a:gd name="connsiteY146" fmla="*/ 8968 h 10000"/>
                    <a:gd name="connsiteX147" fmla="*/ 1333 w 10000"/>
                    <a:gd name="connsiteY147" fmla="*/ 8968 h 10000"/>
                    <a:gd name="connsiteX148" fmla="*/ 1444 w 10000"/>
                    <a:gd name="connsiteY148" fmla="*/ 9066 h 10000"/>
                    <a:gd name="connsiteX149" fmla="*/ 1500 w 10000"/>
                    <a:gd name="connsiteY149" fmla="*/ 9138 h 10000"/>
                    <a:gd name="connsiteX150" fmla="*/ 1500 w 10000"/>
                    <a:gd name="connsiteY150" fmla="*/ 9207 h 10000"/>
                    <a:gd name="connsiteX151" fmla="*/ 1556 w 10000"/>
                    <a:gd name="connsiteY151" fmla="*/ 9236 h 10000"/>
                    <a:gd name="connsiteX152" fmla="*/ 1722 w 10000"/>
                    <a:gd name="connsiteY152" fmla="*/ 9257 h 10000"/>
                    <a:gd name="connsiteX153" fmla="*/ 1944 w 10000"/>
                    <a:gd name="connsiteY153" fmla="*/ 9281 h 10000"/>
                    <a:gd name="connsiteX154" fmla="*/ 2944 w 10000"/>
                    <a:gd name="connsiteY154" fmla="*/ 9306 h 10000"/>
                    <a:gd name="connsiteX155" fmla="*/ 2944 w 10000"/>
                    <a:gd name="connsiteY155" fmla="*/ 9306 h 10000"/>
                    <a:gd name="connsiteX156" fmla="*/ 4167 w 10000"/>
                    <a:gd name="connsiteY156" fmla="*/ 9355 h 10000"/>
                    <a:gd name="connsiteX157" fmla="*/ 4889 w 10000"/>
                    <a:gd name="connsiteY157" fmla="*/ 9423 h 10000"/>
                    <a:gd name="connsiteX158" fmla="*/ 5278 w 10000"/>
                    <a:gd name="connsiteY158" fmla="*/ 9500 h 10000"/>
                    <a:gd name="connsiteX159" fmla="*/ 5444 w 10000"/>
                    <a:gd name="connsiteY159" fmla="*/ 9519 h 10000"/>
                    <a:gd name="connsiteX160" fmla="*/ 5444 w 10000"/>
                    <a:gd name="connsiteY160" fmla="*/ 9519 h 10000"/>
                    <a:gd name="connsiteX161" fmla="*/ 5722 w 10000"/>
                    <a:gd name="connsiteY161" fmla="*/ 9572 h 10000"/>
                    <a:gd name="connsiteX162" fmla="*/ 5833 w 10000"/>
                    <a:gd name="connsiteY162" fmla="*/ 9597 h 10000"/>
                    <a:gd name="connsiteX163" fmla="*/ 5833 w 10000"/>
                    <a:gd name="connsiteY163" fmla="*/ 9597 h 10000"/>
                    <a:gd name="connsiteX164" fmla="*/ 5833 w 10000"/>
                    <a:gd name="connsiteY164" fmla="*/ 9572 h 10000"/>
                    <a:gd name="connsiteX165" fmla="*/ 5889 w 10000"/>
                    <a:gd name="connsiteY165" fmla="*/ 9545 h 10000"/>
                    <a:gd name="connsiteX166" fmla="*/ 6000 w 10000"/>
                    <a:gd name="connsiteY166" fmla="*/ 9519 h 10000"/>
                    <a:gd name="connsiteX167" fmla="*/ 6167 w 10000"/>
                    <a:gd name="connsiteY167" fmla="*/ 9500 h 10000"/>
                    <a:gd name="connsiteX168" fmla="*/ 6444 w 10000"/>
                    <a:gd name="connsiteY168" fmla="*/ 9500 h 10000"/>
                    <a:gd name="connsiteX169" fmla="*/ 6833 w 10000"/>
                    <a:gd name="connsiteY169" fmla="*/ 9519 h 10000"/>
                    <a:gd name="connsiteX170" fmla="*/ 7278 w 10000"/>
                    <a:gd name="connsiteY170" fmla="*/ 9597 h 10000"/>
                    <a:gd name="connsiteX171" fmla="*/ 7278 w 10000"/>
                    <a:gd name="connsiteY171" fmla="*/ 9597 h 10000"/>
                    <a:gd name="connsiteX172" fmla="*/ 8722 w 10000"/>
                    <a:gd name="connsiteY172" fmla="*/ 9805 h 10000"/>
                    <a:gd name="connsiteX173" fmla="*/ 10000 w 10000"/>
                    <a:gd name="connsiteY173" fmla="*/ 10000 h 10000"/>
                    <a:gd name="connsiteX0" fmla="*/ 10000 w 10000"/>
                    <a:gd name="connsiteY0" fmla="*/ 7748 h 9378"/>
                    <a:gd name="connsiteX1" fmla="*/ 10000 w 10000"/>
                    <a:gd name="connsiteY1" fmla="*/ 7748 h 9378"/>
                    <a:gd name="connsiteX2" fmla="*/ 9222 w 10000"/>
                    <a:gd name="connsiteY2" fmla="*/ 7774 h 9378"/>
                    <a:gd name="connsiteX3" fmla="*/ 8944 w 10000"/>
                    <a:gd name="connsiteY3" fmla="*/ 7774 h 9378"/>
                    <a:gd name="connsiteX4" fmla="*/ 8833 w 10000"/>
                    <a:gd name="connsiteY4" fmla="*/ 7748 h 9378"/>
                    <a:gd name="connsiteX5" fmla="*/ 8778 w 10000"/>
                    <a:gd name="connsiteY5" fmla="*/ 7727 h 9378"/>
                    <a:gd name="connsiteX6" fmla="*/ 8778 w 10000"/>
                    <a:gd name="connsiteY6" fmla="*/ 7727 h 9378"/>
                    <a:gd name="connsiteX7" fmla="*/ 8444 w 10000"/>
                    <a:gd name="connsiteY7" fmla="*/ 7439 h 9378"/>
                    <a:gd name="connsiteX8" fmla="*/ 8167 w 10000"/>
                    <a:gd name="connsiteY8" fmla="*/ 7175 h 9378"/>
                    <a:gd name="connsiteX9" fmla="*/ 8167 w 10000"/>
                    <a:gd name="connsiteY9" fmla="*/ 7175 h 9378"/>
                    <a:gd name="connsiteX10" fmla="*/ 8056 w 10000"/>
                    <a:gd name="connsiteY10" fmla="*/ 7131 h 9378"/>
                    <a:gd name="connsiteX11" fmla="*/ 7889 w 10000"/>
                    <a:gd name="connsiteY11" fmla="*/ 7084 h 9378"/>
                    <a:gd name="connsiteX12" fmla="*/ 7444 w 10000"/>
                    <a:gd name="connsiteY12" fmla="*/ 7056 h 9378"/>
                    <a:gd name="connsiteX13" fmla="*/ 6889 w 10000"/>
                    <a:gd name="connsiteY13" fmla="*/ 7034 h 9378"/>
                    <a:gd name="connsiteX14" fmla="*/ 6389 w 10000"/>
                    <a:gd name="connsiteY14" fmla="*/ 7034 h 9378"/>
                    <a:gd name="connsiteX15" fmla="*/ 6389 w 10000"/>
                    <a:gd name="connsiteY15" fmla="*/ 7034 h 9378"/>
                    <a:gd name="connsiteX16" fmla="*/ 6167 w 10000"/>
                    <a:gd name="connsiteY16" fmla="*/ 7007 h 9378"/>
                    <a:gd name="connsiteX17" fmla="*/ 6056 w 10000"/>
                    <a:gd name="connsiteY17" fmla="*/ 6964 h 9378"/>
                    <a:gd name="connsiteX18" fmla="*/ 6000 w 10000"/>
                    <a:gd name="connsiteY18" fmla="*/ 6913 h 9378"/>
                    <a:gd name="connsiteX19" fmla="*/ 6000 w 10000"/>
                    <a:gd name="connsiteY19" fmla="*/ 6824 h 9378"/>
                    <a:gd name="connsiteX20" fmla="*/ 6056 w 10000"/>
                    <a:gd name="connsiteY20" fmla="*/ 6629 h 9378"/>
                    <a:gd name="connsiteX21" fmla="*/ 6111 w 10000"/>
                    <a:gd name="connsiteY21" fmla="*/ 6532 h 9378"/>
                    <a:gd name="connsiteX22" fmla="*/ 6056 w 10000"/>
                    <a:gd name="connsiteY22" fmla="*/ 6411 h 9378"/>
                    <a:gd name="connsiteX23" fmla="*/ 6056 w 10000"/>
                    <a:gd name="connsiteY23" fmla="*/ 6411 h 9378"/>
                    <a:gd name="connsiteX24" fmla="*/ 6000 w 10000"/>
                    <a:gd name="connsiteY24" fmla="*/ 6339 h 9378"/>
                    <a:gd name="connsiteX25" fmla="*/ 5944 w 10000"/>
                    <a:gd name="connsiteY25" fmla="*/ 6291 h 9378"/>
                    <a:gd name="connsiteX26" fmla="*/ 5833 w 10000"/>
                    <a:gd name="connsiteY26" fmla="*/ 6291 h 9378"/>
                    <a:gd name="connsiteX27" fmla="*/ 5667 w 10000"/>
                    <a:gd name="connsiteY27" fmla="*/ 6312 h 9378"/>
                    <a:gd name="connsiteX28" fmla="*/ 5333 w 10000"/>
                    <a:gd name="connsiteY28" fmla="*/ 6387 h 9378"/>
                    <a:gd name="connsiteX29" fmla="*/ 4889 w 10000"/>
                    <a:gd name="connsiteY29" fmla="*/ 6507 h 9378"/>
                    <a:gd name="connsiteX30" fmla="*/ 4889 w 10000"/>
                    <a:gd name="connsiteY30" fmla="*/ 6507 h 9378"/>
                    <a:gd name="connsiteX31" fmla="*/ 4611 w 10000"/>
                    <a:gd name="connsiteY31" fmla="*/ 6532 h 9378"/>
                    <a:gd name="connsiteX32" fmla="*/ 4500 w 10000"/>
                    <a:gd name="connsiteY32" fmla="*/ 6532 h 9378"/>
                    <a:gd name="connsiteX33" fmla="*/ 4444 w 10000"/>
                    <a:gd name="connsiteY33" fmla="*/ 6507 h 9378"/>
                    <a:gd name="connsiteX34" fmla="*/ 4389 w 10000"/>
                    <a:gd name="connsiteY34" fmla="*/ 6411 h 9378"/>
                    <a:gd name="connsiteX35" fmla="*/ 4222 w 10000"/>
                    <a:gd name="connsiteY35" fmla="*/ 6291 h 9378"/>
                    <a:gd name="connsiteX36" fmla="*/ 4222 w 10000"/>
                    <a:gd name="connsiteY36" fmla="*/ 6291 h 9378"/>
                    <a:gd name="connsiteX37" fmla="*/ 4111 w 10000"/>
                    <a:gd name="connsiteY37" fmla="*/ 6218 h 9378"/>
                    <a:gd name="connsiteX38" fmla="*/ 4111 w 10000"/>
                    <a:gd name="connsiteY38" fmla="*/ 6148 h 9378"/>
                    <a:gd name="connsiteX39" fmla="*/ 4111 w 10000"/>
                    <a:gd name="connsiteY39" fmla="*/ 6100 h 9378"/>
                    <a:gd name="connsiteX40" fmla="*/ 4167 w 10000"/>
                    <a:gd name="connsiteY40" fmla="*/ 6052 h 9378"/>
                    <a:gd name="connsiteX41" fmla="*/ 4278 w 10000"/>
                    <a:gd name="connsiteY41" fmla="*/ 5956 h 9378"/>
                    <a:gd name="connsiteX42" fmla="*/ 4389 w 10000"/>
                    <a:gd name="connsiteY42" fmla="*/ 5932 h 9378"/>
                    <a:gd name="connsiteX43" fmla="*/ 4389 w 10000"/>
                    <a:gd name="connsiteY43" fmla="*/ 5932 h 9378"/>
                    <a:gd name="connsiteX44" fmla="*/ 4389 w 10000"/>
                    <a:gd name="connsiteY44" fmla="*/ 5907 h 9378"/>
                    <a:gd name="connsiteX45" fmla="*/ 4444 w 10000"/>
                    <a:gd name="connsiteY45" fmla="*/ 5888 h 9378"/>
                    <a:gd name="connsiteX46" fmla="*/ 4667 w 10000"/>
                    <a:gd name="connsiteY46" fmla="*/ 5861 h 9378"/>
                    <a:gd name="connsiteX47" fmla="*/ 5333 w 10000"/>
                    <a:gd name="connsiteY47" fmla="*/ 5816 h 9378"/>
                    <a:gd name="connsiteX48" fmla="*/ 6500 w 10000"/>
                    <a:gd name="connsiteY48" fmla="*/ 5740 h 9378"/>
                    <a:gd name="connsiteX49" fmla="*/ 6500 w 10000"/>
                    <a:gd name="connsiteY49" fmla="*/ 5740 h 9378"/>
                    <a:gd name="connsiteX50" fmla="*/ 7167 w 10000"/>
                    <a:gd name="connsiteY50" fmla="*/ 5672 h 9378"/>
                    <a:gd name="connsiteX51" fmla="*/ 8389 w 10000"/>
                    <a:gd name="connsiteY51" fmla="*/ 5528 h 9378"/>
                    <a:gd name="connsiteX52" fmla="*/ 8389 w 10000"/>
                    <a:gd name="connsiteY52" fmla="*/ 5528 h 9378"/>
                    <a:gd name="connsiteX53" fmla="*/ 8667 w 10000"/>
                    <a:gd name="connsiteY53" fmla="*/ 5477 h 9378"/>
                    <a:gd name="connsiteX54" fmla="*/ 8778 w 10000"/>
                    <a:gd name="connsiteY54" fmla="*/ 5403 h 9378"/>
                    <a:gd name="connsiteX55" fmla="*/ 8889 w 10000"/>
                    <a:gd name="connsiteY55" fmla="*/ 5358 h 9378"/>
                    <a:gd name="connsiteX56" fmla="*/ 8833 w 10000"/>
                    <a:gd name="connsiteY56" fmla="*/ 5311 h 9378"/>
                    <a:gd name="connsiteX57" fmla="*/ 8833 w 10000"/>
                    <a:gd name="connsiteY57" fmla="*/ 5266 h 9378"/>
                    <a:gd name="connsiteX58" fmla="*/ 8722 w 10000"/>
                    <a:gd name="connsiteY58" fmla="*/ 5214 h 9378"/>
                    <a:gd name="connsiteX59" fmla="*/ 8556 w 10000"/>
                    <a:gd name="connsiteY59" fmla="*/ 5142 h 9378"/>
                    <a:gd name="connsiteX60" fmla="*/ 8556 w 10000"/>
                    <a:gd name="connsiteY60" fmla="*/ 5142 h 9378"/>
                    <a:gd name="connsiteX61" fmla="*/ 6556 w 10000"/>
                    <a:gd name="connsiteY61" fmla="*/ 4716 h 9378"/>
                    <a:gd name="connsiteX62" fmla="*/ 6556 w 10000"/>
                    <a:gd name="connsiteY62" fmla="*/ 4716 h 9378"/>
                    <a:gd name="connsiteX63" fmla="*/ 6333 w 10000"/>
                    <a:gd name="connsiteY63" fmla="*/ 4642 h 9378"/>
                    <a:gd name="connsiteX64" fmla="*/ 6167 w 10000"/>
                    <a:gd name="connsiteY64" fmla="*/ 4570 h 9378"/>
                    <a:gd name="connsiteX65" fmla="*/ 6056 w 10000"/>
                    <a:gd name="connsiteY65" fmla="*/ 4496 h 9378"/>
                    <a:gd name="connsiteX66" fmla="*/ 6056 w 10000"/>
                    <a:gd name="connsiteY66" fmla="*/ 4496 h 9378"/>
                    <a:gd name="connsiteX67" fmla="*/ 8056 w 10000"/>
                    <a:gd name="connsiteY67" fmla="*/ 4472 h 9378"/>
                    <a:gd name="connsiteX68" fmla="*/ 10000 w 10000"/>
                    <a:gd name="connsiteY68" fmla="*/ 4716 h 9378"/>
                    <a:gd name="connsiteX69" fmla="*/ 10000 w 10000"/>
                    <a:gd name="connsiteY69" fmla="*/ 2536 h 9378"/>
                    <a:gd name="connsiteX70" fmla="*/ 2889 w 10000"/>
                    <a:gd name="connsiteY70" fmla="*/ 0 h 9378"/>
                    <a:gd name="connsiteX71" fmla="*/ 10000 w 10000"/>
                    <a:gd name="connsiteY71" fmla="*/ 7774 h 9378"/>
                    <a:gd name="connsiteX72" fmla="*/ 10000 w 10000"/>
                    <a:gd name="connsiteY72" fmla="*/ 7774 h 9378"/>
                    <a:gd name="connsiteX73" fmla="*/ 9722 w 10000"/>
                    <a:gd name="connsiteY73" fmla="*/ 7748 h 9378"/>
                    <a:gd name="connsiteX74" fmla="*/ 9389 w 10000"/>
                    <a:gd name="connsiteY74" fmla="*/ 7774 h 9378"/>
                    <a:gd name="connsiteX75" fmla="*/ 9389 w 10000"/>
                    <a:gd name="connsiteY75" fmla="*/ 7774 h 9378"/>
                    <a:gd name="connsiteX76" fmla="*/ 9278 w 10000"/>
                    <a:gd name="connsiteY76" fmla="*/ 7804 h 9378"/>
                    <a:gd name="connsiteX77" fmla="*/ 9056 w 10000"/>
                    <a:gd name="connsiteY77" fmla="*/ 7774 h 9378"/>
                    <a:gd name="connsiteX78" fmla="*/ 8889 w 10000"/>
                    <a:gd name="connsiteY78" fmla="*/ 7748 h 9378"/>
                    <a:gd name="connsiteX79" fmla="*/ 8722 w 10000"/>
                    <a:gd name="connsiteY79" fmla="*/ 7704 h 9378"/>
                    <a:gd name="connsiteX80" fmla="*/ 8611 w 10000"/>
                    <a:gd name="connsiteY80" fmla="*/ 7629 h 9378"/>
                    <a:gd name="connsiteX81" fmla="*/ 8444 w 10000"/>
                    <a:gd name="connsiteY81" fmla="*/ 7509 h 9378"/>
                    <a:gd name="connsiteX82" fmla="*/ 8444 w 10000"/>
                    <a:gd name="connsiteY82" fmla="*/ 7509 h 9378"/>
                    <a:gd name="connsiteX83" fmla="*/ 8222 w 10000"/>
                    <a:gd name="connsiteY83" fmla="*/ 7299 h 9378"/>
                    <a:gd name="connsiteX84" fmla="*/ 8111 w 10000"/>
                    <a:gd name="connsiteY84" fmla="*/ 7203 h 9378"/>
                    <a:gd name="connsiteX85" fmla="*/ 7944 w 10000"/>
                    <a:gd name="connsiteY85" fmla="*/ 7131 h 9378"/>
                    <a:gd name="connsiteX86" fmla="*/ 7778 w 10000"/>
                    <a:gd name="connsiteY86" fmla="*/ 7084 h 9378"/>
                    <a:gd name="connsiteX87" fmla="*/ 7556 w 10000"/>
                    <a:gd name="connsiteY87" fmla="*/ 7056 h 9378"/>
                    <a:gd name="connsiteX88" fmla="*/ 7333 w 10000"/>
                    <a:gd name="connsiteY88" fmla="*/ 7034 h 9378"/>
                    <a:gd name="connsiteX89" fmla="*/ 7000 w 10000"/>
                    <a:gd name="connsiteY89" fmla="*/ 7007 h 9378"/>
                    <a:gd name="connsiteX90" fmla="*/ 7000 w 10000"/>
                    <a:gd name="connsiteY90" fmla="*/ 7007 h 9378"/>
                    <a:gd name="connsiteX91" fmla="*/ 6556 w 10000"/>
                    <a:gd name="connsiteY91" fmla="*/ 7034 h 9378"/>
                    <a:gd name="connsiteX92" fmla="*/ 6222 w 10000"/>
                    <a:gd name="connsiteY92" fmla="*/ 7034 h 9378"/>
                    <a:gd name="connsiteX93" fmla="*/ 6111 w 10000"/>
                    <a:gd name="connsiteY93" fmla="*/ 7007 h 9378"/>
                    <a:gd name="connsiteX94" fmla="*/ 6056 w 10000"/>
                    <a:gd name="connsiteY94" fmla="*/ 6984 h 9378"/>
                    <a:gd name="connsiteX95" fmla="*/ 6056 w 10000"/>
                    <a:gd name="connsiteY95" fmla="*/ 6984 h 9378"/>
                    <a:gd name="connsiteX96" fmla="*/ 6056 w 10000"/>
                    <a:gd name="connsiteY96" fmla="*/ 6557 h 9378"/>
                    <a:gd name="connsiteX97" fmla="*/ 6056 w 10000"/>
                    <a:gd name="connsiteY97" fmla="*/ 6557 h 9378"/>
                    <a:gd name="connsiteX98" fmla="*/ 6056 w 10000"/>
                    <a:gd name="connsiteY98" fmla="*/ 6458 h 9378"/>
                    <a:gd name="connsiteX99" fmla="*/ 5944 w 10000"/>
                    <a:gd name="connsiteY99" fmla="*/ 6339 h 9378"/>
                    <a:gd name="connsiteX100" fmla="*/ 5889 w 10000"/>
                    <a:gd name="connsiteY100" fmla="*/ 6312 h 9378"/>
                    <a:gd name="connsiteX101" fmla="*/ 5778 w 10000"/>
                    <a:gd name="connsiteY101" fmla="*/ 6291 h 9378"/>
                    <a:gd name="connsiteX102" fmla="*/ 5667 w 10000"/>
                    <a:gd name="connsiteY102" fmla="*/ 6291 h 9378"/>
                    <a:gd name="connsiteX103" fmla="*/ 5500 w 10000"/>
                    <a:gd name="connsiteY103" fmla="*/ 6312 h 9378"/>
                    <a:gd name="connsiteX104" fmla="*/ 5500 w 10000"/>
                    <a:gd name="connsiteY104" fmla="*/ 6312 h 9378"/>
                    <a:gd name="connsiteX105" fmla="*/ 4889 w 10000"/>
                    <a:gd name="connsiteY105" fmla="*/ 6482 h 9378"/>
                    <a:gd name="connsiteX106" fmla="*/ 4611 w 10000"/>
                    <a:gd name="connsiteY106" fmla="*/ 6532 h 9378"/>
                    <a:gd name="connsiteX107" fmla="*/ 4556 w 10000"/>
                    <a:gd name="connsiteY107" fmla="*/ 6557 h 9378"/>
                    <a:gd name="connsiteX108" fmla="*/ 4500 w 10000"/>
                    <a:gd name="connsiteY108" fmla="*/ 6532 h 9378"/>
                    <a:gd name="connsiteX109" fmla="*/ 4500 w 10000"/>
                    <a:gd name="connsiteY109" fmla="*/ 6532 h 9378"/>
                    <a:gd name="connsiteX110" fmla="*/ 4222 w 10000"/>
                    <a:gd name="connsiteY110" fmla="*/ 6291 h 9378"/>
                    <a:gd name="connsiteX111" fmla="*/ 4222 w 10000"/>
                    <a:gd name="connsiteY111" fmla="*/ 6291 h 9378"/>
                    <a:gd name="connsiteX112" fmla="*/ 4111 w 10000"/>
                    <a:gd name="connsiteY112" fmla="*/ 6172 h 9378"/>
                    <a:gd name="connsiteX113" fmla="*/ 4111 w 10000"/>
                    <a:gd name="connsiteY113" fmla="*/ 6100 h 9378"/>
                    <a:gd name="connsiteX114" fmla="*/ 4111 w 10000"/>
                    <a:gd name="connsiteY114" fmla="*/ 6027 h 9378"/>
                    <a:gd name="connsiteX115" fmla="*/ 4111 w 10000"/>
                    <a:gd name="connsiteY115" fmla="*/ 6027 h 9378"/>
                    <a:gd name="connsiteX116" fmla="*/ 4278 w 10000"/>
                    <a:gd name="connsiteY116" fmla="*/ 5956 h 9378"/>
                    <a:gd name="connsiteX117" fmla="*/ 4389 w 10000"/>
                    <a:gd name="connsiteY117" fmla="*/ 5932 h 9378"/>
                    <a:gd name="connsiteX118" fmla="*/ 4389 w 10000"/>
                    <a:gd name="connsiteY118" fmla="*/ 5932 h 9378"/>
                    <a:gd name="connsiteX119" fmla="*/ 4000 w 10000"/>
                    <a:gd name="connsiteY119" fmla="*/ 5932 h 9378"/>
                    <a:gd name="connsiteX120" fmla="*/ 3722 w 10000"/>
                    <a:gd name="connsiteY120" fmla="*/ 5956 h 9378"/>
                    <a:gd name="connsiteX121" fmla="*/ 3611 w 10000"/>
                    <a:gd name="connsiteY121" fmla="*/ 5982 h 9378"/>
                    <a:gd name="connsiteX122" fmla="*/ 3556 w 10000"/>
                    <a:gd name="connsiteY122" fmla="*/ 6006 h 9378"/>
                    <a:gd name="connsiteX123" fmla="*/ 3556 w 10000"/>
                    <a:gd name="connsiteY123" fmla="*/ 6006 h 9378"/>
                    <a:gd name="connsiteX124" fmla="*/ 3444 w 10000"/>
                    <a:gd name="connsiteY124" fmla="*/ 6100 h 9378"/>
                    <a:gd name="connsiteX125" fmla="*/ 3278 w 10000"/>
                    <a:gd name="connsiteY125" fmla="*/ 6246 h 9378"/>
                    <a:gd name="connsiteX126" fmla="*/ 3000 w 10000"/>
                    <a:gd name="connsiteY126" fmla="*/ 6411 h 9378"/>
                    <a:gd name="connsiteX127" fmla="*/ 2667 w 10000"/>
                    <a:gd name="connsiteY127" fmla="*/ 6532 h 9378"/>
                    <a:gd name="connsiteX128" fmla="*/ 2667 w 10000"/>
                    <a:gd name="connsiteY128" fmla="*/ 6532 h 9378"/>
                    <a:gd name="connsiteX129" fmla="*/ 2333 w 10000"/>
                    <a:gd name="connsiteY129" fmla="*/ 6629 h 9378"/>
                    <a:gd name="connsiteX130" fmla="*/ 1833 w 10000"/>
                    <a:gd name="connsiteY130" fmla="*/ 6725 h 9378"/>
                    <a:gd name="connsiteX131" fmla="*/ 1389 w 10000"/>
                    <a:gd name="connsiteY131" fmla="*/ 6771 h 9378"/>
                    <a:gd name="connsiteX132" fmla="*/ 889 w 10000"/>
                    <a:gd name="connsiteY132" fmla="*/ 6795 h 9378"/>
                    <a:gd name="connsiteX133" fmla="*/ 889 w 10000"/>
                    <a:gd name="connsiteY133" fmla="*/ 6795 h 9378"/>
                    <a:gd name="connsiteX134" fmla="*/ 500 w 10000"/>
                    <a:gd name="connsiteY134" fmla="*/ 6824 h 9378"/>
                    <a:gd name="connsiteX135" fmla="*/ 222 w 10000"/>
                    <a:gd name="connsiteY135" fmla="*/ 6842 h 9378"/>
                    <a:gd name="connsiteX136" fmla="*/ 0 w 10000"/>
                    <a:gd name="connsiteY136" fmla="*/ 6865 h 9378"/>
                    <a:gd name="connsiteX137" fmla="*/ 0 w 10000"/>
                    <a:gd name="connsiteY137" fmla="*/ 6865 h 9378"/>
                    <a:gd name="connsiteX138" fmla="*/ 278 w 10000"/>
                    <a:gd name="connsiteY138" fmla="*/ 7251 h 9378"/>
                    <a:gd name="connsiteX139" fmla="*/ 500 w 10000"/>
                    <a:gd name="connsiteY139" fmla="*/ 7534 h 9378"/>
                    <a:gd name="connsiteX140" fmla="*/ 722 w 10000"/>
                    <a:gd name="connsiteY140" fmla="*/ 7774 h 9378"/>
                    <a:gd name="connsiteX141" fmla="*/ 722 w 10000"/>
                    <a:gd name="connsiteY141" fmla="*/ 7774 h 9378"/>
                    <a:gd name="connsiteX142" fmla="*/ 889 w 10000"/>
                    <a:gd name="connsiteY142" fmla="*/ 7918 h 9378"/>
                    <a:gd name="connsiteX143" fmla="*/ 944 w 10000"/>
                    <a:gd name="connsiteY143" fmla="*/ 8041 h 9378"/>
                    <a:gd name="connsiteX144" fmla="*/ 1111 w 10000"/>
                    <a:gd name="connsiteY144" fmla="*/ 8162 h 9378"/>
                    <a:gd name="connsiteX145" fmla="*/ 1333 w 10000"/>
                    <a:gd name="connsiteY145" fmla="*/ 8346 h 9378"/>
                    <a:gd name="connsiteX146" fmla="*/ 1333 w 10000"/>
                    <a:gd name="connsiteY146" fmla="*/ 8346 h 9378"/>
                    <a:gd name="connsiteX147" fmla="*/ 1444 w 10000"/>
                    <a:gd name="connsiteY147" fmla="*/ 8444 h 9378"/>
                    <a:gd name="connsiteX148" fmla="*/ 1500 w 10000"/>
                    <a:gd name="connsiteY148" fmla="*/ 8516 h 9378"/>
                    <a:gd name="connsiteX149" fmla="*/ 1500 w 10000"/>
                    <a:gd name="connsiteY149" fmla="*/ 8585 h 9378"/>
                    <a:gd name="connsiteX150" fmla="*/ 1556 w 10000"/>
                    <a:gd name="connsiteY150" fmla="*/ 8614 h 9378"/>
                    <a:gd name="connsiteX151" fmla="*/ 1722 w 10000"/>
                    <a:gd name="connsiteY151" fmla="*/ 8635 h 9378"/>
                    <a:gd name="connsiteX152" fmla="*/ 1944 w 10000"/>
                    <a:gd name="connsiteY152" fmla="*/ 8659 h 9378"/>
                    <a:gd name="connsiteX153" fmla="*/ 2944 w 10000"/>
                    <a:gd name="connsiteY153" fmla="*/ 8684 h 9378"/>
                    <a:gd name="connsiteX154" fmla="*/ 2944 w 10000"/>
                    <a:gd name="connsiteY154" fmla="*/ 8684 h 9378"/>
                    <a:gd name="connsiteX155" fmla="*/ 4167 w 10000"/>
                    <a:gd name="connsiteY155" fmla="*/ 8733 h 9378"/>
                    <a:gd name="connsiteX156" fmla="*/ 4889 w 10000"/>
                    <a:gd name="connsiteY156" fmla="*/ 8801 h 9378"/>
                    <a:gd name="connsiteX157" fmla="*/ 5278 w 10000"/>
                    <a:gd name="connsiteY157" fmla="*/ 8878 h 9378"/>
                    <a:gd name="connsiteX158" fmla="*/ 5444 w 10000"/>
                    <a:gd name="connsiteY158" fmla="*/ 8897 h 9378"/>
                    <a:gd name="connsiteX159" fmla="*/ 5444 w 10000"/>
                    <a:gd name="connsiteY159" fmla="*/ 8897 h 9378"/>
                    <a:gd name="connsiteX160" fmla="*/ 5722 w 10000"/>
                    <a:gd name="connsiteY160" fmla="*/ 8950 h 9378"/>
                    <a:gd name="connsiteX161" fmla="*/ 5833 w 10000"/>
                    <a:gd name="connsiteY161" fmla="*/ 8975 h 9378"/>
                    <a:gd name="connsiteX162" fmla="*/ 5833 w 10000"/>
                    <a:gd name="connsiteY162" fmla="*/ 8975 h 9378"/>
                    <a:gd name="connsiteX163" fmla="*/ 5833 w 10000"/>
                    <a:gd name="connsiteY163" fmla="*/ 8950 h 9378"/>
                    <a:gd name="connsiteX164" fmla="*/ 5889 w 10000"/>
                    <a:gd name="connsiteY164" fmla="*/ 8923 h 9378"/>
                    <a:gd name="connsiteX165" fmla="*/ 6000 w 10000"/>
                    <a:gd name="connsiteY165" fmla="*/ 8897 h 9378"/>
                    <a:gd name="connsiteX166" fmla="*/ 6167 w 10000"/>
                    <a:gd name="connsiteY166" fmla="*/ 8878 h 9378"/>
                    <a:gd name="connsiteX167" fmla="*/ 6444 w 10000"/>
                    <a:gd name="connsiteY167" fmla="*/ 8878 h 9378"/>
                    <a:gd name="connsiteX168" fmla="*/ 6833 w 10000"/>
                    <a:gd name="connsiteY168" fmla="*/ 8897 h 9378"/>
                    <a:gd name="connsiteX169" fmla="*/ 7278 w 10000"/>
                    <a:gd name="connsiteY169" fmla="*/ 8975 h 9378"/>
                    <a:gd name="connsiteX170" fmla="*/ 7278 w 10000"/>
                    <a:gd name="connsiteY170" fmla="*/ 8975 h 9378"/>
                    <a:gd name="connsiteX171" fmla="*/ 8722 w 10000"/>
                    <a:gd name="connsiteY171" fmla="*/ 9183 h 9378"/>
                    <a:gd name="connsiteX172" fmla="*/ 10000 w 10000"/>
                    <a:gd name="connsiteY172" fmla="*/ 9378 h 9378"/>
                    <a:gd name="connsiteX0" fmla="*/ 10000 w 10000"/>
                    <a:gd name="connsiteY0" fmla="*/ 5558 h 7296"/>
                    <a:gd name="connsiteX1" fmla="*/ 10000 w 10000"/>
                    <a:gd name="connsiteY1" fmla="*/ 5558 h 7296"/>
                    <a:gd name="connsiteX2" fmla="*/ 9222 w 10000"/>
                    <a:gd name="connsiteY2" fmla="*/ 5586 h 7296"/>
                    <a:gd name="connsiteX3" fmla="*/ 8944 w 10000"/>
                    <a:gd name="connsiteY3" fmla="*/ 5586 h 7296"/>
                    <a:gd name="connsiteX4" fmla="*/ 8833 w 10000"/>
                    <a:gd name="connsiteY4" fmla="*/ 5558 h 7296"/>
                    <a:gd name="connsiteX5" fmla="*/ 8778 w 10000"/>
                    <a:gd name="connsiteY5" fmla="*/ 5535 h 7296"/>
                    <a:gd name="connsiteX6" fmla="*/ 8778 w 10000"/>
                    <a:gd name="connsiteY6" fmla="*/ 5535 h 7296"/>
                    <a:gd name="connsiteX7" fmla="*/ 8444 w 10000"/>
                    <a:gd name="connsiteY7" fmla="*/ 5228 h 7296"/>
                    <a:gd name="connsiteX8" fmla="*/ 8167 w 10000"/>
                    <a:gd name="connsiteY8" fmla="*/ 4947 h 7296"/>
                    <a:gd name="connsiteX9" fmla="*/ 8167 w 10000"/>
                    <a:gd name="connsiteY9" fmla="*/ 4947 h 7296"/>
                    <a:gd name="connsiteX10" fmla="*/ 8056 w 10000"/>
                    <a:gd name="connsiteY10" fmla="*/ 4900 h 7296"/>
                    <a:gd name="connsiteX11" fmla="*/ 7889 w 10000"/>
                    <a:gd name="connsiteY11" fmla="*/ 4850 h 7296"/>
                    <a:gd name="connsiteX12" fmla="*/ 7444 w 10000"/>
                    <a:gd name="connsiteY12" fmla="*/ 4820 h 7296"/>
                    <a:gd name="connsiteX13" fmla="*/ 6889 w 10000"/>
                    <a:gd name="connsiteY13" fmla="*/ 4797 h 7296"/>
                    <a:gd name="connsiteX14" fmla="*/ 6389 w 10000"/>
                    <a:gd name="connsiteY14" fmla="*/ 4797 h 7296"/>
                    <a:gd name="connsiteX15" fmla="*/ 6389 w 10000"/>
                    <a:gd name="connsiteY15" fmla="*/ 4797 h 7296"/>
                    <a:gd name="connsiteX16" fmla="*/ 6167 w 10000"/>
                    <a:gd name="connsiteY16" fmla="*/ 4768 h 7296"/>
                    <a:gd name="connsiteX17" fmla="*/ 6056 w 10000"/>
                    <a:gd name="connsiteY17" fmla="*/ 4722 h 7296"/>
                    <a:gd name="connsiteX18" fmla="*/ 6000 w 10000"/>
                    <a:gd name="connsiteY18" fmla="*/ 4668 h 7296"/>
                    <a:gd name="connsiteX19" fmla="*/ 6000 w 10000"/>
                    <a:gd name="connsiteY19" fmla="*/ 4573 h 7296"/>
                    <a:gd name="connsiteX20" fmla="*/ 6056 w 10000"/>
                    <a:gd name="connsiteY20" fmla="*/ 4365 h 7296"/>
                    <a:gd name="connsiteX21" fmla="*/ 6111 w 10000"/>
                    <a:gd name="connsiteY21" fmla="*/ 4261 h 7296"/>
                    <a:gd name="connsiteX22" fmla="*/ 6056 w 10000"/>
                    <a:gd name="connsiteY22" fmla="*/ 4132 h 7296"/>
                    <a:gd name="connsiteX23" fmla="*/ 6056 w 10000"/>
                    <a:gd name="connsiteY23" fmla="*/ 4132 h 7296"/>
                    <a:gd name="connsiteX24" fmla="*/ 6000 w 10000"/>
                    <a:gd name="connsiteY24" fmla="*/ 4055 h 7296"/>
                    <a:gd name="connsiteX25" fmla="*/ 5944 w 10000"/>
                    <a:gd name="connsiteY25" fmla="*/ 4004 h 7296"/>
                    <a:gd name="connsiteX26" fmla="*/ 5833 w 10000"/>
                    <a:gd name="connsiteY26" fmla="*/ 4004 h 7296"/>
                    <a:gd name="connsiteX27" fmla="*/ 5667 w 10000"/>
                    <a:gd name="connsiteY27" fmla="*/ 4027 h 7296"/>
                    <a:gd name="connsiteX28" fmla="*/ 5333 w 10000"/>
                    <a:gd name="connsiteY28" fmla="*/ 4107 h 7296"/>
                    <a:gd name="connsiteX29" fmla="*/ 4889 w 10000"/>
                    <a:gd name="connsiteY29" fmla="*/ 4235 h 7296"/>
                    <a:gd name="connsiteX30" fmla="*/ 4889 w 10000"/>
                    <a:gd name="connsiteY30" fmla="*/ 4235 h 7296"/>
                    <a:gd name="connsiteX31" fmla="*/ 4611 w 10000"/>
                    <a:gd name="connsiteY31" fmla="*/ 4261 h 7296"/>
                    <a:gd name="connsiteX32" fmla="*/ 4500 w 10000"/>
                    <a:gd name="connsiteY32" fmla="*/ 4261 h 7296"/>
                    <a:gd name="connsiteX33" fmla="*/ 4444 w 10000"/>
                    <a:gd name="connsiteY33" fmla="*/ 4235 h 7296"/>
                    <a:gd name="connsiteX34" fmla="*/ 4389 w 10000"/>
                    <a:gd name="connsiteY34" fmla="*/ 4132 h 7296"/>
                    <a:gd name="connsiteX35" fmla="*/ 4222 w 10000"/>
                    <a:gd name="connsiteY35" fmla="*/ 4004 h 7296"/>
                    <a:gd name="connsiteX36" fmla="*/ 4222 w 10000"/>
                    <a:gd name="connsiteY36" fmla="*/ 4004 h 7296"/>
                    <a:gd name="connsiteX37" fmla="*/ 4111 w 10000"/>
                    <a:gd name="connsiteY37" fmla="*/ 3926 h 7296"/>
                    <a:gd name="connsiteX38" fmla="*/ 4111 w 10000"/>
                    <a:gd name="connsiteY38" fmla="*/ 3852 h 7296"/>
                    <a:gd name="connsiteX39" fmla="*/ 4111 w 10000"/>
                    <a:gd name="connsiteY39" fmla="*/ 3801 h 7296"/>
                    <a:gd name="connsiteX40" fmla="*/ 4167 w 10000"/>
                    <a:gd name="connsiteY40" fmla="*/ 3749 h 7296"/>
                    <a:gd name="connsiteX41" fmla="*/ 4278 w 10000"/>
                    <a:gd name="connsiteY41" fmla="*/ 3647 h 7296"/>
                    <a:gd name="connsiteX42" fmla="*/ 4389 w 10000"/>
                    <a:gd name="connsiteY42" fmla="*/ 3621 h 7296"/>
                    <a:gd name="connsiteX43" fmla="*/ 4389 w 10000"/>
                    <a:gd name="connsiteY43" fmla="*/ 3621 h 7296"/>
                    <a:gd name="connsiteX44" fmla="*/ 4389 w 10000"/>
                    <a:gd name="connsiteY44" fmla="*/ 3595 h 7296"/>
                    <a:gd name="connsiteX45" fmla="*/ 4444 w 10000"/>
                    <a:gd name="connsiteY45" fmla="*/ 3575 h 7296"/>
                    <a:gd name="connsiteX46" fmla="*/ 4667 w 10000"/>
                    <a:gd name="connsiteY46" fmla="*/ 3546 h 7296"/>
                    <a:gd name="connsiteX47" fmla="*/ 5333 w 10000"/>
                    <a:gd name="connsiteY47" fmla="*/ 3498 h 7296"/>
                    <a:gd name="connsiteX48" fmla="*/ 6500 w 10000"/>
                    <a:gd name="connsiteY48" fmla="*/ 3417 h 7296"/>
                    <a:gd name="connsiteX49" fmla="*/ 6500 w 10000"/>
                    <a:gd name="connsiteY49" fmla="*/ 3417 h 7296"/>
                    <a:gd name="connsiteX50" fmla="*/ 7167 w 10000"/>
                    <a:gd name="connsiteY50" fmla="*/ 3344 h 7296"/>
                    <a:gd name="connsiteX51" fmla="*/ 8389 w 10000"/>
                    <a:gd name="connsiteY51" fmla="*/ 3191 h 7296"/>
                    <a:gd name="connsiteX52" fmla="*/ 8389 w 10000"/>
                    <a:gd name="connsiteY52" fmla="*/ 3191 h 7296"/>
                    <a:gd name="connsiteX53" fmla="*/ 8667 w 10000"/>
                    <a:gd name="connsiteY53" fmla="*/ 3136 h 7296"/>
                    <a:gd name="connsiteX54" fmla="*/ 8778 w 10000"/>
                    <a:gd name="connsiteY54" fmla="*/ 3057 h 7296"/>
                    <a:gd name="connsiteX55" fmla="*/ 8889 w 10000"/>
                    <a:gd name="connsiteY55" fmla="*/ 3009 h 7296"/>
                    <a:gd name="connsiteX56" fmla="*/ 8833 w 10000"/>
                    <a:gd name="connsiteY56" fmla="*/ 2959 h 7296"/>
                    <a:gd name="connsiteX57" fmla="*/ 8833 w 10000"/>
                    <a:gd name="connsiteY57" fmla="*/ 2911 h 7296"/>
                    <a:gd name="connsiteX58" fmla="*/ 8722 w 10000"/>
                    <a:gd name="connsiteY58" fmla="*/ 2856 h 7296"/>
                    <a:gd name="connsiteX59" fmla="*/ 8556 w 10000"/>
                    <a:gd name="connsiteY59" fmla="*/ 2779 h 7296"/>
                    <a:gd name="connsiteX60" fmla="*/ 8556 w 10000"/>
                    <a:gd name="connsiteY60" fmla="*/ 2779 h 7296"/>
                    <a:gd name="connsiteX61" fmla="*/ 6556 w 10000"/>
                    <a:gd name="connsiteY61" fmla="*/ 2325 h 7296"/>
                    <a:gd name="connsiteX62" fmla="*/ 6556 w 10000"/>
                    <a:gd name="connsiteY62" fmla="*/ 2325 h 7296"/>
                    <a:gd name="connsiteX63" fmla="*/ 6333 w 10000"/>
                    <a:gd name="connsiteY63" fmla="*/ 2246 h 7296"/>
                    <a:gd name="connsiteX64" fmla="*/ 6167 w 10000"/>
                    <a:gd name="connsiteY64" fmla="*/ 2169 h 7296"/>
                    <a:gd name="connsiteX65" fmla="*/ 6056 w 10000"/>
                    <a:gd name="connsiteY65" fmla="*/ 2090 h 7296"/>
                    <a:gd name="connsiteX66" fmla="*/ 6056 w 10000"/>
                    <a:gd name="connsiteY66" fmla="*/ 2090 h 7296"/>
                    <a:gd name="connsiteX67" fmla="*/ 8056 w 10000"/>
                    <a:gd name="connsiteY67" fmla="*/ 2065 h 7296"/>
                    <a:gd name="connsiteX68" fmla="*/ 10000 w 10000"/>
                    <a:gd name="connsiteY68" fmla="*/ 2325 h 7296"/>
                    <a:gd name="connsiteX69" fmla="*/ 10000 w 10000"/>
                    <a:gd name="connsiteY69" fmla="*/ 0 h 7296"/>
                    <a:gd name="connsiteX70" fmla="*/ 10000 w 10000"/>
                    <a:gd name="connsiteY70" fmla="*/ 5586 h 7296"/>
                    <a:gd name="connsiteX71" fmla="*/ 10000 w 10000"/>
                    <a:gd name="connsiteY71" fmla="*/ 5586 h 7296"/>
                    <a:gd name="connsiteX72" fmla="*/ 9722 w 10000"/>
                    <a:gd name="connsiteY72" fmla="*/ 5558 h 7296"/>
                    <a:gd name="connsiteX73" fmla="*/ 9389 w 10000"/>
                    <a:gd name="connsiteY73" fmla="*/ 5586 h 7296"/>
                    <a:gd name="connsiteX74" fmla="*/ 9389 w 10000"/>
                    <a:gd name="connsiteY74" fmla="*/ 5586 h 7296"/>
                    <a:gd name="connsiteX75" fmla="*/ 9278 w 10000"/>
                    <a:gd name="connsiteY75" fmla="*/ 5618 h 7296"/>
                    <a:gd name="connsiteX76" fmla="*/ 9056 w 10000"/>
                    <a:gd name="connsiteY76" fmla="*/ 5586 h 7296"/>
                    <a:gd name="connsiteX77" fmla="*/ 8889 w 10000"/>
                    <a:gd name="connsiteY77" fmla="*/ 5558 h 7296"/>
                    <a:gd name="connsiteX78" fmla="*/ 8722 w 10000"/>
                    <a:gd name="connsiteY78" fmla="*/ 5511 h 7296"/>
                    <a:gd name="connsiteX79" fmla="*/ 8611 w 10000"/>
                    <a:gd name="connsiteY79" fmla="*/ 5431 h 7296"/>
                    <a:gd name="connsiteX80" fmla="*/ 8444 w 10000"/>
                    <a:gd name="connsiteY80" fmla="*/ 5303 h 7296"/>
                    <a:gd name="connsiteX81" fmla="*/ 8444 w 10000"/>
                    <a:gd name="connsiteY81" fmla="*/ 5303 h 7296"/>
                    <a:gd name="connsiteX82" fmla="*/ 8222 w 10000"/>
                    <a:gd name="connsiteY82" fmla="*/ 5079 h 7296"/>
                    <a:gd name="connsiteX83" fmla="*/ 8111 w 10000"/>
                    <a:gd name="connsiteY83" fmla="*/ 4977 h 7296"/>
                    <a:gd name="connsiteX84" fmla="*/ 7944 w 10000"/>
                    <a:gd name="connsiteY84" fmla="*/ 4900 h 7296"/>
                    <a:gd name="connsiteX85" fmla="*/ 7778 w 10000"/>
                    <a:gd name="connsiteY85" fmla="*/ 4850 h 7296"/>
                    <a:gd name="connsiteX86" fmla="*/ 7556 w 10000"/>
                    <a:gd name="connsiteY86" fmla="*/ 4820 h 7296"/>
                    <a:gd name="connsiteX87" fmla="*/ 7333 w 10000"/>
                    <a:gd name="connsiteY87" fmla="*/ 4797 h 7296"/>
                    <a:gd name="connsiteX88" fmla="*/ 7000 w 10000"/>
                    <a:gd name="connsiteY88" fmla="*/ 4768 h 7296"/>
                    <a:gd name="connsiteX89" fmla="*/ 7000 w 10000"/>
                    <a:gd name="connsiteY89" fmla="*/ 4768 h 7296"/>
                    <a:gd name="connsiteX90" fmla="*/ 6556 w 10000"/>
                    <a:gd name="connsiteY90" fmla="*/ 4797 h 7296"/>
                    <a:gd name="connsiteX91" fmla="*/ 6222 w 10000"/>
                    <a:gd name="connsiteY91" fmla="*/ 4797 h 7296"/>
                    <a:gd name="connsiteX92" fmla="*/ 6111 w 10000"/>
                    <a:gd name="connsiteY92" fmla="*/ 4768 h 7296"/>
                    <a:gd name="connsiteX93" fmla="*/ 6056 w 10000"/>
                    <a:gd name="connsiteY93" fmla="*/ 4743 h 7296"/>
                    <a:gd name="connsiteX94" fmla="*/ 6056 w 10000"/>
                    <a:gd name="connsiteY94" fmla="*/ 4743 h 7296"/>
                    <a:gd name="connsiteX95" fmla="*/ 6056 w 10000"/>
                    <a:gd name="connsiteY95" fmla="*/ 4288 h 7296"/>
                    <a:gd name="connsiteX96" fmla="*/ 6056 w 10000"/>
                    <a:gd name="connsiteY96" fmla="*/ 4288 h 7296"/>
                    <a:gd name="connsiteX97" fmla="*/ 6056 w 10000"/>
                    <a:gd name="connsiteY97" fmla="*/ 4182 h 7296"/>
                    <a:gd name="connsiteX98" fmla="*/ 5944 w 10000"/>
                    <a:gd name="connsiteY98" fmla="*/ 4055 h 7296"/>
                    <a:gd name="connsiteX99" fmla="*/ 5889 w 10000"/>
                    <a:gd name="connsiteY99" fmla="*/ 4027 h 7296"/>
                    <a:gd name="connsiteX100" fmla="*/ 5778 w 10000"/>
                    <a:gd name="connsiteY100" fmla="*/ 4004 h 7296"/>
                    <a:gd name="connsiteX101" fmla="*/ 5667 w 10000"/>
                    <a:gd name="connsiteY101" fmla="*/ 4004 h 7296"/>
                    <a:gd name="connsiteX102" fmla="*/ 5500 w 10000"/>
                    <a:gd name="connsiteY102" fmla="*/ 4027 h 7296"/>
                    <a:gd name="connsiteX103" fmla="*/ 5500 w 10000"/>
                    <a:gd name="connsiteY103" fmla="*/ 4027 h 7296"/>
                    <a:gd name="connsiteX104" fmla="*/ 4889 w 10000"/>
                    <a:gd name="connsiteY104" fmla="*/ 4208 h 7296"/>
                    <a:gd name="connsiteX105" fmla="*/ 4611 w 10000"/>
                    <a:gd name="connsiteY105" fmla="*/ 4261 h 7296"/>
                    <a:gd name="connsiteX106" fmla="*/ 4556 w 10000"/>
                    <a:gd name="connsiteY106" fmla="*/ 4288 h 7296"/>
                    <a:gd name="connsiteX107" fmla="*/ 4500 w 10000"/>
                    <a:gd name="connsiteY107" fmla="*/ 4261 h 7296"/>
                    <a:gd name="connsiteX108" fmla="*/ 4500 w 10000"/>
                    <a:gd name="connsiteY108" fmla="*/ 4261 h 7296"/>
                    <a:gd name="connsiteX109" fmla="*/ 4222 w 10000"/>
                    <a:gd name="connsiteY109" fmla="*/ 4004 h 7296"/>
                    <a:gd name="connsiteX110" fmla="*/ 4222 w 10000"/>
                    <a:gd name="connsiteY110" fmla="*/ 4004 h 7296"/>
                    <a:gd name="connsiteX111" fmla="*/ 4111 w 10000"/>
                    <a:gd name="connsiteY111" fmla="*/ 3877 h 7296"/>
                    <a:gd name="connsiteX112" fmla="*/ 4111 w 10000"/>
                    <a:gd name="connsiteY112" fmla="*/ 3801 h 7296"/>
                    <a:gd name="connsiteX113" fmla="*/ 4111 w 10000"/>
                    <a:gd name="connsiteY113" fmla="*/ 3723 h 7296"/>
                    <a:gd name="connsiteX114" fmla="*/ 4111 w 10000"/>
                    <a:gd name="connsiteY114" fmla="*/ 3723 h 7296"/>
                    <a:gd name="connsiteX115" fmla="*/ 4278 w 10000"/>
                    <a:gd name="connsiteY115" fmla="*/ 3647 h 7296"/>
                    <a:gd name="connsiteX116" fmla="*/ 4389 w 10000"/>
                    <a:gd name="connsiteY116" fmla="*/ 3621 h 7296"/>
                    <a:gd name="connsiteX117" fmla="*/ 4389 w 10000"/>
                    <a:gd name="connsiteY117" fmla="*/ 3621 h 7296"/>
                    <a:gd name="connsiteX118" fmla="*/ 4000 w 10000"/>
                    <a:gd name="connsiteY118" fmla="*/ 3621 h 7296"/>
                    <a:gd name="connsiteX119" fmla="*/ 3722 w 10000"/>
                    <a:gd name="connsiteY119" fmla="*/ 3647 h 7296"/>
                    <a:gd name="connsiteX120" fmla="*/ 3611 w 10000"/>
                    <a:gd name="connsiteY120" fmla="*/ 3675 h 7296"/>
                    <a:gd name="connsiteX121" fmla="*/ 3556 w 10000"/>
                    <a:gd name="connsiteY121" fmla="*/ 3700 h 7296"/>
                    <a:gd name="connsiteX122" fmla="*/ 3556 w 10000"/>
                    <a:gd name="connsiteY122" fmla="*/ 3700 h 7296"/>
                    <a:gd name="connsiteX123" fmla="*/ 3444 w 10000"/>
                    <a:gd name="connsiteY123" fmla="*/ 3801 h 7296"/>
                    <a:gd name="connsiteX124" fmla="*/ 3278 w 10000"/>
                    <a:gd name="connsiteY124" fmla="*/ 3956 h 7296"/>
                    <a:gd name="connsiteX125" fmla="*/ 3000 w 10000"/>
                    <a:gd name="connsiteY125" fmla="*/ 4132 h 7296"/>
                    <a:gd name="connsiteX126" fmla="*/ 2667 w 10000"/>
                    <a:gd name="connsiteY126" fmla="*/ 4261 h 7296"/>
                    <a:gd name="connsiteX127" fmla="*/ 2667 w 10000"/>
                    <a:gd name="connsiteY127" fmla="*/ 4261 h 7296"/>
                    <a:gd name="connsiteX128" fmla="*/ 2333 w 10000"/>
                    <a:gd name="connsiteY128" fmla="*/ 4365 h 7296"/>
                    <a:gd name="connsiteX129" fmla="*/ 1833 w 10000"/>
                    <a:gd name="connsiteY129" fmla="*/ 4467 h 7296"/>
                    <a:gd name="connsiteX130" fmla="*/ 1389 w 10000"/>
                    <a:gd name="connsiteY130" fmla="*/ 4516 h 7296"/>
                    <a:gd name="connsiteX131" fmla="*/ 889 w 10000"/>
                    <a:gd name="connsiteY131" fmla="*/ 4542 h 7296"/>
                    <a:gd name="connsiteX132" fmla="*/ 889 w 10000"/>
                    <a:gd name="connsiteY132" fmla="*/ 4542 h 7296"/>
                    <a:gd name="connsiteX133" fmla="*/ 500 w 10000"/>
                    <a:gd name="connsiteY133" fmla="*/ 4573 h 7296"/>
                    <a:gd name="connsiteX134" fmla="*/ 222 w 10000"/>
                    <a:gd name="connsiteY134" fmla="*/ 4592 h 7296"/>
                    <a:gd name="connsiteX135" fmla="*/ 0 w 10000"/>
                    <a:gd name="connsiteY135" fmla="*/ 4616 h 7296"/>
                    <a:gd name="connsiteX136" fmla="*/ 0 w 10000"/>
                    <a:gd name="connsiteY136" fmla="*/ 4616 h 7296"/>
                    <a:gd name="connsiteX137" fmla="*/ 278 w 10000"/>
                    <a:gd name="connsiteY137" fmla="*/ 5028 h 7296"/>
                    <a:gd name="connsiteX138" fmla="*/ 500 w 10000"/>
                    <a:gd name="connsiteY138" fmla="*/ 5330 h 7296"/>
                    <a:gd name="connsiteX139" fmla="*/ 722 w 10000"/>
                    <a:gd name="connsiteY139" fmla="*/ 5586 h 7296"/>
                    <a:gd name="connsiteX140" fmla="*/ 722 w 10000"/>
                    <a:gd name="connsiteY140" fmla="*/ 5586 h 7296"/>
                    <a:gd name="connsiteX141" fmla="*/ 889 w 10000"/>
                    <a:gd name="connsiteY141" fmla="*/ 5739 h 7296"/>
                    <a:gd name="connsiteX142" fmla="*/ 944 w 10000"/>
                    <a:gd name="connsiteY142" fmla="*/ 5870 h 7296"/>
                    <a:gd name="connsiteX143" fmla="*/ 1111 w 10000"/>
                    <a:gd name="connsiteY143" fmla="*/ 5999 h 7296"/>
                    <a:gd name="connsiteX144" fmla="*/ 1333 w 10000"/>
                    <a:gd name="connsiteY144" fmla="*/ 6196 h 7296"/>
                    <a:gd name="connsiteX145" fmla="*/ 1333 w 10000"/>
                    <a:gd name="connsiteY145" fmla="*/ 6196 h 7296"/>
                    <a:gd name="connsiteX146" fmla="*/ 1444 w 10000"/>
                    <a:gd name="connsiteY146" fmla="*/ 6300 h 7296"/>
                    <a:gd name="connsiteX147" fmla="*/ 1500 w 10000"/>
                    <a:gd name="connsiteY147" fmla="*/ 6377 h 7296"/>
                    <a:gd name="connsiteX148" fmla="*/ 1500 w 10000"/>
                    <a:gd name="connsiteY148" fmla="*/ 6450 h 7296"/>
                    <a:gd name="connsiteX149" fmla="*/ 1556 w 10000"/>
                    <a:gd name="connsiteY149" fmla="*/ 6481 h 7296"/>
                    <a:gd name="connsiteX150" fmla="*/ 1722 w 10000"/>
                    <a:gd name="connsiteY150" fmla="*/ 6504 h 7296"/>
                    <a:gd name="connsiteX151" fmla="*/ 1944 w 10000"/>
                    <a:gd name="connsiteY151" fmla="*/ 6529 h 7296"/>
                    <a:gd name="connsiteX152" fmla="*/ 2944 w 10000"/>
                    <a:gd name="connsiteY152" fmla="*/ 6556 h 7296"/>
                    <a:gd name="connsiteX153" fmla="*/ 2944 w 10000"/>
                    <a:gd name="connsiteY153" fmla="*/ 6556 h 7296"/>
                    <a:gd name="connsiteX154" fmla="*/ 4167 w 10000"/>
                    <a:gd name="connsiteY154" fmla="*/ 6608 h 7296"/>
                    <a:gd name="connsiteX155" fmla="*/ 4889 w 10000"/>
                    <a:gd name="connsiteY155" fmla="*/ 6681 h 7296"/>
                    <a:gd name="connsiteX156" fmla="*/ 5278 w 10000"/>
                    <a:gd name="connsiteY156" fmla="*/ 6763 h 7296"/>
                    <a:gd name="connsiteX157" fmla="*/ 5444 w 10000"/>
                    <a:gd name="connsiteY157" fmla="*/ 6783 h 7296"/>
                    <a:gd name="connsiteX158" fmla="*/ 5444 w 10000"/>
                    <a:gd name="connsiteY158" fmla="*/ 6783 h 7296"/>
                    <a:gd name="connsiteX159" fmla="*/ 5722 w 10000"/>
                    <a:gd name="connsiteY159" fmla="*/ 6840 h 7296"/>
                    <a:gd name="connsiteX160" fmla="*/ 5833 w 10000"/>
                    <a:gd name="connsiteY160" fmla="*/ 6866 h 7296"/>
                    <a:gd name="connsiteX161" fmla="*/ 5833 w 10000"/>
                    <a:gd name="connsiteY161" fmla="*/ 6866 h 7296"/>
                    <a:gd name="connsiteX162" fmla="*/ 5833 w 10000"/>
                    <a:gd name="connsiteY162" fmla="*/ 6840 h 7296"/>
                    <a:gd name="connsiteX163" fmla="*/ 5889 w 10000"/>
                    <a:gd name="connsiteY163" fmla="*/ 6811 h 7296"/>
                    <a:gd name="connsiteX164" fmla="*/ 6000 w 10000"/>
                    <a:gd name="connsiteY164" fmla="*/ 6783 h 7296"/>
                    <a:gd name="connsiteX165" fmla="*/ 6167 w 10000"/>
                    <a:gd name="connsiteY165" fmla="*/ 6763 h 7296"/>
                    <a:gd name="connsiteX166" fmla="*/ 6444 w 10000"/>
                    <a:gd name="connsiteY166" fmla="*/ 6763 h 7296"/>
                    <a:gd name="connsiteX167" fmla="*/ 6833 w 10000"/>
                    <a:gd name="connsiteY167" fmla="*/ 6783 h 7296"/>
                    <a:gd name="connsiteX168" fmla="*/ 7278 w 10000"/>
                    <a:gd name="connsiteY168" fmla="*/ 6866 h 7296"/>
                    <a:gd name="connsiteX169" fmla="*/ 7278 w 10000"/>
                    <a:gd name="connsiteY169" fmla="*/ 6866 h 7296"/>
                    <a:gd name="connsiteX170" fmla="*/ 8722 w 10000"/>
                    <a:gd name="connsiteY170" fmla="*/ 7088 h 7296"/>
                    <a:gd name="connsiteX171" fmla="*/ 10000 w 10000"/>
                    <a:gd name="connsiteY171" fmla="*/ 7296 h 7296"/>
                    <a:gd name="connsiteX0" fmla="*/ 10000 w 10000"/>
                    <a:gd name="connsiteY0" fmla="*/ 7618 h 10000"/>
                    <a:gd name="connsiteX1" fmla="*/ 10000 w 10000"/>
                    <a:gd name="connsiteY1" fmla="*/ 7618 h 10000"/>
                    <a:gd name="connsiteX2" fmla="*/ 9222 w 10000"/>
                    <a:gd name="connsiteY2" fmla="*/ 7656 h 10000"/>
                    <a:gd name="connsiteX3" fmla="*/ 8944 w 10000"/>
                    <a:gd name="connsiteY3" fmla="*/ 7656 h 10000"/>
                    <a:gd name="connsiteX4" fmla="*/ 8833 w 10000"/>
                    <a:gd name="connsiteY4" fmla="*/ 7618 h 10000"/>
                    <a:gd name="connsiteX5" fmla="*/ 8778 w 10000"/>
                    <a:gd name="connsiteY5" fmla="*/ 7586 h 10000"/>
                    <a:gd name="connsiteX6" fmla="*/ 8778 w 10000"/>
                    <a:gd name="connsiteY6" fmla="*/ 7586 h 10000"/>
                    <a:gd name="connsiteX7" fmla="*/ 8444 w 10000"/>
                    <a:gd name="connsiteY7" fmla="*/ 7166 h 10000"/>
                    <a:gd name="connsiteX8" fmla="*/ 8167 w 10000"/>
                    <a:gd name="connsiteY8" fmla="*/ 6780 h 10000"/>
                    <a:gd name="connsiteX9" fmla="*/ 8167 w 10000"/>
                    <a:gd name="connsiteY9" fmla="*/ 6780 h 10000"/>
                    <a:gd name="connsiteX10" fmla="*/ 8056 w 10000"/>
                    <a:gd name="connsiteY10" fmla="*/ 6716 h 10000"/>
                    <a:gd name="connsiteX11" fmla="*/ 7889 w 10000"/>
                    <a:gd name="connsiteY11" fmla="*/ 6647 h 10000"/>
                    <a:gd name="connsiteX12" fmla="*/ 7444 w 10000"/>
                    <a:gd name="connsiteY12" fmla="*/ 6606 h 10000"/>
                    <a:gd name="connsiteX13" fmla="*/ 6889 w 10000"/>
                    <a:gd name="connsiteY13" fmla="*/ 6575 h 10000"/>
                    <a:gd name="connsiteX14" fmla="*/ 6389 w 10000"/>
                    <a:gd name="connsiteY14" fmla="*/ 6575 h 10000"/>
                    <a:gd name="connsiteX15" fmla="*/ 6389 w 10000"/>
                    <a:gd name="connsiteY15" fmla="*/ 6575 h 10000"/>
                    <a:gd name="connsiteX16" fmla="*/ 6167 w 10000"/>
                    <a:gd name="connsiteY16" fmla="*/ 6535 h 10000"/>
                    <a:gd name="connsiteX17" fmla="*/ 6056 w 10000"/>
                    <a:gd name="connsiteY17" fmla="*/ 6472 h 10000"/>
                    <a:gd name="connsiteX18" fmla="*/ 6000 w 10000"/>
                    <a:gd name="connsiteY18" fmla="*/ 6398 h 10000"/>
                    <a:gd name="connsiteX19" fmla="*/ 6000 w 10000"/>
                    <a:gd name="connsiteY19" fmla="*/ 6268 h 10000"/>
                    <a:gd name="connsiteX20" fmla="*/ 6056 w 10000"/>
                    <a:gd name="connsiteY20" fmla="*/ 5983 h 10000"/>
                    <a:gd name="connsiteX21" fmla="*/ 6111 w 10000"/>
                    <a:gd name="connsiteY21" fmla="*/ 5840 h 10000"/>
                    <a:gd name="connsiteX22" fmla="*/ 6056 w 10000"/>
                    <a:gd name="connsiteY22" fmla="*/ 5663 h 10000"/>
                    <a:gd name="connsiteX23" fmla="*/ 6056 w 10000"/>
                    <a:gd name="connsiteY23" fmla="*/ 5663 h 10000"/>
                    <a:gd name="connsiteX24" fmla="*/ 6000 w 10000"/>
                    <a:gd name="connsiteY24" fmla="*/ 5558 h 10000"/>
                    <a:gd name="connsiteX25" fmla="*/ 5944 w 10000"/>
                    <a:gd name="connsiteY25" fmla="*/ 5488 h 10000"/>
                    <a:gd name="connsiteX26" fmla="*/ 5833 w 10000"/>
                    <a:gd name="connsiteY26" fmla="*/ 5488 h 10000"/>
                    <a:gd name="connsiteX27" fmla="*/ 5667 w 10000"/>
                    <a:gd name="connsiteY27" fmla="*/ 5519 h 10000"/>
                    <a:gd name="connsiteX28" fmla="*/ 5333 w 10000"/>
                    <a:gd name="connsiteY28" fmla="*/ 5629 h 10000"/>
                    <a:gd name="connsiteX29" fmla="*/ 4889 w 10000"/>
                    <a:gd name="connsiteY29" fmla="*/ 5805 h 10000"/>
                    <a:gd name="connsiteX30" fmla="*/ 4889 w 10000"/>
                    <a:gd name="connsiteY30" fmla="*/ 5805 h 10000"/>
                    <a:gd name="connsiteX31" fmla="*/ 4611 w 10000"/>
                    <a:gd name="connsiteY31" fmla="*/ 5840 h 10000"/>
                    <a:gd name="connsiteX32" fmla="*/ 4500 w 10000"/>
                    <a:gd name="connsiteY32" fmla="*/ 5840 h 10000"/>
                    <a:gd name="connsiteX33" fmla="*/ 4444 w 10000"/>
                    <a:gd name="connsiteY33" fmla="*/ 5805 h 10000"/>
                    <a:gd name="connsiteX34" fmla="*/ 4389 w 10000"/>
                    <a:gd name="connsiteY34" fmla="*/ 5663 h 10000"/>
                    <a:gd name="connsiteX35" fmla="*/ 4222 w 10000"/>
                    <a:gd name="connsiteY35" fmla="*/ 5488 h 10000"/>
                    <a:gd name="connsiteX36" fmla="*/ 4222 w 10000"/>
                    <a:gd name="connsiteY36" fmla="*/ 5488 h 10000"/>
                    <a:gd name="connsiteX37" fmla="*/ 4111 w 10000"/>
                    <a:gd name="connsiteY37" fmla="*/ 5381 h 10000"/>
                    <a:gd name="connsiteX38" fmla="*/ 4111 w 10000"/>
                    <a:gd name="connsiteY38" fmla="*/ 5280 h 10000"/>
                    <a:gd name="connsiteX39" fmla="*/ 4111 w 10000"/>
                    <a:gd name="connsiteY39" fmla="*/ 5210 h 10000"/>
                    <a:gd name="connsiteX40" fmla="*/ 4167 w 10000"/>
                    <a:gd name="connsiteY40" fmla="*/ 5138 h 10000"/>
                    <a:gd name="connsiteX41" fmla="*/ 4278 w 10000"/>
                    <a:gd name="connsiteY41" fmla="*/ 4999 h 10000"/>
                    <a:gd name="connsiteX42" fmla="*/ 4389 w 10000"/>
                    <a:gd name="connsiteY42" fmla="*/ 4963 h 10000"/>
                    <a:gd name="connsiteX43" fmla="*/ 4389 w 10000"/>
                    <a:gd name="connsiteY43" fmla="*/ 4963 h 10000"/>
                    <a:gd name="connsiteX44" fmla="*/ 4389 w 10000"/>
                    <a:gd name="connsiteY44" fmla="*/ 4927 h 10000"/>
                    <a:gd name="connsiteX45" fmla="*/ 4444 w 10000"/>
                    <a:gd name="connsiteY45" fmla="*/ 4900 h 10000"/>
                    <a:gd name="connsiteX46" fmla="*/ 4667 w 10000"/>
                    <a:gd name="connsiteY46" fmla="*/ 4860 h 10000"/>
                    <a:gd name="connsiteX47" fmla="*/ 5333 w 10000"/>
                    <a:gd name="connsiteY47" fmla="*/ 4794 h 10000"/>
                    <a:gd name="connsiteX48" fmla="*/ 6500 w 10000"/>
                    <a:gd name="connsiteY48" fmla="*/ 4683 h 10000"/>
                    <a:gd name="connsiteX49" fmla="*/ 6500 w 10000"/>
                    <a:gd name="connsiteY49" fmla="*/ 4683 h 10000"/>
                    <a:gd name="connsiteX50" fmla="*/ 7167 w 10000"/>
                    <a:gd name="connsiteY50" fmla="*/ 4583 h 10000"/>
                    <a:gd name="connsiteX51" fmla="*/ 8389 w 10000"/>
                    <a:gd name="connsiteY51" fmla="*/ 4374 h 10000"/>
                    <a:gd name="connsiteX52" fmla="*/ 8389 w 10000"/>
                    <a:gd name="connsiteY52" fmla="*/ 4374 h 10000"/>
                    <a:gd name="connsiteX53" fmla="*/ 8667 w 10000"/>
                    <a:gd name="connsiteY53" fmla="*/ 4298 h 10000"/>
                    <a:gd name="connsiteX54" fmla="*/ 8778 w 10000"/>
                    <a:gd name="connsiteY54" fmla="*/ 4190 h 10000"/>
                    <a:gd name="connsiteX55" fmla="*/ 8889 w 10000"/>
                    <a:gd name="connsiteY55" fmla="*/ 4124 h 10000"/>
                    <a:gd name="connsiteX56" fmla="*/ 8833 w 10000"/>
                    <a:gd name="connsiteY56" fmla="*/ 4056 h 10000"/>
                    <a:gd name="connsiteX57" fmla="*/ 8833 w 10000"/>
                    <a:gd name="connsiteY57" fmla="*/ 3990 h 10000"/>
                    <a:gd name="connsiteX58" fmla="*/ 8722 w 10000"/>
                    <a:gd name="connsiteY58" fmla="*/ 3914 h 10000"/>
                    <a:gd name="connsiteX59" fmla="*/ 8556 w 10000"/>
                    <a:gd name="connsiteY59" fmla="*/ 3809 h 10000"/>
                    <a:gd name="connsiteX60" fmla="*/ 8556 w 10000"/>
                    <a:gd name="connsiteY60" fmla="*/ 3809 h 10000"/>
                    <a:gd name="connsiteX61" fmla="*/ 6556 w 10000"/>
                    <a:gd name="connsiteY61" fmla="*/ 3187 h 10000"/>
                    <a:gd name="connsiteX62" fmla="*/ 6556 w 10000"/>
                    <a:gd name="connsiteY62" fmla="*/ 3187 h 10000"/>
                    <a:gd name="connsiteX63" fmla="*/ 6333 w 10000"/>
                    <a:gd name="connsiteY63" fmla="*/ 3078 h 10000"/>
                    <a:gd name="connsiteX64" fmla="*/ 6167 w 10000"/>
                    <a:gd name="connsiteY64" fmla="*/ 2973 h 10000"/>
                    <a:gd name="connsiteX65" fmla="*/ 6056 w 10000"/>
                    <a:gd name="connsiteY65" fmla="*/ 2865 h 10000"/>
                    <a:gd name="connsiteX66" fmla="*/ 6056 w 10000"/>
                    <a:gd name="connsiteY66" fmla="*/ 2865 h 10000"/>
                    <a:gd name="connsiteX67" fmla="*/ 8056 w 10000"/>
                    <a:gd name="connsiteY67" fmla="*/ 2830 h 10000"/>
                    <a:gd name="connsiteX68" fmla="*/ 10000 w 10000"/>
                    <a:gd name="connsiteY68" fmla="*/ 3187 h 10000"/>
                    <a:gd name="connsiteX69" fmla="*/ 10000 w 10000"/>
                    <a:gd name="connsiteY69" fmla="*/ 0 h 10000"/>
                    <a:gd name="connsiteX70" fmla="*/ 9920 w 10000"/>
                    <a:gd name="connsiteY70" fmla="*/ 166 h 10000"/>
                    <a:gd name="connsiteX71" fmla="*/ 10000 w 10000"/>
                    <a:gd name="connsiteY71" fmla="*/ 7656 h 10000"/>
                    <a:gd name="connsiteX72" fmla="*/ 10000 w 10000"/>
                    <a:gd name="connsiteY72" fmla="*/ 7656 h 10000"/>
                    <a:gd name="connsiteX73" fmla="*/ 9722 w 10000"/>
                    <a:gd name="connsiteY73" fmla="*/ 7618 h 10000"/>
                    <a:gd name="connsiteX74" fmla="*/ 9389 w 10000"/>
                    <a:gd name="connsiteY74" fmla="*/ 7656 h 10000"/>
                    <a:gd name="connsiteX75" fmla="*/ 9389 w 10000"/>
                    <a:gd name="connsiteY75" fmla="*/ 7656 h 10000"/>
                    <a:gd name="connsiteX76" fmla="*/ 9278 w 10000"/>
                    <a:gd name="connsiteY76" fmla="*/ 7700 h 10000"/>
                    <a:gd name="connsiteX77" fmla="*/ 9056 w 10000"/>
                    <a:gd name="connsiteY77" fmla="*/ 7656 h 10000"/>
                    <a:gd name="connsiteX78" fmla="*/ 8889 w 10000"/>
                    <a:gd name="connsiteY78" fmla="*/ 7618 h 10000"/>
                    <a:gd name="connsiteX79" fmla="*/ 8722 w 10000"/>
                    <a:gd name="connsiteY79" fmla="*/ 7553 h 10000"/>
                    <a:gd name="connsiteX80" fmla="*/ 8611 w 10000"/>
                    <a:gd name="connsiteY80" fmla="*/ 7444 h 10000"/>
                    <a:gd name="connsiteX81" fmla="*/ 8444 w 10000"/>
                    <a:gd name="connsiteY81" fmla="*/ 7268 h 10000"/>
                    <a:gd name="connsiteX82" fmla="*/ 8444 w 10000"/>
                    <a:gd name="connsiteY82" fmla="*/ 7268 h 10000"/>
                    <a:gd name="connsiteX83" fmla="*/ 8222 w 10000"/>
                    <a:gd name="connsiteY83" fmla="*/ 6961 h 10000"/>
                    <a:gd name="connsiteX84" fmla="*/ 8111 w 10000"/>
                    <a:gd name="connsiteY84" fmla="*/ 6822 h 10000"/>
                    <a:gd name="connsiteX85" fmla="*/ 7944 w 10000"/>
                    <a:gd name="connsiteY85" fmla="*/ 6716 h 10000"/>
                    <a:gd name="connsiteX86" fmla="*/ 7778 w 10000"/>
                    <a:gd name="connsiteY86" fmla="*/ 6647 h 10000"/>
                    <a:gd name="connsiteX87" fmla="*/ 7556 w 10000"/>
                    <a:gd name="connsiteY87" fmla="*/ 6606 h 10000"/>
                    <a:gd name="connsiteX88" fmla="*/ 7333 w 10000"/>
                    <a:gd name="connsiteY88" fmla="*/ 6575 h 10000"/>
                    <a:gd name="connsiteX89" fmla="*/ 7000 w 10000"/>
                    <a:gd name="connsiteY89" fmla="*/ 6535 h 10000"/>
                    <a:gd name="connsiteX90" fmla="*/ 7000 w 10000"/>
                    <a:gd name="connsiteY90" fmla="*/ 6535 h 10000"/>
                    <a:gd name="connsiteX91" fmla="*/ 6556 w 10000"/>
                    <a:gd name="connsiteY91" fmla="*/ 6575 h 10000"/>
                    <a:gd name="connsiteX92" fmla="*/ 6222 w 10000"/>
                    <a:gd name="connsiteY92" fmla="*/ 6575 h 10000"/>
                    <a:gd name="connsiteX93" fmla="*/ 6111 w 10000"/>
                    <a:gd name="connsiteY93" fmla="*/ 6535 h 10000"/>
                    <a:gd name="connsiteX94" fmla="*/ 6056 w 10000"/>
                    <a:gd name="connsiteY94" fmla="*/ 6501 h 10000"/>
                    <a:gd name="connsiteX95" fmla="*/ 6056 w 10000"/>
                    <a:gd name="connsiteY95" fmla="*/ 6501 h 10000"/>
                    <a:gd name="connsiteX96" fmla="*/ 6056 w 10000"/>
                    <a:gd name="connsiteY96" fmla="*/ 5877 h 10000"/>
                    <a:gd name="connsiteX97" fmla="*/ 6056 w 10000"/>
                    <a:gd name="connsiteY97" fmla="*/ 5877 h 10000"/>
                    <a:gd name="connsiteX98" fmla="*/ 6056 w 10000"/>
                    <a:gd name="connsiteY98" fmla="*/ 5732 h 10000"/>
                    <a:gd name="connsiteX99" fmla="*/ 5944 w 10000"/>
                    <a:gd name="connsiteY99" fmla="*/ 5558 h 10000"/>
                    <a:gd name="connsiteX100" fmla="*/ 5889 w 10000"/>
                    <a:gd name="connsiteY100" fmla="*/ 5519 h 10000"/>
                    <a:gd name="connsiteX101" fmla="*/ 5778 w 10000"/>
                    <a:gd name="connsiteY101" fmla="*/ 5488 h 10000"/>
                    <a:gd name="connsiteX102" fmla="*/ 5667 w 10000"/>
                    <a:gd name="connsiteY102" fmla="*/ 5488 h 10000"/>
                    <a:gd name="connsiteX103" fmla="*/ 5500 w 10000"/>
                    <a:gd name="connsiteY103" fmla="*/ 5519 h 10000"/>
                    <a:gd name="connsiteX104" fmla="*/ 5500 w 10000"/>
                    <a:gd name="connsiteY104" fmla="*/ 5519 h 10000"/>
                    <a:gd name="connsiteX105" fmla="*/ 4889 w 10000"/>
                    <a:gd name="connsiteY105" fmla="*/ 5768 h 10000"/>
                    <a:gd name="connsiteX106" fmla="*/ 4611 w 10000"/>
                    <a:gd name="connsiteY106" fmla="*/ 5840 h 10000"/>
                    <a:gd name="connsiteX107" fmla="*/ 4556 w 10000"/>
                    <a:gd name="connsiteY107" fmla="*/ 5877 h 10000"/>
                    <a:gd name="connsiteX108" fmla="*/ 4500 w 10000"/>
                    <a:gd name="connsiteY108" fmla="*/ 5840 h 10000"/>
                    <a:gd name="connsiteX109" fmla="*/ 4500 w 10000"/>
                    <a:gd name="connsiteY109" fmla="*/ 5840 h 10000"/>
                    <a:gd name="connsiteX110" fmla="*/ 4222 w 10000"/>
                    <a:gd name="connsiteY110" fmla="*/ 5488 h 10000"/>
                    <a:gd name="connsiteX111" fmla="*/ 4222 w 10000"/>
                    <a:gd name="connsiteY111" fmla="*/ 5488 h 10000"/>
                    <a:gd name="connsiteX112" fmla="*/ 4111 w 10000"/>
                    <a:gd name="connsiteY112" fmla="*/ 5314 h 10000"/>
                    <a:gd name="connsiteX113" fmla="*/ 4111 w 10000"/>
                    <a:gd name="connsiteY113" fmla="*/ 5210 h 10000"/>
                    <a:gd name="connsiteX114" fmla="*/ 4111 w 10000"/>
                    <a:gd name="connsiteY114" fmla="*/ 5103 h 10000"/>
                    <a:gd name="connsiteX115" fmla="*/ 4111 w 10000"/>
                    <a:gd name="connsiteY115" fmla="*/ 5103 h 10000"/>
                    <a:gd name="connsiteX116" fmla="*/ 4278 w 10000"/>
                    <a:gd name="connsiteY116" fmla="*/ 4999 h 10000"/>
                    <a:gd name="connsiteX117" fmla="*/ 4389 w 10000"/>
                    <a:gd name="connsiteY117" fmla="*/ 4963 h 10000"/>
                    <a:gd name="connsiteX118" fmla="*/ 4389 w 10000"/>
                    <a:gd name="connsiteY118" fmla="*/ 4963 h 10000"/>
                    <a:gd name="connsiteX119" fmla="*/ 4000 w 10000"/>
                    <a:gd name="connsiteY119" fmla="*/ 4963 h 10000"/>
                    <a:gd name="connsiteX120" fmla="*/ 3722 w 10000"/>
                    <a:gd name="connsiteY120" fmla="*/ 4999 h 10000"/>
                    <a:gd name="connsiteX121" fmla="*/ 3611 w 10000"/>
                    <a:gd name="connsiteY121" fmla="*/ 5037 h 10000"/>
                    <a:gd name="connsiteX122" fmla="*/ 3556 w 10000"/>
                    <a:gd name="connsiteY122" fmla="*/ 5071 h 10000"/>
                    <a:gd name="connsiteX123" fmla="*/ 3556 w 10000"/>
                    <a:gd name="connsiteY123" fmla="*/ 5071 h 10000"/>
                    <a:gd name="connsiteX124" fmla="*/ 3444 w 10000"/>
                    <a:gd name="connsiteY124" fmla="*/ 5210 h 10000"/>
                    <a:gd name="connsiteX125" fmla="*/ 3278 w 10000"/>
                    <a:gd name="connsiteY125" fmla="*/ 5422 h 10000"/>
                    <a:gd name="connsiteX126" fmla="*/ 3000 w 10000"/>
                    <a:gd name="connsiteY126" fmla="*/ 5663 h 10000"/>
                    <a:gd name="connsiteX127" fmla="*/ 2667 w 10000"/>
                    <a:gd name="connsiteY127" fmla="*/ 5840 h 10000"/>
                    <a:gd name="connsiteX128" fmla="*/ 2667 w 10000"/>
                    <a:gd name="connsiteY128" fmla="*/ 5840 h 10000"/>
                    <a:gd name="connsiteX129" fmla="*/ 2333 w 10000"/>
                    <a:gd name="connsiteY129" fmla="*/ 5983 h 10000"/>
                    <a:gd name="connsiteX130" fmla="*/ 1833 w 10000"/>
                    <a:gd name="connsiteY130" fmla="*/ 6123 h 10000"/>
                    <a:gd name="connsiteX131" fmla="*/ 1389 w 10000"/>
                    <a:gd name="connsiteY131" fmla="*/ 6190 h 10000"/>
                    <a:gd name="connsiteX132" fmla="*/ 889 w 10000"/>
                    <a:gd name="connsiteY132" fmla="*/ 6225 h 10000"/>
                    <a:gd name="connsiteX133" fmla="*/ 889 w 10000"/>
                    <a:gd name="connsiteY133" fmla="*/ 6225 h 10000"/>
                    <a:gd name="connsiteX134" fmla="*/ 500 w 10000"/>
                    <a:gd name="connsiteY134" fmla="*/ 6268 h 10000"/>
                    <a:gd name="connsiteX135" fmla="*/ 222 w 10000"/>
                    <a:gd name="connsiteY135" fmla="*/ 6294 h 10000"/>
                    <a:gd name="connsiteX136" fmla="*/ 0 w 10000"/>
                    <a:gd name="connsiteY136" fmla="*/ 6327 h 10000"/>
                    <a:gd name="connsiteX137" fmla="*/ 0 w 10000"/>
                    <a:gd name="connsiteY137" fmla="*/ 6327 h 10000"/>
                    <a:gd name="connsiteX138" fmla="*/ 278 w 10000"/>
                    <a:gd name="connsiteY138" fmla="*/ 6891 h 10000"/>
                    <a:gd name="connsiteX139" fmla="*/ 500 w 10000"/>
                    <a:gd name="connsiteY139" fmla="*/ 7305 h 10000"/>
                    <a:gd name="connsiteX140" fmla="*/ 722 w 10000"/>
                    <a:gd name="connsiteY140" fmla="*/ 7656 h 10000"/>
                    <a:gd name="connsiteX141" fmla="*/ 722 w 10000"/>
                    <a:gd name="connsiteY141" fmla="*/ 7656 h 10000"/>
                    <a:gd name="connsiteX142" fmla="*/ 889 w 10000"/>
                    <a:gd name="connsiteY142" fmla="*/ 7866 h 10000"/>
                    <a:gd name="connsiteX143" fmla="*/ 944 w 10000"/>
                    <a:gd name="connsiteY143" fmla="*/ 8046 h 10000"/>
                    <a:gd name="connsiteX144" fmla="*/ 1111 w 10000"/>
                    <a:gd name="connsiteY144" fmla="*/ 8222 h 10000"/>
                    <a:gd name="connsiteX145" fmla="*/ 1333 w 10000"/>
                    <a:gd name="connsiteY145" fmla="*/ 8492 h 10000"/>
                    <a:gd name="connsiteX146" fmla="*/ 1333 w 10000"/>
                    <a:gd name="connsiteY146" fmla="*/ 8492 h 10000"/>
                    <a:gd name="connsiteX147" fmla="*/ 1444 w 10000"/>
                    <a:gd name="connsiteY147" fmla="*/ 8635 h 10000"/>
                    <a:gd name="connsiteX148" fmla="*/ 1500 w 10000"/>
                    <a:gd name="connsiteY148" fmla="*/ 8740 h 10000"/>
                    <a:gd name="connsiteX149" fmla="*/ 1500 w 10000"/>
                    <a:gd name="connsiteY149" fmla="*/ 8840 h 10000"/>
                    <a:gd name="connsiteX150" fmla="*/ 1556 w 10000"/>
                    <a:gd name="connsiteY150" fmla="*/ 8883 h 10000"/>
                    <a:gd name="connsiteX151" fmla="*/ 1722 w 10000"/>
                    <a:gd name="connsiteY151" fmla="*/ 8914 h 10000"/>
                    <a:gd name="connsiteX152" fmla="*/ 1944 w 10000"/>
                    <a:gd name="connsiteY152" fmla="*/ 8949 h 10000"/>
                    <a:gd name="connsiteX153" fmla="*/ 2944 w 10000"/>
                    <a:gd name="connsiteY153" fmla="*/ 8986 h 10000"/>
                    <a:gd name="connsiteX154" fmla="*/ 2944 w 10000"/>
                    <a:gd name="connsiteY154" fmla="*/ 8986 h 10000"/>
                    <a:gd name="connsiteX155" fmla="*/ 4167 w 10000"/>
                    <a:gd name="connsiteY155" fmla="*/ 9057 h 10000"/>
                    <a:gd name="connsiteX156" fmla="*/ 4889 w 10000"/>
                    <a:gd name="connsiteY156" fmla="*/ 9157 h 10000"/>
                    <a:gd name="connsiteX157" fmla="*/ 5278 w 10000"/>
                    <a:gd name="connsiteY157" fmla="*/ 9269 h 10000"/>
                    <a:gd name="connsiteX158" fmla="*/ 5444 w 10000"/>
                    <a:gd name="connsiteY158" fmla="*/ 9297 h 10000"/>
                    <a:gd name="connsiteX159" fmla="*/ 5444 w 10000"/>
                    <a:gd name="connsiteY159" fmla="*/ 9297 h 10000"/>
                    <a:gd name="connsiteX160" fmla="*/ 5722 w 10000"/>
                    <a:gd name="connsiteY160" fmla="*/ 9375 h 10000"/>
                    <a:gd name="connsiteX161" fmla="*/ 5833 w 10000"/>
                    <a:gd name="connsiteY161" fmla="*/ 9411 h 10000"/>
                    <a:gd name="connsiteX162" fmla="*/ 5833 w 10000"/>
                    <a:gd name="connsiteY162" fmla="*/ 9411 h 10000"/>
                    <a:gd name="connsiteX163" fmla="*/ 5833 w 10000"/>
                    <a:gd name="connsiteY163" fmla="*/ 9375 h 10000"/>
                    <a:gd name="connsiteX164" fmla="*/ 5889 w 10000"/>
                    <a:gd name="connsiteY164" fmla="*/ 9335 h 10000"/>
                    <a:gd name="connsiteX165" fmla="*/ 6000 w 10000"/>
                    <a:gd name="connsiteY165" fmla="*/ 9297 h 10000"/>
                    <a:gd name="connsiteX166" fmla="*/ 6167 w 10000"/>
                    <a:gd name="connsiteY166" fmla="*/ 9269 h 10000"/>
                    <a:gd name="connsiteX167" fmla="*/ 6444 w 10000"/>
                    <a:gd name="connsiteY167" fmla="*/ 9269 h 10000"/>
                    <a:gd name="connsiteX168" fmla="*/ 6833 w 10000"/>
                    <a:gd name="connsiteY168" fmla="*/ 9297 h 10000"/>
                    <a:gd name="connsiteX169" fmla="*/ 7278 w 10000"/>
                    <a:gd name="connsiteY169" fmla="*/ 9411 h 10000"/>
                    <a:gd name="connsiteX170" fmla="*/ 7278 w 10000"/>
                    <a:gd name="connsiteY170" fmla="*/ 9411 h 10000"/>
                    <a:gd name="connsiteX171" fmla="*/ 8722 w 10000"/>
                    <a:gd name="connsiteY171" fmla="*/ 9715 h 10000"/>
                    <a:gd name="connsiteX172" fmla="*/ 10000 w 10000"/>
                    <a:gd name="connsiteY172" fmla="*/ 10000 h 10000"/>
                    <a:gd name="connsiteX0" fmla="*/ 10000 w 10000"/>
                    <a:gd name="connsiteY0" fmla="*/ 7618 h 10000"/>
                    <a:gd name="connsiteX1" fmla="*/ 10000 w 10000"/>
                    <a:gd name="connsiteY1" fmla="*/ 7618 h 10000"/>
                    <a:gd name="connsiteX2" fmla="*/ 9222 w 10000"/>
                    <a:gd name="connsiteY2" fmla="*/ 7656 h 10000"/>
                    <a:gd name="connsiteX3" fmla="*/ 8944 w 10000"/>
                    <a:gd name="connsiteY3" fmla="*/ 7656 h 10000"/>
                    <a:gd name="connsiteX4" fmla="*/ 8833 w 10000"/>
                    <a:gd name="connsiteY4" fmla="*/ 7618 h 10000"/>
                    <a:gd name="connsiteX5" fmla="*/ 8778 w 10000"/>
                    <a:gd name="connsiteY5" fmla="*/ 7586 h 10000"/>
                    <a:gd name="connsiteX6" fmla="*/ 8778 w 10000"/>
                    <a:gd name="connsiteY6" fmla="*/ 7586 h 10000"/>
                    <a:gd name="connsiteX7" fmla="*/ 8444 w 10000"/>
                    <a:gd name="connsiteY7" fmla="*/ 7166 h 10000"/>
                    <a:gd name="connsiteX8" fmla="*/ 8167 w 10000"/>
                    <a:gd name="connsiteY8" fmla="*/ 6780 h 10000"/>
                    <a:gd name="connsiteX9" fmla="*/ 8167 w 10000"/>
                    <a:gd name="connsiteY9" fmla="*/ 6780 h 10000"/>
                    <a:gd name="connsiteX10" fmla="*/ 8056 w 10000"/>
                    <a:gd name="connsiteY10" fmla="*/ 6716 h 10000"/>
                    <a:gd name="connsiteX11" fmla="*/ 7889 w 10000"/>
                    <a:gd name="connsiteY11" fmla="*/ 6647 h 10000"/>
                    <a:gd name="connsiteX12" fmla="*/ 7444 w 10000"/>
                    <a:gd name="connsiteY12" fmla="*/ 6606 h 10000"/>
                    <a:gd name="connsiteX13" fmla="*/ 6889 w 10000"/>
                    <a:gd name="connsiteY13" fmla="*/ 6575 h 10000"/>
                    <a:gd name="connsiteX14" fmla="*/ 6389 w 10000"/>
                    <a:gd name="connsiteY14" fmla="*/ 6575 h 10000"/>
                    <a:gd name="connsiteX15" fmla="*/ 6389 w 10000"/>
                    <a:gd name="connsiteY15" fmla="*/ 6575 h 10000"/>
                    <a:gd name="connsiteX16" fmla="*/ 6167 w 10000"/>
                    <a:gd name="connsiteY16" fmla="*/ 6535 h 10000"/>
                    <a:gd name="connsiteX17" fmla="*/ 6056 w 10000"/>
                    <a:gd name="connsiteY17" fmla="*/ 6472 h 10000"/>
                    <a:gd name="connsiteX18" fmla="*/ 6000 w 10000"/>
                    <a:gd name="connsiteY18" fmla="*/ 6398 h 10000"/>
                    <a:gd name="connsiteX19" fmla="*/ 6000 w 10000"/>
                    <a:gd name="connsiteY19" fmla="*/ 6268 h 10000"/>
                    <a:gd name="connsiteX20" fmla="*/ 6056 w 10000"/>
                    <a:gd name="connsiteY20" fmla="*/ 5983 h 10000"/>
                    <a:gd name="connsiteX21" fmla="*/ 6111 w 10000"/>
                    <a:gd name="connsiteY21" fmla="*/ 5840 h 10000"/>
                    <a:gd name="connsiteX22" fmla="*/ 6056 w 10000"/>
                    <a:gd name="connsiteY22" fmla="*/ 5663 h 10000"/>
                    <a:gd name="connsiteX23" fmla="*/ 6056 w 10000"/>
                    <a:gd name="connsiteY23" fmla="*/ 5663 h 10000"/>
                    <a:gd name="connsiteX24" fmla="*/ 6000 w 10000"/>
                    <a:gd name="connsiteY24" fmla="*/ 5558 h 10000"/>
                    <a:gd name="connsiteX25" fmla="*/ 5944 w 10000"/>
                    <a:gd name="connsiteY25" fmla="*/ 5488 h 10000"/>
                    <a:gd name="connsiteX26" fmla="*/ 5833 w 10000"/>
                    <a:gd name="connsiteY26" fmla="*/ 5488 h 10000"/>
                    <a:gd name="connsiteX27" fmla="*/ 5667 w 10000"/>
                    <a:gd name="connsiteY27" fmla="*/ 5519 h 10000"/>
                    <a:gd name="connsiteX28" fmla="*/ 5333 w 10000"/>
                    <a:gd name="connsiteY28" fmla="*/ 5629 h 10000"/>
                    <a:gd name="connsiteX29" fmla="*/ 4889 w 10000"/>
                    <a:gd name="connsiteY29" fmla="*/ 5805 h 10000"/>
                    <a:gd name="connsiteX30" fmla="*/ 4889 w 10000"/>
                    <a:gd name="connsiteY30" fmla="*/ 5805 h 10000"/>
                    <a:gd name="connsiteX31" fmla="*/ 4611 w 10000"/>
                    <a:gd name="connsiteY31" fmla="*/ 5840 h 10000"/>
                    <a:gd name="connsiteX32" fmla="*/ 4500 w 10000"/>
                    <a:gd name="connsiteY32" fmla="*/ 5840 h 10000"/>
                    <a:gd name="connsiteX33" fmla="*/ 4444 w 10000"/>
                    <a:gd name="connsiteY33" fmla="*/ 5805 h 10000"/>
                    <a:gd name="connsiteX34" fmla="*/ 4389 w 10000"/>
                    <a:gd name="connsiteY34" fmla="*/ 5663 h 10000"/>
                    <a:gd name="connsiteX35" fmla="*/ 4222 w 10000"/>
                    <a:gd name="connsiteY35" fmla="*/ 5488 h 10000"/>
                    <a:gd name="connsiteX36" fmla="*/ 4222 w 10000"/>
                    <a:gd name="connsiteY36" fmla="*/ 5488 h 10000"/>
                    <a:gd name="connsiteX37" fmla="*/ 4111 w 10000"/>
                    <a:gd name="connsiteY37" fmla="*/ 5381 h 10000"/>
                    <a:gd name="connsiteX38" fmla="*/ 4111 w 10000"/>
                    <a:gd name="connsiteY38" fmla="*/ 5280 h 10000"/>
                    <a:gd name="connsiteX39" fmla="*/ 4111 w 10000"/>
                    <a:gd name="connsiteY39" fmla="*/ 5210 h 10000"/>
                    <a:gd name="connsiteX40" fmla="*/ 4167 w 10000"/>
                    <a:gd name="connsiteY40" fmla="*/ 5138 h 10000"/>
                    <a:gd name="connsiteX41" fmla="*/ 4278 w 10000"/>
                    <a:gd name="connsiteY41" fmla="*/ 4999 h 10000"/>
                    <a:gd name="connsiteX42" fmla="*/ 4389 w 10000"/>
                    <a:gd name="connsiteY42" fmla="*/ 4963 h 10000"/>
                    <a:gd name="connsiteX43" fmla="*/ 4389 w 10000"/>
                    <a:gd name="connsiteY43" fmla="*/ 4963 h 10000"/>
                    <a:gd name="connsiteX44" fmla="*/ 4389 w 10000"/>
                    <a:gd name="connsiteY44" fmla="*/ 4927 h 10000"/>
                    <a:gd name="connsiteX45" fmla="*/ 4444 w 10000"/>
                    <a:gd name="connsiteY45" fmla="*/ 4900 h 10000"/>
                    <a:gd name="connsiteX46" fmla="*/ 4667 w 10000"/>
                    <a:gd name="connsiteY46" fmla="*/ 4860 h 10000"/>
                    <a:gd name="connsiteX47" fmla="*/ 5333 w 10000"/>
                    <a:gd name="connsiteY47" fmla="*/ 4794 h 10000"/>
                    <a:gd name="connsiteX48" fmla="*/ 6500 w 10000"/>
                    <a:gd name="connsiteY48" fmla="*/ 4683 h 10000"/>
                    <a:gd name="connsiteX49" fmla="*/ 6500 w 10000"/>
                    <a:gd name="connsiteY49" fmla="*/ 4683 h 10000"/>
                    <a:gd name="connsiteX50" fmla="*/ 7167 w 10000"/>
                    <a:gd name="connsiteY50" fmla="*/ 4583 h 10000"/>
                    <a:gd name="connsiteX51" fmla="*/ 8389 w 10000"/>
                    <a:gd name="connsiteY51" fmla="*/ 4374 h 10000"/>
                    <a:gd name="connsiteX52" fmla="*/ 8389 w 10000"/>
                    <a:gd name="connsiteY52" fmla="*/ 4374 h 10000"/>
                    <a:gd name="connsiteX53" fmla="*/ 8667 w 10000"/>
                    <a:gd name="connsiteY53" fmla="*/ 4298 h 10000"/>
                    <a:gd name="connsiteX54" fmla="*/ 8778 w 10000"/>
                    <a:gd name="connsiteY54" fmla="*/ 4190 h 10000"/>
                    <a:gd name="connsiteX55" fmla="*/ 8889 w 10000"/>
                    <a:gd name="connsiteY55" fmla="*/ 4124 h 10000"/>
                    <a:gd name="connsiteX56" fmla="*/ 8833 w 10000"/>
                    <a:gd name="connsiteY56" fmla="*/ 4056 h 10000"/>
                    <a:gd name="connsiteX57" fmla="*/ 8833 w 10000"/>
                    <a:gd name="connsiteY57" fmla="*/ 3990 h 10000"/>
                    <a:gd name="connsiteX58" fmla="*/ 8722 w 10000"/>
                    <a:gd name="connsiteY58" fmla="*/ 3914 h 10000"/>
                    <a:gd name="connsiteX59" fmla="*/ 8556 w 10000"/>
                    <a:gd name="connsiteY59" fmla="*/ 3809 h 10000"/>
                    <a:gd name="connsiteX60" fmla="*/ 8556 w 10000"/>
                    <a:gd name="connsiteY60" fmla="*/ 3809 h 10000"/>
                    <a:gd name="connsiteX61" fmla="*/ 6556 w 10000"/>
                    <a:gd name="connsiteY61" fmla="*/ 3187 h 10000"/>
                    <a:gd name="connsiteX62" fmla="*/ 6556 w 10000"/>
                    <a:gd name="connsiteY62" fmla="*/ 3187 h 10000"/>
                    <a:gd name="connsiteX63" fmla="*/ 6333 w 10000"/>
                    <a:gd name="connsiteY63" fmla="*/ 3078 h 10000"/>
                    <a:gd name="connsiteX64" fmla="*/ 6167 w 10000"/>
                    <a:gd name="connsiteY64" fmla="*/ 2973 h 10000"/>
                    <a:gd name="connsiteX65" fmla="*/ 6056 w 10000"/>
                    <a:gd name="connsiteY65" fmla="*/ 2865 h 10000"/>
                    <a:gd name="connsiteX66" fmla="*/ 6056 w 10000"/>
                    <a:gd name="connsiteY66" fmla="*/ 2865 h 10000"/>
                    <a:gd name="connsiteX67" fmla="*/ 8056 w 10000"/>
                    <a:gd name="connsiteY67" fmla="*/ 2830 h 10000"/>
                    <a:gd name="connsiteX68" fmla="*/ 10000 w 10000"/>
                    <a:gd name="connsiteY68" fmla="*/ 3187 h 10000"/>
                    <a:gd name="connsiteX69" fmla="*/ 10000 w 10000"/>
                    <a:gd name="connsiteY69" fmla="*/ 0 h 10000"/>
                    <a:gd name="connsiteX70" fmla="*/ 10000 w 10000"/>
                    <a:gd name="connsiteY70" fmla="*/ 7656 h 10000"/>
                    <a:gd name="connsiteX71" fmla="*/ 10000 w 10000"/>
                    <a:gd name="connsiteY71" fmla="*/ 7656 h 10000"/>
                    <a:gd name="connsiteX72" fmla="*/ 9722 w 10000"/>
                    <a:gd name="connsiteY72" fmla="*/ 7618 h 10000"/>
                    <a:gd name="connsiteX73" fmla="*/ 9389 w 10000"/>
                    <a:gd name="connsiteY73" fmla="*/ 7656 h 10000"/>
                    <a:gd name="connsiteX74" fmla="*/ 9389 w 10000"/>
                    <a:gd name="connsiteY74" fmla="*/ 7656 h 10000"/>
                    <a:gd name="connsiteX75" fmla="*/ 9278 w 10000"/>
                    <a:gd name="connsiteY75" fmla="*/ 7700 h 10000"/>
                    <a:gd name="connsiteX76" fmla="*/ 9056 w 10000"/>
                    <a:gd name="connsiteY76" fmla="*/ 7656 h 10000"/>
                    <a:gd name="connsiteX77" fmla="*/ 8889 w 10000"/>
                    <a:gd name="connsiteY77" fmla="*/ 7618 h 10000"/>
                    <a:gd name="connsiteX78" fmla="*/ 8722 w 10000"/>
                    <a:gd name="connsiteY78" fmla="*/ 7553 h 10000"/>
                    <a:gd name="connsiteX79" fmla="*/ 8611 w 10000"/>
                    <a:gd name="connsiteY79" fmla="*/ 7444 h 10000"/>
                    <a:gd name="connsiteX80" fmla="*/ 8444 w 10000"/>
                    <a:gd name="connsiteY80" fmla="*/ 7268 h 10000"/>
                    <a:gd name="connsiteX81" fmla="*/ 8444 w 10000"/>
                    <a:gd name="connsiteY81" fmla="*/ 7268 h 10000"/>
                    <a:gd name="connsiteX82" fmla="*/ 8222 w 10000"/>
                    <a:gd name="connsiteY82" fmla="*/ 6961 h 10000"/>
                    <a:gd name="connsiteX83" fmla="*/ 8111 w 10000"/>
                    <a:gd name="connsiteY83" fmla="*/ 6822 h 10000"/>
                    <a:gd name="connsiteX84" fmla="*/ 7944 w 10000"/>
                    <a:gd name="connsiteY84" fmla="*/ 6716 h 10000"/>
                    <a:gd name="connsiteX85" fmla="*/ 7778 w 10000"/>
                    <a:gd name="connsiteY85" fmla="*/ 6647 h 10000"/>
                    <a:gd name="connsiteX86" fmla="*/ 7556 w 10000"/>
                    <a:gd name="connsiteY86" fmla="*/ 6606 h 10000"/>
                    <a:gd name="connsiteX87" fmla="*/ 7333 w 10000"/>
                    <a:gd name="connsiteY87" fmla="*/ 6575 h 10000"/>
                    <a:gd name="connsiteX88" fmla="*/ 7000 w 10000"/>
                    <a:gd name="connsiteY88" fmla="*/ 6535 h 10000"/>
                    <a:gd name="connsiteX89" fmla="*/ 7000 w 10000"/>
                    <a:gd name="connsiteY89" fmla="*/ 6535 h 10000"/>
                    <a:gd name="connsiteX90" fmla="*/ 6556 w 10000"/>
                    <a:gd name="connsiteY90" fmla="*/ 6575 h 10000"/>
                    <a:gd name="connsiteX91" fmla="*/ 6222 w 10000"/>
                    <a:gd name="connsiteY91" fmla="*/ 6575 h 10000"/>
                    <a:gd name="connsiteX92" fmla="*/ 6111 w 10000"/>
                    <a:gd name="connsiteY92" fmla="*/ 6535 h 10000"/>
                    <a:gd name="connsiteX93" fmla="*/ 6056 w 10000"/>
                    <a:gd name="connsiteY93" fmla="*/ 6501 h 10000"/>
                    <a:gd name="connsiteX94" fmla="*/ 6056 w 10000"/>
                    <a:gd name="connsiteY94" fmla="*/ 6501 h 10000"/>
                    <a:gd name="connsiteX95" fmla="*/ 6056 w 10000"/>
                    <a:gd name="connsiteY95" fmla="*/ 5877 h 10000"/>
                    <a:gd name="connsiteX96" fmla="*/ 6056 w 10000"/>
                    <a:gd name="connsiteY96" fmla="*/ 5877 h 10000"/>
                    <a:gd name="connsiteX97" fmla="*/ 6056 w 10000"/>
                    <a:gd name="connsiteY97" fmla="*/ 5732 h 10000"/>
                    <a:gd name="connsiteX98" fmla="*/ 5944 w 10000"/>
                    <a:gd name="connsiteY98" fmla="*/ 5558 h 10000"/>
                    <a:gd name="connsiteX99" fmla="*/ 5889 w 10000"/>
                    <a:gd name="connsiteY99" fmla="*/ 5519 h 10000"/>
                    <a:gd name="connsiteX100" fmla="*/ 5778 w 10000"/>
                    <a:gd name="connsiteY100" fmla="*/ 5488 h 10000"/>
                    <a:gd name="connsiteX101" fmla="*/ 5667 w 10000"/>
                    <a:gd name="connsiteY101" fmla="*/ 5488 h 10000"/>
                    <a:gd name="connsiteX102" fmla="*/ 5500 w 10000"/>
                    <a:gd name="connsiteY102" fmla="*/ 5519 h 10000"/>
                    <a:gd name="connsiteX103" fmla="*/ 5500 w 10000"/>
                    <a:gd name="connsiteY103" fmla="*/ 5519 h 10000"/>
                    <a:gd name="connsiteX104" fmla="*/ 4889 w 10000"/>
                    <a:gd name="connsiteY104" fmla="*/ 5768 h 10000"/>
                    <a:gd name="connsiteX105" fmla="*/ 4611 w 10000"/>
                    <a:gd name="connsiteY105" fmla="*/ 5840 h 10000"/>
                    <a:gd name="connsiteX106" fmla="*/ 4556 w 10000"/>
                    <a:gd name="connsiteY106" fmla="*/ 5877 h 10000"/>
                    <a:gd name="connsiteX107" fmla="*/ 4500 w 10000"/>
                    <a:gd name="connsiteY107" fmla="*/ 5840 h 10000"/>
                    <a:gd name="connsiteX108" fmla="*/ 4500 w 10000"/>
                    <a:gd name="connsiteY108" fmla="*/ 5840 h 10000"/>
                    <a:gd name="connsiteX109" fmla="*/ 4222 w 10000"/>
                    <a:gd name="connsiteY109" fmla="*/ 5488 h 10000"/>
                    <a:gd name="connsiteX110" fmla="*/ 4222 w 10000"/>
                    <a:gd name="connsiteY110" fmla="*/ 5488 h 10000"/>
                    <a:gd name="connsiteX111" fmla="*/ 4111 w 10000"/>
                    <a:gd name="connsiteY111" fmla="*/ 5314 h 10000"/>
                    <a:gd name="connsiteX112" fmla="*/ 4111 w 10000"/>
                    <a:gd name="connsiteY112" fmla="*/ 5210 h 10000"/>
                    <a:gd name="connsiteX113" fmla="*/ 4111 w 10000"/>
                    <a:gd name="connsiteY113" fmla="*/ 5103 h 10000"/>
                    <a:gd name="connsiteX114" fmla="*/ 4111 w 10000"/>
                    <a:gd name="connsiteY114" fmla="*/ 5103 h 10000"/>
                    <a:gd name="connsiteX115" fmla="*/ 4278 w 10000"/>
                    <a:gd name="connsiteY115" fmla="*/ 4999 h 10000"/>
                    <a:gd name="connsiteX116" fmla="*/ 4389 w 10000"/>
                    <a:gd name="connsiteY116" fmla="*/ 4963 h 10000"/>
                    <a:gd name="connsiteX117" fmla="*/ 4389 w 10000"/>
                    <a:gd name="connsiteY117" fmla="*/ 4963 h 10000"/>
                    <a:gd name="connsiteX118" fmla="*/ 4000 w 10000"/>
                    <a:gd name="connsiteY118" fmla="*/ 4963 h 10000"/>
                    <a:gd name="connsiteX119" fmla="*/ 3722 w 10000"/>
                    <a:gd name="connsiteY119" fmla="*/ 4999 h 10000"/>
                    <a:gd name="connsiteX120" fmla="*/ 3611 w 10000"/>
                    <a:gd name="connsiteY120" fmla="*/ 5037 h 10000"/>
                    <a:gd name="connsiteX121" fmla="*/ 3556 w 10000"/>
                    <a:gd name="connsiteY121" fmla="*/ 5071 h 10000"/>
                    <a:gd name="connsiteX122" fmla="*/ 3556 w 10000"/>
                    <a:gd name="connsiteY122" fmla="*/ 5071 h 10000"/>
                    <a:gd name="connsiteX123" fmla="*/ 3444 w 10000"/>
                    <a:gd name="connsiteY123" fmla="*/ 5210 h 10000"/>
                    <a:gd name="connsiteX124" fmla="*/ 3278 w 10000"/>
                    <a:gd name="connsiteY124" fmla="*/ 5422 h 10000"/>
                    <a:gd name="connsiteX125" fmla="*/ 3000 w 10000"/>
                    <a:gd name="connsiteY125" fmla="*/ 5663 h 10000"/>
                    <a:gd name="connsiteX126" fmla="*/ 2667 w 10000"/>
                    <a:gd name="connsiteY126" fmla="*/ 5840 h 10000"/>
                    <a:gd name="connsiteX127" fmla="*/ 2667 w 10000"/>
                    <a:gd name="connsiteY127" fmla="*/ 5840 h 10000"/>
                    <a:gd name="connsiteX128" fmla="*/ 2333 w 10000"/>
                    <a:gd name="connsiteY128" fmla="*/ 5983 h 10000"/>
                    <a:gd name="connsiteX129" fmla="*/ 1833 w 10000"/>
                    <a:gd name="connsiteY129" fmla="*/ 6123 h 10000"/>
                    <a:gd name="connsiteX130" fmla="*/ 1389 w 10000"/>
                    <a:gd name="connsiteY130" fmla="*/ 6190 h 10000"/>
                    <a:gd name="connsiteX131" fmla="*/ 889 w 10000"/>
                    <a:gd name="connsiteY131" fmla="*/ 6225 h 10000"/>
                    <a:gd name="connsiteX132" fmla="*/ 889 w 10000"/>
                    <a:gd name="connsiteY132" fmla="*/ 6225 h 10000"/>
                    <a:gd name="connsiteX133" fmla="*/ 500 w 10000"/>
                    <a:gd name="connsiteY133" fmla="*/ 6268 h 10000"/>
                    <a:gd name="connsiteX134" fmla="*/ 222 w 10000"/>
                    <a:gd name="connsiteY134" fmla="*/ 6294 h 10000"/>
                    <a:gd name="connsiteX135" fmla="*/ 0 w 10000"/>
                    <a:gd name="connsiteY135" fmla="*/ 6327 h 10000"/>
                    <a:gd name="connsiteX136" fmla="*/ 0 w 10000"/>
                    <a:gd name="connsiteY136" fmla="*/ 6327 h 10000"/>
                    <a:gd name="connsiteX137" fmla="*/ 278 w 10000"/>
                    <a:gd name="connsiteY137" fmla="*/ 6891 h 10000"/>
                    <a:gd name="connsiteX138" fmla="*/ 500 w 10000"/>
                    <a:gd name="connsiteY138" fmla="*/ 7305 h 10000"/>
                    <a:gd name="connsiteX139" fmla="*/ 722 w 10000"/>
                    <a:gd name="connsiteY139" fmla="*/ 7656 h 10000"/>
                    <a:gd name="connsiteX140" fmla="*/ 722 w 10000"/>
                    <a:gd name="connsiteY140" fmla="*/ 7656 h 10000"/>
                    <a:gd name="connsiteX141" fmla="*/ 889 w 10000"/>
                    <a:gd name="connsiteY141" fmla="*/ 7866 h 10000"/>
                    <a:gd name="connsiteX142" fmla="*/ 944 w 10000"/>
                    <a:gd name="connsiteY142" fmla="*/ 8046 h 10000"/>
                    <a:gd name="connsiteX143" fmla="*/ 1111 w 10000"/>
                    <a:gd name="connsiteY143" fmla="*/ 8222 h 10000"/>
                    <a:gd name="connsiteX144" fmla="*/ 1333 w 10000"/>
                    <a:gd name="connsiteY144" fmla="*/ 8492 h 10000"/>
                    <a:gd name="connsiteX145" fmla="*/ 1333 w 10000"/>
                    <a:gd name="connsiteY145" fmla="*/ 8492 h 10000"/>
                    <a:gd name="connsiteX146" fmla="*/ 1444 w 10000"/>
                    <a:gd name="connsiteY146" fmla="*/ 8635 h 10000"/>
                    <a:gd name="connsiteX147" fmla="*/ 1500 w 10000"/>
                    <a:gd name="connsiteY147" fmla="*/ 8740 h 10000"/>
                    <a:gd name="connsiteX148" fmla="*/ 1500 w 10000"/>
                    <a:gd name="connsiteY148" fmla="*/ 8840 h 10000"/>
                    <a:gd name="connsiteX149" fmla="*/ 1556 w 10000"/>
                    <a:gd name="connsiteY149" fmla="*/ 8883 h 10000"/>
                    <a:gd name="connsiteX150" fmla="*/ 1722 w 10000"/>
                    <a:gd name="connsiteY150" fmla="*/ 8914 h 10000"/>
                    <a:gd name="connsiteX151" fmla="*/ 1944 w 10000"/>
                    <a:gd name="connsiteY151" fmla="*/ 8949 h 10000"/>
                    <a:gd name="connsiteX152" fmla="*/ 2944 w 10000"/>
                    <a:gd name="connsiteY152" fmla="*/ 8986 h 10000"/>
                    <a:gd name="connsiteX153" fmla="*/ 2944 w 10000"/>
                    <a:gd name="connsiteY153" fmla="*/ 8986 h 10000"/>
                    <a:gd name="connsiteX154" fmla="*/ 4167 w 10000"/>
                    <a:gd name="connsiteY154" fmla="*/ 9057 h 10000"/>
                    <a:gd name="connsiteX155" fmla="*/ 4889 w 10000"/>
                    <a:gd name="connsiteY155" fmla="*/ 9157 h 10000"/>
                    <a:gd name="connsiteX156" fmla="*/ 5278 w 10000"/>
                    <a:gd name="connsiteY156" fmla="*/ 9269 h 10000"/>
                    <a:gd name="connsiteX157" fmla="*/ 5444 w 10000"/>
                    <a:gd name="connsiteY157" fmla="*/ 9297 h 10000"/>
                    <a:gd name="connsiteX158" fmla="*/ 5444 w 10000"/>
                    <a:gd name="connsiteY158" fmla="*/ 9297 h 10000"/>
                    <a:gd name="connsiteX159" fmla="*/ 5722 w 10000"/>
                    <a:gd name="connsiteY159" fmla="*/ 9375 h 10000"/>
                    <a:gd name="connsiteX160" fmla="*/ 5833 w 10000"/>
                    <a:gd name="connsiteY160" fmla="*/ 9411 h 10000"/>
                    <a:gd name="connsiteX161" fmla="*/ 5833 w 10000"/>
                    <a:gd name="connsiteY161" fmla="*/ 9411 h 10000"/>
                    <a:gd name="connsiteX162" fmla="*/ 5833 w 10000"/>
                    <a:gd name="connsiteY162" fmla="*/ 9375 h 10000"/>
                    <a:gd name="connsiteX163" fmla="*/ 5889 w 10000"/>
                    <a:gd name="connsiteY163" fmla="*/ 9335 h 10000"/>
                    <a:gd name="connsiteX164" fmla="*/ 6000 w 10000"/>
                    <a:gd name="connsiteY164" fmla="*/ 9297 h 10000"/>
                    <a:gd name="connsiteX165" fmla="*/ 6167 w 10000"/>
                    <a:gd name="connsiteY165" fmla="*/ 9269 h 10000"/>
                    <a:gd name="connsiteX166" fmla="*/ 6444 w 10000"/>
                    <a:gd name="connsiteY166" fmla="*/ 9269 h 10000"/>
                    <a:gd name="connsiteX167" fmla="*/ 6833 w 10000"/>
                    <a:gd name="connsiteY167" fmla="*/ 9297 h 10000"/>
                    <a:gd name="connsiteX168" fmla="*/ 7278 w 10000"/>
                    <a:gd name="connsiteY168" fmla="*/ 9411 h 10000"/>
                    <a:gd name="connsiteX169" fmla="*/ 7278 w 10000"/>
                    <a:gd name="connsiteY169" fmla="*/ 9411 h 10000"/>
                    <a:gd name="connsiteX170" fmla="*/ 8722 w 10000"/>
                    <a:gd name="connsiteY170" fmla="*/ 9715 h 10000"/>
                    <a:gd name="connsiteX171" fmla="*/ 10000 w 10000"/>
                    <a:gd name="connsiteY171" fmla="*/ 10000 h 10000"/>
                    <a:gd name="connsiteX0" fmla="*/ 10000 w 10000"/>
                    <a:gd name="connsiteY0" fmla="*/ 4788 h 7170"/>
                    <a:gd name="connsiteX1" fmla="*/ 10000 w 10000"/>
                    <a:gd name="connsiteY1" fmla="*/ 4788 h 7170"/>
                    <a:gd name="connsiteX2" fmla="*/ 9222 w 10000"/>
                    <a:gd name="connsiteY2" fmla="*/ 4826 h 7170"/>
                    <a:gd name="connsiteX3" fmla="*/ 8944 w 10000"/>
                    <a:gd name="connsiteY3" fmla="*/ 4826 h 7170"/>
                    <a:gd name="connsiteX4" fmla="*/ 8833 w 10000"/>
                    <a:gd name="connsiteY4" fmla="*/ 4788 h 7170"/>
                    <a:gd name="connsiteX5" fmla="*/ 8778 w 10000"/>
                    <a:gd name="connsiteY5" fmla="*/ 4756 h 7170"/>
                    <a:gd name="connsiteX6" fmla="*/ 8778 w 10000"/>
                    <a:gd name="connsiteY6" fmla="*/ 4756 h 7170"/>
                    <a:gd name="connsiteX7" fmla="*/ 8444 w 10000"/>
                    <a:gd name="connsiteY7" fmla="*/ 4336 h 7170"/>
                    <a:gd name="connsiteX8" fmla="*/ 8167 w 10000"/>
                    <a:gd name="connsiteY8" fmla="*/ 3950 h 7170"/>
                    <a:gd name="connsiteX9" fmla="*/ 8167 w 10000"/>
                    <a:gd name="connsiteY9" fmla="*/ 3950 h 7170"/>
                    <a:gd name="connsiteX10" fmla="*/ 8056 w 10000"/>
                    <a:gd name="connsiteY10" fmla="*/ 3886 h 7170"/>
                    <a:gd name="connsiteX11" fmla="*/ 7889 w 10000"/>
                    <a:gd name="connsiteY11" fmla="*/ 3817 h 7170"/>
                    <a:gd name="connsiteX12" fmla="*/ 7444 w 10000"/>
                    <a:gd name="connsiteY12" fmla="*/ 3776 h 7170"/>
                    <a:gd name="connsiteX13" fmla="*/ 6889 w 10000"/>
                    <a:gd name="connsiteY13" fmla="*/ 3745 h 7170"/>
                    <a:gd name="connsiteX14" fmla="*/ 6389 w 10000"/>
                    <a:gd name="connsiteY14" fmla="*/ 3745 h 7170"/>
                    <a:gd name="connsiteX15" fmla="*/ 6389 w 10000"/>
                    <a:gd name="connsiteY15" fmla="*/ 3745 h 7170"/>
                    <a:gd name="connsiteX16" fmla="*/ 6167 w 10000"/>
                    <a:gd name="connsiteY16" fmla="*/ 3705 h 7170"/>
                    <a:gd name="connsiteX17" fmla="*/ 6056 w 10000"/>
                    <a:gd name="connsiteY17" fmla="*/ 3642 h 7170"/>
                    <a:gd name="connsiteX18" fmla="*/ 6000 w 10000"/>
                    <a:gd name="connsiteY18" fmla="*/ 3568 h 7170"/>
                    <a:gd name="connsiteX19" fmla="*/ 6000 w 10000"/>
                    <a:gd name="connsiteY19" fmla="*/ 3438 h 7170"/>
                    <a:gd name="connsiteX20" fmla="*/ 6056 w 10000"/>
                    <a:gd name="connsiteY20" fmla="*/ 3153 h 7170"/>
                    <a:gd name="connsiteX21" fmla="*/ 6111 w 10000"/>
                    <a:gd name="connsiteY21" fmla="*/ 3010 h 7170"/>
                    <a:gd name="connsiteX22" fmla="*/ 6056 w 10000"/>
                    <a:gd name="connsiteY22" fmla="*/ 2833 h 7170"/>
                    <a:gd name="connsiteX23" fmla="*/ 6056 w 10000"/>
                    <a:gd name="connsiteY23" fmla="*/ 2833 h 7170"/>
                    <a:gd name="connsiteX24" fmla="*/ 6000 w 10000"/>
                    <a:gd name="connsiteY24" fmla="*/ 2728 h 7170"/>
                    <a:gd name="connsiteX25" fmla="*/ 5944 w 10000"/>
                    <a:gd name="connsiteY25" fmla="*/ 2658 h 7170"/>
                    <a:gd name="connsiteX26" fmla="*/ 5833 w 10000"/>
                    <a:gd name="connsiteY26" fmla="*/ 2658 h 7170"/>
                    <a:gd name="connsiteX27" fmla="*/ 5667 w 10000"/>
                    <a:gd name="connsiteY27" fmla="*/ 2689 h 7170"/>
                    <a:gd name="connsiteX28" fmla="*/ 5333 w 10000"/>
                    <a:gd name="connsiteY28" fmla="*/ 2799 h 7170"/>
                    <a:gd name="connsiteX29" fmla="*/ 4889 w 10000"/>
                    <a:gd name="connsiteY29" fmla="*/ 2975 h 7170"/>
                    <a:gd name="connsiteX30" fmla="*/ 4889 w 10000"/>
                    <a:gd name="connsiteY30" fmla="*/ 2975 h 7170"/>
                    <a:gd name="connsiteX31" fmla="*/ 4611 w 10000"/>
                    <a:gd name="connsiteY31" fmla="*/ 3010 h 7170"/>
                    <a:gd name="connsiteX32" fmla="*/ 4500 w 10000"/>
                    <a:gd name="connsiteY32" fmla="*/ 3010 h 7170"/>
                    <a:gd name="connsiteX33" fmla="*/ 4444 w 10000"/>
                    <a:gd name="connsiteY33" fmla="*/ 2975 h 7170"/>
                    <a:gd name="connsiteX34" fmla="*/ 4389 w 10000"/>
                    <a:gd name="connsiteY34" fmla="*/ 2833 h 7170"/>
                    <a:gd name="connsiteX35" fmla="*/ 4222 w 10000"/>
                    <a:gd name="connsiteY35" fmla="*/ 2658 h 7170"/>
                    <a:gd name="connsiteX36" fmla="*/ 4222 w 10000"/>
                    <a:gd name="connsiteY36" fmla="*/ 2658 h 7170"/>
                    <a:gd name="connsiteX37" fmla="*/ 4111 w 10000"/>
                    <a:gd name="connsiteY37" fmla="*/ 2551 h 7170"/>
                    <a:gd name="connsiteX38" fmla="*/ 4111 w 10000"/>
                    <a:gd name="connsiteY38" fmla="*/ 2450 h 7170"/>
                    <a:gd name="connsiteX39" fmla="*/ 4111 w 10000"/>
                    <a:gd name="connsiteY39" fmla="*/ 2380 h 7170"/>
                    <a:gd name="connsiteX40" fmla="*/ 4167 w 10000"/>
                    <a:gd name="connsiteY40" fmla="*/ 2308 h 7170"/>
                    <a:gd name="connsiteX41" fmla="*/ 4278 w 10000"/>
                    <a:gd name="connsiteY41" fmla="*/ 2169 h 7170"/>
                    <a:gd name="connsiteX42" fmla="*/ 4389 w 10000"/>
                    <a:gd name="connsiteY42" fmla="*/ 2133 h 7170"/>
                    <a:gd name="connsiteX43" fmla="*/ 4389 w 10000"/>
                    <a:gd name="connsiteY43" fmla="*/ 2133 h 7170"/>
                    <a:gd name="connsiteX44" fmla="*/ 4389 w 10000"/>
                    <a:gd name="connsiteY44" fmla="*/ 2097 h 7170"/>
                    <a:gd name="connsiteX45" fmla="*/ 4444 w 10000"/>
                    <a:gd name="connsiteY45" fmla="*/ 2070 h 7170"/>
                    <a:gd name="connsiteX46" fmla="*/ 4667 w 10000"/>
                    <a:gd name="connsiteY46" fmla="*/ 2030 h 7170"/>
                    <a:gd name="connsiteX47" fmla="*/ 5333 w 10000"/>
                    <a:gd name="connsiteY47" fmla="*/ 1964 h 7170"/>
                    <a:gd name="connsiteX48" fmla="*/ 6500 w 10000"/>
                    <a:gd name="connsiteY48" fmla="*/ 1853 h 7170"/>
                    <a:gd name="connsiteX49" fmla="*/ 6500 w 10000"/>
                    <a:gd name="connsiteY49" fmla="*/ 1853 h 7170"/>
                    <a:gd name="connsiteX50" fmla="*/ 7167 w 10000"/>
                    <a:gd name="connsiteY50" fmla="*/ 1753 h 7170"/>
                    <a:gd name="connsiteX51" fmla="*/ 8389 w 10000"/>
                    <a:gd name="connsiteY51" fmla="*/ 1544 h 7170"/>
                    <a:gd name="connsiteX52" fmla="*/ 8389 w 10000"/>
                    <a:gd name="connsiteY52" fmla="*/ 1544 h 7170"/>
                    <a:gd name="connsiteX53" fmla="*/ 8667 w 10000"/>
                    <a:gd name="connsiteY53" fmla="*/ 1468 h 7170"/>
                    <a:gd name="connsiteX54" fmla="*/ 8778 w 10000"/>
                    <a:gd name="connsiteY54" fmla="*/ 1360 h 7170"/>
                    <a:gd name="connsiteX55" fmla="*/ 8889 w 10000"/>
                    <a:gd name="connsiteY55" fmla="*/ 1294 h 7170"/>
                    <a:gd name="connsiteX56" fmla="*/ 8833 w 10000"/>
                    <a:gd name="connsiteY56" fmla="*/ 1226 h 7170"/>
                    <a:gd name="connsiteX57" fmla="*/ 8833 w 10000"/>
                    <a:gd name="connsiteY57" fmla="*/ 1160 h 7170"/>
                    <a:gd name="connsiteX58" fmla="*/ 8722 w 10000"/>
                    <a:gd name="connsiteY58" fmla="*/ 1084 h 7170"/>
                    <a:gd name="connsiteX59" fmla="*/ 8556 w 10000"/>
                    <a:gd name="connsiteY59" fmla="*/ 979 h 7170"/>
                    <a:gd name="connsiteX60" fmla="*/ 8556 w 10000"/>
                    <a:gd name="connsiteY60" fmla="*/ 979 h 7170"/>
                    <a:gd name="connsiteX61" fmla="*/ 6556 w 10000"/>
                    <a:gd name="connsiteY61" fmla="*/ 357 h 7170"/>
                    <a:gd name="connsiteX62" fmla="*/ 6556 w 10000"/>
                    <a:gd name="connsiteY62" fmla="*/ 357 h 7170"/>
                    <a:gd name="connsiteX63" fmla="*/ 6333 w 10000"/>
                    <a:gd name="connsiteY63" fmla="*/ 248 h 7170"/>
                    <a:gd name="connsiteX64" fmla="*/ 6167 w 10000"/>
                    <a:gd name="connsiteY64" fmla="*/ 143 h 7170"/>
                    <a:gd name="connsiteX65" fmla="*/ 6056 w 10000"/>
                    <a:gd name="connsiteY65" fmla="*/ 35 h 7170"/>
                    <a:gd name="connsiteX66" fmla="*/ 6056 w 10000"/>
                    <a:gd name="connsiteY66" fmla="*/ 35 h 7170"/>
                    <a:gd name="connsiteX67" fmla="*/ 8056 w 10000"/>
                    <a:gd name="connsiteY67" fmla="*/ 0 h 7170"/>
                    <a:gd name="connsiteX68" fmla="*/ 10000 w 10000"/>
                    <a:gd name="connsiteY68" fmla="*/ 357 h 7170"/>
                    <a:gd name="connsiteX69" fmla="*/ 10000 w 10000"/>
                    <a:gd name="connsiteY69" fmla="*/ 4826 h 7170"/>
                    <a:gd name="connsiteX70" fmla="*/ 10000 w 10000"/>
                    <a:gd name="connsiteY70" fmla="*/ 4826 h 7170"/>
                    <a:gd name="connsiteX71" fmla="*/ 9722 w 10000"/>
                    <a:gd name="connsiteY71" fmla="*/ 4788 h 7170"/>
                    <a:gd name="connsiteX72" fmla="*/ 9389 w 10000"/>
                    <a:gd name="connsiteY72" fmla="*/ 4826 h 7170"/>
                    <a:gd name="connsiteX73" fmla="*/ 9389 w 10000"/>
                    <a:gd name="connsiteY73" fmla="*/ 4826 h 7170"/>
                    <a:gd name="connsiteX74" fmla="*/ 9278 w 10000"/>
                    <a:gd name="connsiteY74" fmla="*/ 4870 h 7170"/>
                    <a:gd name="connsiteX75" fmla="*/ 9056 w 10000"/>
                    <a:gd name="connsiteY75" fmla="*/ 4826 h 7170"/>
                    <a:gd name="connsiteX76" fmla="*/ 8889 w 10000"/>
                    <a:gd name="connsiteY76" fmla="*/ 4788 h 7170"/>
                    <a:gd name="connsiteX77" fmla="*/ 8722 w 10000"/>
                    <a:gd name="connsiteY77" fmla="*/ 4723 h 7170"/>
                    <a:gd name="connsiteX78" fmla="*/ 8611 w 10000"/>
                    <a:gd name="connsiteY78" fmla="*/ 4614 h 7170"/>
                    <a:gd name="connsiteX79" fmla="*/ 8444 w 10000"/>
                    <a:gd name="connsiteY79" fmla="*/ 4438 h 7170"/>
                    <a:gd name="connsiteX80" fmla="*/ 8444 w 10000"/>
                    <a:gd name="connsiteY80" fmla="*/ 4438 h 7170"/>
                    <a:gd name="connsiteX81" fmla="*/ 8222 w 10000"/>
                    <a:gd name="connsiteY81" fmla="*/ 4131 h 7170"/>
                    <a:gd name="connsiteX82" fmla="*/ 8111 w 10000"/>
                    <a:gd name="connsiteY82" fmla="*/ 3992 h 7170"/>
                    <a:gd name="connsiteX83" fmla="*/ 7944 w 10000"/>
                    <a:gd name="connsiteY83" fmla="*/ 3886 h 7170"/>
                    <a:gd name="connsiteX84" fmla="*/ 7778 w 10000"/>
                    <a:gd name="connsiteY84" fmla="*/ 3817 h 7170"/>
                    <a:gd name="connsiteX85" fmla="*/ 7556 w 10000"/>
                    <a:gd name="connsiteY85" fmla="*/ 3776 h 7170"/>
                    <a:gd name="connsiteX86" fmla="*/ 7333 w 10000"/>
                    <a:gd name="connsiteY86" fmla="*/ 3745 h 7170"/>
                    <a:gd name="connsiteX87" fmla="*/ 7000 w 10000"/>
                    <a:gd name="connsiteY87" fmla="*/ 3705 h 7170"/>
                    <a:gd name="connsiteX88" fmla="*/ 7000 w 10000"/>
                    <a:gd name="connsiteY88" fmla="*/ 3705 h 7170"/>
                    <a:gd name="connsiteX89" fmla="*/ 6556 w 10000"/>
                    <a:gd name="connsiteY89" fmla="*/ 3745 h 7170"/>
                    <a:gd name="connsiteX90" fmla="*/ 6222 w 10000"/>
                    <a:gd name="connsiteY90" fmla="*/ 3745 h 7170"/>
                    <a:gd name="connsiteX91" fmla="*/ 6111 w 10000"/>
                    <a:gd name="connsiteY91" fmla="*/ 3705 h 7170"/>
                    <a:gd name="connsiteX92" fmla="*/ 6056 w 10000"/>
                    <a:gd name="connsiteY92" fmla="*/ 3671 h 7170"/>
                    <a:gd name="connsiteX93" fmla="*/ 6056 w 10000"/>
                    <a:gd name="connsiteY93" fmla="*/ 3671 h 7170"/>
                    <a:gd name="connsiteX94" fmla="*/ 6056 w 10000"/>
                    <a:gd name="connsiteY94" fmla="*/ 3047 h 7170"/>
                    <a:gd name="connsiteX95" fmla="*/ 6056 w 10000"/>
                    <a:gd name="connsiteY95" fmla="*/ 3047 h 7170"/>
                    <a:gd name="connsiteX96" fmla="*/ 6056 w 10000"/>
                    <a:gd name="connsiteY96" fmla="*/ 2902 h 7170"/>
                    <a:gd name="connsiteX97" fmla="*/ 5944 w 10000"/>
                    <a:gd name="connsiteY97" fmla="*/ 2728 h 7170"/>
                    <a:gd name="connsiteX98" fmla="*/ 5889 w 10000"/>
                    <a:gd name="connsiteY98" fmla="*/ 2689 h 7170"/>
                    <a:gd name="connsiteX99" fmla="*/ 5778 w 10000"/>
                    <a:gd name="connsiteY99" fmla="*/ 2658 h 7170"/>
                    <a:gd name="connsiteX100" fmla="*/ 5667 w 10000"/>
                    <a:gd name="connsiteY100" fmla="*/ 2658 h 7170"/>
                    <a:gd name="connsiteX101" fmla="*/ 5500 w 10000"/>
                    <a:gd name="connsiteY101" fmla="*/ 2689 h 7170"/>
                    <a:gd name="connsiteX102" fmla="*/ 5500 w 10000"/>
                    <a:gd name="connsiteY102" fmla="*/ 2689 h 7170"/>
                    <a:gd name="connsiteX103" fmla="*/ 4889 w 10000"/>
                    <a:gd name="connsiteY103" fmla="*/ 2938 h 7170"/>
                    <a:gd name="connsiteX104" fmla="*/ 4611 w 10000"/>
                    <a:gd name="connsiteY104" fmla="*/ 3010 h 7170"/>
                    <a:gd name="connsiteX105" fmla="*/ 4556 w 10000"/>
                    <a:gd name="connsiteY105" fmla="*/ 3047 h 7170"/>
                    <a:gd name="connsiteX106" fmla="*/ 4500 w 10000"/>
                    <a:gd name="connsiteY106" fmla="*/ 3010 h 7170"/>
                    <a:gd name="connsiteX107" fmla="*/ 4500 w 10000"/>
                    <a:gd name="connsiteY107" fmla="*/ 3010 h 7170"/>
                    <a:gd name="connsiteX108" fmla="*/ 4222 w 10000"/>
                    <a:gd name="connsiteY108" fmla="*/ 2658 h 7170"/>
                    <a:gd name="connsiteX109" fmla="*/ 4222 w 10000"/>
                    <a:gd name="connsiteY109" fmla="*/ 2658 h 7170"/>
                    <a:gd name="connsiteX110" fmla="*/ 4111 w 10000"/>
                    <a:gd name="connsiteY110" fmla="*/ 2484 h 7170"/>
                    <a:gd name="connsiteX111" fmla="*/ 4111 w 10000"/>
                    <a:gd name="connsiteY111" fmla="*/ 2380 h 7170"/>
                    <a:gd name="connsiteX112" fmla="*/ 4111 w 10000"/>
                    <a:gd name="connsiteY112" fmla="*/ 2273 h 7170"/>
                    <a:gd name="connsiteX113" fmla="*/ 4111 w 10000"/>
                    <a:gd name="connsiteY113" fmla="*/ 2273 h 7170"/>
                    <a:gd name="connsiteX114" fmla="*/ 4278 w 10000"/>
                    <a:gd name="connsiteY114" fmla="*/ 2169 h 7170"/>
                    <a:gd name="connsiteX115" fmla="*/ 4389 w 10000"/>
                    <a:gd name="connsiteY115" fmla="*/ 2133 h 7170"/>
                    <a:gd name="connsiteX116" fmla="*/ 4389 w 10000"/>
                    <a:gd name="connsiteY116" fmla="*/ 2133 h 7170"/>
                    <a:gd name="connsiteX117" fmla="*/ 4000 w 10000"/>
                    <a:gd name="connsiteY117" fmla="*/ 2133 h 7170"/>
                    <a:gd name="connsiteX118" fmla="*/ 3722 w 10000"/>
                    <a:gd name="connsiteY118" fmla="*/ 2169 h 7170"/>
                    <a:gd name="connsiteX119" fmla="*/ 3611 w 10000"/>
                    <a:gd name="connsiteY119" fmla="*/ 2207 h 7170"/>
                    <a:gd name="connsiteX120" fmla="*/ 3556 w 10000"/>
                    <a:gd name="connsiteY120" fmla="*/ 2241 h 7170"/>
                    <a:gd name="connsiteX121" fmla="*/ 3556 w 10000"/>
                    <a:gd name="connsiteY121" fmla="*/ 2241 h 7170"/>
                    <a:gd name="connsiteX122" fmla="*/ 3444 w 10000"/>
                    <a:gd name="connsiteY122" fmla="*/ 2380 h 7170"/>
                    <a:gd name="connsiteX123" fmla="*/ 3278 w 10000"/>
                    <a:gd name="connsiteY123" fmla="*/ 2592 h 7170"/>
                    <a:gd name="connsiteX124" fmla="*/ 3000 w 10000"/>
                    <a:gd name="connsiteY124" fmla="*/ 2833 h 7170"/>
                    <a:gd name="connsiteX125" fmla="*/ 2667 w 10000"/>
                    <a:gd name="connsiteY125" fmla="*/ 3010 h 7170"/>
                    <a:gd name="connsiteX126" fmla="*/ 2667 w 10000"/>
                    <a:gd name="connsiteY126" fmla="*/ 3010 h 7170"/>
                    <a:gd name="connsiteX127" fmla="*/ 2333 w 10000"/>
                    <a:gd name="connsiteY127" fmla="*/ 3153 h 7170"/>
                    <a:gd name="connsiteX128" fmla="*/ 1833 w 10000"/>
                    <a:gd name="connsiteY128" fmla="*/ 3293 h 7170"/>
                    <a:gd name="connsiteX129" fmla="*/ 1389 w 10000"/>
                    <a:gd name="connsiteY129" fmla="*/ 3360 h 7170"/>
                    <a:gd name="connsiteX130" fmla="*/ 889 w 10000"/>
                    <a:gd name="connsiteY130" fmla="*/ 3395 h 7170"/>
                    <a:gd name="connsiteX131" fmla="*/ 889 w 10000"/>
                    <a:gd name="connsiteY131" fmla="*/ 3395 h 7170"/>
                    <a:gd name="connsiteX132" fmla="*/ 500 w 10000"/>
                    <a:gd name="connsiteY132" fmla="*/ 3438 h 7170"/>
                    <a:gd name="connsiteX133" fmla="*/ 222 w 10000"/>
                    <a:gd name="connsiteY133" fmla="*/ 3464 h 7170"/>
                    <a:gd name="connsiteX134" fmla="*/ 0 w 10000"/>
                    <a:gd name="connsiteY134" fmla="*/ 3497 h 7170"/>
                    <a:gd name="connsiteX135" fmla="*/ 0 w 10000"/>
                    <a:gd name="connsiteY135" fmla="*/ 3497 h 7170"/>
                    <a:gd name="connsiteX136" fmla="*/ 278 w 10000"/>
                    <a:gd name="connsiteY136" fmla="*/ 4061 h 7170"/>
                    <a:gd name="connsiteX137" fmla="*/ 500 w 10000"/>
                    <a:gd name="connsiteY137" fmla="*/ 4475 h 7170"/>
                    <a:gd name="connsiteX138" fmla="*/ 722 w 10000"/>
                    <a:gd name="connsiteY138" fmla="*/ 4826 h 7170"/>
                    <a:gd name="connsiteX139" fmla="*/ 722 w 10000"/>
                    <a:gd name="connsiteY139" fmla="*/ 4826 h 7170"/>
                    <a:gd name="connsiteX140" fmla="*/ 889 w 10000"/>
                    <a:gd name="connsiteY140" fmla="*/ 5036 h 7170"/>
                    <a:gd name="connsiteX141" fmla="*/ 944 w 10000"/>
                    <a:gd name="connsiteY141" fmla="*/ 5216 h 7170"/>
                    <a:gd name="connsiteX142" fmla="*/ 1111 w 10000"/>
                    <a:gd name="connsiteY142" fmla="*/ 5392 h 7170"/>
                    <a:gd name="connsiteX143" fmla="*/ 1333 w 10000"/>
                    <a:gd name="connsiteY143" fmla="*/ 5662 h 7170"/>
                    <a:gd name="connsiteX144" fmla="*/ 1333 w 10000"/>
                    <a:gd name="connsiteY144" fmla="*/ 5662 h 7170"/>
                    <a:gd name="connsiteX145" fmla="*/ 1444 w 10000"/>
                    <a:gd name="connsiteY145" fmla="*/ 5805 h 7170"/>
                    <a:gd name="connsiteX146" fmla="*/ 1500 w 10000"/>
                    <a:gd name="connsiteY146" fmla="*/ 5910 h 7170"/>
                    <a:gd name="connsiteX147" fmla="*/ 1500 w 10000"/>
                    <a:gd name="connsiteY147" fmla="*/ 6010 h 7170"/>
                    <a:gd name="connsiteX148" fmla="*/ 1556 w 10000"/>
                    <a:gd name="connsiteY148" fmla="*/ 6053 h 7170"/>
                    <a:gd name="connsiteX149" fmla="*/ 1722 w 10000"/>
                    <a:gd name="connsiteY149" fmla="*/ 6084 h 7170"/>
                    <a:gd name="connsiteX150" fmla="*/ 1944 w 10000"/>
                    <a:gd name="connsiteY150" fmla="*/ 6119 h 7170"/>
                    <a:gd name="connsiteX151" fmla="*/ 2944 w 10000"/>
                    <a:gd name="connsiteY151" fmla="*/ 6156 h 7170"/>
                    <a:gd name="connsiteX152" fmla="*/ 2944 w 10000"/>
                    <a:gd name="connsiteY152" fmla="*/ 6156 h 7170"/>
                    <a:gd name="connsiteX153" fmla="*/ 4167 w 10000"/>
                    <a:gd name="connsiteY153" fmla="*/ 6227 h 7170"/>
                    <a:gd name="connsiteX154" fmla="*/ 4889 w 10000"/>
                    <a:gd name="connsiteY154" fmla="*/ 6327 h 7170"/>
                    <a:gd name="connsiteX155" fmla="*/ 5278 w 10000"/>
                    <a:gd name="connsiteY155" fmla="*/ 6439 h 7170"/>
                    <a:gd name="connsiteX156" fmla="*/ 5444 w 10000"/>
                    <a:gd name="connsiteY156" fmla="*/ 6467 h 7170"/>
                    <a:gd name="connsiteX157" fmla="*/ 5444 w 10000"/>
                    <a:gd name="connsiteY157" fmla="*/ 6467 h 7170"/>
                    <a:gd name="connsiteX158" fmla="*/ 5722 w 10000"/>
                    <a:gd name="connsiteY158" fmla="*/ 6545 h 7170"/>
                    <a:gd name="connsiteX159" fmla="*/ 5833 w 10000"/>
                    <a:gd name="connsiteY159" fmla="*/ 6581 h 7170"/>
                    <a:gd name="connsiteX160" fmla="*/ 5833 w 10000"/>
                    <a:gd name="connsiteY160" fmla="*/ 6581 h 7170"/>
                    <a:gd name="connsiteX161" fmla="*/ 5833 w 10000"/>
                    <a:gd name="connsiteY161" fmla="*/ 6545 h 7170"/>
                    <a:gd name="connsiteX162" fmla="*/ 5889 w 10000"/>
                    <a:gd name="connsiteY162" fmla="*/ 6505 h 7170"/>
                    <a:gd name="connsiteX163" fmla="*/ 6000 w 10000"/>
                    <a:gd name="connsiteY163" fmla="*/ 6467 h 7170"/>
                    <a:gd name="connsiteX164" fmla="*/ 6167 w 10000"/>
                    <a:gd name="connsiteY164" fmla="*/ 6439 h 7170"/>
                    <a:gd name="connsiteX165" fmla="*/ 6444 w 10000"/>
                    <a:gd name="connsiteY165" fmla="*/ 6439 h 7170"/>
                    <a:gd name="connsiteX166" fmla="*/ 6833 w 10000"/>
                    <a:gd name="connsiteY166" fmla="*/ 6467 h 7170"/>
                    <a:gd name="connsiteX167" fmla="*/ 7278 w 10000"/>
                    <a:gd name="connsiteY167" fmla="*/ 6581 h 7170"/>
                    <a:gd name="connsiteX168" fmla="*/ 7278 w 10000"/>
                    <a:gd name="connsiteY168" fmla="*/ 6581 h 7170"/>
                    <a:gd name="connsiteX169" fmla="*/ 8722 w 10000"/>
                    <a:gd name="connsiteY169" fmla="*/ 6885 h 7170"/>
                    <a:gd name="connsiteX170" fmla="*/ 10000 w 10000"/>
                    <a:gd name="connsiteY170" fmla="*/ 7170 h 7170"/>
                    <a:gd name="connsiteX0" fmla="*/ 10000 w 10000"/>
                    <a:gd name="connsiteY0" fmla="*/ 6678 h 10000"/>
                    <a:gd name="connsiteX1" fmla="*/ 10000 w 10000"/>
                    <a:gd name="connsiteY1" fmla="*/ 6678 h 10000"/>
                    <a:gd name="connsiteX2" fmla="*/ 9222 w 10000"/>
                    <a:gd name="connsiteY2" fmla="*/ 6731 h 10000"/>
                    <a:gd name="connsiteX3" fmla="*/ 8944 w 10000"/>
                    <a:gd name="connsiteY3" fmla="*/ 6731 h 10000"/>
                    <a:gd name="connsiteX4" fmla="*/ 8833 w 10000"/>
                    <a:gd name="connsiteY4" fmla="*/ 6678 h 10000"/>
                    <a:gd name="connsiteX5" fmla="*/ 8778 w 10000"/>
                    <a:gd name="connsiteY5" fmla="*/ 6633 h 10000"/>
                    <a:gd name="connsiteX6" fmla="*/ 8778 w 10000"/>
                    <a:gd name="connsiteY6" fmla="*/ 6633 h 10000"/>
                    <a:gd name="connsiteX7" fmla="*/ 8444 w 10000"/>
                    <a:gd name="connsiteY7" fmla="*/ 6047 h 10000"/>
                    <a:gd name="connsiteX8" fmla="*/ 8167 w 10000"/>
                    <a:gd name="connsiteY8" fmla="*/ 5509 h 10000"/>
                    <a:gd name="connsiteX9" fmla="*/ 8167 w 10000"/>
                    <a:gd name="connsiteY9" fmla="*/ 5509 h 10000"/>
                    <a:gd name="connsiteX10" fmla="*/ 8056 w 10000"/>
                    <a:gd name="connsiteY10" fmla="*/ 5420 h 10000"/>
                    <a:gd name="connsiteX11" fmla="*/ 7889 w 10000"/>
                    <a:gd name="connsiteY11" fmla="*/ 5324 h 10000"/>
                    <a:gd name="connsiteX12" fmla="*/ 7444 w 10000"/>
                    <a:gd name="connsiteY12" fmla="*/ 5266 h 10000"/>
                    <a:gd name="connsiteX13" fmla="*/ 6889 w 10000"/>
                    <a:gd name="connsiteY13" fmla="*/ 5223 h 10000"/>
                    <a:gd name="connsiteX14" fmla="*/ 6389 w 10000"/>
                    <a:gd name="connsiteY14" fmla="*/ 5223 h 10000"/>
                    <a:gd name="connsiteX15" fmla="*/ 6389 w 10000"/>
                    <a:gd name="connsiteY15" fmla="*/ 5223 h 10000"/>
                    <a:gd name="connsiteX16" fmla="*/ 6167 w 10000"/>
                    <a:gd name="connsiteY16" fmla="*/ 5167 h 10000"/>
                    <a:gd name="connsiteX17" fmla="*/ 6056 w 10000"/>
                    <a:gd name="connsiteY17" fmla="*/ 5079 h 10000"/>
                    <a:gd name="connsiteX18" fmla="*/ 6000 w 10000"/>
                    <a:gd name="connsiteY18" fmla="*/ 4976 h 10000"/>
                    <a:gd name="connsiteX19" fmla="*/ 6000 w 10000"/>
                    <a:gd name="connsiteY19" fmla="*/ 4795 h 10000"/>
                    <a:gd name="connsiteX20" fmla="*/ 6056 w 10000"/>
                    <a:gd name="connsiteY20" fmla="*/ 4397 h 10000"/>
                    <a:gd name="connsiteX21" fmla="*/ 6111 w 10000"/>
                    <a:gd name="connsiteY21" fmla="*/ 4198 h 10000"/>
                    <a:gd name="connsiteX22" fmla="*/ 6056 w 10000"/>
                    <a:gd name="connsiteY22" fmla="*/ 3951 h 10000"/>
                    <a:gd name="connsiteX23" fmla="*/ 6056 w 10000"/>
                    <a:gd name="connsiteY23" fmla="*/ 3951 h 10000"/>
                    <a:gd name="connsiteX24" fmla="*/ 6000 w 10000"/>
                    <a:gd name="connsiteY24" fmla="*/ 3805 h 10000"/>
                    <a:gd name="connsiteX25" fmla="*/ 5944 w 10000"/>
                    <a:gd name="connsiteY25" fmla="*/ 3707 h 10000"/>
                    <a:gd name="connsiteX26" fmla="*/ 5833 w 10000"/>
                    <a:gd name="connsiteY26" fmla="*/ 3707 h 10000"/>
                    <a:gd name="connsiteX27" fmla="*/ 5667 w 10000"/>
                    <a:gd name="connsiteY27" fmla="*/ 3750 h 10000"/>
                    <a:gd name="connsiteX28" fmla="*/ 5333 w 10000"/>
                    <a:gd name="connsiteY28" fmla="*/ 3904 h 10000"/>
                    <a:gd name="connsiteX29" fmla="*/ 4889 w 10000"/>
                    <a:gd name="connsiteY29" fmla="*/ 4149 h 10000"/>
                    <a:gd name="connsiteX30" fmla="*/ 4889 w 10000"/>
                    <a:gd name="connsiteY30" fmla="*/ 4149 h 10000"/>
                    <a:gd name="connsiteX31" fmla="*/ 4611 w 10000"/>
                    <a:gd name="connsiteY31" fmla="*/ 4198 h 10000"/>
                    <a:gd name="connsiteX32" fmla="*/ 4500 w 10000"/>
                    <a:gd name="connsiteY32" fmla="*/ 4198 h 10000"/>
                    <a:gd name="connsiteX33" fmla="*/ 4444 w 10000"/>
                    <a:gd name="connsiteY33" fmla="*/ 4149 h 10000"/>
                    <a:gd name="connsiteX34" fmla="*/ 4389 w 10000"/>
                    <a:gd name="connsiteY34" fmla="*/ 3951 h 10000"/>
                    <a:gd name="connsiteX35" fmla="*/ 4222 w 10000"/>
                    <a:gd name="connsiteY35" fmla="*/ 3707 h 10000"/>
                    <a:gd name="connsiteX36" fmla="*/ 4222 w 10000"/>
                    <a:gd name="connsiteY36" fmla="*/ 3707 h 10000"/>
                    <a:gd name="connsiteX37" fmla="*/ 4111 w 10000"/>
                    <a:gd name="connsiteY37" fmla="*/ 3558 h 10000"/>
                    <a:gd name="connsiteX38" fmla="*/ 4111 w 10000"/>
                    <a:gd name="connsiteY38" fmla="*/ 3417 h 10000"/>
                    <a:gd name="connsiteX39" fmla="*/ 4111 w 10000"/>
                    <a:gd name="connsiteY39" fmla="*/ 3319 h 10000"/>
                    <a:gd name="connsiteX40" fmla="*/ 4167 w 10000"/>
                    <a:gd name="connsiteY40" fmla="*/ 3219 h 10000"/>
                    <a:gd name="connsiteX41" fmla="*/ 4278 w 10000"/>
                    <a:gd name="connsiteY41" fmla="*/ 3025 h 10000"/>
                    <a:gd name="connsiteX42" fmla="*/ 4389 w 10000"/>
                    <a:gd name="connsiteY42" fmla="*/ 2975 h 10000"/>
                    <a:gd name="connsiteX43" fmla="*/ 4389 w 10000"/>
                    <a:gd name="connsiteY43" fmla="*/ 2975 h 10000"/>
                    <a:gd name="connsiteX44" fmla="*/ 4389 w 10000"/>
                    <a:gd name="connsiteY44" fmla="*/ 2925 h 10000"/>
                    <a:gd name="connsiteX45" fmla="*/ 4444 w 10000"/>
                    <a:gd name="connsiteY45" fmla="*/ 2887 h 10000"/>
                    <a:gd name="connsiteX46" fmla="*/ 4667 w 10000"/>
                    <a:gd name="connsiteY46" fmla="*/ 2831 h 10000"/>
                    <a:gd name="connsiteX47" fmla="*/ 5333 w 10000"/>
                    <a:gd name="connsiteY47" fmla="*/ 2739 h 10000"/>
                    <a:gd name="connsiteX48" fmla="*/ 6500 w 10000"/>
                    <a:gd name="connsiteY48" fmla="*/ 2584 h 10000"/>
                    <a:gd name="connsiteX49" fmla="*/ 6500 w 10000"/>
                    <a:gd name="connsiteY49" fmla="*/ 2584 h 10000"/>
                    <a:gd name="connsiteX50" fmla="*/ 7167 w 10000"/>
                    <a:gd name="connsiteY50" fmla="*/ 2445 h 10000"/>
                    <a:gd name="connsiteX51" fmla="*/ 8389 w 10000"/>
                    <a:gd name="connsiteY51" fmla="*/ 2153 h 10000"/>
                    <a:gd name="connsiteX52" fmla="*/ 8389 w 10000"/>
                    <a:gd name="connsiteY52" fmla="*/ 2153 h 10000"/>
                    <a:gd name="connsiteX53" fmla="*/ 8667 w 10000"/>
                    <a:gd name="connsiteY53" fmla="*/ 2047 h 10000"/>
                    <a:gd name="connsiteX54" fmla="*/ 8778 w 10000"/>
                    <a:gd name="connsiteY54" fmla="*/ 1897 h 10000"/>
                    <a:gd name="connsiteX55" fmla="*/ 8889 w 10000"/>
                    <a:gd name="connsiteY55" fmla="*/ 1805 h 10000"/>
                    <a:gd name="connsiteX56" fmla="*/ 8833 w 10000"/>
                    <a:gd name="connsiteY56" fmla="*/ 1710 h 10000"/>
                    <a:gd name="connsiteX57" fmla="*/ 8833 w 10000"/>
                    <a:gd name="connsiteY57" fmla="*/ 1618 h 10000"/>
                    <a:gd name="connsiteX58" fmla="*/ 8722 w 10000"/>
                    <a:gd name="connsiteY58" fmla="*/ 1512 h 10000"/>
                    <a:gd name="connsiteX59" fmla="*/ 8556 w 10000"/>
                    <a:gd name="connsiteY59" fmla="*/ 1365 h 10000"/>
                    <a:gd name="connsiteX60" fmla="*/ 8556 w 10000"/>
                    <a:gd name="connsiteY60" fmla="*/ 1365 h 10000"/>
                    <a:gd name="connsiteX61" fmla="*/ 6556 w 10000"/>
                    <a:gd name="connsiteY61" fmla="*/ 498 h 10000"/>
                    <a:gd name="connsiteX62" fmla="*/ 6556 w 10000"/>
                    <a:gd name="connsiteY62" fmla="*/ 498 h 10000"/>
                    <a:gd name="connsiteX63" fmla="*/ 6333 w 10000"/>
                    <a:gd name="connsiteY63" fmla="*/ 346 h 10000"/>
                    <a:gd name="connsiteX64" fmla="*/ 6167 w 10000"/>
                    <a:gd name="connsiteY64" fmla="*/ 199 h 10000"/>
                    <a:gd name="connsiteX65" fmla="*/ 6056 w 10000"/>
                    <a:gd name="connsiteY65" fmla="*/ 49 h 10000"/>
                    <a:gd name="connsiteX66" fmla="*/ 6056 w 10000"/>
                    <a:gd name="connsiteY66" fmla="*/ 49 h 10000"/>
                    <a:gd name="connsiteX67" fmla="*/ 8056 w 10000"/>
                    <a:gd name="connsiteY67" fmla="*/ 0 h 10000"/>
                    <a:gd name="connsiteX68" fmla="*/ 10000 w 10000"/>
                    <a:gd name="connsiteY68" fmla="*/ 6731 h 10000"/>
                    <a:gd name="connsiteX69" fmla="*/ 10000 w 10000"/>
                    <a:gd name="connsiteY69" fmla="*/ 6731 h 10000"/>
                    <a:gd name="connsiteX70" fmla="*/ 9722 w 10000"/>
                    <a:gd name="connsiteY70" fmla="*/ 6678 h 10000"/>
                    <a:gd name="connsiteX71" fmla="*/ 9389 w 10000"/>
                    <a:gd name="connsiteY71" fmla="*/ 6731 h 10000"/>
                    <a:gd name="connsiteX72" fmla="*/ 9389 w 10000"/>
                    <a:gd name="connsiteY72" fmla="*/ 6731 h 10000"/>
                    <a:gd name="connsiteX73" fmla="*/ 9278 w 10000"/>
                    <a:gd name="connsiteY73" fmla="*/ 6792 h 10000"/>
                    <a:gd name="connsiteX74" fmla="*/ 9056 w 10000"/>
                    <a:gd name="connsiteY74" fmla="*/ 6731 h 10000"/>
                    <a:gd name="connsiteX75" fmla="*/ 8889 w 10000"/>
                    <a:gd name="connsiteY75" fmla="*/ 6678 h 10000"/>
                    <a:gd name="connsiteX76" fmla="*/ 8722 w 10000"/>
                    <a:gd name="connsiteY76" fmla="*/ 6587 h 10000"/>
                    <a:gd name="connsiteX77" fmla="*/ 8611 w 10000"/>
                    <a:gd name="connsiteY77" fmla="*/ 6435 h 10000"/>
                    <a:gd name="connsiteX78" fmla="*/ 8444 w 10000"/>
                    <a:gd name="connsiteY78" fmla="*/ 6190 h 10000"/>
                    <a:gd name="connsiteX79" fmla="*/ 8444 w 10000"/>
                    <a:gd name="connsiteY79" fmla="*/ 6190 h 10000"/>
                    <a:gd name="connsiteX80" fmla="*/ 8222 w 10000"/>
                    <a:gd name="connsiteY80" fmla="*/ 5762 h 10000"/>
                    <a:gd name="connsiteX81" fmla="*/ 8111 w 10000"/>
                    <a:gd name="connsiteY81" fmla="*/ 5568 h 10000"/>
                    <a:gd name="connsiteX82" fmla="*/ 7944 w 10000"/>
                    <a:gd name="connsiteY82" fmla="*/ 5420 h 10000"/>
                    <a:gd name="connsiteX83" fmla="*/ 7778 w 10000"/>
                    <a:gd name="connsiteY83" fmla="*/ 5324 h 10000"/>
                    <a:gd name="connsiteX84" fmla="*/ 7556 w 10000"/>
                    <a:gd name="connsiteY84" fmla="*/ 5266 h 10000"/>
                    <a:gd name="connsiteX85" fmla="*/ 7333 w 10000"/>
                    <a:gd name="connsiteY85" fmla="*/ 5223 h 10000"/>
                    <a:gd name="connsiteX86" fmla="*/ 7000 w 10000"/>
                    <a:gd name="connsiteY86" fmla="*/ 5167 h 10000"/>
                    <a:gd name="connsiteX87" fmla="*/ 7000 w 10000"/>
                    <a:gd name="connsiteY87" fmla="*/ 5167 h 10000"/>
                    <a:gd name="connsiteX88" fmla="*/ 6556 w 10000"/>
                    <a:gd name="connsiteY88" fmla="*/ 5223 h 10000"/>
                    <a:gd name="connsiteX89" fmla="*/ 6222 w 10000"/>
                    <a:gd name="connsiteY89" fmla="*/ 5223 h 10000"/>
                    <a:gd name="connsiteX90" fmla="*/ 6111 w 10000"/>
                    <a:gd name="connsiteY90" fmla="*/ 5167 h 10000"/>
                    <a:gd name="connsiteX91" fmla="*/ 6056 w 10000"/>
                    <a:gd name="connsiteY91" fmla="*/ 5120 h 10000"/>
                    <a:gd name="connsiteX92" fmla="*/ 6056 w 10000"/>
                    <a:gd name="connsiteY92" fmla="*/ 5120 h 10000"/>
                    <a:gd name="connsiteX93" fmla="*/ 6056 w 10000"/>
                    <a:gd name="connsiteY93" fmla="*/ 4250 h 10000"/>
                    <a:gd name="connsiteX94" fmla="*/ 6056 w 10000"/>
                    <a:gd name="connsiteY94" fmla="*/ 4250 h 10000"/>
                    <a:gd name="connsiteX95" fmla="*/ 6056 w 10000"/>
                    <a:gd name="connsiteY95" fmla="*/ 4047 h 10000"/>
                    <a:gd name="connsiteX96" fmla="*/ 5944 w 10000"/>
                    <a:gd name="connsiteY96" fmla="*/ 3805 h 10000"/>
                    <a:gd name="connsiteX97" fmla="*/ 5889 w 10000"/>
                    <a:gd name="connsiteY97" fmla="*/ 3750 h 10000"/>
                    <a:gd name="connsiteX98" fmla="*/ 5778 w 10000"/>
                    <a:gd name="connsiteY98" fmla="*/ 3707 h 10000"/>
                    <a:gd name="connsiteX99" fmla="*/ 5667 w 10000"/>
                    <a:gd name="connsiteY99" fmla="*/ 3707 h 10000"/>
                    <a:gd name="connsiteX100" fmla="*/ 5500 w 10000"/>
                    <a:gd name="connsiteY100" fmla="*/ 3750 h 10000"/>
                    <a:gd name="connsiteX101" fmla="*/ 5500 w 10000"/>
                    <a:gd name="connsiteY101" fmla="*/ 3750 h 10000"/>
                    <a:gd name="connsiteX102" fmla="*/ 4889 w 10000"/>
                    <a:gd name="connsiteY102" fmla="*/ 4098 h 10000"/>
                    <a:gd name="connsiteX103" fmla="*/ 4611 w 10000"/>
                    <a:gd name="connsiteY103" fmla="*/ 4198 h 10000"/>
                    <a:gd name="connsiteX104" fmla="*/ 4556 w 10000"/>
                    <a:gd name="connsiteY104" fmla="*/ 4250 h 10000"/>
                    <a:gd name="connsiteX105" fmla="*/ 4500 w 10000"/>
                    <a:gd name="connsiteY105" fmla="*/ 4198 h 10000"/>
                    <a:gd name="connsiteX106" fmla="*/ 4500 w 10000"/>
                    <a:gd name="connsiteY106" fmla="*/ 4198 h 10000"/>
                    <a:gd name="connsiteX107" fmla="*/ 4222 w 10000"/>
                    <a:gd name="connsiteY107" fmla="*/ 3707 h 10000"/>
                    <a:gd name="connsiteX108" fmla="*/ 4222 w 10000"/>
                    <a:gd name="connsiteY108" fmla="*/ 3707 h 10000"/>
                    <a:gd name="connsiteX109" fmla="*/ 4111 w 10000"/>
                    <a:gd name="connsiteY109" fmla="*/ 3464 h 10000"/>
                    <a:gd name="connsiteX110" fmla="*/ 4111 w 10000"/>
                    <a:gd name="connsiteY110" fmla="*/ 3319 h 10000"/>
                    <a:gd name="connsiteX111" fmla="*/ 4111 w 10000"/>
                    <a:gd name="connsiteY111" fmla="*/ 3170 h 10000"/>
                    <a:gd name="connsiteX112" fmla="*/ 4111 w 10000"/>
                    <a:gd name="connsiteY112" fmla="*/ 3170 h 10000"/>
                    <a:gd name="connsiteX113" fmla="*/ 4278 w 10000"/>
                    <a:gd name="connsiteY113" fmla="*/ 3025 h 10000"/>
                    <a:gd name="connsiteX114" fmla="*/ 4389 w 10000"/>
                    <a:gd name="connsiteY114" fmla="*/ 2975 h 10000"/>
                    <a:gd name="connsiteX115" fmla="*/ 4389 w 10000"/>
                    <a:gd name="connsiteY115" fmla="*/ 2975 h 10000"/>
                    <a:gd name="connsiteX116" fmla="*/ 4000 w 10000"/>
                    <a:gd name="connsiteY116" fmla="*/ 2975 h 10000"/>
                    <a:gd name="connsiteX117" fmla="*/ 3722 w 10000"/>
                    <a:gd name="connsiteY117" fmla="*/ 3025 h 10000"/>
                    <a:gd name="connsiteX118" fmla="*/ 3611 w 10000"/>
                    <a:gd name="connsiteY118" fmla="*/ 3078 h 10000"/>
                    <a:gd name="connsiteX119" fmla="*/ 3556 w 10000"/>
                    <a:gd name="connsiteY119" fmla="*/ 3126 h 10000"/>
                    <a:gd name="connsiteX120" fmla="*/ 3556 w 10000"/>
                    <a:gd name="connsiteY120" fmla="*/ 3126 h 10000"/>
                    <a:gd name="connsiteX121" fmla="*/ 3444 w 10000"/>
                    <a:gd name="connsiteY121" fmla="*/ 3319 h 10000"/>
                    <a:gd name="connsiteX122" fmla="*/ 3278 w 10000"/>
                    <a:gd name="connsiteY122" fmla="*/ 3615 h 10000"/>
                    <a:gd name="connsiteX123" fmla="*/ 3000 w 10000"/>
                    <a:gd name="connsiteY123" fmla="*/ 3951 h 10000"/>
                    <a:gd name="connsiteX124" fmla="*/ 2667 w 10000"/>
                    <a:gd name="connsiteY124" fmla="*/ 4198 h 10000"/>
                    <a:gd name="connsiteX125" fmla="*/ 2667 w 10000"/>
                    <a:gd name="connsiteY125" fmla="*/ 4198 h 10000"/>
                    <a:gd name="connsiteX126" fmla="*/ 2333 w 10000"/>
                    <a:gd name="connsiteY126" fmla="*/ 4397 h 10000"/>
                    <a:gd name="connsiteX127" fmla="*/ 1833 w 10000"/>
                    <a:gd name="connsiteY127" fmla="*/ 4593 h 10000"/>
                    <a:gd name="connsiteX128" fmla="*/ 1389 w 10000"/>
                    <a:gd name="connsiteY128" fmla="*/ 4686 h 10000"/>
                    <a:gd name="connsiteX129" fmla="*/ 889 w 10000"/>
                    <a:gd name="connsiteY129" fmla="*/ 4735 h 10000"/>
                    <a:gd name="connsiteX130" fmla="*/ 889 w 10000"/>
                    <a:gd name="connsiteY130" fmla="*/ 4735 h 10000"/>
                    <a:gd name="connsiteX131" fmla="*/ 500 w 10000"/>
                    <a:gd name="connsiteY131" fmla="*/ 4795 h 10000"/>
                    <a:gd name="connsiteX132" fmla="*/ 222 w 10000"/>
                    <a:gd name="connsiteY132" fmla="*/ 4831 h 10000"/>
                    <a:gd name="connsiteX133" fmla="*/ 0 w 10000"/>
                    <a:gd name="connsiteY133" fmla="*/ 4877 h 10000"/>
                    <a:gd name="connsiteX134" fmla="*/ 0 w 10000"/>
                    <a:gd name="connsiteY134" fmla="*/ 4877 h 10000"/>
                    <a:gd name="connsiteX135" fmla="*/ 278 w 10000"/>
                    <a:gd name="connsiteY135" fmla="*/ 5664 h 10000"/>
                    <a:gd name="connsiteX136" fmla="*/ 500 w 10000"/>
                    <a:gd name="connsiteY136" fmla="*/ 6241 h 10000"/>
                    <a:gd name="connsiteX137" fmla="*/ 722 w 10000"/>
                    <a:gd name="connsiteY137" fmla="*/ 6731 h 10000"/>
                    <a:gd name="connsiteX138" fmla="*/ 722 w 10000"/>
                    <a:gd name="connsiteY138" fmla="*/ 6731 h 10000"/>
                    <a:gd name="connsiteX139" fmla="*/ 889 w 10000"/>
                    <a:gd name="connsiteY139" fmla="*/ 7024 h 10000"/>
                    <a:gd name="connsiteX140" fmla="*/ 944 w 10000"/>
                    <a:gd name="connsiteY140" fmla="*/ 7275 h 10000"/>
                    <a:gd name="connsiteX141" fmla="*/ 1111 w 10000"/>
                    <a:gd name="connsiteY141" fmla="*/ 7520 h 10000"/>
                    <a:gd name="connsiteX142" fmla="*/ 1333 w 10000"/>
                    <a:gd name="connsiteY142" fmla="*/ 7897 h 10000"/>
                    <a:gd name="connsiteX143" fmla="*/ 1333 w 10000"/>
                    <a:gd name="connsiteY143" fmla="*/ 7897 h 10000"/>
                    <a:gd name="connsiteX144" fmla="*/ 1444 w 10000"/>
                    <a:gd name="connsiteY144" fmla="*/ 8096 h 10000"/>
                    <a:gd name="connsiteX145" fmla="*/ 1500 w 10000"/>
                    <a:gd name="connsiteY145" fmla="*/ 8243 h 10000"/>
                    <a:gd name="connsiteX146" fmla="*/ 1500 w 10000"/>
                    <a:gd name="connsiteY146" fmla="*/ 8382 h 10000"/>
                    <a:gd name="connsiteX147" fmla="*/ 1556 w 10000"/>
                    <a:gd name="connsiteY147" fmla="*/ 8442 h 10000"/>
                    <a:gd name="connsiteX148" fmla="*/ 1722 w 10000"/>
                    <a:gd name="connsiteY148" fmla="*/ 8485 h 10000"/>
                    <a:gd name="connsiteX149" fmla="*/ 1944 w 10000"/>
                    <a:gd name="connsiteY149" fmla="*/ 8534 h 10000"/>
                    <a:gd name="connsiteX150" fmla="*/ 2944 w 10000"/>
                    <a:gd name="connsiteY150" fmla="*/ 8586 h 10000"/>
                    <a:gd name="connsiteX151" fmla="*/ 2944 w 10000"/>
                    <a:gd name="connsiteY151" fmla="*/ 8586 h 10000"/>
                    <a:gd name="connsiteX152" fmla="*/ 4167 w 10000"/>
                    <a:gd name="connsiteY152" fmla="*/ 8685 h 10000"/>
                    <a:gd name="connsiteX153" fmla="*/ 4889 w 10000"/>
                    <a:gd name="connsiteY153" fmla="*/ 8824 h 10000"/>
                    <a:gd name="connsiteX154" fmla="*/ 5278 w 10000"/>
                    <a:gd name="connsiteY154" fmla="*/ 8980 h 10000"/>
                    <a:gd name="connsiteX155" fmla="*/ 5444 w 10000"/>
                    <a:gd name="connsiteY155" fmla="*/ 9020 h 10000"/>
                    <a:gd name="connsiteX156" fmla="*/ 5444 w 10000"/>
                    <a:gd name="connsiteY156" fmla="*/ 9020 h 10000"/>
                    <a:gd name="connsiteX157" fmla="*/ 5722 w 10000"/>
                    <a:gd name="connsiteY157" fmla="*/ 9128 h 10000"/>
                    <a:gd name="connsiteX158" fmla="*/ 5833 w 10000"/>
                    <a:gd name="connsiteY158" fmla="*/ 9179 h 10000"/>
                    <a:gd name="connsiteX159" fmla="*/ 5833 w 10000"/>
                    <a:gd name="connsiteY159" fmla="*/ 9179 h 10000"/>
                    <a:gd name="connsiteX160" fmla="*/ 5833 w 10000"/>
                    <a:gd name="connsiteY160" fmla="*/ 9128 h 10000"/>
                    <a:gd name="connsiteX161" fmla="*/ 5889 w 10000"/>
                    <a:gd name="connsiteY161" fmla="*/ 9073 h 10000"/>
                    <a:gd name="connsiteX162" fmla="*/ 6000 w 10000"/>
                    <a:gd name="connsiteY162" fmla="*/ 9020 h 10000"/>
                    <a:gd name="connsiteX163" fmla="*/ 6167 w 10000"/>
                    <a:gd name="connsiteY163" fmla="*/ 8980 h 10000"/>
                    <a:gd name="connsiteX164" fmla="*/ 6444 w 10000"/>
                    <a:gd name="connsiteY164" fmla="*/ 8980 h 10000"/>
                    <a:gd name="connsiteX165" fmla="*/ 6833 w 10000"/>
                    <a:gd name="connsiteY165" fmla="*/ 9020 h 10000"/>
                    <a:gd name="connsiteX166" fmla="*/ 7278 w 10000"/>
                    <a:gd name="connsiteY166" fmla="*/ 9179 h 10000"/>
                    <a:gd name="connsiteX167" fmla="*/ 7278 w 10000"/>
                    <a:gd name="connsiteY167" fmla="*/ 9179 h 10000"/>
                    <a:gd name="connsiteX168" fmla="*/ 8722 w 10000"/>
                    <a:gd name="connsiteY168" fmla="*/ 9603 h 10000"/>
                    <a:gd name="connsiteX169" fmla="*/ 10000 w 10000"/>
                    <a:gd name="connsiteY169" fmla="*/ 10000 h 10000"/>
                    <a:gd name="connsiteX0" fmla="*/ 10000 w 10000"/>
                    <a:gd name="connsiteY0" fmla="*/ 6629 h 9951"/>
                    <a:gd name="connsiteX1" fmla="*/ 10000 w 10000"/>
                    <a:gd name="connsiteY1" fmla="*/ 6629 h 9951"/>
                    <a:gd name="connsiteX2" fmla="*/ 9222 w 10000"/>
                    <a:gd name="connsiteY2" fmla="*/ 6682 h 9951"/>
                    <a:gd name="connsiteX3" fmla="*/ 8944 w 10000"/>
                    <a:gd name="connsiteY3" fmla="*/ 6682 h 9951"/>
                    <a:gd name="connsiteX4" fmla="*/ 8833 w 10000"/>
                    <a:gd name="connsiteY4" fmla="*/ 6629 h 9951"/>
                    <a:gd name="connsiteX5" fmla="*/ 8778 w 10000"/>
                    <a:gd name="connsiteY5" fmla="*/ 6584 h 9951"/>
                    <a:gd name="connsiteX6" fmla="*/ 8778 w 10000"/>
                    <a:gd name="connsiteY6" fmla="*/ 6584 h 9951"/>
                    <a:gd name="connsiteX7" fmla="*/ 8444 w 10000"/>
                    <a:gd name="connsiteY7" fmla="*/ 5998 h 9951"/>
                    <a:gd name="connsiteX8" fmla="*/ 8167 w 10000"/>
                    <a:gd name="connsiteY8" fmla="*/ 5460 h 9951"/>
                    <a:gd name="connsiteX9" fmla="*/ 8167 w 10000"/>
                    <a:gd name="connsiteY9" fmla="*/ 5460 h 9951"/>
                    <a:gd name="connsiteX10" fmla="*/ 8056 w 10000"/>
                    <a:gd name="connsiteY10" fmla="*/ 5371 h 9951"/>
                    <a:gd name="connsiteX11" fmla="*/ 7889 w 10000"/>
                    <a:gd name="connsiteY11" fmla="*/ 5275 h 9951"/>
                    <a:gd name="connsiteX12" fmla="*/ 7444 w 10000"/>
                    <a:gd name="connsiteY12" fmla="*/ 5217 h 9951"/>
                    <a:gd name="connsiteX13" fmla="*/ 6889 w 10000"/>
                    <a:gd name="connsiteY13" fmla="*/ 5174 h 9951"/>
                    <a:gd name="connsiteX14" fmla="*/ 6389 w 10000"/>
                    <a:gd name="connsiteY14" fmla="*/ 5174 h 9951"/>
                    <a:gd name="connsiteX15" fmla="*/ 6389 w 10000"/>
                    <a:gd name="connsiteY15" fmla="*/ 5174 h 9951"/>
                    <a:gd name="connsiteX16" fmla="*/ 6167 w 10000"/>
                    <a:gd name="connsiteY16" fmla="*/ 5118 h 9951"/>
                    <a:gd name="connsiteX17" fmla="*/ 6056 w 10000"/>
                    <a:gd name="connsiteY17" fmla="*/ 5030 h 9951"/>
                    <a:gd name="connsiteX18" fmla="*/ 6000 w 10000"/>
                    <a:gd name="connsiteY18" fmla="*/ 4927 h 9951"/>
                    <a:gd name="connsiteX19" fmla="*/ 6000 w 10000"/>
                    <a:gd name="connsiteY19" fmla="*/ 4746 h 9951"/>
                    <a:gd name="connsiteX20" fmla="*/ 6056 w 10000"/>
                    <a:gd name="connsiteY20" fmla="*/ 4348 h 9951"/>
                    <a:gd name="connsiteX21" fmla="*/ 6111 w 10000"/>
                    <a:gd name="connsiteY21" fmla="*/ 4149 h 9951"/>
                    <a:gd name="connsiteX22" fmla="*/ 6056 w 10000"/>
                    <a:gd name="connsiteY22" fmla="*/ 3902 h 9951"/>
                    <a:gd name="connsiteX23" fmla="*/ 6056 w 10000"/>
                    <a:gd name="connsiteY23" fmla="*/ 3902 h 9951"/>
                    <a:gd name="connsiteX24" fmla="*/ 6000 w 10000"/>
                    <a:gd name="connsiteY24" fmla="*/ 3756 h 9951"/>
                    <a:gd name="connsiteX25" fmla="*/ 5944 w 10000"/>
                    <a:gd name="connsiteY25" fmla="*/ 3658 h 9951"/>
                    <a:gd name="connsiteX26" fmla="*/ 5833 w 10000"/>
                    <a:gd name="connsiteY26" fmla="*/ 3658 h 9951"/>
                    <a:gd name="connsiteX27" fmla="*/ 5667 w 10000"/>
                    <a:gd name="connsiteY27" fmla="*/ 3701 h 9951"/>
                    <a:gd name="connsiteX28" fmla="*/ 5333 w 10000"/>
                    <a:gd name="connsiteY28" fmla="*/ 3855 h 9951"/>
                    <a:gd name="connsiteX29" fmla="*/ 4889 w 10000"/>
                    <a:gd name="connsiteY29" fmla="*/ 4100 h 9951"/>
                    <a:gd name="connsiteX30" fmla="*/ 4889 w 10000"/>
                    <a:gd name="connsiteY30" fmla="*/ 4100 h 9951"/>
                    <a:gd name="connsiteX31" fmla="*/ 4611 w 10000"/>
                    <a:gd name="connsiteY31" fmla="*/ 4149 h 9951"/>
                    <a:gd name="connsiteX32" fmla="*/ 4500 w 10000"/>
                    <a:gd name="connsiteY32" fmla="*/ 4149 h 9951"/>
                    <a:gd name="connsiteX33" fmla="*/ 4444 w 10000"/>
                    <a:gd name="connsiteY33" fmla="*/ 4100 h 9951"/>
                    <a:gd name="connsiteX34" fmla="*/ 4389 w 10000"/>
                    <a:gd name="connsiteY34" fmla="*/ 3902 h 9951"/>
                    <a:gd name="connsiteX35" fmla="*/ 4222 w 10000"/>
                    <a:gd name="connsiteY35" fmla="*/ 3658 h 9951"/>
                    <a:gd name="connsiteX36" fmla="*/ 4222 w 10000"/>
                    <a:gd name="connsiteY36" fmla="*/ 3658 h 9951"/>
                    <a:gd name="connsiteX37" fmla="*/ 4111 w 10000"/>
                    <a:gd name="connsiteY37" fmla="*/ 3509 h 9951"/>
                    <a:gd name="connsiteX38" fmla="*/ 4111 w 10000"/>
                    <a:gd name="connsiteY38" fmla="*/ 3368 h 9951"/>
                    <a:gd name="connsiteX39" fmla="*/ 4111 w 10000"/>
                    <a:gd name="connsiteY39" fmla="*/ 3270 h 9951"/>
                    <a:gd name="connsiteX40" fmla="*/ 4167 w 10000"/>
                    <a:gd name="connsiteY40" fmla="*/ 3170 h 9951"/>
                    <a:gd name="connsiteX41" fmla="*/ 4278 w 10000"/>
                    <a:gd name="connsiteY41" fmla="*/ 2976 h 9951"/>
                    <a:gd name="connsiteX42" fmla="*/ 4389 w 10000"/>
                    <a:gd name="connsiteY42" fmla="*/ 2926 h 9951"/>
                    <a:gd name="connsiteX43" fmla="*/ 4389 w 10000"/>
                    <a:gd name="connsiteY43" fmla="*/ 2926 h 9951"/>
                    <a:gd name="connsiteX44" fmla="*/ 4389 w 10000"/>
                    <a:gd name="connsiteY44" fmla="*/ 2876 h 9951"/>
                    <a:gd name="connsiteX45" fmla="*/ 4444 w 10000"/>
                    <a:gd name="connsiteY45" fmla="*/ 2838 h 9951"/>
                    <a:gd name="connsiteX46" fmla="*/ 4667 w 10000"/>
                    <a:gd name="connsiteY46" fmla="*/ 2782 h 9951"/>
                    <a:gd name="connsiteX47" fmla="*/ 5333 w 10000"/>
                    <a:gd name="connsiteY47" fmla="*/ 2690 h 9951"/>
                    <a:gd name="connsiteX48" fmla="*/ 6500 w 10000"/>
                    <a:gd name="connsiteY48" fmla="*/ 2535 h 9951"/>
                    <a:gd name="connsiteX49" fmla="*/ 6500 w 10000"/>
                    <a:gd name="connsiteY49" fmla="*/ 2535 h 9951"/>
                    <a:gd name="connsiteX50" fmla="*/ 7167 w 10000"/>
                    <a:gd name="connsiteY50" fmla="*/ 2396 h 9951"/>
                    <a:gd name="connsiteX51" fmla="*/ 8389 w 10000"/>
                    <a:gd name="connsiteY51" fmla="*/ 2104 h 9951"/>
                    <a:gd name="connsiteX52" fmla="*/ 8389 w 10000"/>
                    <a:gd name="connsiteY52" fmla="*/ 2104 h 9951"/>
                    <a:gd name="connsiteX53" fmla="*/ 8667 w 10000"/>
                    <a:gd name="connsiteY53" fmla="*/ 1998 h 9951"/>
                    <a:gd name="connsiteX54" fmla="*/ 8778 w 10000"/>
                    <a:gd name="connsiteY54" fmla="*/ 1848 h 9951"/>
                    <a:gd name="connsiteX55" fmla="*/ 8889 w 10000"/>
                    <a:gd name="connsiteY55" fmla="*/ 1756 h 9951"/>
                    <a:gd name="connsiteX56" fmla="*/ 8833 w 10000"/>
                    <a:gd name="connsiteY56" fmla="*/ 1661 h 9951"/>
                    <a:gd name="connsiteX57" fmla="*/ 8833 w 10000"/>
                    <a:gd name="connsiteY57" fmla="*/ 1569 h 9951"/>
                    <a:gd name="connsiteX58" fmla="*/ 8722 w 10000"/>
                    <a:gd name="connsiteY58" fmla="*/ 1463 h 9951"/>
                    <a:gd name="connsiteX59" fmla="*/ 8556 w 10000"/>
                    <a:gd name="connsiteY59" fmla="*/ 1316 h 9951"/>
                    <a:gd name="connsiteX60" fmla="*/ 8556 w 10000"/>
                    <a:gd name="connsiteY60" fmla="*/ 1316 h 9951"/>
                    <a:gd name="connsiteX61" fmla="*/ 6556 w 10000"/>
                    <a:gd name="connsiteY61" fmla="*/ 449 h 9951"/>
                    <a:gd name="connsiteX62" fmla="*/ 6556 w 10000"/>
                    <a:gd name="connsiteY62" fmla="*/ 449 h 9951"/>
                    <a:gd name="connsiteX63" fmla="*/ 6333 w 10000"/>
                    <a:gd name="connsiteY63" fmla="*/ 297 h 9951"/>
                    <a:gd name="connsiteX64" fmla="*/ 6167 w 10000"/>
                    <a:gd name="connsiteY64" fmla="*/ 150 h 9951"/>
                    <a:gd name="connsiteX65" fmla="*/ 6056 w 10000"/>
                    <a:gd name="connsiteY65" fmla="*/ 0 h 9951"/>
                    <a:gd name="connsiteX66" fmla="*/ 6056 w 10000"/>
                    <a:gd name="connsiteY66" fmla="*/ 0 h 9951"/>
                    <a:gd name="connsiteX67" fmla="*/ 10000 w 10000"/>
                    <a:gd name="connsiteY67" fmla="*/ 6682 h 9951"/>
                    <a:gd name="connsiteX68" fmla="*/ 10000 w 10000"/>
                    <a:gd name="connsiteY68" fmla="*/ 6682 h 9951"/>
                    <a:gd name="connsiteX69" fmla="*/ 9722 w 10000"/>
                    <a:gd name="connsiteY69" fmla="*/ 6629 h 9951"/>
                    <a:gd name="connsiteX70" fmla="*/ 9389 w 10000"/>
                    <a:gd name="connsiteY70" fmla="*/ 6682 h 9951"/>
                    <a:gd name="connsiteX71" fmla="*/ 9389 w 10000"/>
                    <a:gd name="connsiteY71" fmla="*/ 6682 h 9951"/>
                    <a:gd name="connsiteX72" fmla="*/ 9278 w 10000"/>
                    <a:gd name="connsiteY72" fmla="*/ 6743 h 9951"/>
                    <a:gd name="connsiteX73" fmla="*/ 9056 w 10000"/>
                    <a:gd name="connsiteY73" fmla="*/ 6682 h 9951"/>
                    <a:gd name="connsiteX74" fmla="*/ 8889 w 10000"/>
                    <a:gd name="connsiteY74" fmla="*/ 6629 h 9951"/>
                    <a:gd name="connsiteX75" fmla="*/ 8722 w 10000"/>
                    <a:gd name="connsiteY75" fmla="*/ 6538 h 9951"/>
                    <a:gd name="connsiteX76" fmla="*/ 8611 w 10000"/>
                    <a:gd name="connsiteY76" fmla="*/ 6386 h 9951"/>
                    <a:gd name="connsiteX77" fmla="*/ 8444 w 10000"/>
                    <a:gd name="connsiteY77" fmla="*/ 6141 h 9951"/>
                    <a:gd name="connsiteX78" fmla="*/ 8444 w 10000"/>
                    <a:gd name="connsiteY78" fmla="*/ 6141 h 9951"/>
                    <a:gd name="connsiteX79" fmla="*/ 8222 w 10000"/>
                    <a:gd name="connsiteY79" fmla="*/ 5713 h 9951"/>
                    <a:gd name="connsiteX80" fmla="*/ 8111 w 10000"/>
                    <a:gd name="connsiteY80" fmla="*/ 5519 h 9951"/>
                    <a:gd name="connsiteX81" fmla="*/ 7944 w 10000"/>
                    <a:gd name="connsiteY81" fmla="*/ 5371 h 9951"/>
                    <a:gd name="connsiteX82" fmla="*/ 7778 w 10000"/>
                    <a:gd name="connsiteY82" fmla="*/ 5275 h 9951"/>
                    <a:gd name="connsiteX83" fmla="*/ 7556 w 10000"/>
                    <a:gd name="connsiteY83" fmla="*/ 5217 h 9951"/>
                    <a:gd name="connsiteX84" fmla="*/ 7333 w 10000"/>
                    <a:gd name="connsiteY84" fmla="*/ 5174 h 9951"/>
                    <a:gd name="connsiteX85" fmla="*/ 7000 w 10000"/>
                    <a:gd name="connsiteY85" fmla="*/ 5118 h 9951"/>
                    <a:gd name="connsiteX86" fmla="*/ 7000 w 10000"/>
                    <a:gd name="connsiteY86" fmla="*/ 5118 h 9951"/>
                    <a:gd name="connsiteX87" fmla="*/ 6556 w 10000"/>
                    <a:gd name="connsiteY87" fmla="*/ 5174 h 9951"/>
                    <a:gd name="connsiteX88" fmla="*/ 6222 w 10000"/>
                    <a:gd name="connsiteY88" fmla="*/ 5174 h 9951"/>
                    <a:gd name="connsiteX89" fmla="*/ 6111 w 10000"/>
                    <a:gd name="connsiteY89" fmla="*/ 5118 h 9951"/>
                    <a:gd name="connsiteX90" fmla="*/ 6056 w 10000"/>
                    <a:gd name="connsiteY90" fmla="*/ 5071 h 9951"/>
                    <a:gd name="connsiteX91" fmla="*/ 6056 w 10000"/>
                    <a:gd name="connsiteY91" fmla="*/ 5071 h 9951"/>
                    <a:gd name="connsiteX92" fmla="*/ 6056 w 10000"/>
                    <a:gd name="connsiteY92" fmla="*/ 4201 h 9951"/>
                    <a:gd name="connsiteX93" fmla="*/ 6056 w 10000"/>
                    <a:gd name="connsiteY93" fmla="*/ 4201 h 9951"/>
                    <a:gd name="connsiteX94" fmla="*/ 6056 w 10000"/>
                    <a:gd name="connsiteY94" fmla="*/ 3998 h 9951"/>
                    <a:gd name="connsiteX95" fmla="*/ 5944 w 10000"/>
                    <a:gd name="connsiteY95" fmla="*/ 3756 h 9951"/>
                    <a:gd name="connsiteX96" fmla="*/ 5889 w 10000"/>
                    <a:gd name="connsiteY96" fmla="*/ 3701 h 9951"/>
                    <a:gd name="connsiteX97" fmla="*/ 5778 w 10000"/>
                    <a:gd name="connsiteY97" fmla="*/ 3658 h 9951"/>
                    <a:gd name="connsiteX98" fmla="*/ 5667 w 10000"/>
                    <a:gd name="connsiteY98" fmla="*/ 3658 h 9951"/>
                    <a:gd name="connsiteX99" fmla="*/ 5500 w 10000"/>
                    <a:gd name="connsiteY99" fmla="*/ 3701 h 9951"/>
                    <a:gd name="connsiteX100" fmla="*/ 5500 w 10000"/>
                    <a:gd name="connsiteY100" fmla="*/ 3701 h 9951"/>
                    <a:gd name="connsiteX101" fmla="*/ 4889 w 10000"/>
                    <a:gd name="connsiteY101" fmla="*/ 4049 h 9951"/>
                    <a:gd name="connsiteX102" fmla="*/ 4611 w 10000"/>
                    <a:gd name="connsiteY102" fmla="*/ 4149 h 9951"/>
                    <a:gd name="connsiteX103" fmla="*/ 4556 w 10000"/>
                    <a:gd name="connsiteY103" fmla="*/ 4201 h 9951"/>
                    <a:gd name="connsiteX104" fmla="*/ 4500 w 10000"/>
                    <a:gd name="connsiteY104" fmla="*/ 4149 h 9951"/>
                    <a:gd name="connsiteX105" fmla="*/ 4500 w 10000"/>
                    <a:gd name="connsiteY105" fmla="*/ 4149 h 9951"/>
                    <a:gd name="connsiteX106" fmla="*/ 4222 w 10000"/>
                    <a:gd name="connsiteY106" fmla="*/ 3658 h 9951"/>
                    <a:gd name="connsiteX107" fmla="*/ 4222 w 10000"/>
                    <a:gd name="connsiteY107" fmla="*/ 3658 h 9951"/>
                    <a:gd name="connsiteX108" fmla="*/ 4111 w 10000"/>
                    <a:gd name="connsiteY108" fmla="*/ 3415 h 9951"/>
                    <a:gd name="connsiteX109" fmla="*/ 4111 w 10000"/>
                    <a:gd name="connsiteY109" fmla="*/ 3270 h 9951"/>
                    <a:gd name="connsiteX110" fmla="*/ 4111 w 10000"/>
                    <a:gd name="connsiteY110" fmla="*/ 3121 h 9951"/>
                    <a:gd name="connsiteX111" fmla="*/ 4111 w 10000"/>
                    <a:gd name="connsiteY111" fmla="*/ 3121 h 9951"/>
                    <a:gd name="connsiteX112" fmla="*/ 4278 w 10000"/>
                    <a:gd name="connsiteY112" fmla="*/ 2976 h 9951"/>
                    <a:gd name="connsiteX113" fmla="*/ 4389 w 10000"/>
                    <a:gd name="connsiteY113" fmla="*/ 2926 h 9951"/>
                    <a:gd name="connsiteX114" fmla="*/ 4389 w 10000"/>
                    <a:gd name="connsiteY114" fmla="*/ 2926 h 9951"/>
                    <a:gd name="connsiteX115" fmla="*/ 4000 w 10000"/>
                    <a:gd name="connsiteY115" fmla="*/ 2926 h 9951"/>
                    <a:gd name="connsiteX116" fmla="*/ 3722 w 10000"/>
                    <a:gd name="connsiteY116" fmla="*/ 2976 h 9951"/>
                    <a:gd name="connsiteX117" fmla="*/ 3611 w 10000"/>
                    <a:gd name="connsiteY117" fmla="*/ 3029 h 9951"/>
                    <a:gd name="connsiteX118" fmla="*/ 3556 w 10000"/>
                    <a:gd name="connsiteY118" fmla="*/ 3077 h 9951"/>
                    <a:gd name="connsiteX119" fmla="*/ 3556 w 10000"/>
                    <a:gd name="connsiteY119" fmla="*/ 3077 h 9951"/>
                    <a:gd name="connsiteX120" fmla="*/ 3444 w 10000"/>
                    <a:gd name="connsiteY120" fmla="*/ 3270 h 9951"/>
                    <a:gd name="connsiteX121" fmla="*/ 3278 w 10000"/>
                    <a:gd name="connsiteY121" fmla="*/ 3566 h 9951"/>
                    <a:gd name="connsiteX122" fmla="*/ 3000 w 10000"/>
                    <a:gd name="connsiteY122" fmla="*/ 3902 h 9951"/>
                    <a:gd name="connsiteX123" fmla="*/ 2667 w 10000"/>
                    <a:gd name="connsiteY123" fmla="*/ 4149 h 9951"/>
                    <a:gd name="connsiteX124" fmla="*/ 2667 w 10000"/>
                    <a:gd name="connsiteY124" fmla="*/ 4149 h 9951"/>
                    <a:gd name="connsiteX125" fmla="*/ 2333 w 10000"/>
                    <a:gd name="connsiteY125" fmla="*/ 4348 h 9951"/>
                    <a:gd name="connsiteX126" fmla="*/ 1833 w 10000"/>
                    <a:gd name="connsiteY126" fmla="*/ 4544 h 9951"/>
                    <a:gd name="connsiteX127" fmla="*/ 1389 w 10000"/>
                    <a:gd name="connsiteY127" fmla="*/ 4637 h 9951"/>
                    <a:gd name="connsiteX128" fmla="*/ 889 w 10000"/>
                    <a:gd name="connsiteY128" fmla="*/ 4686 h 9951"/>
                    <a:gd name="connsiteX129" fmla="*/ 889 w 10000"/>
                    <a:gd name="connsiteY129" fmla="*/ 4686 h 9951"/>
                    <a:gd name="connsiteX130" fmla="*/ 500 w 10000"/>
                    <a:gd name="connsiteY130" fmla="*/ 4746 h 9951"/>
                    <a:gd name="connsiteX131" fmla="*/ 222 w 10000"/>
                    <a:gd name="connsiteY131" fmla="*/ 4782 h 9951"/>
                    <a:gd name="connsiteX132" fmla="*/ 0 w 10000"/>
                    <a:gd name="connsiteY132" fmla="*/ 4828 h 9951"/>
                    <a:gd name="connsiteX133" fmla="*/ 0 w 10000"/>
                    <a:gd name="connsiteY133" fmla="*/ 4828 h 9951"/>
                    <a:gd name="connsiteX134" fmla="*/ 278 w 10000"/>
                    <a:gd name="connsiteY134" fmla="*/ 5615 h 9951"/>
                    <a:gd name="connsiteX135" fmla="*/ 500 w 10000"/>
                    <a:gd name="connsiteY135" fmla="*/ 6192 h 9951"/>
                    <a:gd name="connsiteX136" fmla="*/ 722 w 10000"/>
                    <a:gd name="connsiteY136" fmla="*/ 6682 h 9951"/>
                    <a:gd name="connsiteX137" fmla="*/ 722 w 10000"/>
                    <a:gd name="connsiteY137" fmla="*/ 6682 h 9951"/>
                    <a:gd name="connsiteX138" fmla="*/ 889 w 10000"/>
                    <a:gd name="connsiteY138" fmla="*/ 6975 h 9951"/>
                    <a:gd name="connsiteX139" fmla="*/ 944 w 10000"/>
                    <a:gd name="connsiteY139" fmla="*/ 7226 h 9951"/>
                    <a:gd name="connsiteX140" fmla="*/ 1111 w 10000"/>
                    <a:gd name="connsiteY140" fmla="*/ 7471 h 9951"/>
                    <a:gd name="connsiteX141" fmla="*/ 1333 w 10000"/>
                    <a:gd name="connsiteY141" fmla="*/ 7848 h 9951"/>
                    <a:gd name="connsiteX142" fmla="*/ 1333 w 10000"/>
                    <a:gd name="connsiteY142" fmla="*/ 7848 h 9951"/>
                    <a:gd name="connsiteX143" fmla="*/ 1444 w 10000"/>
                    <a:gd name="connsiteY143" fmla="*/ 8047 h 9951"/>
                    <a:gd name="connsiteX144" fmla="*/ 1500 w 10000"/>
                    <a:gd name="connsiteY144" fmla="*/ 8194 h 9951"/>
                    <a:gd name="connsiteX145" fmla="*/ 1500 w 10000"/>
                    <a:gd name="connsiteY145" fmla="*/ 8333 h 9951"/>
                    <a:gd name="connsiteX146" fmla="*/ 1556 w 10000"/>
                    <a:gd name="connsiteY146" fmla="*/ 8393 h 9951"/>
                    <a:gd name="connsiteX147" fmla="*/ 1722 w 10000"/>
                    <a:gd name="connsiteY147" fmla="*/ 8436 h 9951"/>
                    <a:gd name="connsiteX148" fmla="*/ 1944 w 10000"/>
                    <a:gd name="connsiteY148" fmla="*/ 8485 h 9951"/>
                    <a:gd name="connsiteX149" fmla="*/ 2944 w 10000"/>
                    <a:gd name="connsiteY149" fmla="*/ 8537 h 9951"/>
                    <a:gd name="connsiteX150" fmla="*/ 2944 w 10000"/>
                    <a:gd name="connsiteY150" fmla="*/ 8537 h 9951"/>
                    <a:gd name="connsiteX151" fmla="*/ 4167 w 10000"/>
                    <a:gd name="connsiteY151" fmla="*/ 8636 h 9951"/>
                    <a:gd name="connsiteX152" fmla="*/ 4889 w 10000"/>
                    <a:gd name="connsiteY152" fmla="*/ 8775 h 9951"/>
                    <a:gd name="connsiteX153" fmla="*/ 5278 w 10000"/>
                    <a:gd name="connsiteY153" fmla="*/ 8931 h 9951"/>
                    <a:gd name="connsiteX154" fmla="*/ 5444 w 10000"/>
                    <a:gd name="connsiteY154" fmla="*/ 8971 h 9951"/>
                    <a:gd name="connsiteX155" fmla="*/ 5444 w 10000"/>
                    <a:gd name="connsiteY155" fmla="*/ 8971 h 9951"/>
                    <a:gd name="connsiteX156" fmla="*/ 5722 w 10000"/>
                    <a:gd name="connsiteY156" fmla="*/ 9079 h 9951"/>
                    <a:gd name="connsiteX157" fmla="*/ 5833 w 10000"/>
                    <a:gd name="connsiteY157" fmla="*/ 9130 h 9951"/>
                    <a:gd name="connsiteX158" fmla="*/ 5833 w 10000"/>
                    <a:gd name="connsiteY158" fmla="*/ 9130 h 9951"/>
                    <a:gd name="connsiteX159" fmla="*/ 5833 w 10000"/>
                    <a:gd name="connsiteY159" fmla="*/ 9079 h 9951"/>
                    <a:gd name="connsiteX160" fmla="*/ 5889 w 10000"/>
                    <a:gd name="connsiteY160" fmla="*/ 9024 h 9951"/>
                    <a:gd name="connsiteX161" fmla="*/ 6000 w 10000"/>
                    <a:gd name="connsiteY161" fmla="*/ 8971 h 9951"/>
                    <a:gd name="connsiteX162" fmla="*/ 6167 w 10000"/>
                    <a:gd name="connsiteY162" fmla="*/ 8931 h 9951"/>
                    <a:gd name="connsiteX163" fmla="*/ 6444 w 10000"/>
                    <a:gd name="connsiteY163" fmla="*/ 8931 h 9951"/>
                    <a:gd name="connsiteX164" fmla="*/ 6833 w 10000"/>
                    <a:gd name="connsiteY164" fmla="*/ 8971 h 9951"/>
                    <a:gd name="connsiteX165" fmla="*/ 7278 w 10000"/>
                    <a:gd name="connsiteY165" fmla="*/ 9130 h 9951"/>
                    <a:gd name="connsiteX166" fmla="*/ 7278 w 10000"/>
                    <a:gd name="connsiteY166" fmla="*/ 9130 h 9951"/>
                    <a:gd name="connsiteX167" fmla="*/ 8722 w 10000"/>
                    <a:gd name="connsiteY167" fmla="*/ 9554 h 9951"/>
                    <a:gd name="connsiteX168" fmla="*/ 10000 w 10000"/>
                    <a:gd name="connsiteY168" fmla="*/ 9951 h 9951"/>
                    <a:gd name="connsiteX0" fmla="*/ 10000 w 10000"/>
                    <a:gd name="connsiteY0" fmla="*/ 6662 h 10000"/>
                    <a:gd name="connsiteX1" fmla="*/ 10000 w 10000"/>
                    <a:gd name="connsiteY1" fmla="*/ 6662 h 10000"/>
                    <a:gd name="connsiteX2" fmla="*/ 9222 w 10000"/>
                    <a:gd name="connsiteY2" fmla="*/ 6715 h 10000"/>
                    <a:gd name="connsiteX3" fmla="*/ 8944 w 10000"/>
                    <a:gd name="connsiteY3" fmla="*/ 6715 h 10000"/>
                    <a:gd name="connsiteX4" fmla="*/ 8833 w 10000"/>
                    <a:gd name="connsiteY4" fmla="*/ 6662 h 10000"/>
                    <a:gd name="connsiteX5" fmla="*/ 8778 w 10000"/>
                    <a:gd name="connsiteY5" fmla="*/ 6616 h 10000"/>
                    <a:gd name="connsiteX6" fmla="*/ 8778 w 10000"/>
                    <a:gd name="connsiteY6" fmla="*/ 6616 h 10000"/>
                    <a:gd name="connsiteX7" fmla="*/ 8444 w 10000"/>
                    <a:gd name="connsiteY7" fmla="*/ 6028 h 10000"/>
                    <a:gd name="connsiteX8" fmla="*/ 8167 w 10000"/>
                    <a:gd name="connsiteY8" fmla="*/ 5487 h 10000"/>
                    <a:gd name="connsiteX9" fmla="*/ 8167 w 10000"/>
                    <a:gd name="connsiteY9" fmla="*/ 5487 h 10000"/>
                    <a:gd name="connsiteX10" fmla="*/ 8056 w 10000"/>
                    <a:gd name="connsiteY10" fmla="*/ 5397 h 10000"/>
                    <a:gd name="connsiteX11" fmla="*/ 7889 w 10000"/>
                    <a:gd name="connsiteY11" fmla="*/ 5301 h 10000"/>
                    <a:gd name="connsiteX12" fmla="*/ 7444 w 10000"/>
                    <a:gd name="connsiteY12" fmla="*/ 5243 h 10000"/>
                    <a:gd name="connsiteX13" fmla="*/ 6889 w 10000"/>
                    <a:gd name="connsiteY13" fmla="*/ 5199 h 10000"/>
                    <a:gd name="connsiteX14" fmla="*/ 6389 w 10000"/>
                    <a:gd name="connsiteY14" fmla="*/ 5199 h 10000"/>
                    <a:gd name="connsiteX15" fmla="*/ 6389 w 10000"/>
                    <a:gd name="connsiteY15" fmla="*/ 5199 h 10000"/>
                    <a:gd name="connsiteX16" fmla="*/ 6167 w 10000"/>
                    <a:gd name="connsiteY16" fmla="*/ 5143 h 10000"/>
                    <a:gd name="connsiteX17" fmla="*/ 6056 w 10000"/>
                    <a:gd name="connsiteY17" fmla="*/ 5055 h 10000"/>
                    <a:gd name="connsiteX18" fmla="*/ 6000 w 10000"/>
                    <a:gd name="connsiteY18" fmla="*/ 4951 h 10000"/>
                    <a:gd name="connsiteX19" fmla="*/ 6000 w 10000"/>
                    <a:gd name="connsiteY19" fmla="*/ 4769 h 10000"/>
                    <a:gd name="connsiteX20" fmla="*/ 6056 w 10000"/>
                    <a:gd name="connsiteY20" fmla="*/ 4369 h 10000"/>
                    <a:gd name="connsiteX21" fmla="*/ 6111 w 10000"/>
                    <a:gd name="connsiteY21" fmla="*/ 4169 h 10000"/>
                    <a:gd name="connsiteX22" fmla="*/ 6056 w 10000"/>
                    <a:gd name="connsiteY22" fmla="*/ 3921 h 10000"/>
                    <a:gd name="connsiteX23" fmla="*/ 6056 w 10000"/>
                    <a:gd name="connsiteY23" fmla="*/ 3921 h 10000"/>
                    <a:gd name="connsiteX24" fmla="*/ 6000 w 10000"/>
                    <a:gd name="connsiteY24" fmla="*/ 3774 h 10000"/>
                    <a:gd name="connsiteX25" fmla="*/ 5944 w 10000"/>
                    <a:gd name="connsiteY25" fmla="*/ 3676 h 10000"/>
                    <a:gd name="connsiteX26" fmla="*/ 5833 w 10000"/>
                    <a:gd name="connsiteY26" fmla="*/ 3676 h 10000"/>
                    <a:gd name="connsiteX27" fmla="*/ 5667 w 10000"/>
                    <a:gd name="connsiteY27" fmla="*/ 3719 h 10000"/>
                    <a:gd name="connsiteX28" fmla="*/ 5333 w 10000"/>
                    <a:gd name="connsiteY28" fmla="*/ 3874 h 10000"/>
                    <a:gd name="connsiteX29" fmla="*/ 4889 w 10000"/>
                    <a:gd name="connsiteY29" fmla="*/ 4120 h 10000"/>
                    <a:gd name="connsiteX30" fmla="*/ 4889 w 10000"/>
                    <a:gd name="connsiteY30" fmla="*/ 4120 h 10000"/>
                    <a:gd name="connsiteX31" fmla="*/ 4611 w 10000"/>
                    <a:gd name="connsiteY31" fmla="*/ 4169 h 10000"/>
                    <a:gd name="connsiteX32" fmla="*/ 4500 w 10000"/>
                    <a:gd name="connsiteY32" fmla="*/ 4169 h 10000"/>
                    <a:gd name="connsiteX33" fmla="*/ 4444 w 10000"/>
                    <a:gd name="connsiteY33" fmla="*/ 4120 h 10000"/>
                    <a:gd name="connsiteX34" fmla="*/ 4389 w 10000"/>
                    <a:gd name="connsiteY34" fmla="*/ 3921 h 10000"/>
                    <a:gd name="connsiteX35" fmla="*/ 4222 w 10000"/>
                    <a:gd name="connsiteY35" fmla="*/ 3676 h 10000"/>
                    <a:gd name="connsiteX36" fmla="*/ 4222 w 10000"/>
                    <a:gd name="connsiteY36" fmla="*/ 3676 h 10000"/>
                    <a:gd name="connsiteX37" fmla="*/ 4111 w 10000"/>
                    <a:gd name="connsiteY37" fmla="*/ 3526 h 10000"/>
                    <a:gd name="connsiteX38" fmla="*/ 4111 w 10000"/>
                    <a:gd name="connsiteY38" fmla="*/ 3385 h 10000"/>
                    <a:gd name="connsiteX39" fmla="*/ 4111 w 10000"/>
                    <a:gd name="connsiteY39" fmla="*/ 3286 h 10000"/>
                    <a:gd name="connsiteX40" fmla="*/ 4167 w 10000"/>
                    <a:gd name="connsiteY40" fmla="*/ 3186 h 10000"/>
                    <a:gd name="connsiteX41" fmla="*/ 4278 w 10000"/>
                    <a:gd name="connsiteY41" fmla="*/ 2991 h 10000"/>
                    <a:gd name="connsiteX42" fmla="*/ 4389 w 10000"/>
                    <a:gd name="connsiteY42" fmla="*/ 2940 h 10000"/>
                    <a:gd name="connsiteX43" fmla="*/ 4389 w 10000"/>
                    <a:gd name="connsiteY43" fmla="*/ 2940 h 10000"/>
                    <a:gd name="connsiteX44" fmla="*/ 4389 w 10000"/>
                    <a:gd name="connsiteY44" fmla="*/ 2890 h 10000"/>
                    <a:gd name="connsiteX45" fmla="*/ 4444 w 10000"/>
                    <a:gd name="connsiteY45" fmla="*/ 2852 h 10000"/>
                    <a:gd name="connsiteX46" fmla="*/ 4667 w 10000"/>
                    <a:gd name="connsiteY46" fmla="*/ 2796 h 10000"/>
                    <a:gd name="connsiteX47" fmla="*/ 5333 w 10000"/>
                    <a:gd name="connsiteY47" fmla="*/ 2703 h 10000"/>
                    <a:gd name="connsiteX48" fmla="*/ 6500 w 10000"/>
                    <a:gd name="connsiteY48" fmla="*/ 2547 h 10000"/>
                    <a:gd name="connsiteX49" fmla="*/ 6500 w 10000"/>
                    <a:gd name="connsiteY49" fmla="*/ 2547 h 10000"/>
                    <a:gd name="connsiteX50" fmla="*/ 7167 w 10000"/>
                    <a:gd name="connsiteY50" fmla="*/ 2408 h 10000"/>
                    <a:gd name="connsiteX51" fmla="*/ 8389 w 10000"/>
                    <a:gd name="connsiteY51" fmla="*/ 2114 h 10000"/>
                    <a:gd name="connsiteX52" fmla="*/ 8389 w 10000"/>
                    <a:gd name="connsiteY52" fmla="*/ 2114 h 10000"/>
                    <a:gd name="connsiteX53" fmla="*/ 8667 w 10000"/>
                    <a:gd name="connsiteY53" fmla="*/ 2008 h 10000"/>
                    <a:gd name="connsiteX54" fmla="*/ 8778 w 10000"/>
                    <a:gd name="connsiteY54" fmla="*/ 1857 h 10000"/>
                    <a:gd name="connsiteX55" fmla="*/ 8889 w 10000"/>
                    <a:gd name="connsiteY55" fmla="*/ 1765 h 10000"/>
                    <a:gd name="connsiteX56" fmla="*/ 8833 w 10000"/>
                    <a:gd name="connsiteY56" fmla="*/ 1669 h 10000"/>
                    <a:gd name="connsiteX57" fmla="*/ 8833 w 10000"/>
                    <a:gd name="connsiteY57" fmla="*/ 1577 h 10000"/>
                    <a:gd name="connsiteX58" fmla="*/ 8722 w 10000"/>
                    <a:gd name="connsiteY58" fmla="*/ 1470 h 10000"/>
                    <a:gd name="connsiteX59" fmla="*/ 8556 w 10000"/>
                    <a:gd name="connsiteY59" fmla="*/ 1322 h 10000"/>
                    <a:gd name="connsiteX60" fmla="*/ 8556 w 10000"/>
                    <a:gd name="connsiteY60" fmla="*/ 1322 h 10000"/>
                    <a:gd name="connsiteX61" fmla="*/ 6556 w 10000"/>
                    <a:gd name="connsiteY61" fmla="*/ 451 h 10000"/>
                    <a:gd name="connsiteX62" fmla="*/ 6556 w 10000"/>
                    <a:gd name="connsiteY62" fmla="*/ 451 h 10000"/>
                    <a:gd name="connsiteX63" fmla="*/ 6333 w 10000"/>
                    <a:gd name="connsiteY63" fmla="*/ 298 h 10000"/>
                    <a:gd name="connsiteX64" fmla="*/ 6167 w 10000"/>
                    <a:gd name="connsiteY64" fmla="*/ 151 h 10000"/>
                    <a:gd name="connsiteX65" fmla="*/ 6056 w 10000"/>
                    <a:gd name="connsiteY65" fmla="*/ 0 h 10000"/>
                    <a:gd name="connsiteX66" fmla="*/ 10000 w 10000"/>
                    <a:gd name="connsiteY66" fmla="*/ 6715 h 10000"/>
                    <a:gd name="connsiteX67" fmla="*/ 10000 w 10000"/>
                    <a:gd name="connsiteY67" fmla="*/ 6715 h 10000"/>
                    <a:gd name="connsiteX68" fmla="*/ 9722 w 10000"/>
                    <a:gd name="connsiteY68" fmla="*/ 6662 h 10000"/>
                    <a:gd name="connsiteX69" fmla="*/ 9389 w 10000"/>
                    <a:gd name="connsiteY69" fmla="*/ 6715 h 10000"/>
                    <a:gd name="connsiteX70" fmla="*/ 9389 w 10000"/>
                    <a:gd name="connsiteY70" fmla="*/ 6715 h 10000"/>
                    <a:gd name="connsiteX71" fmla="*/ 9278 w 10000"/>
                    <a:gd name="connsiteY71" fmla="*/ 6776 h 10000"/>
                    <a:gd name="connsiteX72" fmla="*/ 9056 w 10000"/>
                    <a:gd name="connsiteY72" fmla="*/ 6715 h 10000"/>
                    <a:gd name="connsiteX73" fmla="*/ 8889 w 10000"/>
                    <a:gd name="connsiteY73" fmla="*/ 6662 h 10000"/>
                    <a:gd name="connsiteX74" fmla="*/ 8722 w 10000"/>
                    <a:gd name="connsiteY74" fmla="*/ 6570 h 10000"/>
                    <a:gd name="connsiteX75" fmla="*/ 8611 w 10000"/>
                    <a:gd name="connsiteY75" fmla="*/ 6417 h 10000"/>
                    <a:gd name="connsiteX76" fmla="*/ 8444 w 10000"/>
                    <a:gd name="connsiteY76" fmla="*/ 6171 h 10000"/>
                    <a:gd name="connsiteX77" fmla="*/ 8444 w 10000"/>
                    <a:gd name="connsiteY77" fmla="*/ 6171 h 10000"/>
                    <a:gd name="connsiteX78" fmla="*/ 8222 w 10000"/>
                    <a:gd name="connsiteY78" fmla="*/ 5741 h 10000"/>
                    <a:gd name="connsiteX79" fmla="*/ 8111 w 10000"/>
                    <a:gd name="connsiteY79" fmla="*/ 5546 h 10000"/>
                    <a:gd name="connsiteX80" fmla="*/ 7944 w 10000"/>
                    <a:gd name="connsiteY80" fmla="*/ 5397 h 10000"/>
                    <a:gd name="connsiteX81" fmla="*/ 7778 w 10000"/>
                    <a:gd name="connsiteY81" fmla="*/ 5301 h 10000"/>
                    <a:gd name="connsiteX82" fmla="*/ 7556 w 10000"/>
                    <a:gd name="connsiteY82" fmla="*/ 5243 h 10000"/>
                    <a:gd name="connsiteX83" fmla="*/ 7333 w 10000"/>
                    <a:gd name="connsiteY83" fmla="*/ 5199 h 10000"/>
                    <a:gd name="connsiteX84" fmla="*/ 7000 w 10000"/>
                    <a:gd name="connsiteY84" fmla="*/ 5143 h 10000"/>
                    <a:gd name="connsiteX85" fmla="*/ 7000 w 10000"/>
                    <a:gd name="connsiteY85" fmla="*/ 5143 h 10000"/>
                    <a:gd name="connsiteX86" fmla="*/ 6556 w 10000"/>
                    <a:gd name="connsiteY86" fmla="*/ 5199 h 10000"/>
                    <a:gd name="connsiteX87" fmla="*/ 6222 w 10000"/>
                    <a:gd name="connsiteY87" fmla="*/ 5199 h 10000"/>
                    <a:gd name="connsiteX88" fmla="*/ 6111 w 10000"/>
                    <a:gd name="connsiteY88" fmla="*/ 5143 h 10000"/>
                    <a:gd name="connsiteX89" fmla="*/ 6056 w 10000"/>
                    <a:gd name="connsiteY89" fmla="*/ 5096 h 10000"/>
                    <a:gd name="connsiteX90" fmla="*/ 6056 w 10000"/>
                    <a:gd name="connsiteY90" fmla="*/ 5096 h 10000"/>
                    <a:gd name="connsiteX91" fmla="*/ 6056 w 10000"/>
                    <a:gd name="connsiteY91" fmla="*/ 4222 h 10000"/>
                    <a:gd name="connsiteX92" fmla="*/ 6056 w 10000"/>
                    <a:gd name="connsiteY92" fmla="*/ 4222 h 10000"/>
                    <a:gd name="connsiteX93" fmla="*/ 6056 w 10000"/>
                    <a:gd name="connsiteY93" fmla="*/ 4018 h 10000"/>
                    <a:gd name="connsiteX94" fmla="*/ 5944 w 10000"/>
                    <a:gd name="connsiteY94" fmla="*/ 3774 h 10000"/>
                    <a:gd name="connsiteX95" fmla="*/ 5889 w 10000"/>
                    <a:gd name="connsiteY95" fmla="*/ 3719 h 10000"/>
                    <a:gd name="connsiteX96" fmla="*/ 5778 w 10000"/>
                    <a:gd name="connsiteY96" fmla="*/ 3676 h 10000"/>
                    <a:gd name="connsiteX97" fmla="*/ 5667 w 10000"/>
                    <a:gd name="connsiteY97" fmla="*/ 3676 h 10000"/>
                    <a:gd name="connsiteX98" fmla="*/ 5500 w 10000"/>
                    <a:gd name="connsiteY98" fmla="*/ 3719 h 10000"/>
                    <a:gd name="connsiteX99" fmla="*/ 5500 w 10000"/>
                    <a:gd name="connsiteY99" fmla="*/ 3719 h 10000"/>
                    <a:gd name="connsiteX100" fmla="*/ 4889 w 10000"/>
                    <a:gd name="connsiteY100" fmla="*/ 4069 h 10000"/>
                    <a:gd name="connsiteX101" fmla="*/ 4611 w 10000"/>
                    <a:gd name="connsiteY101" fmla="*/ 4169 h 10000"/>
                    <a:gd name="connsiteX102" fmla="*/ 4556 w 10000"/>
                    <a:gd name="connsiteY102" fmla="*/ 4222 h 10000"/>
                    <a:gd name="connsiteX103" fmla="*/ 4500 w 10000"/>
                    <a:gd name="connsiteY103" fmla="*/ 4169 h 10000"/>
                    <a:gd name="connsiteX104" fmla="*/ 4500 w 10000"/>
                    <a:gd name="connsiteY104" fmla="*/ 4169 h 10000"/>
                    <a:gd name="connsiteX105" fmla="*/ 4222 w 10000"/>
                    <a:gd name="connsiteY105" fmla="*/ 3676 h 10000"/>
                    <a:gd name="connsiteX106" fmla="*/ 4222 w 10000"/>
                    <a:gd name="connsiteY106" fmla="*/ 3676 h 10000"/>
                    <a:gd name="connsiteX107" fmla="*/ 4111 w 10000"/>
                    <a:gd name="connsiteY107" fmla="*/ 3432 h 10000"/>
                    <a:gd name="connsiteX108" fmla="*/ 4111 w 10000"/>
                    <a:gd name="connsiteY108" fmla="*/ 3286 h 10000"/>
                    <a:gd name="connsiteX109" fmla="*/ 4111 w 10000"/>
                    <a:gd name="connsiteY109" fmla="*/ 3136 h 10000"/>
                    <a:gd name="connsiteX110" fmla="*/ 4111 w 10000"/>
                    <a:gd name="connsiteY110" fmla="*/ 3136 h 10000"/>
                    <a:gd name="connsiteX111" fmla="*/ 4278 w 10000"/>
                    <a:gd name="connsiteY111" fmla="*/ 2991 h 10000"/>
                    <a:gd name="connsiteX112" fmla="*/ 4389 w 10000"/>
                    <a:gd name="connsiteY112" fmla="*/ 2940 h 10000"/>
                    <a:gd name="connsiteX113" fmla="*/ 4389 w 10000"/>
                    <a:gd name="connsiteY113" fmla="*/ 2940 h 10000"/>
                    <a:gd name="connsiteX114" fmla="*/ 4000 w 10000"/>
                    <a:gd name="connsiteY114" fmla="*/ 2940 h 10000"/>
                    <a:gd name="connsiteX115" fmla="*/ 3722 w 10000"/>
                    <a:gd name="connsiteY115" fmla="*/ 2991 h 10000"/>
                    <a:gd name="connsiteX116" fmla="*/ 3611 w 10000"/>
                    <a:gd name="connsiteY116" fmla="*/ 3044 h 10000"/>
                    <a:gd name="connsiteX117" fmla="*/ 3556 w 10000"/>
                    <a:gd name="connsiteY117" fmla="*/ 3092 h 10000"/>
                    <a:gd name="connsiteX118" fmla="*/ 3556 w 10000"/>
                    <a:gd name="connsiteY118" fmla="*/ 3092 h 10000"/>
                    <a:gd name="connsiteX119" fmla="*/ 3444 w 10000"/>
                    <a:gd name="connsiteY119" fmla="*/ 3286 h 10000"/>
                    <a:gd name="connsiteX120" fmla="*/ 3278 w 10000"/>
                    <a:gd name="connsiteY120" fmla="*/ 3584 h 10000"/>
                    <a:gd name="connsiteX121" fmla="*/ 3000 w 10000"/>
                    <a:gd name="connsiteY121" fmla="*/ 3921 h 10000"/>
                    <a:gd name="connsiteX122" fmla="*/ 2667 w 10000"/>
                    <a:gd name="connsiteY122" fmla="*/ 4169 h 10000"/>
                    <a:gd name="connsiteX123" fmla="*/ 2667 w 10000"/>
                    <a:gd name="connsiteY123" fmla="*/ 4169 h 10000"/>
                    <a:gd name="connsiteX124" fmla="*/ 2333 w 10000"/>
                    <a:gd name="connsiteY124" fmla="*/ 4369 h 10000"/>
                    <a:gd name="connsiteX125" fmla="*/ 1833 w 10000"/>
                    <a:gd name="connsiteY125" fmla="*/ 4566 h 10000"/>
                    <a:gd name="connsiteX126" fmla="*/ 1389 w 10000"/>
                    <a:gd name="connsiteY126" fmla="*/ 4660 h 10000"/>
                    <a:gd name="connsiteX127" fmla="*/ 889 w 10000"/>
                    <a:gd name="connsiteY127" fmla="*/ 4709 h 10000"/>
                    <a:gd name="connsiteX128" fmla="*/ 889 w 10000"/>
                    <a:gd name="connsiteY128" fmla="*/ 4709 h 10000"/>
                    <a:gd name="connsiteX129" fmla="*/ 500 w 10000"/>
                    <a:gd name="connsiteY129" fmla="*/ 4769 h 10000"/>
                    <a:gd name="connsiteX130" fmla="*/ 222 w 10000"/>
                    <a:gd name="connsiteY130" fmla="*/ 4806 h 10000"/>
                    <a:gd name="connsiteX131" fmla="*/ 0 w 10000"/>
                    <a:gd name="connsiteY131" fmla="*/ 4852 h 10000"/>
                    <a:gd name="connsiteX132" fmla="*/ 0 w 10000"/>
                    <a:gd name="connsiteY132" fmla="*/ 4852 h 10000"/>
                    <a:gd name="connsiteX133" fmla="*/ 278 w 10000"/>
                    <a:gd name="connsiteY133" fmla="*/ 5643 h 10000"/>
                    <a:gd name="connsiteX134" fmla="*/ 500 w 10000"/>
                    <a:gd name="connsiteY134" fmla="*/ 6222 h 10000"/>
                    <a:gd name="connsiteX135" fmla="*/ 722 w 10000"/>
                    <a:gd name="connsiteY135" fmla="*/ 6715 h 10000"/>
                    <a:gd name="connsiteX136" fmla="*/ 722 w 10000"/>
                    <a:gd name="connsiteY136" fmla="*/ 6715 h 10000"/>
                    <a:gd name="connsiteX137" fmla="*/ 889 w 10000"/>
                    <a:gd name="connsiteY137" fmla="*/ 7009 h 10000"/>
                    <a:gd name="connsiteX138" fmla="*/ 944 w 10000"/>
                    <a:gd name="connsiteY138" fmla="*/ 7262 h 10000"/>
                    <a:gd name="connsiteX139" fmla="*/ 1111 w 10000"/>
                    <a:gd name="connsiteY139" fmla="*/ 7508 h 10000"/>
                    <a:gd name="connsiteX140" fmla="*/ 1333 w 10000"/>
                    <a:gd name="connsiteY140" fmla="*/ 7887 h 10000"/>
                    <a:gd name="connsiteX141" fmla="*/ 1333 w 10000"/>
                    <a:gd name="connsiteY141" fmla="*/ 7887 h 10000"/>
                    <a:gd name="connsiteX142" fmla="*/ 1444 w 10000"/>
                    <a:gd name="connsiteY142" fmla="*/ 8087 h 10000"/>
                    <a:gd name="connsiteX143" fmla="*/ 1500 w 10000"/>
                    <a:gd name="connsiteY143" fmla="*/ 8234 h 10000"/>
                    <a:gd name="connsiteX144" fmla="*/ 1500 w 10000"/>
                    <a:gd name="connsiteY144" fmla="*/ 8374 h 10000"/>
                    <a:gd name="connsiteX145" fmla="*/ 1556 w 10000"/>
                    <a:gd name="connsiteY145" fmla="*/ 8434 h 10000"/>
                    <a:gd name="connsiteX146" fmla="*/ 1722 w 10000"/>
                    <a:gd name="connsiteY146" fmla="*/ 8478 h 10000"/>
                    <a:gd name="connsiteX147" fmla="*/ 1944 w 10000"/>
                    <a:gd name="connsiteY147" fmla="*/ 8527 h 10000"/>
                    <a:gd name="connsiteX148" fmla="*/ 2944 w 10000"/>
                    <a:gd name="connsiteY148" fmla="*/ 8579 h 10000"/>
                    <a:gd name="connsiteX149" fmla="*/ 2944 w 10000"/>
                    <a:gd name="connsiteY149" fmla="*/ 8579 h 10000"/>
                    <a:gd name="connsiteX150" fmla="*/ 4167 w 10000"/>
                    <a:gd name="connsiteY150" fmla="*/ 8679 h 10000"/>
                    <a:gd name="connsiteX151" fmla="*/ 4889 w 10000"/>
                    <a:gd name="connsiteY151" fmla="*/ 8818 h 10000"/>
                    <a:gd name="connsiteX152" fmla="*/ 5278 w 10000"/>
                    <a:gd name="connsiteY152" fmla="*/ 8975 h 10000"/>
                    <a:gd name="connsiteX153" fmla="*/ 5444 w 10000"/>
                    <a:gd name="connsiteY153" fmla="*/ 9015 h 10000"/>
                    <a:gd name="connsiteX154" fmla="*/ 5444 w 10000"/>
                    <a:gd name="connsiteY154" fmla="*/ 9015 h 10000"/>
                    <a:gd name="connsiteX155" fmla="*/ 5722 w 10000"/>
                    <a:gd name="connsiteY155" fmla="*/ 9124 h 10000"/>
                    <a:gd name="connsiteX156" fmla="*/ 5833 w 10000"/>
                    <a:gd name="connsiteY156" fmla="*/ 9175 h 10000"/>
                    <a:gd name="connsiteX157" fmla="*/ 5833 w 10000"/>
                    <a:gd name="connsiteY157" fmla="*/ 9175 h 10000"/>
                    <a:gd name="connsiteX158" fmla="*/ 5833 w 10000"/>
                    <a:gd name="connsiteY158" fmla="*/ 9124 h 10000"/>
                    <a:gd name="connsiteX159" fmla="*/ 5889 w 10000"/>
                    <a:gd name="connsiteY159" fmla="*/ 9068 h 10000"/>
                    <a:gd name="connsiteX160" fmla="*/ 6000 w 10000"/>
                    <a:gd name="connsiteY160" fmla="*/ 9015 h 10000"/>
                    <a:gd name="connsiteX161" fmla="*/ 6167 w 10000"/>
                    <a:gd name="connsiteY161" fmla="*/ 8975 h 10000"/>
                    <a:gd name="connsiteX162" fmla="*/ 6444 w 10000"/>
                    <a:gd name="connsiteY162" fmla="*/ 8975 h 10000"/>
                    <a:gd name="connsiteX163" fmla="*/ 6833 w 10000"/>
                    <a:gd name="connsiteY163" fmla="*/ 9015 h 10000"/>
                    <a:gd name="connsiteX164" fmla="*/ 7278 w 10000"/>
                    <a:gd name="connsiteY164" fmla="*/ 9175 h 10000"/>
                    <a:gd name="connsiteX165" fmla="*/ 7278 w 10000"/>
                    <a:gd name="connsiteY165" fmla="*/ 9175 h 10000"/>
                    <a:gd name="connsiteX166" fmla="*/ 8722 w 10000"/>
                    <a:gd name="connsiteY166" fmla="*/ 9601 h 10000"/>
                    <a:gd name="connsiteX167" fmla="*/ 10000 w 10000"/>
                    <a:gd name="connsiteY167" fmla="*/ 10000 h 10000"/>
                    <a:gd name="connsiteX0" fmla="*/ 10000 w 10000"/>
                    <a:gd name="connsiteY0" fmla="*/ 6511 h 9849"/>
                    <a:gd name="connsiteX1" fmla="*/ 10000 w 10000"/>
                    <a:gd name="connsiteY1" fmla="*/ 6511 h 9849"/>
                    <a:gd name="connsiteX2" fmla="*/ 9222 w 10000"/>
                    <a:gd name="connsiteY2" fmla="*/ 6564 h 9849"/>
                    <a:gd name="connsiteX3" fmla="*/ 8944 w 10000"/>
                    <a:gd name="connsiteY3" fmla="*/ 6564 h 9849"/>
                    <a:gd name="connsiteX4" fmla="*/ 8833 w 10000"/>
                    <a:gd name="connsiteY4" fmla="*/ 6511 h 9849"/>
                    <a:gd name="connsiteX5" fmla="*/ 8778 w 10000"/>
                    <a:gd name="connsiteY5" fmla="*/ 6465 h 9849"/>
                    <a:gd name="connsiteX6" fmla="*/ 8778 w 10000"/>
                    <a:gd name="connsiteY6" fmla="*/ 6465 h 9849"/>
                    <a:gd name="connsiteX7" fmla="*/ 8444 w 10000"/>
                    <a:gd name="connsiteY7" fmla="*/ 5877 h 9849"/>
                    <a:gd name="connsiteX8" fmla="*/ 8167 w 10000"/>
                    <a:gd name="connsiteY8" fmla="*/ 5336 h 9849"/>
                    <a:gd name="connsiteX9" fmla="*/ 8167 w 10000"/>
                    <a:gd name="connsiteY9" fmla="*/ 5336 h 9849"/>
                    <a:gd name="connsiteX10" fmla="*/ 8056 w 10000"/>
                    <a:gd name="connsiteY10" fmla="*/ 5246 h 9849"/>
                    <a:gd name="connsiteX11" fmla="*/ 7889 w 10000"/>
                    <a:gd name="connsiteY11" fmla="*/ 5150 h 9849"/>
                    <a:gd name="connsiteX12" fmla="*/ 7444 w 10000"/>
                    <a:gd name="connsiteY12" fmla="*/ 5092 h 9849"/>
                    <a:gd name="connsiteX13" fmla="*/ 6889 w 10000"/>
                    <a:gd name="connsiteY13" fmla="*/ 5048 h 9849"/>
                    <a:gd name="connsiteX14" fmla="*/ 6389 w 10000"/>
                    <a:gd name="connsiteY14" fmla="*/ 5048 h 9849"/>
                    <a:gd name="connsiteX15" fmla="*/ 6389 w 10000"/>
                    <a:gd name="connsiteY15" fmla="*/ 5048 h 9849"/>
                    <a:gd name="connsiteX16" fmla="*/ 6167 w 10000"/>
                    <a:gd name="connsiteY16" fmla="*/ 4992 h 9849"/>
                    <a:gd name="connsiteX17" fmla="*/ 6056 w 10000"/>
                    <a:gd name="connsiteY17" fmla="*/ 4904 h 9849"/>
                    <a:gd name="connsiteX18" fmla="*/ 6000 w 10000"/>
                    <a:gd name="connsiteY18" fmla="*/ 4800 h 9849"/>
                    <a:gd name="connsiteX19" fmla="*/ 6000 w 10000"/>
                    <a:gd name="connsiteY19" fmla="*/ 4618 h 9849"/>
                    <a:gd name="connsiteX20" fmla="*/ 6056 w 10000"/>
                    <a:gd name="connsiteY20" fmla="*/ 4218 h 9849"/>
                    <a:gd name="connsiteX21" fmla="*/ 6111 w 10000"/>
                    <a:gd name="connsiteY21" fmla="*/ 4018 h 9849"/>
                    <a:gd name="connsiteX22" fmla="*/ 6056 w 10000"/>
                    <a:gd name="connsiteY22" fmla="*/ 3770 h 9849"/>
                    <a:gd name="connsiteX23" fmla="*/ 6056 w 10000"/>
                    <a:gd name="connsiteY23" fmla="*/ 3770 h 9849"/>
                    <a:gd name="connsiteX24" fmla="*/ 6000 w 10000"/>
                    <a:gd name="connsiteY24" fmla="*/ 3623 h 9849"/>
                    <a:gd name="connsiteX25" fmla="*/ 5944 w 10000"/>
                    <a:gd name="connsiteY25" fmla="*/ 3525 h 9849"/>
                    <a:gd name="connsiteX26" fmla="*/ 5833 w 10000"/>
                    <a:gd name="connsiteY26" fmla="*/ 3525 h 9849"/>
                    <a:gd name="connsiteX27" fmla="*/ 5667 w 10000"/>
                    <a:gd name="connsiteY27" fmla="*/ 3568 h 9849"/>
                    <a:gd name="connsiteX28" fmla="*/ 5333 w 10000"/>
                    <a:gd name="connsiteY28" fmla="*/ 3723 h 9849"/>
                    <a:gd name="connsiteX29" fmla="*/ 4889 w 10000"/>
                    <a:gd name="connsiteY29" fmla="*/ 3969 h 9849"/>
                    <a:gd name="connsiteX30" fmla="*/ 4889 w 10000"/>
                    <a:gd name="connsiteY30" fmla="*/ 3969 h 9849"/>
                    <a:gd name="connsiteX31" fmla="*/ 4611 w 10000"/>
                    <a:gd name="connsiteY31" fmla="*/ 4018 h 9849"/>
                    <a:gd name="connsiteX32" fmla="*/ 4500 w 10000"/>
                    <a:gd name="connsiteY32" fmla="*/ 4018 h 9849"/>
                    <a:gd name="connsiteX33" fmla="*/ 4444 w 10000"/>
                    <a:gd name="connsiteY33" fmla="*/ 3969 h 9849"/>
                    <a:gd name="connsiteX34" fmla="*/ 4389 w 10000"/>
                    <a:gd name="connsiteY34" fmla="*/ 3770 h 9849"/>
                    <a:gd name="connsiteX35" fmla="*/ 4222 w 10000"/>
                    <a:gd name="connsiteY35" fmla="*/ 3525 h 9849"/>
                    <a:gd name="connsiteX36" fmla="*/ 4222 w 10000"/>
                    <a:gd name="connsiteY36" fmla="*/ 3525 h 9849"/>
                    <a:gd name="connsiteX37" fmla="*/ 4111 w 10000"/>
                    <a:gd name="connsiteY37" fmla="*/ 3375 h 9849"/>
                    <a:gd name="connsiteX38" fmla="*/ 4111 w 10000"/>
                    <a:gd name="connsiteY38" fmla="*/ 3234 h 9849"/>
                    <a:gd name="connsiteX39" fmla="*/ 4111 w 10000"/>
                    <a:gd name="connsiteY39" fmla="*/ 3135 h 9849"/>
                    <a:gd name="connsiteX40" fmla="*/ 4167 w 10000"/>
                    <a:gd name="connsiteY40" fmla="*/ 3035 h 9849"/>
                    <a:gd name="connsiteX41" fmla="*/ 4278 w 10000"/>
                    <a:gd name="connsiteY41" fmla="*/ 2840 h 9849"/>
                    <a:gd name="connsiteX42" fmla="*/ 4389 w 10000"/>
                    <a:gd name="connsiteY42" fmla="*/ 2789 h 9849"/>
                    <a:gd name="connsiteX43" fmla="*/ 4389 w 10000"/>
                    <a:gd name="connsiteY43" fmla="*/ 2789 h 9849"/>
                    <a:gd name="connsiteX44" fmla="*/ 4389 w 10000"/>
                    <a:gd name="connsiteY44" fmla="*/ 2739 h 9849"/>
                    <a:gd name="connsiteX45" fmla="*/ 4444 w 10000"/>
                    <a:gd name="connsiteY45" fmla="*/ 2701 h 9849"/>
                    <a:gd name="connsiteX46" fmla="*/ 4667 w 10000"/>
                    <a:gd name="connsiteY46" fmla="*/ 2645 h 9849"/>
                    <a:gd name="connsiteX47" fmla="*/ 5333 w 10000"/>
                    <a:gd name="connsiteY47" fmla="*/ 2552 h 9849"/>
                    <a:gd name="connsiteX48" fmla="*/ 6500 w 10000"/>
                    <a:gd name="connsiteY48" fmla="*/ 2396 h 9849"/>
                    <a:gd name="connsiteX49" fmla="*/ 6500 w 10000"/>
                    <a:gd name="connsiteY49" fmla="*/ 2396 h 9849"/>
                    <a:gd name="connsiteX50" fmla="*/ 7167 w 10000"/>
                    <a:gd name="connsiteY50" fmla="*/ 2257 h 9849"/>
                    <a:gd name="connsiteX51" fmla="*/ 8389 w 10000"/>
                    <a:gd name="connsiteY51" fmla="*/ 1963 h 9849"/>
                    <a:gd name="connsiteX52" fmla="*/ 8389 w 10000"/>
                    <a:gd name="connsiteY52" fmla="*/ 1963 h 9849"/>
                    <a:gd name="connsiteX53" fmla="*/ 8667 w 10000"/>
                    <a:gd name="connsiteY53" fmla="*/ 1857 h 9849"/>
                    <a:gd name="connsiteX54" fmla="*/ 8778 w 10000"/>
                    <a:gd name="connsiteY54" fmla="*/ 1706 h 9849"/>
                    <a:gd name="connsiteX55" fmla="*/ 8889 w 10000"/>
                    <a:gd name="connsiteY55" fmla="*/ 1614 h 9849"/>
                    <a:gd name="connsiteX56" fmla="*/ 8833 w 10000"/>
                    <a:gd name="connsiteY56" fmla="*/ 1518 h 9849"/>
                    <a:gd name="connsiteX57" fmla="*/ 8833 w 10000"/>
                    <a:gd name="connsiteY57" fmla="*/ 1426 h 9849"/>
                    <a:gd name="connsiteX58" fmla="*/ 8722 w 10000"/>
                    <a:gd name="connsiteY58" fmla="*/ 1319 h 9849"/>
                    <a:gd name="connsiteX59" fmla="*/ 8556 w 10000"/>
                    <a:gd name="connsiteY59" fmla="*/ 1171 h 9849"/>
                    <a:gd name="connsiteX60" fmla="*/ 8556 w 10000"/>
                    <a:gd name="connsiteY60" fmla="*/ 1171 h 9849"/>
                    <a:gd name="connsiteX61" fmla="*/ 6556 w 10000"/>
                    <a:gd name="connsiteY61" fmla="*/ 300 h 9849"/>
                    <a:gd name="connsiteX62" fmla="*/ 6556 w 10000"/>
                    <a:gd name="connsiteY62" fmla="*/ 300 h 9849"/>
                    <a:gd name="connsiteX63" fmla="*/ 6333 w 10000"/>
                    <a:gd name="connsiteY63" fmla="*/ 147 h 9849"/>
                    <a:gd name="connsiteX64" fmla="*/ 6167 w 10000"/>
                    <a:gd name="connsiteY64" fmla="*/ 0 h 9849"/>
                    <a:gd name="connsiteX65" fmla="*/ 10000 w 10000"/>
                    <a:gd name="connsiteY65" fmla="*/ 6564 h 9849"/>
                    <a:gd name="connsiteX66" fmla="*/ 10000 w 10000"/>
                    <a:gd name="connsiteY66" fmla="*/ 6564 h 9849"/>
                    <a:gd name="connsiteX67" fmla="*/ 9722 w 10000"/>
                    <a:gd name="connsiteY67" fmla="*/ 6511 h 9849"/>
                    <a:gd name="connsiteX68" fmla="*/ 9389 w 10000"/>
                    <a:gd name="connsiteY68" fmla="*/ 6564 h 9849"/>
                    <a:gd name="connsiteX69" fmla="*/ 9389 w 10000"/>
                    <a:gd name="connsiteY69" fmla="*/ 6564 h 9849"/>
                    <a:gd name="connsiteX70" fmla="*/ 9278 w 10000"/>
                    <a:gd name="connsiteY70" fmla="*/ 6625 h 9849"/>
                    <a:gd name="connsiteX71" fmla="*/ 9056 w 10000"/>
                    <a:gd name="connsiteY71" fmla="*/ 6564 h 9849"/>
                    <a:gd name="connsiteX72" fmla="*/ 8889 w 10000"/>
                    <a:gd name="connsiteY72" fmla="*/ 6511 h 9849"/>
                    <a:gd name="connsiteX73" fmla="*/ 8722 w 10000"/>
                    <a:gd name="connsiteY73" fmla="*/ 6419 h 9849"/>
                    <a:gd name="connsiteX74" fmla="*/ 8611 w 10000"/>
                    <a:gd name="connsiteY74" fmla="*/ 6266 h 9849"/>
                    <a:gd name="connsiteX75" fmla="*/ 8444 w 10000"/>
                    <a:gd name="connsiteY75" fmla="*/ 6020 h 9849"/>
                    <a:gd name="connsiteX76" fmla="*/ 8444 w 10000"/>
                    <a:gd name="connsiteY76" fmla="*/ 6020 h 9849"/>
                    <a:gd name="connsiteX77" fmla="*/ 8222 w 10000"/>
                    <a:gd name="connsiteY77" fmla="*/ 5590 h 9849"/>
                    <a:gd name="connsiteX78" fmla="*/ 8111 w 10000"/>
                    <a:gd name="connsiteY78" fmla="*/ 5395 h 9849"/>
                    <a:gd name="connsiteX79" fmla="*/ 7944 w 10000"/>
                    <a:gd name="connsiteY79" fmla="*/ 5246 h 9849"/>
                    <a:gd name="connsiteX80" fmla="*/ 7778 w 10000"/>
                    <a:gd name="connsiteY80" fmla="*/ 5150 h 9849"/>
                    <a:gd name="connsiteX81" fmla="*/ 7556 w 10000"/>
                    <a:gd name="connsiteY81" fmla="*/ 5092 h 9849"/>
                    <a:gd name="connsiteX82" fmla="*/ 7333 w 10000"/>
                    <a:gd name="connsiteY82" fmla="*/ 5048 h 9849"/>
                    <a:gd name="connsiteX83" fmla="*/ 7000 w 10000"/>
                    <a:gd name="connsiteY83" fmla="*/ 4992 h 9849"/>
                    <a:gd name="connsiteX84" fmla="*/ 7000 w 10000"/>
                    <a:gd name="connsiteY84" fmla="*/ 4992 h 9849"/>
                    <a:gd name="connsiteX85" fmla="*/ 6556 w 10000"/>
                    <a:gd name="connsiteY85" fmla="*/ 5048 h 9849"/>
                    <a:gd name="connsiteX86" fmla="*/ 6222 w 10000"/>
                    <a:gd name="connsiteY86" fmla="*/ 5048 h 9849"/>
                    <a:gd name="connsiteX87" fmla="*/ 6111 w 10000"/>
                    <a:gd name="connsiteY87" fmla="*/ 4992 h 9849"/>
                    <a:gd name="connsiteX88" fmla="*/ 6056 w 10000"/>
                    <a:gd name="connsiteY88" fmla="*/ 4945 h 9849"/>
                    <a:gd name="connsiteX89" fmla="*/ 6056 w 10000"/>
                    <a:gd name="connsiteY89" fmla="*/ 4945 h 9849"/>
                    <a:gd name="connsiteX90" fmla="*/ 6056 w 10000"/>
                    <a:gd name="connsiteY90" fmla="*/ 4071 h 9849"/>
                    <a:gd name="connsiteX91" fmla="*/ 6056 w 10000"/>
                    <a:gd name="connsiteY91" fmla="*/ 4071 h 9849"/>
                    <a:gd name="connsiteX92" fmla="*/ 6056 w 10000"/>
                    <a:gd name="connsiteY92" fmla="*/ 3867 h 9849"/>
                    <a:gd name="connsiteX93" fmla="*/ 5944 w 10000"/>
                    <a:gd name="connsiteY93" fmla="*/ 3623 h 9849"/>
                    <a:gd name="connsiteX94" fmla="*/ 5889 w 10000"/>
                    <a:gd name="connsiteY94" fmla="*/ 3568 h 9849"/>
                    <a:gd name="connsiteX95" fmla="*/ 5778 w 10000"/>
                    <a:gd name="connsiteY95" fmla="*/ 3525 h 9849"/>
                    <a:gd name="connsiteX96" fmla="*/ 5667 w 10000"/>
                    <a:gd name="connsiteY96" fmla="*/ 3525 h 9849"/>
                    <a:gd name="connsiteX97" fmla="*/ 5500 w 10000"/>
                    <a:gd name="connsiteY97" fmla="*/ 3568 h 9849"/>
                    <a:gd name="connsiteX98" fmla="*/ 5500 w 10000"/>
                    <a:gd name="connsiteY98" fmla="*/ 3568 h 9849"/>
                    <a:gd name="connsiteX99" fmla="*/ 4889 w 10000"/>
                    <a:gd name="connsiteY99" fmla="*/ 3918 h 9849"/>
                    <a:gd name="connsiteX100" fmla="*/ 4611 w 10000"/>
                    <a:gd name="connsiteY100" fmla="*/ 4018 h 9849"/>
                    <a:gd name="connsiteX101" fmla="*/ 4556 w 10000"/>
                    <a:gd name="connsiteY101" fmla="*/ 4071 h 9849"/>
                    <a:gd name="connsiteX102" fmla="*/ 4500 w 10000"/>
                    <a:gd name="connsiteY102" fmla="*/ 4018 h 9849"/>
                    <a:gd name="connsiteX103" fmla="*/ 4500 w 10000"/>
                    <a:gd name="connsiteY103" fmla="*/ 4018 h 9849"/>
                    <a:gd name="connsiteX104" fmla="*/ 4222 w 10000"/>
                    <a:gd name="connsiteY104" fmla="*/ 3525 h 9849"/>
                    <a:gd name="connsiteX105" fmla="*/ 4222 w 10000"/>
                    <a:gd name="connsiteY105" fmla="*/ 3525 h 9849"/>
                    <a:gd name="connsiteX106" fmla="*/ 4111 w 10000"/>
                    <a:gd name="connsiteY106" fmla="*/ 3281 h 9849"/>
                    <a:gd name="connsiteX107" fmla="*/ 4111 w 10000"/>
                    <a:gd name="connsiteY107" fmla="*/ 3135 h 9849"/>
                    <a:gd name="connsiteX108" fmla="*/ 4111 w 10000"/>
                    <a:gd name="connsiteY108" fmla="*/ 2985 h 9849"/>
                    <a:gd name="connsiteX109" fmla="*/ 4111 w 10000"/>
                    <a:gd name="connsiteY109" fmla="*/ 2985 h 9849"/>
                    <a:gd name="connsiteX110" fmla="*/ 4278 w 10000"/>
                    <a:gd name="connsiteY110" fmla="*/ 2840 h 9849"/>
                    <a:gd name="connsiteX111" fmla="*/ 4389 w 10000"/>
                    <a:gd name="connsiteY111" fmla="*/ 2789 h 9849"/>
                    <a:gd name="connsiteX112" fmla="*/ 4389 w 10000"/>
                    <a:gd name="connsiteY112" fmla="*/ 2789 h 9849"/>
                    <a:gd name="connsiteX113" fmla="*/ 4000 w 10000"/>
                    <a:gd name="connsiteY113" fmla="*/ 2789 h 9849"/>
                    <a:gd name="connsiteX114" fmla="*/ 3722 w 10000"/>
                    <a:gd name="connsiteY114" fmla="*/ 2840 h 9849"/>
                    <a:gd name="connsiteX115" fmla="*/ 3611 w 10000"/>
                    <a:gd name="connsiteY115" fmla="*/ 2893 h 9849"/>
                    <a:gd name="connsiteX116" fmla="*/ 3556 w 10000"/>
                    <a:gd name="connsiteY116" fmla="*/ 2941 h 9849"/>
                    <a:gd name="connsiteX117" fmla="*/ 3556 w 10000"/>
                    <a:gd name="connsiteY117" fmla="*/ 2941 h 9849"/>
                    <a:gd name="connsiteX118" fmla="*/ 3444 w 10000"/>
                    <a:gd name="connsiteY118" fmla="*/ 3135 h 9849"/>
                    <a:gd name="connsiteX119" fmla="*/ 3278 w 10000"/>
                    <a:gd name="connsiteY119" fmla="*/ 3433 h 9849"/>
                    <a:gd name="connsiteX120" fmla="*/ 3000 w 10000"/>
                    <a:gd name="connsiteY120" fmla="*/ 3770 h 9849"/>
                    <a:gd name="connsiteX121" fmla="*/ 2667 w 10000"/>
                    <a:gd name="connsiteY121" fmla="*/ 4018 h 9849"/>
                    <a:gd name="connsiteX122" fmla="*/ 2667 w 10000"/>
                    <a:gd name="connsiteY122" fmla="*/ 4018 h 9849"/>
                    <a:gd name="connsiteX123" fmla="*/ 2333 w 10000"/>
                    <a:gd name="connsiteY123" fmla="*/ 4218 h 9849"/>
                    <a:gd name="connsiteX124" fmla="*/ 1833 w 10000"/>
                    <a:gd name="connsiteY124" fmla="*/ 4415 h 9849"/>
                    <a:gd name="connsiteX125" fmla="*/ 1389 w 10000"/>
                    <a:gd name="connsiteY125" fmla="*/ 4509 h 9849"/>
                    <a:gd name="connsiteX126" fmla="*/ 889 w 10000"/>
                    <a:gd name="connsiteY126" fmla="*/ 4558 h 9849"/>
                    <a:gd name="connsiteX127" fmla="*/ 889 w 10000"/>
                    <a:gd name="connsiteY127" fmla="*/ 4558 h 9849"/>
                    <a:gd name="connsiteX128" fmla="*/ 500 w 10000"/>
                    <a:gd name="connsiteY128" fmla="*/ 4618 h 9849"/>
                    <a:gd name="connsiteX129" fmla="*/ 222 w 10000"/>
                    <a:gd name="connsiteY129" fmla="*/ 4655 h 9849"/>
                    <a:gd name="connsiteX130" fmla="*/ 0 w 10000"/>
                    <a:gd name="connsiteY130" fmla="*/ 4701 h 9849"/>
                    <a:gd name="connsiteX131" fmla="*/ 0 w 10000"/>
                    <a:gd name="connsiteY131" fmla="*/ 4701 h 9849"/>
                    <a:gd name="connsiteX132" fmla="*/ 278 w 10000"/>
                    <a:gd name="connsiteY132" fmla="*/ 5492 h 9849"/>
                    <a:gd name="connsiteX133" fmla="*/ 500 w 10000"/>
                    <a:gd name="connsiteY133" fmla="*/ 6071 h 9849"/>
                    <a:gd name="connsiteX134" fmla="*/ 722 w 10000"/>
                    <a:gd name="connsiteY134" fmla="*/ 6564 h 9849"/>
                    <a:gd name="connsiteX135" fmla="*/ 722 w 10000"/>
                    <a:gd name="connsiteY135" fmla="*/ 6564 h 9849"/>
                    <a:gd name="connsiteX136" fmla="*/ 889 w 10000"/>
                    <a:gd name="connsiteY136" fmla="*/ 6858 h 9849"/>
                    <a:gd name="connsiteX137" fmla="*/ 944 w 10000"/>
                    <a:gd name="connsiteY137" fmla="*/ 7111 h 9849"/>
                    <a:gd name="connsiteX138" fmla="*/ 1111 w 10000"/>
                    <a:gd name="connsiteY138" fmla="*/ 7357 h 9849"/>
                    <a:gd name="connsiteX139" fmla="*/ 1333 w 10000"/>
                    <a:gd name="connsiteY139" fmla="*/ 7736 h 9849"/>
                    <a:gd name="connsiteX140" fmla="*/ 1333 w 10000"/>
                    <a:gd name="connsiteY140" fmla="*/ 7736 h 9849"/>
                    <a:gd name="connsiteX141" fmla="*/ 1444 w 10000"/>
                    <a:gd name="connsiteY141" fmla="*/ 7936 h 9849"/>
                    <a:gd name="connsiteX142" fmla="*/ 1500 w 10000"/>
                    <a:gd name="connsiteY142" fmla="*/ 8083 h 9849"/>
                    <a:gd name="connsiteX143" fmla="*/ 1500 w 10000"/>
                    <a:gd name="connsiteY143" fmla="*/ 8223 h 9849"/>
                    <a:gd name="connsiteX144" fmla="*/ 1556 w 10000"/>
                    <a:gd name="connsiteY144" fmla="*/ 8283 h 9849"/>
                    <a:gd name="connsiteX145" fmla="*/ 1722 w 10000"/>
                    <a:gd name="connsiteY145" fmla="*/ 8327 h 9849"/>
                    <a:gd name="connsiteX146" fmla="*/ 1944 w 10000"/>
                    <a:gd name="connsiteY146" fmla="*/ 8376 h 9849"/>
                    <a:gd name="connsiteX147" fmla="*/ 2944 w 10000"/>
                    <a:gd name="connsiteY147" fmla="*/ 8428 h 9849"/>
                    <a:gd name="connsiteX148" fmla="*/ 2944 w 10000"/>
                    <a:gd name="connsiteY148" fmla="*/ 8428 h 9849"/>
                    <a:gd name="connsiteX149" fmla="*/ 4167 w 10000"/>
                    <a:gd name="connsiteY149" fmla="*/ 8528 h 9849"/>
                    <a:gd name="connsiteX150" fmla="*/ 4889 w 10000"/>
                    <a:gd name="connsiteY150" fmla="*/ 8667 h 9849"/>
                    <a:gd name="connsiteX151" fmla="*/ 5278 w 10000"/>
                    <a:gd name="connsiteY151" fmla="*/ 8824 h 9849"/>
                    <a:gd name="connsiteX152" fmla="*/ 5444 w 10000"/>
                    <a:gd name="connsiteY152" fmla="*/ 8864 h 9849"/>
                    <a:gd name="connsiteX153" fmla="*/ 5444 w 10000"/>
                    <a:gd name="connsiteY153" fmla="*/ 8864 h 9849"/>
                    <a:gd name="connsiteX154" fmla="*/ 5722 w 10000"/>
                    <a:gd name="connsiteY154" fmla="*/ 8973 h 9849"/>
                    <a:gd name="connsiteX155" fmla="*/ 5833 w 10000"/>
                    <a:gd name="connsiteY155" fmla="*/ 9024 h 9849"/>
                    <a:gd name="connsiteX156" fmla="*/ 5833 w 10000"/>
                    <a:gd name="connsiteY156" fmla="*/ 9024 h 9849"/>
                    <a:gd name="connsiteX157" fmla="*/ 5833 w 10000"/>
                    <a:gd name="connsiteY157" fmla="*/ 8973 h 9849"/>
                    <a:gd name="connsiteX158" fmla="*/ 5889 w 10000"/>
                    <a:gd name="connsiteY158" fmla="*/ 8917 h 9849"/>
                    <a:gd name="connsiteX159" fmla="*/ 6000 w 10000"/>
                    <a:gd name="connsiteY159" fmla="*/ 8864 h 9849"/>
                    <a:gd name="connsiteX160" fmla="*/ 6167 w 10000"/>
                    <a:gd name="connsiteY160" fmla="*/ 8824 h 9849"/>
                    <a:gd name="connsiteX161" fmla="*/ 6444 w 10000"/>
                    <a:gd name="connsiteY161" fmla="*/ 8824 h 9849"/>
                    <a:gd name="connsiteX162" fmla="*/ 6833 w 10000"/>
                    <a:gd name="connsiteY162" fmla="*/ 8864 h 9849"/>
                    <a:gd name="connsiteX163" fmla="*/ 7278 w 10000"/>
                    <a:gd name="connsiteY163" fmla="*/ 9024 h 9849"/>
                    <a:gd name="connsiteX164" fmla="*/ 7278 w 10000"/>
                    <a:gd name="connsiteY164" fmla="*/ 9024 h 9849"/>
                    <a:gd name="connsiteX165" fmla="*/ 8722 w 10000"/>
                    <a:gd name="connsiteY165" fmla="*/ 9450 h 9849"/>
                    <a:gd name="connsiteX166" fmla="*/ 10000 w 10000"/>
                    <a:gd name="connsiteY166" fmla="*/ 9849 h 9849"/>
                    <a:gd name="connsiteX0" fmla="*/ 10000 w 10000"/>
                    <a:gd name="connsiteY0" fmla="*/ 6462 h 9851"/>
                    <a:gd name="connsiteX1" fmla="*/ 10000 w 10000"/>
                    <a:gd name="connsiteY1" fmla="*/ 6462 h 9851"/>
                    <a:gd name="connsiteX2" fmla="*/ 9222 w 10000"/>
                    <a:gd name="connsiteY2" fmla="*/ 6516 h 9851"/>
                    <a:gd name="connsiteX3" fmla="*/ 8944 w 10000"/>
                    <a:gd name="connsiteY3" fmla="*/ 6516 h 9851"/>
                    <a:gd name="connsiteX4" fmla="*/ 8833 w 10000"/>
                    <a:gd name="connsiteY4" fmla="*/ 6462 h 9851"/>
                    <a:gd name="connsiteX5" fmla="*/ 8778 w 10000"/>
                    <a:gd name="connsiteY5" fmla="*/ 6415 h 9851"/>
                    <a:gd name="connsiteX6" fmla="*/ 8778 w 10000"/>
                    <a:gd name="connsiteY6" fmla="*/ 6415 h 9851"/>
                    <a:gd name="connsiteX7" fmla="*/ 8444 w 10000"/>
                    <a:gd name="connsiteY7" fmla="*/ 5818 h 9851"/>
                    <a:gd name="connsiteX8" fmla="*/ 8167 w 10000"/>
                    <a:gd name="connsiteY8" fmla="*/ 5269 h 9851"/>
                    <a:gd name="connsiteX9" fmla="*/ 8167 w 10000"/>
                    <a:gd name="connsiteY9" fmla="*/ 5269 h 9851"/>
                    <a:gd name="connsiteX10" fmla="*/ 8056 w 10000"/>
                    <a:gd name="connsiteY10" fmla="*/ 5177 h 9851"/>
                    <a:gd name="connsiteX11" fmla="*/ 7889 w 10000"/>
                    <a:gd name="connsiteY11" fmla="*/ 5080 h 9851"/>
                    <a:gd name="connsiteX12" fmla="*/ 7444 w 10000"/>
                    <a:gd name="connsiteY12" fmla="*/ 5021 h 9851"/>
                    <a:gd name="connsiteX13" fmla="*/ 6889 w 10000"/>
                    <a:gd name="connsiteY13" fmla="*/ 4976 h 9851"/>
                    <a:gd name="connsiteX14" fmla="*/ 6389 w 10000"/>
                    <a:gd name="connsiteY14" fmla="*/ 4976 h 9851"/>
                    <a:gd name="connsiteX15" fmla="*/ 6389 w 10000"/>
                    <a:gd name="connsiteY15" fmla="*/ 4976 h 9851"/>
                    <a:gd name="connsiteX16" fmla="*/ 6167 w 10000"/>
                    <a:gd name="connsiteY16" fmla="*/ 4920 h 9851"/>
                    <a:gd name="connsiteX17" fmla="*/ 6056 w 10000"/>
                    <a:gd name="connsiteY17" fmla="*/ 4830 h 9851"/>
                    <a:gd name="connsiteX18" fmla="*/ 6000 w 10000"/>
                    <a:gd name="connsiteY18" fmla="*/ 4725 h 9851"/>
                    <a:gd name="connsiteX19" fmla="*/ 6000 w 10000"/>
                    <a:gd name="connsiteY19" fmla="*/ 4540 h 9851"/>
                    <a:gd name="connsiteX20" fmla="*/ 6056 w 10000"/>
                    <a:gd name="connsiteY20" fmla="*/ 4134 h 9851"/>
                    <a:gd name="connsiteX21" fmla="*/ 6111 w 10000"/>
                    <a:gd name="connsiteY21" fmla="*/ 3931 h 9851"/>
                    <a:gd name="connsiteX22" fmla="*/ 6056 w 10000"/>
                    <a:gd name="connsiteY22" fmla="*/ 3679 h 9851"/>
                    <a:gd name="connsiteX23" fmla="*/ 6056 w 10000"/>
                    <a:gd name="connsiteY23" fmla="*/ 3679 h 9851"/>
                    <a:gd name="connsiteX24" fmla="*/ 6000 w 10000"/>
                    <a:gd name="connsiteY24" fmla="*/ 3530 h 9851"/>
                    <a:gd name="connsiteX25" fmla="*/ 5944 w 10000"/>
                    <a:gd name="connsiteY25" fmla="*/ 3430 h 9851"/>
                    <a:gd name="connsiteX26" fmla="*/ 5833 w 10000"/>
                    <a:gd name="connsiteY26" fmla="*/ 3430 h 9851"/>
                    <a:gd name="connsiteX27" fmla="*/ 5667 w 10000"/>
                    <a:gd name="connsiteY27" fmla="*/ 3474 h 9851"/>
                    <a:gd name="connsiteX28" fmla="*/ 5333 w 10000"/>
                    <a:gd name="connsiteY28" fmla="*/ 3631 h 9851"/>
                    <a:gd name="connsiteX29" fmla="*/ 4889 w 10000"/>
                    <a:gd name="connsiteY29" fmla="*/ 3881 h 9851"/>
                    <a:gd name="connsiteX30" fmla="*/ 4889 w 10000"/>
                    <a:gd name="connsiteY30" fmla="*/ 3881 h 9851"/>
                    <a:gd name="connsiteX31" fmla="*/ 4611 w 10000"/>
                    <a:gd name="connsiteY31" fmla="*/ 3931 h 9851"/>
                    <a:gd name="connsiteX32" fmla="*/ 4500 w 10000"/>
                    <a:gd name="connsiteY32" fmla="*/ 3931 h 9851"/>
                    <a:gd name="connsiteX33" fmla="*/ 4444 w 10000"/>
                    <a:gd name="connsiteY33" fmla="*/ 3881 h 9851"/>
                    <a:gd name="connsiteX34" fmla="*/ 4389 w 10000"/>
                    <a:gd name="connsiteY34" fmla="*/ 3679 h 9851"/>
                    <a:gd name="connsiteX35" fmla="*/ 4222 w 10000"/>
                    <a:gd name="connsiteY35" fmla="*/ 3430 h 9851"/>
                    <a:gd name="connsiteX36" fmla="*/ 4222 w 10000"/>
                    <a:gd name="connsiteY36" fmla="*/ 3430 h 9851"/>
                    <a:gd name="connsiteX37" fmla="*/ 4111 w 10000"/>
                    <a:gd name="connsiteY37" fmla="*/ 3278 h 9851"/>
                    <a:gd name="connsiteX38" fmla="*/ 4111 w 10000"/>
                    <a:gd name="connsiteY38" fmla="*/ 3135 h 9851"/>
                    <a:gd name="connsiteX39" fmla="*/ 4111 w 10000"/>
                    <a:gd name="connsiteY39" fmla="*/ 3034 h 9851"/>
                    <a:gd name="connsiteX40" fmla="*/ 4167 w 10000"/>
                    <a:gd name="connsiteY40" fmla="*/ 2933 h 9851"/>
                    <a:gd name="connsiteX41" fmla="*/ 4278 w 10000"/>
                    <a:gd name="connsiteY41" fmla="*/ 2735 h 9851"/>
                    <a:gd name="connsiteX42" fmla="*/ 4389 w 10000"/>
                    <a:gd name="connsiteY42" fmla="*/ 2683 h 9851"/>
                    <a:gd name="connsiteX43" fmla="*/ 4389 w 10000"/>
                    <a:gd name="connsiteY43" fmla="*/ 2683 h 9851"/>
                    <a:gd name="connsiteX44" fmla="*/ 4389 w 10000"/>
                    <a:gd name="connsiteY44" fmla="*/ 2632 h 9851"/>
                    <a:gd name="connsiteX45" fmla="*/ 4444 w 10000"/>
                    <a:gd name="connsiteY45" fmla="*/ 2593 h 9851"/>
                    <a:gd name="connsiteX46" fmla="*/ 4667 w 10000"/>
                    <a:gd name="connsiteY46" fmla="*/ 2537 h 9851"/>
                    <a:gd name="connsiteX47" fmla="*/ 5333 w 10000"/>
                    <a:gd name="connsiteY47" fmla="*/ 2442 h 9851"/>
                    <a:gd name="connsiteX48" fmla="*/ 6500 w 10000"/>
                    <a:gd name="connsiteY48" fmla="*/ 2284 h 9851"/>
                    <a:gd name="connsiteX49" fmla="*/ 6500 w 10000"/>
                    <a:gd name="connsiteY49" fmla="*/ 2284 h 9851"/>
                    <a:gd name="connsiteX50" fmla="*/ 7167 w 10000"/>
                    <a:gd name="connsiteY50" fmla="*/ 2143 h 9851"/>
                    <a:gd name="connsiteX51" fmla="*/ 8389 w 10000"/>
                    <a:gd name="connsiteY51" fmla="*/ 1844 h 9851"/>
                    <a:gd name="connsiteX52" fmla="*/ 8389 w 10000"/>
                    <a:gd name="connsiteY52" fmla="*/ 1844 h 9851"/>
                    <a:gd name="connsiteX53" fmla="*/ 8667 w 10000"/>
                    <a:gd name="connsiteY53" fmla="*/ 1736 h 9851"/>
                    <a:gd name="connsiteX54" fmla="*/ 8778 w 10000"/>
                    <a:gd name="connsiteY54" fmla="*/ 1583 h 9851"/>
                    <a:gd name="connsiteX55" fmla="*/ 8889 w 10000"/>
                    <a:gd name="connsiteY55" fmla="*/ 1490 h 9851"/>
                    <a:gd name="connsiteX56" fmla="*/ 8833 w 10000"/>
                    <a:gd name="connsiteY56" fmla="*/ 1392 h 9851"/>
                    <a:gd name="connsiteX57" fmla="*/ 8833 w 10000"/>
                    <a:gd name="connsiteY57" fmla="*/ 1299 h 9851"/>
                    <a:gd name="connsiteX58" fmla="*/ 8722 w 10000"/>
                    <a:gd name="connsiteY58" fmla="*/ 1190 h 9851"/>
                    <a:gd name="connsiteX59" fmla="*/ 8556 w 10000"/>
                    <a:gd name="connsiteY59" fmla="*/ 1040 h 9851"/>
                    <a:gd name="connsiteX60" fmla="*/ 8556 w 10000"/>
                    <a:gd name="connsiteY60" fmla="*/ 1040 h 9851"/>
                    <a:gd name="connsiteX61" fmla="*/ 6556 w 10000"/>
                    <a:gd name="connsiteY61" fmla="*/ 156 h 9851"/>
                    <a:gd name="connsiteX62" fmla="*/ 6556 w 10000"/>
                    <a:gd name="connsiteY62" fmla="*/ 156 h 9851"/>
                    <a:gd name="connsiteX63" fmla="*/ 6333 w 10000"/>
                    <a:gd name="connsiteY63" fmla="*/ 0 h 9851"/>
                    <a:gd name="connsiteX64" fmla="*/ 10000 w 10000"/>
                    <a:gd name="connsiteY64" fmla="*/ 6516 h 9851"/>
                    <a:gd name="connsiteX65" fmla="*/ 10000 w 10000"/>
                    <a:gd name="connsiteY65" fmla="*/ 6516 h 9851"/>
                    <a:gd name="connsiteX66" fmla="*/ 9722 w 10000"/>
                    <a:gd name="connsiteY66" fmla="*/ 6462 h 9851"/>
                    <a:gd name="connsiteX67" fmla="*/ 9389 w 10000"/>
                    <a:gd name="connsiteY67" fmla="*/ 6516 h 9851"/>
                    <a:gd name="connsiteX68" fmla="*/ 9389 w 10000"/>
                    <a:gd name="connsiteY68" fmla="*/ 6516 h 9851"/>
                    <a:gd name="connsiteX69" fmla="*/ 9278 w 10000"/>
                    <a:gd name="connsiteY69" fmla="*/ 6578 h 9851"/>
                    <a:gd name="connsiteX70" fmla="*/ 9056 w 10000"/>
                    <a:gd name="connsiteY70" fmla="*/ 6516 h 9851"/>
                    <a:gd name="connsiteX71" fmla="*/ 8889 w 10000"/>
                    <a:gd name="connsiteY71" fmla="*/ 6462 h 9851"/>
                    <a:gd name="connsiteX72" fmla="*/ 8722 w 10000"/>
                    <a:gd name="connsiteY72" fmla="*/ 6368 h 9851"/>
                    <a:gd name="connsiteX73" fmla="*/ 8611 w 10000"/>
                    <a:gd name="connsiteY73" fmla="*/ 6213 h 9851"/>
                    <a:gd name="connsiteX74" fmla="*/ 8444 w 10000"/>
                    <a:gd name="connsiteY74" fmla="*/ 5963 h 9851"/>
                    <a:gd name="connsiteX75" fmla="*/ 8444 w 10000"/>
                    <a:gd name="connsiteY75" fmla="*/ 5963 h 9851"/>
                    <a:gd name="connsiteX76" fmla="*/ 8222 w 10000"/>
                    <a:gd name="connsiteY76" fmla="*/ 5527 h 9851"/>
                    <a:gd name="connsiteX77" fmla="*/ 8111 w 10000"/>
                    <a:gd name="connsiteY77" fmla="*/ 5329 h 9851"/>
                    <a:gd name="connsiteX78" fmla="*/ 7944 w 10000"/>
                    <a:gd name="connsiteY78" fmla="*/ 5177 h 9851"/>
                    <a:gd name="connsiteX79" fmla="*/ 7778 w 10000"/>
                    <a:gd name="connsiteY79" fmla="*/ 5080 h 9851"/>
                    <a:gd name="connsiteX80" fmla="*/ 7556 w 10000"/>
                    <a:gd name="connsiteY80" fmla="*/ 5021 h 9851"/>
                    <a:gd name="connsiteX81" fmla="*/ 7333 w 10000"/>
                    <a:gd name="connsiteY81" fmla="*/ 4976 h 9851"/>
                    <a:gd name="connsiteX82" fmla="*/ 7000 w 10000"/>
                    <a:gd name="connsiteY82" fmla="*/ 4920 h 9851"/>
                    <a:gd name="connsiteX83" fmla="*/ 7000 w 10000"/>
                    <a:gd name="connsiteY83" fmla="*/ 4920 h 9851"/>
                    <a:gd name="connsiteX84" fmla="*/ 6556 w 10000"/>
                    <a:gd name="connsiteY84" fmla="*/ 4976 h 9851"/>
                    <a:gd name="connsiteX85" fmla="*/ 6222 w 10000"/>
                    <a:gd name="connsiteY85" fmla="*/ 4976 h 9851"/>
                    <a:gd name="connsiteX86" fmla="*/ 6111 w 10000"/>
                    <a:gd name="connsiteY86" fmla="*/ 4920 h 9851"/>
                    <a:gd name="connsiteX87" fmla="*/ 6056 w 10000"/>
                    <a:gd name="connsiteY87" fmla="*/ 4872 h 9851"/>
                    <a:gd name="connsiteX88" fmla="*/ 6056 w 10000"/>
                    <a:gd name="connsiteY88" fmla="*/ 4872 h 9851"/>
                    <a:gd name="connsiteX89" fmla="*/ 6056 w 10000"/>
                    <a:gd name="connsiteY89" fmla="*/ 3984 h 9851"/>
                    <a:gd name="connsiteX90" fmla="*/ 6056 w 10000"/>
                    <a:gd name="connsiteY90" fmla="*/ 3984 h 9851"/>
                    <a:gd name="connsiteX91" fmla="*/ 6056 w 10000"/>
                    <a:gd name="connsiteY91" fmla="*/ 3777 h 9851"/>
                    <a:gd name="connsiteX92" fmla="*/ 5944 w 10000"/>
                    <a:gd name="connsiteY92" fmla="*/ 3530 h 9851"/>
                    <a:gd name="connsiteX93" fmla="*/ 5889 w 10000"/>
                    <a:gd name="connsiteY93" fmla="*/ 3474 h 9851"/>
                    <a:gd name="connsiteX94" fmla="*/ 5778 w 10000"/>
                    <a:gd name="connsiteY94" fmla="*/ 3430 h 9851"/>
                    <a:gd name="connsiteX95" fmla="*/ 5667 w 10000"/>
                    <a:gd name="connsiteY95" fmla="*/ 3430 h 9851"/>
                    <a:gd name="connsiteX96" fmla="*/ 5500 w 10000"/>
                    <a:gd name="connsiteY96" fmla="*/ 3474 h 9851"/>
                    <a:gd name="connsiteX97" fmla="*/ 5500 w 10000"/>
                    <a:gd name="connsiteY97" fmla="*/ 3474 h 9851"/>
                    <a:gd name="connsiteX98" fmla="*/ 4889 w 10000"/>
                    <a:gd name="connsiteY98" fmla="*/ 3829 h 9851"/>
                    <a:gd name="connsiteX99" fmla="*/ 4611 w 10000"/>
                    <a:gd name="connsiteY99" fmla="*/ 3931 h 9851"/>
                    <a:gd name="connsiteX100" fmla="*/ 4556 w 10000"/>
                    <a:gd name="connsiteY100" fmla="*/ 3984 h 9851"/>
                    <a:gd name="connsiteX101" fmla="*/ 4500 w 10000"/>
                    <a:gd name="connsiteY101" fmla="*/ 3931 h 9851"/>
                    <a:gd name="connsiteX102" fmla="*/ 4500 w 10000"/>
                    <a:gd name="connsiteY102" fmla="*/ 3931 h 9851"/>
                    <a:gd name="connsiteX103" fmla="*/ 4222 w 10000"/>
                    <a:gd name="connsiteY103" fmla="*/ 3430 h 9851"/>
                    <a:gd name="connsiteX104" fmla="*/ 4222 w 10000"/>
                    <a:gd name="connsiteY104" fmla="*/ 3430 h 9851"/>
                    <a:gd name="connsiteX105" fmla="*/ 4111 w 10000"/>
                    <a:gd name="connsiteY105" fmla="*/ 3182 h 9851"/>
                    <a:gd name="connsiteX106" fmla="*/ 4111 w 10000"/>
                    <a:gd name="connsiteY106" fmla="*/ 3034 h 9851"/>
                    <a:gd name="connsiteX107" fmla="*/ 4111 w 10000"/>
                    <a:gd name="connsiteY107" fmla="*/ 2882 h 9851"/>
                    <a:gd name="connsiteX108" fmla="*/ 4111 w 10000"/>
                    <a:gd name="connsiteY108" fmla="*/ 2882 h 9851"/>
                    <a:gd name="connsiteX109" fmla="*/ 4278 w 10000"/>
                    <a:gd name="connsiteY109" fmla="*/ 2735 h 9851"/>
                    <a:gd name="connsiteX110" fmla="*/ 4389 w 10000"/>
                    <a:gd name="connsiteY110" fmla="*/ 2683 h 9851"/>
                    <a:gd name="connsiteX111" fmla="*/ 4389 w 10000"/>
                    <a:gd name="connsiteY111" fmla="*/ 2683 h 9851"/>
                    <a:gd name="connsiteX112" fmla="*/ 4000 w 10000"/>
                    <a:gd name="connsiteY112" fmla="*/ 2683 h 9851"/>
                    <a:gd name="connsiteX113" fmla="*/ 3722 w 10000"/>
                    <a:gd name="connsiteY113" fmla="*/ 2735 h 9851"/>
                    <a:gd name="connsiteX114" fmla="*/ 3611 w 10000"/>
                    <a:gd name="connsiteY114" fmla="*/ 2788 h 9851"/>
                    <a:gd name="connsiteX115" fmla="*/ 3556 w 10000"/>
                    <a:gd name="connsiteY115" fmla="*/ 2837 h 9851"/>
                    <a:gd name="connsiteX116" fmla="*/ 3556 w 10000"/>
                    <a:gd name="connsiteY116" fmla="*/ 2837 h 9851"/>
                    <a:gd name="connsiteX117" fmla="*/ 3444 w 10000"/>
                    <a:gd name="connsiteY117" fmla="*/ 3034 h 9851"/>
                    <a:gd name="connsiteX118" fmla="*/ 3278 w 10000"/>
                    <a:gd name="connsiteY118" fmla="*/ 3337 h 9851"/>
                    <a:gd name="connsiteX119" fmla="*/ 3000 w 10000"/>
                    <a:gd name="connsiteY119" fmla="*/ 3679 h 9851"/>
                    <a:gd name="connsiteX120" fmla="*/ 2667 w 10000"/>
                    <a:gd name="connsiteY120" fmla="*/ 3931 h 9851"/>
                    <a:gd name="connsiteX121" fmla="*/ 2667 w 10000"/>
                    <a:gd name="connsiteY121" fmla="*/ 3931 h 9851"/>
                    <a:gd name="connsiteX122" fmla="*/ 2333 w 10000"/>
                    <a:gd name="connsiteY122" fmla="*/ 4134 h 9851"/>
                    <a:gd name="connsiteX123" fmla="*/ 1833 w 10000"/>
                    <a:gd name="connsiteY123" fmla="*/ 4334 h 9851"/>
                    <a:gd name="connsiteX124" fmla="*/ 1389 w 10000"/>
                    <a:gd name="connsiteY124" fmla="*/ 4429 h 9851"/>
                    <a:gd name="connsiteX125" fmla="*/ 889 w 10000"/>
                    <a:gd name="connsiteY125" fmla="*/ 4479 h 9851"/>
                    <a:gd name="connsiteX126" fmla="*/ 889 w 10000"/>
                    <a:gd name="connsiteY126" fmla="*/ 4479 h 9851"/>
                    <a:gd name="connsiteX127" fmla="*/ 500 w 10000"/>
                    <a:gd name="connsiteY127" fmla="*/ 4540 h 9851"/>
                    <a:gd name="connsiteX128" fmla="*/ 222 w 10000"/>
                    <a:gd name="connsiteY128" fmla="*/ 4577 h 9851"/>
                    <a:gd name="connsiteX129" fmla="*/ 0 w 10000"/>
                    <a:gd name="connsiteY129" fmla="*/ 4624 h 9851"/>
                    <a:gd name="connsiteX130" fmla="*/ 0 w 10000"/>
                    <a:gd name="connsiteY130" fmla="*/ 4624 h 9851"/>
                    <a:gd name="connsiteX131" fmla="*/ 278 w 10000"/>
                    <a:gd name="connsiteY131" fmla="*/ 5427 h 9851"/>
                    <a:gd name="connsiteX132" fmla="*/ 500 w 10000"/>
                    <a:gd name="connsiteY132" fmla="*/ 6015 h 9851"/>
                    <a:gd name="connsiteX133" fmla="*/ 722 w 10000"/>
                    <a:gd name="connsiteY133" fmla="*/ 6516 h 9851"/>
                    <a:gd name="connsiteX134" fmla="*/ 722 w 10000"/>
                    <a:gd name="connsiteY134" fmla="*/ 6516 h 9851"/>
                    <a:gd name="connsiteX135" fmla="*/ 889 w 10000"/>
                    <a:gd name="connsiteY135" fmla="*/ 6814 h 9851"/>
                    <a:gd name="connsiteX136" fmla="*/ 944 w 10000"/>
                    <a:gd name="connsiteY136" fmla="*/ 7071 h 9851"/>
                    <a:gd name="connsiteX137" fmla="*/ 1111 w 10000"/>
                    <a:gd name="connsiteY137" fmla="*/ 7321 h 9851"/>
                    <a:gd name="connsiteX138" fmla="*/ 1333 w 10000"/>
                    <a:gd name="connsiteY138" fmla="*/ 7706 h 9851"/>
                    <a:gd name="connsiteX139" fmla="*/ 1333 w 10000"/>
                    <a:gd name="connsiteY139" fmla="*/ 7706 h 9851"/>
                    <a:gd name="connsiteX140" fmla="*/ 1444 w 10000"/>
                    <a:gd name="connsiteY140" fmla="*/ 7909 h 9851"/>
                    <a:gd name="connsiteX141" fmla="*/ 1500 w 10000"/>
                    <a:gd name="connsiteY141" fmla="*/ 8058 h 9851"/>
                    <a:gd name="connsiteX142" fmla="*/ 1500 w 10000"/>
                    <a:gd name="connsiteY142" fmla="*/ 8200 h 9851"/>
                    <a:gd name="connsiteX143" fmla="*/ 1556 w 10000"/>
                    <a:gd name="connsiteY143" fmla="*/ 8261 h 9851"/>
                    <a:gd name="connsiteX144" fmla="*/ 1722 w 10000"/>
                    <a:gd name="connsiteY144" fmla="*/ 8306 h 9851"/>
                    <a:gd name="connsiteX145" fmla="*/ 1944 w 10000"/>
                    <a:gd name="connsiteY145" fmla="*/ 8355 h 9851"/>
                    <a:gd name="connsiteX146" fmla="*/ 2944 w 10000"/>
                    <a:gd name="connsiteY146" fmla="*/ 8408 h 9851"/>
                    <a:gd name="connsiteX147" fmla="*/ 2944 w 10000"/>
                    <a:gd name="connsiteY147" fmla="*/ 8408 h 9851"/>
                    <a:gd name="connsiteX148" fmla="*/ 4167 w 10000"/>
                    <a:gd name="connsiteY148" fmla="*/ 8510 h 9851"/>
                    <a:gd name="connsiteX149" fmla="*/ 4889 w 10000"/>
                    <a:gd name="connsiteY149" fmla="*/ 8651 h 9851"/>
                    <a:gd name="connsiteX150" fmla="*/ 5278 w 10000"/>
                    <a:gd name="connsiteY150" fmla="*/ 8810 h 9851"/>
                    <a:gd name="connsiteX151" fmla="*/ 5444 w 10000"/>
                    <a:gd name="connsiteY151" fmla="*/ 8851 h 9851"/>
                    <a:gd name="connsiteX152" fmla="*/ 5444 w 10000"/>
                    <a:gd name="connsiteY152" fmla="*/ 8851 h 9851"/>
                    <a:gd name="connsiteX153" fmla="*/ 5722 w 10000"/>
                    <a:gd name="connsiteY153" fmla="*/ 8962 h 9851"/>
                    <a:gd name="connsiteX154" fmla="*/ 5833 w 10000"/>
                    <a:gd name="connsiteY154" fmla="*/ 9013 h 9851"/>
                    <a:gd name="connsiteX155" fmla="*/ 5833 w 10000"/>
                    <a:gd name="connsiteY155" fmla="*/ 9013 h 9851"/>
                    <a:gd name="connsiteX156" fmla="*/ 5833 w 10000"/>
                    <a:gd name="connsiteY156" fmla="*/ 8962 h 9851"/>
                    <a:gd name="connsiteX157" fmla="*/ 5889 w 10000"/>
                    <a:gd name="connsiteY157" fmla="*/ 8905 h 9851"/>
                    <a:gd name="connsiteX158" fmla="*/ 6000 w 10000"/>
                    <a:gd name="connsiteY158" fmla="*/ 8851 h 9851"/>
                    <a:gd name="connsiteX159" fmla="*/ 6167 w 10000"/>
                    <a:gd name="connsiteY159" fmla="*/ 8810 h 9851"/>
                    <a:gd name="connsiteX160" fmla="*/ 6444 w 10000"/>
                    <a:gd name="connsiteY160" fmla="*/ 8810 h 9851"/>
                    <a:gd name="connsiteX161" fmla="*/ 6833 w 10000"/>
                    <a:gd name="connsiteY161" fmla="*/ 8851 h 9851"/>
                    <a:gd name="connsiteX162" fmla="*/ 7278 w 10000"/>
                    <a:gd name="connsiteY162" fmla="*/ 9013 h 9851"/>
                    <a:gd name="connsiteX163" fmla="*/ 7278 w 10000"/>
                    <a:gd name="connsiteY163" fmla="*/ 9013 h 9851"/>
                    <a:gd name="connsiteX164" fmla="*/ 8722 w 10000"/>
                    <a:gd name="connsiteY164" fmla="*/ 9446 h 9851"/>
                    <a:gd name="connsiteX165" fmla="*/ 10000 w 10000"/>
                    <a:gd name="connsiteY165" fmla="*/ 9851 h 9851"/>
                    <a:gd name="connsiteX0" fmla="*/ 10000 w 10000"/>
                    <a:gd name="connsiteY0" fmla="*/ 6402 h 9842"/>
                    <a:gd name="connsiteX1" fmla="*/ 10000 w 10000"/>
                    <a:gd name="connsiteY1" fmla="*/ 6402 h 9842"/>
                    <a:gd name="connsiteX2" fmla="*/ 9222 w 10000"/>
                    <a:gd name="connsiteY2" fmla="*/ 6457 h 9842"/>
                    <a:gd name="connsiteX3" fmla="*/ 8944 w 10000"/>
                    <a:gd name="connsiteY3" fmla="*/ 6457 h 9842"/>
                    <a:gd name="connsiteX4" fmla="*/ 8833 w 10000"/>
                    <a:gd name="connsiteY4" fmla="*/ 6402 h 9842"/>
                    <a:gd name="connsiteX5" fmla="*/ 8778 w 10000"/>
                    <a:gd name="connsiteY5" fmla="*/ 6354 h 9842"/>
                    <a:gd name="connsiteX6" fmla="*/ 8778 w 10000"/>
                    <a:gd name="connsiteY6" fmla="*/ 6354 h 9842"/>
                    <a:gd name="connsiteX7" fmla="*/ 8444 w 10000"/>
                    <a:gd name="connsiteY7" fmla="*/ 5748 h 9842"/>
                    <a:gd name="connsiteX8" fmla="*/ 8167 w 10000"/>
                    <a:gd name="connsiteY8" fmla="*/ 5191 h 9842"/>
                    <a:gd name="connsiteX9" fmla="*/ 8167 w 10000"/>
                    <a:gd name="connsiteY9" fmla="*/ 5191 h 9842"/>
                    <a:gd name="connsiteX10" fmla="*/ 8056 w 10000"/>
                    <a:gd name="connsiteY10" fmla="*/ 5097 h 9842"/>
                    <a:gd name="connsiteX11" fmla="*/ 7889 w 10000"/>
                    <a:gd name="connsiteY11" fmla="*/ 4999 h 9842"/>
                    <a:gd name="connsiteX12" fmla="*/ 7444 w 10000"/>
                    <a:gd name="connsiteY12" fmla="*/ 4939 h 9842"/>
                    <a:gd name="connsiteX13" fmla="*/ 6889 w 10000"/>
                    <a:gd name="connsiteY13" fmla="*/ 4893 h 9842"/>
                    <a:gd name="connsiteX14" fmla="*/ 6389 w 10000"/>
                    <a:gd name="connsiteY14" fmla="*/ 4893 h 9842"/>
                    <a:gd name="connsiteX15" fmla="*/ 6389 w 10000"/>
                    <a:gd name="connsiteY15" fmla="*/ 4893 h 9842"/>
                    <a:gd name="connsiteX16" fmla="*/ 6167 w 10000"/>
                    <a:gd name="connsiteY16" fmla="*/ 4836 h 9842"/>
                    <a:gd name="connsiteX17" fmla="*/ 6056 w 10000"/>
                    <a:gd name="connsiteY17" fmla="*/ 4745 h 9842"/>
                    <a:gd name="connsiteX18" fmla="*/ 6000 w 10000"/>
                    <a:gd name="connsiteY18" fmla="*/ 4638 h 9842"/>
                    <a:gd name="connsiteX19" fmla="*/ 6000 w 10000"/>
                    <a:gd name="connsiteY19" fmla="*/ 4451 h 9842"/>
                    <a:gd name="connsiteX20" fmla="*/ 6056 w 10000"/>
                    <a:gd name="connsiteY20" fmla="*/ 4039 h 9842"/>
                    <a:gd name="connsiteX21" fmla="*/ 6111 w 10000"/>
                    <a:gd name="connsiteY21" fmla="*/ 3832 h 9842"/>
                    <a:gd name="connsiteX22" fmla="*/ 6056 w 10000"/>
                    <a:gd name="connsiteY22" fmla="*/ 3577 h 9842"/>
                    <a:gd name="connsiteX23" fmla="*/ 6056 w 10000"/>
                    <a:gd name="connsiteY23" fmla="*/ 3577 h 9842"/>
                    <a:gd name="connsiteX24" fmla="*/ 6000 w 10000"/>
                    <a:gd name="connsiteY24" fmla="*/ 3425 h 9842"/>
                    <a:gd name="connsiteX25" fmla="*/ 5944 w 10000"/>
                    <a:gd name="connsiteY25" fmla="*/ 3324 h 9842"/>
                    <a:gd name="connsiteX26" fmla="*/ 5833 w 10000"/>
                    <a:gd name="connsiteY26" fmla="*/ 3324 h 9842"/>
                    <a:gd name="connsiteX27" fmla="*/ 5667 w 10000"/>
                    <a:gd name="connsiteY27" fmla="*/ 3369 h 9842"/>
                    <a:gd name="connsiteX28" fmla="*/ 5333 w 10000"/>
                    <a:gd name="connsiteY28" fmla="*/ 3528 h 9842"/>
                    <a:gd name="connsiteX29" fmla="*/ 4889 w 10000"/>
                    <a:gd name="connsiteY29" fmla="*/ 3782 h 9842"/>
                    <a:gd name="connsiteX30" fmla="*/ 4889 w 10000"/>
                    <a:gd name="connsiteY30" fmla="*/ 3782 h 9842"/>
                    <a:gd name="connsiteX31" fmla="*/ 4611 w 10000"/>
                    <a:gd name="connsiteY31" fmla="*/ 3832 h 9842"/>
                    <a:gd name="connsiteX32" fmla="*/ 4500 w 10000"/>
                    <a:gd name="connsiteY32" fmla="*/ 3832 h 9842"/>
                    <a:gd name="connsiteX33" fmla="*/ 4444 w 10000"/>
                    <a:gd name="connsiteY33" fmla="*/ 3782 h 9842"/>
                    <a:gd name="connsiteX34" fmla="*/ 4389 w 10000"/>
                    <a:gd name="connsiteY34" fmla="*/ 3577 h 9842"/>
                    <a:gd name="connsiteX35" fmla="*/ 4222 w 10000"/>
                    <a:gd name="connsiteY35" fmla="*/ 3324 h 9842"/>
                    <a:gd name="connsiteX36" fmla="*/ 4222 w 10000"/>
                    <a:gd name="connsiteY36" fmla="*/ 3324 h 9842"/>
                    <a:gd name="connsiteX37" fmla="*/ 4111 w 10000"/>
                    <a:gd name="connsiteY37" fmla="*/ 3170 h 9842"/>
                    <a:gd name="connsiteX38" fmla="*/ 4111 w 10000"/>
                    <a:gd name="connsiteY38" fmla="*/ 3024 h 9842"/>
                    <a:gd name="connsiteX39" fmla="*/ 4111 w 10000"/>
                    <a:gd name="connsiteY39" fmla="*/ 2922 h 9842"/>
                    <a:gd name="connsiteX40" fmla="*/ 4167 w 10000"/>
                    <a:gd name="connsiteY40" fmla="*/ 2819 h 9842"/>
                    <a:gd name="connsiteX41" fmla="*/ 4278 w 10000"/>
                    <a:gd name="connsiteY41" fmla="*/ 2618 h 9842"/>
                    <a:gd name="connsiteX42" fmla="*/ 4389 w 10000"/>
                    <a:gd name="connsiteY42" fmla="*/ 2566 h 9842"/>
                    <a:gd name="connsiteX43" fmla="*/ 4389 w 10000"/>
                    <a:gd name="connsiteY43" fmla="*/ 2566 h 9842"/>
                    <a:gd name="connsiteX44" fmla="*/ 4389 w 10000"/>
                    <a:gd name="connsiteY44" fmla="*/ 2514 h 9842"/>
                    <a:gd name="connsiteX45" fmla="*/ 4444 w 10000"/>
                    <a:gd name="connsiteY45" fmla="*/ 2474 h 9842"/>
                    <a:gd name="connsiteX46" fmla="*/ 4667 w 10000"/>
                    <a:gd name="connsiteY46" fmla="*/ 2417 h 9842"/>
                    <a:gd name="connsiteX47" fmla="*/ 5333 w 10000"/>
                    <a:gd name="connsiteY47" fmla="*/ 2321 h 9842"/>
                    <a:gd name="connsiteX48" fmla="*/ 6500 w 10000"/>
                    <a:gd name="connsiteY48" fmla="*/ 2161 h 9842"/>
                    <a:gd name="connsiteX49" fmla="*/ 6500 w 10000"/>
                    <a:gd name="connsiteY49" fmla="*/ 2161 h 9842"/>
                    <a:gd name="connsiteX50" fmla="*/ 7167 w 10000"/>
                    <a:gd name="connsiteY50" fmla="*/ 2017 h 9842"/>
                    <a:gd name="connsiteX51" fmla="*/ 8389 w 10000"/>
                    <a:gd name="connsiteY51" fmla="*/ 1714 h 9842"/>
                    <a:gd name="connsiteX52" fmla="*/ 8389 w 10000"/>
                    <a:gd name="connsiteY52" fmla="*/ 1714 h 9842"/>
                    <a:gd name="connsiteX53" fmla="*/ 8667 w 10000"/>
                    <a:gd name="connsiteY53" fmla="*/ 1604 h 9842"/>
                    <a:gd name="connsiteX54" fmla="*/ 8778 w 10000"/>
                    <a:gd name="connsiteY54" fmla="*/ 1449 h 9842"/>
                    <a:gd name="connsiteX55" fmla="*/ 8889 w 10000"/>
                    <a:gd name="connsiteY55" fmla="*/ 1355 h 9842"/>
                    <a:gd name="connsiteX56" fmla="*/ 8833 w 10000"/>
                    <a:gd name="connsiteY56" fmla="*/ 1255 h 9842"/>
                    <a:gd name="connsiteX57" fmla="*/ 8833 w 10000"/>
                    <a:gd name="connsiteY57" fmla="*/ 1161 h 9842"/>
                    <a:gd name="connsiteX58" fmla="*/ 8722 w 10000"/>
                    <a:gd name="connsiteY58" fmla="*/ 1050 h 9842"/>
                    <a:gd name="connsiteX59" fmla="*/ 8556 w 10000"/>
                    <a:gd name="connsiteY59" fmla="*/ 898 h 9842"/>
                    <a:gd name="connsiteX60" fmla="*/ 8556 w 10000"/>
                    <a:gd name="connsiteY60" fmla="*/ 898 h 9842"/>
                    <a:gd name="connsiteX61" fmla="*/ 6556 w 10000"/>
                    <a:gd name="connsiteY61" fmla="*/ 0 h 9842"/>
                    <a:gd name="connsiteX62" fmla="*/ 6556 w 10000"/>
                    <a:gd name="connsiteY62" fmla="*/ 0 h 9842"/>
                    <a:gd name="connsiteX63" fmla="*/ 10000 w 10000"/>
                    <a:gd name="connsiteY63" fmla="*/ 6457 h 9842"/>
                    <a:gd name="connsiteX64" fmla="*/ 10000 w 10000"/>
                    <a:gd name="connsiteY64" fmla="*/ 6457 h 9842"/>
                    <a:gd name="connsiteX65" fmla="*/ 9722 w 10000"/>
                    <a:gd name="connsiteY65" fmla="*/ 6402 h 9842"/>
                    <a:gd name="connsiteX66" fmla="*/ 9389 w 10000"/>
                    <a:gd name="connsiteY66" fmla="*/ 6457 h 9842"/>
                    <a:gd name="connsiteX67" fmla="*/ 9389 w 10000"/>
                    <a:gd name="connsiteY67" fmla="*/ 6457 h 9842"/>
                    <a:gd name="connsiteX68" fmla="*/ 9278 w 10000"/>
                    <a:gd name="connsiteY68" fmla="*/ 6519 h 9842"/>
                    <a:gd name="connsiteX69" fmla="*/ 9056 w 10000"/>
                    <a:gd name="connsiteY69" fmla="*/ 6457 h 9842"/>
                    <a:gd name="connsiteX70" fmla="*/ 8889 w 10000"/>
                    <a:gd name="connsiteY70" fmla="*/ 6402 h 9842"/>
                    <a:gd name="connsiteX71" fmla="*/ 8722 w 10000"/>
                    <a:gd name="connsiteY71" fmla="*/ 6306 h 9842"/>
                    <a:gd name="connsiteX72" fmla="*/ 8611 w 10000"/>
                    <a:gd name="connsiteY72" fmla="*/ 6149 h 9842"/>
                    <a:gd name="connsiteX73" fmla="*/ 8444 w 10000"/>
                    <a:gd name="connsiteY73" fmla="*/ 5895 h 9842"/>
                    <a:gd name="connsiteX74" fmla="*/ 8444 w 10000"/>
                    <a:gd name="connsiteY74" fmla="*/ 5895 h 9842"/>
                    <a:gd name="connsiteX75" fmla="*/ 8222 w 10000"/>
                    <a:gd name="connsiteY75" fmla="*/ 5453 h 9842"/>
                    <a:gd name="connsiteX76" fmla="*/ 8111 w 10000"/>
                    <a:gd name="connsiteY76" fmla="*/ 5252 h 9842"/>
                    <a:gd name="connsiteX77" fmla="*/ 7944 w 10000"/>
                    <a:gd name="connsiteY77" fmla="*/ 5097 h 9842"/>
                    <a:gd name="connsiteX78" fmla="*/ 7778 w 10000"/>
                    <a:gd name="connsiteY78" fmla="*/ 4999 h 9842"/>
                    <a:gd name="connsiteX79" fmla="*/ 7556 w 10000"/>
                    <a:gd name="connsiteY79" fmla="*/ 4939 h 9842"/>
                    <a:gd name="connsiteX80" fmla="*/ 7333 w 10000"/>
                    <a:gd name="connsiteY80" fmla="*/ 4893 h 9842"/>
                    <a:gd name="connsiteX81" fmla="*/ 7000 w 10000"/>
                    <a:gd name="connsiteY81" fmla="*/ 4836 h 9842"/>
                    <a:gd name="connsiteX82" fmla="*/ 7000 w 10000"/>
                    <a:gd name="connsiteY82" fmla="*/ 4836 h 9842"/>
                    <a:gd name="connsiteX83" fmla="*/ 6556 w 10000"/>
                    <a:gd name="connsiteY83" fmla="*/ 4893 h 9842"/>
                    <a:gd name="connsiteX84" fmla="*/ 6222 w 10000"/>
                    <a:gd name="connsiteY84" fmla="*/ 4893 h 9842"/>
                    <a:gd name="connsiteX85" fmla="*/ 6111 w 10000"/>
                    <a:gd name="connsiteY85" fmla="*/ 4836 h 9842"/>
                    <a:gd name="connsiteX86" fmla="*/ 6056 w 10000"/>
                    <a:gd name="connsiteY86" fmla="*/ 4788 h 9842"/>
                    <a:gd name="connsiteX87" fmla="*/ 6056 w 10000"/>
                    <a:gd name="connsiteY87" fmla="*/ 4788 h 9842"/>
                    <a:gd name="connsiteX88" fmla="*/ 6056 w 10000"/>
                    <a:gd name="connsiteY88" fmla="*/ 3886 h 9842"/>
                    <a:gd name="connsiteX89" fmla="*/ 6056 w 10000"/>
                    <a:gd name="connsiteY89" fmla="*/ 3886 h 9842"/>
                    <a:gd name="connsiteX90" fmla="*/ 6056 w 10000"/>
                    <a:gd name="connsiteY90" fmla="*/ 3676 h 9842"/>
                    <a:gd name="connsiteX91" fmla="*/ 5944 w 10000"/>
                    <a:gd name="connsiteY91" fmla="*/ 3425 h 9842"/>
                    <a:gd name="connsiteX92" fmla="*/ 5889 w 10000"/>
                    <a:gd name="connsiteY92" fmla="*/ 3369 h 9842"/>
                    <a:gd name="connsiteX93" fmla="*/ 5778 w 10000"/>
                    <a:gd name="connsiteY93" fmla="*/ 3324 h 9842"/>
                    <a:gd name="connsiteX94" fmla="*/ 5667 w 10000"/>
                    <a:gd name="connsiteY94" fmla="*/ 3324 h 9842"/>
                    <a:gd name="connsiteX95" fmla="*/ 5500 w 10000"/>
                    <a:gd name="connsiteY95" fmla="*/ 3369 h 9842"/>
                    <a:gd name="connsiteX96" fmla="*/ 5500 w 10000"/>
                    <a:gd name="connsiteY96" fmla="*/ 3369 h 9842"/>
                    <a:gd name="connsiteX97" fmla="*/ 4889 w 10000"/>
                    <a:gd name="connsiteY97" fmla="*/ 3729 h 9842"/>
                    <a:gd name="connsiteX98" fmla="*/ 4611 w 10000"/>
                    <a:gd name="connsiteY98" fmla="*/ 3832 h 9842"/>
                    <a:gd name="connsiteX99" fmla="*/ 4556 w 10000"/>
                    <a:gd name="connsiteY99" fmla="*/ 3886 h 9842"/>
                    <a:gd name="connsiteX100" fmla="*/ 4500 w 10000"/>
                    <a:gd name="connsiteY100" fmla="*/ 3832 h 9842"/>
                    <a:gd name="connsiteX101" fmla="*/ 4500 w 10000"/>
                    <a:gd name="connsiteY101" fmla="*/ 3832 h 9842"/>
                    <a:gd name="connsiteX102" fmla="*/ 4222 w 10000"/>
                    <a:gd name="connsiteY102" fmla="*/ 3324 h 9842"/>
                    <a:gd name="connsiteX103" fmla="*/ 4222 w 10000"/>
                    <a:gd name="connsiteY103" fmla="*/ 3324 h 9842"/>
                    <a:gd name="connsiteX104" fmla="*/ 4111 w 10000"/>
                    <a:gd name="connsiteY104" fmla="*/ 3072 h 9842"/>
                    <a:gd name="connsiteX105" fmla="*/ 4111 w 10000"/>
                    <a:gd name="connsiteY105" fmla="*/ 2922 h 9842"/>
                    <a:gd name="connsiteX106" fmla="*/ 4111 w 10000"/>
                    <a:gd name="connsiteY106" fmla="*/ 2768 h 9842"/>
                    <a:gd name="connsiteX107" fmla="*/ 4111 w 10000"/>
                    <a:gd name="connsiteY107" fmla="*/ 2768 h 9842"/>
                    <a:gd name="connsiteX108" fmla="*/ 4278 w 10000"/>
                    <a:gd name="connsiteY108" fmla="*/ 2618 h 9842"/>
                    <a:gd name="connsiteX109" fmla="*/ 4389 w 10000"/>
                    <a:gd name="connsiteY109" fmla="*/ 2566 h 9842"/>
                    <a:gd name="connsiteX110" fmla="*/ 4389 w 10000"/>
                    <a:gd name="connsiteY110" fmla="*/ 2566 h 9842"/>
                    <a:gd name="connsiteX111" fmla="*/ 4000 w 10000"/>
                    <a:gd name="connsiteY111" fmla="*/ 2566 h 9842"/>
                    <a:gd name="connsiteX112" fmla="*/ 3722 w 10000"/>
                    <a:gd name="connsiteY112" fmla="*/ 2618 h 9842"/>
                    <a:gd name="connsiteX113" fmla="*/ 3611 w 10000"/>
                    <a:gd name="connsiteY113" fmla="*/ 2672 h 9842"/>
                    <a:gd name="connsiteX114" fmla="*/ 3556 w 10000"/>
                    <a:gd name="connsiteY114" fmla="*/ 2722 h 9842"/>
                    <a:gd name="connsiteX115" fmla="*/ 3556 w 10000"/>
                    <a:gd name="connsiteY115" fmla="*/ 2722 h 9842"/>
                    <a:gd name="connsiteX116" fmla="*/ 3444 w 10000"/>
                    <a:gd name="connsiteY116" fmla="*/ 2922 h 9842"/>
                    <a:gd name="connsiteX117" fmla="*/ 3278 w 10000"/>
                    <a:gd name="connsiteY117" fmla="*/ 3229 h 9842"/>
                    <a:gd name="connsiteX118" fmla="*/ 3000 w 10000"/>
                    <a:gd name="connsiteY118" fmla="*/ 3577 h 9842"/>
                    <a:gd name="connsiteX119" fmla="*/ 2667 w 10000"/>
                    <a:gd name="connsiteY119" fmla="*/ 3832 h 9842"/>
                    <a:gd name="connsiteX120" fmla="*/ 2667 w 10000"/>
                    <a:gd name="connsiteY120" fmla="*/ 3832 h 9842"/>
                    <a:gd name="connsiteX121" fmla="*/ 2333 w 10000"/>
                    <a:gd name="connsiteY121" fmla="*/ 4039 h 9842"/>
                    <a:gd name="connsiteX122" fmla="*/ 1833 w 10000"/>
                    <a:gd name="connsiteY122" fmla="*/ 4242 h 9842"/>
                    <a:gd name="connsiteX123" fmla="*/ 1389 w 10000"/>
                    <a:gd name="connsiteY123" fmla="*/ 4338 h 9842"/>
                    <a:gd name="connsiteX124" fmla="*/ 889 w 10000"/>
                    <a:gd name="connsiteY124" fmla="*/ 4389 h 9842"/>
                    <a:gd name="connsiteX125" fmla="*/ 889 w 10000"/>
                    <a:gd name="connsiteY125" fmla="*/ 4389 h 9842"/>
                    <a:gd name="connsiteX126" fmla="*/ 500 w 10000"/>
                    <a:gd name="connsiteY126" fmla="*/ 4451 h 9842"/>
                    <a:gd name="connsiteX127" fmla="*/ 222 w 10000"/>
                    <a:gd name="connsiteY127" fmla="*/ 4488 h 9842"/>
                    <a:gd name="connsiteX128" fmla="*/ 0 w 10000"/>
                    <a:gd name="connsiteY128" fmla="*/ 4536 h 9842"/>
                    <a:gd name="connsiteX129" fmla="*/ 0 w 10000"/>
                    <a:gd name="connsiteY129" fmla="*/ 4536 h 9842"/>
                    <a:gd name="connsiteX130" fmla="*/ 278 w 10000"/>
                    <a:gd name="connsiteY130" fmla="*/ 5351 h 9842"/>
                    <a:gd name="connsiteX131" fmla="*/ 500 w 10000"/>
                    <a:gd name="connsiteY131" fmla="*/ 5948 h 9842"/>
                    <a:gd name="connsiteX132" fmla="*/ 722 w 10000"/>
                    <a:gd name="connsiteY132" fmla="*/ 6457 h 9842"/>
                    <a:gd name="connsiteX133" fmla="*/ 722 w 10000"/>
                    <a:gd name="connsiteY133" fmla="*/ 6457 h 9842"/>
                    <a:gd name="connsiteX134" fmla="*/ 889 w 10000"/>
                    <a:gd name="connsiteY134" fmla="*/ 6759 h 9842"/>
                    <a:gd name="connsiteX135" fmla="*/ 944 w 10000"/>
                    <a:gd name="connsiteY135" fmla="*/ 7020 h 9842"/>
                    <a:gd name="connsiteX136" fmla="*/ 1111 w 10000"/>
                    <a:gd name="connsiteY136" fmla="*/ 7274 h 9842"/>
                    <a:gd name="connsiteX137" fmla="*/ 1333 w 10000"/>
                    <a:gd name="connsiteY137" fmla="*/ 7665 h 9842"/>
                    <a:gd name="connsiteX138" fmla="*/ 1333 w 10000"/>
                    <a:gd name="connsiteY138" fmla="*/ 7665 h 9842"/>
                    <a:gd name="connsiteX139" fmla="*/ 1444 w 10000"/>
                    <a:gd name="connsiteY139" fmla="*/ 7871 h 9842"/>
                    <a:gd name="connsiteX140" fmla="*/ 1500 w 10000"/>
                    <a:gd name="connsiteY140" fmla="*/ 8022 h 9842"/>
                    <a:gd name="connsiteX141" fmla="*/ 1500 w 10000"/>
                    <a:gd name="connsiteY141" fmla="*/ 8166 h 9842"/>
                    <a:gd name="connsiteX142" fmla="*/ 1556 w 10000"/>
                    <a:gd name="connsiteY142" fmla="*/ 8228 h 9842"/>
                    <a:gd name="connsiteX143" fmla="*/ 1722 w 10000"/>
                    <a:gd name="connsiteY143" fmla="*/ 8274 h 9842"/>
                    <a:gd name="connsiteX144" fmla="*/ 1944 w 10000"/>
                    <a:gd name="connsiteY144" fmla="*/ 8323 h 9842"/>
                    <a:gd name="connsiteX145" fmla="*/ 2944 w 10000"/>
                    <a:gd name="connsiteY145" fmla="*/ 8377 h 9842"/>
                    <a:gd name="connsiteX146" fmla="*/ 2944 w 10000"/>
                    <a:gd name="connsiteY146" fmla="*/ 8377 h 9842"/>
                    <a:gd name="connsiteX147" fmla="*/ 4167 w 10000"/>
                    <a:gd name="connsiteY147" fmla="*/ 8481 h 9842"/>
                    <a:gd name="connsiteX148" fmla="*/ 4889 w 10000"/>
                    <a:gd name="connsiteY148" fmla="*/ 8624 h 9842"/>
                    <a:gd name="connsiteX149" fmla="*/ 5278 w 10000"/>
                    <a:gd name="connsiteY149" fmla="*/ 8785 h 9842"/>
                    <a:gd name="connsiteX150" fmla="*/ 5444 w 10000"/>
                    <a:gd name="connsiteY150" fmla="*/ 8827 h 9842"/>
                    <a:gd name="connsiteX151" fmla="*/ 5444 w 10000"/>
                    <a:gd name="connsiteY151" fmla="*/ 8827 h 9842"/>
                    <a:gd name="connsiteX152" fmla="*/ 5722 w 10000"/>
                    <a:gd name="connsiteY152" fmla="*/ 8940 h 9842"/>
                    <a:gd name="connsiteX153" fmla="*/ 5833 w 10000"/>
                    <a:gd name="connsiteY153" fmla="*/ 8991 h 9842"/>
                    <a:gd name="connsiteX154" fmla="*/ 5833 w 10000"/>
                    <a:gd name="connsiteY154" fmla="*/ 8991 h 9842"/>
                    <a:gd name="connsiteX155" fmla="*/ 5833 w 10000"/>
                    <a:gd name="connsiteY155" fmla="*/ 8940 h 9842"/>
                    <a:gd name="connsiteX156" fmla="*/ 5889 w 10000"/>
                    <a:gd name="connsiteY156" fmla="*/ 8882 h 9842"/>
                    <a:gd name="connsiteX157" fmla="*/ 6000 w 10000"/>
                    <a:gd name="connsiteY157" fmla="*/ 8827 h 9842"/>
                    <a:gd name="connsiteX158" fmla="*/ 6167 w 10000"/>
                    <a:gd name="connsiteY158" fmla="*/ 8785 h 9842"/>
                    <a:gd name="connsiteX159" fmla="*/ 6444 w 10000"/>
                    <a:gd name="connsiteY159" fmla="*/ 8785 h 9842"/>
                    <a:gd name="connsiteX160" fmla="*/ 6833 w 10000"/>
                    <a:gd name="connsiteY160" fmla="*/ 8827 h 9842"/>
                    <a:gd name="connsiteX161" fmla="*/ 7278 w 10000"/>
                    <a:gd name="connsiteY161" fmla="*/ 8991 h 9842"/>
                    <a:gd name="connsiteX162" fmla="*/ 7278 w 10000"/>
                    <a:gd name="connsiteY162" fmla="*/ 8991 h 9842"/>
                    <a:gd name="connsiteX163" fmla="*/ 8722 w 10000"/>
                    <a:gd name="connsiteY163" fmla="*/ 9431 h 9842"/>
                    <a:gd name="connsiteX164" fmla="*/ 10000 w 10000"/>
                    <a:gd name="connsiteY164" fmla="*/ 9842 h 9842"/>
                    <a:gd name="connsiteX0" fmla="*/ 10000 w 10000"/>
                    <a:gd name="connsiteY0" fmla="*/ 6505 h 10000"/>
                    <a:gd name="connsiteX1" fmla="*/ 10000 w 10000"/>
                    <a:gd name="connsiteY1" fmla="*/ 6505 h 10000"/>
                    <a:gd name="connsiteX2" fmla="*/ 9222 w 10000"/>
                    <a:gd name="connsiteY2" fmla="*/ 6561 h 10000"/>
                    <a:gd name="connsiteX3" fmla="*/ 8944 w 10000"/>
                    <a:gd name="connsiteY3" fmla="*/ 6561 h 10000"/>
                    <a:gd name="connsiteX4" fmla="*/ 8833 w 10000"/>
                    <a:gd name="connsiteY4" fmla="*/ 6505 h 10000"/>
                    <a:gd name="connsiteX5" fmla="*/ 8778 w 10000"/>
                    <a:gd name="connsiteY5" fmla="*/ 6456 h 10000"/>
                    <a:gd name="connsiteX6" fmla="*/ 8778 w 10000"/>
                    <a:gd name="connsiteY6" fmla="*/ 6456 h 10000"/>
                    <a:gd name="connsiteX7" fmla="*/ 8444 w 10000"/>
                    <a:gd name="connsiteY7" fmla="*/ 5840 h 10000"/>
                    <a:gd name="connsiteX8" fmla="*/ 8167 w 10000"/>
                    <a:gd name="connsiteY8" fmla="*/ 5274 h 10000"/>
                    <a:gd name="connsiteX9" fmla="*/ 8167 w 10000"/>
                    <a:gd name="connsiteY9" fmla="*/ 5274 h 10000"/>
                    <a:gd name="connsiteX10" fmla="*/ 8056 w 10000"/>
                    <a:gd name="connsiteY10" fmla="*/ 5179 h 10000"/>
                    <a:gd name="connsiteX11" fmla="*/ 7889 w 10000"/>
                    <a:gd name="connsiteY11" fmla="*/ 5079 h 10000"/>
                    <a:gd name="connsiteX12" fmla="*/ 7444 w 10000"/>
                    <a:gd name="connsiteY12" fmla="*/ 5018 h 10000"/>
                    <a:gd name="connsiteX13" fmla="*/ 6889 w 10000"/>
                    <a:gd name="connsiteY13" fmla="*/ 4972 h 10000"/>
                    <a:gd name="connsiteX14" fmla="*/ 6389 w 10000"/>
                    <a:gd name="connsiteY14" fmla="*/ 4972 h 10000"/>
                    <a:gd name="connsiteX15" fmla="*/ 6389 w 10000"/>
                    <a:gd name="connsiteY15" fmla="*/ 4972 h 10000"/>
                    <a:gd name="connsiteX16" fmla="*/ 6167 w 10000"/>
                    <a:gd name="connsiteY16" fmla="*/ 4914 h 10000"/>
                    <a:gd name="connsiteX17" fmla="*/ 6056 w 10000"/>
                    <a:gd name="connsiteY17" fmla="*/ 4821 h 10000"/>
                    <a:gd name="connsiteX18" fmla="*/ 6000 w 10000"/>
                    <a:gd name="connsiteY18" fmla="*/ 4712 h 10000"/>
                    <a:gd name="connsiteX19" fmla="*/ 6000 w 10000"/>
                    <a:gd name="connsiteY19" fmla="*/ 4522 h 10000"/>
                    <a:gd name="connsiteX20" fmla="*/ 6056 w 10000"/>
                    <a:gd name="connsiteY20" fmla="*/ 4104 h 10000"/>
                    <a:gd name="connsiteX21" fmla="*/ 6111 w 10000"/>
                    <a:gd name="connsiteY21" fmla="*/ 3894 h 10000"/>
                    <a:gd name="connsiteX22" fmla="*/ 6056 w 10000"/>
                    <a:gd name="connsiteY22" fmla="*/ 3634 h 10000"/>
                    <a:gd name="connsiteX23" fmla="*/ 6056 w 10000"/>
                    <a:gd name="connsiteY23" fmla="*/ 3634 h 10000"/>
                    <a:gd name="connsiteX24" fmla="*/ 6000 w 10000"/>
                    <a:gd name="connsiteY24" fmla="*/ 3480 h 10000"/>
                    <a:gd name="connsiteX25" fmla="*/ 5944 w 10000"/>
                    <a:gd name="connsiteY25" fmla="*/ 3377 h 10000"/>
                    <a:gd name="connsiteX26" fmla="*/ 5833 w 10000"/>
                    <a:gd name="connsiteY26" fmla="*/ 3377 h 10000"/>
                    <a:gd name="connsiteX27" fmla="*/ 5667 w 10000"/>
                    <a:gd name="connsiteY27" fmla="*/ 3423 h 10000"/>
                    <a:gd name="connsiteX28" fmla="*/ 5333 w 10000"/>
                    <a:gd name="connsiteY28" fmla="*/ 3585 h 10000"/>
                    <a:gd name="connsiteX29" fmla="*/ 4889 w 10000"/>
                    <a:gd name="connsiteY29" fmla="*/ 3843 h 10000"/>
                    <a:gd name="connsiteX30" fmla="*/ 4889 w 10000"/>
                    <a:gd name="connsiteY30" fmla="*/ 3843 h 10000"/>
                    <a:gd name="connsiteX31" fmla="*/ 4611 w 10000"/>
                    <a:gd name="connsiteY31" fmla="*/ 3894 h 10000"/>
                    <a:gd name="connsiteX32" fmla="*/ 4500 w 10000"/>
                    <a:gd name="connsiteY32" fmla="*/ 3894 h 10000"/>
                    <a:gd name="connsiteX33" fmla="*/ 4444 w 10000"/>
                    <a:gd name="connsiteY33" fmla="*/ 3843 h 10000"/>
                    <a:gd name="connsiteX34" fmla="*/ 4389 w 10000"/>
                    <a:gd name="connsiteY34" fmla="*/ 3634 h 10000"/>
                    <a:gd name="connsiteX35" fmla="*/ 4222 w 10000"/>
                    <a:gd name="connsiteY35" fmla="*/ 3377 h 10000"/>
                    <a:gd name="connsiteX36" fmla="*/ 4222 w 10000"/>
                    <a:gd name="connsiteY36" fmla="*/ 3377 h 10000"/>
                    <a:gd name="connsiteX37" fmla="*/ 4111 w 10000"/>
                    <a:gd name="connsiteY37" fmla="*/ 3221 h 10000"/>
                    <a:gd name="connsiteX38" fmla="*/ 4111 w 10000"/>
                    <a:gd name="connsiteY38" fmla="*/ 3073 h 10000"/>
                    <a:gd name="connsiteX39" fmla="*/ 4111 w 10000"/>
                    <a:gd name="connsiteY39" fmla="*/ 2969 h 10000"/>
                    <a:gd name="connsiteX40" fmla="*/ 4167 w 10000"/>
                    <a:gd name="connsiteY40" fmla="*/ 2864 h 10000"/>
                    <a:gd name="connsiteX41" fmla="*/ 4278 w 10000"/>
                    <a:gd name="connsiteY41" fmla="*/ 2660 h 10000"/>
                    <a:gd name="connsiteX42" fmla="*/ 4389 w 10000"/>
                    <a:gd name="connsiteY42" fmla="*/ 2607 h 10000"/>
                    <a:gd name="connsiteX43" fmla="*/ 4389 w 10000"/>
                    <a:gd name="connsiteY43" fmla="*/ 2607 h 10000"/>
                    <a:gd name="connsiteX44" fmla="*/ 4389 w 10000"/>
                    <a:gd name="connsiteY44" fmla="*/ 2554 h 10000"/>
                    <a:gd name="connsiteX45" fmla="*/ 4444 w 10000"/>
                    <a:gd name="connsiteY45" fmla="*/ 2514 h 10000"/>
                    <a:gd name="connsiteX46" fmla="*/ 4667 w 10000"/>
                    <a:gd name="connsiteY46" fmla="*/ 2456 h 10000"/>
                    <a:gd name="connsiteX47" fmla="*/ 5333 w 10000"/>
                    <a:gd name="connsiteY47" fmla="*/ 2358 h 10000"/>
                    <a:gd name="connsiteX48" fmla="*/ 6500 w 10000"/>
                    <a:gd name="connsiteY48" fmla="*/ 2196 h 10000"/>
                    <a:gd name="connsiteX49" fmla="*/ 6500 w 10000"/>
                    <a:gd name="connsiteY49" fmla="*/ 2196 h 10000"/>
                    <a:gd name="connsiteX50" fmla="*/ 7167 w 10000"/>
                    <a:gd name="connsiteY50" fmla="*/ 2049 h 10000"/>
                    <a:gd name="connsiteX51" fmla="*/ 8389 w 10000"/>
                    <a:gd name="connsiteY51" fmla="*/ 1742 h 10000"/>
                    <a:gd name="connsiteX52" fmla="*/ 8389 w 10000"/>
                    <a:gd name="connsiteY52" fmla="*/ 1742 h 10000"/>
                    <a:gd name="connsiteX53" fmla="*/ 8667 w 10000"/>
                    <a:gd name="connsiteY53" fmla="*/ 1630 h 10000"/>
                    <a:gd name="connsiteX54" fmla="*/ 8778 w 10000"/>
                    <a:gd name="connsiteY54" fmla="*/ 1472 h 10000"/>
                    <a:gd name="connsiteX55" fmla="*/ 8889 w 10000"/>
                    <a:gd name="connsiteY55" fmla="*/ 1377 h 10000"/>
                    <a:gd name="connsiteX56" fmla="*/ 8833 w 10000"/>
                    <a:gd name="connsiteY56" fmla="*/ 1275 h 10000"/>
                    <a:gd name="connsiteX57" fmla="*/ 8833 w 10000"/>
                    <a:gd name="connsiteY57" fmla="*/ 1180 h 10000"/>
                    <a:gd name="connsiteX58" fmla="*/ 8722 w 10000"/>
                    <a:gd name="connsiteY58" fmla="*/ 1067 h 10000"/>
                    <a:gd name="connsiteX59" fmla="*/ 8556 w 10000"/>
                    <a:gd name="connsiteY59" fmla="*/ 912 h 10000"/>
                    <a:gd name="connsiteX60" fmla="*/ 8556 w 10000"/>
                    <a:gd name="connsiteY60" fmla="*/ 912 h 10000"/>
                    <a:gd name="connsiteX61" fmla="*/ 6556 w 10000"/>
                    <a:gd name="connsiteY61" fmla="*/ 0 h 10000"/>
                    <a:gd name="connsiteX62" fmla="*/ 10000 w 10000"/>
                    <a:gd name="connsiteY62" fmla="*/ 6561 h 10000"/>
                    <a:gd name="connsiteX63" fmla="*/ 10000 w 10000"/>
                    <a:gd name="connsiteY63" fmla="*/ 6561 h 10000"/>
                    <a:gd name="connsiteX64" fmla="*/ 9722 w 10000"/>
                    <a:gd name="connsiteY64" fmla="*/ 6505 h 10000"/>
                    <a:gd name="connsiteX65" fmla="*/ 9389 w 10000"/>
                    <a:gd name="connsiteY65" fmla="*/ 6561 h 10000"/>
                    <a:gd name="connsiteX66" fmla="*/ 9389 w 10000"/>
                    <a:gd name="connsiteY66" fmla="*/ 6561 h 10000"/>
                    <a:gd name="connsiteX67" fmla="*/ 9278 w 10000"/>
                    <a:gd name="connsiteY67" fmla="*/ 6624 h 10000"/>
                    <a:gd name="connsiteX68" fmla="*/ 9056 w 10000"/>
                    <a:gd name="connsiteY68" fmla="*/ 6561 h 10000"/>
                    <a:gd name="connsiteX69" fmla="*/ 8889 w 10000"/>
                    <a:gd name="connsiteY69" fmla="*/ 6505 h 10000"/>
                    <a:gd name="connsiteX70" fmla="*/ 8722 w 10000"/>
                    <a:gd name="connsiteY70" fmla="*/ 6407 h 10000"/>
                    <a:gd name="connsiteX71" fmla="*/ 8611 w 10000"/>
                    <a:gd name="connsiteY71" fmla="*/ 6248 h 10000"/>
                    <a:gd name="connsiteX72" fmla="*/ 8444 w 10000"/>
                    <a:gd name="connsiteY72" fmla="*/ 5990 h 10000"/>
                    <a:gd name="connsiteX73" fmla="*/ 8444 w 10000"/>
                    <a:gd name="connsiteY73" fmla="*/ 5990 h 10000"/>
                    <a:gd name="connsiteX74" fmla="*/ 8222 w 10000"/>
                    <a:gd name="connsiteY74" fmla="*/ 5541 h 10000"/>
                    <a:gd name="connsiteX75" fmla="*/ 8111 w 10000"/>
                    <a:gd name="connsiteY75" fmla="*/ 5336 h 10000"/>
                    <a:gd name="connsiteX76" fmla="*/ 7944 w 10000"/>
                    <a:gd name="connsiteY76" fmla="*/ 5179 h 10000"/>
                    <a:gd name="connsiteX77" fmla="*/ 7778 w 10000"/>
                    <a:gd name="connsiteY77" fmla="*/ 5079 h 10000"/>
                    <a:gd name="connsiteX78" fmla="*/ 7556 w 10000"/>
                    <a:gd name="connsiteY78" fmla="*/ 5018 h 10000"/>
                    <a:gd name="connsiteX79" fmla="*/ 7333 w 10000"/>
                    <a:gd name="connsiteY79" fmla="*/ 4972 h 10000"/>
                    <a:gd name="connsiteX80" fmla="*/ 7000 w 10000"/>
                    <a:gd name="connsiteY80" fmla="*/ 4914 h 10000"/>
                    <a:gd name="connsiteX81" fmla="*/ 7000 w 10000"/>
                    <a:gd name="connsiteY81" fmla="*/ 4914 h 10000"/>
                    <a:gd name="connsiteX82" fmla="*/ 6556 w 10000"/>
                    <a:gd name="connsiteY82" fmla="*/ 4972 h 10000"/>
                    <a:gd name="connsiteX83" fmla="*/ 6222 w 10000"/>
                    <a:gd name="connsiteY83" fmla="*/ 4972 h 10000"/>
                    <a:gd name="connsiteX84" fmla="*/ 6111 w 10000"/>
                    <a:gd name="connsiteY84" fmla="*/ 4914 h 10000"/>
                    <a:gd name="connsiteX85" fmla="*/ 6056 w 10000"/>
                    <a:gd name="connsiteY85" fmla="*/ 4865 h 10000"/>
                    <a:gd name="connsiteX86" fmla="*/ 6056 w 10000"/>
                    <a:gd name="connsiteY86" fmla="*/ 4865 h 10000"/>
                    <a:gd name="connsiteX87" fmla="*/ 6056 w 10000"/>
                    <a:gd name="connsiteY87" fmla="*/ 3948 h 10000"/>
                    <a:gd name="connsiteX88" fmla="*/ 6056 w 10000"/>
                    <a:gd name="connsiteY88" fmla="*/ 3948 h 10000"/>
                    <a:gd name="connsiteX89" fmla="*/ 6056 w 10000"/>
                    <a:gd name="connsiteY89" fmla="*/ 3735 h 10000"/>
                    <a:gd name="connsiteX90" fmla="*/ 5944 w 10000"/>
                    <a:gd name="connsiteY90" fmla="*/ 3480 h 10000"/>
                    <a:gd name="connsiteX91" fmla="*/ 5889 w 10000"/>
                    <a:gd name="connsiteY91" fmla="*/ 3423 h 10000"/>
                    <a:gd name="connsiteX92" fmla="*/ 5778 w 10000"/>
                    <a:gd name="connsiteY92" fmla="*/ 3377 h 10000"/>
                    <a:gd name="connsiteX93" fmla="*/ 5667 w 10000"/>
                    <a:gd name="connsiteY93" fmla="*/ 3377 h 10000"/>
                    <a:gd name="connsiteX94" fmla="*/ 5500 w 10000"/>
                    <a:gd name="connsiteY94" fmla="*/ 3423 h 10000"/>
                    <a:gd name="connsiteX95" fmla="*/ 5500 w 10000"/>
                    <a:gd name="connsiteY95" fmla="*/ 3423 h 10000"/>
                    <a:gd name="connsiteX96" fmla="*/ 4889 w 10000"/>
                    <a:gd name="connsiteY96" fmla="*/ 3789 h 10000"/>
                    <a:gd name="connsiteX97" fmla="*/ 4611 w 10000"/>
                    <a:gd name="connsiteY97" fmla="*/ 3894 h 10000"/>
                    <a:gd name="connsiteX98" fmla="*/ 4556 w 10000"/>
                    <a:gd name="connsiteY98" fmla="*/ 3948 h 10000"/>
                    <a:gd name="connsiteX99" fmla="*/ 4500 w 10000"/>
                    <a:gd name="connsiteY99" fmla="*/ 3894 h 10000"/>
                    <a:gd name="connsiteX100" fmla="*/ 4500 w 10000"/>
                    <a:gd name="connsiteY100" fmla="*/ 3894 h 10000"/>
                    <a:gd name="connsiteX101" fmla="*/ 4222 w 10000"/>
                    <a:gd name="connsiteY101" fmla="*/ 3377 h 10000"/>
                    <a:gd name="connsiteX102" fmla="*/ 4222 w 10000"/>
                    <a:gd name="connsiteY102" fmla="*/ 3377 h 10000"/>
                    <a:gd name="connsiteX103" fmla="*/ 4111 w 10000"/>
                    <a:gd name="connsiteY103" fmla="*/ 3121 h 10000"/>
                    <a:gd name="connsiteX104" fmla="*/ 4111 w 10000"/>
                    <a:gd name="connsiteY104" fmla="*/ 2969 h 10000"/>
                    <a:gd name="connsiteX105" fmla="*/ 4111 w 10000"/>
                    <a:gd name="connsiteY105" fmla="*/ 2812 h 10000"/>
                    <a:gd name="connsiteX106" fmla="*/ 4111 w 10000"/>
                    <a:gd name="connsiteY106" fmla="*/ 2812 h 10000"/>
                    <a:gd name="connsiteX107" fmla="*/ 4278 w 10000"/>
                    <a:gd name="connsiteY107" fmla="*/ 2660 h 10000"/>
                    <a:gd name="connsiteX108" fmla="*/ 4389 w 10000"/>
                    <a:gd name="connsiteY108" fmla="*/ 2607 h 10000"/>
                    <a:gd name="connsiteX109" fmla="*/ 4389 w 10000"/>
                    <a:gd name="connsiteY109" fmla="*/ 2607 h 10000"/>
                    <a:gd name="connsiteX110" fmla="*/ 4000 w 10000"/>
                    <a:gd name="connsiteY110" fmla="*/ 2607 h 10000"/>
                    <a:gd name="connsiteX111" fmla="*/ 3722 w 10000"/>
                    <a:gd name="connsiteY111" fmla="*/ 2660 h 10000"/>
                    <a:gd name="connsiteX112" fmla="*/ 3611 w 10000"/>
                    <a:gd name="connsiteY112" fmla="*/ 2715 h 10000"/>
                    <a:gd name="connsiteX113" fmla="*/ 3556 w 10000"/>
                    <a:gd name="connsiteY113" fmla="*/ 2766 h 10000"/>
                    <a:gd name="connsiteX114" fmla="*/ 3556 w 10000"/>
                    <a:gd name="connsiteY114" fmla="*/ 2766 h 10000"/>
                    <a:gd name="connsiteX115" fmla="*/ 3444 w 10000"/>
                    <a:gd name="connsiteY115" fmla="*/ 2969 h 10000"/>
                    <a:gd name="connsiteX116" fmla="*/ 3278 w 10000"/>
                    <a:gd name="connsiteY116" fmla="*/ 3281 h 10000"/>
                    <a:gd name="connsiteX117" fmla="*/ 3000 w 10000"/>
                    <a:gd name="connsiteY117" fmla="*/ 3634 h 10000"/>
                    <a:gd name="connsiteX118" fmla="*/ 2667 w 10000"/>
                    <a:gd name="connsiteY118" fmla="*/ 3894 h 10000"/>
                    <a:gd name="connsiteX119" fmla="*/ 2667 w 10000"/>
                    <a:gd name="connsiteY119" fmla="*/ 3894 h 10000"/>
                    <a:gd name="connsiteX120" fmla="*/ 2333 w 10000"/>
                    <a:gd name="connsiteY120" fmla="*/ 4104 h 10000"/>
                    <a:gd name="connsiteX121" fmla="*/ 1833 w 10000"/>
                    <a:gd name="connsiteY121" fmla="*/ 4310 h 10000"/>
                    <a:gd name="connsiteX122" fmla="*/ 1389 w 10000"/>
                    <a:gd name="connsiteY122" fmla="*/ 4408 h 10000"/>
                    <a:gd name="connsiteX123" fmla="*/ 889 w 10000"/>
                    <a:gd name="connsiteY123" fmla="*/ 4459 h 10000"/>
                    <a:gd name="connsiteX124" fmla="*/ 889 w 10000"/>
                    <a:gd name="connsiteY124" fmla="*/ 4459 h 10000"/>
                    <a:gd name="connsiteX125" fmla="*/ 500 w 10000"/>
                    <a:gd name="connsiteY125" fmla="*/ 4522 h 10000"/>
                    <a:gd name="connsiteX126" fmla="*/ 222 w 10000"/>
                    <a:gd name="connsiteY126" fmla="*/ 4560 h 10000"/>
                    <a:gd name="connsiteX127" fmla="*/ 0 w 10000"/>
                    <a:gd name="connsiteY127" fmla="*/ 4609 h 10000"/>
                    <a:gd name="connsiteX128" fmla="*/ 0 w 10000"/>
                    <a:gd name="connsiteY128" fmla="*/ 4609 h 10000"/>
                    <a:gd name="connsiteX129" fmla="*/ 278 w 10000"/>
                    <a:gd name="connsiteY129" fmla="*/ 5437 h 10000"/>
                    <a:gd name="connsiteX130" fmla="*/ 500 w 10000"/>
                    <a:gd name="connsiteY130" fmla="*/ 6043 h 10000"/>
                    <a:gd name="connsiteX131" fmla="*/ 722 w 10000"/>
                    <a:gd name="connsiteY131" fmla="*/ 6561 h 10000"/>
                    <a:gd name="connsiteX132" fmla="*/ 722 w 10000"/>
                    <a:gd name="connsiteY132" fmla="*/ 6561 h 10000"/>
                    <a:gd name="connsiteX133" fmla="*/ 889 w 10000"/>
                    <a:gd name="connsiteY133" fmla="*/ 6868 h 10000"/>
                    <a:gd name="connsiteX134" fmla="*/ 944 w 10000"/>
                    <a:gd name="connsiteY134" fmla="*/ 7133 h 10000"/>
                    <a:gd name="connsiteX135" fmla="*/ 1111 w 10000"/>
                    <a:gd name="connsiteY135" fmla="*/ 7391 h 10000"/>
                    <a:gd name="connsiteX136" fmla="*/ 1333 w 10000"/>
                    <a:gd name="connsiteY136" fmla="*/ 7788 h 10000"/>
                    <a:gd name="connsiteX137" fmla="*/ 1333 w 10000"/>
                    <a:gd name="connsiteY137" fmla="*/ 7788 h 10000"/>
                    <a:gd name="connsiteX138" fmla="*/ 1444 w 10000"/>
                    <a:gd name="connsiteY138" fmla="*/ 7997 h 10000"/>
                    <a:gd name="connsiteX139" fmla="*/ 1500 w 10000"/>
                    <a:gd name="connsiteY139" fmla="*/ 8151 h 10000"/>
                    <a:gd name="connsiteX140" fmla="*/ 1500 w 10000"/>
                    <a:gd name="connsiteY140" fmla="*/ 8297 h 10000"/>
                    <a:gd name="connsiteX141" fmla="*/ 1556 w 10000"/>
                    <a:gd name="connsiteY141" fmla="*/ 8360 h 10000"/>
                    <a:gd name="connsiteX142" fmla="*/ 1722 w 10000"/>
                    <a:gd name="connsiteY142" fmla="*/ 8407 h 10000"/>
                    <a:gd name="connsiteX143" fmla="*/ 1944 w 10000"/>
                    <a:gd name="connsiteY143" fmla="*/ 8457 h 10000"/>
                    <a:gd name="connsiteX144" fmla="*/ 2944 w 10000"/>
                    <a:gd name="connsiteY144" fmla="*/ 8511 h 10000"/>
                    <a:gd name="connsiteX145" fmla="*/ 2944 w 10000"/>
                    <a:gd name="connsiteY145" fmla="*/ 8511 h 10000"/>
                    <a:gd name="connsiteX146" fmla="*/ 4167 w 10000"/>
                    <a:gd name="connsiteY146" fmla="*/ 8617 h 10000"/>
                    <a:gd name="connsiteX147" fmla="*/ 4889 w 10000"/>
                    <a:gd name="connsiteY147" fmla="*/ 8762 h 10000"/>
                    <a:gd name="connsiteX148" fmla="*/ 5278 w 10000"/>
                    <a:gd name="connsiteY148" fmla="*/ 8926 h 10000"/>
                    <a:gd name="connsiteX149" fmla="*/ 5444 w 10000"/>
                    <a:gd name="connsiteY149" fmla="*/ 8969 h 10000"/>
                    <a:gd name="connsiteX150" fmla="*/ 5444 w 10000"/>
                    <a:gd name="connsiteY150" fmla="*/ 8969 h 10000"/>
                    <a:gd name="connsiteX151" fmla="*/ 5722 w 10000"/>
                    <a:gd name="connsiteY151" fmla="*/ 9084 h 10000"/>
                    <a:gd name="connsiteX152" fmla="*/ 5833 w 10000"/>
                    <a:gd name="connsiteY152" fmla="*/ 9135 h 10000"/>
                    <a:gd name="connsiteX153" fmla="*/ 5833 w 10000"/>
                    <a:gd name="connsiteY153" fmla="*/ 9135 h 10000"/>
                    <a:gd name="connsiteX154" fmla="*/ 5833 w 10000"/>
                    <a:gd name="connsiteY154" fmla="*/ 9084 h 10000"/>
                    <a:gd name="connsiteX155" fmla="*/ 5889 w 10000"/>
                    <a:gd name="connsiteY155" fmla="*/ 9025 h 10000"/>
                    <a:gd name="connsiteX156" fmla="*/ 6000 w 10000"/>
                    <a:gd name="connsiteY156" fmla="*/ 8969 h 10000"/>
                    <a:gd name="connsiteX157" fmla="*/ 6167 w 10000"/>
                    <a:gd name="connsiteY157" fmla="*/ 8926 h 10000"/>
                    <a:gd name="connsiteX158" fmla="*/ 6444 w 10000"/>
                    <a:gd name="connsiteY158" fmla="*/ 8926 h 10000"/>
                    <a:gd name="connsiteX159" fmla="*/ 6833 w 10000"/>
                    <a:gd name="connsiteY159" fmla="*/ 8969 h 10000"/>
                    <a:gd name="connsiteX160" fmla="*/ 7278 w 10000"/>
                    <a:gd name="connsiteY160" fmla="*/ 9135 h 10000"/>
                    <a:gd name="connsiteX161" fmla="*/ 7278 w 10000"/>
                    <a:gd name="connsiteY161" fmla="*/ 9135 h 10000"/>
                    <a:gd name="connsiteX162" fmla="*/ 8722 w 10000"/>
                    <a:gd name="connsiteY162" fmla="*/ 9582 h 10000"/>
                    <a:gd name="connsiteX163" fmla="*/ 10000 w 10000"/>
                    <a:gd name="connsiteY163" fmla="*/ 10000 h 10000"/>
                    <a:gd name="connsiteX0" fmla="*/ 10000 w 10000"/>
                    <a:gd name="connsiteY0" fmla="*/ 5593 h 9088"/>
                    <a:gd name="connsiteX1" fmla="*/ 10000 w 10000"/>
                    <a:gd name="connsiteY1" fmla="*/ 5593 h 9088"/>
                    <a:gd name="connsiteX2" fmla="*/ 9222 w 10000"/>
                    <a:gd name="connsiteY2" fmla="*/ 5649 h 9088"/>
                    <a:gd name="connsiteX3" fmla="*/ 8944 w 10000"/>
                    <a:gd name="connsiteY3" fmla="*/ 5649 h 9088"/>
                    <a:gd name="connsiteX4" fmla="*/ 8833 w 10000"/>
                    <a:gd name="connsiteY4" fmla="*/ 5593 h 9088"/>
                    <a:gd name="connsiteX5" fmla="*/ 8778 w 10000"/>
                    <a:gd name="connsiteY5" fmla="*/ 5544 h 9088"/>
                    <a:gd name="connsiteX6" fmla="*/ 8778 w 10000"/>
                    <a:gd name="connsiteY6" fmla="*/ 5544 h 9088"/>
                    <a:gd name="connsiteX7" fmla="*/ 8444 w 10000"/>
                    <a:gd name="connsiteY7" fmla="*/ 4928 h 9088"/>
                    <a:gd name="connsiteX8" fmla="*/ 8167 w 10000"/>
                    <a:gd name="connsiteY8" fmla="*/ 4362 h 9088"/>
                    <a:gd name="connsiteX9" fmla="*/ 8167 w 10000"/>
                    <a:gd name="connsiteY9" fmla="*/ 4362 h 9088"/>
                    <a:gd name="connsiteX10" fmla="*/ 8056 w 10000"/>
                    <a:gd name="connsiteY10" fmla="*/ 4267 h 9088"/>
                    <a:gd name="connsiteX11" fmla="*/ 7889 w 10000"/>
                    <a:gd name="connsiteY11" fmla="*/ 4167 h 9088"/>
                    <a:gd name="connsiteX12" fmla="*/ 7444 w 10000"/>
                    <a:gd name="connsiteY12" fmla="*/ 4106 h 9088"/>
                    <a:gd name="connsiteX13" fmla="*/ 6889 w 10000"/>
                    <a:gd name="connsiteY13" fmla="*/ 4060 h 9088"/>
                    <a:gd name="connsiteX14" fmla="*/ 6389 w 10000"/>
                    <a:gd name="connsiteY14" fmla="*/ 4060 h 9088"/>
                    <a:gd name="connsiteX15" fmla="*/ 6389 w 10000"/>
                    <a:gd name="connsiteY15" fmla="*/ 4060 h 9088"/>
                    <a:gd name="connsiteX16" fmla="*/ 6167 w 10000"/>
                    <a:gd name="connsiteY16" fmla="*/ 4002 h 9088"/>
                    <a:gd name="connsiteX17" fmla="*/ 6056 w 10000"/>
                    <a:gd name="connsiteY17" fmla="*/ 3909 h 9088"/>
                    <a:gd name="connsiteX18" fmla="*/ 6000 w 10000"/>
                    <a:gd name="connsiteY18" fmla="*/ 3800 h 9088"/>
                    <a:gd name="connsiteX19" fmla="*/ 6000 w 10000"/>
                    <a:gd name="connsiteY19" fmla="*/ 3610 h 9088"/>
                    <a:gd name="connsiteX20" fmla="*/ 6056 w 10000"/>
                    <a:gd name="connsiteY20" fmla="*/ 3192 h 9088"/>
                    <a:gd name="connsiteX21" fmla="*/ 6111 w 10000"/>
                    <a:gd name="connsiteY21" fmla="*/ 2982 h 9088"/>
                    <a:gd name="connsiteX22" fmla="*/ 6056 w 10000"/>
                    <a:gd name="connsiteY22" fmla="*/ 2722 h 9088"/>
                    <a:gd name="connsiteX23" fmla="*/ 6056 w 10000"/>
                    <a:gd name="connsiteY23" fmla="*/ 2722 h 9088"/>
                    <a:gd name="connsiteX24" fmla="*/ 6000 w 10000"/>
                    <a:gd name="connsiteY24" fmla="*/ 2568 h 9088"/>
                    <a:gd name="connsiteX25" fmla="*/ 5944 w 10000"/>
                    <a:gd name="connsiteY25" fmla="*/ 2465 h 9088"/>
                    <a:gd name="connsiteX26" fmla="*/ 5833 w 10000"/>
                    <a:gd name="connsiteY26" fmla="*/ 2465 h 9088"/>
                    <a:gd name="connsiteX27" fmla="*/ 5667 w 10000"/>
                    <a:gd name="connsiteY27" fmla="*/ 2511 h 9088"/>
                    <a:gd name="connsiteX28" fmla="*/ 5333 w 10000"/>
                    <a:gd name="connsiteY28" fmla="*/ 2673 h 9088"/>
                    <a:gd name="connsiteX29" fmla="*/ 4889 w 10000"/>
                    <a:gd name="connsiteY29" fmla="*/ 2931 h 9088"/>
                    <a:gd name="connsiteX30" fmla="*/ 4889 w 10000"/>
                    <a:gd name="connsiteY30" fmla="*/ 2931 h 9088"/>
                    <a:gd name="connsiteX31" fmla="*/ 4611 w 10000"/>
                    <a:gd name="connsiteY31" fmla="*/ 2982 h 9088"/>
                    <a:gd name="connsiteX32" fmla="*/ 4500 w 10000"/>
                    <a:gd name="connsiteY32" fmla="*/ 2982 h 9088"/>
                    <a:gd name="connsiteX33" fmla="*/ 4444 w 10000"/>
                    <a:gd name="connsiteY33" fmla="*/ 2931 h 9088"/>
                    <a:gd name="connsiteX34" fmla="*/ 4389 w 10000"/>
                    <a:gd name="connsiteY34" fmla="*/ 2722 h 9088"/>
                    <a:gd name="connsiteX35" fmla="*/ 4222 w 10000"/>
                    <a:gd name="connsiteY35" fmla="*/ 2465 h 9088"/>
                    <a:gd name="connsiteX36" fmla="*/ 4222 w 10000"/>
                    <a:gd name="connsiteY36" fmla="*/ 2465 h 9088"/>
                    <a:gd name="connsiteX37" fmla="*/ 4111 w 10000"/>
                    <a:gd name="connsiteY37" fmla="*/ 2309 h 9088"/>
                    <a:gd name="connsiteX38" fmla="*/ 4111 w 10000"/>
                    <a:gd name="connsiteY38" fmla="*/ 2161 h 9088"/>
                    <a:gd name="connsiteX39" fmla="*/ 4111 w 10000"/>
                    <a:gd name="connsiteY39" fmla="*/ 2057 h 9088"/>
                    <a:gd name="connsiteX40" fmla="*/ 4167 w 10000"/>
                    <a:gd name="connsiteY40" fmla="*/ 1952 h 9088"/>
                    <a:gd name="connsiteX41" fmla="*/ 4278 w 10000"/>
                    <a:gd name="connsiteY41" fmla="*/ 1748 h 9088"/>
                    <a:gd name="connsiteX42" fmla="*/ 4389 w 10000"/>
                    <a:gd name="connsiteY42" fmla="*/ 1695 h 9088"/>
                    <a:gd name="connsiteX43" fmla="*/ 4389 w 10000"/>
                    <a:gd name="connsiteY43" fmla="*/ 1695 h 9088"/>
                    <a:gd name="connsiteX44" fmla="*/ 4389 w 10000"/>
                    <a:gd name="connsiteY44" fmla="*/ 1642 h 9088"/>
                    <a:gd name="connsiteX45" fmla="*/ 4444 w 10000"/>
                    <a:gd name="connsiteY45" fmla="*/ 1602 h 9088"/>
                    <a:gd name="connsiteX46" fmla="*/ 4667 w 10000"/>
                    <a:gd name="connsiteY46" fmla="*/ 1544 h 9088"/>
                    <a:gd name="connsiteX47" fmla="*/ 5333 w 10000"/>
                    <a:gd name="connsiteY47" fmla="*/ 1446 h 9088"/>
                    <a:gd name="connsiteX48" fmla="*/ 6500 w 10000"/>
                    <a:gd name="connsiteY48" fmla="*/ 1284 h 9088"/>
                    <a:gd name="connsiteX49" fmla="*/ 6500 w 10000"/>
                    <a:gd name="connsiteY49" fmla="*/ 1284 h 9088"/>
                    <a:gd name="connsiteX50" fmla="*/ 7167 w 10000"/>
                    <a:gd name="connsiteY50" fmla="*/ 1137 h 9088"/>
                    <a:gd name="connsiteX51" fmla="*/ 8389 w 10000"/>
                    <a:gd name="connsiteY51" fmla="*/ 830 h 9088"/>
                    <a:gd name="connsiteX52" fmla="*/ 8389 w 10000"/>
                    <a:gd name="connsiteY52" fmla="*/ 830 h 9088"/>
                    <a:gd name="connsiteX53" fmla="*/ 8667 w 10000"/>
                    <a:gd name="connsiteY53" fmla="*/ 718 h 9088"/>
                    <a:gd name="connsiteX54" fmla="*/ 8778 w 10000"/>
                    <a:gd name="connsiteY54" fmla="*/ 560 h 9088"/>
                    <a:gd name="connsiteX55" fmla="*/ 8889 w 10000"/>
                    <a:gd name="connsiteY55" fmla="*/ 465 h 9088"/>
                    <a:gd name="connsiteX56" fmla="*/ 8833 w 10000"/>
                    <a:gd name="connsiteY56" fmla="*/ 363 h 9088"/>
                    <a:gd name="connsiteX57" fmla="*/ 8833 w 10000"/>
                    <a:gd name="connsiteY57" fmla="*/ 268 h 9088"/>
                    <a:gd name="connsiteX58" fmla="*/ 8722 w 10000"/>
                    <a:gd name="connsiteY58" fmla="*/ 155 h 9088"/>
                    <a:gd name="connsiteX59" fmla="*/ 8556 w 10000"/>
                    <a:gd name="connsiteY59" fmla="*/ 0 h 9088"/>
                    <a:gd name="connsiteX60" fmla="*/ 8556 w 10000"/>
                    <a:gd name="connsiteY60" fmla="*/ 0 h 9088"/>
                    <a:gd name="connsiteX61" fmla="*/ 10000 w 10000"/>
                    <a:gd name="connsiteY61" fmla="*/ 5649 h 9088"/>
                    <a:gd name="connsiteX62" fmla="*/ 10000 w 10000"/>
                    <a:gd name="connsiteY62" fmla="*/ 5649 h 9088"/>
                    <a:gd name="connsiteX63" fmla="*/ 9722 w 10000"/>
                    <a:gd name="connsiteY63" fmla="*/ 5593 h 9088"/>
                    <a:gd name="connsiteX64" fmla="*/ 9389 w 10000"/>
                    <a:gd name="connsiteY64" fmla="*/ 5649 h 9088"/>
                    <a:gd name="connsiteX65" fmla="*/ 9389 w 10000"/>
                    <a:gd name="connsiteY65" fmla="*/ 5649 h 9088"/>
                    <a:gd name="connsiteX66" fmla="*/ 9278 w 10000"/>
                    <a:gd name="connsiteY66" fmla="*/ 5712 h 9088"/>
                    <a:gd name="connsiteX67" fmla="*/ 9056 w 10000"/>
                    <a:gd name="connsiteY67" fmla="*/ 5649 h 9088"/>
                    <a:gd name="connsiteX68" fmla="*/ 8889 w 10000"/>
                    <a:gd name="connsiteY68" fmla="*/ 5593 h 9088"/>
                    <a:gd name="connsiteX69" fmla="*/ 8722 w 10000"/>
                    <a:gd name="connsiteY69" fmla="*/ 5495 h 9088"/>
                    <a:gd name="connsiteX70" fmla="*/ 8611 w 10000"/>
                    <a:gd name="connsiteY70" fmla="*/ 5336 h 9088"/>
                    <a:gd name="connsiteX71" fmla="*/ 8444 w 10000"/>
                    <a:gd name="connsiteY71" fmla="*/ 5078 h 9088"/>
                    <a:gd name="connsiteX72" fmla="*/ 8444 w 10000"/>
                    <a:gd name="connsiteY72" fmla="*/ 5078 h 9088"/>
                    <a:gd name="connsiteX73" fmla="*/ 8222 w 10000"/>
                    <a:gd name="connsiteY73" fmla="*/ 4629 h 9088"/>
                    <a:gd name="connsiteX74" fmla="*/ 8111 w 10000"/>
                    <a:gd name="connsiteY74" fmla="*/ 4424 h 9088"/>
                    <a:gd name="connsiteX75" fmla="*/ 7944 w 10000"/>
                    <a:gd name="connsiteY75" fmla="*/ 4267 h 9088"/>
                    <a:gd name="connsiteX76" fmla="*/ 7778 w 10000"/>
                    <a:gd name="connsiteY76" fmla="*/ 4167 h 9088"/>
                    <a:gd name="connsiteX77" fmla="*/ 7556 w 10000"/>
                    <a:gd name="connsiteY77" fmla="*/ 4106 h 9088"/>
                    <a:gd name="connsiteX78" fmla="*/ 7333 w 10000"/>
                    <a:gd name="connsiteY78" fmla="*/ 4060 h 9088"/>
                    <a:gd name="connsiteX79" fmla="*/ 7000 w 10000"/>
                    <a:gd name="connsiteY79" fmla="*/ 4002 h 9088"/>
                    <a:gd name="connsiteX80" fmla="*/ 7000 w 10000"/>
                    <a:gd name="connsiteY80" fmla="*/ 4002 h 9088"/>
                    <a:gd name="connsiteX81" fmla="*/ 6556 w 10000"/>
                    <a:gd name="connsiteY81" fmla="*/ 4060 h 9088"/>
                    <a:gd name="connsiteX82" fmla="*/ 6222 w 10000"/>
                    <a:gd name="connsiteY82" fmla="*/ 4060 h 9088"/>
                    <a:gd name="connsiteX83" fmla="*/ 6111 w 10000"/>
                    <a:gd name="connsiteY83" fmla="*/ 4002 h 9088"/>
                    <a:gd name="connsiteX84" fmla="*/ 6056 w 10000"/>
                    <a:gd name="connsiteY84" fmla="*/ 3953 h 9088"/>
                    <a:gd name="connsiteX85" fmla="*/ 6056 w 10000"/>
                    <a:gd name="connsiteY85" fmla="*/ 3953 h 9088"/>
                    <a:gd name="connsiteX86" fmla="*/ 6056 w 10000"/>
                    <a:gd name="connsiteY86" fmla="*/ 3036 h 9088"/>
                    <a:gd name="connsiteX87" fmla="*/ 6056 w 10000"/>
                    <a:gd name="connsiteY87" fmla="*/ 3036 h 9088"/>
                    <a:gd name="connsiteX88" fmla="*/ 6056 w 10000"/>
                    <a:gd name="connsiteY88" fmla="*/ 2823 h 9088"/>
                    <a:gd name="connsiteX89" fmla="*/ 5944 w 10000"/>
                    <a:gd name="connsiteY89" fmla="*/ 2568 h 9088"/>
                    <a:gd name="connsiteX90" fmla="*/ 5889 w 10000"/>
                    <a:gd name="connsiteY90" fmla="*/ 2511 h 9088"/>
                    <a:gd name="connsiteX91" fmla="*/ 5778 w 10000"/>
                    <a:gd name="connsiteY91" fmla="*/ 2465 h 9088"/>
                    <a:gd name="connsiteX92" fmla="*/ 5667 w 10000"/>
                    <a:gd name="connsiteY92" fmla="*/ 2465 h 9088"/>
                    <a:gd name="connsiteX93" fmla="*/ 5500 w 10000"/>
                    <a:gd name="connsiteY93" fmla="*/ 2511 h 9088"/>
                    <a:gd name="connsiteX94" fmla="*/ 5500 w 10000"/>
                    <a:gd name="connsiteY94" fmla="*/ 2511 h 9088"/>
                    <a:gd name="connsiteX95" fmla="*/ 4889 w 10000"/>
                    <a:gd name="connsiteY95" fmla="*/ 2877 h 9088"/>
                    <a:gd name="connsiteX96" fmla="*/ 4611 w 10000"/>
                    <a:gd name="connsiteY96" fmla="*/ 2982 h 9088"/>
                    <a:gd name="connsiteX97" fmla="*/ 4556 w 10000"/>
                    <a:gd name="connsiteY97" fmla="*/ 3036 h 9088"/>
                    <a:gd name="connsiteX98" fmla="*/ 4500 w 10000"/>
                    <a:gd name="connsiteY98" fmla="*/ 2982 h 9088"/>
                    <a:gd name="connsiteX99" fmla="*/ 4500 w 10000"/>
                    <a:gd name="connsiteY99" fmla="*/ 2982 h 9088"/>
                    <a:gd name="connsiteX100" fmla="*/ 4222 w 10000"/>
                    <a:gd name="connsiteY100" fmla="*/ 2465 h 9088"/>
                    <a:gd name="connsiteX101" fmla="*/ 4222 w 10000"/>
                    <a:gd name="connsiteY101" fmla="*/ 2465 h 9088"/>
                    <a:gd name="connsiteX102" fmla="*/ 4111 w 10000"/>
                    <a:gd name="connsiteY102" fmla="*/ 2209 h 9088"/>
                    <a:gd name="connsiteX103" fmla="*/ 4111 w 10000"/>
                    <a:gd name="connsiteY103" fmla="*/ 2057 h 9088"/>
                    <a:gd name="connsiteX104" fmla="*/ 4111 w 10000"/>
                    <a:gd name="connsiteY104" fmla="*/ 1900 h 9088"/>
                    <a:gd name="connsiteX105" fmla="*/ 4111 w 10000"/>
                    <a:gd name="connsiteY105" fmla="*/ 1900 h 9088"/>
                    <a:gd name="connsiteX106" fmla="*/ 4278 w 10000"/>
                    <a:gd name="connsiteY106" fmla="*/ 1748 h 9088"/>
                    <a:gd name="connsiteX107" fmla="*/ 4389 w 10000"/>
                    <a:gd name="connsiteY107" fmla="*/ 1695 h 9088"/>
                    <a:gd name="connsiteX108" fmla="*/ 4389 w 10000"/>
                    <a:gd name="connsiteY108" fmla="*/ 1695 h 9088"/>
                    <a:gd name="connsiteX109" fmla="*/ 4000 w 10000"/>
                    <a:gd name="connsiteY109" fmla="*/ 1695 h 9088"/>
                    <a:gd name="connsiteX110" fmla="*/ 3722 w 10000"/>
                    <a:gd name="connsiteY110" fmla="*/ 1748 h 9088"/>
                    <a:gd name="connsiteX111" fmla="*/ 3611 w 10000"/>
                    <a:gd name="connsiteY111" fmla="*/ 1803 h 9088"/>
                    <a:gd name="connsiteX112" fmla="*/ 3556 w 10000"/>
                    <a:gd name="connsiteY112" fmla="*/ 1854 h 9088"/>
                    <a:gd name="connsiteX113" fmla="*/ 3556 w 10000"/>
                    <a:gd name="connsiteY113" fmla="*/ 1854 h 9088"/>
                    <a:gd name="connsiteX114" fmla="*/ 3444 w 10000"/>
                    <a:gd name="connsiteY114" fmla="*/ 2057 h 9088"/>
                    <a:gd name="connsiteX115" fmla="*/ 3278 w 10000"/>
                    <a:gd name="connsiteY115" fmla="*/ 2369 h 9088"/>
                    <a:gd name="connsiteX116" fmla="*/ 3000 w 10000"/>
                    <a:gd name="connsiteY116" fmla="*/ 2722 h 9088"/>
                    <a:gd name="connsiteX117" fmla="*/ 2667 w 10000"/>
                    <a:gd name="connsiteY117" fmla="*/ 2982 h 9088"/>
                    <a:gd name="connsiteX118" fmla="*/ 2667 w 10000"/>
                    <a:gd name="connsiteY118" fmla="*/ 2982 h 9088"/>
                    <a:gd name="connsiteX119" fmla="*/ 2333 w 10000"/>
                    <a:gd name="connsiteY119" fmla="*/ 3192 h 9088"/>
                    <a:gd name="connsiteX120" fmla="*/ 1833 w 10000"/>
                    <a:gd name="connsiteY120" fmla="*/ 3398 h 9088"/>
                    <a:gd name="connsiteX121" fmla="*/ 1389 w 10000"/>
                    <a:gd name="connsiteY121" fmla="*/ 3496 h 9088"/>
                    <a:gd name="connsiteX122" fmla="*/ 889 w 10000"/>
                    <a:gd name="connsiteY122" fmla="*/ 3547 h 9088"/>
                    <a:gd name="connsiteX123" fmla="*/ 889 w 10000"/>
                    <a:gd name="connsiteY123" fmla="*/ 3547 h 9088"/>
                    <a:gd name="connsiteX124" fmla="*/ 500 w 10000"/>
                    <a:gd name="connsiteY124" fmla="*/ 3610 h 9088"/>
                    <a:gd name="connsiteX125" fmla="*/ 222 w 10000"/>
                    <a:gd name="connsiteY125" fmla="*/ 3648 h 9088"/>
                    <a:gd name="connsiteX126" fmla="*/ 0 w 10000"/>
                    <a:gd name="connsiteY126" fmla="*/ 3697 h 9088"/>
                    <a:gd name="connsiteX127" fmla="*/ 0 w 10000"/>
                    <a:gd name="connsiteY127" fmla="*/ 3697 h 9088"/>
                    <a:gd name="connsiteX128" fmla="*/ 278 w 10000"/>
                    <a:gd name="connsiteY128" fmla="*/ 4525 h 9088"/>
                    <a:gd name="connsiteX129" fmla="*/ 500 w 10000"/>
                    <a:gd name="connsiteY129" fmla="*/ 5131 h 9088"/>
                    <a:gd name="connsiteX130" fmla="*/ 722 w 10000"/>
                    <a:gd name="connsiteY130" fmla="*/ 5649 h 9088"/>
                    <a:gd name="connsiteX131" fmla="*/ 722 w 10000"/>
                    <a:gd name="connsiteY131" fmla="*/ 5649 h 9088"/>
                    <a:gd name="connsiteX132" fmla="*/ 889 w 10000"/>
                    <a:gd name="connsiteY132" fmla="*/ 5956 h 9088"/>
                    <a:gd name="connsiteX133" fmla="*/ 944 w 10000"/>
                    <a:gd name="connsiteY133" fmla="*/ 6221 h 9088"/>
                    <a:gd name="connsiteX134" fmla="*/ 1111 w 10000"/>
                    <a:gd name="connsiteY134" fmla="*/ 6479 h 9088"/>
                    <a:gd name="connsiteX135" fmla="*/ 1333 w 10000"/>
                    <a:gd name="connsiteY135" fmla="*/ 6876 h 9088"/>
                    <a:gd name="connsiteX136" fmla="*/ 1333 w 10000"/>
                    <a:gd name="connsiteY136" fmla="*/ 6876 h 9088"/>
                    <a:gd name="connsiteX137" fmla="*/ 1444 w 10000"/>
                    <a:gd name="connsiteY137" fmla="*/ 7085 h 9088"/>
                    <a:gd name="connsiteX138" fmla="*/ 1500 w 10000"/>
                    <a:gd name="connsiteY138" fmla="*/ 7239 h 9088"/>
                    <a:gd name="connsiteX139" fmla="*/ 1500 w 10000"/>
                    <a:gd name="connsiteY139" fmla="*/ 7385 h 9088"/>
                    <a:gd name="connsiteX140" fmla="*/ 1556 w 10000"/>
                    <a:gd name="connsiteY140" fmla="*/ 7448 h 9088"/>
                    <a:gd name="connsiteX141" fmla="*/ 1722 w 10000"/>
                    <a:gd name="connsiteY141" fmla="*/ 7495 h 9088"/>
                    <a:gd name="connsiteX142" fmla="*/ 1944 w 10000"/>
                    <a:gd name="connsiteY142" fmla="*/ 7545 h 9088"/>
                    <a:gd name="connsiteX143" fmla="*/ 2944 w 10000"/>
                    <a:gd name="connsiteY143" fmla="*/ 7599 h 9088"/>
                    <a:gd name="connsiteX144" fmla="*/ 2944 w 10000"/>
                    <a:gd name="connsiteY144" fmla="*/ 7599 h 9088"/>
                    <a:gd name="connsiteX145" fmla="*/ 4167 w 10000"/>
                    <a:gd name="connsiteY145" fmla="*/ 7705 h 9088"/>
                    <a:gd name="connsiteX146" fmla="*/ 4889 w 10000"/>
                    <a:gd name="connsiteY146" fmla="*/ 7850 h 9088"/>
                    <a:gd name="connsiteX147" fmla="*/ 5278 w 10000"/>
                    <a:gd name="connsiteY147" fmla="*/ 8014 h 9088"/>
                    <a:gd name="connsiteX148" fmla="*/ 5444 w 10000"/>
                    <a:gd name="connsiteY148" fmla="*/ 8057 h 9088"/>
                    <a:gd name="connsiteX149" fmla="*/ 5444 w 10000"/>
                    <a:gd name="connsiteY149" fmla="*/ 8057 h 9088"/>
                    <a:gd name="connsiteX150" fmla="*/ 5722 w 10000"/>
                    <a:gd name="connsiteY150" fmla="*/ 8172 h 9088"/>
                    <a:gd name="connsiteX151" fmla="*/ 5833 w 10000"/>
                    <a:gd name="connsiteY151" fmla="*/ 8223 h 9088"/>
                    <a:gd name="connsiteX152" fmla="*/ 5833 w 10000"/>
                    <a:gd name="connsiteY152" fmla="*/ 8223 h 9088"/>
                    <a:gd name="connsiteX153" fmla="*/ 5833 w 10000"/>
                    <a:gd name="connsiteY153" fmla="*/ 8172 h 9088"/>
                    <a:gd name="connsiteX154" fmla="*/ 5889 w 10000"/>
                    <a:gd name="connsiteY154" fmla="*/ 8113 h 9088"/>
                    <a:gd name="connsiteX155" fmla="*/ 6000 w 10000"/>
                    <a:gd name="connsiteY155" fmla="*/ 8057 h 9088"/>
                    <a:gd name="connsiteX156" fmla="*/ 6167 w 10000"/>
                    <a:gd name="connsiteY156" fmla="*/ 8014 h 9088"/>
                    <a:gd name="connsiteX157" fmla="*/ 6444 w 10000"/>
                    <a:gd name="connsiteY157" fmla="*/ 8014 h 9088"/>
                    <a:gd name="connsiteX158" fmla="*/ 6833 w 10000"/>
                    <a:gd name="connsiteY158" fmla="*/ 8057 h 9088"/>
                    <a:gd name="connsiteX159" fmla="*/ 7278 w 10000"/>
                    <a:gd name="connsiteY159" fmla="*/ 8223 h 9088"/>
                    <a:gd name="connsiteX160" fmla="*/ 7278 w 10000"/>
                    <a:gd name="connsiteY160" fmla="*/ 8223 h 9088"/>
                    <a:gd name="connsiteX161" fmla="*/ 8722 w 10000"/>
                    <a:gd name="connsiteY161" fmla="*/ 8670 h 9088"/>
                    <a:gd name="connsiteX162" fmla="*/ 10000 w 10000"/>
                    <a:gd name="connsiteY162" fmla="*/ 9088 h 9088"/>
                    <a:gd name="connsiteX0" fmla="*/ 10000 w 10000"/>
                    <a:gd name="connsiteY0" fmla="*/ 6154 h 10000"/>
                    <a:gd name="connsiteX1" fmla="*/ 10000 w 10000"/>
                    <a:gd name="connsiteY1" fmla="*/ 6154 h 10000"/>
                    <a:gd name="connsiteX2" fmla="*/ 9222 w 10000"/>
                    <a:gd name="connsiteY2" fmla="*/ 6216 h 10000"/>
                    <a:gd name="connsiteX3" fmla="*/ 8944 w 10000"/>
                    <a:gd name="connsiteY3" fmla="*/ 6216 h 10000"/>
                    <a:gd name="connsiteX4" fmla="*/ 8833 w 10000"/>
                    <a:gd name="connsiteY4" fmla="*/ 6154 h 10000"/>
                    <a:gd name="connsiteX5" fmla="*/ 8778 w 10000"/>
                    <a:gd name="connsiteY5" fmla="*/ 6100 h 10000"/>
                    <a:gd name="connsiteX6" fmla="*/ 8778 w 10000"/>
                    <a:gd name="connsiteY6" fmla="*/ 6100 h 10000"/>
                    <a:gd name="connsiteX7" fmla="*/ 8444 w 10000"/>
                    <a:gd name="connsiteY7" fmla="*/ 5423 h 10000"/>
                    <a:gd name="connsiteX8" fmla="*/ 8167 w 10000"/>
                    <a:gd name="connsiteY8" fmla="*/ 4800 h 10000"/>
                    <a:gd name="connsiteX9" fmla="*/ 8167 w 10000"/>
                    <a:gd name="connsiteY9" fmla="*/ 4800 h 10000"/>
                    <a:gd name="connsiteX10" fmla="*/ 8056 w 10000"/>
                    <a:gd name="connsiteY10" fmla="*/ 4695 h 10000"/>
                    <a:gd name="connsiteX11" fmla="*/ 7889 w 10000"/>
                    <a:gd name="connsiteY11" fmla="*/ 4585 h 10000"/>
                    <a:gd name="connsiteX12" fmla="*/ 7444 w 10000"/>
                    <a:gd name="connsiteY12" fmla="*/ 4518 h 10000"/>
                    <a:gd name="connsiteX13" fmla="*/ 6889 w 10000"/>
                    <a:gd name="connsiteY13" fmla="*/ 4467 h 10000"/>
                    <a:gd name="connsiteX14" fmla="*/ 6389 w 10000"/>
                    <a:gd name="connsiteY14" fmla="*/ 4467 h 10000"/>
                    <a:gd name="connsiteX15" fmla="*/ 6389 w 10000"/>
                    <a:gd name="connsiteY15" fmla="*/ 4467 h 10000"/>
                    <a:gd name="connsiteX16" fmla="*/ 6167 w 10000"/>
                    <a:gd name="connsiteY16" fmla="*/ 4404 h 10000"/>
                    <a:gd name="connsiteX17" fmla="*/ 6056 w 10000"/>
                    <a:gd name="connsiteY17" fmla="*/ 4301 h 10000"/>
                    <a:gd name="connsiteX18" fmla="*/ 6000 w 10000"/>
                    <a:gd name="connsiteY18" fmla="*/ 4181 h 10000"/>
                    <a:gd name="connsiteX19" fmla="*/ 6000 w 10000"/>
                    <a:gd name="connsiteY19" fmla="*/ 3972 h 10000"/>
                    <a:gd name="connsiteX20" fmla="*/ 6056 w 10000"/>
                    <a:gd name="connsiteY20" fmla="*/ 3512 h 10000"/>
                    <a:gd name="connsiteX21" fmla="*/ 6111 w 10000"/>
                    <a:gd name="connsiteY21" fmla="*/ 3281 h 10000"/>
                    <a:gd name="connsiteX22" fmla="*/ 6056 w 10000"/>
                    <a:gd name="connsiteY22" fmla="*/ 2995 h 10000"/>
                    <a:gd name="connsiteX23" fmla="*/ 6056 w 10000"/>
                    <a:gd name="connsiteY23" fmla="*/ 2995 h 10000"/>
                    <a:gd name="connsiteX24" fmla="*/ 6000 w 10000"/>
                    <a:gd name="connsiteY24" fmla="*/ 2826 h 10000"/>
                    <a:gd name="connsiteX25" fmla="*/ 5944 w 10000"/>
                    <a:gd name="connsiteY25" fmla="*/ 2712 h 10000"/>
                    <a:gd name="connsiteX26" fmla="*/ 5833 w 10000"/>
                    <a:gd name="connsiteY26" fmla="*/ 2712 h 10000"/>
                    <a:gd name="connsiteX27" fmla="*/ 5667 w 10000"/>
                    <a:gd name="connsiteY27" fmla="*/ 2763 h 10000"/>
                    <a:gd name="connsiteX28" fmla="*/ 5333 w 10000"/>
                    <a:gd name="connsiteY28" fmla="*/ 2941 h 10000"/>
                    <a:gd name="connsiteX29" fmla="*/ 4889 w 10000"/>
                    <a:gd name="connsiteY29" fmla="*/ 3225 h 10000"/>
                    <a:gd name="connsiteX30" fmla="*/ 4889 w 10000"/>
                    <a:gd name="connsiteY30" fmla="*/ 3225 h 10000"/>
                    <a:gd name="connsiteX31" fmla="*/ 4611 w 10000"/>
                    <a:gd name="connsiteY31" fmla="*/ 3281 h 10000"/>
                    <a:gd name="connsiteX32" fmla="*/ 4500 w 10000"/>
                    <a:gd name="connsiteY32" fmla="*/ 3281 h 10000"/>
                    <a:gd name="connsiteX33" fmla="*/ 4444 w 10000"/>
                    <a:gd name="connsiteY33" fmla="*/ 3225 h 10000"/>
                    <a:gd name="connsiteX34" fmla="*/ 4389 w 10000"/>
                    <a:gd name="connsiteY34" fmla="*/ 2995 h 10000"/>
                    <a:gd name="connsiteX35" fmla="*/ 4222 w 10000"/>
                    <a:gd name="connsiteY35" fmla="*/ 2712 h 10000"/>
                    <a:gd name="connsiteX36" fmla="*/ 4222 w 10000"/>
                    <a:gd name="connsiteY36" fmla="*/ 2712 h 10000"/>
                    <a:gd name="connsiteX37" fmla="*/ 4111 w 10000"/>
                    <a:gd name="connsiteY37" fmla="*/ 2541 h 10000"/>
                    <a:gd name="connsiteX38" fmla="*/ 4111 w 10000"/>
                    <a:gd name="connsiteY38" fmla="*/ 2378 h 10000"/>
                    <a:gd name="connsiteX39" fmla="*/ 4111 w 10000"/>
                    <a:gd name="connsiteY39" fmla="*/ 2263 h 10000"/>
                    <a:gd name="connsiteX40" fmla="*/ 4167 w 10000"/>
                    <a:gd name="connsiteY40" fmla="*/ 2148 h 10000"/>
                    <a:gd name="connsiteX41" fmla="*/ 4278 w 10000"/>
                    <a:gd name="connsiteY41" fmla="*/ 1923 h 10000"/>
                    <a:gd name="connsiteX42" fmla="*/ 4389 w 10000"/>
                    <a:gd name="connsiteY42" fmla="*/ 1865 h 10000"/>
                    <a:gd name="connsiteX43" fmla="*/ 4389 w 10000"/>
                    <a:gd name="connsiteY43" fmla="*/ 1865 h 10000"/>
                    <a:gd name="connsiteX44" fmla="*/ 4389 w 10000"/>
                    <a:gd name="connsiteY44" fmla="*/ 1807 h 10000"/>
                    <a:gd name="connsiteX45" fmla="*/ 4444 w 10000"/>
                    <a:gd name="connsiteY45" fmla="*/ 1763 h 10000"/>
                    <a:gd name="connsiteX46" fmla="*/ 4667 w 10000"/>
                    <a:gd name="connsiteY46" fmla="*/ 1699 h 10000"/>
                    <a:gd name="connsiteX47" fmla="*/ 5333 w 10000"/>
                    <a:gd name="connsiteY47" fmla="*/ 1591 h 10000"/>
                    <a:gd name="connsiteX48" fmla="*/ 6500 w 10000"/>
                    <a:gd name="connsiteY48" fmla="*/ 1413 h 10000"/>
                    <a:gd name="connsiteX49" fmla="*/ 6500 w 10000"/>
                    <a:gd name="connsiteY49" fmla="*/ 1413 h 10000"/>
                    <a:gd name="connsiteX50" fmla="*/ 7167 w 10000"/>
                    <a:gd name="connsiteY50" fmla="*/ 1251 h 10000"/>
                    <a:gd name="connsiteX51" fmla="*/ 8389 w 10000"/>
                    <a:gd name="connsiteY51" fmla="*/ 913 h 10000"/>
                    <a:gd name="connsiteX52" fmla="*/ 8389 w 10000"/>
                    <a:gd name="connsiteY52" fmla="*/ 913 h 10000"/>
                    <a:gd name="connsiteX53" fmla="*/ 8667 w 10000"/>
                    <a:gd name="connsiteY53" fmla="*/ 790 h 10000"/>
                    <a:gd name="connsiteX54" fmla="*/ 8778 w 10000"/>
                    <a:gd name="connsiteY54" fmla="*/ 616 h 10000"/>
                    <a:gd name="connsiteX55" fmla="*/ 8889 w 10000"/>
                    <a:gd name="connsiteY55" fmla="*/ 512 h 10000"/>
                    <a:gd name="connsiteX56" fmla="*/ 8833 w 10000"/>
                    <a:gd name="connsiteY56" fmla="*/ 399 h 10000"/>
                    <a:gd name="connsiteX57" fmla="*/ 8833 w 10000"/>
                    <a:gd name="connsiteY57" fmla="*/ 295 h 10000"/>
                    <a:gd name="connsiteX58" fmla="*/ 8722 w 10000"/>
                    <a:gd name="connsiteY58" fmla="*/ 171 h 10000"/>
                    <a:gd name="connsiteX59" fmla="*/ 8556 w 10000"/>
                    <a:gd name="connsiteY59" fmla="*/ 0 h 10000"/>
                    <a:gd name="connsiteX60" fmla="*/ 10000 w 10000"/>
                    <a:gd name="connsiteY60" fmla="*/ 6216 h 10000"/>
                    <a:gd name="connsiteX61" fmla="*/ 10000 w 10000"/>
                    <a:gd name="connsiteY61" fmla="*/ 6216 h 10000"/>
                    <a:gd name="connsiteX62" fmla="*/ 9722 w 10000"/>
                    <a:gd name="connsiteY62" fmla="*/ 6154 h 10000"/>
                    <a:gd name="connsiteX63" fmla="*/ 9389 w 10000"/>
                    <a:gd name="connsiteY63" fmla="*/ 6216 h 10000"/>
                    <a:gd name="connsiteX64" fmla="*/ 9389 w 10000"/>
                    <a:gd name="connsiteY64" fmla="*/ 6216 h 10000"/>
                    <a:gd name="connsiteX65" fmla="*/ 9278 w 10000"/>
                    <a:gd name="connsiteY65" fmla="*/ 6285 h 10000"/>
                    <a:gd name="connsiteX66" fmla="*/ 9056 w 10000"/>
                    <a:gd name="connsiteY66" fmla="*/ 6216 h 10000"/>
                    <a:gd name="connsiteX67" fmla="*/ 8889 w 10000"/>
                    <a:gd name="connsiteY67" fmla="*/ 6154 h 10000"/>
                    <a:gd name="connsiteX68" fmla="*/ 8722 w 10000"/>
                    <a:gd name="connsiteY68" fmla="*/ 6046 h 10000"/>
                    <a:gd name="connsiteX69" fmla="*/ 8611 w 10000"/>
                    <a:gd name="connsiteY69" fmla="*/ 5871 h 10000"/>
                    <a:gd name="connsiteX70" fmla="*/ 8444 w 10000"/>
                    <a:gd name="connsiteY70" fmla="*/ 5588 h 10000"/>
                    <a:gd name="connsiteX71" fmla="*/ 8444 w 10000"/>
                    <a:gd name="connsiteY71" fmla="*/ 5588 h 10000"/>
                    <a:gd name="connsiteX72" fmla="*/ 8222 w 10000"/>
                    <a:gd name="connsiteY72" fmla="*/ 5094 h 10000"/>
                    <a:gd name="connsiteX73" fmla="*/ 8111 w 10000"/>
                    <a:gd name="connsiteY73" fmla="*/ 4868 h 10000"/>
                    <a:gd name="connsiteX74" fmla="*/ 7944 w 10000"/>
                    <a:gd name="connsiteY74" fmla="*/ 4695 h 10000"/>
                    <a:gd name="connsiteX75" fmla="*/ 7778 w 10000"/>
                    <a:gd name="connsiteY75" fmla="*/ 4585 h 10000"/>
                    <a:gd name="connsiteX76" fmla="*/ 7556 w 10000"/>
                    <a:gd name="connsiteY76" fmla="*/ 4518 h 10000"/>
                    <a:gd name="connsiteX77" fmla="*/ 7333 w 10000"/>
                    <a:gd name="connsiteY77" fmla="*/ 4467 h 10000"/>
                    <a:gd name="connsiteX78" fmla="*/ 7000 w 10000"/>
                    <a:gd name="connsiteY78" fmla="*/ 4404 h 10000"/>
                    <a:gd name="connsiteX79" fmla="*/ 7000 w 10000"/>
                    <a:gd name="connsiteY79" fmla="*/ 4404 h 10000"/>
                    <a:gd name="connsiteX80" fmla="*/ 6556 w 10000"/>
                    <a:gd name="connsiteY80" fmla="*/ 4467 h 10000"/>
                    <a:gd name="connsiteX81" fmla="*/ 6222 w 10000"/>
                    <a:gd name="connsiteY81" fmla="*/ 4467 h 10000"/>
                    <a:gd name="connsiteX82" fmla="*/ 6111 w 10000"/>
                    <a:gd name="connsiteY82" fmla="*/ 4404 h 10000"/>
                    <a:gd name="connsiteX83" fmla="*/ 6056 w 10000"/>
                    <a:gd name="connsiteY83" fmla="*/ 4350 h 10000"/>
                    <a:gd name="connsiteX84" fmla="*/ 6056 w 10000"/>
                    <a:gd name="connsiteY84" fmla="*/ 4350 h 10000"/>
                    <a:gd name="connsiteX85" fmla="*/ 6056 w 10000"/>
                    <a:gd name="connsiteY85" fmla="*/ 3341 h 10000"/>
                    <a:gd name="connsiteX86" fmla="*/ 6056 w 10000"/>
                    <a:gd name="connsiteY86" fmla="*/ 3341 h 10000"/>
                    <a:gd name="connsiteX87" fmla="*/ 6056 w 10000"/>
                    <a:gd name="connsiteY87" fmla="*/ 3106 h 10000"/>
                    <a:gd name="connsiteX88" fmla="*/ 5944 w 10000"/>
                    <a:gd name="connsiteY88" fmla="*/ 2826 h 10000"/>
                    <a:gd name="connsiteX89" fmla="*/ 5889 w 10000"/>
                    <a:gd name="connsiteY89" fmla="*/ 2763 h 10000"/>
                    <a:gd name="connsiteX90" fmla="*/ 5778 w 10000"/>
                    <a:gd name="connsiteY90" fmla="*/ 2712 h 10000"/>
                    <a:gd name="connsiteX91" fmla="*/ 5667 w 10000"/>
                    <a:gd name="connsiteY91" fmla="*/ 2712 h 10000"/>
                    <a:gd name="connsiteX92" fmla="*/ 5500 w 10000"/>
                    <a:gd name="connsiteY92" fmla="*/ 2763 h 10000"/>
                    <a:gd name="connsiteX93" fmla="*/ 5500 w 10000"/>
                    <a:gd name="connsiteY93" fmla="*/ 2763 h 10000"/>
                    <a:gd name="connsiteX94" fmla="*/ 4889 w 10000"/>
                    <a:gd name="connsiteY94" fmla="*/ 3166 h 10000"/>
                    <a:gd name="connsiteX95" fmla="*/ 4611 w 10000"/>
                    <a:gd name="connsiteY95" fmla="*/ 3281 h 10000"/>
                    <a:gd name="connsiteX96" fmla="*/ 4556 w 10000"/>
                    <a:gd name="connsiteY96" fmla="*/ 3341 h 10000"/>
                    <a:gd name="connsiteX97" fmla="*/ 4500 w 10000"/>
                    <a:gd name="connsiteY97" fmla="*/ 3281 h 10000"/>
                    <a:gd name="connsiteX98" fmla="*/ 4500 w 10000"/>
                    <a:gd name="connsiteY98" fmla="*/ 3281 h 10000"/>
                    <a:gd name="connsiteX99" fmla="*/ 4222 w 10000"/>
                    <a:gd name="connsiteY99" fmla="*/ 2712 h 10000"/>
                    <a:gd name="connsiteX100" fmla="*/ 4222 w 10000"/>
                    <a:gd name="connsiteY100" fmla="*/ 2712 h 10000"/>
                    <a:gd name="connsiteX101" fmla="*/ 4111 w 10000"/>
                    <a:gd name="connsiteY101" fmla="*/ 2431 h 10000"/>
                    <a:gd name="connsiteX102" fmla="*/ 4111 w 10000"/>
                    <a:gd name="connsiteY102" fmla="*/ 2263 h 10000"/>
                    <a:gd name="connsiteX103" fmla="*/ 4111 w 10000"/>
                    <a:gd name="connsiteY103" fmla="*/ 2091 h 10000"/>
                    <a:gd name="connsiteX104" fmla="*/ 4111 w 10000"/>
                    <a:gd name="connsiteY104" fmla="*/ 2091 h 10000"/>
                    <a:gd name="connsiteX105" fmla="*/ 4278 w 10000"/>
                    <a:gd name="connsiteY105" fmla="*/ 1923 h 10000"/>
                    <a:gd name="connsiteX106" fmla="*/ 4389 w 10000"/>
                    <a:gd name="connsiteY106" fmla="*/ 1865 h 10000"/>
                    <a:gd name="connsiteX107" fmla="*/ 4389 w 10000"/>
                    <a:gd name="connsiteY107" fmla="*/ 1865 h 10000"/>
                    <a:gd name="connsiteX108" fmla="*/ 4000 w 10000"/>
                    <a:gd name="connsiteY108" fmla="*/ 1865 h 10000"/>
                    <a:gd name="connsiteX109" fmla="*/ 3722 w 10000"/>
                    <a:gd name="connsiteY109" fmla="*/ 1923 h 10000"/>
                    <a:gd name="connsiteX110" fmla="*/ 3611 w 10000"/>
                    <a:gd name="connsiteY110" fmla="*/ 1984 h 10000"/>
                    <a:gd name="connsiteX111" fmla="*/ 3556 w 10000"/>
                    <a:gd name="connsiteY111" fmla="*/ 2040 h 10000"/>
                    <a:gd name="connsiteX112" fmla="*/ 3556 w 10000"/>
                    <a:gd name="connsiteY112" fmla="*/ 2040 h 10000"/>
                    <a:gd name="connsiteX113" fmla="*/ 3444 w 10000"/>
                    <a:gd name="connsiteY113" fmla="*/ 2263 h 10000"/>
                    <a:gd name="connsiteX114" fmla="*/ 3278 w 10000"/>
                    <a:gd name="connsiteY114" fmla="*/ 2607 h 10000"/>
                    <a:gd name="connsiteX115" fmla="*/ 3000 w 10000"/>
                    <a:gd name="connsiteY115" fmla="*/ 2995 h 10000"/>
                    <a:gd name="connsiteX116" fmla="*/ 2667 w 10000"/>
                    <a:gd name="connsiteY116" fmla="*/ 3281 h 10000"/>
                    <a:gd name="connsiteX117" fmla="*/ 2667 w 10000"/>
                    <a:gd name="connsiteY117" fmla="*/ 3281 h 10000"/>
                    <a:gd name="connsiteX118" fmla="*/ 2333 w 10000"/>
                    <a:gd name="connsiteY118" fmla="*/ 3512 h 10000"/>
                    <a:gd name="connsiteX119" fmla="*/ 1833 w 10000"/>
                    <a:gd name="connsiteY119" fmla="*/ 3739 h 10000"/>
                    <a:gd name="connsiteX120" fmla="*/ 1389 w 10000"/>
                    <a:gd name="connsiteY120" fmla="*/ 3847 h 10000"/>
                    <a:gd name="connsiteX121" fmla="*/ 889 w 10000"/>
                    <a:gd name="connsiteY121" fmla="*/ 3903 h 10000"/>
                    <a:gd name="connsiteX122" fmla="*/ 889 w 10000"/>
                    <a:gd name="connsiteY122" fmla="*/ 3903 h 10000"/>
                    <a:gd name="connsiteX123" fmla="*/ 500 w 10000"/>
                    <a:gd name="connsiteY123" fmla="*/ 3972 h 10000"/>
                    <a:gd name="connsiteX124" fmla="*/ 222 w 10000"/>
                    <a:gd name="connsiteY124" fmla="*/ 4014 h 10000"/>
                    <a:gd name="connsiteX125" fmla="*/ 0 w 10000"/>
                    <a:gd name="connsiteY125" fmla="*/ 4068 h 10000"/>
                    <a:gd name="connsiteX126" fmla="*/ 0 w 10000"/>
                    <a:gd name="connsiteY126" fmla="*/ 4068 h 10000"/>
                    <a:gd name="connsiteX127" fmla="*/ 278 w 10000"/>
                    <a:gd name="connsiteY127" fmla="*/ 4979 h 10000"/>
                    <a:gd name="connsiteX128" fmla="*/ 500 w 10000"/>
                    <a:gd name="connsiteY128" fmla="*/ 5646 h 10000"/>
                    <a:gd name="connsiteX129" fmla="*/ 722 w 10000"/>
                    <a:gd name="connsiteY129" fmla="*/ 6216 h 10000"/>
                    <a:gd name="connsiteX130" fmla="*/ 722 w 10000"/>
                    <a:gd name="connsiteY130" fmla="*/ 6216 h 10000"/>
                    <a:gd name="connsiteX131" fmla="*/ 889 w 10000"/>
                    <a:gd name="connsiteY131" fmla="*/ 6554 h 10000"/>
                    <a:gd name="connsiteX132" fmla="*/ 944 w 10000"/>
                    <a:gd name="connsiteY132" fmla="*/ 6845 h 10000"/>
                    <a:gd name="connsiteX133" fmla="*/ 1111 w 10000"/>
                    <a:gd name="connsiteY133" fmla="*/ 7129 h 10000"/>
                    <a:gd name="connsiteX134" fmla="*/ 1333 w 10000"/>
                    <a:gd name="connsiteY134" fmla="*/ 7566 h 10000"/>
                    <a:gd name="connsiteX135" fmla="*/ 1333 w 10000"/>
                    <a:gd name="connsiteY135" fmla="*/ 7566 h 10000"/>
                    <a:gd name="connsiteX136" fmla="*/ 1444 w 10000"/>
                    <a:gd name="connsiteY136" fmla="*/ 7796 h 10000"/>
                    <a:gd name="connsiteX137" fmla="*/ 1500 w 10000"/>
                    <a:gd name="connsiteY137" fmla="*/ 7965 h 10000"/>
                    <a:gd name="connsiteX138" fmla="*/ 1500 w 10000"/>
                    <a:gd name="connsiteY138" fmla="*/ 8126 h 10000"/>
                    <a:gd name="connsiteX139" fmla="*/ 1556 w 10000"/>
                    <a:gd name="connsiteY139" fmla="*/ 8195 h 10000"/>
                    <a:gd name="connsiteX140" fmla="*/ 1722 w 10000"/>
                    <a:gd name="connsiteY140" fmla="*/ 8247 h 10000"/>
                    <a:gd name="connsiteX141" fmla="*/ 1944 w 10000"/>
                    <a:gd name="connsiteY141" fmla="*/ 8302 h 10000"/>
                    <a:gd name="connsiteX142" fmla="*/ 2944 w 10000"/>
                    <a:gd name="connsiteY142" fmla="*/ 8362 h 10000"/>
                    <a:gd name="connsiteX143" fmla="*/ 2944 w 10000"/>
                    <a:gd name="connsiteY143" fmla="*/ 8362 h 10000"/>
                    <a:gd name="connsiteX144" fmla="*/ 4167 w 10000"/>
                    <a:gd name="connsiteY144" fmla="*/ 8478 h 10000"/>
                    <a:gd name="connsiteX145" fmla="*/ 4889 w 10000"/>
                    <a:gd name="connsiteY145" fmla="*/ 8638 h 10000"/>
                    <a:gd name="connsiteX146" fmla="*/ 5278 w 10000"/>
                    <a:gd name="connsiteY146" fmla="*/ 8818 h 10000"/>
                    <a:gd name="connsiteX147" fmla="*/ 5444 w 10000"/>
                    <a:gd name="connsiteY147" fmla="*/ 8866 h 10000"/>
                    <a:gd name="connsiteX148" fmla="*/ 5444 w 10000"/>
                    <a:gd name="connsiteY148" fmla="*/ 8866 h 10000"/>
                    <a:gd name="connsiteX149" fmla="*/ 5722 w 10000"/>
                    <a:gd name="connsiteY149" fmla="*/ 8992 h 10000"/>
                    <a:gd name="connsiteX150" fmla="*/ 5833 w 10000"/>
                    <a:gd name="connsiteY150" fmla="*/ 9048 h 10000"/>
                    <a:gd name="connsiteX151" fmla="*/ 5833 w 10000"/>
                    <a:gd name="connsiteY151" fmla="*/ 9048 h 10000"/>
                    <a:gd name="connsiteX152" fmla="*/ 5833 w 10000"/>
                    <a:gd name="connsiteY152" fmla="*/ 8992 h 10000"/>
                    <a:gd name="connsiteX153" fmla="*/ 5889 w 10000"/>
                    <a:gd name="connsiteY153" fmla="*/ 8927 h 10000"/>
                    <a:gd name="connsiteX154" fmla="*/ 6000 w 10000"/>
                    <a:gd name="connsiteY154" fmla="*/ 8866 h 10000"/>
                    <a:gd name="connsiteX155" fmla="*/ 6167 w 10000"/>
                    <a:gd name="connsiteY155" fmla="*/ 8818 h 10000"/>
                    <a:gd name="connsiteX156" fmla="*/ 6444 w 10000"/>
                    <a:gd name="connsiteY156" fmla="*/ 8818 h 10000"/>
                    <a:gd name="connsiteX157" fmla="*/ 6833 w 10000"/>
                    <a:gd name="connsiteY157" fmla="*/ 8866 h 10000"/>
                    <a:gd name="connsiteX158" fmla="*/ 7278 w 10000"/>
                    <a:gd name="connsiteY158" fmla="*/ 9048 h 10000"/>
                    <a:gd name="connsiteX159" fmla="*/ 7278 w 10000"/>
                    <a:gd name="connsiteY159" fmla="*/ 9048 h 10000"/>
                    <a:gd name="connsiteX160" fmla="*/ 8722 w 10000"/>
                    <a:gd name="connsiteY160" fmla="*/ 9540 h 10000"/>
                    <a:gd name="connsiteX161" fmla="*/ 10000 w 10000"/>
                    <a:gd name="connsiteY161" fmla="*/ 10000 h 10000"/>
                    <a:gd name="connsiteX0" fmla="*/ 10000 w 10000"/>
                    <a:gd name="connsiteY0" fmla="*/ 5983 h 9829"/>
                    <a:gd name="connsiteX1" fmla="*/ 10000 w 10000"/>
                    <a:gd name="connsiteY1" fmla="*/ 5983 h 9829"/>
                    <a:gd name="connsiteX2" fmla="*/ 9222 w 10000"/>
                    <a:gd name="connsiteY2" fmla="*/ 6045 h 9829"/>
                    <a:gd name="connsiteX3" fmla="*/ 8944 w 10000"/>
                    <a:gd name="connsiteY3" fmla="*/ 6045 h 9829"/>
                    <a:gd name="connsiteX4" fmla="*/ 8833 w 10000"/>
                    <a:gd name="connsiteY4" fmla="*/ 5983 h 9829"/>
                    <a:gd name="connsiteX5" fmla="*/ 8778 w 10000"/>
                    <a:gd name="connsiteY5" fmla="*/ 5929 h 9829"/>
                    <a:gd name="connsiteX6" fmla="*/ 8778 w 10000"/>
                    <a:gd name="connsiteY6" fmla="*/ 5929 h 9829"/>
                    <a:gd name="connsiteX7" fmla="*/ 8444 w 10000"/>
                    <a:gd name="connsiteY7" fmla="*/ 5252 h 9829"/>
                    <a:gd name="connsiteX8" fmla="*/ 8167 w 10000"/>
                    <a:gd name="connsiteY8" fmla="*/ 4629 h 9829"/>
                    <a:gd name="connsiteX9" fmla="*/ 8167 w 10000"/>
                    <a:gd name="connsiteY9" fmla="*/ 4629 h 9829"/>
                    <a:gd name="connsiteX10" fmla="*/ 8056 w 10000"/>
                    <a:gd name="connsiteY10" fmla="*/ 4524 h 9829"/>
                    <a:gd name="connsiteX11" fmla="*/ 7889 w 10000"/>
                    <a:gd name="connsiteY11" fmla="*/ 4414 h 9829"/>
                    <a:gd name="connsiteX12" fmla="*/ 7444 w 10000"/>
                    <a:gd name="connsiteY12" fmla="*/ 4347 h 9829"/>
                    <a:gd name="connsiteX13" fmla="*/ 6889 w 10000"/>
                    <a:gd name="connsiteY13" fmla="*/ 4296 h 9829"/>
                    <a:gd name="connsiteX14" fmla="*/ 6389 w 10000"/>
                    <a:gd name="connsiteY14" fmla="*/ 4296 h 9829"/>
                    <a:gd name="connsiteX15" fmla="*/ 6389 w 10000"/>
                    <a:gd name="connsiteY15" fmla="*/ 4296 h 9829"/>
                    <a:gd name="connsiteX16" fmla="*/ 6167 w 10000"/>
                    <a:gd name="connsiteY16" fmla="*/ 4233 h 9829"/>
                    <a:gd name="connsiteX17" fmla="*/ 6056 w 10000"/>
                    <a:gd name="connsiteY17" fmla="*/ 4130 h 9829"/>
                    <a:gd name="connsiteX18" fmla="*/ 6000 w 10000"/>
                    <a:gd name="connsiteY18" fmla="*/ 4010 h 9829"/>
                    <a:gd name="connsiteX19" fmla="*/ 6000 w 10000"/>
                    <a:gd name="connsiteY19" fmla="*/ 3801 h 9829"/>
                    <a:gd name="connsiteX20" fmla="*/ 6056 w 10000"/>
                    <a:gd name="connsiteY20" fmla="*/ 3341 h 9829"/>
                    <a:gd name="connsiteX21" fmla="*/ 6111 w 10000"/>
                    <a:gd name="connsiteY21" fmla="*/ 3110 h 9829"/>
                    <a:gd name="connsiteX22" fmla="*/ 6056 w 10000"/>
                    <a:gd name="connsiteY22" fmla="*/ 2824 h 9829"/>
                    <a:gd name="connsiteX23" fmla="*/ 6056 w 10000"/>
                    <a:gd name="connsiteY23" fmla="*/ 2824 h 9829"/>
                    <a:gd name="connsiteX24" fmla="*/ 6000 w 10000"/>
                    <a:gd name="connsiteY24" fmla="*/ 2655 h 9829"/>
                    <a:gd name="connsiteX25" fmla="*/ 5944 w 10000"/>
                    <a:gd name="connsiteY25" fmla="*/ 2541 h 9829"/>
                    <a:gd name="connsiteX26" fmla="*/ 5833 w 10000"/>
                    <a:gd name="connsiteY26" fmla="*/ 2541 h 9829"/>
                    <a:gd name="connsiteX27" fmla="*/ 5667 w 10000"/>
                    <a:gd name="connsiteY27" fmla="*/ 2592 h 9829"/>
                    <a:gd name="connsiteX28" fmla="*/ 5333 w 10000"/>
                    <a:gd name="connsiteY28" fmla="*/ 2770 h 9829"/>
                    <a:gd name="connsiteX29" fmla="*/ 4889 w 10000"/>
                    <a:gd name="connsiteY29" fmla="*/ 3054 h 9829"/>
                    <a:gd name="connsiteX30" fmla="*/ 4889 w 10000"/>
                    <a:gd name="connsiteY30" fmla="*/ 3054 h 9829"/>
                    <a:gd name="connsiteX31" fmla="*/ 4611 w 10000"/>
                    <a:gd name="connsiteY31" fmla="*/ 3110 h 9829"/>
                    <a:gd name="connsiteX32" fmla="*/ 4500 w 10000"/>
                    <a:gd name="connsiteY32" fmla="*/ 3110 h 9829"/>
                    <a:gd name="connsiteX33" fmla="*/ 4444 w 10000"/>
                    <a:gd name="connsiteY33" fmla="*/ 3054 h 9829"/>
                    <a:gd name="connsiteX34" fmla="*/ 4389 w 10000"/>
                    <a:gd name="connsiteY34" fmla="*/ 2824 h 9829"/>
                    <a:gd name="connsiteX35" fmla="*/ 4222 w 10000"/>
                    <a:gd name="connsiteY35" fmla="*/ 2541 h 9829"/>
                    <a:gd name="connsiteX36" fmla="*/ 4222 w 10000"/>
                    <a:gd name="connsiteY36" fmla="*/ 2541 h 9829"/>
                    <a:gd name="connsiteX37" fmla="*/ 4111 w 10000"/>
                    <a:gd name="connsiteY37" fmla="*/ 2370 h 9829"/>
                    <a:gd name="connsiteX38" fmla="*/ 4111 w 10000"/>
                    <a:gd name="connsiteY38" fmla="*/ 2207 h 9829"/>
                    <a:gd name="connsiteX39" fmla="*/ 4111 w 10000"/>
                    <a:gd name="connsiteY39" fmla="*/ 2092 h 9829"/>
                    <a:gd name="connsiteX40" fmla="*/ 4167 w 10000"/>
                    <a:gd name="connsiteY40" fmla="*/ 1977 h 9829"/>
                    <a:gd name="connsiteX41" fmla="*/ 4278 w 10000"/>
                    <a:gd name="connsiteY41" fmla="*/ 1752 h 9829"/>
                    <a:gd name="connsiteX42" fmla="*/ 4389 w 10000"/>
                    <a:gd name="connsiteY42" fmla="*/ 1694 h 9829"/>
                    <a:gd name="connsiteX43" fmla="*/ 4389 w 10000"/>
                    <a:gd name="connsiteY43" fmla="*/ 1694 h 9829"/>
                    <a:gd name="connsiteX44" fmla="*/ 4389 w 10000"/>
                    <a:gd name="connsiteY44" fmla="*/ 1636 h 9829"/>
                    <a:gd name="connsiteX45" fmla="*/ 4444 w 10000"/>
                    <a:gd name="connsiteY45" fmla="*/ 1592 h 9829"/>
                    <a:gd name="connsiteX46" fmla="*/ 4667 w 10000"/>
                    <a:gd name="connsiteY46" fmla="*/ 1528 h 9829"/>
                    <a:gd name="connsiteX47" fmla="*/ 5333 w 10000"/>
                    <a:gd name="connsiteY47" fmla="*/ 1420 h 9829"/>
                    <a:gd name="connsiteX48" fmla="*/ 6500 w 10000"/>
                    <a:gd name="connsiteY48" fmla="*/ 1242 h 9829"/>
                    <a:gd name="connsiteX49" fmla="*/ 6500 w 10000"/>
                    <a:gd name="connsiteY49" fmla="*/ 1242 h 9829"/>
                    <a:gd name="connsiteX50" fmla="*/ 7167 w 10000"/>
                    <a:gd name="connsiteY50" fmla="*/ 1080 h 9829"/>
                    <a:gd name="connsiteX51" fmla="*/ 8389 w 10000"/>
                    <a:gd name="connsiteY51" fmla="*/ 742 h 9829"/>
                    <a:gd name="connsiteX52" fmla="*/ 8389 w 10000"/>
                    <a:gd name="connsiteY52" fmla="*/ 742 h 9829"/>
                    <a:gd name="connsiteX53" fmla="*/ 8667 w 10000"/>
                    <a:gd name="connsiteY53" fmla="*/ 619 h 9829"/>
                    <a:gd name="connsiteX54" fmla="*/ 8778 w 10000"/>
                    <a:gd name="connsiteY54" fmla="*/ 445 h 9829"/>
                    <a:gd name="connsiteX55" fmla="*/ 8889 w 10000"/>
                    <a:gd name="connsiteY55" fmla="*/ 341 h 9829"/>
                    <a:gd name="connsiteX56" fmla="*/ 8833 w 10000"/>
                    <a:gd name="connsiteY56" fmla="*/ 228 h 9829"/>
                    <a:gd name="connsiteX57" fmla="*/ 8833 w 10000"/>
                    <a:gd name="connsiteY57" fmla="*/ 124 h 9829"/>
                    <a:gd name="connsiteX58" fmla="*/ 8722 w 10000"/>
                    <a:gd name="connsiteY58" fmla="*/ 0 h 9829"/>
                    <a:gd name="connsiteX59" fmla="*/ 10000 w 10000"/>
                    <a:gd name="connsiteY59" fmla="*/ 6045 h 9829"/>
                    <a:gd name="connsiteX60" fmla="*/ 10000 w 10000"/>
                    <a:gd name="connsiteY60" fmla="*/ 6045 h 9829"/>
                    <a:gd name="connsiteX61" fmla="*/ 9722 w 10000"/>
                    <a:gd name="connsiteY61" fmla="*/ 5983 h 9829"/>
                    <a:gd name="connsiteX62" fmla="*/ 9389 w 10000"/>
                    <a:gd name="connsiteY62" fmla="*/ 6045 h 9829"/>
                    <a:gd name="connsiteX63" fmla="*/ 9389 w 10000"/>
                    <a:gd name="connsiteY63" fmla="*/ 6045 h 9829"/>
                    <a:gd name="connsiteX64" fmla="*/ 9278 w 10000"/>
                    <a:gd name="connsiteY64" fmla="*/ 6114 h 9829"/>
                    <a:gd name="connsiteX65" fmla="*/ 9056 w 10000"/>
                    <a:gd name="connsiteY65" fmla="*/ 6045 h 9829"/>
                    <a:gd name="connsiteX66" fmla="*/ 8889 w 10000"/>
                    <a:gd name="connsiteY66" fmla="*/ 5983 h 9829"/>
                    <a:gd name="connsiteX67" fmla="*/ 8722 w 10000"/>
                    <a:gd name="connsiteY67" fmla="*/ 5875 h 9829"/>
                    <a:gd name="connsiteX68" fmla="*/ 8611 w 10000"/>
                    <a:gd name="connsiteY68" fmla="*/ 5700 h 9829"/>
                    <a:gd name="connsiteX69" fmla="*/ 8444 w 10000"/>
                    <a:gd name="connsiteY69" fmla="*/ 5417 h 9829"/>
                    <a:gd name="connsiteX70" fmla="*/ 8444 w 10000"/>
                    <a:gd name="connsiteY70" fmla="*/ 5417 h 9829"/>
                    <a:gd name="connsiteX71" fmla="*/ 8222 w 10000"/>
                    <a:gd name="connsiteY71" fmla="*/ 4923 h 9829"/>
                    <a:gd name="connsiteX72" fmla="*/ 8111 w 10000"/>
                    <a:gd name="connsiteY72" fmla="*/ 4697 h 9829"/>
                    <a:gd name="connsiteX73" fmla="*/ 7944 w 10000"/>
                    <a:gd name="connsiteY73" fmla="*/ 4524 h 9829"/>
                    <a:gd name="connsiteX74" fmla="*/ 7778 w 10000"/>
                    <a:gd name="connsiteY74" fmla="*/ 4414 h 9829"/>
                    <a:gd name="connsiteX75" fmla="*/ 7556 w 10000"/>
                    <a:gd name="connsiteY75" fmla="*/ 4347 h 9829"/>
                    <a:gd name="connsiteX76" fmla="*/ 7333 w 10000"/>
                    <a:gd name="connsiteY76" fmla="*/ 4296 h 9829"/>
                    <a:gd name="connsiteX77" fmla="*/ 7000 w 10000"/>
                    <a:gd name="connsiteY77" fmla="*/ 4233 h 9829"/>
                    <a:gd name="connsiteX78" fmla="*/ 7000 w 10000"/>
                    <a:gd name="connsiteY78" fmla="*/ 4233 h 9829"/>
                    <a:gd name="connsiteX79" fmla="*/ 6556 w 10000"/>
                    <a:gd name="connsiteY79" fmla="*/ 4296 h 9829"/>
                    <a:gd name="connsiteX80" fmla="*/ 6222 w 10000"/>
                    <a:gd name="connsiteY80" fmla="*/ 4296 h 9829"/>
                    <a:gd name="connsiteX81" fmla="*/ 6111 w 10000"/>
                    <a:gd name="connsiteY81" fmla="*/ 4233 h 9829"/>
                    <a:gd name="connsiteX82" fmla="*/ 6056 w 10000"/>
                    <a:gd name="connsiteY82" fmla="*/ 4179 h 9829"/>
                    <a:gd name="connsiteX83" fmla="*/ 6056 w 10000"/>
                    <a:gd name="connsiteY83" fmla="*/ 4179 h 9829"/>
                    <a:gd name="connsiteX84" fmla="*/ 6056 w 10000"/>
                    <a:gd name="connsiteY84" fmla="*/ 3170 h 9829"/>
                    <a:gd name="connsiteX85" fmla="*/ 6056 w 10000"/>
                    <a:gd name="connsiteY85" fmla="*/ 3170 h 9829"/>
                    <a:gd name="connsiteX86" fmla="*/ 6056 w 10000"/>
                    <a:gd name="connsiteY86" fmla="*/ 2935 h 9829"/>
                    <a:gd name="connsiteX87" fmla="*/ 5944 w 10000"/>
                    <a:gd name="connsiteY87" fmla="*/ 2655 h 9829"/>
                    <a:gd name="connsiteX88" fmla="*/ 5889 w 10000"/>
                    <a:gd name="connsiteY88" fmla="*/ 2592 h 9829"/>
                    <a:gd name="connsiteX89" fmla="*/ 5778 w 10000"/>
                    <a:gd name="connsiteY89" fmla="*/ 2541 h 9829"/>
                    <a:gd name="connsiteX90" fmla="*/ 5667 w 10000"/>
                    <a:gd name="connsiteY90" fmla="*/ 2541 h 9829"/>
                    <a:gd name="connsiteX91" fmla="*/ 5500 w 10000"/>
                    <a:gd name="connsiteY91" fmla="*/ 2592 h 9829"/>
                    <a:gd name="connsiteX92" fmla="*/ 5500 w 10000"/>
                    <a:gd name="connsiteY92" fmla="*/ 2592 h 9829"/>
                    <a:gd name="connsiteX93" fmla="*/ 4889 w 10000"/>
                    <a:gd name="connsiteY93" fmla="*/ 2995 h 9829"/>
                    <a:gd name="connsiteX94" fmla="*/ 4611 w 10000"/>
                    <a:gd name="connsiteY94" fmla="*/ 3110 h 9829"/>
                    <a:gd name="connsiteX95" fmla="*/ 4556 w 10000"/>
                    <a:gd name="connsiteY95" fmla="*/ 3170 h 9829"/>
                    <a:gd name="connsiteX96" fmla="*/ 4500 w 10000"/>
                    <a:gd name="connsiteY96" fmla="*/ 3110 h 9829"/>
                    <a:gd name="connsiteX97" fmla="*/ 4500 w 10000"/>
                    <a:gd name="connsiteY97" fmla="*/ 3110 h 9829"/>
                    <a:gd name="connsiteX98" fmla="*/ 4222 w 10000"/>
                    <a:gd name="connsiteY98" fmla="*/ 2541 h 9829"/>
                    <a:gd name="connsiteX99" fmla="*/ 4222 w 10000"/>
                    <a:gd name="connsiteY99" fmla="*/ 2541 h 9829"/>
                    <a:gd name="connsiteX100" fmla="*/ 4111 w 10000"/>
                    <a:gd name="connsiteY100" fmla="*/ 2260 h 9829"/>
                    <a:gd name="connsiteX101" fmla="*/ 4111 w 10000"/>
                    <a:gd name="connsiteY101" fmla="*/ 2092 h 9829"/>
                    <a:gd name="connsiteX102" fmla="*/ 4111 w 10000"/>
                    <a:gd name="connsiteY102" fmla="*/ 1920 h 9829"/>
                    <a:gd name="connsiteX103" fmla="*/ 4111 w 10000"/>
                    <a:gd name="connsiteY103" fmla="*/ 1920 h 9829"/>
                    <a:gd name="connsiteX104" fmla="*/ 4278 w 10000"/>
                    <a:gd name="connsiteY104" fmla="*/ 1752 h 9829"/>
                    <a:gd name="connsiteX105" fmla="*/ 4389 w 10000"/>
                    <a:gd name="connsiteY105" fmla="*/ 1694 h 9829"/>
                    <a:gd name="connsiteX106" fmla="*/ 4389 w 10000"/>
                    <a:gd name="connsiteY106" fmla="*/ 1694 h 9829"/>
                    <a:gd name="connsiteX107" fmla="*/ 4000 w 10000"/>
                    <a:gd name="connsiteY107" fmla="*/ 1694 h 9829"/>
                    <a:gd name="connsiteX108" fmla="*/ 3722 w 10000"/>
                    <a:gd name="connsiteY108" fmla="*/ 1752 h 9829"/>
                    <a:gd name="connsiteX109" fmla="*/ 3611 w 10000"/>
                    <a:gd name="connsiteY109" fmla="*/ 1813 h 9829"/>
                    <a:gd name="connsiteX110" fmla="*/ 3556 w 10000"/>
                    <a:gd name="connsiteY110" fmla="*/ 1869 h 9829"/>
                    <a:gd name="connsiteX111" fmla="*/ 3556 w 10000"/>
                    <a:gd name="connsiteY111" fmla="*/ 1869 h 9829"/>
                    <a:gd name="connsiteX112" fmla="*/ 3444 w 10000"/>
                    <a:gd name="connsiteY112" fmla="*/ 2092 h 9829"/>
                    <a:gd name="connsiteX113" fmla="*/ 3278 w 10000"/>
                    <a:gd name="connsiteY113" fmla="*/ 2436 h 9829"/>
                    <a:gd name="connsiteX114" fmla="*/ 3000 w 10000"/>
                    <a:gd name="connsiteY114" fmla="*/ 2824 h 9829"/>
                    <a:gd name="connsiteX115" fmla="*/ 2667 w 10000"/>
                    <a:gd name="connsiteY115" fmla="*/ 3110 h 9829"/>
                    <a:gd name="connsiteX116" fmla="*/ 2667 w 10000"/>
                    <a:gd name="connsiteY116" fmla="*/ 3110 h 9829"/>
                    <a:gd name="connsiteX117" fmla="*/ 2333 w 10000"/>
                    <a:gd name="connsiteY117" fmla="*/ 3341 h 9829"/>
                    <a:gd name="connsiteX118" fmla="*/ 1833 w 10000"/>
                    <a:gd name="connsiteY118" fmla="*/ 3568 h 9829"/>
                    <a:gd name="connsiteX119" fmla="*/ 1389 w 10000"/>
                    <a:gd name="connsiteY119" fmla="*/ 3676 h 9829"/>
                    <a:gd name="connsiteX120" fmla="*/ 889 w 10000"/>
                    <a:gd name="connsiteY120" fmla="*/ 3732 h 9829"/>
                    <a:gd name="connsiteX121" fmla="*/ 889 w 10000"/>
                    <a:gd name="connsiteY121" fmla="*/ 3732 h 9829"/>
                    <a:gd name="connsiteX122" fmla="*/ 500 w 10000"/>
                    <a:gd name="connsiteY122" fmla="*/ 3801 h 9829"/>
                    <a:gd name="connsiteX123" fmla="*/ 222 w 10000"/>
                    <a:gd name="connsiteY123" fmla="*/ 3843 h 9829"/>
                    <a:gd name="connsiteX124" fmla="*/ 0 w 10000"/>
                    <a:gd name="connsiteY124" fmla="*/ 3897 h 9829"/>
                    <a:gd name="connsiteX125" fmla="*/ 0 w 10000"/>
                    <a:gd name="connsiteY125" fmla="*/ 3897 h 9829"/>
                    <a:gd name="connsiteX126" fmla="*/ 278 w 10000"/>
                    <a:gd name="connsiteY126" fmla="*/ 4808 h 9829"/>
                    <a:gd name="connsiteX127" fmla="*/ 500 w 10000"/>
                    <a:gd name="connsiteY127" fmla="*/ 5475 h 9829"/>
                    <a:gd name="connsiteX128" fmla="*/ 722 w 10000"/>
                    <a:gd name="connsiteY128" fmla="*/ 6045 h 9829"/>
                    <a:gd name="connsiteX129" fmla="*/ 722 w 10000"/>
                    <a:gd name="connsiteY129" fmla="*/ 6045 h 9829"/>
                    <a:gd name="connsiteX130" fmla="*/ 889 w 10000"/>
                    <a:gd name="connsiteY130" fmla="*/ 6383 h 9829"/>
                    <a:gd name="connsiteX131" fmla="*/ 944 w 10000"/>
                    <a:gd name="connsiteY131" fmla="*/ 6674 h 9829"/>
                    <a:gd name="connsiteX132" fmla="*/ 1111 w 10000"/>
                    <a:gd name="connsiteY132" fmla="*/ 6958 h 9829"/>
                    <a:gd name="connsiteX133" fmla="*/ 1333 w 10000"/>
                    <a:gd name="connsiteY133" fmla="*/ 7395 h 9829"/>
                    <a:gd name="connsiteX134" fmla="*/ 1333 w 10000"/>
                    <a:gd name="connsiteY134" fmla="*/ 7395 h 9829"/>
                    <a:gd name="connsiteX135" fmla="*/ 1444 w 10000"/>
                    <a:gd name="connsiteY135" fmla="*/ 7625 h 9829"/>
                    <a:gd name="connsiteX136" fmla="*/ 1500 w 10000"/>
                    <a:gd name="connsiteY136" fmla="*/ 7794 h 9829"/>
                    <a:gd name="connsiteX137" fmla="*/ 1500 w 10000"/>
                    <a:gd name="connsiteY137" fmla="*/ 7955 h 9829"/>
                    <a:gd name="connsiteX138" fmla="*/ 1556 w 10000"/>
                    <a:gd name="connsiteY138" fmla="*/ 8024 h 9829"/>
                    <a:gd name="connsiteX139" fmla="*/ 1722 w 10000"/>
                    <a:gd name="connsiteY139" fmla="*/ 8076 h 9829"/>
                    <a:gd name="connsiteX140" fmla="*/ 1944 w 10000"/>
                    <a:gd name="connsiteY140" fmla="*/ 8131 h 9829"/>
                    <a:gd name="connsiteX141" fmla="*/ 2944 w 10000"/>
                    <a:gd name="connsiteY141" fmla="*/ 8191 h 9829"/>
                    <a:gd name="connsiteX142" fmla="*/ 2944 w 10000"/>
                    <a:gd name="connsiteY142" fmla="*/ 8191 h 9829"/>
                    <a:gd name="connsiteX143" fmla="*/ 4167 w 10000"/>
                    <a:gd name="connsiteY143" fmla="*/ 8307 h 9829"/>
                    <a:gd name="connsiteX144" fmla="*/ 4889 w 10000"/>
                    <a:gd name="connsiteY144" fmla="*/ 8467 h 9829"/>
                    <a:gd name="connsiteX145" fmla="*/ 5278 w 10000"/>
                    <a:gd name="connsiteY145" fmla="*/ 8647 h 9829"/>
                    <a:gd name="connsiteX146" fmla="*/ 5444 w 10000"/>
                    <a:gd name="connsiteY146" fmla="*/ 8695 h 9829"/>
                    <a:gd name="connsiteX147" fmla="*/ 5444 w 10000"/>
                    <a:gd name="connsiteY147" fmla="*/ 8695 h 9829"/>
                    <a:gd name="connsiteX148" fmla="*/ 5722 w 10000"/>
                    <a:gd name="connsiteY148" fmla="*/ 8821 h 9829"/>
                    <a:gd name="connsiteX149" fmla="*/ 5833 w 10000"/>
                    <a:gd name="connsiteY149" fmla="*/ 8877 h 9829"/>
                    <a:gd name="connsiteX150" fmla="*/ 5833 w 10000"/>
                    <a:gd name="connsiteY150" fmla="*/ 8877 h 9829"/>
                    <a:gd name="connsiteX151" fmla="*/ 5833 w 10000"/>
                    <a:gd name="connsiteY151" fmla="*/ 8821 h 9829"/>
                    <a:gd name="connsiteX152" fmla="*/ 5889 w 10000"/>
                    <a:gd name="connsiteY152" fmla="*/ 8756 h 9829"/>
                    <a:gd name="connsiteX153" fmla="*/ 6000 w 10000"/>
                    <a:gd name="connsiteY153" fmla="*/ 8695 h 9829"/>
                    <a:gd name="connsiteX154" fmla="*/ 6167 w 10000"/>
                    <a:gd name="connsiteY154" fmla="*/ 8647 h 9829"/>
                    <a:gd name="connsiteX155" fmla="*/ 6444 w 10000"/>
                    <a:gd name="connsiteY155" fmla="*/ 8647 h 9829"/>
                    <a:gd name="connsiteX156" fmla="*/ 6833 w 10000"/>
                    <a:gd name="connsiteY156" fmla="*/ 8695 h 9829"/>
                    <a:gd name="connsiteX157" fmla="*/ 7278 w 10000"/>
                    <a:gd name="connsiteY157" fmla="*/ 8877 h 9829"/>
                    <a:gd name="connsiteX158" fmla="*/ 7278 w 10000"/>
                    <a:gd name="connsiteY158" fmla="*/ 8877 h 9829"/>
                    <a:gd name="connsiteX159" fmla="*/ 8722 w 10000"/>
                    <a:gd name="connsiteY159" fmla="*/ 9369 h 9829"/>
                    <a:gd name="connsiteX160" fmla="*/ 10000 w 10000"/>
                    <a:gd name="connsiteY160" fmla="*/ 9829 h 9829"/>
                    <a:gd name="connsiteX0" fmla="*/ 10000 w 10000"/>
                    <a:gd name="connsiteY0" fmla="*/ 5961 h 9874"/>
                    <a:gd name="connsiteX1" fmla="*/ 10000 w 10000"/>
                    <a:gd name="connsiteY1" fmla="*/ 5961 h 9874"/>
                    <a:gd name="connsiteX2" fmla="*/ 9222 w 10000"/>
                    <a:gd name="connsiteY2" fmla="*/ 6024 h 9874"/>
                    <a:gd name="connsiteX3" fmla="*/ 8944 w 10000"/>
                    <a:gd name="connsiteY3" fmla="*/ 6024 h 9874"/>
                    <a:gd name="connsiteX4" fmla="*/ 8833 w 10000"/>
                    <a:gd name="connsiteY4" fmla="*/ 5961 h 9874"/>
                    <a:gd name="connsiteX5" fmla="*/ 8778 w 10000"/>
                    <a:gd name="connsiteY5" fmla="*/ 5906 h 9874"/>
                    <a:gd name="connsiteX6" fmla="*/ 8778 w 10000"/>
                    <a:gd name="connsiteY6" fmla="*/ 5906 h 9874"/>
                    <a:gd name="connsiteX7" fmla="*/ 8444 w 10000"/>
                    <a:gd name="connsiteY7" fmla="*/ 5217 h 9874"/>
                    <a:gd name="connsiteX8" fmla="*/ 8167 w 10000"/>
                    <a:gd name="connsiteY8" fmla="*/ 4584 h 9874"/>
                    <a:gd name="connsiteX9" fmla="*/ 8167 w 10000"/>
                    <a:gd name="connsiteY9" fmla="*/ 4584 h 9874"/>
                    <a:gd name="connsiteX10" fmla="*/ 8056 w 10000"/>
                    <a:gd name="connsiteY10" fmla="*/ 4477 h 9874"/>
                    <a:gd name="connsiteX11" fmla="*/ 7889 w 10000"/>
                    <a:gd name="connsiteY11" fmla="*/ 4365 h 9874"/>
                    <a:gd name="connsiteX12" fmla="*/ 7444 w 10000"/>
                    <a:gd name="connsiteY12" fmla="*/ 4297 h 9874"/>
                    <a:gd name="connsiteX13" fmla="*/ 6889 w 10000"/>
                    <a:gd name="connsiteY13" fmla="*/ 4245 h 9874"/>
                    <a:gd name="connsiteX14" fmla="*/ 6389 w 10000"/>
                    <a:gd name="connsiteY14" fmla="*/ 4245 h 9874"/>
                    <a:gd name="connsiteX15" fmla="*/ 6389 w 10000"/>
                    <a:gd name="connsiteY15" fmla="*/ 4245 h 9874"/>
                    <a:gd name="connsiteX16" fmla="*/ 6167 w 10000"/>
                    <a:gd name="connsiteY16" fmla="*/ 4181 h 9874"/>
                    <a:gd name="connsiteX17" fmla="*/ 6056 w 10000"/>
                    <a:gd name="connsiteY17" fmla="*/ 4076 h 9874"/>
                    <a:gd name="connsiteX18" fmla="*/ 6000 w 10000"/>
                    <a:gd name="connsiteY18" fmla="*/ 3954 h 9874"/>
                    <a:gd name="connsiteX19" fmla="*/ 6000 w 10000"/>
                    <a:gd name="connsiteY19" fmla="*/ 3741 h 9874"/>
                    <a:gd name="connsiteX20" fmla="*/ 6056 w 10000"/>
                    <a:gd name="connsiteY20" fmla="*/ 3273 h 9874"/>
                    <a:gd name="connsiteX21" fmla="*/ 6111 w 10000"/>
                    <a:gd name="connsiteY21" fmla="*/ 3038 h 9874"/>
                    <a:gd name="connsiteX22" fmla="*/ 6056 w 10000"/>
                    <a:gd name="connsiteY22" fmla="*/ 2747 h 9874"/>
                    <a:gd name="connsiteX23" fmla="*/ 6056 w 10000"/>
                    <a:gd name="connsiteY23" fmla="*/ 2747 h 9874"/>
                    <a:gd name="connsiteX24" fmla="*/ 6000 w 10000"/>
                    <a:gd name="connsiteY24" fmla="*/ 2575 h 9874"/>
                    <a:gd name="connsiteX25" fmla="*/ 5944 w 10000"/>
                    <a:gd name="connsiteY25" fmla="*/ 2459 h 9874"/>
                    <a:gd name="connsiteX26" fmla="*/ 5833 w 10000"/>
                    <a:gd name="connsiteY26" fmla="*/ 2459 h 9874"/>
                    <a:gd name="connsiteX27" fmla="*/ 5667 w 10000"/>
                    <a:gd name="connsiteY27" fmla="*/ 2511 h 9874"/>
                    <a:gd name="connsiteX28" fmla="*/ 5333 w 10000"/>
                    <a:gd name="connsiteY28" fmla="*/ 2692 h 9874"/>
                    <a:gd name="connsiteX29" fmla="*/ 4889 w 10000"/>
                    <a:gd name="connsiteY29" fmla="*/ 2981 h 9874"/>
                    <a:gd name="connsiteX30" fmla="*/ 4889 w 10000"/>
                    <a:gd name="connsiteY30" fmla="*/ 2981 h 9874"/>
                    <a:gd name="connsiteX31" fmla="*/ 4611 w 10000"/>
                    <a:gd name="connsiteY31" fmla="*/ 3038 h 9874"/>
                    <a:gd name="connsiteX32" fmla="*/ 4500 w 10000"/>
                    <a:gd name="connsiteY32" fmla="*/ 3038 h 9874"/>
                    <a:gd name="connsiteX33" fmla="*/ 4444 w 10000"/>
                    <a:gd name="connsiteY33" fmla="*/ 2981 h 9874"/>
                    <a:gd name="connsiteX34" fmla="*/ 4389 w 10000"/>
                    <a:gd name="connsiteY34" fmla="*/ 2747 h 9874"/>
                    <a:gd name="connsiteX35" fmla="*/ 4222 w 10000"/>
                    <a:gd name="connsiteY35" fmla="*/ 2459 h 9874"/>
                    <a:gd name="connsiteX36" fmla="*/ 4222 w 10000"/>
                    <a:gd name="connsiteY36" fmla="*/ 2459 h 9874"/>
                    <a:gd name="connsiteX37" fmla="*/ 4111 w 10000"/>
                    <a:gd name="connsiteY37" fmla="*/ 2285 h 9874"/>
                    <a:gd name="connsiteX38" fmla="*/ 4111 w 10000"/>
                    <a:gd name="connsiteY38" fmla="*/ 2119 h 9874"/>
                    <a:gd name="connsiteX39" fmla="*/ 4111 w 10000"/>
                    <a:gd name="connsiteY39" fmla="*/ 2002 h 9874"/>
                    <a:gd name="connsiteX40" fmla="*/ 4167 w 10000"/>
                    <a:gd name="connsiteY40" fmla="*/ 1885 h 9874"/>
                    <a:gd name="connsiteX41" fmla="*/ 4278 w 10000"/>
                    <a:gd name="connsiteY41" fmla="*/ 1656 h 9874"/>
                    <a:gd name="connsiteX42" fmla="*/ 4389 w 10000"/>
                    <a:gd name="connsiteY42" fmla="*/ 1597 h 9874"/>
                    <a:gd name="connsiteX43" fmla="*/ 4389 w 10000"/>
                    <a:gd name="connsiteY43" fmla="*/ 1597 h 9874"/>
                    <a:gd name="connsiteX44" fmla="*/ 4389 w 10000"/>
                    <a:gd name="connsiteY44" fmla="*/ 1538 h 9874"/>
                    <a:gd name="connsiteX45" fmla="*/ 4444 w 10000"/>
                    <a:gd name="connsiteY45" fmla="*/ 1494 h 9874"/>
                    <a:gd name="connsiteX46" fmla="*/ 4667 w 10000"/>
                    <a:gd name="connsiteY46" fmla="*/ 1429 h 9874"/>
                    <a:gd name="connsiteX47" fmla="*/ 5333 w 10000"/>
                    <a:gd name="connsiteY47" fmla="*/ 1319 h 9874"/>
                    <a:gd name="connsiteX48" fmla="*/ 6500 w 10000"/>
                    <a:gd name="connsiteY48" fmla="*/ 1138 h 9874"/>
                    <a:gd name="connsiteX49" fmla="*/ 6500 w 10000"/>
                    <a:gd name="connsiteY49" fmla="*/ 1138 h 9874"/>
                    <a:gd name="connsiteX50" fmla="*/ 7167 w 10000"/>
                    <a:gd name="connsiteY50" fmla="*/ 973 h 9874"/>
                    <a:gd name="connsiteX51" fmla="*/ 8389 w 10000"/>
                    <a:gd name="connsiteY51" fmla="*/ 629 h 9874"/>
                    <a:gd name="connsiteX52" fmla="*/ 8389 w 10000"/>
                    <a:gd name="connsiteY52" fmla="*/ 629 h 9874"/>
                    <a:gd name="connsiteX53" fmla="*/ 8667 w 10000"/>
                    <a:gd name="connsiteY53" fmla="*/ 504 h 9874"/>
                    <a:gd name="connsiteX54" fmla="*/ 8778 w 10000"/>
                    <a:gd name="connsiteY54" fmla="*/ 327 h 9874"/>
                    <a:gd name="connsiteX55" fmla="*/ 8889 w 10000"/>
                    <a:gd name="connsiteY55" fmla="*/ 221 h 9874"/>
                    <a:gd name="connsiteX56" fmla="*/ 8833 w 10000"/>
                    <a:gd name="connsiteY56" fmla="*/ 106 h 9874"/>
                    <a:gd name="connsiteX57" fmla="*/ 8833 w 10000"/>
                    <a:gd name="connsiteY57" fmla="*/ 0 h 9874"/>
                    <a:gd name="connsiteX58" fmla="*/ 10000 w 10000"/>
                    <a:gd name="connsiteY58" fmla="*/ 6024 h 9874"/>
                    <a:gd name="connsiteX59" fmla="*/ 10000 w 10000"/>
                    <a:gd name="connsiteY59" fmla="*/ 6024 h 9874"/>
                    <a:gd name="connsiteX60" fmla="*/ 9722 w 10000"/>
                    <a:gd name="connsiteY60" fmla="*/ 5961 h 9874"/>
                    <a:gd name="connsiteX61" fmla="*/ 9389 w 10000"/>
                    <a:gd name="connsiteY61" fmla="*/ 6024 h 9874"/>
                    <a:gd name="connsiteX62" fmla="*/ 9389 w 10000"/>
                    <a:gd name="connsiteY62" fmla="*/ 6024 h 9874"/>
                    <a:gd name="connsiteX63" fmla="*/ 9278 w 10000"/>
                    <a:gd name="connsiteY63" fmla="*/ 6094 h 9874"/>
                    <a:gd name="connsiteX64" fmla="*/ 9056 w 10000"/>
                    <a:gd name="connsiteY64" fmla="*/ 6024 h 9874"/>
                    <a:gd name="connsiteX65" fmla="*/ 8889 w 10000"/>
                    <a:gd name="connsiteY65" fmla="*/ 5961 h 9874"/>
                    <a:gd name="connsiteX66" fmla="*/ 8722 w 10000"/>
                    <a:gd name="connsiteY66" fmla="*/ 5851 h 9874"/>
                    <a:gd name="connsiteX67" fmla="*/ 8611 w 10000"/>
                    <a:gd name="connsiteY67" fmla="*/ 5673 h 9874"/>
                    <a:gd name="connsiteX68" fmla="*/ 8444 w 10000"/>
                    <a:gd name="connsiteY68" fmla="*/ 5385 h 9874"/>
                    <a:gd name="connsiteX69" fmla="*/ 8444 w 10000"/>
                    <a:gd name="connsiteY69" fmla="*/ 5385 h 9874"/>
                    <a:gd name="connsiteX70" fmla="*/ 8222 w 10000"/>
                    <a:gd name="connsiteY70" fmla="*/ 4883 h 9874"/>
                    <a:gd name="connsiteX71" fmla="*/ 8111 w 10000"/>
                    <a:gd name="connsiteY71" fmla="*/ 4653 h 9874"/>
                    <a:gd name="connsiteX72" fmla="*/ 7944 w 10000"/>
                    <a:gd name="connsiteY72" fmla="*/ 4477 h 9874"/>
                    <a:gd name="connsiteX73" fmla="*/ 7778 w 10000"/>
                    <a:gd name="connsiteY73" fmla="*/ 4365 h 9874"/>
                    <a:gd name="connsiteX74" fmla="*/ 7556 w 10000"/>
                    <a:gd name="connsiteY74" fmla="*/ 4297 h 9874"/>
                    <a:gd name="connsiteX75" fmla="*/ 7333 w 10000"/>
                    <a:gd name="connsiteY75" fmla="*/ 4245 h 9874"/>
                    <a:gd name="connsiteX76" fmla="*/ 7000 w 10000"/>
                    <a:gd name="connsiteY76" fmla="*/ 4181 h 9874"/>
                    <a:gd name="connsiteX77" fmla="*/ 7000 w 10000"/>
                    <a:gd name="connsiteY77" fmla="*/ 4181 h 9874"/>
                    <a:gd name="connsiteX78" fmla="*/ 6556 w 10000"/>
                    <a:gd name="connsiteY78" fmla="*/ 4245 h 9874"/>
                    <a:gd name="connsiteX79" fmla="*/ 6222 w 10000"/>
                    <a:gd name="connsiteY79" fmla="*/ 4245 h 9874"/>
                    <a:gd name="connsiteX80" fmla="*/ 6111 w 10000"/>
                    <a:gd name="connsiteY80" fmla="*/ 4181 h 9874"/>
                    <a:gd name="connsiteX81" fmla="*/ 6056 w 10000"/>
                    <a:gd name="connsiteY81" fmla="*/ 4126 h 9874"/>
                    <a:gd name="connsiteX82" fmla="*/ 6056 w 10000"/>
                    <a:gd name="connsiteY82" fmla="*/ 4126 h 9874"/>
                    <a:gd name="connsiteX83" fmla="*/ 6056 w 10000"/>
                    <a:gd name="connsiteY83" fmla="*/ 3099 h 9874"/>
                    <a:gd name="connsiteX84" fmla="*/ 6056 w 10000"/>
                    <a:gd name="connsiteY84" fmla="*/ 3099 h 9874"/>
                    <a:gd name="connsiteX85" fmla="*/ 6056 w 10000"/>
                    <a:gd name="connsiteY85" fmla="*/ 2860 h 9874"/>
                    <a:gd name="connsiteX86" fmla="*/ 5944 w 10000"/>
                    <a:gd name="connsiteY86" fmla="*/ 2575 h 9874"/>
                    <a:gd name="connsiteX87" fmla="*/ 5889 w 10000"/>
                    <a:gd name="connsiteY87" fmla="*/ 2511 h 9874"/>
                    <a:gd name="connsiteX88" fmla="*/ 5778 w 10000"/>
                    <a:gd name="connsiteY88" fmla="*/ 2459 h 9874"/>
                    <a:gd name="connsiteX89" fmla="*/ 5667 w 10000"/>
                    <a:gd name="connsiteY89" fmla="*/ 2459 h 9874"/>
                    <a:gd name="connsiteX90" fmla="*/ 5500 w 10000"/>
                    <a:gd name="connsiteY90" fmla="*/ 2511 h 9874"/>
                    <a:gd name="connsiteX91" fmla="*/ 5500 w 10000"/>
                    <a:gd name="connsiteY91" fmla="*/ 2511 h 9874"/>
                    <a:gd name="connsiteX92" fmla="*/ 4889 w 10000"/>
                    <a:gd name="connsiteY92" fmla="*/ 2921 h 9874"/>
                    <a:gd name="connsiteX93" fmla="*/ 4611 w 10000"/>
                    <a:gd name="connsiteY93" fmla="*/ 3038 h 9874"/>
                    <a:gd name="connsiteX94" fmla="*/ 4556 w 10000"/>
                    <a:gd name="connsiteY94" fmla="*/ 3099 h 9874"/>
                    <a:gd name="connsiteX95" fmla="*/ 4500 w 10000"/>
                    <a:gd name="connsiteY95" fmla="*/ 3038 h 9874"/>
                    <a:gd name="connsiteX96" fmla="*/ 4500 w 10000"/>
                    <a:gd name="connsiteY96" fmla="*/ 3038 h 9874"/>
                    <a:gd name="connsiteX97" fmla="*/ 4222 w 10000"/>
                    <a:gd name="connsiteY97" fmla="*/ 2459 h 9874"/>
                    <a:gd name="connsiteX98" fmla="*/ 4222 w 10000"/>
                    <a:gd name="connsiteY98" fmla="*/ 2459 h 9874"/>
                    <a:gd name="connsiteX99" fmla="*/ 4111 w 10000"/>
                    <a:gd name="connsiteY99" fmla="*/ 2173 h 9874"/>
                    <a:gd name="connsiteX100" fmla="*/ 4111 w 10000"/>
                    <a:gd name="connsiteY100" fmla="*/ 2002 h 9874"/>
                    <a:gd name="connsiteX101" fmla="*/ 4111 w 10000"/>
                    <a:gd name="connsiteY101" fmla="*/ 1827 h 9874"/>
                    <a:gd name="connsiteX102" fmla="*/ 4111 w 10000"/>
                    <a:gd name="connsiteY102" fmla="*/ 1827 h 9874"/>
                    <a:gd name="connsiteX103" fmla="*/ 4278 w 10000"/>
                    <a:gd name="connsiteY103" fmla="*/ 1656 h 9874"/>
                    <a:gd name="connsiteX104" fmla="*/ 4389 w 10000"/>
                    <a:gd name="connsiteY104" fmla="*/ 1597 h 9874"/>
                    <a:gd name="connsiteX105" fmla="*/ 4389 w 10000"/>
                    <a:gd name="connsiteY105" fmla="*/ 1597 h 9874"/>
                    <a:gd name="connsiteX106" fmla="*/ 4000 w 10000"/>
                    <a:gd name="connsiteY106" fmla="*/ 1597 h 9874"/>
                    <a:gd name="connsiteX107" fmla="*/ 3722 w 10000"/>
                    <a:gd name="connsiteY107" fmla="*/ 1656 h 9874"/>
                    <a:gd name="connsiteX108" fmla="*/ 3611 w 10000"/>
                    <a:gd name="connsiteY108" fmla="*/ 1719 h 9874"/>
                    <a:gd name="connsiteX109" fmla="*/ 3556 w 10000"/>
                    <a:gd name="connsiteY109" fmla="*/ 1776 h 9874"/>
                    <a:gd name="connsiteX110" fmla="*/ 3556 w 10000"/>
                    <a:gd name="connsiteY110" fmla="*/ 1776 h 9874"/>
                    <a:gd name="connsiteX111" fmla="*/ 3444 w 10000"/>
                    <a:gd name="connsiteY111" fmla="*/ 2002 h 9874"/>
                    <a:gd name="connsiteX112" fmla="*/ 3278 w 10000"/>
                    <a:gd name="connsiteY112" fmla="*/ 2352 h 9874"/>
                    <a:gd name="connsiteX113" fmla="*/ 3000 w 10000"/>
                    <a:gd name="connsiteY113" fmla="*/ 2747 h 9874"/>
                    <a:gd name="connsiteX114" fmla="*/ 2667 w 10000"/>
                    <a:gd name="connsiteY114" fmla="*/ 3038 h 9874"/>
                    <a:gd name="connsiteX115" fmla="*/ 2667 w 10000"/>
                    <a:gd name="connsiteY115" fmla="*/ 3038 h 9874"/>
                    <a:gd name="connsiteX116" fmla="*/ 2333 w 10000"/>
                    <a:gd name="connsiteY116" fmla="*/ 3273 h 9874"/>
                    <a:gd name="connsiteX117" fmla="*/ 1833 w 10000"/>
                    <a:gd name="connsiteY117" fmla="*/ 3504 h 9874"/>
                    <a:gd name="connsiteX118" fmla="*/ 1389 w 10000"/>
                    <a:gd name="connsiteY118" fmla="*/ 3614 h 9874"/>
                    <a:gd name="connsiteX119" fmla="*/ 889 w 10000"/>
                    <a:gd name="connsiteY119" fmla="*/ 3671 h 9874"/>
                    <a:gd name="connsiteX120" fmla="*/ 889 w 10000"/>
                    <a:gd name="connsiteY120" fmla="*/ 3671 h 9874"/>
                    <a:gd name="connsiteX121" fmla="*/ 500 w 10000"/>
                    <a:gd name="connsiteY121" fmla="*/ 3741 h 9874"/>
                    <a:gd name="connsiteX122" fmla="*/ 222 w 10000"/>
                    <a:gd name="connsiteY122" fmla="*/ 3784 h 9874"/>
                    <a:gd name="connsiteX123" fmla="*/ 0 w 10000"/>
                    <a:gd name="connsiteY123" fmla="*/ 3839 h 9874"/>
                    <a:gd name="connsiteX124" fmla="*/ 0 w 10000"/>
                    <a:gd name="connsiteY124" fmla="*/ 3839 h 9874"/>
                    <a:gd name="connsiteX125" fmla="*/ 278 w 10000"/>
                    <a:gd name="connsiteY125" fmla="*/ 4766 h 9874"/>
                    <a:gd name="connsiteX126" fmla="*/ 500 w 10000"/>
                    <a:gd name="connsiteY126" fmla="*/ 5444 h 9874"/>
                    <a:gd name="connsiteX127" fmla="*/ 722 w 10000"/>
                    <a:gd name="connsiteY127" fmla="*/ 6024 h 9874"/>
                    <a:gd name="connsiteX128" fmla="*/ 722 w 10000"/>
                    <a:gd name="connsiteY128" fmla="*/ 6024 h 9874"/>
                    <a:gd name="connsiteX129" fmla="*/ 889 w 10000"/>
                    <a:gd name="connsiteY129" fmla="*/ 6368 h 9874"/>
                    <a:gd name="connsiteX130" fmla="*/ 944 w 10000"/>
                    <a:gd name="connsiteY130" fmla="*/ 6664 h 9874"/>
                    <a:gd name="connsiteX131" fmla="*/ 1111 w 10000"/>
                    <a:gd name="connsiteY131" fmla="*/ 6953 h 9874"/>
                    <a:gd name="connsiteX132" fmla="*/ 1333 w 10000"/>
                    <a:gd name="connsiteY132" fmla="*/ 7398 h 9874"/>
                    <a:gd name="connsiteX133" fmla="*/ 1333 w 10000"/>
                    <a:gd name="connsiteY133" fmla="*/ 7398 h 9874"/>
                    <a:gd name="connsiteX134" fmla="*/ 1444 w 10000"/>
                    <a:gd name="connsiteY134" fmla="*/ 7632 h 9874"/>
                    <a:gd name="connsiteX135" fmla="*/ 1500 w 10000"/>
                    <a:gd name="connsiteY135" fmla="*/ 7804 h 9874"/>
                    <a:gd name="connsiteX136" fmla="*/ 1500 w 10000"/>
                    <a:gd name="connsiteY136" fmla="*/ 7967 h 9874"/>
                    <a:gd name="connsiteX137" fmla="*/ 1556 w 10000"/>
                    <a:gd name="connsiteY137" fmla="*/ 8038 h 9874"/>
                    <a:gd name="connsiteX138" fmla="*/ 1722 w 10000"/>
                    <a:gd name="connsiteY138" fmla="*/ 8091 h 9874"/>
                    <a:gd name="connsiteX139" fmla="*/ 1944 w 10000"/>
                    <a:gd name="connsiteY139" fmla="*/ 8146 h 9874"/>
                    <a:gd name="connsiteX140" fmla="*/ 2944 w 10000"/>
                    <a:gd name="connsiteY140" fmla="*/ 8208 h 9874"/>
                    <a:gd name="connsiteX141" fmla="*/ 2944 w 10000"/>
                    <a:gd name="connsiteY141" fmla="*/ 8208 h 9874"/>
                    <a:gd name="connsiteX142" fmla="*/ 4167 w 10000"/>
                    <a:gd name="connsiteY142" fmla="*/ 8326 h 9874"/>
                    <a:gd name="connsiteX143" fmla="*/ 4889 w 10000"/>
                    <a:gd name="connsiteY143" fmla="*/ 8488 h 9874"/>
                    <a:gd name="connsiteX144" fmla="*/ 5278 w 10000"/>
                    <a:gd name="connsiteY144" fmla="*/ 8671 h 9874"/>
                    <a:gd name="connsiteX145" fmla="*/ 5444 w 10000"/>
                    <a:gd name="connsiteY145" fmla="*/ 8720 h 9874"/>
                    <a:gd name="connsiteX146" fmla="*/ 5444 w 10000"/>
                    <a:gd name="connsiteY146" fmla="*/ 8720 h 9874"/>
                    <a:gd name="connsiteX147" fmla="*/ 5722 w 10000"/>
                    <a:gd name="connsiteY147" fmla="*/ 8848 h 9874"/>
                    <a:gd name="connsiteX148" fmla="*/ 5833 w 10000"/>
                    <a:gd name="connsiteY148" fmla="*/ 8905 h 9874"/>
                    <a:gd name="connsiteX149" fmla="*/ 5833 w 10000"/>
                    <a:gd name="connsiteY149" fmla="*/ 8905 h 9874"/>
                    <a:gd name="connsiteX150" fmla="*/ 5833 w 10000"/>
                    <a:gd name="connsiteY150" fmla="*/ 8848 h 9874"/>
                    <a:gd name="connsiteX151" fmla="*/ 5889 w 10000"/>
                    <a:gd name="connsiteY151" fmla="*/ 8782 h 9874"/>
                    <a:gd name="connsiteX152" fmla="*/ 6000 w 10000"/>
                    <a:gd name="connsiteY152" fmla="*/ 8720 h 9874"/>
                    <a:gd name="connsiteX153" fmla="*/ 6167 w 10000"/>
                    <a:gd name="connsiteY153" fmla="*/ 8671 h 9874"/>
                    <a:gd name="connsiteX154" fmla="*/ 6444 w 10000"/>
                    <a:gd name="connsiteY154" fmla="*/ 8671 h 9874"/>
                    <a:gd name="connsiteX155" fmla="*/ 6833 w 10000"/>
                    <a:gd name="connsiteY155" fmla="*/ 8720 h 9874"/>
                    <a:gd name="connsiteX156" fmla="*/ 7278 w 10000"/>
                    <a:gd name="connsiteY156" fmla="*/ 8905 h 9874"/>
                    <a:gd name="connsiteX157" fmla="*/ 7278 w 10000"/>
                    <a:gd name="connsiteY157" fmla="*/ 8905 h 9874"/>
                    <a:gd name="connsiteX158" fmla="*/ 8722 w 10000"/>
                    <a:gd name="connsiteY158" fmla="*/ 9406 h 9874"/>
                    <a:gd name="connsiteX159" fmla="*/ 10000 w 10000"/>
                    <a:gd name="connsiteY159" fmla="*/ 9874 h 9874"/>
                    <a:gd name="connsiteX0" fmla="*/ 10000 w 10000"/>
                    <a:gd name="connsiteY0" fmla="*/ 5930 h 9893"/>
                    <a:gd name="connsiteX1" fmla="*/ 10000 w 10000"/>
                    <a:gd name="connsiteY1" fmla="*/ 5930 h 9893"/>
                    <a:gd name="connsiteX2" fmla="*/ 9222 w 10000"/>
                    <a:gd name="connsiteY2" fmla="*/ 5994 h 9893"/>
                    <a:gd name="connsiteX3" fmla="*/ 8944 w 10000"/>
                    <a:gd name="connsiteY3" fmla="*/ 5994 h 9893"/>
                    <a:gd name="connsiteX4" fmla="*/ 8833 w 10000"/>
                    <a:gd name="connsiteY4" fmla="*/ 5930 h 9893"/>
                    <a:gd name="connsiteX5" fmla="*/ 8778 w 10000"/>
                    <a:gd name="connsiteY5" fmla="*/ 5874 h 9893"/>
                    <a:gd name="connsiteX6" fmla="*/ 8778 w 10000"/>
                    <a:gd name="connsiteY6" fmla="*/ 5874 h 9893"/>
                    <a:gd name="connsiteX7" fmla="*/ 8444 w 10000"/>
                    <a:gd name="connsiteY7" fmla="*/ 5177 h 9893"/>
                    <a:gd name="connsiteX8" fmla="*/ 8167 w 10000"/>
                    <a:gd name="connsiteY8" fmla="*/ 4535 h 9893"/>
                    <a:gd name="connsiteX9" fmla="*/ 8167 w 10000"/>
                    <a:gd name="connsiteY9" fmla="*/ 4535 h 9893"/>
                    <a:gd name="connsiteX10" fmla="*/ 8056 w 10000"/>
                    <a:gd name="connsiteY10" fmla="*/ 4427 h 9893"/>
                    <a:gd name="connsiteX11" fmla="*/ 7889 w 10000"/>
                    <a:gd name="connsiteY11" fmla="*/ 4314 h 9893"/>
                    <a:gd name="connsiteX12" fmla="*/ 7444 w 10000"/>
                    <a:gd name="connsiteY12" fmla="*/ 4245 h 9893"/>
                    <a:gd name="connsiteX13" fmla="*/ 6889 w 10000"/>
                    <a:gd name="connsiteY13" fmla="*/ 4192 h 9893"/>
                    <a:gd name="connsiteX14" fmla="*/ 6389 w 10000"/>
                    <a:gd name="connsiteY14" fmla="*/ 4192 h 9893"/>
                    <a:gd name="connsiteX15" fmla="*/ 6389 w 10000"/>
                    <a:gd name="connsiteY15" fmla="*/ 4192 h 9893"/>
                    <a:gd name="connsiteX16" fmla="*/ 6167 w 10000"/>
                    <a:gd name="connsiteY16" fmla="*/ 4127 h 9893"/>
                    <a:gd name="connsiteX17" fmla="*/ 6056 w 10000"/>
                    <a:gd name="connsiteY17" fmla="*/ 4021 h 9893"/>
                    <a:gd name="connsiteX18" fmla="*/ 6000 w 10000"/>
                    <a:gd name="connsiteY18" fmla="*/ 3897 h 9893"/>
                    <a:gd name="connsiteX19" fmla="*/ 6000 w 10000"/>
                    <a:gd name="connsiteY19" fmla="*/ 3682 h 9893"/>
                    <a:gd name="connsiteX20" fmla="*/ 6056 w 10000"/>
                    <a:gd name="connsiteY20" fmla="*/ 3208 h 9893"/>
                    <a:gd name="connsiteX21" fmla="*/ 6111 w 10000"/>
                    <a:gd name="connsiteY21" fmla="*/ 2970 h 9893"/>
                    <a:gd name="connsiteX22" fmla="*/ 6056 w 10000"/>
                    <a:gd name="connsiteY22" fmla="*/ 2675 h 9893"/>
                    <a:gd name="connsiteX23" fmla="*/ 6056 w 10000"/>
                    <a:gd name="connsiteY23" fmla="*/ 2675 h 9893"/>
                    <a:gd name="connsiteX24" fmla="*/ 6000 w 10000"/>
                    <a:gd name="connsiteY24" fmla="*/ 2501 h 9893"/>
                    <a:gd name="connsiteX25" fmla="*/ 5944 w 10000"/>
                    <a:gd name="connsiteY25" fmla="*/ 2383 h 9893"/>
                    <a:gd name="connsiteX26" fmla="*/ 5833 w 10000"/>
                    <a:gd name="connsiteY26" fmla="*/ 2383 h 9893"/>
                    <a:gd name="connsiteX27" fmla="*/ 5667 w 10000"/>
                    <a:gd name="connsiteY27" fmla="*/ 2436 h 9893"/>
                    <a:gd name="connsiteX28" fmla="*/ 5333 w 10000"/>
                    <a:gd name="connsiteY28" fmla="*/ 2619 h 9893"/>
                    <a:gd name="connsiteX29" fmla="*/ 4889 w 10000"/>
                    <a:gd name="connsiteY29" fmla="*/ 2912 h 9893"/>
                    <a:gd name="connsiteX30" fmla="*/ 4889 w 10000"/>
                    <a:gd name="connsiteY30" fmla="*/ 2912 h 9893"/>
                    <a:gd name="connsiteX31" fmla="*/ 4611 w 10000"/>
                    <a:gd name="connsiteY31" fmla="*/ 2970 h 9893"/>
                    <a:gd name="connsiteX32" fmla="*/ 4500 w 10000"/>
                    <a:gd name="connsiteY32" fmla="*/ 2970 h 9893"/>
                    <a:gd name="connsiteX33" fmla="*/ 4444 w 10000"/>
                    <a:gd name="connsiteY33" fmla="*/ 2912 h 9893"/>
                    <a:gd name="connsiteX34" fmla="*/ 4389 w 10000"/>
                    <a:gd name="connsiteY34" fmla="*/ 2675 h 9893"/>
                    <a:gd name="connsiteX35" fmla="*/ 4222 w 10000"/>
                    <a:gd name="connsiteY35" fmla="*/ 2383 h 9893"/>
                    <a:gd name="connsiteX36" fmla="*/ 4222 w 10000"/>
                    <a:gd name="connsiteY36" fmla="*/ 2383 h 9893"/>
                    <a:gd name="connsiteX37" fmla="*/ 4111 w 10000"/>
                    <a:gd name="connsiteY37" fmla="*/ 2207 h 9893"/>
                    <a:gd name="connsiteX38" fmla="*/ 4111 w 10000"/>
                    <a:gd name="connsiteY38" fmla="*/ 2039 h 9893"/>
                    <a:gd name="connsiteX39" fmla="*/ 4111 w 10000"/>
                    <a:gd name="connsiteY39" fmla="*/ 1921 h 9893"/>
                    <a:gd name="connsiteX40" fmla="*/ 4167 w 10000"/>
                    <a:gd name="connsiteY40" fmla="*/ 1802 h 9893"/>
                    <a:gd name="connsiteX41" fmla="*/ 4278 w 10000"/>
                    <a:gd name="connsiteY41" fmla="*/ 1570 h 9893"/>
                    <a:gd name="connsiteX42" fmla="*/ 4389 w 10000"/>
                    <a:gd name="connsiteY42" fmla="*/ 1510 h 9893"/>
                    <a:gd name="connsiteX43" fmla="*/ 4389 w 10000"/>
                    <a:gd name="connsiteY43" fmla="*/ 1510 h 9893"/>
                    <a:gd name="connsiteX44" fmla="*/ 4389 w 10000"/>
                    <a:gd name="connsiteY44" fmla="*/ 1451 h 9893"/>
                    <a:gd name="connsiteX45" fmla="*/ 4444 w 10000"/>
                    <a:gd name="connsiteY45" fmla="*/ 1406 h 9893"/>
                    <a:gd name="connsiteX46" fmla="*/ 4667 w 10000"/>
                    <a:gd name="connsiteY46" fmla="*/ 1340 h 9893"/>
                    <a:gd name="connsiteX47" fmla="*/ 5333 w 10000"/>
                    <a:gd name="connsiteY47" fmla="*/ 1229 h 9893"/>
                    <a:gd name="connsiteX48" fmla="*/ 6500 w 10000"/>
                    <a:gd name="connsiteY48" fmla="*/ 1046 h 9893"/>
                    <a:gd name="connsiteX49" fmla="*/ 6500 w 10000"/>
                    <a:gd name="connsiteY49" fmla="*/ 1046 h 9893"/>
                    <a:gd name="connsiteX50" fmla="*/ 7167 w 10000"/>
                    <a:gd name="connsiteY50" fmla="*/ 878 h 9893"/>
                    <a:gd name="connsiteX51" fmla="*/ 8389 w 10000"/>
                    <a:gd name="connsiteY51" fmla="*/ 530 h 9893"/>
                    <a:gd name="connsiteX52" fmla="*/ 8389 w 10000"/>
                    <a:gd name="connsiteY52" fmla="*/ 530 h 9893"/>
                    <a:gd name="connsiteX53" fmla="*/ 8667 w 10000"/>
                    <a:gd name="connsiteY53" fmla="*/ 403 h 9893"/>
                    <a:gd name="connsiteX54" fmla="*/ 8778 w 10000"/>
                    <a:gd name="connsiteY54" fmla="*/ 224 h 9893"/>
                    <a:gd name="connsiteX55" fmla="*/ 8889 w 10000"/>
                    <a:gd name="connsiteY55" fmla="*/ 117 h 9893"/>
                    <a:gd name="connsiteX56" fmla="*/ 8833 w 10000"/>
                    <a:gd name="connsiteY56" fmla="*/ 0 h 9893"/>
                    <a:gd name="connsiteX57" fmla="*/ 10000 w 10000"/>
                    <a:gd name="connsiteY57" fmla="*/ 5994 h 9893"/>
                    <a:gd name="connsiteX58" fmla="*/ 10000 w 10000"/>
                    <a:gd name="connsiteY58" fmla="*/ 5994 h 9893"/>
                    <a:gd name="connsiteX59" fmla="*/ 9722 w 10000"/>
                    <a:gd name="connsiteY59" fmla="*/ 5930 h 9893"/>
                    <a:gd name="connsiteX60" fmla="*/ 9389 w 10000"/>
                    <a:gd name="connsiteY60" fmla="*/ 5994 h 9893"/>
                    <a:gd name="connsiteX61" fmla="*/ 9389 w 10000"/>
                    <a:gd name="connsiteY61" fmla="*/ 5994 h 9893"/>
                    <a:gd name="connsiteX62" fmla="*/ 9278 w 10000"/>
                    <a:gd name="connsiteY62" fmla="*/ 6065 h 9893"/>
                    <a:gd name="connsiteX63" fmla="*/ 9056 w 10000"/>
                    <a:gd name="connsiteY63" fmla="*/ 5994 h 9893"/>
                    <a:gd name="connsiteX64" fmla="*/ 8889 w 10000"/>
                    <a:gd name="connsiteY64" fmla="*/ 5930 h 9893"/>
                    <a:gd name="connsiteX65" fmla="*/ 8722 w 10000"/>
                    <a:gd name="connsiteY65" fmla="*/ 5819 h 9893"/>
                    <a:gd name="connsiteX66" fmla="*/ 8611 w 10000"/>
                    <a:gd name="connsiteY66" fmla="*/ 5638 h 9893"/>
                    <a:gd name="connsiteX67" fmla="*/ 8444 w 10000"/>
                    <a:gd name="connsiteY67" fmla="*/ 5347 h 9893"/>
                    <a:gd name="connsiteX68" fmla="*/ 8444 w 10000"/>
                    <a:gd name="connsiteY68" fmla="*/ 5347 h 9893"/>
                    <a:gd name="connsiteX69" fmla="*/ 8222 w 10000"/>
                    <a:gd name="connsiteY69" fmla="*/ 4838 h 9893"/>
                    <a:gd name="connsiteX70" fmla="*/ 8111 w 10000"/>
                    <a:gd name="connsiteY70" fmla="*/ 4605 h 9893"/>
                    <a:gd name="connsiteX71" fmla="*/ 7944 w 10000"/>
                    <a:gd name="connsiteY71" fmla="*/ 4427 h 9893"/>
                    <a:gd name="connsiteX72" fmla="*/ 7778 w 10000"/>
                    <a:gd name="connsiteY72" fmla="*/ 4314 h 9893"/>
                    <a:gd name="connsiteX73" fmla="*/ 7556 w 10000"/>
                    <a:gd name="connsiteY73" fmla="*/ 4245 h 9893"/>
                    <a:gd name="connsiteX74" fmla="*/ 7333 w 10000"/>
                    <a:gd name="connsiteY74" fmla="*/ 4192 h 9893"/>
                    <a:gd name="connsiteX75" fmla="*/ 7000 w 10000"/>
                    <a:gd name="connsiteY75" fmla="*/ 4127 h 9893"/>
                    <a:gd name="connsiteX76" fmla="*/ 7000 w 10000"/>
                    <a:gd name="connsiteY76" fmla="*/ 4127 h 9893"/>
                    <a:gd name="connsiteX77" fmla="*/ 6556 w 10000"/>
                    <a:gd name="connsiteY77" fmla="*/ 4192 h 9893"/>
                    <a:gd name="connsiteX78" fmla="*/ 6222 w 10000"/>
                    <a:gd name="connsiteY78" fmla="*/ 4192 h 9893"/>
                    <a:gd name="connsiteX79" fmla="*/ 6111 w 10000"/>
                    <a:gd name="connsiteY79" fmla="*/ 4127 h 9893"/>
                    <a:gd name="connsiteX80" fmla="*/ 6056 w 10000"/>
                    <a:gd name="connsiteY80" fmla="*/ 4072 h 9893"/>
                    <a:gd name="connsiteX81" fmla="*/ 6056 w 10000"/>
                    <a:gd name="connsiteY81" fmla="*/ 4072 h 9893"/>
                    <a:gd name="connsiteX82" fmla="*/ 6056 w 10000"/>
                    <a:gd name="connsiteY82" fmla="*/ 3032 h 9893"/>
                    <a:gd name="connsiteX83" fmla="*/ 6056 w 10000"/>
                    <a:gd name="connsiteY83" fmla="*/ 3032 h 9893"/>
                    <a:gd name="connsiteX84" fmla="*/ 6056 w 10000"/>
                    <a:gd name="connsiteY84" fmla="*/ 2789 h 9893"/>
                    <a:gd name="connsiteX85" fmla="*/ 5944 w 10000"/>
                    <a:gd name="connsiteY85" fmla="*/ 2501 h 9893"/>
                    <a:gd name="connsiteX86" fmla="*/ 5889 w 10000"/>
                    <a:gd name="connsiteY86" fmla="*/ 2436 h 9893"/>
                    <a:gd name="connsiteX87" fmla="*/ 5778 w 10000"/>
                    <a:gd name="connsiteY87" fmla="*/ 2383 h 9893"/>
                    <a:gd name="connsiteX88" fmla="*/ 5667 w 10000"/>
                    <a:gd name="connsiteY88" fmla="*/ 2383 h 9893"/>
                    <a:gd name="connsiteX89" fmla="*/ 5500 w 10000"/>
                    <a:gd name="connsiteY89" fmla="*/ 2436 h 9893"/>
                    <a:gd name="connsiteX90" fmla="*/ 5500 w 10000"/>
                    <a:gd name="connsiteY90" fmla="*/ 2436 h 9893"/>
                    <a:gd name="connsiteX91" fmla="*/ 4889 w 10000"/>
                    <a:gd name="connsiteY91" fmla="*/ 2851 h 9893"/>
                    <a:gd name="connsiteX92" fmla="*/ 4611 w 10000"/>
                    <a:gd name="connsiteY92" fmla="*/ 2970 h 9893"/>
                    <a:gd name="connsiteX93" fmla="*/ 4556 w 10000"/>
                    <a:gd name="connsiteY93" fmla="*/ 3032 h 9893"/>
                    <a:gd name="connsiteX94" fmla="*/ 4500 w 10000"/>
                    <a:gd name="connsiteY94" fmla="*/ 2970 h 9893"/>
                    <a:gd name="connsiteX95" fmla="*/ 4500 w 10000"/>
                    <a:gd name="connsiteY95" fmla="*/ 2970 h 9893"/>
                    <a:gd name="connsiteX96" fmla="*/ 4222 w 10000"/>
                    <a:gd name="connsiteY96" fmla="*/ 2383 h 9893"/>
                    <a:gd name="connsiteX97" fmla="*/ 4222 w 10000"/>
                    <a:gd name="connsiteY97" fmla="*/ 2383 h 9893"/>
                    <a:gd name="connsiteX98" fmla="*/ 4111 w 10000"/>
                    <a:gd name="connsiteY98" fmla="*/ 2094 h 9893"/>
                    <a:gd name="connsiteX99" fmla="*/ 4111 w 10000"/>
                    <a:gd name="connsiteY99" fmla="*/ 1921 h 9893"/>
                    <a:gd name="connsiteX100" fmla="*/ 4111 w 10000"/>
                    <a:gd name="connsiteY100" fmla="*/ 1743 h 9893"/>
                    <a:gd name="connsiteX101" fmla="*/ 4111 w 10000"/>
                    <a:gd name="connsiteY101" fmla="*/ 1743 h 9893"/>
                    <a:gd name="connsiteX102" fmla="*/ 4278 w 10000"/>
                    <a:gd name="connsiteY102" fmla="*/ 1570 h 9893"/>
                    <a:gd name="connsiteX103" fmla="*/ 4389 w 10000"/>
                    <a:gd name="connsiteY103" fmla="*/ 1510 h 9893"/>
                    <a:gd name="connsiteX104" fmla="*/ 4389 w 10000"/>
                    <a:gd name="connsiteY104" fmla="*/ 1510 h 9893"/>
                    <a:gd name="connsiteX105" fmla="*/ 4000 w 10000"/>
                    <a:gd name="connsiteY105" fmla="*/ 1510 h 9893"/>
                    <a:gd name="connsiteX106" fmla="*/ 3722 w 10000"/>
                    <a:gd name="connsiteY106" fmla="*/ 1570 h 9893"/>
                    <a:gd name="connsiteX107" fmla="*/ 3611 w 10000"/>
                    <a:gd name="connsiteY107" fmla="*/ 1634 h 9893"/>
                    <a:gd name="connsiteX108" fmla="*/ 3556 w 10000"/>
                    <a:gd name="connsiteY108" fmla="*/ 1692 h 9893"/>
                    <a:gd name="connsiteX109" fmla="*/ 3556 w 10000"/>
                    <a:gd name="connsiteY109" fmla="*/ 1692 h 9893"/>
                    <a:gd name="connsiteX110" fmla="*/ 3444 w 10000"/>
                    <a:gd name="connsiteY110" fmla="*/ 1921 h 9893"/>
                    <a:gd name="connsiteX111" fmla="*/ 3278 w 10000"/>
                    <a:gd name="connsiteY111" fmla="*/ 2275 h 9893"/>
                    <a:gd name="connsiteX112" fmla="*/ 3000 w 10000"/>
                    <a:gd name="connsiteY112" fmla="*/ 2675 h 9893"/>
                    <a:gd name="connsiteX113" fmla="*/ 2667 w 10000"/>
                    <a:gd name="connsiteY113" fmla="*/ 2970 h 9893"/>
                    <a:gd name="connsiteX114" fmla="*/ 2667 w 10000"/>
                    <a:gd name="connsiteY114" fmla="*/ 2970 h 9893"/>
                    <a:gd name="connsiteX115" fmla="*/ 2333 w 10000"/>
                    <a:gd name="connsiteY115" fmla="*/ 3208 h 9893"/>
                    <a:gd name="connsiteX116" fmla="*/ 1833 w 10000"/>
                    <a:gd name="connsiteY116" fmla="*/ 3442 h 9893"/>
                    <a:gd name="connsiteX117" fmla="*/ 1389 w 10000"/>
                    <a:gd name="connsiteY117" fmla="*/ 3553 h 9893"/>
                    <a:gd name="connsiteX118" fmla="*/ 889 w 10000"/>
                    <a:gd name="connsiteY118" fmla="*/ 3611 h 9893"/>
                    <a:gd name="connsiteX119" fmla="*/ 889 w 10000"/>
                    <a:gd name="connsiteY119" fmla="*/ 3611 h 9893"/>
                    <a:gd name="connsiteX120" fmla="*/ 500 w 10000"/>
                    <a:gd name="connsiteY120" fmla="*/ 3682 h 9893"/>
                    <a:gd name="connsiteX121" fmla="*/ 222 w 10000"/>
                    <a:gd name="connsiteY121" fmla="*/ 3725 h 9893"/>
                    <a:gd name="connsiteX122" fmla="*/ 0 w 10000"/>
                    <a:gd name="connsiteY122" fmla="*/ 3781 h 9893"/>
                    <a:gd name="connsiteX123" fmla="*/ 0 w 10000"/>
                    <a:gd name="connsiteY123" fmla="*/ 3781 h 9893"/>
                    <a:gd name="connsiteX124" fmla="*/ 278 w 10000"/>
                    <a:gd name="connsiteY124" fmla="*/ 4720 h 9893"/>
                    <a:gd name="connsiteX125" fmla="*/ 500 w 10000"/>
                    <a:gd name="connsiteY125" fmla="*/ 5406 h 9893"/>
                    <a:gd name="connsiteX126" fmla="*/ 722 w 10000"/>
                    <a:gd name="connsiteY126" fmla="*/ 5994 h 9893"/>
                    <a:gd name="connsiteX127" fmla="*/ 722 w 10000"/>
                    <a:gd name="connsiteY127" fmla="*/ 5994 h 9893"/>
                    <a:gd name="connsiteX128" fmla="*/ 889 w 10000"/>
                    <a:gd name="connsiteY128" fmla="*/ 6342 h 9893"/>
                    <a:gd name="connsiteX129" fmla="*/ 944 w 10000"/>
                    <a:gd name="connsiteY129" fmla="*/ 6642 h 9893"/>
                    <a:gd name="connsiteX130" fmla="*/ 1111 w 10000"/>
                    <a:gd name="connsiteY130" fmla="*/ 6935 h 9893"/>
                    <a:gd name="connsiteX131" fmla="*/ 1333 w 10000"/>
                    <a:gd name="connsiteY131" fmla="*/ 7385 h 9893"/>
                    <a:gd name="connsiteX132" fmla="*/ 1333 w 10000"/>
                    <a:gd name="connsiteY132" fmla="*/ 7385 h 9893"/>
                    <a:gd name="connsiteX133" fmla="*/ 1444 w 10000"/>
                    <a:gd name="connsiteY133" fmla="*/ 7622 h 9893"/>
                    <a:gd name="connsiteX134" fmla="*/ 1500 w 10000"/>
                    <a:gd name="connsiteY134" fmla="*/ 7797 h 9893"/>
                    <a:gd name="connsiteX135" fmla="*/ 1500 w 10000"/>
                    <a:gd name="connsiteY135" fmla="*/ 7962 h 9893"/>
                    <a:gd name="connsiteX136" fmla="*/ 1556 w 10000"/>
                    <a:gd name="connsiteY136" fmla="*/ 8034 h 9893"/>
                    <a:gd name="connsiteX137" fmla="*/ 1722 w 10000"/>
                    <a:gd name="connsiteY137" fmla="*/ 8087 h 9893"/>
                    <a:gd name="connsiteX138" fmla="*/ 1944 w 10000"/>
                    <a:gd name="connsiteY138" fmla="*/ 8143 h 9893"/>
                    <a:gd name="connsiteX139" fmla="*/ 2944 w 10000"/>
                    <a:gd name="connsiteY139" fmla="*/ 8206 h 9893"/>
                    <a:gd name="connsiteX140" fmla="*/ 2944 w 10000"/>
                    <a:gd name="connsiteY140" fmla="*/ 8206 h 9893"/>
                    <a:gd name="connsiteX141" fmla="*/ 4167 w 10000"/>
                    <a:gd name="connsiteY141" fmla="*/ 8325 h 9893"/>
                    <a:gd name="connsiteX142" fmla="*/ 4889 w 10000"/>
                    <a:gd name="connsiteY142" fmla="*/ 8489 h 9893"/>
                    <a:gd name="connsiteX143" fmla="*/ 5278 w 10000"/>
                    <a:gd name="connsiteY143" fmla="*/ 8675 h 9893"/>
                    <a:gd name="connsiteX144" fmla="*/ 5444 w 10000"/>
                    <a:gd name="connsiteY144" fmla="*/ 8724 h 9893"/>
                    <a:gd name="connsiteX145" fmla="*/ 5444 w 10000"/>
                    <a:gd name="connsiteY145" fmla="*/ 8724 h 9893"/>
                    <a:gd name="connsiteX146" fmla="*/ 5722 w 10000"/>
                    <a:gd name="connsiteY146" fmla="*/ 8854 h 9893"/>
                    <a:gd name="connsiteX147" fmla="*/ 5833 w 10000"/>
                    <a:gd name="connsiteY147" fmla="*/ 8912 h 9893"/>
                    <a:gd name="connsiteX148" fmla="*/ 5833 w 10000"/>
                    <a:gd name="connsiteY148" fmla="*/ 8912 h 9893"/>
                    <a:gd name="connsiteX149" fmla="*/ 5833 w 10000"/>
                    <a:gd name="connsiteY149" fmla="*/ 8854 h 9893"/>
                    <a:gd name="connsiteX150" fmla="*/ 5889 w 10000"/>
                    <a:gd name="connsiteY150" fmla="*/ 8787 h 9893"/>
                    <a:gd name="connsiteX151" fmla="*/ 6000 w 10000"/>
                    <a:gd name="connsiteY151" fmla="*/ 8724 h 9893"/>
                    <a:gd name="connsiteX152" fmla="*/ 6167 w 10000"/>
                    <a:gd name="connsiteY152" fmla="*/ 8675 h 9893"/>
                    <a:gd name="connsiteX153" fmla="*/ 6444 w 10000"/>
                    <a:gd name="connsiteY153" fmla="*/ 8675 h 9893"/>
                    <a:gd name="connsiteX154" fmla="*/ 6833 w 10000"/>
                    <a:gd name="connsiteY154" fmla="*/ 8724 h 9893"/>
                    <a:gd name="connsiteX155" fmla="*/ 7278 w 10000"/>
                    <a:gd name="connsiteY155" fmla="*/ 8912 h 9893"/>
                    <a:gd name="connsiteX156" fmla="*/ 7278 w 10000"/>
                    <a:gd name="connsiteY156" fmla="*/ 8912 h 9893"/>
                    <a:gd name="connsiteX157" fmla="*/ 8722 w 10000"/>
                    <a:gd name="connsiteY157" fmla="*/ 9419 h 9893"/>
                    <a:gd name="connsiteX158" fmla="*/ 10000 w 10000"/>
                    <a:gd name="connsiteY158" fmla="*/ 9893 h 9893"/>
                    <a:gd name="connsiteX0" fmla="*/ 10000 w 10000"/>
                    <a:gd name="connsiteY0" fmla="*/ 5876 h 9882"/>
                    <a:gd name="connsiteX1" fmla="*/ 10000 w 10000"/>
                    <a:gd name="connsiteY1" fmla="*/ 5876 h 9882"/>
                    <a:gd name="connsiteX2" fmla="*/ 9222 w 10000"/>
                    <a:gd name="connsiteY2" fmla="*/ 5941 h 9882"/>
                    <a:gd name="connsiteX3" fmla="*/ 8944 w 10000"/>
                    <a:gd name="connsiteY3" fmla="*/ 5941 h 9882"/>
                    <a:gd name="connsiteX4" fmla="*/ 8833 w 10000"/>
                    <a:gd name="connsiteY4" fmla="*/ 5876 h 9882"/>
                    <a:gd name="connsiteX5" fmla="*/ 8778 w 10000"/>
                    <a:gd name="connsiteY5" fmla="*/ 5820 h 9882"/>
                    <a:gd name="connsiteX6" fmla="*/ 8778 w 10000"/>
                    <a:gd name="connsiteY6" fmla="*/ 5820 h 9882"/>
                    <a:gd name="connsiteX7" fmla="*/ 8444 w 10000"/>
                    <a:gd name="connsiteY7" fmla="*/ 5115 h 9882"/>
                    <a:gd name="connsiteX8" fmla="*/ 8167 w 10000"/>
                    <a:gd name="connsiteY8" fmla="*/ 4466 h 9882"/>
                    <a:gd name="connsiteX9" fmla="*/ 8167 w 10000"/>
                    <a:gd name="connsiteY9" fmla="*/ 4466 h 9882"/>
                    <a:gd name="connsiteX10" fmla="*/ 8056 w 10000"/>
                    <a:gd name="connsiteY10" fmla="*/ 4357 h 9882"/>
                    <a:gd name="connsiteX11" fmla="*/ 7889 w 10000"/>
                    <a:gd name="connsiteY11" fmla="*/ 4243 h 9882"/>
                    <a:gd name="connsiteX12" fmla="*/ 7444 w 10000"/>
                    <a:gd name="connsiteY12" fmla="*/ 4173 h 9882"/>
                    <a:gd name="connsiteX13" fmla="*/ 6889 w 10000"/>
                    <a:gd name="connsiteY13" fmla="*/ 4119 h 9882"/>
                    <a:gd name="connsiteX14" fmla="*/ 6389 w 10000"/>
                    <a:gd name="connsiteY14" fmla="*/ 4119 h 9882"/>
                    <a:gd name="connsiteX15" fmla="*/ 6389 w 10000"/>
                    <a:gd name="connsiteY15" fmla="*/ 4119 h 9882"/>
                    <a:gd name="connsiteX16" fmla="*/ 6167 w 10000"/>
                    <a:gd name="connsiteY16" fmla="*/ 4054 h 9882"/>
                    <a:gd name="connsiteX17" fmla="*/ 6056 w 10000"/>
                    <a:gd name="connsiteY17" fmla="*/ 3946 h 9882"/>
                    <a:gd name="connsiteX18" fmla="*/ 6000 w 10000"/>
                    <a:gd name="connsiteY18" fmla="*/ 3821 h 9882"/>
                    <a:gd name="connsiteX19" fmla="*/ 6000 w 10000"/>
                    <a:gd name="connsiteY19" fmla="*/ 3604 h 9882"/>
                    <a:gd name="connsiteX20" fmla="*/ 6056 w 10000"/>
                    <a:gd name="connsiteY20" fmla="*/ 3125 h 9882"/>
                    <a:gd name="connsiteX21" fmla="*/ 6111 w 10000"/>
                    <a:gd name="connsiteY21" fmla="*/ 2884 h 9882"/>
                    <a:gd name="connsiteX22" fmla="*/ 6056 w 10000"/>
                    <a:gd name="connsiteY22" fmla="*/ 2586 h 9882"/>
                    <a:gd name="connsiteX23" fmla="*/ 6056 w 10000"/>
                    <a:gd name="connsiteY23" fmla="*/ 2586 h 9882"/>
                    <a:gd name="connsiteX24" fmla="*/ 6000 w 10000"/>
                    <a:gd name="connsiteY24" fmla="*/ 2410 h 9882"/>
                    <a:gd name="connsiteX25" fmla="*/ 5944 w 10000"/>
                    <a:gd name="connsiteY25" fmla="*/ 2291 h 9882"/>
                    <a:gd name="connsiteX26" fmla="*/ 5833 w 10000"/>
                    <a:gd name="connsiteY26" fmla="*/ 2291 h 9882"/>
                    <a:gd name="connsiteX27" fmla="*/ 5667 w 10000"/>
                    <a:gd name="connsiteY27" fmla="*/ 2344 h 9882"/>
                    <a:gd name="connsiteX28" fmla="*/ 5333 w 10000"/>
                    <a:gd name="connsiteY28" fmla="*/ 2529 h 9882"/>
                    <a:gd name="connsiteX29" fmla="*/ 4889 w 10000"/>
                    <a:gd name="connsiteY29" fmla="*/ 2825 h 9882"/>
                    <a:gd name="connsiteX30" fmla="*/ 4889 w 10000"/>
                    <a:gd name="connsiteY30" fmla="*/ 2825 h 9882"/>
                    <a:gd name="connsiteX31" fmla="*/ 4611 w 10000"/>
                    <a:gd name="connsiteY31" fmla="*/ 2884 h 9882"/>
                    <a:gd name="connsiteX32" fmla="*/ 4500 w 10000"/>
                    <a:gd name="connsiteY32" fmla="*/ 2884 h 9882"/>
                    <a:gd name="connsiteX33" fmla="*/ 4444 w 10000"/>
                    <a:gd name="connsiteY33" fmla="*/ 2825 h 9882"/>
                    <a:gd name="connsiteX34" fmla="*/ 4389 w 10000"/>
                    <a:gd name="connsiteY34" fmla="*/ 2586 h 9882"/>
                    <a:gd name="connsiteX35" fmla="*/ 4222 w 10000"/>
                    <a:gd name="connsiteY35" fmla="*/ 2291 h 9882"/>
                    <a:gd name="connsiteX36" fmla="*/ 4222 w 10000"/>
                    <a:gd name="connsiteY36" fmla="*/ 2291 h 9882"/>
                    <a:gd name="connsiteX37" fmla="*/ 4111 w 10000"/>
                    <a:gd name="connsiteY37" fmla="*/ 2113 h 9882"/>
                    <a:gd name="connsiteX38" fmla="*/ 4111 w 10000"/>
                    <a:gd name="connsiteY38" fmla="*/ 1943 h 9882"/>
                    <a:gd name="connsiteX39" fmla="*/ 4111 w 10000"/>
                    <a:gd name="connsiteY39" fmla="*/ 1824 h 9882"/>
                    <a:gd name="connsiteX40" fmla="*/ 4167 w 10000"/>
                    <a:gd name="connsiteY40" fmla="*/ 1703 h 9882"/>
                    <a:gd name="connsiteX41" fmla="*/ 4278 w 10000"/>
                    <a:gd name="connsiteY41" fmla="*/ 1469 h 9882"/>
                    <a:gd name="connsiteX42" fmla="*/ 4389 w 10000"/>
                    <a:gd name="connsiteY42" fmla="*/ 1408 h 9882"/>
                    <a:gd name="connsiteX43" fmla="*/ 4389 w 10000"/>
                    <a:gd name="connsiteY43" fmla="*/ 1408 h 9882"/>
                    <a:gd name="connsiteX44" fmla="*/ 4389 w 10000"/>
                    <a:gd name="connsiteY44" fmla="*/ 1349 h 9882"/>
                    <a:gd name="connsiteX45" fmla="*/ 4444 w 10000"/>
                    <a:gd name="connsiteY45" fmla="*/ 1303 h 9882"/>
                    <a:gd name="connsiteX46" fmla="*/ 4667 w 10000"/>
                    <a:gd name="connsiteY46" fmla="*/ 1236 h 9882"/>
                    <a:gd name="connsiteX47" fmla="*/ 5333 w 10000"/>
                    <a:gd name="connsiteY47" fmla="*/ 1124 h 9882"/>
                    <a:gd name="connsiteX48" fmla="*/ 6500 w 10000"/>
                    <a:gd name="connsiteY48" fmla="*/ 939 h 9882"/>
                    <a:gd name="connsiteX49" fmla="*/ 6500 w 10000"/>
                    <a:gd name="connsiteY49" fmla="*/ 939 h 9882"/>
                    <a:gd name="connsiteX50" fmla="*/ 7167 w 10000"/>
                    <a:gd name="connsiteY50" fmla="*/ 769 h 9882"/>
                    <a:gd name="connsiteX51" fmla="*/ 8389 w 10000"/>
                    <a:gd name="connsiteY51" fmla="*/ 418 h 9882"/>
                    <a:gd name="connsiteX52" fmla="*/ 8389 w 10000"/>
                    <a:gd name="connsiteY52" fmla="*/ 418 h 9882"/>
                    <a:gd name="connsiteX53" fmla="*/ 8667 w 10000"/>
                    <a:gd name="connsiteY53" fmla="*/ 289 h 9882"/>
                    <a:gd name="connsiteX54" fmla="*/ 8778 w 10000"/>
                    <a:gd name="connsiteY54" fmla="*/ 108 h 9882"/>
                    <a:gd name="connsiteX55" fmla="*/ 8889 w 10000"/>
                    <a:gd name="connsiteY55" fmla="*/ 0 h 9882"/>
                    <a:gd name="connsiteX56" fmla="*/ 10000 w 10000"/>
                    <a:gd name="connsiteY56" fmla="*/ 5941 h 9882"/>
                    <a:gd name="connsiteX57" fmla="*/ 10000 w 10000"/>
                    <a:gd name="connsiteY57" fmla="*/ 5941 h 9882"/>
                    <a:gd name="connsiteX58" fmla="*/ 9722 w 10000"/>
                    <a:gd name="connsiteY58" fmla="*/ 5876 h 9882"/>
                    <a:gd name="connsiteX59" fmla="*/ 9389 w 10000"/>
                    <a:gd name="connsiteY59" fmla="*/ 5941 h 9882"/>
                    <a:gd name="connsiteX60" fmla="*/ 9389 w 10000"/>
                    <a:gd name="connsiteY60" fmla="*/ 5941 h 9882"/>
                    <a:gd name="connsiteX61" fmla="*/ 9278 w 10000"/>
                    <a:gd name="connsiteY61" fmla="*/ 6013 h 9882"/>
                    <a:gd name="connsiteX62" fmla="*/ 9056 w 10000"/>
                    <a:gd name="connsiteY62" fmla="*/ 5941 h 9882"/>
                    <a:gd name="connsiteX63" fmla="*/ 8889 w 10000"/>
                    <a:gd name="connsiteY63" fmla="*/ 5876 h 9882"/>
                    <a:gd name="connsiteX64" fmla="*/ 8722 w 10000"/>
                    <a:gd name="connsiteY64" fmla="*/ 5764 h 9882"/>
                    <a:gd name="connsiteX65" fmla="*/ 8611 w 10000"/>
                    <a:gd name="connsiteY65" fmla="*/ 5581 h 9882"/>
                    <a:gd name="connsiteX66" fmla="*/ 8444 w 10000"/>
                    <a:gd name="connsiteY66" fmla="*/ 5287 h 9882"/>
                    <a:gd name="connsiteX67" fmla="*/ 8444 w 10000"/>
                    <a:gd name="connsiteY67" fmla="*/ 5287 h 9882"/>
                    <a:gd name="connsiteX68" fmla="*/ 8222 w 10000"/>
                    <a:gd name="connsiteY68" fmla="*/ 4772 h 9882"/>
                    <a:gd name="connsiteX69" fmla="*/ 8111 w 10000"/>
                    <a:gd name="connsiteY69" fmla="*/ 4537 h 9882"/>
                    <a:gd name="connsiteX70" fmla="*/ 7944 w 10000"/>
                    <a:gd name="connsiteY70" fmla="*/ 4357 h 9882"/>
                    <a:gd name="connsiteX71" fmla="*/ 7778 w 10000"/>
                    <a:gd name="connsiteY71" fmla="*/ 4243 h 9882"/>
                    <a:gd name="connsiteX72" fmla="*/ 7556 w 10000"/>
                    <a:gd name="connsiteY72" fmla="*/ 4173 h 9882"/>
                    <a:gd name="connsiteX73" fmla="*/ 7333 w 10000"/>
                    <a:gd name="connsiteY73" fmla="*/ 4119 h 9882"/>
                    <a:gd name="connsiteX74" fmla="*/ 7000 w 10000"/>
                    <a:gd name="connsiteY74" fmla="*/ 4054 h 9882"/>
                    <a:gd name="connsiteX75" fmla="*/ 7000 w 10000"/>
                    <a:gd name="connsiteY75" fmla="*/ 4054 h 9882"/>
                    <a:gd name="connsiteX76" fmla="*/ 6556 w 10000"/>
                    <a:gd name="connsiteY76" fmla="*/ 4119 h 9882"/>
                    <a:gd name="connsiteX77" fmla="*/ 6222 w 10000"/>
                    <a:gd name="connsiteY77" fmla="*/ 4119 h 9882"/>
                    <a:gd name="connsiteX78" fmla="*/ 6111 w 10000"/>
                    <a:gd name="connsiteY78" fmla="*/ 4054 h 9882"/>
                    <a:gd name="connsiteX79" fmla="*/ 6056 w 10000"/>
                    <a:gd name="connsiteY79" fmla="*/ 3998 h 9882"/>
                    <a:gd name="connsiteX80" fmla="*/ 6056 w 10000"/>
                    <a:gd name="connsiteY80" fmla="*/ 3998 h 9882"/>
                    <a:gd name="connsiteX81" fmla="*/ 6056 w 10000"/>
                    <a:gd name="connsiteY81" fmla="*/ 2947 h 9882"/>
                    <a:gd name="connsiteX82" fmla="*/ 6056 w 10000"/>
                    <a:gd name="connsiteY82" fmla="*/ 2947 h 9882"/>
                    <a:gd name="connsiteX83" fmla="*/ 6056 w 10000"/>
                    <a:gd name="connsiteY83" fmla="*/ 2701 h 9882"/>
                    <a:gd name="connsiteX84" fmla="*/ 5944 w 10000"/>
                    <a:gd name="connsiteY84" fmla="*/ 2410 h 9882"/>
                    <a:gd name="connsiteX85" fmla="*/ 5889 w 10000"/>
                    <a:gd name="connsiteY85" fmla="*/ 2344 h 9882"/>
                    <a:gd name="connsiteX86" fmla="*/ 5778 w 10000"/>
                    <a:gd name="connsiteY86" fmla="*/ 2291 h 9882"/>
                    <a:gd name="connsiteX87" fmla="*/ 5667 w 10000"/>
                    <a:gd name="connsiteY87" fmla="*/ 2291 h 9882"/>
                    <a:gd name="connsiteX88" fmla="*/ 5500 w 10000"/>
                    <a:gd name="connsiteY88" fmla="*/ 2344 h 9882"/>
                    <a:gd name="connsiteX89" fmla="*/ 5500 w 10000"/>
                    <a:gd name="connsiteY89" fmla="*/ 2344 h 9882"/>
                    <a:gd name="connsiteX90" fmla="*/ 4889 w 10000"/>
                    <a:gd name="connsiteY90" fmla="*/ 2764 h 9882"/>
                    <a:gd name="connsiteX91" fmla="*/ 4611 w 10000"/>
                    <a:gd name="connsiteY91" fmla="*/ 2884 h 9882"/>
                    <a:gd name="connsiteX92" fmla="*/ 4556 w 10000"/>
                    <a:gd name="connsiteY92" fmla="*/ 2947 h 9882"/>
                    <a:gd name="connsiteX93" fmla="*/ 4500 w 10000"/>
                    <a:gd name="connsiteY93" fmla="*/ 2884 h 9882"/>
                    <a:gd name="connsiteX94" fmla="*/ 4500 w 10000"/>
                    <a:gd name="connsiteY94" fmla="*/ 2884 h 9882"/>
                    <a:gd name="connsiteX95" fmla="*/ 4222 w 10000"/>
                    <a:gd name="connsiteY95" fmla="*/ 2291 h 9882"/>
                    <a:gd name="connsiteX96" fmla="*/ 4222 w 10000"/>
                    <a:gd name="connsiteY96" fmla="*/ 2291 h 9882"/>
                    <a:gd name="connsiteX97" fmla="*/ 4111 w 10000"/>
                    <a:gd name="connsiteY97" fmla="*/ 1999 h 9882"/>
                    <a:gd name="connsiteX98" fmla="*/ 4111 w 10000"/>
                    <a:gd name="connsiteY98" fmla="*/ 1824 h 9882"/>
                    <a:gd name="connsiteX99" fmla="*/ 4111 w 10000"/>
                    <a:gd name="connsiteY99" fmla="*/ 1644 h 9882"/>
                    <a:gd name="connsiteX100" fmla="*/ 4111 w 10000"/>
                    <a:gd name="connsiteY100" fmla="*/ 1644 h 9882"/>
                    <a:gd name="connsiteX101" fmla="*/ 4278 w 10000"/>
                    <a:gd name="connsiteY101" fmla="*/ 1469 h 9882"/>
                    <a:gd name="connsiteX102" fmla="*/ 4389 w 10000"/>
                    <a:gd name="connsiteY102" fmla="*/ 1408 h 9882"/>
                    <a:gd name="connsiteX103" fmla="*/ 4389 w 10000"/>
                    <a:gd name="connsiteY103" fmla="*/ 1408 h 9882"/>
                    <a:gd name="connsiteX104" fmla="*/ 4000 w 10000"/>
                    <a:gd name="connsiteY104" fmla="*/ 1408 h 9882"/>
                    <a:gd name="connsiteX105" fmla="*/ 3722 w 10000"/>
                    <a:gd name="connsiteY105" fmla="*/ 1469 h 9882"/>
                    <a:gd name="connsiteX106" fmla="*/ 3611 w 10000"/>
                    <a:gd name="connsiteY106" fmla="*/ 1534 h 9882"/>
                    <a:gd name="connsiteX107" fmla="*/ 3556 w 10000"/>
                    <a:gd name="connsiteY107" fmla="*/ 1592 h 9882"/>
                    <a:gd name="connsiteX108" fmla="*/ 3556 w 10000"/>
                    <a:gd name="connsiteY108" fmla="*/ 1592 h 9882"/>
                    <a:gd name="connsiteX109" fmla="*/ 3444 w 10000"/>
                    <a:gd name="connsiteY109" fmla="*/ 1824 h 9882"/>
                    <a:gd name="connsiteX110" fmla="*/ 3278 w 10000"/>
                    <a:gd name="connsiteY110" fmla="*/ 2182 h 9882"/>
                    <a:gd name="connsiteX111" fmla="*/ 3000 w 10000"/>
                    <a:gd name="connsiteY111" fmla="*/ 2586 h 9882"/>
                    <a:gd name="connsiteX112" fmla="*/ 2667 w 10000"/>
                    <a:gd name="connsiteY112" fmla="*/ 2884 h 9882"/>
                    <a:gd name="connsiteX113" fmla="*/ 2667 w 10000"/>
                    <a:gd name="connsiteY113" fmla="*/ 2884 h 9882"/>
                    <a:gd name="connsiteX114" fmla="*/ 2333 w 10000"/>
                    <a:gd name="connsiteY114" fmla="*/ 3125 h 9882"/>
                    <a:gd name="connsiteX115" fmla="*/ 1833 w 10000"/>
                    <a:gd name="connsiteY115" fmla="*/ 3361 h 9882"/>
                    <a:gd name="connsiteX116" fmla="*/ 1389 w 10000"/>
                    <a:gd name="connsiteY116" fmla="*/ 3473 h 9882"/>
                    <a:gd name="connsiteX117" fmla="*/ 889 w 10000"/>
                    <a:gd name="connsiteY117" fmla="*/ 3532 h 9882"/>
                    <a:gd name="connsiteX118" fmla="*/ 889 w 10000"/>
                    <a:gd name="connsiteY118" fmla="*/ 3532 h 9882"/>
                    <a:gd name="connsiteX119" fmla="*/ 500 w 10000"/>
                    <a:gd name="connsiteY119" fmla="*/ 3604 h 9882"/>
                    <a:gd name="connsiteX120" fmla="*/ 222 w 10000"/>
                    <a:gd name="connsiteY120" fmla="*/ 3647 h 9882"/>
                    <a:gd name="connsiteX121" fmla="*/ 0 w 10000"/>
                    <a:gd name="connsiteY121" fmla="*/ 3704 h 9882"/>
                    <a:gd name="connsiteX122" fmla="*/ 0 w 10000"/>
                    <a:gd name="connsiteY122" fmla="*/ 3704 h 9882"/>
                    <a:gd name="connsiteX123" fmla="*/ 278 w 10000"/>
                    <a:gd name="connsiteY123" fmla="*/ 4653 h 9882"/>
                    <a:gd name="connsiteX124" fmla="*/ 500 w 10000"/>
                    <a:gd name="connsiteY124" fmla="*/ 5346 h 9882"/>
                    <a:gd name="connsiteX125" fmla="*/ 722 w 10000"/>
                    <a:gd name="connsiteY125" fmla="*/ 5941 h 9882"/>
                    <a:gd name="connsiteX126" fmla="*/ 722 w 10000"/>
                    <a:gd name="connsiteY126" fmla="*/ 5941 h 9882"/>
                    <a:gd name="connsiteX127" fmla="*/ 889 w 10000"/>
                    <a:gd name="connsiteY127" fmla="*/ 6293 h 9882"/>
                    <a:gd name="connsiteX128" fmla="*/ 944 w 10000"/>
                    <a:gd name="connsiteY128" fmla="*/ 6596 h 9882"/>
                    <a:gd name="connsiteX129" fmla="*/ 1111 w 10000"/>
                    <a:gd name="connsiteY129" fmla="*/ 6892 h 9882"/>
                    <a:gd name="connsiteX130" fmla="*/ 1333 w 10000"/>
                    <a:gd name="connsiteY130" fmla="*/ 7347 h 9882"/>
                    <a:gd name="connsiteX131" fmla="*/ 1333 w 10000"/>
                    <a:gd name="connsiteY131" fmla="*/ 7347 h 9882"/>
                    <a:gd name="connsiteX132" fmla="*/ 1444 w 10000"/>
                    <a:gd name="connsiteY132" fmla="*/ 7586 h 9882"/>
                    <a:gd name="connsiteX133" fmla="*/ 1500 w 10000"/>
                    <a:gd name="connsiteY133" fmla="*/ 7763 h 9882"/>
                    <a:gd name="connsiteX134" fmla="*/ 1500 w 10000"/>
                    <a:gd name="connsiteY134" fmla="*/ 7930 h 9882"/>
                    <a:gd name="connsiteX135" fmla="*/ 1556 w 10000"/>
                    <a:gd name="connsiteY135" fmla="*/ 8003 h 9882"/>
                    <a:gd name="connsiteX136" fmla="*/ 1722 w 10000"/>
                    <a:gd name="connsiteY136" fmla="*/ 8056 h 9882"/>
                    <a:gd name="connsiteX137" fmla="*/ 1944 w 10000"/>
                    <a:gd name="connsiteY137" fmla="*/ 8113 h 9882"/>
                    <a:gd name="connsiteX138" fmla="*/ 2944 w 10000"/>
                    <a:gd name="connsiteY138" fmla="*/ 8177 h 9882"/>
                    <a:gd name="connsiteX139" fmla="*/ 2944 w 10000"/>
                    <a:gd name="connsiteY139" fmla="*/ 8177 h 9882"/>
                    <a:gd name="connsiteX140" fmla="*/ 4167 w 10000"/>
                    <a:gd name="connsiteY140" fmla="*/ 8297 h 9882"/>
                    <a:gd name="connsiteX141" fmla="*/ 4889 w 10000"/>
                    <a:gd name="connsiteY141" fmla="*/ 8463 h 9882"/>
                    <a:gd name="connsiteX142" fmla="*/ 5278 w 10000"/>
                    <a:gd name="connsiteY142" fmla="*/ 8651 h 9882"/>
                    <a:gd name="connsiteX143" fmla="*/ 5444 w 10000"/>
                    <a:gd name="connsiteY143" fmla="*/ 8700 h 9882"/>
                    <a:gd name="connsiteX144" fmla="*/ 5444 w 10000"/>
                    <a:gd name="connsiteY144" fmla="*/ 8700 h 9882"/>
                    <a:gd name="connsiteX145" fmla="*/ 5722 w 10000"/>
                    <a:gd name="connsiteY145" fmla="*/ 8832 h 9882"/>
                    <a:gd name="connsiteX146" fmla="*/ 5833 w 10000"/>
                    <a:gd name="connsiteY146" fmla="*/ 8890 h 9882"/>
                    <a:gd name="connsiteX147" fmla="*/ 5833 w 10000"/>
                    <a:gd name="connsiteY147" fmla="*/ 8890 h 9882"/>
                    <a:gd name="connsiteX148" fmla="*/ 5833 w 10000"/>
                    <a:gd name="connsiteY148" fmla="*/ 8832 h 9882"/>
                    <a:gd name="connsiteX149" fmla="*/ 5889 w 10000"/>
                    <a:gd name="connsiteY149" fmla="*/ 8764 h 9882"/>
                    <a:gd name="connsiteX150" fmla="*/ 6000 w 10000"/>
                    <a:gd name="connsiteY150" fmla="*/ 8700 h 9882"/>
                    <a:gd name="connsiteX151" fmla="*/ 6167 w 10000"/>
                    <a:gd name="connsiteY151" fmla="*/ 8651 h 9882"/>
                    <a:gd name="connsiteX152" fmla="*/ 6444 w 10000"/>
                    <a:gd name="connsiteY152" fmla="*/ 8651 h 9882"/>
                    <a:gd name="connsiteX153" fmla="*/ 6833 w 10000"/>
                    <a:gd name="connsiteY153" fmla="*/ 8700 h 9882"/>
                    <a:gd name="connsiteX154" fmla="*/ 7278 w 10000"/>
                    <a:gd name="connsiteY154" fmla="*/ 8890 h 9882"/>
                    <a:gd name="connsiteX155" fmla="*/ 7278 w 10000"/>
                    <a:gd name="connsiteY155" fmla="*/ 8890 h 9882"/>
                    <a:gd name="connsiteX156" fmla="*/ 8722 w 10000"/>
                    <a:gd name="connsiteY156" fmla="*/ 9403 h 9882"/>
                    <a:gd name="connsiteX157" fmla="*/ 10000 w 10000"/>
                    <a:gd name="connsiteY157" fmla="*/ 9882 h 9882"/>
                    <a:gd name="connsiteX0" fmla="*/ 10000 w 10000"/>
                    <a:gd name="connsiteY0" fmla="*/ 5837 h 9891"/>
                    <a:gd name="connsiteX1" fmla="*/ 10000 w 10000"/>
                    <a:gd name="connsiteY1" fmla="*/ 5837 h 9891"/>
                    <a:gd name="connsiteX2" fmla="*/ 9222 w 10000"/>
                    <a:gd name="connsiteY2" fmla="*/ 5903 h 9891"/>
                    <a:gd name="connsiteX3" fmla="*/ 8944 w 10000"/>
                    <a:gd name="connsiteY3" fmla="*/ 5903 h 9891"/>
                    <a:gd name="connsiteX4" fmla="*/ 8833 w 10000"/>
                    <a:gd name="connsiteY4" fmla="*/ 5837 h 9891"/>
                    <a:gd name="connsiteX5" fmla="*/ 8778 w 10000"/>
                    <a:gd name="connsiteY5" fmla="*/ 5780 h 9891"/>
                    <a:gd name="connsiteX6" fmla="*/ 8778 w 10000"/>
                    <a:gd name="connsiteY6" fmla="*/ 5780 h 9891"/>
                    <a:gd name="connsiteX7" fmla="*/ 8444 w 10000"/>
                    <a:gd name="connsiteY7" fmla="*/ 5067 h 9891"/>
                    <a:gd name="connsiteX8" fmla="*/ 8167 w 10000"/>
                    <a:gd name="connsiteY8" fmla="*/ 4410 h 9891"/>
                    <a:gd name="connsiteX9" fmla="*/ 8167 w 10000"/>
                    <a:gd name="connsiteY9" fmla="*/ 4410 h 9891"/>
                    <a:gd name="connsiteX10" fmla="*/ 8056 w 10000"/>
                    <a:gd name="connsiteY10" fmla="*/ 4300 h 9891"/>
                    <a:gd name="connsiteX11" fmla="*/ 7889 w 10000"/>
                    <a:gd name="connsiteY11" fmla="*/ 4185 h 9891"/>
                    <a:gd name="connsiteX12" fmla="*/ 7444 w 10000"/>
                    <a:gd name="connsiteY12" fmla="*/ 4114 h 9891"/>
                    <a:gd name="connsiteX13" fmla="*/ 6889 w 10000"/>
                    <a:gd name="connsiteY13" fmla="*/ 4059 h 9891"/>
                    <a:gd name="connsiteX14" fmla="*/ 6389 w 10000"/>
                    <a:gd name="connsiteY14" fmla="*/ 4059 h 9891"/>
                    <a:gd name="connsiteX15" fmla="*/ 6389 w 10000"/>
                    <a:gd name="connsiteY15" fmla="*/ 4059 h 9891"/>
                    <a:gd name="connsiteX16" fmla="*/ 6167 w 10000"/>
                    <a:gd name="connsiteY16" fmla="*/ 3993 h 9891"/>
                    <a:gd name="connsiteX17" fmla="*/ 6056 w 10000"/>
                    <a:gd name="connsiteY17" fmla="*/ 3884 h 9891"/>
                    <a:gd name="connsiteX18" fmla="*/ 6000 w 10000"/>
                    <a:gd name="connsiteY18" fmla="*/ 3758 h 9891"/>
                    <a:gd name="connsiteX19" fmla="*/ 6000 w 10000"/>
                    <a:gd name="connsiteY19" fmla="*/ 3538 h 9891"/>
                    <a:gd name="connsiteX20" fmla="*/ 6056 w 10000"/>
                    <a:gd name="connsiteY20" fmla="*/ 3053 h 9891"/>
                    <a:gd name="connsiteX21" fmla="*/ 6111 w 10000"/>
                    <a:gd name="connsiteY21" fmla="*/ 2809 h 9891"/>
                    <a:gd name="connsiteX22" fmla="*/ 6056 w 10000"/>
                    <a:gd name="connsiteY22" fmla="*/ 2508 h 9891"/>
                    <a:gd name="connsiteX23" fmla="*/ 6056 w 10000"/>
                    <a:gd name="connsiteY23" fmla="*/ 2508 h 9891"/>
                    <a:gd name="connsiteX24" fmla="*/ 6000 w 10000"/>
                    <a:gd name="connsiteY24" fmla="*/ 2330 h 9891"/>
                    <a:gd name="connsiteX25" fmla="*/ 5944 w 10000"/>
                    <a:gd name="connsiteY25" fmla="*/ 2209 h 9891"/>
                    <a:gd name="connsiteX26" fmla="*/ 5833 w 10000"/>
                    <a:gd name="connsiteY26" fmla="*/ 2209 h 9891"/>
                    <a:gd name="connsiteX27" fmla="*/ 5667 w 10000"/>
                    <a:gd name="connsiteY27" fmla="*/ 2263 h 9891"/>
                    <a:gd name="connsiteX28" fmla="*/ 5333 w 10000"/>
                    <a:gd name="connsiteY28" fmla="*/ 2450 h 9891"/>
                    <a:gd name="connsiteX29" fmla="*/ 4889 w 10000"/>
                    <a:gd name="connsiteY29" fmla="*/ 2750 h 9891"/>
                    <a:gd name="connsiteX30" fmla="*/ 4889 w 10000"/>
                    <a:gd name="connsiteY30" fmla="*/ 2750 h 9891"/>
                    <a:gd name="connsiteX31" fmla="*/ 4611 w 10000"/>
                    <a:gd name="connsiteY31" fmla="*/ 2809 h 9891"/>
                    <a:gd name="connsiteX32" fmla="*/ 4500 w 10000"/>
                    <a:gd name="connsiteY32" fmla="*/ 2809 h 9891"/>
                    <a:gd name="connsiteX33" fmla="*/ 4444 w 10000"/>
                    <a:gd name="connsiteY33" fmla="*/ 2750 h 9891"/>
                    <a:gd name="connsiteX34" fmla="*/ 4389 w 10000"/>
                    <a:gd name="connsiteY34" fmla="*/ 2508 h 9891"/>
                    <a:gd name="connsiteX35" fmla="*/ 4222 w 10000"/>
                    <a:gd name="connsiteY35" fmla="*/ 2209 h 9891"/>
                    <a:gd name="connsiteX36" fmla="*/ 4222 w 10000"/>
                    <a:gd name="connsiteY36" fmla="*/ 2209 h 9891"/>
                    <a:gd name="connsiteX37" fmla="*/ 4111 w 10000"/>
                    <a:gd name="connsiteY37" fmla="*/ 2029 h 9891"/>
                    <a:gd name="connsiteX38" fmla="*/ 4111 w 10000"/>
                    <a:gd name="connsiteY38" fmla="*/ 1857 h 9891"/>
                    <a:gd name="connsiteX39" fmla="*/ 4111 w 10000"/>
                    <a:gd name="connsiteY39" fmla="*/ 1737 h 9891"/>
                    <a:gd name="connsiteX40" fmla="*/ 4167 w 10000"/>
                    <a:gd name="connsiteY40" fmla="*/ 1614 h 9891"/>
                    <a:gd name="connsiteX41" fmla="*/ 4278 w 10000"/>
                    <a:gd name="connsiteY41" fmla="*/ 1378 h 9891"/>
                    <a:gd name="connsiteX42" fmla="*/ 4389 w 10000"/>
                    <a:gd name="connsiteY42" fmla="*/ 1316 h 9891"/>
                    <a:gd name="connsiteX43" fmla="*/ 4389 w 10000"/>
                    <a:gd name="connsiteY43" fmla="*/ 1316 h 9891"/>
                    <a:gd name="connsiteX44" fmla="*/ 4389 w 10000"/>
                    <a:gd name="connsiteY44" fmla="*/ 1256 h 9891"/>
                    <a:gd name="connsiteX45" fmla="*/ 4444 w 10000"/>
                    <a:gd name="connsiteY45" fmla="*/ 1210 h 9891"/>
                    <a:gd name="connsiteX46" fmla="*/ 4667 w 10000"/>
                    <a:gd name="connsiteY46" fmla="*/ 1142 h 9891"/>
                    <a:gd name="connsiteX47" fmla="*/ 5333 w 10000"/>
                    <a:gd name="connsiteY47" fmla="*/ 1028 h 9891"/>
                    <a:gd name="connsiteX48" fmla="*/ 6500 w 10000"/>
                    <a:gd name="connsiteY48" fmla="*/ 841 h 9891"/>
                    <a:gd name="connsiteX49" fmla="*/ 6500 w 10000"/>
                    <a:gd name="connsiteY49" fmla="*/ 841 h 9891"/>
                    <a:gd name="connsiteX50" fmla="*/ 7167 w 10000"/>
                    <a:gd name="connsiteY50" fmla="*/ 669 h 9891"/>
                    <a:gd name="connsiteX51" fmla="*/ 8389 w 10000"/>
                    <a:gd name="connsiteY51" fmla="*/ 314 h 9891"/>
                    <a:gd name="connsiteX52" fmla="*/ 8389 w 10000"/>
                    <a:gd name="connsiteY52" fmla="*/ 314 h 9891"/>
                    <a:gd name="connsiteX53" fmla="*/ 8667 w 10000"/>
                    <a:gd name="connsiteY53" fmla="*/ 183 h 9891"/>
                    <a:gd name="connsiteX54" fmla="*/ 8778 w 10000"/>
                    <a:gd name="connsiteY54" fmla="*/ 0 h 9891"/>
                    <a:gd name="connsiteX55" fmla="*/ 10000 w 10000"/>
                    <a:gd name="connsiteY55" fmla="*/ 5903 h 9891"/>
                    <a:gd name="connsiteX56" fmla="*/ 10000 w 10000"/>
                    <a:gd name="connsiteY56" fmla="*/ 5903 h 9891"/>
                    <a:gd name="connsiteX57" fmla="*/ 9722 w 10000"/>
                    <a:gd name="connsiteY57" fmla="*/ 5837 h 9891"/>
                    <a:gd name="connsiteX58" fmla="*/ 9389 w 10000"/>
                    <a:gd name="connsiteY58" fmla="*/ 5903 h 9891"/>
                    <a:gd name="connsiteX59" fmla="*/ 9389 w 10000"/>
                    <a:gd name="connsiteY59" fmla="*/ 5903 h 9891"/>
                    <a:gd name="connsiteX60" fmla="*/ 9278 w 10000"/>
                    <a:gd name="connsiteY60" fmla="*/ 5976 h 9891"/>
                    <a:gd name="connsiteX61" fmla="*/ 9056 w 10000"/>
                    <a:gd name="connsiteY61" fmla="*/ 5903 h 9891"/>
                    <a:gd name="connsiteX62" fmla="*/ 8889 w 10000"/>
                    <a:gd name="connsiteY62" fmla="*/ 5837 h 9891"/>
                    <a:gd name="connsiteX63" fmla="*/ 8722 w 10000"/>
                    <a:gd name="connsiteY63" fmla="*/ 5724 h 9891"/>
                    <a:gd name="connsiteX64" fmla="*/ 8611 w 10000"/>
                    <a:gd name="connsiteY64" fmla="*/ 5539 h 9891"/>
                    <a:gd name="connsiteX65" fmla="*/ 8444 w 10000"/>
                    <a:gd name="connsiteY65" fmla="*/ 5241 h 9891"/>
                    <a:gd name="connsiteX66" fmla="*/ 8444 w 10000"/>
                    <a:gd name="connsiteY66" fmla="*/ 5241 h 9891"/>
                    <a:gd name="connsiteX67" fmla="*/ 8222 w 10000"/>
                    <a:gd name="connsiteY67" fmla="*/ 4720 h 9891"/>
                    <a:gd name="connsiteX68" fmla="*/ 8111 w 10000"/>
                    <a:gd name="connsiteY68" fmla="*/ 4482 h 9891"/>
                    <a:gd name="connsiteX69" fmla="*/ 7944 w 10000"/>
                    <a:gd name="connsiteY69" fmla="*/ 4300 h 9891"/>
                    <a:gd name="connsiteX70" fmla="*/ 7778 w 10000"/>
                    <a:gd name="connsiteY70" fmla="*/ 4185 h 9891"/>
                    <a:gd name="connsiteX71" fmla="*/ 7556 w 10000"/>
                    <a:gd name="connsiteY71" fmla="*/ 4114 h 9891"/>
                    <a:gd name="connsiteX72" fmla="*/ 7333 w 10000"/>
                    <a:gd name="connsiteY72" fmla="*/ 4059 h 9891"/>
                    <a:gd name="connsiteX73" fmla="*/ 7000 w 10000"/>
                    <a:gd name="connsiteY73" fmla="*/ 3993 h 9891"/>
                    <a:gd name="connsiteX74" fmla="*/ 7000 w 10000"/>
                    <a:gd name="connsiteY74" fmla="*/ 3993 h 9891"/>
                    <a:gd name="connsiteX75" fmla="*/ 6556 w 10000"/>
                    <a:gd name="connsiteY75" fmla="*/ 4059 h 9891"/>
                    <a:gd name="connsiteX76" fmla="*/ 6222 w 10000"/>
                    <a:gd name="connsiteY76" fmla="*/ 4059 h 9891"/>
                    <a:gd name="connsiteX77" fmla="*/ 6111 w 10000"/>
                    <a:gd name="connsiteY77" fmla="*/ 3993 h 9891"/>
                    <a:gd name="connsiteX78" fmla="*/ 6056 w 10000"/>
                    <a:gd name="connsiteY78" fmla="*/ 3937 h 9891"/>
                    <a:gd name="connsiteX79" fmla="*/ 6056 w 10000"/>
                    <a:gd name="connsiteY79" fmla="*/ 3937 h 9891"/>
                    <a:gd name="connsiteX80" fmla="*/ 6056 w 10000"/>
                    <a:gd name="connsiteY80" fmla="*/ 2873 h 9891"/>
                    <a:gd name="connsiteX81" fmla="*/ 6056 w 10000"/>
                    <a:gd name="connsiteY81" fmla="*/ 2873 h 9891"/>
                    <a:gd name="connsiteX82" fmla="*/ 6056 w 10000"/>
                    <a:gd name="connsiteY82" fmla="*/ 2624 h 9891"/>
                    <a:gd name="connsiteX83" fmla="*/ 5944 w 10000"/>
                    <a:gd name="connsiteY83" fmla="*/ 2330 h 9891"/>
                    <a:gd name="connsiteX84" fmla="*/ 5889 w 10000"/>
                    <a:gd name="connsiteY84" fmla="*/ 2263 h 9891"/>
                    <a:gd name="connsiteX85" fmla="*/ 5778 w 10000"/>
                    <a:gd name="connsiteY85" fmla="*/ 2209 h 9891"/>
                    <a:gd name="connsiteX86" fmla="*/ 5667 w 10000"/>
                    <a:gd name="connsiteY86" fmla="*/ 2209 h 9891"/>
                    <a:gd name="connsiteX87" fmla="*/ 5500 w 10000"/>
                    <a:gd name="connsiteY87" fmla="*/ 2263 h 9891"/>
                    <a:gd name="connsiteX88" fmla="*/ 5500 w 10000"/>
                    <a:gd name="connsiteY88" fmla="*/ 2263 h 9891"/>
                    <a:gd name="connsiteX89" fmla="*/ 4889 w 10000"/>
                    <a:gd name="connsiteY89" fmla="*/ 2688 h 9891"/>
                    <a:gd name="connsiteX90" fmla="*/ 4611 w 10000"/>
                    <a:gd name="connsiteY90" fmla="*/ 2809 h 9891"/>
                    <a:gd name="connsiteX91" fmla="*/ 4556 w 10000"/>
                    <a:gd name="connsiteY91" fmla="*/ 2873 h 9891"/>
                    <a:gd name="connsiteX92" fmla="*/ 4500 w 10000"/>
                    <a:gd name="connsiteY92" fmla="*/ 2809 h 9891"/>
                    <a:gd name="connsiteX93" fmla="*/ 4500 w 10000"/>
                    <a:gd name="connsiteY93" fmla="*/ 2809 h 9891"/>
                    <a:gd name="connsiteX94" fmla="*/ 4222 w 10000"/>
                    <a:gd name="connsiteY94" fmla="*/ 2209 h 9891"/>
                    <a:gd name="connsiteX95" fmla="*/ 4222 w 10000"/>
                    <a:gd name="connsiteY95" fmla="*/ 2209 h 9891"/>
                    <a:gd name="connsiteX96" fmla="*/ 4111 w 10000"/>
                    <a:gd name="connsiteY96" fmla="*/ 1914 h 9891"/>
                    <a:gd name="connsiteX97" fmla="*/ 4111 w 10000"/>
                    <a:gd name="connsiteY97" fmla="*/ 1737 h 9891"/>
                    <a:gd name="connsiteX98" fmla="*/ 4111 w 10000"/>
                    <a:gd name="connsiteY98" fmla="*/ 1555 h 9891"/>
                    <a:gd name="connsiteX99" fmla="*/ 4111 w 10000"/>
                    <a:gd name="connsiteY99" fmla="*/ 1555 h 9891"/>
                    <a:gd name="connsiteX100" fmla="*/ 4278 w 10000"/>
                    <a:gd name="connsiteY100" fmla="*/ 1378 h 9891"/>
                    <a:gd name="connsiteX101" fmla="*/ 4389 w 10000"/>
                    <a:gd name="connsiteY101" fmla="*/ 1316 h 9891"/>
                    <a:gd name="connsiteX102" fmla="*/ 4389 w 10000"/>
                    <a:gd name="connsiteY102" fmla="*/ 1316 h 9891"/>
                    <a:gd name="connsiteX103" fmla="*/ 4000 w 10000"/>
                    <a:gd name="connsiteY103" fmla="*/ 1316 h 9891"/>
                    <a:gd name="connsiteX104" fmla="*/ 3722 w 10000"/>
                    <a:gd name="connsiteY104" fmla="*/ 1378 h 9891"/>
                    <a:gd name="connsiteX105" fmla="*/ 3611 w 10000"/>
                    <a:gd name="connsiteY105" fmla="*/ 1443 h 9891"/>
                    <a:gd name="connsiteX106" fmla="*/ 3556 w 10000"/>
                    <a:gd name="connsiteY106" fmla="*/ 1502 h 9891"/>
                    <a:gd name="connsiteX107" fmla="*/ 3556 w 10000"/>
                    <a:gd name="connsiteY107" fmla="*/ 1502 h 9891"/>
                    <a:gd name="connsiteX108" fmla="*/ 3444 w 10000"/>
                    <a:gd name="connsiteY108" fmla="*/ 1737 h 9891"/>
                    <a:gd name="connsiteX109" fmla="*/ 3278 w 10000"/>
                    <a:gd name="connsiteY109" fmla="*/ 2099 h 9891"/>
                    <a:gd name="connsiteX110" fmla="*/ 3000 w 10000"/>
                    <a:gd name="connsiteY110" fmla="*/ 2508 h 9891"/>
                    <a:gd name="connsiteX111" fmla="*/ 2667 w 10000"/>
                    <a:gd name="connsiteY111" fmla="*/ 2809 h 9891"/>
                    <a:gd name="connsiteX112" fmla="*/ 2667 w 10000"/>
                    <a:gd name="connsiteY112" fmla="*/ 2809 h 9891"/>
                    <a:gd name="connsiteX113" fmla="*/ 2333 w 10000"/>
                    <a:gd name="connsiteY113" fmla="*/ 3053 h 9891"/>
                    <a:gd name="connsiteX114" fmla="*/ 1833 w 10000"/>
                    <a:gd name="connsiteY114" fmla="*/ 3292 h 9891"/>
                    <a:gd name="connsiteX115" fmla="*/ 1389 w 10000"/>
                    <a:gd name="connsiteY115" fmla="*/ 3405 h 9891"/>
                    <a:gd name="connsiteX116" fmla="*/ 889 w 10000"/>
                    <a:gd name="connsiteY116" fmla="*/ 3465 h 9891"/>
                    <a:gd name="connsiteX117" fmla="*/ 889 w 10000"/>
                    <a:gd name="connsiteY117" fmla="*/ 3465 h 9891"/>
                    <a:gd name="connsiteX118" fmla="*/ 500 w 10000"/>
                    <a:gd name="connsiteY118" fmla="*/ 3538 h 9891"/>
                    <a:gd name="connsiteX119" fmla="*/ 222 w 10000"/>
                    <a:gd name="connsiteY119" fmla="*/ 3582 h 9891"/>
                    <a:gd name="connsiteX120" fmla="*/ 0 w 10000"/>
                    <a:gd name="connsiteY120" fmla="*/ 3639 h 9891"/>
                    <a:gd name="connsiteX121" fmla="*/ 0 w 10000"/>
                    <a:gd name="connsiteY121" fmla="*/ 3639 h 9891"/>
                    <a:gd name="connsiteX122" fmla="*/ 278 w 10000"/>
                    <a:gd name="connsiteY122" fmla="*/ 4600 h 9891"/>
                    <a:gd name="connsiteX123" fmla="*/ 500 w 10000"/>
                    <a:gd name="connsiteY123" fmla="*/ 5301 h 9891"/>
                    <a:gd name="connsiteX124" fmla="*/ 722 w 10000"/>
                    <a:gd name="connsiteY124" fmla="*/ 5903 h 9891"/>
                    <a:gd name="connsiteX125" fmla="*/ 722 w 10000"/>
                    <a:gd name="connsiteY125" fmla="*/ 5903 h 9891"/>
                    <a:gd name="connsiteX126" fmla="*/ 889 w 10000"/>
                    <a:gd name="connsiteY126" fmla="*/ 6259 h 9891"/>
                    <a:gd name="connsiteX127" fmla="*/ 944 w 10000"/>
                    <a:gd name="connsiteY127" fmla="*/ 6566 h 9891"/>
                    <a:gd name="connsiteX128" fmla="*/ 1111 w 10000"/>
                    <a:gd name="connsiteY128" fmla="*/ 6865 h 9891"/>
                    <a:gd name="connsiteX129" fmla="*/ 1333 w 10000"/>
                    <a:gd name="connsiteY129" fmla="*/ 7326 h 9891"/>
                    <a:gd name="connsiteX130" fmla="*/ 1333 w 10000"/>
                    <a:gd name="connsiteY130" fmla="*/ 7326 h 9891"/>
                    <a:gd name="connsiteX131" fmla="*/ 1444 w 10000"/>
                    <a:gd name="connsiteY131" fmla="*/ 7568 h 9891"/>
                    <a:gd name="connsiteX132" fmla="*/ 1500 w 10000"/>
                    <a:gd name="connsiteY132" fmla="*/ 7747 h 9891"/>
                    <a:gd name="connsiteX133" fmla="*/ 1500 w 10000"/>
                    <a:gd name="connsiteY133" fmla="*/ 7916 h 9891"/>
                    <a:gd name="connsiteX134" fmla="*/ 1556 w 10000"/>
                    <a:gd name="connsiteY134" fmla="*/ 7990 h 9891"/>
                    <a:gd name="connsiteX135" fmla="*/ 1722 w 10000"/>
                    <a:gd name="connsiteY135" fmla="*/ 8043 h 9891"/>
                    <a:gd name="connsiteX136" fmla="*/ 1944 w 10000"/>
                    <a:gd name="connsiteY136" fmla="*/ 8101 h 9891"/>
                    <a:gd name="connsiteX137" fmla="*/ 2944 w 10000"/>
                    <a:gd name="connsiteY137" fmla="*/ 8166 h 9891"/>
                    <a:gd name="connsiteX138" fmla="*/ 2944 w 10000"/>
                    <a:gd name="connsiteY138" fmla="*/ 8166 h 9891"/>
                    <a:gd name="connsiteX139" fmla="*/ 4167 w 10000"/>
                    <a:gd name="connsiteY139" fmla="*/ 8287 h 9891"/>
                    <a:gd name="connsiteX140" fmla="*/ 4889 w 10000"/>
                    <a:gd name="connsiteY140" fmla="*/ 8455 h 9891"/>
                    <a:gd name="connsiteX141" fmla="*/ 5278 w 10000"/>
                    <a:gd name="connsiteY141" fmla="*/ 8645 h 9891"/>
                    <a:gd name="connsiteX142" fmla="*/ 5444 w 10000"/>
                    <a:gd name="connsiteY142" fmla="*/ 8695 h 9891"/>
                    <a:gd name="connsiteX143" fmla="*/ 5444 w 10000"/>
                    <a:gd name="connsiteY143" fmla="*/ 8695 h 9891"/>
                    <a:gd name="connsiteX144" fmla="*/ 5722 w 10000"/>
                    <a:gd name="connsiteY144" fmla="*/ 8828 h 9891"/>
                    <a:gd name="connsiteX145" fmla="*/ 5833 w 10000"/>
                    <a:gd name="connsiteY145" fmla="*/ 8887 h 9891"/>
                    <a:gd name="connsiteX146" fmla="*/ 5833 w 10000"/>
                    <a:gd name="connsiteY146" fmla="*/ 8887 h 9891"/>
                    <a:gd name="connsiteX147" fmla="*/ 5833 w 10000"/>
                    <a:gd name="connsiteY147" fmla="*/ 8828 h 9891"/>
                    <a:gd name="connsiteX148" fmla="*/ 5889 w 10000"/>
                    <a:gd name="connsiteY148" fmla="*/ 8760 h 9891"/>
                    <a:gd name="connsiteX149" fmla="*/ 6000 w 10000"/>
                    <a:gd name="connsiteY149" fmla="*/ 8695 h 9891"/>
                    <a:gd name="connsiteX150" fmla="*/ 6167 w 10000"/>
                    <a:gd name="connsiteY150" fmla="*/ 8645 h 9891"/>
                    <a:gd name="connsiteX151" fmla="*/ 6444 w 10000"/>
                    <a:gd name="connsiteY151" fmla="*/ 8645 h 9891"/>
                    <a:gd name="connsiteX152" fmla="*/ 6833 w 10000"/>
                    <a:gd name="connsiteY152" fmla="*/ 8695 h 9891"/>
                    <a:gd name="connsiteX153" fmla="*/ 7278 w 10000"/>
                    <a:gd name="connsiteY153" fmla="*/ 8887 h 9891"/>
                    <a:gd name="connsiteX154" fmla="*/ 7278 w 10000"/>
                    <a:gd name="connsiteY154" fmla="*/ 8887 h 9891"/>
                    <a:gd name="connsiteX155" fmla="*/ 8722 w 10000"/>
                    <a:gd name="connsiteY155" fmla="*/ 9406 h 9891"/>
                    <a:gd name="connsiteX156" fmla="*/ 10000 w 10000"/>
                    <a:gd name="connsiteY156" fmla="*/ 9891 h 9891"/>
                    <a:gd name="connsiteX0" fmla="*/ 10000 w 10000"/>
                    <a:gd name="connsiteY0" fmla="*/ 5716 h 9815"/>
                    <a:gd name="connsiteX1" fmla="*/ 10000 w 10000"/>
                    <a:gd name="connsiteY1" fmla="*/ 5716 h 9815"/>
                    <a:gd name="connsiteX2" fmla="*/ 9222 w 10000"/>
                    <a:gd name="connsiteY2" fmla="*/ 5783 h 9815"/>
                    <a:gd name="connsiteX3" fmla="*/ 8944 w 10000"/>
                    <a:gd name="connsiteY3" fmla="*/ 5783 h 9815"/>
                    <a:gd name="connsiteX4" fmla="*/ 8833 w 10000"/>
                    <a:gd name="connsiteY4" fmla="*/ 5716 h 9815"/>
                    <a:gd name="connsiteX5" fmla="*/ 8778 w 10000"/>
                    <a:gd name="connsiteY5" fmla="*/ 5659 h 9815"/>
                    <a:gd name="connsiteX6" fmla="*/ 8778 w 10000"/>
                    <a:gd name="connsiteY6" fmla="*/ 5659 h 9815"/>
                    <a:gd name="connsiteX7" fmla="*/ 8444 w 10000"/>
                    <a:gd name="connsiteY7" fmla="*/ 4938 h 9815"/>
                    <a:gd name="connsiteX8" fmla="*/ 8167 w 10000"/>
                    <a:gd name="connsiteY8" fmla="*/ 4274 h 9815"/>
                    <a:gd name="connsiteX9" fmla="*/ 8167 w 10000"/>
                    <a:gd name="connsiteY9" fmla="*/ 4274 h 9815"/>
                    <a:gd name="connsiteX10" fmla="*/ 8056 w 10000"/>
                    <a:gd name="connsiteY10" fmla="*/ 4162 h 9815"/>
                    <a:gd name="connsiteX11" fmla="*/ 7889 w 10000"/>
                    <a:gd name="connsiteY11" fmla="*/ 4046 h 9815"/>
                    <a:gd name="connsiteX12" fmla="*/ 7444 w 10000"/>
                    <a:gd name="connsiteY12" fmla="*/ 3974 h 9815"/>
                    <a:gd name="connsiteX13" fmla="*/ 6889 w 10000"/>
                    <a:gd name="connsiteY13" fmla="*/ 3919 h 9815"/>
                    <a:gd name="connsiteX14" fmla="*/ 6389 w 10000"/>
                    <a:gd name="connsiteY14" fmla="*/ 3919 h 9815"/>
                    <a:gd name="connsiteX15" fmla="*/ 6389 w 10000"/>
                    <a:gd name="connsiteY15" fmla="*/ 3919 h 9815"/>
                    <a:gd name="connsiteX16" fmla="*/ 6167 w 10000"/>
                    <a:gd name="connsiteY16" fmla="*/ 3852 h 9815"/>
                    <a:gd name="connsiteX17" fmla="*/ 6056 w 10000"/>
                    <a:gd name="connsiteY17" fmla="*/ 3742 h 9815"/>
                    <a:gd name="connsiteX18" fmla="*/ 6000 w 10000"/>
                    <a:gd name="connsiteY18" fmla="*/ 3614 h 9815"/>
                    <a:gd name="connsiteX19" fmla="*/ 6000 w 10000"/>
                    <a:gd name="connsiteY19" fmla="*/ 3392 h 9815"/>
                    <a:gd name="connsiteX20" fmla="*/ 6056 w 10000"/>
                    <a:gd name="connsiteY20" fmla="*/ 2902 h 9815"/>
                    <a:gd name="connsiteX21" fmla="*/ 6111 w 10000"/>
                    <a:gd name="connsiteY21" fmla="*/ 2655 h 9815"/>
                    <a:gd name="connsiteX22" fmla="*/ 6056 w 10000"/>
                    <a:gd name="connsiteY22" fmla="*/ 2351 h 9815"/>
                    <a:gd name="connsiteX23" fmla="*/ 6056 w 10000"/>
                    <a:gd name="connsiteY23" fmla="*/ 2351 h 9815"/>
                    <a:gd name="connsiteX24" fmla="*/ 6000 w 10000"/>
                    <a:gd name="connsiteY24" fmla="*/ 2171 h 9815"/>
                    <a:gd name="connsiteX25" fmla="*/ 5944 w 10000"/>
                    <a:gd name="connsiteY25" fmla="*/ 2048 h 9815"/>
                    <a:gd name="connsiteX26" fmla="*/ 5833 w 10000"/>
                    <a:gd name="connsiteY26" fmla="*/ 2048 h 9815"/>
                    <a:gd name="connsiteX27" fmla="*/ 5667 w 10000"/>
                    <a:gd name="connsiteY27" fmla="*/ 2103 h 9815"/>
                    <a:gd name="connsiteX28" fmla="*/ 5333 w 10000"/>
                    <a:gd name="connsiteY28" fmla="*/ 2292 h 9815"/>
                    <a:gd name="connsiteX29" fmla="*/ 4889 w 10000"/>
                    <a:gd name="connsiteY29" fmla="*/ 2595 h 9815"/>
                    <a:gd name="connsiteX30" fmla="*/ 4889 w 10000"/>
                    <a:gd name="connsiteY30" fmla="*/ 2595 h 9815"/>
                    <a:gd name="connsiteX31" fmla="*/ 4611 w 10000"/>
                    <a:gd name="connsiteY31" fmla="*/ 2655 h 9815"/>
                    <a:gd name="connsiteX32" fmla="*/ 4500 w 10000"/>
                    <a:gd name="connsiteY32" fmla="*/ 2655 h 9815"/>
                    <a:gd name="connsiteX33" fmla="*/ 4444 w 10000"/>
                    <a:gd name="connsiteY33" fmla="*/ 2595 h 9815"/>
                    <a:gd name="connsiteX34" fmla="*/ 4389 w 10000"/>
                    <a:gd name="connsiteY34" fmla="*/ 2351 h 9815"/>
                    <a:gd name="connsiteX35" fmla="*/ 4222 w 10000"/>
                    <a:gd name="connsiteY35" fmla="*/ 2048 h 9815"/>
                    <a:gd name="connsiteX36" fmla="*/ 4222 w 10000"/>
                    <a:gd name="connsiteY36" fmla="*/ 2048 h 9815"/>
                    <a:gd name="connsiteX37" fmla="*/ 4111 w 10000"/>
                    <a:gd name="connsiteY37" fmla="*/ 1866 h 9815"/>
                    <a:gd name="connsiteX38" fmla="*/ 4111 w 10000"/>
                    <a:gd name="connsiteY38" fmla="*/ 1692 h 9815"/>
                    <a:gd name="connsiteX39" fmla="*/ 4111 w 10000"/>
                    <a:gd name="connsiteY39" fmla="*/ 1571 h 9815"/>
                    <a:gd name="connsiteX40" fmla="*/ 4167 w 10000"/>
                    <a:gd name="connsiteY40" fmla="*/ 1447 h 9815"/>
                    <a:gd name="connsiteX41" fmla="*/ 4278 w 10000"/>
                    <a:gd name="connsiteY41" fmla="*/ 1208 h 9815"/>
                    <a:gd name="connsiteX42" fmla="*/ 4389 w 10000"/>
                    <a:gd name="connsiteY42" fmla="*/ 1146 h 9815"/>
                    <a:gd name="connsiteX43" fmla="*/ 4389 w 10000"/>
                    <a:gd name="connsiteY43" fmla="*/ 1146 h 9815"/>
                    <a:gd name="connsiteX44" fmla="*/ 4389 w 10000"/>
                    <a:gd name="connsiteY44" fmla="*/ 1085 h 9815"/>
                    <a:gd name="connsiteX45" fmla="*/ 4444 w 10000"/>
                    <a:gd name="connsiteY45" fmla="*/ 1038 h 9815"/>
                    <a:gd name="connsiteX46" fmla="*/ 4667 w 10000"/>
                    <a:gd name="connsiteY46" fmla="*/ 970 h 9815"/>
                    <a:gd name="connsiteX47" fmla="*/ 5333 w 10000"/>
                    <a:gd name="connsiteY47" fmla="*/ 854 h 9815"/>
                    <a:gd name="connsiteX48" fmla="*/ 6500 w 10000"/>
                    <a:gd name="connsiteY48" fmla="*/ 665 h 9815"/>
                    <a:gd name="connsiteX49" fmla="*/ 6500 w 10000"/>
                    <a:gd name="connsiteY49" fmla="*/ 665 h 9815"/>
                    <a:gd name="connsiteX50" fmla="*/ 7167 w 10000"/>
                    <a:gd name="connsiteY50" fmla="*/ 491 h 9815"/>
                    <a:gd name="connsiteX51" fmla="*/ 8389 w 10000"/>
                    <a:gd name="connsiteY51" fmla="*/ 132 h 9815"/>
                    <a:gd name="connsiteX52" fmla="*/ 8389 w 10000"/>
                    <a:gd name="connsiteY52" fmla="*/ 132 h 9815"/>
                    <a:gd name="connsiteX53" fmla="*/ 8667 w 10000"/>
                    <a:gd name="connsiteY53" fmla="*/ 0 h 9815"/>
                    <a:gd name="connsiteX54" fmla="*/ 10000 w 10000"/>
                    <a:gd name="connsiteY54" fmla="*/ 5783 h 9815"/>
                    <a:gd name="connsiteX55" fmla="*/ 10000 w 10000"/>
                    <a:gd name="connsiteY55" fmla="*/ 5783 h 9815"/>
                    <a:gd name="connsiteX56" fmla="*/ 9722 w 10000"/>
                    <a:gd name="connsiteY56" fmla="*/ 5716 h 9815"/>
                    <a:gd name="connsiteX57" fmla="*/ 9389 w 10000"/>
                    <a:gd name="connsiteY57" fmla="*/ 5783 h 9815"/>
                    <a:gd name="connsiteX58" fmla="*/ 9389 w 10000"/>
                    <a:gd name="connsiteY58" fmla="*/ 5783 h 9815"/>
                    <a:gd name="connsiteX59" fmla="*/ 9278 w 10000"/>
                    <a:gd name="connsiteY59" fmla="*/ 5857 h 9815"/>
                    <a:gd name="connsiteX60" fmla="*/ 9056 w 10000"/>
                    <a:gd name="connsiteY60" fmla="*/ 5783 h 9815"/>
                    <a:gd name="connsiteX61" fmla="*/ 8889 w 10000"/>
                    <a:gd name="connsiteY61" fmla="*/ 5716 h 9815"/>
                    <a:gd name="connsiteX62" fmla="*/ 8722 w 10000"/>
                    <a:gd name="connsiteY62" fmla="*/ 5602 h 9815"/>
                    <a:gd name="connsiteX63" fmla="*/ 8611 w 10000"/>
                    <a:gd name="connsiteY63" fmla="*/ 5415 h 9815"/>
                    <a:gd name="connsiteX64" fmla="*/ 8444 w 10000"/>
                    <a:gd name="connsiteY64" fmla="*/ 5114 h 9815"/>
                    <a:gd name="connsiteX65" fmla="*/ 8444 w 10000"/>
                    <a:gd name="connsiteY65" fmla="*/ 5114 h 9815"/>
                    <a:gd name="connsiteX66" fmla="*/ 8222 w 10000"/>
                    <a:gd name="connsiteY66" fmla="*/ 4587 h 9815"/>
                    <a:gd name="connsiteX67" fmla="*/ 8111 w 10000"/>
                    <a:gd name="connsiteY67" fmla="*/ 4346 h 9815"/>
                    <a:gd name="connsiteX68" fmla="*/ 7944 w 10000"/>
                    <a:gd name="connsiteY68" fmla="*/ 4162 h 9815"/>
                    <a:gd name="connsiteX69" fmla="*/ 7778 w 10000"/>
                    <a:gd name="connsiteY69" fmla="*/ 4046 h 9815"/>
                    <a:gd name="connsiteX70" fmla="*/ 7556 w 10000"/>
                    <a:gd name="connsiteY70" fmla="*/ 3974 h 9815"/>
                    <a:gd name="connsiteX71" fmla="*/ 7333 w 10000"/>
                    <a:gd name="connsiteY71" fmla="*/ 3919 h 9815"/>
                    <a:gd name="connsiteX72" fmla="*/ 7000 w 10000"/>
                    <a:gd name="connsiteY72" fmla="*/ 3852 h 9815"/>
                    <a:gd name="connsiteX73" fmla="*/ 7000 w 10000"/>
                    <a:gd name="connsiteY73" fmla="*/ 3852 h 9815"/>
                    <a:gd name="connsiteX74" fmla="*/ 6556 w 10000"/>
                    <a:gd name="connsiteY74" fmla="*/ 3919 h 9815"/>
                    <a:gd name="connsiteX75" fmla="*/ 6222 w 10000"/>
                    <a:gd name="connsiteY75" fmla="*/ 3919 h 9815"/>
                    <a:gd name="connsiteX76" fmla="*/ 6111 w 10000"/>
                    <a:gd name="connsiteY76" fmla="*/ 3852 h 9815"/>
                    <a:gd name="connsiteX77" fmla="*/ 6056 w 10000"/>
                    <a:gd name="connsiteY77" fmla="*/ 3795 h 9815"/>
                    <a:gd name="connsiteX78" fmla="*/ 6056 w 10000"/>
                    <a:gd name="connsiteY78" fmla="*/ 3795 h 9815"/>
                    <a:gd name="connsiteX79" fmla="*/ 6056 w 10000"/>
                    <a:gd name="connsiteY79" fmla="*/ 2720 h 9815"/>
                    <a:gd name="connsiteX80" fmla="*/ 6056 w 10000"/>
                    <a:gd name="connsiteY80" fmla="*/ 2720 h 9815"/>
                    <a:gd name="connsiteX81" fmla="*/ 6056 w 10000"/>
                    <a:gd name="connsiteY81" fmla="*/ 2468 h 9815"/>
                    <a:gd name="connsiteX82" fmla="*/ 5944 w 10000"/>
                    <a:gd name="connsiteY82" fmla="*/ 2171 h 9815"/>
                    <a:gd name="connsiteX83" fmla="*/ 5889 w 10000"/>
                    <a:gd name="connsiteY83" fmla="*/ 2103 h 9815"/>
                    <a:gd name="connsiteX84" fmla="*/ 5778 w 10000"/>
                    <a:gd name="connsiteY84" fmla="*/ 2048 h 9815"/>
                    <a:gd name="connsiteX85" fmla="*/ 5667 w 10000"/>
                    <a:gd name="connsiteY85" fmla="*/ 2048 h 9815"/>
                    <a:gd name="connsiteX86" fmla="*/ 5500 w 10000"/>
                    <a:gd name="connsiteY86" fmla="*/ 2103 h 9815"/>
                    <a:gd name="connsiteX87" fmla="*/ 5500 w 10000"/>
                    <a:gd name="connsiteY87" fmla="*/ 2103 h 9815"/>
                    <a:gd name="connsiteX88" fmla="*/ 4889 w 10000"/>
                    <a:gd name="connsiteY88" fmla="*/ 2533 h 9815"/>
                    <a:gd name="connsiteX89" fmla="*/ 4611 w 10000"/>
                    <a:gd name="connsiteY89" fmla="*/ 2655 h 9815"/>
                    <a:gd name="connsiteX90" fmla="*/ 4556 w 10000"/>
                    <a:gd name="connsiteY90" fmla="*/ 2720 h 9815"/>
                    <a:gd name="connsiteX91" fmla="*/ 4500 w 10000"/>
                    <a:gd name="connsiteY91" fmla="*/ 2655 h 9815"/>
                    <a:gd name="connsiteX92" fmla="*/ 4500 w 10000"/>
                    <a:gd name="connsiteY92" fmla="*/ 2655 h 9815"/>
                    <a:gd name="connsiteX93" fmla="*/ 4222 w 10000"/>
                    <a:gd name="connsiteY93" fmla="*/ 2048 h 9815"/>
                    <a:gd name="connsiteX94" fmla="*/ 4222 w 10000"/>
                    <a:gd name="connsiteY94" fmla="*/ 2048 h 9815"/>
                    <a:gd name="connsiteX95" fmla="*/ 4111 w 10000"/>
                    <a:gd name="connsiteY95" fmla="*/ 1750 h 9815"/>
                    <a:gd name="connsiteX96" fmla="*/ 4111 w 10000"/>
                    <a:gd name="connsiteY96" fmla="*/ 1571 h 9815"/>
                    <a:gd name="connsiteX97" fmla="*/ 4111 w 10000"/>
                    <a:gd name="connsiteY97" fmla="*/ 1387 h 9815"/>
                    <a:gd name="connsiteX98" fmla="*/ 4111 w 10000"/>
                    <a:gd name="connsiteY98" fmla="*/ 1387 h 9815"/>
                    <a:gd name="connsiteX99" fmla="*/ 4278 w 10000"/>
                    <a:gd name="connsiteY99" fmla="*/ 1208 h 9815"/>
                    <a:gd name="connsiteX100" fmla="*/ 4389 w 10000"/>
                    <a:gd name="connsiteY100" fmla="*/ 1146 h 9815"/>
                    <a:gd name="connsiteX101" fmla="*/ 4389 w 10000"/>
                    <a:gd name="connsiteY101" fmla="*/ 1146 h 9815"/>
                    <a:gd name="connsiteX102" fmla="*/ 4000 w 10000"/>
                    <a:gd name="connsiteY102" fmla="*/ 1146 h 9815"/>
                    <a:gd name="connsiteX103" fmla="*/ 3722 w 10000"/>
                    <a:gd name="connsiteY103" fmla="*/ 1208 h 9815"/>
                    <a:gd name="connsiteX104" fmla="*/ 3611 w 10000"/>
                    <a:gd name="connsiteY104" fmla="*/ 1274 h 9815"/>
                    <a:gd name="connsiteX105" fmla="*/ 3556 w 10000"/>
                    <a:gd name="connsiteY105" fmla="*/ 1334 h 9815"/>
                    <a:gd name="connsiteX106" fmla="*/ 3556 w 10000"/>
                    <a:gd name="connsiteY106" fmla="*/ 1334 h 9815"/>
                    <a:gd name="connsiteX107" fmla="*/ 3444 w 10000"/>
                    <a:gd name="connsiteY107" fmla="*/ 1571 h 9815"/>
                    <a:gd name="connsiteX108" fmla="*/ 3278 w 10000"/>
                    <a:gd name="connsiteY108" fmla="*/ 1937 h 9815"/>
                    <a:gd name="connsiteX109" fmla="*/ 3000 w 10000"/>
                    <a:gd name="connsiteY109" fmla="*/ 2351 h 9815"/>
                    <a:gd name="connsiteX110" fmla="*/ 2667 w 10000"/>
                    <a:gd name="connsiteY110" fmla="*/ 2655 h 9815"/>
                    <a:gd name="connsiteX111" fmla="*/ 2667 w 10000"/>
                    <a:gd name="connsiteY111" fmla="*/ 2655 h 9815"/>
                    <a:gd name="connsiteX112" fmla="*/ 2333 w 10000"/>
                    <a:gd name="connsiteY112" fmla="*/ 2902 h 9815"/>
                    <a:gd name="connsiteX113" fmla="*/ 1833 w 10000"/>
                    <a:gd name="connsiteY113" fmla="*/ 3143 h 9815"/>
                    <a:gd name="connsiteX114" fmla="*/ 1389 w 10000"/>
                    <a:gd name="connsiteY114" fmla="*/ 3258 h 9815"/>
                    <a:gd name="connsiteX115" fmla="*/ 889 w 10000"/>
                    <a:gd name="connsiteY115" fmla="*/ 3318 h 9815"/>
                    <a:gd name="connsiteX116" fmla="*/ 889 w 10000"/>
                    <a:gd name="connsiteY116" fmla="*/ 3318 h 9815"/>
                    <a:gd name="connsiteX117" fmla="*/ 500 w 10000"/>
                    <a:gd name="connsiteY117" fmla="*/ 3392 h 9815"/>
                    <a:gd name="connsiteX118" fmla="*/ 222 w 10000"/>
                    <a:gd name="connsiteY118" fmla="*/ 3436 h 9815"/>
                    <a:gd name="connsiteX119" fmla="*/ 0 w 10000"/>
                    <a:gd name="connsiteY119" fmla="*/ 3494 h 9815"/>
                    <a:gd name="connsiteX120" fmla="*/ 0 w 10000"/>
                    <a:gd name="connsiteY120" fmla="*/ 3494 h 9815"/>
                    <a:gd name="connsiteX121" fmla="*/ 278 w 10000"/>
                    <a:gd name="connsiteY121" fmla="*/ 4466 h 9815"/>
                    <a:gd name="connsiteX122" fmla="*/ 500 w 10000"/>
                    <a:gd name="connsiteY122" fmla="*/ 5174 h 9815"/>
                    <a:gd name="connsiteX123" fmla="*/ 722 w 10000"/>
                    <a:gd name="connsiteY123" fmla="*/ 5783 h 9815"/>
                    <a:gd name="connsiteX124" fmla="*/ 722 w 10000"/>
                    <a:gd name="connsiteY124" fmla="*/ 5783 h 9815"/>
                    <a:gd name="connsiteX125" fmla="*/ 889 w 10000"/>
                    <a:gd name="connsiteY125" fmla="*/ 6143 h 9815"/>
                    <a:gd name="connsiteX126" fmla="*/ 944 w 10000"/>
                    <a:gd name="connsiteY126" fmla="*/ 6453 h 9815"/>
                    <a:gd name="connsiteX127" fmla="*/ 1111 w 10000"/>
                    <a:gd name="connsiteY127" fmla="*/ 6756 h 9815"/>
                    <a:gd name="connsiteX128" fmla="*/ 1333 w 10000"/>
                    <a:gd name="connsiteY128" fmla="*/ 7222 h 9815"/>
                    <a:gd name="connsiteX129" fmla="*/ 1333 w 10000"/>
                    <a:gd name="connsiteY129" fmla="*/ 7222 h 9815"/>
                    <a:gd name="connsiteX130" fmla="*/ 1444 w 10000"/>
                    <a:gd name="connsiteY130" fmla="*/ 7466 h 9815"/>
                    <a:gd name="connsiteX131" fmla="*/ 1500 w 10000"/>
                    <a:gd name="connsiteY131" fmla="*/ 7647 h 9815"/>
                    <a:gd name="connsiteX132" fmla="*/ 1500 w 10000"/>
                    <a:gd name="connsiteY132" fmla="*/ 7818 h 9815"/>
                    <a:gd name="connsiteX133" fmla="*/ 1556 w 10000"/>
                    <a:gd name="connsiteY133" fmla="*/ 7893 h 9815"/>
                    <a:gd name="connsiteX134" fmla="*/ 1722 w 10000"/>
                    <a:gd name="connsiteY134" fmla="*/ 7947 h 9815"/>
                    <a:gd name="connsiteX135" fmla="*/ 1944 w 10000"/>
                    <a:gd name="connsiteY135" fmla="*/ 8005 h 9815"/>
                    <a:gd name="connsiteX136" fmla="*/ 2944 w 10000"/>
                    <a:gd name="connsiteY136" fmla="*/ 8071 h 9815"/>
                    <a:gd name="connsiteX137" fmla="*/ 2944 w 10000"/>
                    <a:gd name="connsiteY137" fmla="*/ 8071 h 9815"/>
                    <a:gd name="connsiteX138" fmla="*/ 4167 w 10000"/>
                    <a:gd name="connsiteY138" fmla="*/ 8193 h 9815"/>
                    <a:gd name="connsiteX139" fmla="*/ 4889 w 10000"/>
                    <a:gd name="connsiteY139" fmla="*/ 8363 h 9815"/>
                    <a:gd name="connsiteX140" fmla="*/ 5278 w 10000"/>
                    <a:gd name="connsiteY140" fmla="*/ 8555 h 9815"/>
                    <a:gd name="connsiteX141" fmla="*/ 5444 w 10000"/>
                    <a:gd name="connsiteY141" fmla="*/ 8606 h 9815"/>
                    <a:gd name="connsiteX142" fmla="*/ 5444 w 10000"/>
                    <a:gd name="connsiteY142" fmla="*/ 8606 h 9815"/>
                    <a:gd name="connsiteX143" fmla="*/ 5722 w 10000"/>
                    <a:gd name="connsiteY143" fmla="*/ 8740 h 9815"/>
                    <a:gd name="connsiteX144" fmla="*/ 5833 w 10000"/>
                    <a:gd name="connsiteY144" fmla="*/ 8800 h 9815"/>
                    <a:gd name="connsiteX145" fmla="*/ 5833 w 10000"/>
                    <a:gd name="connsiteY145" fmla="*/ 8800 h 9815"/>
                    <a:gd name="connsiteX146" fmla="*/ 5833 w 10000"/>
                    <a:gd name="connsiteY146" fmla="*/ 8740 h 9815"/>
                    <a:gd name="connsiteX147" fmla="*/ 5889 w 10000"/>
                    <a:gd name="connsiteY147" fmla="*/ 8672 h 9815"/>
                    <a:gd name="connsiteX148" fmla="*/ 6000 w 10000"/>
                    <a:gd name="connsiteY148" fmla="*/ 8606 h 9815"/>
                    <a:gd name="connsiteX149" fmla="*/ 6167 w 10000"/>
                    <a:gd name="connsiteY149" fmla="*/ 8555 h 9815"/>
                    <a:gd name="connsiteX150" fmla="*/ 6444 w 10000"/>
                    <a:gd name="connsiteY150" fmla="*/ 8555 h 9815"/>
                    <a:gd name="connsiteX151" fmla="*/ 6833 w 10000"/>
                    <a:gd name="connsiteY151" fmla="*/ 8606 h 9815"/>
                    <a:gd name="connsiteX152" fmla="*/ 7278 w 10000"/>
                    <a:gd name="connsiteY152" fmla="*/ 8800 h 9815"/>
                    <a:gd name="connsiteX153" fmla="*/ 7278 w 10000"/>
                    <a:gd name="connsiteY153" fmla="*/ 8800 h 9815"/>
                    <a:gd name="connsiteX154" fmla="*/ 8722 w 10000"/>
                    <a:gd name="connsiteY154" fmla="*/ 9325 h 9815"/>
                    <a:gd name="connsiteX155" fmla="*/ 10000 w 10000"/>
                    <a:gd name="connsiteY155" fmla="*/ 9815 h 9815"/>
                    <a:gd name="connsiteX0" fmla="*/ 10000 w 10000"/>
                    <a:gd name="connsiteY0" fmla="*/ 5690 h 9866"/>
                    <a:gd name="connsiteX1" fmla="*/ 10000 w 10000"/>
                    <a:gd name="connsiteY1" fmla="*/ 5690 h 9866"/>
                    <a:gd name="connsiteX2" fmla="*/ 9222 w 10000"/>
                    <a:gd name="connsiteY2" fmla="*/ 5758 h 9866"/>
                    <a:gd name="connsiteX3" fmla="*/ 8944 w 10000"/>
                    <a:gd name="connsiteY3" fmla="*/ 5758 h 9866"/>
                    <a:gd name="connsiteX4" fmla="*/ 8833 w 10000"/>
                    <a:gd name="connsiteY4" fmla="*/ 5690 h 9866"/>
                    <a:gd name="connsiteX5" fmla="*/ 8778 w 10000"/>
                    <a:gd name="connsiteY5" fmla="*/ 5632 h 9866"/>
                    <a:gd name="connsiteX6" fmla="*/ 8778 w 10000"/>
                    <a:gd name="connsiteY6" fmla="*/ 5632 h 9866"/>
                    <a:gd name="connsiteX7" fmla="*/ 8444 w 10000"/>
                    <a:gd name="connsiteY7" fmla="*/ 4897 h 9866"/>
                    <a:gd name="connsiteX8" fmla="*/ 8167 w 10000"/>
                    <a:gd name="connsiteY8" fmla="*/ 4221 h 9866"/>
                    <a:gd name="connsiteX9" fmla="*/ 8167 w 10000"/>
                    <a:gd name="connsiteY9" fmla="*/ 4221 h 9866"/>
                    <a:gd name="connsiteX10" fmla="*/ 8056 w 10000"/>
                    <a:gd name="connsiteY10" fmla="*/ 4106 h 9866"/>
                    <a:gd name="connsiteX11" fmla="*/ 7889 w 10000"/>
                    <a:gd name="connsiteY11" fmla="*/ 3988 h 9866"/>
                    <a:gd name="connsiteX12" fmla="*/ 7444 w 10000"/>
                    <a:gd name="connsiteY12" fmla="*/ 3915 h 9866"/>
                    <a:gd name="connsiteX13" fmla="*/ 6889 w 10000"/>
                    <a:gd name="connsiteY13" fmla="*/ 3859 h 9866"/>
                    <a:gd name="connsiteX14" fmla="*/ 6389 w 10000"/>
                    <a:gd name="connsiteY14" fmla="*/ 3859 h 9866"/>
                    <a:gd name="connsiteX15" fmla="*/ 6389 w 10000"/>
                    <a:gd name="connsiteY15" fmla="*/ 3859 h 9866"/>
                    <a:gd name="connsiteX16" fmla="*/ 6167 w 10000"/>
                    <a:gd name="connsiteY16" fmla="*/ 3791 h 9866"/>
                    <a:gd name="connsiteX17" fmla="*/ 6056 w 10000"/>
                    <a:gd name="connsiteY17" fmla="*/ 3679 h 9866"/>
                    <a:gd name="connsiteX18" fmla="*/ 6000 w 10000"/>
                    <a:gd name="connsiteY18" fmla="*/ 3548 h 9866"/>
                    <a:gd name="connsiteX19" fmla="*/ 6000 w 10000"/>
                    <a:gd name="connsiteY19" fmla="*/ 3322 h 9866"/>
                    <a:gd name="connsiteX20" fmla="*/ 6056 w 10000"/>
                    <a:gd name="connsiteY20" fmla="*/ 2823 h 9866"/>
                    <a:gd name="connsiteX21" fmla="*/ 6111 w 10000"/>
                    <a:gd name="connsiteY21" fmla="*/ 2571 h 9866"/>
                    <a:gd name="connsiteX22" fmla="*/ 6056 w 10000"/>
                    <a:gd name="connsiteY22" fmla="*/ 2261 h 9866"/>
                    <a:gd name="connsiteX23" fmla="*/ 6056 w 10000"/>
                    <a:gd name="connsiteY23" fmla="*/ 2261 h 9866"/>
                    <a:gd name="connsiteX24" fmla="*/ 6000 w 10000"/>
                    <a:gd name="connsiteY24" fmla="*/ 2078 h 9866"/>
                    <a:gd name="connsiteX25" fmla="*/ 5944 w 10000"/>
                    <a:gd name="connsiteY25" fmla="*/ 1953 h 9866"/>
                    <a:gd name="connsiteX26" fmla="*/ 5833 w 10000"/>
                    <a:gd name="connsiteY26" fmla="*/ 1953 h 9866"/>
                    <a:gd name="connsiteX27" fmla="*/ 5667 w 10000"/>
                    <a:gd name="connsiteY27" fmla="*/ 2009 h 9866"/>
                    <a:gd name="connsiteX28" fmla="*/ 5333 w 10000"/>
                    <a:gd name="connsiteY28" fmla="*/ 2201 h 9866"/>
                    <a:gd name="connsiteX29" fmla="*/ 4889 w 10000"/>
                    <a:gd name="connsiteY29" fmla="*/ 2510 h 9866"/>
                    <a:gd name="connsiteX30" fmla="*/ 4889 w 10000"/>
                    <a:gd name="connsiteY30" fmla="*/ 2510 h 9866"/>
                    <a:gd name="connsiteX31" fmla="*/ 4611 w 10000"/>
                    <a:gd name="connsiteY31" fmla="*/ 2571 h 9866"/>
                    <a:gd name="connsiteX32" fmla="*/ 4500 w 10000"/>
                    <a:gd name="connsiteY32" fmla="*/ 2571 h 9866"/>
                    <a:gd name="connsiteX33" fmla="*/ 4444 w 10000"/>
                    <a:gd name="connsiteY33" fmla="*/ 2510 h 9866"/>
                    <a:gd name="connsiteX34" fmla="*/ 4389 w 10000"/>
                    <a:gd name="connsiteY34" fmla="*/ 2261 h 9866"/>
                    <a:gd name="connsiteX35" fmla="*/ 4222 w 10000"/>
                    <a:gd name="connsiteY35" fmla="*/ 1953 h 9866"/>
                    <a:gd name="connsiteX36" fmla="*/ 4222 w 10000"/>
                    <a:gd name="connsiteY36" fmla="*/ 1953 h 9866"/>
                    <a:gd name="connsiteX37" fmla="*/ 4111 w 10000"/>
                    <a:gd name="connsiteY37" fmla="*/ 1767 h 9866"/>
                    <a:gd name="connsiteX38" fmla="*/ 4111 w 10000"/>
                    <a:gd name="connsiteY38" fmla="*/ 1590 h 9866"/>
                    <a:gd name="connsiteX39" fmla="*/ 4111 w 10000"/>
                    <a:gd name="connsiteY39" fmla="*/ 1467 h 9866"/>
                    <a:gd name="connsiteX40" fmla="*/ 4167 w 10000"/>
                    <a:gd name="connsiteY40" fmla="*/ 1340 h 9866"/>
                    <a:gd name="connsiteX41" fmla="*/ 4278 w 10000"/>
                    <a:gd name="connsiteY41" fmla="*/ 1097 h 9866"/>
                    <a:gd name="connsiteX42" fmla="*/ 4389 w 10000"/>
                    <a:gd name="connsiteY42" fmla="*/ 1034 h 9866"/>
                    <a:gd name="connsiteX43" fmla="*/ 4389 w 10000"/>
                    <a:gd name="connsiteY43" fmla="*/ 1034 h 9866"/>
                    <a:gd name="connsiteX44" fmla="*/ 4389 w 10000"/>
                    <a:gd name="connsiteY44" fmla="*/ 971 h 9866"/>
                    <a:gd name="connsiteX45" fmla="*/ 4444 w 10000"/>
                    <a:gd name="connsiteY45" fmla="*/ 924 h 9866"/>
                    <a:gd name="connsiteX46" fmla="*/ 4667 w 10000"/>
                    <a:gd name="connsiteY46" fmla="*/ 854 h 9866"/>
                    <a:gd name="connsiteX47" fmla="*/ 5333 w 10000"/>
                    <a:gd name="connsiteY47" fmla="*/ 736 h 9866"/>
                    <a:gd name="connsiteX48" fmla="*/ 6500 w 10000"/>
                    <a:gd name="connsiteY48" fmla="*/ 544 h 9866"/>
                    <a:gd name="connsiteX49" fmla="*/ 6500 w 10000"/>
                    <a:gd name="connsiteY49" fmla="*/ 544 h 9866"/>
                    <a:gd name="connsiteX50" fmla="*/ 7167 w 10000"/>
                    <a:gd name="connsiteY50" fmla="*/ 366 h 9866"/>
                    <a:gd name="connsiteX51" fmla="*/ 8389 w 10000"/>
                    <a:gd name="connsiteY51" fmla="*/ 0 h 9866"/>
                    <a:gd name="connsiteX52" fmla="*/ 8389 w 10000"/>
                    <a:gd name="connsiteY52" fmla="*/ 0 h 9866"/>
                    <a:gd name="connsiteX53" fmla="*/ 10000 w 10000"/>
                    <a:gd name="connsiteY53" fmla="*/ 5758 h 9866"/>
                    <a:gd name="connsiteX54" fmla="*/ 10000 w 10000"/>
                    <a:gd name="connsiteY54" fmla="*/ 5758 h 9866"/>
                    <a:gd name="connsiteX55" fmla="*/ 9722 w 10000"/>
                    <a:gd name="connsiteY55" fmla="*/ 5690 h 9866"/>
                    <a:gd name="connsiteX56" fmla="*/ 9389 w 10000"/>
                    <a:gd name="connsiteY56" fmla="*/ 5758 h 9866"/>
                    <a:gd name="connsiteX57" fmla="*/ 9389 w 10000"/>
                    <a:gd name="connsiteY57" fmla="*/ 5758 h 9866"/>
                    <a:gd name="connsiteX58" fmla="*/ 9278 w 10000"/>
                    <a:gd name="connsiteY58" fmla="*/ 5833 h 9866"/>
                    <a:gd name="connsiteX59" fmla="*/ 9056 w 10000"/>
                    <a:gd name="connsiteY59" fmla="*/ 5758 h 9866"/>
                    <a:gd name="connsiteX60" fmla="*/ 8889 w 10000"/>
                    <a:gd name="connsiteY60" fmla="*/ 5690 h 9866"/>
                    <a:gd name="connsiteX61" fmla="*/ 8722 w 10000"/>
                    <a:gd name="connsiteY61" fmla="*/ 5574 h 9866"/>
                    <a:gd name="connsiteX62" fmla="*/ 8611 w 10000"/>
                    <a:gd name="connsiteY62" fmla="*/ 5383 h 9866"/>
                    <a:gd name="connsiteX63" fmla="*/ 8444 w 10000"/>
                    <a:gd name="connsiteY63" fmla="*/ 5076 h 9866"/>
                    <a:gd name="connsiteX64" fmla="*/ 8444 w 10000"/>
                    <a:gd name="connsiteY64" fmla="*/ 5076 h 9866"/>
                    <a:gd name="connsiteX65" fmla="*/ 8222 w 10000"/>
                    <a:gd name="connsiteY65" fmla="*/ 4539 h 9866"/>
                    <a:gd name="connsiteX66" fmla="*/ 8111 w 10000"/>
                    <a:gd name="connsiteY66" fmla="*/ 4294 h 9866"/>
                    <a:gd name="connsiteX67" fmla="*/ 7944 w 10000"/>
                    <a:gd name="connsiteY67" fmla="*/ 4106 h 9866"/>
                    <a:gd name="connsiteX68" fmla="*/ 7778 w 10000"/>
                    <a:gd name="connsiteY68" fmla="*/ 3988 h 9866"/>
                    <a:gd name="connsiteX69" fmla="*/ 7556 w 10000"/>
                    <a:gd name="connsiteY69" fmla="*/ 3915 h 9866"/>
                    <a:gd name="connsiteX70" fmla="*/ 7333 w 10000"/>
                    <a:gd name="connsiteY70" fmla="*/ 3859 h 9866"/>
                    <a:gd name="connsiteX71" fmla="*/ 7000 w 10000"/>
                    <a:gd name="connsiteY71" fmla="*/ 3791 h 9866"/>
                    <a:gd name="connsiteX72" fmla="*/ 7000 w 10000"/>
                    <a:gd name="connsiteY72" fmla="*/ 3791 h 9866"/>
                    <a:gd name="connsiteX73" fmla="*/ 6556 w 10000"/>
                    <a:gd name="connsiteY73" fmla="*/ 3859 h 9866"/>
                    <a:gd name="connsiteX74" fmla="*/ 6222 w 10000"/>
                    <a:gd name="connsiteY74" fmla="*/ 3859 h 9866"/>
                    <a:gd name="connsiteX75" fmla="*/ 6111 w 10000"/>
                    <a:gd name="connsiteY75" fmla="*/ 3791 h 9866"/>
                    <a:gd name="connsiteX76" fmla="*/ 6056 w 10000"/>
                    <a:gd name="connsiteY76" fmla="*/ 3733 h 9866"/>
                    <a:gd name="connsiteX77" fmla="*/ 6056 w 10000"/>
                    <a:gd name="connsiteY77" fmla="*/ 3733 h 9866"/>
                    <a:gd name="connsiteX78" fmla="*/ 6056 w 10000"/>
                    <a:gd name="connsiteY78" fmla="*/ 2637 h 9866"/>
                    <a:gd name="connsiteX79" fmla="*/ 6056 w 10000"/>
                    <a:gd name="connsiteY79" fmla="*/ 2637 h 9866"/>
                    <a:gd name="connsiteX80" fmla="*/ 6056 w 10000"/>
                    <a:gd name="connsiteY80" fmla="*/ 2381 h 9866"/>
                    <a:gd name="connsiteX81" fmla="*/ 5944 w 10000"/>
                    <a:gd name="connsiteY81" fmla="*/ 2078 h 9866"/>
                    <a:gd name="connsiteX82" fmla="*/ 5889 w 10000"/>
                    <a:gd name="connsiteY82" fmla="*/ 2009 h 9866"/>
                    <a:gd name="connsiteX83" fmla="*/ 5778 w 10000"/>
                    <a:gd name="connsiteY83" fmla="*/ 1953 h 9866"/>
                    <a:gd name="connsiteX84" fmla="*/ 5667 w 10000"/>
                    <a:gd name="connsiteY84" fmla="*/ 1953 h 9866"/>
                    <a:gd name="connsiteX85" fmla="*/ 5500 w 10000"/>
                    <a:gd name="connsiteY85" fmla="*/ 2009 h 9866"/>
                    <a:gd name="connsiteX86" fmla="*/ 5500 w 10000"/>
                    <a:gd name="connsiteY86" fmla="*/ 2009 h 9866"/>
                    <a:gd name="connsiteX87" fmla="*/ 4889 w 10000"/>
                    <a:gd name="connsiteY87" fmla="*/ 2447 h 9866"/>
                    <a:gd name="connsiteX88" fmla="*/ 4611 w 10000"/>
                    <a:gd name="connsiteY88" fmla="*/ 2571 h 9866"/>
                    <a:gd name="connsiteX89" fmla="*/ 4556 w 10000"/>
                    <a:gd name="connsiteY89" fmla="*/ 2637 h 9866"/>
                    <a:gd name="connsiteX90" fmla="*/ 4500 w 10000"/>
                    <a:gd name="connsiteY90" fmla="*/ 2571 h 9866"/>
                    <a:gd name="connsiteX91" fmla="*/ 4500 w 10000"/>
                    <a:gd name="connsiteY91" fmla="*/ 2571 h 9866"/>
                    <a:gd name="connsiteX92" fmla="*/ 4222 w 10000"/>
                    <a:gd name="connsiteY92" fmla="*/ 1953 h 9866"/>
                    <a:gd name="connsiteX93" fmla="*/ 4222 w 10000"/>
                    <a:gd name="connsiteY93" fmla="*/ 1953 h 9866"/>
                    <a:gd name="connsiteX94" fmla="*/ 4111 w 10000"/>
                    <a:gd name="connsiteY94" fmla="*/ 1649 h 9866"/>
                    <a:gd name="connsiteX95" fmla="*/ 4111 w 10000"/>
                    <a:gd name="connsiteY95" fmla="*/ 1467 h 9866"/>
                    <a:gd name="connsiteX96" fmla="*/ 4111 w 10000"/>
                    <a:gd name="connsiteY96" fmla="*/ 1279 h 9866"/>
                    <a:gd name="connsiteX97" fmla="*/ 4111 w 10000"/>
                    <a:gd name="connsiteY97" fmla="*/ 1279 h 9866"/>
                    <a:gd name="connsiteX98" fmla="*/ 4278 w 10000"/>
                    <a:gd name="connsiteY98" fmla="*/ 1097 h 9866"/>
                    <a:gd name="connsiteX99" fmla="*/ 4389 w 10000"/>
                    <a:gd name="connsiteY99" fmla="*/ 1034 h 9866"/>
                    <a:gd name="connsiteX100" fmla="*/ 4389 w 10000"/>
                    <a:gd name="connsiteY100" fmla="*/ 1034 h 9866"/>
                    <a:gd name="connsiteX101" fmla="*/ 4000 w 10000"/>
                    <a:gd name="connsiteY101" fmla="*/ 1034 h 9866"/>
                    <a:gd name="connsiteX102" fmla="*/ 3722 w 10000"/>
                    <a:gd name="connsiteY102" fmla="*/ 1097 h 9866"/>
                    <a:gd name="connsiteX103" fmla="*/ 3611 w 10000"/>
                    <a:gd name="connsiteY103" fmla="*/ 1164 h 9866"/>
                    <a:gd name="connsiteX104" fmla="*/ 3556 w 10000"/>
                    <a:gd name="connsiteY104" fmla="*/ 1225 h 9866"/>
                    <a:gd name="connsiteX105" fmla="*/ 3556 w 10000"/>
                    <a:gd name="connsiteY105" fmla="*/ 1225 h 9866"/>
                    <a:gd name="connsiteX106" fmla="*/ 3444 w 10000"/>
                    <a:gd name="connsiteY106" fmla="*/ 1467 h 9866"/>
                    <a:gd name="connsiteX107" fmla="*/ 3278 w 10000"/>
                    <a:gd name="connsiteY107" fmla="*/ 1840 h 9866"/>
                    <a:gd name="connsiteX108" fmla="*/ 3000 w 10000"/>
                    <a:gd name="connsiteY108" fmla="*/ 2261 h 9866"/>
                    <a:gd name="connsiteX109" fmla="*/ 2667 w 10000"/>
                    <a:gd name="connsiteY109" fmla="*/ 2571 h 9866"/>
                    <a:gd name="connsiteX110" fmla="*/ 2667 w 10000"/>
                    <a:gd name="connsiteY110" fmla="*/ 2571 h 9866"/>
                    <a:gd name="connsiteX111" fmla="*/ 2333 w 10000"/>
                    <a:gd name="connsiteY111" fmla="*/ 2823 h 9866"/>
                    <a:gd name="connsiteX112" fmla="*/ 1833 w 10000"/>
                    <a:gd name="connsiteY112" fmla="*/ 3068 h 9866"/>
                    <a:gd name="connsiteX113" fmla="*/ 1389 w 10000"/>
                    <a:gd name="connsiteY113" fmla="*/ 3185 h 9866"/>
                    <a:gd name="connsiteX114" fmla="*/ 889 w 10000"/>
                    <a:gd name="connsiteY114" fmla="*/ 3247 h 9866"/>
                    <a:gd name="connsiteX115" fmla="*/ 889 w 10000"/>
                    <a:gd name="connsiteY115" fmla="*/ 3247 h 9866"/>
                    <a:gd name="connsiteX116" fmla="*/ 500 w 10000"/>
                    <a:gd name="connsiteY116" fmla="*/ 3322 h 9866"/>
                    <a:gd name="connsiteX117" fmla="*/ 222 w 10000"/>
                    <a:gd name="connsiteY117" fmla="*/ 3367 h 9866"/>
                    <a:gd name="connsiteX118" fmla="*/ 0 w 10000"/>
                    <a:gd name="connsiteY118" fmla="*/ 3426 h 9866"/>
                    <a:gd name="connsiteX119" fmla="*/ 0 w 10000"/>
                    <a:gd name="connsiteY119" fmla="*/ 3426 h 9866"/>
                    <a:gd name="connsiteX120" fmla="*/ 278 w 10000"/>
                    <a:gd name="connsiteY120" fmla="*/ 4416 h 9866"/>
                    <a:gd name="connsiteX121" fmla="*/ 500 w 10000"/>
                    <a:gd name="connsiteY121" fmla="*/ 5138 h 9866"/>
                    <a:gd name="connsiteX122" fmla="*/ 722 w 10000"/>
                    <a:gd name="connsiteY122" fmla="*/ 5758 h 9866"/>
                    <a:gd name="connsiteX123" fmla="*/ 722 w 10000"/>
                    <a:gd name="connsiteY123" fmla="*/ 5758 h 9866"/>
                    <a:gd name="connsiteX124" fmla="*/ 889 w 10000"/>
                    <a:gd name="connsiteY124" fmla="*/ 6125 h 9866"/>
                    <a:gd name="connsiteX125" fmla="*/ 944 w 10000"/>
                    <a:gd name="connsiteY125" fmla="*/ 6441 h 9866"/>
                    <a:gd name="connsiteX126" fmla="*/ 1111 w 10000"/>
                    <a:gd name="connsiteY126" fmla="*/ 6749 h 9866"/>
                    <a:gd name="connsiteX127" fmla="*/ 1333 w 10000"/>
                    <a:gd name="connsiteY127" fmla="*/ 7224 h 9866"/>
                    <a:gd name="connsiteX128" fmla="*/ 1333 w 10000"/>
                    <a:gd name="connsiteY128" fmla="*/ 7224 h 9866"/>
                    <a:gd name="connsiteX129" fmla="*/ 1444 w 10000"/>
                    <a:gd name="connsiteY129" fmla="*/ 7473 h 9866"/>
                    <a:gd name="connsiteX130" fmla="*/ 1500 w 10000"/>
                    <a:gd name="connsiteY130" fmla="*/ 7657 h 9866"/>
                    <a:gd name="connsiteX131" fmla="*/ 1500 w 10000"/>
                    <a:gd name="connsiteY131" fmla="*/ 7831 h 9866"/>
                    <a:gd name="connsiteX132" fmla="*/ 1556 w 10000"/>
                    <a:gd name="connsiteY132" fmla="*/ 7908 h 9866"/>
                    <a:gd name="connsiteX133" fmla="*/ 1722 w 10000"/>
                    <a:gd name="connsiteY133" fmla="*/ 7963 h 9866"/>
                    <a:gd name="connsiteX134" fmla="*/ 1944 w 10000"/>
                    <a:gd name="connsiteY134" fmla="*/ 8022 h 9866"/>
                    <a:gd name="connsiteX135" fmla="*/ 2944 w 10000"/>
                    <a:gd name="connsiteY135" fmla="*/ 8089 h 9866"/>
                    <a:gd name="connsiteX136" fmla="*/ 2944 w 10000"/>
                    <a:gd name="connsiteY136" fmla="*/ 8089 h 9866"/>
                    <a:gd name="connsiteX137" fmla="*/ 4167 w 10000"/>
                    <a:gd name="connsiteY137" fmla="*/ 8213 h 9866"/>
                    <a:gd name="connsiteX138" fmla="*/ 4889 w 10000"/>
                    <a:gd name="connsiteY138" fmla="*/ 8387 h 9866"/>
                    <a:gd name="connsiteX139" fmla="*/ 5278 w 10000"/>
                    <a:gd name="connsiteY139" fmla="*/ 8582 h 9866"/>
                    <a:gd name="connsiteX140" fmla="*/ 5444 w 10000"/>
                    <a:gd name="connsiteY140" fmla="*/ 8634 h 9866"/>
                    <a:gd name="connsiteX141" fmla="*/ 5444 w 10000"/>
                    <a:gd name="connsiteY141" fmla="*/ 8634 h 9866"/>
                    <a:gd name="connsiteX142" fmla="*/ 5722 w 10000"/>
                    <a:gd name="connsiteY142" fmla="*/ 8771 h 9866"/>
                    <a:gd name="connsiteX143" fmla="*/ 5833 w 10000"/>
                    <a:gd name="connsiteY143" fmla="*/ 8832 h 9866"/>
                    <a:gd name="connsiteX144" fmla="*/ 5833 w 10000"/>
                    <a:gd name="connsiteY144" fmla="*/ 8832 h 9866"/>
                    <a:gd name="connsiteX145" fmla="*/ 5833 w 10000"/>
                    <a:gd name="connsiteY145" fmla="*/ 8771 h 9866"/>
                    <a:gd name="connsiteX146" fmla="*/ 5889 w 10000"/>
                    <a:gd name="connsiteY146" fmla="*/ 8701 h 9866"/>
                    <a:gd name="connsiteX147" fmla="*/ 6000 w 10000"/>
                    <a:gd name="connsiteY147" fmla="*/ 8634 h 9866"/>
                    <a:gd name="connsiteX148" fmla="*/ 6167 w 10000"/>
                    <a:gd name="connsiteY148" fmla="*/ 8582 h 9866"/>
                    <a:gd name="connsiteX149" fmla="*/ 6444 w 10000"/>
                    <a:gd name="connsiteY149" fmla="*/ 8582 h 9866"/>
                    <a:gd name="connsiteX150" fmla="*/ 6833 w 10000"/>
                    <a:gd name="connsiteY150" fmla="*/ 8634 h 9866"/>
                    <a:gd name="connsiteX151" fmla="*/ 7278 w 10000"/>
                    <a:gd name="connsiteY151" fmla="*/ 8832 h 9866"/>
                    <a:gd name="connsiteX152" fmla="*/ 7278 w 10000"/>
                    <a:gd name="connsiteY152" fmla="*/ 8832 h 9866"/>
                    <a:gd name="connsiteX153" fmla="*/ 8722 w 10000"/>
                    <a:gd name="connsiteY153" fmla="*/ 9367 h 9866"/>
                    <a:gd name="connsiteX154" fmla="*/ 10000 w 10000"/>
                    <a:gd name="connsiteY154" fmla="*/ 9866 h 9866"/>
                    <a:gd name="connsiteX0" fmla="*/ 10000 w 10000"/>
                    <a:gd name="connsiteY0" fmla="*/ 5767 h 10000"/>
                    <a:gd name="connsiteX1" fmla="*/ 10000 w 10000"/>
                    <a:gd name="connsiteY1" fmla="*/ 5767 h 10000"/>
                    <a:gd name="connsiteX2" fmla="*/ 9222 w 10000"/>
                    <a:gd name="connsiteY2" fmla="*/ 5836 h 10000"/>
                    <a:gd name="connsiteX3" fmla="*/ 8944 w 10000"/>
                    <a:gd name="connsiteY3" fmla="*/ 5836 h 10000"/>
                    <a:gd name="connsiteX4" fmla="*/ 8833 w 10000"/>
                    <a:gd name="connsiteY4" fmla="*/ 5767 h 10000"/>
                    <a:gd name="connsiteX5" fmla="*/ 8778 w 10000"/>
                    <a:gd name="connsiteY5" fmla="*/ 5708 h 10000"/>
                    <a:gd name="connsiteX6" fmla="*/ 8778 w 10000"/>
                    <a:gd name="connsiteY6" fmla="*/ 5708 h 10000"/>
                    <a:gd name="connsiteX7" fmla="*/ 8444 w 10000"/>
                    <a:gd name="connsiteY7" fmla="*/ 4964 h 10000"/>
                    <a:gd name="connsiteX8" fmla="*/ 8167 w 10000"/>
                    <a:gd name="connsiteY8" fmla="*/ 4278 h 10000"/>
                    <a:gd name="connsiteX9" fmla="*/ 8167 w 10000"/>
                    <a:gd name="connsiteY9" fmla="*/ 4278 h 10000"/>
                    <a:gd name="connsiteX10" fmla="*/ 8056 w 10000"/>
                    <a:gd name="connsiteY10" fmla="*/ 4162 h 10000"/>
                    <a:gd name="connsiteX11" fmla="*/ 7889 w 10000"/>
                    <a:gd name="connsiteY11" fmla="*/ 4042 h 10000"/>
                    <a:gd name="connsiteX12" fmla="*/ 7444 w 10000"/>
                    <a:gd name="connsiteY12" fmla="*/ 3968 h 10000"/>
                    <a:gd name="connsiteX13" fmla="*/ 6889 w 10000"/>
                    <a:gd name="connsiteY13" fmla="*/ 3911 h 10000"/>
                    <a:gd name="connsiteX14" fmla="*/ 6389 w 10000"/>
                    <a:gd name="connsiteY14" fmla="*/ 3911 h 10000"/>
                    <a:gd name="connsiteX15" fmla="*/ 6389 w 10000"/>
                    <a:gd name="connsiteY15" fmla="*/ 3911 h 10000"/>
                    <a:gd name="connsiteX16" fmla="*/ 6167 w 10000"/>
                    <a:gd name="connsiteY16" fmla="*/ 3842 h 10000"/>
                    <a:gd name="connsiteX17" fmla="*/ 6056 w 10000"/>
                    <a:gd name="connsiteY17" fmla="*/ 3729 h 10000"/>
                    <a:gd name="connsiteX18" fmla="*/ 6000 w 10000"/>
                    <a:gd name="connsiteY18" fmla="*/ 3596 h 10000"/>
                    <a:gd name="connsiteX19" fmla="*/ 6000 w 10000"/>
                    <a:gd name="connsiteY19" fmla="*/ 3367 h 10000"/>
                    <a:gd name="connsiteX20" fmla="*/ 6056 w 10000"/>
                    <a:gd name="connsiteY20" fmla="*/ 2861 h 10000"/>
                    <a:gd name="connsiteX21" fmla="*/ 6111 w 10000"/>
                    <a:gd name="connsiteY21" fmla="*/ 2606 h 10000"/>
                    <a:gd name="connsiteX22" fmla="*/ 6056 w 10000"/>
                    <a:gd name="connsiteY22" fmla="*/ 2292 h 10000"/>
                    <a:gd name="connsiteX23" fmla="*/ 6056 w 10000"/>
                    <a:gd name="connsiteY23" fmla="*/ 2292 h 10000"/>
                    <a:gd name="connsiteX24" fmla="*/ 6000 w 10000"/>
                    <a:gd name="connsiteY24" fmla="*/ 2106 h 10000"/>
                    <a:gd name="connsiteX25" fmla="*/ 5944 w 10000"/>
                    <a:gd name="connsiteY25" fmla="*/ 1980 h 10000"/>
                    <a:gd name="connsiteX26" fmla="*/ 5833 w 10000"/>
                    <a:gd name="connsiteY26" fmla="*/ 1980 h 10000"/>
                    <a:gd name="connsiteX27" fmla="*/ 5667 w 10000"/>
                    <a:gd name="connsiteY27" fmla="*/ 2036 h 10000"/>
                    <a:gd name="connsiteX28" fmla="*/ 5333 w 10000"/>
                    <a:gd name="connsiteY28" fmla="*/ 2231 h 10000"/>
                    <a:gd name="connsiteX29" fmla="*/ 4889 w 10000"/>
                    <a:gd name="connsiteY29" fmla="*/ 2544 h 10000"/>
                    <a:gd name="connsiteX30" fmla="*/ 4889 w 10000"/>
                    <a:gd name="connsiteY30" fmla="*/ 2544 h 10000"/>
                    <a:gd name="connsiteX31" fmla="*/ 4611 w 10000"/>
                    <a:gd name="connsiteY31" fmla="*/ 2606 h 10000"/>
                    <a:gd name="connsiteX32" fmla="*/ 4500 w 10000"/>
                    <a:gd name="connsiteY32" fmla="*/ 2606 h 10000"/>
                    <a:gd name="connsiteX33" fmla="*/ 4444 w 10000"/>
                    <a:gd name="connsiteY33" fmla="*/ 2544 h 10000"/>
                    <a:gd name="connsiteX34" fmla="*/ 4389 w 10000"/>
                    <a:gd name="connsiteY34" fmla="*/ 2292 h 10000"/>
                    <a:gd name="connsiteX35" fmla="*/ 4222 w 10000"/>
                    <a:gd name="connsiteY35" fmla="*/ 1980 h 10000"/>
                    <a:gd name="connsiteX36" fmla="*/ 4222 w 10000"/>
                    <a:gd name="connsiteY36" fmla="*/ 1980 h 10000"/>
                    <a:gd name="connsiteX37" fmla="*/ 4111 w 10000"/>
                    <a:gd name="connsiteY37" fmla="*/ 1791 h 10000"/>
                    <a:gd name="connsiteX38" fmla="*/ 4111 w 10000"/>
                    <a:gd name="connsiteY38" fmla="*/ 1612 h 10000"/>
                    <a:gd name="connsiteX39" fmla="*/ 4111 w 10000"/>
                    <a:gd name="connsiteY39" fmla="*/ 1487 h 10000"/>
                    <a:gd name="connsiteX40" fmla="*/ 4167 w 10000"/>
                    <a:gd name="connsiteY40" fmla="*/ 1358 h 10000"/>
                    <a:gd name="connsiteX41" fmla="*/ 4278 w 10000"/>
                    <a:gd name="connsiteY41" fmla="*/ 1112 h 10000"/>
                    <a:gd name="connsiteX42" fmla="*/ 4389 w 10000"/>
                    <a:gd name="connsiteY42" fmla="*/ 1048 h 10000"/>
                    <a:gd name="connsiteX43" fmla="*/ 4389 w 10000"/>
                    <a:gd name="connsiteY43" fmla="*/ 1048 h 10000"/>
                    <a:gd name="connsiteX44" fmla="*/ 4389 w 10000"/>
                    <a:gd name="connsiteY44" fmla="*/ 984 h 10000"/>
                    <a:gd name="connsiteX45" fmla="*/ 4444 w 10000"/>
                    <a:gd name="connsiteY45" fmla="*/ 937 h 10000"/>
                    <a:gd name="connsiteX46" fmla="*/ 4667 w 10000"/>
                    <a:gd name="connsiteY46" fmla="*/ 866 h 10000"/>
                    <a:gd name="connsiteX47" fmla="*/ 5333 w 10000"/>
                    <a:gd name="connsiteY47" fmla="*/ 746 h 10000"/>
                    <a:gd name="connsiteX48" fmla="*/ 6500 w 10000"/>
                    <a:gd name="connsiteY48" fmla="*/ 551 h 10000"/>
                    <a:gd name="connsiteX49" fmla="*/ 6500 w 10000"/>
                    <a:gd name="connsiteY49" fmla="*/ 551 h 10000"/>
                    <a:gd name="connsiteX50" fmla="*/ 7167 w 10000"/>
                    <a:gd name="connsiteY50" fmla="*/ 371 h 10000"/>
                    <a:gd name="connsiteX51" fmla="*/ 8389 w 10000"/>
                    <a:gd name="connsiteY51" fmla="*/ 0 h 10000"/>
                    <a:gd name="connsiteX52" fmla="*/ 10000 w 10000"/>
                    <a:gd name="connsiteY52" fmla="*/ 5836 h 10000"/>
                    <a:gd name="connsiteX53" fmla="*/ 10000 w 10000"/>
                    <a:gd name="connsiteY53" fmla="*/ 5836 h 10000"/>
                    <a:gd name="connsiteX54" fmla="*/ 9722 w 10000"/>
                    <a:gd name="connsiteY54" fmla="*/ 5767 h 10000"/>
                    <a:gd name="connsiteX55" fmla="*/ 9389 w 10000"/>
                    <a:gd name="connsiteY55" fmla="*/ 5836 h 10000"/>
                    <a:gd name="connsiteX56" fmla="*/ 9389 w 10000"/>
                    <a:gd name="connsiteY56" fmla="*/ 5836 h 10000"/>
                    <a:gd name="connsiteX57" fmla="*/ 9278 w 10000"/>
                    <a:gd name="connsiteY57" fmla="*/ 5912 h 10000"/>
                    <a:gd name="connsiteX58" fmla="*/ 9056 w 10000"/>
                    <a:gd name="connsiteY58" fmla="*/ 5836 h 10000"/>
                    <a:gd name="connsiteX59" fmla="*/ 8889 w 10000"/>
                    <a:gd name="connsiteY59" fmla="*/ 5767 h 10000"/>
                    <a:gd name="connsiteX60" fmla="*/ 8722 w 10000"/>
                    <a:gd name="connsiteY60" fmla="*/ 5650 h 10000"/>
                    <a:gd name="connsiteX61" fmla="*/ 8611 w 10000"/>
                    <a:gd name="connsiteY61" fmla="*/ 5456 h 10000"/>
                    <a:gd name="connsiteX62" fmla="*/ 8444 w 10000"/>
                    <a:gd name="connsiteY62" fmla="*/ 5145 h 10000"/>
                    <a:gd name="connsiteX63" fmla="*/ 8444 w 10000"/>
                    <a:gd name="connsiteY63" fmla="*/ 5145 h 10000"/>
                    <a:gd name="connsiteX64" fmla="*/ 8222 w 10000"/>
                    <a:gd name="connsiteY64" fmla="*/ 4601 h 10000"/>
                    <a:gd name="connsiteX65" fmla="*/ 8111 w 10000"/>
                    <a:gd name="connsiteY65" fmla="*/ 4352 h 10000"/>
                    <a:gd name="connsiteX66" fmla="*/ 7944 w 10000"/>
                    <a:gd name="connsiteY66" fmla="*/ 4162 h 10000"/>
                    <a:gd name="connsiteX67" fmla="*/ 7778 w 10000"/>
                    <a:gd name="connsiteY67" fmla="*/ 4042 h 10000"/>
                    <a:gd name="connsiteX68" fmla="*/ 7556 w 10000"/>
                    <a:gd name="connsiteY68" fmla="*/ 3968 h 10000"/>
                    <a:gd name="connsiteX69" fmla="*/ 7333 w 10000"/>
                    <a:gd name="connsiteY69" fmla="*/ 3911 h 10000"/>
                    <a:gd name="connsiteX70" fmla="*/ 7000 w 10000"/>
                    <a:gd name="connsiteY70" fmla="*/ 3842 h 10000"/>
                    <a:gd name="connsiteX71" fmla="*/ 7000 w 10000"/>
                    <a:gd name="connsiteY71" fmla="*/ 3842 h 10000"/>
                    <a:gd name="connsiteX72" fmla="*/ 6556 w 10000"/>
                    <a:gd name="connsiteY72" fmla="*/ 3911 h 10000"/>
                    <a:gd name="connsiteX73" fmla="*/ 6222 w 10000"/>
                    <a:gd name="connsiteY73" fmla="*/ 3911 h 10000"/>
                    <a:gd name="connsiteX74" fmla="*/ 6111 w 10000"/>
                    <a:gd name="connsiteY74" fmla="*/ 3842 h 10000"/>
                    <a:gd name="connsiteX75" fmla="*/ 6056 w 10000"/>
                    <a:gd name="connsiteY75" fmla="*/ 3784 h 10000"/>
                    <a:gd name="connsiteX76" fmla="*/ 6056 w 10000"/>
                    <a:gd name="connsiteY76" fmla="*/ 3784 h 10000"/>
                    <a:gd name="connsiteX77" fmla="*/ 6056 w 10000"/>
                    <a:gd name="connsiteY77" fmla="*/ 2673 h 10000"/>
                    <a:gd name="connsiteX78" fmla="*/ 6056 w 10000"/>
                    <a:gd name="connsiteY78" fmla="*/ 2673 h 10000"/>
                    <a:gd name="connsiteX79" fmla="*/ 6056 w 10000"/>
                    <a:gd name="connsiteY79" fmla="*/ 2413 h 10000"/>
                    <a:gd name="connsiteX80" fmla="*/ 5944 w 10000"/>
                    <a:gd name="connsiteY80" fmla="*/ 2106 h 10000"/>
                    <a:gd name="connsiteX81" fmla="*/ 5889 w 10000"/>
                    <a:gd name="connsiteY81" fmla="*/ 2036 h 10000"/>
                    <a:gd name="connsiteX82" fmla="*/ 5778 w 10000"/>
                    <a:gd name="connsiteY82" fmla="*/ 1980 h 10000"/>
                    <a:gd name="connsiteX83" fmla="*/ 5667 w 10000"/>
                    <a:gd name="connsiteY83" fmla="*/ 1980 h 10000"/>
                    <a:gd name="connsiteX84" fmla="*/ 5500 w 10000"/>
                    <a:gd name="connsiteY84" fmla="*/ 2036 h 10000"/>
                    <a:gd name="connsiteX85" fmla="*/ 5500 w 10000"/>
                    <a:gd name="connsiteY85" fmla="*/ 2036 h 10000"/>
                    <a:gd name="connsiteX86" fmla="*/ 4889 w 10000"/>
                    <a:gd name="connsiteY86" fmla="*/ 2480 h 10000"/>
                    <a:gd name="connsiteX87" fmla="*/ 4611 w 10000"/>
                    <a:gd name="connsiteY87" fmla="*/ 2606 h 10000"/>
                    <a:gd name="connsiteX88" fmla="*/ 4556 w 10000"/>
                    <a:gd name="connsiteY88" fmla="*/ 2673 h 10000"/>
                    <a:gd name="connsiteX89" fmla="*/ 4500 w 10000"/>
                    <a:gd name="connsiteY89" fmla="*/ 2606 h 10000"/>
                    <a:gd name="connsiteX90" fmla="*/ 4500 w 10000"/>
                    <a:gd name="connsiteY90" fmla="*/ 2606 h 10000"/>
                    <a:gd name="connsiteX91" fmla="*/ 4222 w 10000"/>
                    <a:gd name="connsiteY91" fmla="*/ 1980 h 10000"/>
                    <a:gd name="connsiteX92" fmla="*/ 4222 w 10000"/>
                    <a:gd name="connsiteY92" fmla="*/ 1980 h 10000"/>
                    <a:gd name="connsiteX93" fmla="*/ 4111 w 10000"/>
                    <a:gd name="connsiteY93" fmla="*/ 1671 h 10000"/>
                    <a:gd name="connsiteX94" fmla="*/ 4111 w 10000"/>
                    <a:gd name="connsiteY94" fmla="*/ 1487 h 10000"/>
                    <a:gd name="connsiteX95" fmla="*/ 4111 w 10000"/>
                    <a:gd name="connsiteY95" fmla="*/ 1296 h 10000"/>
                    <a:gd name="connsiteX96" fmla="*/ 4111 w 10000"/>
                    <a:gd name="connsiteY96" fmla="*/ 1296 h 10000"/>
                    <a:gd name="connsiteX97" fmla="*/ 4278 w 10000"/>
                    <a:gd name="connsiteY97" fmla="*/ 1112 h 10000"/>
                    <a:gd name="connsiteX98" fmla="*/ 4389 w 10000"/>
                    <a:gd name="connsiteY98" fmla="*/ 1048 h 10000"/>
                    <a:gd name="connsiteX99" fmla="*/ 4389 w 10000"/>
                    <a:gd name="connsiteY99" fmla="*/ 1048 h 10000"/>
                    <a:gd name="connsiteX100" fmla="*/ 4000 w 10000"/>
                    <a:gd name="connsiteY100" fmla="*/ 1048 h 10000"/>
                    <a:gd name="connsiteX101" fmla="*/ 3722 w 10000"/>
                    <a:gd name="connsiteY101" fmla="*/ 1112 h 10000"/>
                    <a:gd name="connsiteX102" fmla="*/ 3611 w 10000"/>
                    <a:gd name="connsiteY102" fmla="*/ 1180 h 10000"/>
                    <a:gd name="connsiteX103" fmla="*/ 3556 w 10000"/>
                    <a:gd name="connsiteY103" fmla="*/ 1242 h 10000"/>
                    <a:gd name="connsiteX104" fmla="*/ 3556 w 10000"/>
                    <a:gd name="connsiteY104" fmla="*/ 1242 h 10000"/>
                    <a:gd name="connsiteX105" fmla="*/ 3444 w 10000"/>
                    <a:gd name="connsiteY105" fmla="*/ 1487 h 10000"/>
                    <a:gd name="connsiteX106" fmla="*/ 3278 w 10000"/>
                    <a:gd name="connsiteY106" fmla="*/ 1865 h 10000"/>
                    <a:gd name="connsiteX107" fmla="*/ 3000 w 10000"/>
                    <a:gd name="connsiteY107" fmla="*/ 2292 h 10000"/>
                    <a:gd name="connsiteX108" fmla="*/ 2667 w 10000"/>
                    <a:gd name="connsiteY108" fmla="*/ 2606 h 10000"/>
                    <a:gd name="connsiteX109" fmla="*/ 2667 w 10000"/>
                    <a:gd name="connsiteY109" fmla="*/ 2606 h 10000"/>
                    <a:gd name="connsiteX110" fmla="*/ 2333 w 10000"/>
                    <a:gd name="connsiteY110" fmla="*/ 2861 h 10000"/>
                    <a:gd name="connsiteX111" fmla="*/ 1833 w 10000"/>
                    <a:gd name="connsiteY111" fmla="*/ 3110 h 10000"/>
                    <a:gd name="connsiteX112" fmla="*/ 1389 w 10000"/>
                    <a:gd name="connsiteY112" fmla="*/ 3228 h 10000"/>
                    <a:gd name="connsiteX113" fmla="*/ 889 w 10000"/>
                    <a:gd name="connsiteY113" fmla="*/ 3291 h 10000"/>
                    <a:gd name="connsiteX114" fmla="*/ 889 w 10000"/>
                    <a:gd name="connsiteY114" fmla="*/ 3291 h 10000"/>
                    <a:gd name="connsiteX115" fmla="*/ 500 w 10000"/>
                    <a:gd name="connsiteY115" fmla="*/ 3367 h 10000"/>
                    <a:gd name="connsiteX116" fmla="*/ 222 w 10000"/>
                    <a:gd name="connsiteY116" fmla="*/ 3413 h 10000"/>
                    <a:gd name="connsiteX117" fmla="*/ 0 w 10000"/>
                    <a:gd name="connsiteY117" fmla="*/ 3473 h 10000"/>
                    <a:gd name="connsiteX118" fmla="*/ 0 w 10000"/>
                    <a:gd name="connsiteY118" fmla="*/ 3473 h 10000"/>
                    <a:gd name="connsiteX119" fmla="*/ 278 w 10000"/>
                    <a:gd name="connsiteY119" fmla="*/ 4476 h 10000"/>
                    <a:gd name="connsiteX120" fmla="*/ 500 w 10000"/>
                    <a:gd name="connsiteY120" fmla="*/ 5208 h 10000"/>
                    <a:gd name="connsiteX121" fmla="*/ 722 w 10000"/>
                    <a:gd name="connsiteY121" fmla="*/ 5836 h 10000"/>
                    <a:gd name="connsiteX122" fmla="*/ 722 w 10000"/>
                    <a:gd name="connsiteY122" fmla="*/ 5836 h 10000"/>
                    <a:gd name="connsiteX123" fmla="*/ 889 w 10000"/>
                    <a:gd name="connsiteY123" fmla="*/ 6208 h 10000"/>
                    <a:gd name="connsiteX124" fmla="*/ 944 w 10000"/>
                    <a:gd name="connsiteY124" fmla="*/ 6528 h 10000"/>
                    <a:gd name="connsiteX125" fmla="*/ 1111 w 10000"/>
                    <a:gd name="connsiteY125" fmla="*/ 6841 h 10000"/>
                    <a:gd name="connsiteX126" fmla="*/ 1333 w 10000"/>
                    <a:gd name="connsiteY126" fmla="*/ 7322 h 10000"/>
                    <a:gd name="connsiteX127" fmla="*/ 1333 w 10000"/>
                    <a:gd name="connsiteY127" fmla="*/ 7322 h 10000"/>
                    <a:gd name="connsiteX128" fmla="*/ 1444 w 10000"/>
                    <a:gd name="connsiteY128" fmla="*/ 7574 h 10000"/>
                    <a:gd name="connsiteX129" fmla="*/ 1500 w 10000"/>
                    <a:gd name="connsiteY129" fmla="*/ 7761 h 10000"/>
                    <a:gd name="connsiteX130" fmla="*/ 1500 w 10000"/>
                    <a:gd name="connsiteY130" fmla="*/ 7937 h 10000"/>
                    <a:gd name="connsiteX131" fmla="*/ 1556 w 10000"/>
                    <a:gd name="connsiteY131" fmla="*/ 8015 h 10000"/>
                    <a:gd name="connsiteX132" fmla="*/ 1722 w 10000"/>
                    <a:gd name="connsiteY132" fmla="*/ 8071 h 10000"/>
                    <a:gd name="connsiteX133" fmla="*/ 1944 w 10000"/>
                    <a:gd name="connsiteY133" fmla="*/ 8131 h 10000"/>
                    <a:gd name="connsiteX134" fmla="*/ 2944 w 10000"/>
                    <a:gd name="connsiteY134" fmla="*/ 8199 h 10000"/>
                    <a:gd name="connsiteX135" fmla="*/ 2944 w 10000"/>
                    <a:gd name="connsiteY135" fmla="*/ 8199 h 10000"/>
                    <a:gd name="connsiteX136" fmla="*/ 4167 w 10000"/>
                    <a:gd name="connsiteY136" fmla="*/ 8325 h 10000"/>
                    <a:gd name="connsiteX137" fmla="*/ 4889 w 10000"/>
                    <a:gd name="connsiteY137" fmla="*/ 8501 h 10000"/>
                    <a:gd name="connsiteX138" fmla="*/ 5278 w 10000"/>
                    <a:gd name="connsiteY138" fmla="*/ 8699 h 10000"/>
                    <a:gd name="connsiteX139" fmla="*/ 5444 w 10000"/>
                    <a:gd name="connsiteY139" fmla="*/ 8751 h 10000"/>
                    <a:gd name="connsiteX140" fmla="*/ 5444 w 10000"/>
                    <a:gd name="connsiteY140" fmla="*/ 8751 h 10000"/>
                    <a:gd name="connsiteX141" fmla="*/ 5722 w 10000"/>
                    <a:gd name="connsiteY141" fmla="*/ 8890 h 10000"/>
                    <a:gd name="connsiteX142" fmla="*/ 5833 w 10000"/>
                    <a:gd name="connsiteY142" fmla="*/ 8952 h 10000"/>
                    <a:gd name="connsiteX143" fmla="*/ 5833 w 10000"/>
                    <a:gd name="connsiteY143" fmla="*/ 8952 h 10000"/>
                    <a:gd name="connsiteX144" fmla="*/ 5833 w 10000"/>
                    <a:gd name="connsiteY144" fmla="*/ 8890 h 10000"/>
                    <a:gd name="connsiteX145" fmla="*/ 5889 w 10000"/>
                    <a:gd name="connsiteY145" fmla="*/ 8819 h 10000"/>
                    <a:gd name="connsiteX146" fmla="*/ 6000 w 10000"/>
                    <a:gd name="connsiteY146" fmla="*/ 8751 h 10000"/>
                    <a:gd name="connsiteX147" fmla="*/ 6167 w 10000"/>
                    <a:gd name="connsiteY147" fmla="*/ 8699 h 10000"/>
                    <a:gd name="connsiteX148" fmla="*/ 6444 w 10000"/>
                    <a:gd name="connsiteY148" fmla="*/ 8699 h 10000"/>
                    <a:gd name="connsiteX149" fmla="*/ 6833 w 10000"/>
                    <a:gd name="connsiteY149" fmla="*/ 8751 h 10000"/>
                    <a:gd name="connsiteX150" fmla="*/ 7278 w 10000"/>
                    <a:gd name="connsiteY150" fmla="*/ 8952 h 10000"/>
                    <a:gd name="connsiteX151" fmla="*/ 7278 w 10000"/>
                    <a:gd name="connsiteY151" fmla="*/ 8952 h 10000"/>
                    <a:gd name="connsiteX152" fmla="*/ 8722 w 10000"/>
                    <a:gd name="connsiteY152" fmla="*/ 9494 h 10000"/>
                    <a:gd name="connsiteX153" fmla="*/ 10000 w 10000"/>
                    <a:gd name="connsiteY153" fmla="*/ 10000 h 10000"/>
                    <a:gd name="connsiteX0" fmla="*/ 10000 w 10000"/>
                    <a:gd name="connsiteY0" fmla="*/ 5396 h 9629"/>
                    <a:gd name="connsiteX1" fmla="*/ 10000 w 10000"/>
                    <a:gd name="connsiteY1" fmla="*/ 5396 h 9629"/>
                    <a:gd name="connsiteX2" fmla="*/ 9222 w 10000"/>
                    <a:gd name="connsiteY2" fmla="*/ 5465 h 9629"/>
                    <a:gd name="connsiteX3" fmla="*/ 8944 w 10000"/>
                    <a:gd name="connsiteY3" fmla="*/ 5465 h 9629"/>
                    <a:gd name="connsiteX4" fmla="*/ 8833 w 10000"/>
                    <a:gd name="connsiteY4" fmla="*/ 5396 h 9629"/>
                    <a:gd name="connsiteX5" fmla="*/ 8778 w 10000"/>
                    <a:gd name="connsiteY5" fmla="*/ 5337 h 9629"/>
                    <a:gd name="connsiteX6" fmla="*/ 8778 w 10000"/>
                    <a:gd name="connsiteY6" fmla="*/ 5337 h 9629"/>
                    <a:gd name="connsiteX7" fmla="*/ 8444 w 10000"/>
                    <a:gd name="connsiteY7" fmla="*/ 4593 h 9629"/>
                    <a:gd name="connsiteX8" fmla="*/ 8167 w 10000"/>
                    <a:gd name="connsiteY8" fmla="*/ 3907 h 9629"/>
                    <a:gd name="connsiteX9" fmla="*/ 8167 w 10000"/>
                    <a:gd name="connsiteY9" fmla="*/ 3907 h 9629"/>
                    <a:gd name="connsiteX10" fmla="*/ 8056 w 10000"/>
                    <a:gd name="connsiteY10" fmla="*/ 3791 h 9629"/>
                    <a:gd name="connsiteX11" fmla="*/ 7889 w 10000"/>
                    <a:gd name="connsiteY11" fmla="*/ 3671 h 9629"/>
                    <a:gd name="connsiteX12" fmla="*/ 7444 w 10000"/>
                    <a:gd name="connsiteY12" fmla="*/ 3597 h 9629"/>
                    <a:gd name="connsiteX13" fmla="*/ 6889 w 10000"/>
                    <a:gd name="connsiteY13" fmla="*/ 3540 h 9629"/>
                    <a:gd name="connsiteX14" fmla="*/ 6389 w 10000"/>
                    <a:gd name="connsiteY14" fmla="*/ 3540 h 9629"/>
                    <a:gd name="connsiteX15" fmla="*/ 6389 w 10000"/>
                    <a:gd name="connsiteY15" fmla="*/ 3540 h 9629"/>
                    <a:gd name="connsiteX16" fmla="*/ 6167 w 10000"/>
                    <a:gd name="connsiteY16" fmla="*/ 3471 h 9629"/>
                    <a:gd name="connsiteX17" fmla="*/ 6056 w 10000"/>
                    <a:gd name="connsiteY17" fmla="*/ 3358 h 9629"/>
                    <a:gd name="connsiteX18" fmla="*/ 6000 w 10000"/>
                    <a:gd name="connsiteY18" fmla="*/ 3225 h 9629"/>
                    <a:gd name="connsiteX19" fmla="*/ 6000 w 10000"/>
                    <a:gd name="connsiteY19" fmla="*/ 2996 h 9629"/>
                    <a:gd name="connsiteX20" fmla="*/ 6056 w 10000"/>
                    <a:gd name="connsiteY20" fmla="*/ 2490 h 9629"/>
                    <a:gd name="connsiteX21" fmla="*/ 6111 w 10000"/>
                    <a:gd name="connsiteY21" fmla="*/ 2235 h 9629"/>
                    <a:gd name="connsiteX22" fmla="*/ 6056 w 10000"/>
                    <a:gd name="connsiteY22" fmla="*/ 1921 h 9629"/>
                    <a:gd name="connsiteX23" fmla="*/ 6056 w 10000"/>
                    <a:gd name="connsiteY23" fmla="*/ 1921 h 9629"/>
                    <a:gd name="connsiteX24" fmla="*/ 6000 w 10000"/>
                    <a:gd name="connsiteY24" fmla="*/ 1735 h 9629"/>
                    <a:gd name="connsiteX25" fmla="*/ 5944 w 10000"/>
                    <a:gd name="connsiteY25" fmla="*/ 1609 h 9629"/>
                    <a:gd name="connsiteX26" fmla="*/ 5833 w 10000"/>
                    <a:gd name="connsiteY26" fmla="*/ 1609 h 9629"/>
                    <a:gd name="connsiteX27" fmla="*/ 5667 w 10000"/>
                    <a:gd name="connsiteY27" fmla="*/ 1665 h 9629"/>
                    <a:gd name="connsiteX28" fmla="*/ 5333 w 10000"/>
                    <a:gd name="connsiteY28" fmla="*/ 1860 h 9629"/>
                    <a:gd name="connsiteX29" fmla="*/ 4889 w 10000"/>
                    <a:gd name="connsiteY29" fmla="*/ 2173 h 9629"/>
                    <a:gd name="connsiteX30" fmla="*/ 4889 w 10000"/>
                    <a:gd name="connsiteY30" fmla="*/ 2173 h 9629"/>
                    <a:gd name="connsiteX31" fmla="*/ 4611 w 10000"/>
                    <a:gd name="connsiteY31" fmla="*/ 2235 h 9629"/>
                    <a:gd name="connsiteX32" fmla="*/ 4500 w 10000"/>
                    <a:gd name="connsiteY32" fmla="*/ 2235 h 9629"/>
                    <a:gd name="connsiteX33" fmla="*/ 4444 w 10000"/>
                    <a:gd name="connsiteY33" fmla="*/ 2173 h 9629"/>
                    <a:gd name="connsiteX34" fmla="*/ 4389 w 10000"/>
                    <a:gd name="connsiteY34" fmla="*/ 1921 h 9629"/>
                    <a:gd name="connsiteX35" fmla="*/ 4222 w 10000"/>
                    <a:gd name="connsiteY35" fmla="*/ 1609 h 9629"/>
                    <a:gd name="connsiteX36" fmla="*/ 4222 w 10000"/>
                    <a:gd name="connsiteY36" fmla="*/ 1609 h 9629"/>
                    <a:gd name="connsiteX37" fmla="*/ 4111 w 10000"/>
                    <a:gd name="connsiteY37" fmla="*/ 1420 h 9629"/>
                    <a:gd name="connsiteX38" fmla="*/ 4111 w 10000"/>
                    <a:gd name="connsiteY38" fmla="*/ 1241 h 9629"/>
                    <a:gd name="connsiteX39" fmla="*/ 4111 w 10000"/>
                    <a:gd name="connsiteY39" fmla="*/ 1116 h 9629"/>
                    <a:gd name="connsiteX40" fmla="*/ 4167 w 10000"/>
                    <a:gd name="connsiteY40" fmla="*/ 987 h 9629"/>
                    <a:gd name="connsiteX41" fmla="*/ 4278 w 10000"/>
                    <a:gd name="connsiteY41" fmla="*/ 741 h 9629"/>
                    <a:gd name="connsiteX42" fmla="*/ 4389 w 10000"/>
                    <a:gd name="connsiteY42" fmla="*/ 677 h 9629"/>
                    <a:gd name="connsiteX43" fmla="*/ 4389 w 10000"/>
                    <a:gd name="connsiteY43" fmla="*/ 677 h 9629"/>
                    <a:gd name="connsiteX44" fmla="*/ 4389 w 10000"/>
                    <a:gd name="connsiteY44" fmla="*/ 613 h 9629"/>
                    <a:gd name="connsiteX45" fmla="*/ 4444 w 10000"/>
                    <a:gd name="connsiteY45" fmla="*/ 566 h 9629"/>
                    <a:gd name="connsiteX46" fmla="*/ 4667 w 10000"/>
                    <a:gd name="connsiteY46" fmla="*/ 495 h 9629"/>
                    <a:gd name="connsiteX47" fmla="*/ 5333 w 10000"/>
                    <a:gd name="connsiteY47" fmla="*/ 375 h 9629"/>
                    <a:gd name="connsiteX48" fmla="*/ 6500 w 10000"/>
                    <a:gd name="connsiteY48" fmla="*/ 180 h 9629"/>
                    <a:gd name="connsiteX49" fmla="*/ 6500 w 10000"/>
                    <a:gd name="connsiteY49" fmla="*/ 180 h 9629"/>
                    <a:gd name="connsiteX50" fmla="*/ 7167 w 10000"/>
                    <a:gd name="connsiteY50" fmla="*/ 0 h 9629"/>
                    <a:gd name="connsiteX51" fmla="*/ 10000 w 10000"/>
                    <a:gd name="connsiteY51" fmla="*/ 5465 h 9629"/>
                    <a:gd name="connsiteX52" fmla="*/ 10000 w 10000"/>
                    <a:gd name="connsiteY52" fmla="*/ 5465 h 9629"/>
                    <a:gd name="connsiteX53" fmla="*/ 9722 w 10000"/>
                    <a:gd name="connsiteY53" fmla="*/ 5396 h 9629"/>
                    <a:gd name="connsiteX54" fmla="*/ 9389 w 10000"/>
                    <a:gd name="connsiteY54" fmla="*/ 5465 h 9629"/>
                    <a:gd name="connsiteX55" fmla="*/ 9389 w 10000"/>
                    <a:gd name="connsiteY55" fmla="*/ 5465 h 9629"/>
                    <a:gd name="connsiteX56" fmla="*/ 9278 w 10000"/>
                    <a:gd name="connsiteY56" fmla="*/ 5541 h 9629"/>
                    <a:gd name="connsiteX57" fmla="*/ 9056 w 10000"/>
                    <a:gd name="connsiteY57" fmla="*/ 5465 h 9629"/>
                    <a:gd name="connsiteX58" fmla="*/ 8889 w 10000"/>
                    <a:gd name="connsiteY58" fmla="*/ 5396 h 9629"/>
                    <a:gd name="connsiteX59" fmla="*/ 8722 w 10000"/>
                    <a:gd name="connsiteY59" fmla="*/ 5279 h 9629"/>
                    <a:gd name="connsiteX60" fmla="*/ 8611 w 10000"/>
                    <a:gd name="connsiteY60" fmla="*/ 5085 h 9629"/>
                    <a:gd name="connsiteX61" fmla="*/ 8444 w 10000"/>
                    <a:gd name="connsiteY61" fmla="*/ 4774 h 9629"/>
                    <a:gd name="connsiteX62" fmla="*/ 8444 w 10000"/>
                    <a:gd name="connsiteY62" fmla="*/ 4774 h 9629"/>
                    <a:gd name="connsiteX63" fmla="*/ 8222 w 10000"/>
                    <a:gd name="connsiteY63" fmla="*/ 4230 h 9629"/>
                    <a:gd name="connsiteX64" fmla="*/ 8111 w 10000"/>
                    <a:gd name="connsiteY64" fmla="*/ 3981 h 9629"/>
                    <a:gd name="connsiteX65" fmla="*/ 7944 w 10000"/>
                    <a:gd name="connsiteY65" fmla="*/ 3791 h 9629"/>
                    <a:gd name="connsiteX66" fmla="*/ 7778 w 10000"/>
                    <a:gd name="connsiteY66" fmla="*/ 3671 h 9629"/>
                    <a:gd name="connsiteX67" fmla="*/ 7556 w 10000"/>
                    <a:gd name="connsiteY67" fmla="*/ 3597 h 9629"/>
                    <a:gd name="connsiteX68" fmla="*/ 7333 w 10000"/>
                    <a:gd name="connsiteY68" fmla="*/ 3540 h 9629"/>
                    <a:gd name="connsiteX69" fmla="*/ 7000 w 10000"/>
                    <a:gd name="connsiteY69" fmla="*/ 3471 h 9629"/>
                    <a:gd name="connsiteX70" fmla="*/ 7000 w 10000"/>
                    <a:gd name="connsiteY70" fmla="*/ 3471 h 9629"/>
                    <a:gd name="connsiteX71" fmla="*/ 6556 w 10000"/>
                    <a:gd name="connsiteY71" fmla="*/ 3540 h 9629"/>
                    <a:gd name="connsiteX72" fmla="*/ 6222 w 10000"/>
                    <a:gd name="connsiteY72" fmla="*/ 3540 h 9629"/>
                    <a:gd name="connsiteX73" fmla="*/ 6111 w 10000"/>
                    <a:gd name="connsiteY73" fmla="*/ 3471 h 9629"/>
                    <a:gd name="connsiteX74" fmla="*/ 6056 w 10000"/>
                    <a:gd name="connsiteY74" fmla="*/ 3413 h 9629"/>
                    <a:gd name="connsiteX75" fmla="*/ 6056 w 10000"/>
                    <a:gd name="connsiteY75" fmla="*/ 3413 h 9629"/>
                    <a:gd name="connsiteX76" fmla="*/ 6056 w 10000"/>
                    <a:gd name="connsiteY76" fmla="*/ 2302 h 9629"/>
                    <a:gd name="connsiteX77" fmla="*/ 6056 w 10000"/>
                    <a:gd name="connsiteY77" fmla="*/ 2302 h 9629"/>
                    <a:gd name="connsiteX78" fmla="*/ 6056 w 10000"/>
                    <a:gd name="connsiteY78" fmla="*/ 2042 h 9629"/>
                    <a:gd name="connsiteX79" fmla="*/ 5944 w 10000"/>
                    <a:gd name="connsiteY79" fmla="*/ 1735 h 9629"/>
                    <a:gd name="connsiteX80" fmla="*/ 5889 w 10000"/>
                    <a:gd name="connsiteY80" fmla="*/ 1665 h 9629"/>
                    <a:gd name="connsiteX81" fmla="*/ 5778 w 10000"/>
                    <a:gd name="connsiteY81" fmla="*/ 1609 h 9629"/>
                    <a:gd name="connsiteX82" fmla="*/ 5667 w 10000"/>
                    <a:gd name="connsiteY82" fmla="*/ 1609 h 9629"/>
                    <a:gd name="connsiteX83" fmla="*/ 5500 w 10000"/>
                    <a:gd name="connsiteY83" fmla="*/ 1665 h 9629"/>
                    <a:gd name="connsiteX84" fmla="*/ 5500 w 10000"/>
                    <a:gd name="connsiteY84" fmla="*/ 1665 h 9629"/>
                    <a:gd name="connsiteX85" fmla="*/ 4889 w 10000"/>
                    <a:gd name="connsiteY85" fmla="*/ 2109 h 9629"/>
                    <a:gd name="connsiteX86" fmla="*/ 4611 w 10000"/>
                    <a:gd name="connsiteY86" fmla="*/ 2235 h 9629"/>
                    <a:gd name="connsiteX87" fmla="*/ 4556 w 10000"/>
                    <a:gd name="connsiteY87" fmla="*/ 2302 h 9629"/>
                    <a:gd name="connsiteX88" fmla="*/ 4500 w 10000"/>
                    <a:gd name="connsiteY88" fmla="*/ 2235 h 9629"/>
                    <a:gd name="connsiteX89" fmla="*/ 4500 w 10000"/>
                    <a:gd name="connsiteY89" fmla="*/ 2235 h 9629"/>
                    <a:gd name="connsiteX90" fmla="*/ 4222 w 10000"/>
                    <a:gd name="connsiteY90" fmla="*/ 1609 h 9629"/>
                    <a:gd name="connsiteX91" fmla="*/ 4222 w 10000"/>
                    <a:gd name="connsiteY91" fmla="*/ 1609 h 9629"/>
                    <a:gd name="connsiteX92" fmla="*/ 4111 w 10000"/>
                    <a:gd name="connsiteY92" fmla="*/ 1300 h 9629"/>
                    <a:gd name="connsiteX93" fmla="*/ 4111 w 10000"/>
                    <a:gd name="connsiteY93" fmla="*/ 1116 h 9629"/>
                    <a:gd name="connsiteX94" fmla="*/ 4111 w 10000"/>
                    <a:gd name="connsiteY94" fmla="*/ 925 h 9629"/>
                    <a:gd name="connsiteX95" fmla="*/ 4111 w 10000"/>
                    <a:gd name="connsiteY95" fmla="*/ 925 h 9629"/>
                    <a:gd name="connsiteX96" fmla="*/ 4278 w 10000"/>
                    <a:gd name="connsiteY96" fmla="*/ 741 h 9629"/>
                    <a:gd name="connsiteX97" fmla="*/ 4389 w 10000"/>
                    <a:gd name="connsiteY97" fmla="*/ 677 h 9629"/>
                    <a:gd name="connsiteX98" fmla="*/ 4389 w 10000"/>
                    <a:gd name="connsiteY98" fmla="*/ 677 h 9629"/>
                    <a:gd name="connsiteX99" fmla="*/ 4000 w 10000"/>
                    <a:gd name="connsiteY99" fmla="*/ 677 h 9629"/>
                    <a:gd name="connsiteX100" fmla="*/ 3722 w 10000"/>
                    <a:gd name="connsiteY100" fmla="*/ 741 h 9629"/>
                    <a:gd name="connsiteX101" fmla="*/ 3611 w 10000"/>
                    <a:gd name="connsiteY101" fmla="*/ 809 h 9629"/>
                    <a:gd name="connsiteX102" fmla="*/ 3556 w 10000"/>
                    <a:gd name="connsiteY102" fmla="*/ 871 h 9629"/>
                    <a:gd name="connsiteX103" fmla="*/ 3556 w 10000"/>
                    <a:gd name="connsiteY103" fmla="*/ 871 h 9629"/>
                    <a:gd name="connsiteX104" fmla="*/ 3444 w 10000"/>
                    <a:gd name="connsiteY104" fmla="*/ 1116 h 9629"/>
                    <a:gd name="connsiteX105" fmla="*/ 3278 w 10000"/>
                    <a:gd name="connsiteY105" fmla="*/ 1494 h 9629"/>
                    <a:gd name="connsiteX106" fmla="*/ 3000 w 10000"/>
                    <a:gd name="connsiteY106" fmla="*/ 1921 h 9629"/>
                    <a:gd name="connsiteX107" fmla="*/ 2667 w 10000"/>
                    <a:gd name="connsiteY107" fmla="*/ 2235 h 9629"/>
                    <a:gd name="connsiteX108" fmla="*/ 2667 w 10000"/>
                    <a:gd name="connsiteY108" fmla="*/ 2235 h 9629"/>
                    <a:gd name="connsiteX109" fmla="*/ 2333 w 10000"/>
                    <a:gd name="connsiteY109" fmla="*/ 2490 h 9629"/>
                    <a:gd name="connsiteX110" fmla="*/ 1833 w 10000"/>
                    <a:gd name="connsiteY110" fmla="*/ 2739 h 9629"/>
                    <a:gd name="connsiteX111" fmla="*/ 1389 w 10000"/>
                    <a:gd name="connsiteY111" fmla="*/ 2857 h 9629"/>
                    <a:gd name="connsiteX112" fmla="*/ 889 w 10000"/>
                    <a:gd name="connsiteY112" fmla="*/ 2920 h 9629"/>
                    <a:gd name="connsiteX113" fmla="*/ 889 w 10000"/>
                    <a:gd name="connsiteY113" fmla="*/ 2920 h 9629"/>
                    <a:gd name="connsiteX114" fmla="*/ 500 w 10000"/>
                    <a:gd name="connsiteY114" fmla="*/ 2996 h 9629"/>
                    <a:gd name="connsiteX115" fmla="*/ 222 w 10000"/>
                    <a:gd name="connsiteY115" fmla="*/ 3042 h 9629"/>
                    <a:gd name="connsiteX116" fmla="*/ 0 w 10000"/>
                    <a:gd name="connsiteY116" fmla="*/ 3102 h 9629"/>
                    <a:gd name="connsiteX117" fmla="*/ 0 w 10000"/>
                    <a:gd name="connsiteY117" fmla="*/ 3102 h 9629"/>
                    <a:gd name="connsiteX118" fmla="*/ 278 w 10000"/>
                    <a:gd name="connsiteY118" fmla="*/ 4105 h 9629"/>
                    <a:gd name="connsiteX119" fmla="*/ 500 w 10000"/>
                    <a:gd name="connsiteY119" fmla="*/ 4837 h 9629"/>
                    <a:gd name="connsiteX120" fmla="*/ 722 w 10000"/>
                    <a:gd name="connsiteY120" fmla="*/ 5465 h 9629"/>
                    <a:gd name="connsiteX121" fmla="*/ 722 w 10000"/>
                    <a:gd name="connsiteY121" fmla="*/ 5465 h 9629"/>
                    <a:gd name="connsiteX122" fmla="*/ 889 w 10000"/>
                    <a:gd name="connsiteY122" fmla="*/ 5837 h 9629"/>
                    <a:gd name="connsiteX123" fmla="*/ 944 w 10000"/>
                    <a:gd name="connsiteY123" fmla="*/ 6157 h 9629"/>
                    <a:gd name="connsiteX124" fmla="*/ 1111 w 10000"/>
                    <a:gd name="connsiteY124" fmla="*/ 6470 h 9629"/>
                    <a:gd name="connsiteX125" fmla="*/ 1333 w 10000"/>
                    <a:gd name="connsiteY125" fmla="*/ 6951 h 9629"/>
                    <a:gd name="connsiteX126" fmla="*/ 1333 w 10000"/>
                    <a:gd name="connsiteY126" fmla="*/ 6951 h 9629"/>
                    <a:gd name="connsiteX127" fmla="*/ 1444 w 10000"/>
                    <a:gd name="connsiteY127" fmla="*/ 7203 h 9629"/>
                    <a:gd name="connsiteX128" fmla="*/ 1500 w 10000"/>
                    <a:gd name="connsiteY128" fmla="*/ 7390 h 9629"/>
                    <a:gd name="connsiteX129" fmla="*/ 1500 w 10000"/>
                    <a:gd name="connsiteY129" fmla="*/ 7566 h 9629"/>
                    <a:gd name="connsiteX130" fmla="*/ 1556 w 10000"/>
                    <a:gd name="connsiteY130" fmla="*/ 7644 h 9629"/>
                    <a:gd name="connsiteX131" fmla="*/ 1722 w 10000"/>
                    <a:gd name="connsiteY131" fmla="*/ 7700 h 9629"/>
                    <a:gd name="connsiteX132" fmla="*/ 1944 w 10000"/>
                    <a:gd name="connsiteY132" fmla="*/ 7760 h 9629"/>
                    <a:gd name="connsiteX133" fmla="*/ 2944 w 10000"/>
                    <a:gd name="connsiteY133" fmla="*/ 7828 h 9629"/>
                    <a:gd name="connsiteX134" fmla="*/ 2944 w 10000"/>
                    <a:gd name="connsiteY134" fmla="*/ 7828 h 9629"/>
                    <a:gd name="connsiteX135" fmla="*/ 4167 w 10000"/>
                    <a:gd name="connsiteY135" fmla="*/ 7954 h 9629"/>
                    <a:gd name="connsiteX136" fmla="*/ 4889 w 10000"/>
                    <a:gd name="connsiteY136" fmla="*/ 8130 h 9629"/>
                    <a:gd name="connsiteX137" fmla="*/ 5278 w 10000"/>
                    <a:gd name="connsiteY137" fmla="*/ 8328 h 9629"/>
                    <a:gd name="connsiteX138" fmla="*/ 5444 w 10000"/>
                    <a:gd name="connsiteY138" fmla="*/ 8380 h 9629"/>
                    <a:gd name="connsiteX139" fmla="*/ 5444 w 10000"/>
                    <a:gd name="connsiteY139" fmla="*/ 8380 h 9629"/>
                    <a:gd name="connsiteX140" fmla="*/ 5722 w 10000"/>
                    <a:gd name="connsiteY140" fmla="*/ 8519 h 9629"/>
                    <a:gd name="connsiteX141" fmla="*/ 5833 w 10000"/>
                    <a:gd name="connsiteY141" fmla="*/ 8581 h 9629"/>
                    <a:gd name="connsiteX142" fmla="*/ 5833 w 10000"/>
                    <a:gd name="connsiteY142" fmla="*/ 8581 h 9629"/>
                    <a:gd name="connsiteX143" fmla="*/ 5833 w 10000"/>
                    <a:gd name="connsiteY143" fmla="*/ 8519 h 9629"/>
                    <a:gd name="connsiteX144" fmla="*/ 5889 w 10000"/>
                    <a:gd name="connsiteY144" fmla="*/ 8448 h 9629"/>
                    <a:gd name="connsiteX145" fmla="*/ 6000 w 10000"/>
                    <a:gd name="connsiteY145" fmla="*/ 8380 h 9629"/>
                    <a:gd name="connsiteX146" fmla="*/ 6167 w 10000"/>
                    <a:gd name="connsiteY146" fmla="*/ 8328 h 9629"/>
                    <a:gd name="connsiteX147" fmla="*/ 6444 w 10000"/>
                    <a:gd name="connsiteY147" fmla="*/ 8328 h 9629"/>
                    <a:gd name="connsiteX148" fmla="*/ 6833 w 10000"/>
                    <a:gd name="connsiteY148" fmla="*/ 8380 h 9629"/>
                    <a:gd name="connsiteX149" fmla="*/ 7278 w 10000"/>
                    <a:gd name="connsiteY149" fmla="*/ 8581 h 9629"/>
                    <a:gd name="connsiteX150" fmla="*/ 7278 w 10000"/>
                    <a:gd name="connsiteY150" fmla="*/ 8581 h 9629"/>
                    <a:gd name="connsiteX151" fmla="*/ 8722 w 10000"/>
                    <a:gd name="connsiteY151" fmla="*/ 9123 h 9629"/>
                    <a:gd name="connsiteX152" fmla="*/ 10000 w 10000"/>
                    <a:gd name="connsiteY152" fmla="*/ 9629 h 9629"/>
                    <a:gd name="connsiteX0" fmla="*/ 10000 w 10000"/>
                    <a:gd name="connsiteY0" fmla="*/ 5604 h 10000"/>
                    <a:gd name="connsiteX1" fmla="*/ 10000 w 10000"/>
                    <a:gd name="connsiteY1" fmla="*/ 5604 h 10000"/>
                    <a:gd name="connsiteX2" fmla="*/ 9222 w 10000"/>
                    <a:gd name="connsiteY2" fmla="*/ 5676 h 10000"/>
                    <a:gd name="connsiteX3" fmla="*/ 8944 w 10000"/>
                    <a:gd name="connsiteY3" fmla="*/ 5676 h 10000"/>
                    <a:gd name="connsiteX4" fmla="*/ 8833 w 10000"/>
                    <a:gd name="connsiteY4" fmla="*/ 5604 h 10000"/>
                    <a:gd name="connsiteX5" fmla="*/ 8778 w 10000"/>
                    <a:gd name="connsiteY5" fmla="*/ 5543 h 10000"/>
                    <a:gd name="connsiteX6" fmla="*/ 8778 w 10000"/>
                    <a:gd name="connsiteY6" fmla="*/ 5543 h 10000"/>
                    <a:gd name="connsiteX7" fmla="*/ 8444 w 10000"/>
                    <a:gd name="connsiteY7" fmla="*/ 4770 h 10000"/>
                    <a:gd name="connsiteX8" fmla="*/ 8167 w 10000"/>
                    <a:gd name="connsiteY8" fmla="*/ 4058 h 10000"/>
                    <a:gd name="connsiteX9" fmla="*/ 8167 w 10000"/>
                    <a:gd name="connsiteY9" fmla="*/ 4058 h 10000"/>
                    <a:gd name="connsiteX10" fmla="*/ 8056 w 10000"/>
                    <a:gd name="connsiteY10" fmla="*/ 3937 h 10000"/>
                    <a:gd name="connsiteX11" fmla="*/ 7889 w 10000"/>
                    <a:gd name="connsiteY11" fmla="*/ 3812 h 10000"/>
                    <a:gd name="connsiteX12" fmla="*/ 7444 w 10000"/>
                    <a:gd name="connsiteY12" fmla="*/ 3736 h 10000"/>
                    <a:gd name="connsiteX13" fmla="*/ 6889 w 10000"/>
                    <a:gd name="connsiteY13" fmla="*/ 3676 h 10000"/>
                    <a:gd name="connsiteX14" fmla="*/ 6389 w 10000"/>
                    <a:gd name="connsiteY14" fmla="*/ 3676 h 10000"/>
                    <a:gd name="connsiteX15" fmla="*/ 6389 w 10000"/>
                    <a:gd name="connsiteY15" fmla="*/ 3676 h 10000"/>
                    <a:gd name="connsiteX16" fmla="*/ 6167 w 10000"/>
                    <a:gd name="connsiteY16" fmla="*/ 3605 h 10000"/>
                    <a:gd name="connsiteX17" fmla="*/ 6056 w 10000"/>
                    <a:gd name="connsiteY17" fmla="*/ 3487 h 10000"/>
                    <a:gd name="connsiteX18" fmla="*/ 6000 w 10000"/>
                    <a:gd name="connsiteY18" fmla="*/ 3349 h 10000"/>
                    <a:gd name="connsiteX19" fmla="*/ 6000 w 10000"/>
                    <a:gd name="connsiteY19" fmla="*/ 3111 h 10000"/>
                    <a:gd name="connsiteX20" fmla="*/ 6056 w 10000"/>
                    <a:gd name="connsiteY20" fmla="*/ 2586 h 10000"/>
                    <a:gd name="connsiteX21" fmla="*/ 6111 w 10000"/>
                    <a:gd name="connsiteY21" fmla="*/ 2321 h 10000"/>
                    <a:gd name="connsiteX22" fmla="*/ 6056 w 10000"/>
                    <a:gd name="connsiteY22" fmla="*/ 1995 h 10000"/>
                    <a:gd name="connsiteX23" fmla="*/ 6056 w 10000"/>
                    <a:gd name="connsiteY23" fmla="*/ 1995 h 10000"/>
                    <a:gd name="connsiteX24" fmla="*/ 6000 w 10000"/>
                    <a:gd name="connsiteY24" fmla="*/ 1802 h 10000"/>
                    <a:gd name="connsiteX25" fmla="*/ 5944 w 10000"/>
                    <a:gd name="connsiteY25" fmla="*/ 1671 h 10000"/>
                    <a:gd name="connsiteX26" fmla="*/ 5833 w 10000"/>
                    <a:gd name="connsiteY26" fmla="*/ 1671 h 10000"/>
                    <a:gd name="connsiteX27" fmla="*/ 5667 w 10000"/>
                    <a:gd name="connsiteY27" fmla="*/ 1729 h 10000"/>
                    <a:gd name="connsiteX28" fmla="*/ 5333 w 10000"/>
                    <a:gd name="connsiteY28" fmla="*/ 1932 h 10000"/>
                    <a:gd name="connsiteX29" fmla="*/ 4889 w 10000"/>
                    <a:gd name="connsiteY29" fmla="*/ 2257 h 10000"/>
                    <a:gd name="connsiteX30" fmla="*/ 4889 w 10000"/>
                    <a:gd name="connsiteY30" fmla="*/ 2257 h 10000"/>
                    <a:gd name="connsiteX31" fmla="*/ 4611 w 10000"/>
                    <a:gd name="connsiteY31" fmla="*/ 2321 h 10000"/>
                    <a:gd name="connsiteX32" fmla="*/ 4500 w 10000"/>
                    <a:gd name="connsiteY32" fmla="*/ 2321 h 10000"/>
                    <a:gd name="connsiteX33" fmla="*/ 4444 w 10000"/>
                    <a:gd name="connsiteY33" fmla="*/ 2257 h 10000"/>
                    <a:gd name="connsiteX34" fmla="*/ 4389 w 10000"/>
                    <a:gd name="connsiteY34" fmla="*/ 1995 h 10000"/>
                    <a:gd name="connsiteX35" fmla="*/ 4222 w 10000"/>
                    <a:gd name="connsiteY35" fmla="*/ 1671 h 10000"/>
                    <a:gd name="connsiteX36" fmla="*/ 4222 w 10000"/>
                    <a:gd name="connsiteY36" fmla="*/ 1671 h 10000"/>
                    <a:gd name="connsiteX37" fmla="*/ 4111 w 10000"/>
                    <a:gd name="connsiteY37" fmla="*/ 1475 h 10000"/>
                    <a:gd name="connsiteX38" fmla="*/ 4111 w 10000"/>
                    <a:gd name="connsiteY38" fmla="*/ 1289 h 10000"/>
                    <a:gd name="connsiteX39" fmla="*/ 4111 w 10000"/>
                    <a:gd name="connsiteY39" fmla="*/ 1159 h 10000"/>
                    <a:gd name="connsiteX40" fmla="*/ 4167 w 10000"/>
                    <a:gd name="connsiteY40" fmla="*/ 1025 h 10000"/>
                    <a:gd name="connsiteX41" fmla="*/ 4278 w 10000"/>
                    <a:gd name="connsiteY41" fmla="*/ 770 h 10000"/>
                    <a:gd name="connsiteX42" fmla="*/ 4389 w 10000"/>
                    <a:gd name="connsiteY42" fmla="*/ 703 h 10000"/>
                    <a:gd name="connsiteX43" fmla="*/ 4389 w 10000"/>
                    <a:gd name="connsiteY43" fmla="*/ 703 h 10000"/>
                    <a:gd name="connsiteX44" fmla="*/ 4389 w 10000"/>
                    <a:gd name="connsiteY44" fmla="*/ 637 h 10000"/>
                    <a:gd name="connsiteX45" fmla="*/ 4444 w 10000"/>
                    <a:gd name="connsiteY45" fmla="*/ 588 h 10000"/>
                    <a:gd name="connsiteX46" fmla="*/ 4667 w 10000"/>
                    <a:gd name="connsiteY46" fmla="*/ 514 h 10000"/>
                    <a:gd name="connsiteX47" fmla="*/ 5333 w 10000"/>
                    <a:gd name="connsiteY47" fmla="*/ 389 h 10000"/>
                    <a:gd name="connsiteX48" fmla="*/ 6500 w 10000"/>
                    <a:gd name="connsiteY48" fmla="*/ 187 h 10000"/>
                    <a:gd name="connsiteX49" fmla="*/ 6500 w 10000"/>
                    <a:gd name="connsiteY49" fmla="*/ 187 h 10000"/>
                    <a:gd name="connsiteX50" fmla="*/ 7167 w 10000"/>
                    <a:gd name="connsiteY50" fmla="*/ 0 h 10000"/>
                    <a:gd name="connsiteX51" fmla="*/ 10000 w 10000"/>
                    <a:gd name="connsiteY51" fmla="*/ 5676 h 10000"/>
                    <a:gd name="connsiteX52" fmla="*/ 10000 w 10000"/>
                    <a:gd name="connsiteY52" fmla="*/ 5676 h 10000"/>
                    <a:gd name="connsiteX53" fmla="*/ 9722 w 10000"/>
                    <a:gd name="connsiteY53" fmla="*/ 5604 h 10000"/>
                    <a:gd name="connsiteX54" fmla="*/ 9389 w 10000"/>
                    <a:gd name="connsiteY54" fmla="*/ 5676 h 10000"/>
                    <a:gd name="connsiteX55" fmla="*/ 9389 w 10000"/>
                    <a:gd name="connsiteY55" fmla="*/ 5676 h 10000"/>
                    <a:gd name="connsiteX56" fmla="*/ 9278 w 10000"/>
                    <a:gd name="connsiteY56" fmla="*/ 5754 h 10000"/>
                    <a:gd name="connsiteX57" fmla="*/ 9056 w 10000"/>
                    <a:gd name="connsiteY57" fmla="*/ 5676 h 10000"/>
                    <a:gd name="connsiteX58" fmla="*/ 8889 w 10000"/>
                    <a:gd name="connsiteY58" fmla="*/ 5604 h 10000"/>
                    <a:gd name="connsiteX59" fmla="*/ 8722 w 10000"/>
                    <a:gd name="connsiteY59" fmla="*/ 5482 h 10000"/>
                    <a:gd name="connsiteX60" fmla="*/ 8611 w 10000"/>
                    <a:gd name="connsiteY60" fmla="*/ 5281 h 10000"/>
                    <a:gd name="connsiteX61" fmla="*/ 8444 w 10000"/>
                    <a:gd name="connsiteY61" fmla="*/ 4958 h 10000"/>
                    <a:gd name="connsiteX62" fmla="*/ 8444 w 10000"/>
                    <a:gd name="connsiteY62" fmla="*/ 4958 h 10000"/>
                    <a:gd name="connsiteX63" fmla="*/ 8222 w 10000"/>
                    <a:gd name="connsiteY63" fmla="*/ 4393 h 10000"/>
                    <a:gd name="connsiteX64" fmla="*/ 8111 w 10000"/>
                    <a:gd name="connsiteY64" fmla="*/ 4134 h 10000"/>
                    <a:gd name="connsiteX65" fmla="*/ 7944 w 10000"/>
                    <a:gd name="connsiteY65" fmla="*/ 3937 h 10000"/>
                    <a:gd name="connsiteX66" fmla="*/ 7778 w 10000"/>
                    <a:gd name="connsiteY66" fmla="*/ 3812 h 10000"/>
                    <a:gd name="connsiteX67" fmla="*/ 7556 w 10000"/>
                    <a:gd name="connsiteY67" fmla="*/ 3736 h 10000"/>
                    <a:gd name="connsiteX68" fmla="*/ 7333 w 10000"/>
                    <a:gd name="connsiteY68" fmla="*/ 3676 h 10000"/>
                    <a:gd name="connsiteX69" fmla="*/ 7000 w 10000"/>
                    <a:gd name="connsiteY69" fmla="*/ 3605 h 10000"/>
                    <a:gd name="connsiteX70" fmla="*/ 7000 w 10000"/>
                    <a:gd name="connsiteY70" fmla="*/ 3605 h 10000"/>
                    <a:gd name="connsiteX71" fmla="*/ 6556 w 10000"/>
                    <a:gd name="connsiteY71" fmla="*/ 3676 h 10000"/>
                    <a:gd name="connsiteX72" fmla="*/ 6222 w 10000"/>
                    <a:gd name="connsiteY72" fmla="*/ 3676 h 10000"/>
                    <a:gd name="connsiteX73" fmla="*/ 6111 w 10000"/>
                    <a:gd name="connsiteY73" fmla="*/ 3605 h 10000"/>
                    <a:gd name="connsiteX74" fmla="*/ 6056 w 10000"/>
                    <a:gd name="connsiteY74" fmla="*/ 3545 h 10000"/>
                    <a:gd name="connsiteX75" fmla="*/ 6056 w 10000"/>
                    <a:gd name="connsiteY75" fmla="*/ 3545 h 10000"/>
                    <a:gd name="connsiteX76" fmla="*/ 6056 w 10000"/>
                    <a:gd name="connsiteY76" fmla="*/ 2391 h 10000"/>
                    <a:gd name="connsiteX77" fmla="*/ 6056 w 10000"/>
                    <a:gd name="connsiteY77" fmla="*/ 2391 h 10000"/>
                    <a:gd name="connsiteX78" fmla="*/ 6056 w 10000"/>
                    <a:gd name="connsiteY78" fmla="*/ 2121 h 10000"/>
                    <a:gd name="connsiteX79" fmla="*/ 5944 w 10000"/>
                    <a:gd name="connsiteY79" fmla="*/ 1802 h 10000"/>
                    <a:gd name="connsiteX80" fmla="*/ 5889 w 10000"/>
                    <a:gd name="connsiteY80" fmla="*/ 1729 h 10000"/>
                    <a:gd name="connsiteX81" fmla="*/ 5778 w 10000"/>
                    <a:gd name="connsiteY81" fmla="*/ 1671 h 10000"/>
                    <a:gd name="connsiteX82" fmla="*/ 5667 w 10000"/>
                    <a:gd name="connsiteY82" fmla="*/ 1671 h 10000"/>
                    <a:gd name="connsiteX83" fmla="*/ 5500 w 10000"/>
                    <a:gd name="connsiteY83" fmla="*/ 1729 h 10000"/>
                    <a:gd name="connsiteX84" fmla="*/ 5500 w 10000"/>
                    <a:gd name="connsiteY84" fmla="*/ 1729 h 10000"/>
                    <a:gd name="connsiteX85" fmla="*/ 4889 w 10000"/>
                    <a:gd name="connsiteY85" fmla="*/ 2190 h 10000"/>
                    <a:gd name="connsiteX86" fmla="*/ 4611 w 10000"/>
                    <a:gd name="connsiteY86" fmla="*/ 2321 h 10000"/>
                    <a:gd name="connsiteX87" fmla="*/ 4556 w 10000"/>
                    <a:gd name="connsiteY87" fmla="*/ 2391 h 10000"/>
                    <a:gd name="connsiteX88" fmla="*/ 4500 w 10000"/>
                    <a:gd name="connsiteY88" fmla="*/ 2321 h 10000"/>
                    <a:gd name="connsiteX89" fmla="*/ 4500 w 10000"/>
                    <a:gd name="connsiteY89" fmla="*/ 2321 h 10000"/>
                    <a:gd name="connsiteX90" fmla="*/ 4222 w 10000"/>
                    <a:gd name="connsiteY90" fmla="*/ 1671 h 10000"/>
                    <a:gd name="connsiteX91" fmla="*/ 4222 w 10000"/>
                    <a:gd name="connsiteY91" fmla="*/ 1671 h 10000"/>
                    <a:gd name="connsiteX92" fmla="*/ 4111 w 10000"/>
                    <a:gd name="connsiteY92" fmla="*/ 1350 h 10000"/>
                    <a:gd name="connsiteX93" fmla="*/ 4111 w 10000"/>
                    <a:gd name="connsiteY93" fmla="*/ 1159 h 10000"/>
                    <a:gd name="connsiteX94" fmla="*/ 4111 w 10000"/>
                    <a:gd name="connsiteY94" fmla="*/ 961 h 10000"/>
                    <a:gd name="connsiteX95" fmla="*/ 4111 w 10000"/>
                    <a:gd name="connsiteY95" fmla="*/ 961 h 10000"/>
                    <a:gd name="connsiteX96" fmla="*/ 4278 w 10000"/>
                    <a:gd name="connsiteY96" fmla="*/ 770 h 10000"/>
                    <a:gd name="connsiteX97" fmla="*/ 4389 w 10000"/>
                    <a:gd name="connsiteY97" fmla="*/ 703 h 10000"/>
                    <a:gd name="connsiteX98" fmla="*/ 4389 w 10000"/>
                    <a:gd name="connsiteY98" fmla="*/ 703 h 10000"/>
                    <a:gd name="connsiteX99" fmla="*/ 4000 w 10000"/>
                    <a:gd name="connsiteY99" fmla="*/ 703 h 10000"/>
                    <a:gd name="connsiteX100" fmla="*/ 3722 w 10000"/>
                    <a:gd name="connsiteY100" fmla="*/ 770 h 10000"/>
                    <a:gd name="connsiteX101" fmla="*/ 3611 w 10000"/>
                    <a:gd name="connsiteY101" fmla="*/ 840 h 10000"/>
                    <a:gd name="connsiteX102" fmla="*/ 3556 w 10000"/>
                    <a:gd name="connsiteY102" fmla="*/ 905 h 10000"/>
                    <a:gd name="connsiteX103" fmla="*/ 3556 w 10000"/>
                    <a:gd name="connsiteY103" fmla="*/ 905 h 10000"/>
                    <a:gd name="connsiteX104" fmla="*/ 3444 w 10000"/>
                    <a:gd name="connsiteY104" fmla="*/ 1159 h 10000"/>
                    <a:gd name="connsiteX105" fmla="*/ 3278 w 10000"/>
                    <a:gd name="connsiteY105" fmla="*/ 1552 h 10000"/>
                    <a:gd name="connsiteX106" fmla="*/ 3000 w 10000"/>
                    <a:gd name="connsiteY106" fmla="*/ 1995 h 10000"/>
                    <a:gd name="connsiteX107" fmla="*/ 2667 w 10000"/>
                    <a:gd name="connsiteY107" fmla="*/ 2321 h 10000"/>
                    <a:gd name="connsiteX108" fmla="*/ 2667 w 10000"/>
                    <a:gd name="connsiteY108" fmla="*/ 2321 h 10000"/>
                    <a:gd name="connsiteX109" fmla="*/ 2333 w 10000"/>
                    <a:gd name="connsiteY109" fmla="*/ 2586 h 10000"/>
                    <a:gd name="connsiteX110" fmla="*/ 1833 w 10000"/>
                    <a:gd name="connsiteY110" fmla="*/ 2845 h 10000"/>
                    <a:gd name="connsiteX111" fmla="*/ 1389 w 10000"/>
                    <a:gd name="connsiteY111" fmla="*/ 2967 h 10000"/>
                    <a:gd name="connsiteX112" fmla="*/ 889 w 10000"/>
                    <a:gd name="connsiteY112" fmla="*/ 3033 h 10000"/>
                    <a:gd name="connsiteX113" fmla="*/ 889 w 10000"/>
                    <a:gd name="connsiteY113" fmla="*/ 3033 h 10000"/>
                    <a:gd name="connsiteX114" fmla="*/ 500 w 10000"/>
                    <a:gd name="connsiteY114" fmla="*/ 3111 h 10000"/>
                    <a:gd name="connsiteX115" fmla="*/ 222 w 10000"/>
                    <a:gd name="connsiteY115" fmla="*/ 3159 h 10000"/>
                    <a:gd name="connsiteX116" fmla="*/ 0 w 10000"/>
                    <a:gd name="connsiteY116" fmla="*/ 3222 h 10000"/>
                    <a:gd name="connsiteX117" fmla="*/ 0 w 10000"/>
                    <a:gd name="connsiteY117" fmla="*/ 3222 h 10000"/>
                    <a:gd name="connsiteX118" fmla="*/ 278 w 10000"/>
                    <a:gd name="connsiteY118" fmla="*/ 4263 h 10000"/>
                    <a:gd name="connsiteX119" fmla="*/ 500 w 10000"/>
                    <a:gd name="connsiteY119" fmla="*/ 5023 h 10000"/>
                    <a:gd name="connsiteX120" fmla="*/ 722 w 10000"/>
                    <a:gd name="connsiteY120" fmla="*/ 5676 h 10000"/>
                    <a:gd name="connsiteX121" fmla="*/ 722 w 10000"/>
                    <a:gd name="connsiteY121" fmla="*/ 5676 h 10000"/>
                    <a:gd name="connsiteX122" fmla="*/ 889 w 10000"/>
                    <a:gd name="connsiteY122" fmla="*/ 6062 h 10000"/>
                    <a:gd name="connsiteX123" fmla="*/ 944 w 10000"/>
                    <a:gd name="connsiteY123" fmla="*/ 6394 h 10000"/>
                    <a:gd name="connsiteX124" fmla="*/ 1111 w 10000"/>
                    <a:gd name="connsiteY124" fmla="*/ 6719 h 10000"/>
                    <a:gd name="connsiteX125" fmla="*/ 1333 w 10000"/>
                    <a:gd name="connsiteY125" fmla="*/ 7219 h 10000"/>
                    <a:gd name="connsiteX126" fmla="*/ 1333 w 10000"/>
                    <a:gd name="connsiteY126" fmla="*/ 7219 h 10000"/>
                    <a:gd name="connsiteX127" fmla="*/ 1444 w 10000"/>
                    <a:gd name="connsiteY127" fmla="*/ 7481 h 10000"/>
                    <a:gd name="connsiteX128" fmla="*/ 1500 w 10000"/>
                    <a:gd name="connsiteY128" fmla="*/ 7675 h 10000"/>
                    <a:gd name="connsiteX129" fmla="*/ 1500 w 10000"/>
                    <a:gd name="connsiteY129" fmla="*/ 7858 h 10000"/>
                    <a:gd name="connsiteX130" fmla="*/ 1556 w 10000"/>
                    <a:gd name="connsiteY130" fmla="*/ 7939 h 10000"/>
                    <a:gd name="connsiteX131" fmla="*/ 1722 w 10000"/>
                    <a:gd name="connsiteY131" fmla="*/ 7997 h 10000"/>
                    <a:gd name="connsiteX132" fmla="*/ 1944 w 10000"/>
                    <a:gd name="connsiteY132" fmla="*/ 8059 h 10000"/>
                    <a:gd name="connsiteX133" fmla="*/ 2944 w 10000"/>
                    <a:gd name="connsiteY133" fmla="*/ 8130 h 10000"/>
                    <a:gd name="connsiteX134" fmla="*/ 2944 w 10000"/>
                    <a:gd name="connsiteY134" fmla="*/ 8130 h 10000"/>
                    <a:gd name="connsiteX135" fmla="*/ 4167 w 10000"/>
                    <a:gd name="connsiteY135" fmla="*/ 8260 h 10000"/>
                    <a:gd name="connsiteX136" fmla="*/ 4889 w 10000"/>
                    <a:gd name="connsiteY136" fmla="*/ 8443 h 10000"/>
                    <a:gd name="connsiteX137" fmla="*/ 5278 w 10000"/>
                    <a:gd name="connsiteY137" fmla="*/ 8649 h 10000"/>
                    <a:gd name="connsiteX138" fmla="*/ 5444 w 10000"/>
                    <a:gd name="connsiteY138" fmla="*/ 8703 h 10000"/>
                    <a:gd name="connsiteX139" fmla="*/ 5444 w 10000"/>
                    <a:gd name="connsiteY139" fmla="*/ 8703 h 10000"/>
                    <a:gd name="connsiteX140" fmla="*/ 5722 w 10000"/>
                    <a:gd name="connsiteY140" fmla="*/ 8847 h 10000"/>
                    <a:gd name="connsiteX141" fmla="*/ 5833 w 10000"/>
                    <a:gd name="connsiteY141" fmla="*/ 8912 h 10000"/>
                    <a:gd name="connsiteX142" fmla="*/ 5833 w 10000"/>
                    <a:gd name="connsiteY142" fmla="*/ 8912 h 10000"/>
                    <a:gd name="connsiteX143" fmla="*/ 5833 w 10000"/>
                    <a:gd name="connsiteY143" fmla="*/ 8847 h 10000"/>
                    <a:gd name="connsiteX144" fmla="*/ 5889 w 10000"/>
                    <a:gd name="connsiteY144" fmla="*/ 8773 h 10000"/>
                    <a:gd name="connsiteX145" fmla="*/ 6000 w 10000"/>
                    <a:gd name="connsiteY145" fmla="*/ 8703 h 10000"/>
                    <a:gd name="connsiteX146" fmla="*/ 6167 w 10000"/>
                    <a:gd name="connsiteY146" fmla="*/ 8649 h 10000"/>
                    <a:gd name="connsiteX147" fmla="*/ 6444 w 10000"/>
                    <a:gd name="connsiteY147" fmla="*/ 8649 h 10000"/>
                    <a:gd name="connsiteX148" fmla="*/ 6833 w 10000"/>
                    <a:gd name="connsiteY148" fmla="*/ 8703 h 10000"/>
                    <a:gd name="connsiteX149" fmla="*/ 7278 w 10000"/>
                    <a:gd name="connsiteY149" fmla="*/ 8912 h 10000"/>
                    <a:gd name="connsiteX150" fmla="*/ 7278 w 10000"/>
                    <a:gd name="connsiteY150" fmla="*/ 8912 h 10000"/>
                    <a:gd name="connsiteX151" fmla="*/ 8722 w 10000"/>
                    <a:gd name="connsiteY151" fmla="*/ 9475 h 10000"/>
                    <a:gd name="connsiteX152" fmla="*/ 10000 w 10000"/>
                    <a:gd name="connsiteY152" fmla="*/ 10000 h 10000"/>
                    <a:gd name="connsiteX153" fmla="*/ 10000 w 10000"/>
                    <a:gd name="connsiteY153" fmla="*/ 5604 h 10000"/>
                    <a:gd name="connsiteX0" fmla="*/ 10000 w 10000"/>
                    <a:gd name="connsiteY0" fmla="*/ 5417 h 9813"/>
                    <a:gd name="connsiteX1" fmla="*/ 10000 w 10000"/>
                    <a:gd name="connsiteY1" fmla="*/ 5417 h 9813"/>
                    <a:gd name="connsiteX2" fmla="*/ 9222 w 10000"/>
                    <a:gd name="connsiteY2" fmla="*/ 5489 h 9813"/>
                    <a:gd name="connsiteX3" fmla="*/ 8944 w 10000"/>
                    <a:gd name="connsiteY3" fmla="*/ 5489 h 9813"/>
                    <a:gd name="connsiteX4" fmla="*/ 8833 w 10000"/>
                    <a:gd name="connsiteY4" fmla="*/ 5417 h 9813"/>
                    <a:gd name="connsiteX5" fmla="*/ 8778 w 10000"/>
                    <a:gd name="connsiteY5" fmla="*/ 5356 h 9813"/>
                    <a:gd name="connsiteX6" fmla="*/ 8778 w 10000"/>
                    <a:gd name="connsiteY6" fmla="*/ 5356 h 9813"/>
                    <a:gd name="connsiteX7" fmla="*/ 8444 w 10000"/>
                    <a:gd name="connsiteY7" fmla="*/ 4583 h 9813"/>
                    <a:gd name="connsiteX8" fmla="*/ 8167 w 10000"/>
                    <a:gd name="connsiteY8" fmla="*/ 3871 h 9813"/>
                    <a:gd name="connsiteX9" fmla="*/ 8167 w 10000"/>
                    <a:gd name="connsiteY9" fmla="*/ 3871 h 9813"/>
                    <a:gd name="connsiteX10" fmla="*/ 8056 w 10000"/>
                    <a:gd name="connsiteY10" fmla="*/ 3750 h 9813"/>
                    <a:gd name="connsiteX11" fmla="*/ 7889 w 10000"/>
                    <a:gd name="connsiteY11" fmla="*/ 3625 h 9813"/>
                    <a:gd name="connsiteX12" fmla="*/ 7444 w 10000"/>
                    <a:gd name="connsiteY12" fmla="*/ 3549 h 9813"/>
                    <a:gd name="connsiteX13" fmla="*/ 6889 w 10000"/>
                    <a:gd name="connsiteY13" fmla="*/ 3489 h 9813"/>
                    <a:gd name="connsiteX14" fmla="*/ 6389 w 10000"/>
                    <a:gd name="connsiteY14" fmla="*/ 3489 h 9813"/>
                    <a:gd name="connsiteX15" fmla="*/ 6389 w 10000"/>
                    <a:gd name="connsiteY15" fmla="*/ 3489 h 9813"/>
                    <a:gd name="connsiteX16" fmla="*/ 6167 w 10000"/>
                    <a:gd name="connsiteY16" fmla="*/ 3418 h 9813"/>
                    <a:gd name="connsiteX17" fmla="*/ 6056 w 10000"/>
                    <a:gd name="connsiteY17" fmla="*/ 3300 h 9813"/>
                    <a:gd name="connsiteX18" fmla="*/ 6000 w 10000"/>
                    <a:gd name="connsiteY18" fmla="*/ 3162 h 9813"/>
                    <a:gd name="connsiteX19" fmla="*/ 6000 w 10000"/>
                    <a:gd name="connsiteY19" fmla="*/ 2924 h 9813"/>
                    <a:gd name="connsiteX20" fmla="*/ 6056 w 10000"/>
                    <a:gd name="connsiteY20" fmla="*/ 2399 h 9813"/>
                    <a:gd name="connsiteX21" fmla="*/ 6111 w 10000"/>
                    <a:gd name="connsiteY21" fmla="*/ 2134 h 9813"/>
                    <a:gd name="connsiteX22" fmla="*/ 6056 w 10000"/>
                    <a:gd name="connsiteY22" fmla="*/ 1808 h 9813"/>
                    <a:gd name="connsiteX23" fmla="*/ 6056 w 10000"/>
                    <a:gd name="connsiteY23" fmla="*/ 1808 h 9813"/>
                    <a:gd name="connsiteX24" fmla="*/ 6000 w 10000"/>
                    <a:gd name="connsiteY24" fmla="*/ 1615 h 9813"/>
                    <a:gd name="connsiteX25" fmla="*/ 5944 w 10000"/>
                    <a:gd name="connsiteY25" fmla="*/ 1484 h 9813"/>
                    <a:gd name="connsiteX26" fmla="*/ 5833 w 10000"/>
                    <a:gd name="connsiteY26" fmla="*/ 1484 h 9813"/>
                    <a:gd name="connsiteX27" fmla="*/ 5667 w 10000"/>
                    <a:gd name="connsiteY27" fmla="*/ 1542 h 9813"/>
                    <a:gd name="connsiteX28" fmla="*/ 5333 w 10000"/>
                    <a:gd name="connsiteY28" fmla="*/ 1745 h 9813"/>
                    <a:gd name="connsiteX29" fmla="*/ 4889 w 10000"/>
                    <a:gd name="connsiteY29" fmla="*/ 2070 h 9813"/>
                    <a:gd name="connsiteX30" fmla="*/ 4889 w 10000"/>
                    <a:gd name="connsiteY30" fmla="*/ 2070 h 9813"/>
                    <a:gd name="connsiteX31" fmla="*/ 4611 w 10000"/>
                    <a:gd name="connsiteY31" fmla="*/ 2134 h 9813"/>
                    <a:gd name="connsiteX32" fmla="*/ 4500 w 10000"/>
                    <a:gd name="connsiteY32" fmla="*/ 2134 h 9813"/>
                    <a:gd name="connsiteX33" fmla="*/ 4444 w 10000"/>
                    <a:gd name="connsiteY33" fmla="*/ 2070 h 9813"/>
                    <a:gd name="connsiteX34" fmla="*/ 4389 w 10000"/>
                    <a:gd name="connsiteY34" fmla="*/ 1808 h 9813"/>
                    <a:gd name="connsiteX35" fmla="*/ 4222 w 10000"/>
                    <a:gd name="connsiteY35" fmla="*/ 1484 h 9813"/>
                    <a:gd name="connsiteX36" fmla="*/ 4222 w 10000"/>
                    <a:gd name="connsiteY36" fmla="*/ 1484 h 9813"/>
                    <a:gd name="connsiteX37" fmla="*/ 4111 w 10000"/>
                    <a:gd name="connsiteY37" fmla="*/ 1288 h 9813"/>
                    <a:gd name="connsiteX38" fmla="*/ 4111 w 10000"/>
                    <a:gd name="connsiteY38" fmla="*/ 1102 h 9813"/>
                    <a:gd name="connsiteX39" fmla="*/ 4111 w 10000"/>
                    <a:gd name="connsiteY39" fmla="*/ 972 h 9813"/>
                    <a:gd name="connsiteX40" fmla="*/ 4167 w 10000"/>
                    <a:gd name="connsiteY40" fmla="*/ 838 h 9813"/>
                    <a:gd name="connsiteX41" fmla="*/ 4278 w 10000"/>
                    <a:gd name="connsiteY41" fmla="*/ 583 h 9813"/>
                    <a:gd name="connsiteX42" fmla="*/ 4389 w 10000"/>
                    <a:gd name="connsiteY42" fmla="*/ 516 h 9813"/>
                    <a:gd name="connsiteX43" fmla="*/ 4389 w 10000"/>
                    <a:gd name="connsiteY43" fmla="*/ 516 h 9813"/>
                    <a:gd name="connsiteX44" fmla="*/ 4389 w 10000"/>
                    <a:gd name="connsiteY44" fmla="*/ 450 h 9813"/>
                    <a:gd name="connsiteX45" fmla="*/ 4444 w 10000"/>
                    <a:gd name="connsiteY45" fmla="*/ 401 h 9813"/>
                    <a:gd name="connsiteX46" fmla="*/ 4667 w 10000"/>
                    <a:gd name="connsiteY46" fmla="*/ 327 h 9813"/>
                    <a:gd name="connsiteX47" fmla="*/ 5333 w 10000"/>
                    <a:gd name="connsiteY47" fmla="*/ 202 h 9813"/>
                    <a:gd name="connsiteX48" fmla="*/ 6500 w 10000"/>
                    <a:gd name="connsiteY48" fmla="*/ 0 h 9813"/>
                    <a:gd name="connsiteX49" fmla="*/ 6500 w 10000"/>
                    <a:gd name="connsiteY49" fmla="*/ 0 h 9813"/>
                    <a:gd name="connsiteX50" fmla="*/ 10000 w 10000"/>
                    <a:gd name="connsiteY50" fmla="*/ 5489 h 9813"/>
                    <a:gd name="connsiteX51" fmla="*/ 10000 w 10000"/>
                    <a:gd name="connsiteY51" fmla="*/ 5489 h 9813"/>
                    <a:gd name="connsiteX52" fmla="*/ 9722 w 10000"/>
                    <a:gd name="connsiteY52" fmla="*/ 5417 h 9813"/>
                    <a:gd name="connsiteX53" fmla="*/ 9389 w 10000"/>
                    <a:gd name="connsiteY53" fmla="*/ 5489 h 9813"/>
                    <a:gd name="connsiteX54" fmla="*/ 9389 w 10000"/>
                    <a:gd name="connsiteY54" fmla="*/ 5489 h 9813"/>
                    <a:gd name="connsiteX55" fmla="*/ 9278 w 10000"/>
                    <a:gd name="connsiteY55" fmla="*/ 5567 h 9813"/>
                    <a:gd name="connsiteX56" fmla="*/ 9056 w 10000"/>
                    <a:gd name="connsiteY56" fmla="*/ 5489 h 9813"/>
                    <a:gd name="connsiteX57" fmla="*/ 8889 w 10000"/>
                    <a:gd name="connsiteY57" fmla="*/ 5417 h 9813"/>
                    <a:gd name="connsiteX58" fmla="*/ 8722 w 10000"/>
                    <a:gd name="connsiteY58" fmla="*/ 5295 h 9813"/>
                    <a:gd name="connsiteX59" fmla="*/ 8611 w 10000"/>
                    <a:gd name="connsiteY59" fmla="*/ 5094 h 9813"/>
                    <a:gd name="connsiteX60" fmla="*/ 8444 w 10000"/>
                    <a:gd name="connsiteY60" fmla="*/ 4771 h 9813"/>
                    <a:gd name="connsiteX61" fmla="*/ 8444 w 10000"/>
                    <a:gd name="connsiteY61" fmla="*/ 4771 h 9813"/>
                    <a:gd name="connsiteX62" fmla="*/ 8222 w 10000"/>
                    <a:gd name="connsiteY62" fmla="*/ 4206 h 9813"/>
                    <a:gd name="connsiteX63" fmla="*/ 8111 w 10000"/>
                    <a:gd name="connsiteY63" fmla="*/ 3947 h 9813"/>
                    <a:gd name="connsiteX64" fmla="*/ 7944 w 10000"/>
                    <a:gd name="connsiteY64" fmla="*/ 3750 h 9813"/>
                    <a:gd name="connsiteX65" fmla="*/ 7778 w 10000"/>
                    <a:gd name="connsiteY65" fmla="*/ 3625 h 9813"/>
                    <a:gd name="connsiteX66" fmla="*/ 7556 w 10000"/>
                    <a:gd name="connsiteY66" fmla="*/ 3549 h 9813"/>
                    <a:gd name="connsiteX67" fmla="*/ 7333 w 10000"/>
                    <a:gd name="connsiteY67" fmla="*/ 3489 h 9813"/>
                    <a:gd name="connsiteX68" fmla="*/ 7000 w 10000"/>
                    <a:gd name="connsiteY68" fmla="*/ 3418 h 9813"/>
                    <a:gd name="connsiteX69" fmla="*/ 7000 w 10000"/>
                    <a:gd name="connsiteY69" fmla="*/ 3418 h 9813"/>
                    <a:gd name="connsiteX70" fmla="*/ 6556 w 10000"/>
                    <a:gd name="connsiteY70" fmla="*/ 3489 h 9813"/>
                    <a:gd name="connsiteX71" fmla="*/ 6222 w 10000"/>
                    <a:gd name="connsiteY71" fmla="*/ 3489 h 9813"/>
                    <a:gd name="connsiteX72" fmla="*/ 6111 w 10000"/>
                    <a:gd name="connsiteY72" fmla="*/ 3418 h 9813"/>
                    <a:gd name="connsiteX73" fmla="*/ 6056 w 10000"/>
                    <a:gd name="connsiteY73" fmla="*/ 3358 h 9813"/>
                    <a:gd name="connsiteX74" fmla="*/ 6056 w 10000"/>
                    <a:gd name="connsiteY74" fmla="*/ 3358 h 9813"/>
                    <a:gd name="connsiteX75" fmla="*/ 6056 w 10000"/>
                    <a:gd name="connsiteY75" fmla="*/ 2204 h 9813"/>
                    <a:gd name="connsiteX76" fmla="*/ 6056 w 10000"/>
                    <a:gd name="connsiteY76" fmla="*/ 2204 h 9813"/>
                    <a:gd name="connsiteX77" fmla="*/ 6056 w 10000"/>
                    <a:gd name="connsiteY77" fmla="*/ 1934 h 9813"/>
                    <a:gd name="connsiteX78" fmla="*/ 5944 w 10000"/>
                    <a:gd name="connsiteY78" fmla="*/ 1615 h 9813"/>
                    <a:gd name="connsiteX79" fmla="*/ 5889 w 10000"/>
                    <a:gd name="connsiteY79" fmla="*/ 1542 h 9813"/>
                    <a:gd name="connsiteX80" fmla="*/ 5778 w 10000"/>
                    <a:gd name="connsiteY80" fmla="*/ 1484 h 9813"/>
                    <a:gd name="connsiteX81" fmla="*/ 5667 w 10000"/>
                    <a:gd name="connsiteY81" fmla="*/ 1484 h 9813"/>
                    <a:gd name="connsiteX82" fmla="*/ 5500 w 10000"/>
                    <a:gd name="connsiteY82" fmla="*/ 1542 h 9813"/>
                    <a:gd name="connsiteX83" fmla="*/ 5500 w 10000"/>
                    <a:gd name="connsiteY83" fmla="*/ 1542 h 9813"/>
                    <a:gd name="connsiteX84" fmla="*/ 4889 w 10000"/>
                    <a:gd name="connsiteY84" fmla="*/ 2003 h 9813"/>
                    <a:gd name="connsiteX85" fmla="*/ 4611 w 10000"/>
                    <a:gd name="connsiteY85" fmla="*/ 2134 h 9813"/>
                    <a:gd name="connsiteX86" fmla="*/ 4556 w 10000"/>
                    <a:gd name="connsiteY86" fmla="*/ 2204 h 9813"/>
                    <a:gd name="connsiteX87" fmla="*/ 4500 w 10000"/>
                    <a:gd name="connsiteY87" fmla="*/ 2134 h 9813"/>
                    <a:gd name="connsiteX88" fmla="*/ 4500 w 10000"/>
                    <a:gd name="connsiteY88" fmla="*/ 2134 h 9813"/>
                    <a:gd name="connsiteX89" fmla="*/ 4222 w 10000"/>
                    <a:gd name="connsiteY89" fmla="*/ 1484 h 9813"/>
                    <a:gd name="connsiteX90" fmla="*/ 4222 w 10000"/>
                    <a:gd name="connsiteY90" fmla="*/ 1484 h 9813"/>
                    <a:gd name="connsiteX91" fmla="*/ 4111 w 10000"/>
                    <a:gd name="connsiteY91" fmla="*/ 1163 h 9813"/>
                    <a:gd name="connsiteX92" fmla="*/ 4111 w 10000"/>
                    <a:gd name="connsiteY92" fmla="*/ 972 h 9813"/>
                    <a:gd name="connsiteX93" fmla="*/ 4111 w 10000"/>
                    <a:gd name="connsiteY93" fmla="*/ 774 h 9813"/>
                    <a:gd name="connsiteX94" fmla="*/ 4111 w 10000"/>
                    <a:gd name="connsiteY94" fmla="*/ 774 h 9813"/>
                    <a:gd name="connsiteX95" fmla="*/ 4278 w 10000"/>
                    <a:gd name="connsiteY95" fmla="*/ 583 h 9813"/>
                    <a:gd name="connsiteX96" fmla="*/ 4389 w 10000"/>
                    <a:gd name="connsiteY96" fmla="*/ 516 h 9813"/>
                    <a:gd name="connsiteX97" fmla="*/ 4389 w 10000"/>
                    <a:gd name="connsiteY97" fmla="*/ 516 h 9813"/>
                    <a:gd name="connsiteX98" fmla="*/ 4000 w 10000"/>
                    <a:gd name="connsiteY98" fmla="*/ 516 h 9813"/>
                    <a:gd name="connsiteX99" fmla="*/ 3722 w 10000"/>
                    <a:gd name="connsiteY99" fmla="*/ 583 h 9813"/>
                    <a:gd name="connsiteX100" fmla="*/ 3611 w 10000"/>
                    <a:gd name="connsiteY100" fmla="*/ 653 h 9813"/>
                    <a:gd name="connsiteX101" fmla="*/ 3556 w 10000"/>
                    <a:gd name="connsiteY101" fmla="*/ 718 h 9813"/>
                    <a:gd name="connsiteX102" fmla="*/ 3556 w 10000"/>
                    <a:gd name="connsiteY102" fmla="*/ 718 h 9813"/>
                    <a:gd name="connsiteX103" fmla="*/ 3444 w 10000"/>
                    <a:gd name="connsiteY103" fmla="*/ 972 h 9813"/>
                    <a:gd name="connsiteX104" fmla="*/ 3278 w 10000"/>
                    <a:gd name="connsiteY104" fmla="*/ 1365 h 9813"/>
                    <a:gd name="connsiteX105" fmla="*/ 3000 w 10000"/>
                    <a:gd name="connsiteY105" fmla="*/ 1808 h 9813"/>
                    <a:gd name="connsiteX106" fmla="*/ 2667 w 10000"/>
                    <a:gd name="connsiteY106" fmla="*/ 2134 h 9813"/>
                    <a:gd name="connsiteX107" fmla="*/ 2667 w 10000"/>
                    <a:gd name="connsiteY107" fmla="*/ 2134 h 9813"/>
                    <a:gd name="connsiteX108" fmla="*/ 2333 w 10000"/>
                    <a:gd name="connsiteY108" fmla="*/ 2399 h 9813"/>
                    <a:gd name="connsiteX109" fmla="*/ 1833 w 10000"/>
                    <a:gd name="connsiteY109" fmla="*/ 2658 h 9813"/>
                    <a:gd name="connsiteX110" fmla="*/ 1389 w 10000"/>
                    <a:gd name="connsiteY110" fmla="*/ 2780 h 9813"/>
                    <a:gd name="connsiteX111" fmla="*/ 889 w 10000"/>
                    <a:gd name="connsiteY111" fmla="*/ 2846 h 9813"/>
                    <a:gd name="connsiteX112" fmla="*/ 889 w 10000"/>
                    <a:gd name="connsiteY112" fmla="*/ 2846 h 9813"/>
                    <a:gd name="connsiteX113" fmla="*/ 500 w 10000"/>
                    <a:gd name="connsiteY113" fmla="*/ 2924 h 9813"/>
                    <a:gd name="connsiteX114" fmla="*/ 222 w 10000"/>
                    <a:gd name="connsiteY114" fmla="*/ 2972 h 9813"/>
                    <a:gd name="connsiteX115" fmla="*/ 0 w 10000"/>
                    <a:gd name="connsiteY115" fmla="*/ 3035 h 9813"/>
                    <a:gd name="connsiteX116" fmla="*/ 0 w 10000"/>
                    <a:gd name="connsiteY116" fmla="*/ 3035 h 9813"/>
                    <a:gd name="connsiteX117" fmla="*/ 278 w 10000"/>
                    <a:gd name="connsiteY117" fmla="*/ 4076 h 9813"/>
                    <a:gd name="connsiteX118" fmla="*/ 500 w 10000"/>
                    <a:gd name="connsiteY118" fmla="*/ 4836 h 9813"/>
                    <a:gd name="connsiteX119" fmla="*/ 722 w 10000"/>
                    <a:gd name="connsiteY119" fmla="*/ 5489 h 9813"/>
                    <a:gd name="connsiteX120" fmla="*/ 722 w 10000"/>
                    <a:gd name="connsiteY120" fmla="*/ 5489 h 9813"/>
                    <a:gd name="connsiteX121" fmla="*/ 889 w 10000"/>
                    <a:gd name="connsiteY121" fmla="*/ 5875 h 9813"/>
                    <a:gd name="connsiteX122" fmla="*/ 944 w 10000"/>
                    <a:gd name="connsiteY122" fmla="*/ 6207 h 9813"/>
                    <a:gd name="connsiteX123" fmla="*/ 1111 w 10000"/>
                    <a:gd name="connsiteY123" fmla="*/ 6532 h 9813"/>
                    <a:gd name="connsiteX124" fmla="*/ 1333 w 10000"/>
                    <a:gd name="connsiteY124" fmla="*/ 7032 h 9813"/>
                    <a:gd name="connsiteX125" fmla="*/ 1333 w 10000"/>
                    <a:gd name="connsiteY125" fmla="*/ 7032 h 9813"/>
                    <a:gd name="connsiteX126" fmla="*/ 1444 w 10000"/>
                    <a:gd name="connsiteY126" fmla="*/ 7294 h 9813"/>
                    <a:gd name="connsiteX127" fmla="*/ 1500 w 10000"/>
                    <a:gd name="connsiteY127" fmla="*/ 7488 h 9813"/>
                    <a:gd name="connsiteX128" fmla="*/ 1500 w 10000"/>
                    <a:gd name="connsiteY128" fmla="*/ 7671 h 9813"/>
                    <a:gd name="connsiteX129" fmla="*/ 1556 w 10000"/>
                    <a:gd name="connsiteY129" fmla="*/ 7752 h 9813"/>
                    <a:gd name="connsiteX130" fmla="*/ 1722 w 10000"/>
                    <a:gd name="connsiteY130" fmla="*/ 7810 h 9813"/>
                    <a:gd name="connsiteX131" fmla="*/ 1944 w 10000"/>
                    <a:gd name="connsiteY131" fmla="*/ 7872 h 9813"/>
                    <a:gd name="connsiteX132" fmla="*/ 2944 w 10000"/>
                    <a:gd name="connsiteY132" fmla="*/ 7943 h 9813"/>
                    <a:gd name="connsiteX133" fmla="*/ 2944 w 10000"/>
                    <a:gd name="connsiteY133" fmla="*/ 7943 h 9813"/>
                    <a:gd name="connsiteX134" fmla="*/ 4167 w 10000"/>
                    <a:gd name="connsiteY134" fmla="*/ 8073 h 9813"/>
                    <a:gd name="connsiteX135" fmla="*/ 4889 w 10000"/>
                    <a:gd name="connsiteY135" fmla="*/ 8256 h 9813"/>
                    <a:gd name="connsiteX136" fmla="*/ 5278 w 10000"/>
                    <a:gd name="connsiteY136" fmla="*/ 8462 h 9813"/>
                    <a:gd name="connsiteX137" fmla="*/ 5444 w 10000"/>
                    <a:gd name="connsiteY137" fmla="*/ 8516 h 9813"/>
                    <a:gd name="connsiteX138" fmla="*/ 5444 w 10000"/>
                    <a:gd name="connsiteY138" fmla="*/ 8516 h 9813"/>
                    <a:gd name="connsiteX139" fmla="*/ 5722 w 10000"/>
                    <a:gd name="connsiteY139" fmla="*/ 8660 h 9813"/>
                    <a:gd name="connsiteX140" fmla="*/ 5833 w 10000"/>
                    <a:gd name="connsiteY140" fmla="*/ 8725 h 9813"/>
                    <a:gd name="connsiteX141" fmla="*/ 5833 w 10000"/>
                    <a:gd name="connsiteY141" fmla="*/ 8725 h 9813"/>
                    <a:gd name="connsiteX142" fmla="*/ 5833 w 10000"/>
                    <a:gd name="connsiteY142" fmla="*/ 8660 h 9813"/>
                    <a:gd name="connsiteX143" fmla="*/ 5889 w 10000"/>
                    <a:gd name="connsiteY143" fmla="*/ 8586 h 9813"/>
                    <a:gd name="connsiteX144" fmla="*/ 6000 w 10000"/>
                    <a:gd name="connsiteY144" fmla="*/ 8516 h 9813"/>
                    <a:gd name="connsiteX145" fmla="*/ 6167 w 10000"/>
                    <a:gd name="connsiteY145" fmla="*/ 8462 h 9813"/>
                    <a:gd name="connsiteX146" fmla="*/ 6444 w 10000"/>
                    <a:gd name="connsiteY146" fmla="*/ 8462 h 9813"/>
                    <a:gd name="connsiteX147" fmla="*/ 6833 w 10000"/>
                    <a:gd name="connsiteY147" fmla="*/ 8516 h 9813"/>
                    <a:gd name="connsiteX148" fmla="*/ 7278 w 10000"/>
                    <a:gd name="connsiteY148" fmla="*/ 8725 h 9813"/>
                    <a:gd name="connsiteX149" fmla="*/ 7278 w 10000"/>
                    <a:gd name="connsiteY149" fmla="*/ 8725 h 9813"/>
                    <a:gd name="connsiteX150" fmla="*/ 8722 w 10000"/>
                    <a:gd name="connsiteY150" fmla="*/ 9288 h 9813"/>
                    <a:gd name="connsiteX151" fmla="*/ 10000 w 10000"/>
                    <a:gd name="connsiteY151" fmla="*/ 9813 h 9813"/>
                    <a:gd name="connsiteX152" fmla="*/ 10000 w 10000"/>
                    <a:gd name="connsiteY152" fmla="*/ 5417 h 9813"/>
                    <a:gd name="connsiteX0" fmla="*/ 10000 w 10000"/>
                    <a:gd name="connsiteY0" fmla="*/ 5520 h 10000"/>
                    <a:gd name="connsiteX1" fmla="*/ 10000 w 10000"/>
                    <a:gd name="connsiteY1" fmla="*/ 5520 h 10000"/>
                    <a:gd name="connsiteX2" fmla="*/ 9222 w 10000"/>
                    <a:gd name="connsiteY2" fmla="*/ 5594 h 10000"/>
                    <a:gd name="connsiteX3" fmla="*/ 8944 w 10000"/>
                    <a:gd name="connsiteY3" fmla="*/ 5594 h 10000"/>
                    <a:gd name="connsiteX4" fmla="*/ 8833 w 10000"/>
                    <a:gd name="connsiteY4" fmla="*/ 5520 h 10000"/>
                    <a:gd name="connsiteX5" fmla="*/ 8778 w 10000"/>
                    <a:gd name="connsiteY5" fmla="*/ 5458 h 10000"/>
                    <a:gd name="connsiteX6" fmla="*/ 8778 w 10000"/>
                    <a:gd name="connsiteY6" fmla="*/ 5458 h 10000"/>
                    <a:gd name="connsiteX7" fmla="*/ 8444 w 10000"/>
                    <a:gd name="connsiteY7" fmla="*/ 4670 h 10000"/>
                    <a:gd name="connsiteX8" fmla="*/ 8167 w 10000"/>
                    <a:gd name="connsiteY8" fmla="*/ 3945 h 10000"/>
                    <a:gd name="connsiteX9" fmla="*/ 8167 w 10000"/>
                    <a:gd name="connsiteY9" fmla="*/ 3945 h 10000"/>
                    <a:gd name="connsiteX10" fmla="*/ 8056 w 10000"/>
                    <a:gd name="connsiteY10" fmla="*/ 3821 h 10000"/>
                    <a:gd name="connsiteX11" fmla="*/ 7889 w 10000"/>
                    <a:gd name="connsiteY11" fmla="*/ 3694 h 10000"/>
                    <a:gd name="connsiteX12" fmla="*/ 7444 w 10000"/>
                    <a:gd name="connsiteY12" fmla="*/ 3617 h 10000"/>
                    <a:gd name="connsiteX13" fmla="*/ 6889 w 10000"/>
                    <a:gd name="connsiteY13" fmla="*/ 3555 h 10000"/>
                    <a:gd name="connsiteX14" fmla="*/ 6389 w 10000"/>
                    <a:gd name="connsiteY14" fmla="*/ 3555 h 10000"/>
                    <a:gd name="connsiteX15" fmla="*/ 6389 w 10000"/>
                    <a:gd name="connsiteY15" fmla="*/ 3555 h 10000"/>
                    <a:gd name="connsiteX16" fmla="*/ 6167 w 10000"/>
                    <a:gd name="connsiteY16" fmla="*/ 3483 h 10000"/>
                    <a:gd name="connsiteX17" fmla="*/ 6056 w 10000"/>
                    <a:gd name="connsiteY17" fmla="*/ 3363 h 10000"/>
                    <a:gd name="connsiteX18" fmla="*/ 6000 w 10000"/>
                    <a:gd name="connsiteY18" fmla="*/ 3222 h 10000"/>
                    <a:gd name="connsiteX19" fmla="*/ 6000 w 10000"/>
                    <a:gd name="connsiteY19" fmla="*/ 2980 h 10000"/>
                    <a:gd name="connsiteX20" fmla="*/ 6056 w 10000"/>
                    <a:gd name="connsiteY20" fmla="*/ 2445 h 10000"/>
                    <a:gd name="connsiteX21" fmla="*/ 6111 w 10000"/>
                    <a:gd name="connsiteY21" fmla="*/ 2175 h 10000"/>
                    <a:gd name="connsiteX22" fmla="*/ 6056 w 10000"/>
                    <a:gd name="connsiteY22" fmla="*/ 1842 h 10000"/>
                    <a:gd name="connsiteX23" fmla="*/ 6056 w 10000"/>
                    <a:gd name="connsiteY23" fmla="*/ 1842 h 10000"/>
                    <a:gd name="connsiteX24" fmla="*/ 6000 w 10000"/>
                    <a:gd name="connsiteY24" fmla="*/ 1646 h 10000"/>
                    <a:gd name="connsiteX25" fmla="*/ 5944 w 10000"/>
                    <a:gd name="connsiteY25" fmla="*/ 1512 h 10000"/>
                    <a:gd name="connsiteX26" fmla="*/ 5833 w 10000"/>
                    <a:gd name="connsiteY26" fmla="*/ 1512 h 10000"/>
                    <a:gd name="connsiteX27" fmla="*/ 5667 w 10000"/>
                    <a:gd name="connsiteY27" fmla="*/ 1571 h 10000"/>
                    <a:gd name="connsiteX28" fmla="*/ 5333 w 10000"/>
                    <a:gd name="connsiteY28" fmla="*/ 1778 h 10000"/>
                    <a:gd name="connsiteX29" fmla="*/ 4889 w 10000"/>
                    <a:gd name="connsiteY29" fmla="*/ 2109 h 10000"/>
                    <a:gd name="connsiteX30" fmla="*/ 4889 w 10000"/>
                    <a:gd name="connsiteY30" fmla="*/ 2109 h 10000"/>
                    <a:gd name="connsiteX31" fmla="*/ 4611 w 10000"/>
                    <a:gd name="connsiteY31" fmla="*/ 2175 h 10000"/>
                    <a:gd name="connsiteX32" fmla="*/ 4500 w 10000"/>
                    <a:gd name="connsiteY32" fmla="*/ 2175 h 10000"/>
                    <a:gd name="connsiteX33" fmla="*/ 4444 w 10000"/>
                    <a:gd name="connsiteY33" fmla="*/ 2109 h 10000"/>
                    <a:gd name="connsiteX34" fmla="*/ 4389 w 10000"/>
                    <a:gd name="connsiteY34" fmla="*/ 1842 h 10000"/>
                    <a:gd name="connsiteX35" fmla="*/ 4222 w 10000"/>
                    <a:gd name="connsiteY35" fmla="*/ 1512 h 10000"/>
                    <a:gd name="connsiteX36" fmla="*/ 4222 w 10000"/>
                    <a:gd name="connsiteY36" fmla="*/ 1512 h 10000"/>
                    <a:gd name="connsiteX37" fmla="*/ 4111 w 10000"/>
                    <a:gd name="connsiteY37" fmla="*/ 1313 h 10000"/>
                    <a:gd name="connsiteX38" fmla="*/ 4111 w 10000"/>
                    <a:gd name="connsiteY38" fmla="*/ 1123 h 10000"/>
                    <a:gd name="connsiteX39" fmla="*/ 4111 w 10000"/>
                    <a:gd name="connsiteY39" fmla="*/ 991 h 10000"/>
                    <a:gd name="connsiteX40" fmla="*/ 4167 w 10000"/>
                    <a:gd name="connsiteY40" fmla="*/ 854 h 10000"/>
                    <a:gd name="connsiteX41" fmla="*/ 4278 w 10000"/>
                    <a:gd name="connsiteY41" fmla="*/ 594 h 10000"/>
                    <a:gd name="connsiteX42" fmla="*/ 4389 w 10000"/>
                    <a:gd name="connsiteY42" fmla="*/ 526 h 10000"/>
                    <a:gd name="connsiteX43" fmla="*/ 4389 w 10000"/>
                    <a:gd name="connsiteY43" fmla="*/ 526 h 10000"/>
                    <a:gd name="connsiteX44" fmla="*/ 4389 w 10000"/>
                    <a:gd name="connsiteY44" fmla="*/ 459 h 10000"/>
                    <a:gd name="connsiteX45" fmla="*/ 4444 w 10000"/>
                    <a:gd name="connsiteY45" fmla="*/ 409 h 10000"/>
                    <a:gd name="connsiteX46" fmla="*/ 4667 w 10000"/>
                    <a:gd name="connsiteY46" fmla="*/ 333 h 10000"/>
                    <a:gd name="connsiteX47" fmla="*/ 5333 w 10000"/>
                    <a:gd name="connsiteY47" fmla="*/ 206 h 10000"/>
                    <a:gd name="connsiteX48" fmla="*/ 6500 w 10000"/>
                    <a:gd name="connsiteY48" fmla="*/ 0 h 10000"/>
                    <a:gd name="connsiteX49" fmla="*/ 10000 w 10000"/>
                    <a:gd name="connsiteY49" fmla="*/ 5594 h 10000"/>
                    <a:gd name="connsiteX50" fmla="*/ 10000 w 10000"/>
                    <a:gd name="connsiteY50" fmla="*/ 5594 h 10000"/>
                    <a:gd name="connsiteX51" fmla="*/ 9722 w 10000"/>
                    <a:gd name="connsiteY51" fmla="*/ 5520 h 10000"/>
                    <a:gd name="connsiteX52" fmla="*/ 9389 w 10000"/>
                    <a:gd name="connsiteY52" fmla="*/ 5594 h 10000"/>
                    <a:gd name="connsiteX53" fmla="*/ 9389 w 10000"/>
                    <a:gd name="connsiteY53" fmla="*/ 5594 h 10000"/>
                    <a:gd name="connsiteX54" fmla="*/ 9278 w 10000"/>
                    <a:gd name="connsiteY54" fmla="*/ 5673 h 10000"/>
                    <a:gd name="connsiteX55" fmla="*/ 9056 w 10000"/>
                    <a:gd name="connsiteY55" fmla="*/ 5594 h 10000"/>
                    <a:gd name="connsiteX56" fmla="*/ 8889 w 10000"/>
                    <a:gd name="connsiteY56" fmla="*/ 5520 h 10000"/>
                    <a:gd name="connsiteX57" fmla="*/ 8722 w 10000"/>
                    <a:gd name="connsiteY57" fmla="*/ 5396 h 10000"/>
                    <a:gd name="connsiteX58" fmla="*/ 8611 w 10000"/>
                    <a:gd name="connsiteY58" fmla="*/ 5191 h 10000"/>
                    <a:gd name="connsiteX59" fmla="*/ 8444 w 10000"/>
                    <a:gd name="connsiteY59" fmla="*/ 4862 h 10000"/>
                    <a:gd name="connsiteX60" fmla="*/ 8444 w 10000"/>
                    <a:gd name="connsiteY60" fmla="*/ 4862 h 10000"/>
                    <a:gd name="connsiteX61" fmla="*/ 8222 w 10000"/>
                    <a:gd name="connsiteY61" fmla="*/ 4286 h 10000"/>
                    <a:gd name="connsiteX62" fmla="*/ 8111 w 10000"/>
                    <a:gd name="connsiteY62" fmla="*/ 4022 h 10000"/>
                    <a:gd name="connsiteX63" fmla="*/ 7944 w 10000"/>
                    <a:gd name="connsiteY63" fmla="*/ 3821 h 10000"/>
                    <a:gd name="connsiteX64" fmla="*/ 7778 w 10000"/>
                    <a:gd name="connsiteY64" fmla="*/ 3694 h 10000"/>
                    <a:gd name="connsiteX65" fmla="*/ 7556 w 10000"/>
                    <a:gd name="connsiteY65" fmla="*/ 3617 h 10000"/>
                    <a:gd name="connsiteX66" fmla="*/ 7333 w 10000"/>
                    <a:gd name="connsiteY66" fmla="*/ 3555 h 10000"/>
                    <a:gd name="connsiteX67" fmla="*/ 7000 w 10000"/>
                    <a:gd name="connsiteY67" fmla="*/ 3483 h 10000"/>
                    <a:gd name="connsiteX68" fmla="*/ 7000 w 10000"/>
                    <a:gd name="connsiteY68" fmla="*/ 3483 h 10000"/>
                    <a:gd name="connsiteX69" fmla="*/ 6556 w 10000"/>
                    <a:gd name="connsiteY69" fmla="*/ 3555 h 10000"/>
                    <a:gd name="connsiteX70" fmla="*/ 6222 w 10000"/>
                    <a:gd name="connsiteY70" fmla="*/ 3555 h 10000"/>
                    <a:gd name="connsiteX71" fmla="*/ 6111 w 10000"/>
                    <a:gd name="connsiteY71" fmla="*/ 3483 h 10000"/>
                    <a:gd name="connsiteX72" fmla="*/ 6056 w 10000"/>
                    <a:gd name="connsiteY72" fmla="*/ 3422 h 10000"/>
                    <a:gd name="connsiteX73" fmla="*/ 6056 w 10000"/>
                    <a:gd name="connsiteY73" fmla="*/ 3422 h 10000"/>
                    <a:gd name="connsiteX74" fmla="*/ 6056 w 10000"/>
                    <a:gd name="connsiteY74" fmla="*/ 2246 h 10000"/>
                    <a:gd name="connsiteX75" fmla="*/ 6056 w 10000"/>
                    <a:gd name="connsiteY75" fmla="*/ 2246 h 10000"/>
                    <a:gd name="connsiteX76" fmla="*/ 6056 w 10000"/>
                    <a:gd name="connsiteY76" fmla="*/ 1971 h 10000"/>
                    <a:gd name="connsiteX77" fmla="*/ 5944 w 10000"/>
                    <a:gd name="connsiteY77" fmla="*/ 1646 h 10000"/>
                    <a:gd name="connsiteX78" fmla="*/ 5889 w 10000"/>
                    <a:gd name="connsiteY78" fmla="*/ 1571 h 10000"/>
                    <a:gd name="connsiteX79" fmla="*/ 5778 w 10000"/>
                    <a:gd name="connsiteY79" fmla="*/ 1512 h 10000"/>
                    <a:gd name="connsiteX80" fmla="*/ 5667 w 10000"/>
                    <a:gd name="connsiteY80" fmla="*/ 1512 h 10000"/>
                    <a:gd name="connsiteX81" fmla="*/ 5500 w 10000"/>
                    <a:gd name="connsiteY81" fmla="*/ 1571 h 10000"/>
                    <a:gd name="connsiteX82" fmla="*/ 5500 w 10000"/>
                    <a:gd name="connsiteY82" fmla="*/ 1571 h 10000"/>
                    <a:gd name="connsiteX83" fmla="*/ 4889 w 10000"/>
                    <a:gd name="connsiteY83" fmla="*/ 2041 h 10000"/>
                    <a:gd name="connsiteX84" fmla="*/ 4611 w 10000"/>
                    <a:gd name="connsiteY84" fmla="*/ 2175 h 10000"/>
                    <a:gd name="connsiteX85" fmla="*/ 4556 w 10000"/>
                    <a:gd name="connsiteY85" fmla="*/ 2246 h 10000"/>
                    <a:gd name="connsiteX86" fmla="*/ 4500 w 10000"/>
                    <a:gd name="connsiteY86" fmla="*/ 2175 h 10000"/>
                    <a:gd name="connsiteX87" fmla="*/ 4500 w 10000"/>
                    <a:gd name="connsiteY87" fmla="*/ 2175 h 10000"/>
                    <a:gd name="connsiteX88" fmla="*/ 4222 w 10000"/>
                    <a:gd name="connsiteY88" fmla="*/ 1512 h 10000"/>
                    <a:gd name="connsiteX89" fmla="*/ 4222 w 10000"/>
                    <a:gd name="connsiteY89" fmla="*/ 1512 h 10000"/>
                    <a:gd name="connsiteX90" fmla="*/ 4111 w 10000"/>
                    <a:gd name="connsiteY90" fmla="*/ 1185 h 10000"/>
                    <a:gd name="connsiteX91" fmla="*/ 4111 w 10000"/>
                    <a:gd name="connsiteY91" fmla="*/ 991 h 10000"/>
                    <a:gd name="connsiteX92" fmla="*/ 4111 w 10000"/>
                    <a:gd name="connsiteY92" fmla="*/ 789 h 10000"/>
                    <a:gd name="connsiteX93" fmla="*/ 4111 w 10000"/>
                    <a:gd name="connsiteY93" fmla="*/ 789 h 10000"/>
                    <a:gd name="connsiteX94" fmla="*/ 4278 w 10000"/>
                    <a:gd name="connsiteY94" fmla="*/ 594 h 10000"/>
                    <a:gd name="connsiteX95" fmla="*/ 4389 w 10000"/>
                    <a:gd name="connsiteY95" fmla="*/ 526 h 10000"/>
                    <a:gd name="connsiteX96" fmla="*/ 4389 w 10000"/>
                    <a:gd name="connsiteY96" fmla="*/ 526 h 10000"/>
                    <a:gd name="connsiteX97" fmla="*/ 4000 w 10000"/>
                    <a:gd name="connsiteY97" fmla="*/ 526 h 10000"/>
                    <a:gd name="connsiteX98" fmla="*/ 3722 w 10000"/>
                    <a:gd name="connsiteY98" fmla="*/ 594 h 10000"/>
                    <a:gd name="connsiteX99" fmla="*/ 3611 w 10000"/>
                    <a:gd name="connsiteY99" fmla="*/ 665 h 10000"/>
                    <a:gd name="connsiteX100" fmla="*/ 3556 w 10000"/>
                    <a:gd name="connsiteY100" fmla="*/ 732 h 10000"/>
                    <a:gd name="connsiteX101" fmla="*/ 3556 w 10000"/>
                    <a:gd name="connsiteY101" fmla="*/ 732 h 10000"/>
                    <a:gd name="connsiteX102" fmla="*/ 3444 w 10000"/>
                    <a:gd name="connsiteY102" fmla="*/ 991 h 10000"/>
                    <a:gd name="connsiteX103" fmla="*/ 3278 w 10000"/>
                    <a:gd name="connsiteY103" fmla="*/ 1391 h 10000"/>
                    <a:gd name="connsiteX104" fmla="*/ 3000 w 10000"/>
                    <a:gd name="connsiteY104" fmla="*/ 1842 h 10000"/>
                    <a:gd name="connsiteX105" fmla="*/ 2667 w 10000"/>
                    <a:gd name="connsiteY105" fmla="*/ 2175 h 10000"/>
                    <a:gd name="connsiteX106" fmla="*/ 2667 w 10000"/>
                    <a:gd name="connsiteY106" fmla="*/ 2175 h 10000"/>
                    <a:gd name="connsiteX107" fmla="*/ 2333 w 10000"/>
                    <a:gd name="connsiteY107" fmla="*/ 2445 h 10000"/>
                    <a:gd name="connsiteX108" fmla="*/ 1833 w 10000"/>
                    <a:gd name="connsiteY108" fmla="*/ 2709 h 10000"/>
                    <a:gd name="connsiteX109" fmla="*/ 1389 w 10000"/>
                    <a:gd name="connsiteY109" fmla="*/ 2833 h 10000"/>
                    <a:gd name="connsiteX110" fmla="*/ 889 w 10000"/>
                    <a:gd name="connsiteY110" fmla="*/ 2900 h 10000"/>
                    <a:gd name="connsiteX111" fmla="*/ 889 w 10000"/>
                    <a:gd name="connsiteY111" fmla="*/ 2900 h 10000"/>
                    <a:gd name="connsiteX112" fmla="*/ 500 w 10000"/>
                    <a:gd name="connsiteY112" fmla="*/ 2980 h 10000"/>
                    <a:gd name="connsiteX113" fmla="*/ 222 w 10000"/>
                    <a:gd name="connsiteY113" fmla="*/ 3029 h 10000"/>
                    <a:gd name="connsiteX114" fmla="*/ 0 w 10000"/>
                    <a:gd name="connsiteY114" fmla="*/ 3093 h 10000"/>
                    <a:gd name="connsiteX115" fmla="*/ 0 w 10000"/>
                    <a:gd name="connsiteY115" fmla="*/ 3093 h 10000"/>
                    <a:gd name="connsiteX116" fmla="*/ 278 w 10000"/>
                    <a:gd name="connsiteY116" fmla="*/ 4154 h 10000"/>
                    <a:gd name="connsiteX117" fmla="*/ 500 w 10000"/>
                    <a:gd name="connsiteY117" fmla="*/ 4928 h 10000"/>
                    <a:gd name="connsiteX118" fmla="*/ 722 w 10000"/>
                    <a:gd name="connsiteY118" fmla="*/ 5594 h 10000"/>
                    <a:gd name="connsiteX119" fmla="*/ 722 w 10000"/>
                    <a:gd name="connsiteY119" fmla="*/ 5594 h 10000"/>
                    <a:gd name="connsiteX120" fmla="*/ 889 w 10000"/>
                    <a:gd name="connsiteY120" fmla="*/ 5987 h 10000"/>
                    <a:gd name="connsiteX121" fmla="*/ 944 w 10000"/>
                    <a:gd name="connsiteY121" fmla="*/ 6325 h 10000"/>
                    <a:gd name="connsiteX122" fmla="*/ 1111 w 10000"/>
                    <a:gd name="connsiteY122" fmla="*/ 6656 h 10000"/>
                    <a:gd name="connsiteX123" fmla="*/ 1333 w 10000"/>
                    <a:gd name="connsiteY123" fmla="*/ 7166 h 10000"/>
                    <a:gd name="connsiteX124" fmla="*/ 1333 w 10000"/>
                    <a:gd name="connsiteY124" fmla="*/ 7166 h 10000"/>
                    <a:gd name="connsiteX125" fmla="*/ 1444 w 10000"/>
                    <a:gd name="connsiteY125" fmla="*/ 7433 h 10000"/>
                    <a:gd name="connsiteX126" fmla="*/ 1500 w 10000"/>
                    <a:gd name="connsiteY126" fmla="*/ 7631 h 10000"/>
                    <a:gd name="connsiteX127" fmla="*/ 1500 w 10000"/>
                    <a:gd name="connsiteY127" fmla="*/ 7817 h 10000"/>
                    <a:gd name="connsiteX128" fmla="*/ 1556 w 10000"/>
                    <a:gd name="connsiteY128" fmla="*/ 7900 h 10000"/>
                    <a:gd name="connsiteX129" fmla="*/ 1722 w 10000"/>
                    <a:gd name="connsiteY129" fmla="*/ 7959 h 10000"/>
                    <a:gd name="connsiteX130" fmla="*/ 1944 w 10000"/>
                    <a:gd name="connsiteY130" fmla="*/ 8022 h 10000"/>
                    <a:gd name="connsiteX131" fmla="*/ 2944 w 10000"/>
                    <a:gd name="connsiteY131" fmla="*/ 8094 h 10000"/>
                    <a:gd name="connsiteX132" fmla="*/ 2944 w 10000"/>
                    <a:gd name="connsiteY132" fmla="*/ 8094 h 10000"/>
                    <a:gd name="connsiteX133" fmla="*/ 4167 w 10000"/>
                    <a:gd name="connsiteY133" fmla="*/ 8227 h 10000"/>
                    <a:gd name="connsiteX134" fmla="*/ 4889 w 10000"/>
                    <a:gd name="connsiteY134" fmla="*/ 8413 h 10000"/>
                    <a:gd name="connsiteX135" fmla="*/ 5278 w 10000"/>
                    <a:gd name="connsiteY135" fmla="*/ 8623 h 10000"/>
                    <a:gd name="connsiteX136" fmla="*/ 5444 w 10000"/>
                    <a:gd name="connsiteY136" fmla="*/ 8678 h 10000"/>
                    <a:gd name="connsiteX137" fmla="*/ 5444 w 10000"/>
                    <a:gd name="connsiteY137" fmla="*/ 8678 h 10000"/>
                    <a:gd name="connsiteX138" fmla="*/ 5722 w 10000"/>
                    <a:gd name="connsiteY138" fmla="*/ 8825 h 10000"/>
                    <a:gd name="connsiteX139" fmla="*/ 5833 w 10000"/>
                    <a:gd name="connsiteY139" fmla="*/ 8891 h 10000"/>
                    <a:gd name="connsiteX140" fmla="*/ 5833 w 10000"/>
                    <a:gd name="connsiteY140" fmla="*/ 8891 h 10000"/>
                    <a:gd name="connsiteX141" fmla="*/ 5833 w 10000"/>
                    <a:gd name="connsiteY141" fmla="*/ 8825 h 10000"/>
                    <a:gd name="connsiteX142" fmla="*/ 5889 w 10000"/>
                    <a:gd name="connsiteY142" fmla="*/ 8750 h 10000"/>
                    <a:gd name="connsiteX143" fmla="*/ 6000 w 10000"/>
                    <a:gd name="connsiteY143" fmla="*/ 8678 h 10000"/>
                    <a:gd name="connsiteX144" fmla="*/ 6167 w 10000"/>
                    <a:gd name="connsiteY144" fmla="*/ 8623 h 10000"/>
                    <a:gd name="connsiteX145" fmla="*/ 6444 w 10000"/>
                    <a:gd name="connsiteY145" fmla="*/ 8623 h 10000"/>
                    <a:gd name="connsiteX146" fmla="*/ 6833 w 10000"/>
                    <a:gd name="connsiteY146" fmla="*/ 8678 h 10000"/>
                    <a:gd name="connsiteX147" fmla="*/ 7278 w 10000"/>
                    <a:gd name="connsiteY147" fmla="*/ 8891 h 10000"/>
                    <a:gd name="connsiteX148" fmla="*/ 7278 w 10000"/>
                    <a:gd name="connsiteY148" fmla="*/ 8891 h 10000"/>
                    <a:gd name="connsiteX149" fmla="*/ 8722 w 10000"/>
                    <a:gd name="connsiteY149" fmla="*/ 9465 h 10000"/>
                    <a:gd name="connsiteX150" fmla="*/ 10000 w 10000"/>
                    <a:gd name="connsiteY150" fmla="*/ 10000 h 10000"/>
                    <a:gd name="connsiteX151" fmla="*/ 10000 w 10000"/>
                    <a:gd name="connsiteY151" fmla="*/ 5520 h 10000"/>
                    <a:gd name="connsiteX0" fmla="*/ 10000 w 10000"/>
                    <a:gd name="connsiteY0" fmla="*/ 5314 h 9794"/>
                    <a:gd name="connsiteX1" fmla="*/ 10000 w 10000"/>
                    <a:gd name="connsiteY1" fmla="*/ 5314 h 9794"/>
                    <a:gd name="connsiteX2" fmla="*/ 9222 w 10000"/>
                    <a:gd name="connsiteY2" fmla="*/ 5388 h 9794"/>
                    <a:gd name="connsiteX3" fmla="*/ 8944 w 10000"/>
                    <a:gd name="connsiteY3" fmla="*/ 5388 h 9794"/>
                    <a:gd name="connsiteX4" fmla="*/ 8833 w 10000"/>
                    <a:gd name="connsiteY4" fmla="*/ 5314 h 9794"/>
                    <a:gd name="connsiteX5" fmla="*/ 8778 w 10000"/>
                    <a:gd name="connsiteY5" fmla="*/ 5252 h 9794"/>
                    <a:gd name="connsiteX6" fmla="*/ 8778 w 10000"/>
                    <a:gd name="connsiteY6" fmla="*/ 5252 h 9794"/>
                    <a:gd name="connsiteX7" fmla="*/ 8444 w 10000"/>
                    <a:gd name="connsiteY7" fmla="*/ 4464 h 9794"/>
                    <a:gd name="connsiteX8" fmla="*/ 8167 w 10000"/>
                    <a:gd name="connsiteY8" fmla="*/ 3739 h 9794"/>
                    <a:gd name="connsiteX9" fmla="*/ 8167 w 10000"/>
                    <a:gd name="connsiteY9" fmla="*/ 3739 h 9794"/>
                    <a:gd name="connsiteX10" fmla="*/ 8056 w 10000"/>
                    <a:gd name="connsiteY10" fmla="*/ 3615 h 9794"/>
                    <a:gd name="connsiteX11" fmla="*/ 7889 w 10000"/>
                    <a:gd name="connsiteY11" fmla="*/ 3488 h 9794"/>
                    <a:gd name="connsiteX12" fmla="*/ 7444 w 10000"/>
                    <a:gd name="connsiteY12" fmla="*/ 3411 h 9794"/>
                    <a:gd name="connsiteX13" fmla="*/ 6889 w 10000"/>
                    <a:gd name="connsiteY13" fmla="*/ 3349 h 9794"/>
                    <a:gd name="connsiteX14" fmla="*/ 6389 w 10000"/>
                    <a:gd name="connsiteY14" fmla="*/ 3349 h 9794"/>
                    <a:gd name="connsiteX15" fmla="*/ 6389 w 10000"/>
                    <a:gd name="connsiteY15" fmla="*/ 3349 h 9794"/>
                    <a:gd name="connsiteX16" fmla="*/ 6167 w 10000"/>
                    <a:gd name="connsiteY16" fmla="*/ 3277 h 9794"/>
                    <a:gd name="connsiteX17" fmla="*/ 6056 w 10000"/>
                    <a:gd name="connsiteY17" fmla="*/ 3157 h 9794"/>
                    <a:gd name="connsiteX18" fmla="*/ 6000 w 10000"/>
                    <a:gd name="connsiteY18" fmla="*/ 3016 h 9794"/>
                    <a:gd name="connsiteX19" fmla="*/ 6000 w 10000"/>
                    <a:gd name="connsiteY19" fmla="*/ 2774 h 9794"/>
                    <a:gd name="connsiteX20" fmla="*/ 6056 w 10000"/>
                    <a:gd name="connsiteY20" fmla="*/ 2239 h 9794"/>
                    <a:gd name="connsiteX21" fmla="*/ 6111 w 10000"/>
                    <a:gd name="connsiteY21" fmla="*/ 1969 h 9794"/>
                    <a:gd name="connsiteX22" fmla="*/ 6056 w 10000"/>
                    <a:gd name="connsiteY22" fmla="*/ 1636 h 9794"/>
                    <a:gd name="connsiteX23" fmla="*/ 6056 w 10000"/>
                    <a:gd name="connsiteY23" fmla="*/ 1636 h 9794"/>
                    <a:gd name="connsiteX24" fmla="*/ 6000 w 10000"/>
                    <a:gd name="connsiteY24" fmla="*/ 1440 h 9794"/>
                    <a:gd name="connsiteX25" fmla="*/ 5944 w 10000"/>
                    <a:gd name="connsiteY25" fmla="*/ 1306 h 9794"/>
                    <a:gd name="connsiteX26" fmla="*/ 5833 w 10000"/>
                    <a:gd name="connsiteY26" fmla="*/ 1306 h 9794"/>
                    <a:gd name="connsiteX27" fmla="*/ 5667 w 10000"/>
                    <a:gd name="connsiteY27" fmla="*/ 1365 h 9794"/>
                    <a:gd name="connsiteX28" fmla="*/ 5333 w 10000"/>
                    <a:gd name="connsiteY28" fmla="*/ 1572 h 9794"/>
                    <a:gd name="connsiteX29" fmla="*/ 4889 w 10000"/>
                    <a:gd name="connsiteY29" fmla="*/ 1903 h 9794"/>
                    <a:gd name="connsiteX30" fmla="*/ 4889 w 10000"/>
                    <a:gd name="connsiteY30" fmla="*/ 1903 h 9794"/>
                    <a:gd name="connsiteX31" fmla="*/ 4611 w 10000"/>
                    <a:gd name="connsiteY31" fmla="*/ 1969 h 9794"/>
                    <a:gd name="connsiteX32" fmla="*/ 4500 w 10000"/>
                    <a:gd name="connsiteY32" fmla="*/ 1969 h 9794"/>
                    <a:gd name="connsiteX33" fmla="*/ 4444 w 10000"/>
                    <a:gd name="connsiteY33" fmla="*/ 1903 h 9794"/>
                    <a:gd name="connsiteX34" fmla="*/ 4389 w 10000"/>
                    <a:gd name="connsiteY34" fmla="*/ 1636 h 9794"/>
                    <a:gd name="connsiteX35" fmla="*/ 4222 w 10000"/>
                    <a:gd name="connsiteY35" fmla="*/ 1306 h 9794"/>
                    <a:gd name="connsiteX36" fmla="*/ 4222 w 10000"/>
                    <a:gd name="connsiteY36" fmla="*/ 1306 h 9794"/>
                    <a:gd name="connsiteX37" fmla="*/ 4111 w 10000"/>
                    <a:gd name="connsiteY37" fmla="*/ 1107 h 9794"/>
                    <a:gd name="connsiteX38" fmla="*/ 4111 w 10000"/>
                    <a:gd name="connsiteY38" fmla="*/ 917 h 9794"/>
                    <a:gd name="connsiteX39" fmla="*/ 4111 w 10000"/>
                    <a:gd name="connsiteY39" fmla="*/ 785 h 9794"/>
                    <a:gd name="connsiteX40" fmla="*/ 4167 w 10000"/>
                    <a:gd name="connsiteY40" fmla="*/ 648 h 9794"/>
                    <a:gd name="connsiteX41" fmla="*/ 4278 w 10000"/>
                    <a:gd name="connsiteY41" fmla="*/ 388 h 9794"/>
                    <a:gd name="connsiteX42" fmla="*/ 4389 w 10000"/>
                    <a:gd name="connsiteY42" fmla="*/ 320 h 9794"/>
                    <a:gd name="connsiteX43" fmla="*/ 4389 w 10000"/>
                    <a:gd name="connsiteY43" fmla="*/ 320 h 9794"/>
                    <a:gd name="connsiteX44" fmla="*/ 4389 w 10000"/>
                    <a:gd name="connsiteY44" fmla="*/ 253 h 9794"/>
                    <a:gd name="connsiteX45" fmla="*/ 4444 w 10000"/>
                    <a:gd name="connsiteY45" fmla="*/ 203 h 9794"/>
                    <a:gd name="connsiteX46" fmla="*/ 4667 w 10000"/>
                    <a:gd name="connsiteY46" fmla="*/ 127 h 9794"/>
                    <a:gd name="connsiteX47" fmla="*/ 5333 w 10000"/>
                    <a:gd name="connsiteY47" fmla="*/ 0 h 9794"/>
                    <a:gd name="connsiteX48" fmla="*/ 10000 w 10000"/>
                    <a:gd name="connsiteY48" fmla="*/ 5388 h 9794"/>
                    <a:gd name="connsiteX49" fmla="*/ 10000 w 10000"/>
                    <a:gd name="connsiteY49" fmla="*/ 5388 h 9794"/>
                    <a:gd name="connsiteX50" fmla="*/ 9722 w 10000"/>
                    <a:gd name="connsiteY50" fmla="*/ 5314 h 9794"/>
                    <a:gd name="connsiteX51" fmla="*/ 9389 w 10000"/>
                    <a:gd name="connsiteY51" fmla="*/ 5388 h 9794"/>
                    <a:gd name="connsiteX52" fmla="*/ 9389 w 10000"/>
                    <a:gd name="connsiteY52" fmla="*/ 5388 h 9794"/>
                    <a:gd name="connsiteX53" fmla="*/ 9278 w 10000"/>
                    <a:gd name="connsiteY53" fmla="*/ 5467 h 9794"/>
                    <a:gd name="connsiteX54" fmla="*/ 9056 w 10000"/>
                    <a:gd name="connsiteY54" fmla="*/ 5388 h 9794"/>
                    <a:gd name="connsiteX55" fmla="*/ 8889 w 10000"/>
                    <a:gd name="connsiteY55" fmla="*/ 5314 h 9794"/>
                    <a:gd name="connsiteX56" fmla="*/ 8722 w 10000"/>
                    <a:gd name="connsiteY56" fmla="*/ 5190 h 9794"/>
                    <a:gd name="connsiteX57" fmla="*/ 8611 w 10000"/>
                    <a:gd name="connsiteY57" fmla="*/ 4985 h 9794"/>
                    <a:gd name="connsiteX58" fmla="*/ 8444 w 10000"/>
                    <a:gd name="connsiteY58" fmla="*/ 4656 h 9794"/>
                    <a:gd name="connsiteX59" fmla="*/ 8444 w 10000"/>
                    <a:gd name="connsiteY59" fmla="*/ 4656 h 9794"/>
                    <a:gd name="connsiteX60" fmla="*/ 8222 w 10000"/>
                    <a:gd name="connsiteY60" fmla="*/ 4080 h 9794"/>
                    <a:gd name="connsiteX61" fmla="*/ 8111 w 10000"/>
                    <a:gd name="connsiteY61" fmla="*/ 3816 h 9794"/>
                    <a:gd name="connsiteX62" fmla="*/ 7944 w 10000"/>
                    <a:gd name="connsiteY62" fmla="*/ 3615 h 9794"/>
                    <a:gd name="connsiteX63" fmla="*/ 7778 w 10000"/>
                    <a:gd name="connsiteY63" fmla="*/ 3488 h 9794"/>
                    <a:gd name="connsiteX64" fmla="*/ 7556 w 10000"/>
                    <a:gd name="connsiteY64" fmla="*/ 3411 h 9794"/>
                    <a:gd name="connsiteX65" fmla="*/ 7333 w 10000"/>
                    <a:gd name="connsiteY65" fmla="*/ 3349 h 9794"/>
                    <a:gd name="connsiteX66" fmla="*/ 7000 w 10000"/>
                    <a:gd name="connsiteY66" fmla="*/ 3277 h 9794"/>
                    <a:gd name="connsiteX67" fmla="*/ 7000 w 10000"/>
                    <a:gd name="connsiteY67" fmla="*/ 3277 h 9794"/>
                    <a:gd name="connsiteX68" fmla="*/ 6556 w 10000"/>
                    <a:gd name="connsiteY68" fmla="*/ 3349 h 9794"/>
                    <a:gd name="connsiteX69" fmla="*/ 6222 w 10000"/>
                    <a:gd name="connsiteY69" fmla="*/ 3349 h 9794"/>
                    <a:gd name="connsiteX70" fmla="*/ 6111 w 10000"/>
                    <a:gd name="connsiteY70" fmla="*/ 3277 h 9794"/>
                    <a:gd name="connsiteX71" fmla="*/ 6056 w 10000"/>
                    <a:gd name="connsiteY71" fmla="*/ 3216 h 9794"/>
                    <a:gd name="connsiteX72" fmla="*/ 6056 w 10000"/>
                    <a:gd name="connsiteY72" fmla="*/ 3216 h 9794"/>
                    <a:gd name="connsiteX73" fmla="*/ 6056 w 10000"/>
                    <a:gd name="connsiteY73" fmla="*/ 2040 h 9794"/>
                    <a:gd name="connsiteX74" fmla="*/ 6056 w 10000"/>
                    <a:gd name="connsiteY74" fmla="*/ 2040 h 9794"/>
                    <a:gd name="connsiteX75" fmla="*/ 6056 w 10000"/>
                    <a:gd name="connsiteY75" fmla="*/ 1765 h 9794"/>
                    <a:gd name="connsiteX76" fmla="*/ 5944 w 10000"/>
                    <a:gd name="connsiteY76" fmla="*/ 1440 h 9794"/>
                    <a:gd name="connsiteX77" fmla="*/ 5889 w 10000"/>
                    <a:gd name="connsiteY77" fmla="*/ 1365 h 9794"/>
                    <a:gd name="connsiteX78" fmla="*/ 5778 w 10000"/>
                    <a:gd name="connsiteY78" fmla="*/ 1306 h 9794"/>
                    <a:gd name="connsiteX79" fmla="*/ 5667 w 10000"/>
                    <a:gd name="connsiteY79" fmla="*/ 1306 h 9794"/>
                    <a:gd name="connsiteX80" fmla="*/ 5500 w 10000"/>
                    <a:gd name="connsiteY80" fmla="*/ 1365 h 9794"/>
                    <a:gd name="connsiteX81" fmla="*/ 5500 w 10000"/>
                    <a:gd name="connsiteY81" fmla="*/ 1365 h 9794"/>
                    <a:gd name="connsiteX82" fmla="*/ 4889 w 10000"/>
                    <a:gd name="connsiteY82" fmla="*/ 1835 h 9794"/>
                    <a:gd name="connsiteX83" fmla="*/ 4611 w 10000"/>
                    <a:gd name="connsiteY83" fmla="*/ 1969 h 9794"/>
                    <a:gd name="connsiteX84" fmla="*/ 4556 w 10000"/>
                    <a:gd name="connsiteY84" fmla="*/ 2040 h 9794"/>
                    <a:gd name="connsiteX85" fmla="*/ 4500 w 10000"/>
                    <a:gd name="connsiteY85" fmla="*/ 1969 h 9794"/>
                    <a:gd name="connsiteX86" fmla="*/ 4500 w 10000"/>
                    <a:gd name="connsiteY86" fmla="*/ 1969 h 9794"/>
                    <a:gd name="connsiteX87" fmla="*/ 4222 w 10000"/>
                    <a:gd name="connsiteY87" fmla="*/ 1306 h 9794"/>
                    <a:gd name="connsiteX88" fmla="*/ 4222 w 10000"/>
                    <a:gd name="connsiteY88" fmla="*/ 1306 h 9794"/>
                    <a:gd name="connsiteX89" fmla="*/ 4111 w 10000"/>
                    <a:gd name="connsiteY89" fmla="*/ 979 h 9794"/>
                    <a:gd name="connsiteX90" fmla="*/ 4111 w 10000"/>
                    <a:gd name="connsiteY90" fmla="*/ 785 h 9794"/>
                    <a:gd name="connsiteX91" fmla="*/ 4111 w 10000"/>
                    <a:gd name="connsiteY91" fmla="*/ 583 h 9794"/>
                    <a:gd name="connsiteX92" fmla="*/ 4111 w 10000"/>
                    <a:gd name="connsiteY92" fmla="*/ 583 h 9794"/>
                    <a:gd name="connsiteX93" fmla="*/ 4278 w 10000"/>
                    <a:gd name="connsiteY93" fmla="*/ 388 h 9794"/>
                    <a:gd name="connsiteX94" fmla="*/ 4389 w 10000"/>
                    <a:gd name="connsiteY94" fmla="*/ 320 h 9794"/>
                    <a:gd name="connsiteX95" fmla="*/ 4389 w 10000"/>
                    <a:gd name="connsiteY95" fmla="*/ 320 h 9794"/>
                    <a:gd name="connsiteX96" fmla="*/ 4000 w 10000"/>
                    <a:gd name="connsiteY96" fmla="*/ 320 h 9794"/>
                    <a:gd name="connsiteX97" fmla="*/ 3722 w 10000"/>
                    <a:gd name="connsiteY97" fmla="*/ 388 h 9794"/>
                    <a:gd name="connsiteX98" fmla="*/ 3611 w 10000"/>
                    <a:gd name="connsiteY98" fmla="*/ 459 h 9794"/>
                    <a:gd name="connsiteX99" fmla="*/ 3556 w 10000"/>
                    <a:gd name="connsiteY99" fmla="*/ 526 h 9794"/>
                    <a:gd name="connsiteX100" fmla="*/ 3556 w 10000"/>
                    <a:gd name="connsiteY100" fmla="*/ 526 h 9794"/>
                    <a:gd name="connsiteX101" fmla="*/ 3444 w 10000"/>
                    <a:gd name="connsiteY101" fmla="*/ 785 h 9794"/>
                    <a:gd name="connsiteX102" fmla="*/ 3278 w 10000"/>
                    <a:gd name="connsiteY102" fmla="*/ 1185 h 9794"/>
                    <a:gd name="connsiteX103" fmla="*/ 3000 w 10000"/>
                    <a:gd name="connsiteY103" fmla="*/ 1636 h 9794"/>
                    <a:gd name="connsiteX104" fmla="*/ 2667 w 10000"/>
                    <a:gd name="connsiteY104" fmla="*/ 1969 h 9794"/>
                    <a:gd name="connsiteX105" fmla="*/ 2667 w 10000"/>
                    <a:gd name="connsiteY105" fmla="*/ 1969 h 9794"/>
                    <a:gd name="connsiteX106" fmla="*/ 2333 w 10000"/>
                    <a:gd name="connsiteY106" fmla="*/ 2239 h 9794"/>
                    <a:gd name="connsiteX107" fmla="*/ 1833 w 10000"/>
                    <a:gd name="connsiteY107" fmla="*/ 2503 h 9794"/>
                    <a:gd name="connsiteX108" fmla="*/ 1389 w 10000"/>
                    <a:gd name="connsiteY108" fmla="*/ 2627 h 9794"/>
                    <a:gd name="connsiteX109" fmla="*/ 889 w 10000"/>
                    <a:gd name="connsiteY109" fmla="*/ 2694 h 9794"/>
                    <a:gd name="connsiteX110" fmla="*/ 889 w 10000"/>
                    <a:gd name="connsiteY110" fmla="*/ 2694 h 9794"/>
                    <a:gd name="connsiteX111" fmla="*/ 500 w 10000"/>
                    <a:gd name="connsiteY111" fmla="*/ 2774 h 9794"/>
                    <a:gd name="connsiteX112" fmla="*/ 222 w 10000"/>
                    <a:gd name="connsiteY112" fmla="*/ 2823 h 9794"/>
                    <a:gd name="connsiteX113" fmla="*/ 0 w 10000"/>
                    <a:gd name="connsiteY113" fmla="*/ 2887 h 9794"/>
                    <a:gd name="connsiteX114" fmla="*/ 0 w 10000"/>
                    <a:gd name="connsiteY114" fmla="*/ 2887 h 9794"/>
                    <a:gd name="connsiteX115" fmla="*/ 278 w 10000"/>
                    <a:gd name="connsiteY115" fmla="*/ 3948 h 9794"/>
                    <a:gd name="connsiteX116" fmla="*/ 500 w 10000"/>
                    <a:gd name="connsiteY116" fmla="*/ 4722 h 9794"/>
                    <a:gd name="connsiteX117" fmla="*/ 722 w 10000"/>
                    <a:gd name="connsiteY117" fmla="*/ 5388 h 9794"/>
                    <a:gd name="connsiteX118" fmla="*/ 722 w 10000"/>
                    <a:gd name="connsiteY118" fmla="*/ 5388 h 9794"/>
                    <a:gd name="connsiteX119" fmla="*/ 889 w 10000"/>
                    <a:gd name="connsiteY119" fmla="*/ 5781 h 9794"/>
                    <a:gd name="connsiteX120" fmla="*/ 944 w 10000"/>
                    <a:gd name="connsiteY120" fmla="*/ 6119 h 9794"/>
                    <a:gd name="connsiteX121" fmla="*/ 1111 w 10000"/>
                    <a:gd name="connsiteY121" fmla="*/ 6450 h 9794"/>
                    <a:gd name="connsiteX122" fmla="*/ 1333 w 10000"/>
                    <a:gd name="connsiteY122" fmla="*/ 6960 h 9794"/>
                    <a:gd name="connsiteX123" fmla="*/ 1333 w 10000"/>
                    <a:gd name="connsiteY123" fmla="*/ 6960 h 9794"/>
                    <a:gd name="connsiteX124" fmla="*/ 1444 w 10000"/>
                    <a:gd name="connsiteY124" fmla="*/ 7227 h 9794"/>
                    <a:gd name="connsiteX125" fmla="*/ 1500 w 10000"/>
                    <a:gd name="connsiteY125" fmla="*/ 7425 h 9794"/>
                    <a:gd name="connsiteX126" fmla="*/ 1500 w 10000"/>
                    <a:gd name="connsiteY126" fmla="*/ 7611 h 9794"/>
                    <a:gd name="connsiteX127" fmla="*/ 1556 w 10000"/>
                    <a:gd name="connsiteY127" fmla="*/ 7694 h 9794"/>
                    <a:gd name="connsiteX128" fmla="*/ 1722 w 10000"/>
                    <a:gd name="connsiteY128" fmla="*/ 7753 h 9794"/>
                    <a:gd name="connsiteX129" fmla="*/ 1944 w 10000"/>
                    <a:gd name="connsiteY129" fmla="*/ 7816 h 9794"/>
                    <a:gd name="connsiteX130" fmla="*/ 2944 w 10000"/>
                    <a:gd name="connsiteY130" fmla="*/ 7888 h 9794"/>
                    <a:gd name="connsiteX131" fmla="*/ 2944 w 10000"/>
                    <a:gd name="connsiteY131" fmla="*/ 7888 h 9794"/>
                    <a:gd name="connsiteX132" fmla="*/ 4167 w 10000"/>
                    <a:gd name="connsiteY132" fmla="*/ 8021 h 9794"/>
                    <a:gd name="connsiteX133" fmla="*/ 4889 w 10000"/>
                    <a:gd name="connsiteY133" fmla="*/ 8207 h 9794"/>
                    <a:gd name="connsiteX134" fmla="*/ 5278 w 10000"/>
                    <a:gd name="connsiteY134" fmla="*/ 8417 h 9794"/>
                    <a:gd name="connsiteX135" fmla="*/ 5444 w 10000"/>
                    <a:gd name="connsiteY135" fmla="*/ 8472 h 9794"/>
                    <a:gd name="connsiteX136" fmla="*/ 5444 w 10000"/>
                    <a:gd name="connsiteY136" fmla="*/ 8472 h 9794"/>
                    <a:gd name="connsiteX137" fmla="*/ 5722 w 10000"/>
                    <a:gd name="connsiteY137" fmla="*/ 8619 h 9794"/>
                    <a:gd name="connsiteX138" fmla="*/ 5833 w 10000"/>
                    <a:gd name="connsiteY138" fmla="*/ 8685 h 9794"/>
                    <a:gd name="connsiteX139" fmla="*/ 5833 w 10000"/>
                    <a:gd name="connsiteY139" fmla="*/ 8685 h 9794"/>
                    <a:gd name="connsiteX140" fmla="*/ 5833 w 10000"/>
                    <a:gd name="connsiteY140" fmla="*/ 8619 h 9794"/>
                    <a:gd name="connsiteX141" fmla="*/ 5889 w 10000"/>
                    <a:gd name="connsiteY141" fmla="*/ 8544 h 9794"/>
                    <a:gd name="connsiteX142" fmla="*/ 6000 w 10000"/>
                    <a:gd name="connsiteY142" fmla="*/ 8472 h 9794"/>
                    <a:gd name="connsiteX143" fmla="*/ 6167 w 10000"/>
                    <a:gd name="connsiteY143" fmla="*/ 8417 h 9794"/>
                    <a:gd name="connsiteX144" fmla="*/ 6444 w 10000"/>
                    <a:gd name="connsiteY144" fmla="*/ 8417 h 9794"/>
                    <a:gd name="connsiteX145" fmla="*/ 6833 w 10000"/>
                    <a:gd name="connsiteY145" fmla="*/ 8472 h 9794"/>
                    <a:gd name="connsiteX146" fmla="*/ 7278 w 10000"/>
                    <a:gd name="connsiteY146" fmla="*/ 8685 h 9794"/>
                    <a:gd name="connsiteX147" fmla="*/ 7278 w 10000"/>
                    <a:gd name="connsiteY147" fmla="*/ 8685 h 9794"/>
                    <a:gd name="connsiteX148" fmla="*/ 8722 w 10000"/>
                    <a:gd name="connsiteY148" fmla="*/ 9259 h 9794"/>
                    <a:gd name="connsiteX149" fmla="*/ 10000 w 10000"/>
                    <a:gd name="connsiteY149" fmla="*/ 9794 h 9794"/>
                    <a:gd name="connsiteX150" fmla="*/ 10000 w 10000"/>
                    <a:gd name="connsiteY150" fmla="*/ 5314 h 9794"/>
                    <a:gd name="connsiteX0" fmla="*/ 10000 w 10000"/>
                    <a:gd name="connsiteY0" fmla="*/ 5296 h 9870"/>
                    <a:gd name="connsiteX1" fmla="*/ 10000 w 10000"/>
                    <a:gd name="connsiteY1" fmla="*/ 5296 h 9870"/>
                    <a:gd name="connsiteX2" fmla="*/ 9222 w 10000"/>
                    <a:gd name="connsiteY2" fmla="*/ 5371 h 9870"/>
                    <a:gd name="connsiteX3" fmla="*/ 8944 w 10000"/>
                    <a:gd name="connsiteY3" fmla="*/ 5371 h 9870"/>
                    <a:gd name="connsiteX4" fmla="*/ 8833 w 10000"/>
                    <a:gd name="connsiteY4" fmla="*/ 5296 h 9870"/>
                    <a:gd name="connsiteX5" fmla="*/ 8778 w 10000"/>
                    <a:gd name="connsiteY5" fmla="*/ 5232 h 9870"/>
                    <a:gd name="connsiteX6" fmla="*/ 8778 w 10000"/>
                    <a:gd name="connsiteY6" fmla="*/ 5232 h 9870"/>
                    <a:gd name="connsiteX7" fmla="*/ 8444 w 10000"/>
                    <a:gd name="connsiteY7" fmla="*/ 4428 h 9870"/>
                    <a:gd name="connsiteX8" fmla="*/ 8167 w 10000"/>
                    <a:gd name="connsiteY8" fmla="*/ 3688 h 9870"/>
                    <a:gd name="connsiteX9" fmla="*/ 8167 w 10000"/>
                    <a:gd name="connsiteY9" fmla="*/ 3688 h 9870"/>
                    <a:gd name="connsiteX10" fmla="*/ 8056 w 10000"/>
                    <a:gd name="connsiteY10" fmla="*/ 3561 h 9870"/>
                    <a:gd name="connsiteX11" fmla="*/ 7889 w 10000"/>
                    <a:gd name="connsiteY11" fmla="*/ 3431 h 9870"/>
                    <a:gd name="connsiteX12" fmla="*/ 7444 w 10000"/>
                    <a:gd name="connsiteY12" fmla="*/ 3353 h 9870"/>
                    <a:gd name="connsiteX13" fmla="*/ 6889 w 10000"/>
                    <a:gd name="connsiteY13" fmla="*/ 3289 h 9870"/>
                    <a:gd name="connsiteX14" fmla="*/ 6389 w 10000"/>
                    <a:gd name="connsiteY14" fmla="*/ 3289 h 9870"/>
                    <a:gd name="connsiteX15" fmla="*/ 6389 w 10000"/>
                    <a:gd name="connsiteY15" fmla="*/ 3289 h 9870"/>
                    <a:gd name="connsiteX16" fmla="*/ 6167 w 10000"/>
                    <a:gd name="connsiteY16" fmla="*/ 3216 h 9870"/>
                    <a:gd name="connsiteX17" fmla="*/ 6056 w 10000"/>
                    <a:gd name="connsiteY17" fmla="*/ 3093 h 9870"/>
                    <a:gd name="connsiteX18" fmla="*/ 6000 w 10000"/>
                    <a:gd name="connsiteY18" fmla="*/ 2949 h 9870"/>
                    <a:gd name="connsiteX19" fmla="*/ 6000 w 10000"/>
                    <a:gd name="connsiteY19" fmla="*/ 2702 h 9870"/>
                    <a:gd name="connsiteX20" fmla="*/ 6056 w 10000"/>
                    <a:gd name="connsiteY20" fmla="*/ 2156 h 9870"/>
                    <a:gd name="connsiteX21" fmla="*/ 6111 w 10000"/>
                    <a:gd name="connsiteY21" fmla="*/ 1880 h 9870"/>
                    <a:gd name="connsiteX22" fmla="*/ 6056 w 10000"/>
                    <a:gd name="connsiteY22" fmla="*/ 1540 h 9870"/>
                    <a:gd name="connsiteX23" fmla="*/ 6056 w 10000"/>
                    <a:gd name="connsiteY23" fmla="*/ 1540 h 9870"/>
                    <a:gd name="connsiteX24" fmla="*/ 6000 w 10000"/>
                    <a:gd name="connsiteY24" fmla="*/ 1340 h 9870"/>
                    <a:gd name="connsiteX25" fmla="*/ 5944 w 10000"/>
                    <a:gd name="connsiteY25" fmla="*/ 1203 h 9870"/>
                    <a:gd name="connsiteX26" fmla="*/ 5833 w 10000"/>
                    <a:gd name="connsiteY26" fmla="*/ 1203 h 9870"/>
                    <a:gd name="connsiteX27" fmla="*/ 5667 w 10000"/>
                    <a:gd name="connsiteY27" fmla="*/ 1264 h 9870"/>
                    <a:gd name="connsiteX28" fmla="*/ 5333 w 10000"/>
                    <a:gd name="connsiteY28" fmla="*/ 1475 h 9870"/>
                    <a:gd name="connsiteX29" fmla="*/ 4889 w 10000"/>
                    <a:gd name="connsiteY29" fmla="*/ 1813 h 9870"/>
                    <a:gd name="connsiteX30" fmla="*/ 4889 w 10000"/>
                    <a:gd name="connsiteY30" fmla="*/ 1813 h 9870"/>
                    <a:gd name="connsiteX31" fmla="*/ 4611 w 10000"/>
                    <a:gd name="connsiteY31" fmla="*/ 1880 h 9870"/>
                    <a:gd name="connsiteX32" fmla="*/ 4500 w 10000"/>
                    <a:gd name="connsiteY32" fmla="*/ 1880 h 9870"/>
                    <a:gd name="connsiteX33" fmla="*/ 4444 w 10000"/>
                    <a:gd name="connsiteY33" fmla="*/ 1813 h 9870"/>
                    <a:gd name="connsiteX34" fmla="*/ 4389 w 10000"/>
                    <a:gd name="connsiteY34" fmla="*/ 1540 h 9870"/>
                    <a:gd name="connsiteX35" fmla="*/ 4222 w 10000"/>
                    <a:gd name="connsiteY35" fmla="*/ 1203 h 9870"/>
                    <a:gd name="connsiteX36" fmla="*/ 4222 w 10000"/>
                    <a:gd name="connsiteY36" fmla="*/ 1203 h 9870"/>
                    <a:gd name="connsiteX37" fmla="*/ 4111 w 10000"/>
                    <a:gd name="connsiteY37" fmla="*/ 1000 h 9870"/>
                    <a:gd name="connsiteX38" fmla="*/ 4111 w 10000"/>
                    <a:gd name="connsiteY38" fmla="*/ 806 h 9870"/>
                    <a:gd name="connsiteX39" fmla="*/ 4111 w 10000"/>
                    <a:gd name="connsiteY39" fmla="*/ 672 h 9870"/>
                    <a:gd name="connsiteX40" fmla="*/ 4167 w 10000"/>
                    <a:gd name="connsiteY40" fmla="*/ 532 h 9870"/>
                    <a:gd name="connsiteX41" fmla="*/ 4278 w 10000"/>
                    <a:gd name="connsiteY41" fmla="*/ 266 h 9870"/>
                    <a:gd name="connsiteX42" fmla="*/ 4389 w 10000"/>
                    <a:gd name="connsiteY42" fmla="*/ 197 h 9870"/>
                    <a:gd name="connsiteX43" fmla="*/ 4389 w 10000"/>
                    <a:gd name="connsiteY43" fmla="*/ 197 h 9870"/>
                    <a:gd name="connsiteX44" fmla="*/ 4389 w 10000"/>
                    <a:gd name="connsiteY44" fmla="*/ 128 h 9870"/>
                    <a:gd name="connsiteX45" fmla="*/ 4444 w 10000"/>
                    <a:gd name="connsiteY45" fmla="*/ 77 h 9870"/>
                    <a:gd name="connsiteX46" fmla="*/ 4667 w 10000"/>
                    <a:gd name="connsiteY46" fmla="*/ 0 h 9870"/>
                    <a:gd name="connsiteX47" fmla="*/ 10000 w 10000"/>
                    <a:gd name="connsiteY47" fmla="*/ 5371 h 9870"/>
                    <a:gd name="connsiteX48" fmla="*/ 10000 w 10000"/>
                    <a:gd name="connsiteY48" fmla="*/ 5371 h 9870"/>
                    <a:gd name="connsiteX49" fmla="*/ 9722 w 10000"/>
                    <a:gd name="connsiteY49" fmla="*/ 5296 h 9870"/>
                    <a:gd name="connsiteX50" fmla="*/ 9389 w 10000"/>
                    <a:gd name="connsiteY50" fmla="*/ 5371 h 9870"/>
                    <a:gd name="connsiteX51" fmla="*/ 9389 w 10000"/>
                    <a:gd name="connsiteY51" fmla="*/ 5371 h 9870"/>
                    <a:gd name="connsiteX52" fmla="*/ 9278 w 10000"/>
                    <a:gd name="connsiteY52" fmla="*/ 5452 h 9870"/>
                    <a:gd name="connsiteX53" fmla="*/ 9056 w 10000"/>
                    <a:gd name="connsiteY53" fmla="*/ 5371 h 9870"/>
                    <a:gd name="connsiteX54" fmla="*/ 8889 w 10000"/>
                    <a:gd name="connsiteY54" fmla="*/ 5296 h 9870"/>
                    <a:gd name="connsiteX55" fmla="*/ 8722 w 10000"/>
                    <a:gd name="connsiteY55" fmla="*/ 5169 h 9870"/>
                    <a:gd name="connsiteX56" fmla="*/ 8611 w 10000"/>
                    <a:gd name="connsiteY56" fmla="*/ 4960 h 9870"/>
                    <a:gd name="connsiteX57" fmla="*/ 8444 w 10000"/>
                    <a:gd name="connsiteY57" fmla="*/ 4624 h 9870"/>
                    <a:gd name="connsiteX58" fmla="*/ 8444 w 10000"/>
                    <a:gd name="connsiteY58" fmla="*/ 4624 h 9870"/>
                    <a:gd name="connsiteX59" fmla="*/ 8222 w 10000"/>
                    <a:gd name="connsiteY59" fmla="*/ 4036 h 9870"/>
                    <a:gd name="connsiteX60" fmla="*/ 8111 w 10000"/>
                    <a:gd name="connsiteY60" fmla="*/ 3766 h 9870"/>
                    <a:gd name="connsiteX61" fmla="*/ 7944 w 10000"/>
                    <a:gd name="connsiteY61" fmla="*/ 3561 h 9870"/>
                    <a:gd name="connsiteX62" fmla="*/ 7778 w 10000"/>
                    <a:gd name="connsiteY62" fmla="*/ 3431 h 9870"/>
                    <a:gd name="connsiteX63" fmla="*/ 7556 w 10000"/>
                    <a:gd name="connsiteY63" fmla="*/ 3353 h 9870"/>
                    <a:gd name="connsiteX64" fmla="*/ 7333 w 10000"/>
                    <a:gd name="connsiteY64" fmla="*/ 3289 h 9870"/>
                    <a:gd name="connsiteX65" fmla="*/ 7000 w 10000"/>
                    <a:gd name="connsiteY65" fmla="*/ 3216 h 9870"/>
                    <a:gd name="connsiteX66" fmla="*/ 7000 w 10000"/>
                    <a:gd name="connsiteY66" fmla="*/ 3216 h 9870"/>
                    <a:gd name="connsiteX67" fmla="*/ 6556 w 10000"/>
                    <a:gd name="connsiteY67" fmla="*/ 3289 h 9870"/>
                    <a:gd name="connsiteX68" fmla="*/ 6222 w 10000"/>
                    <a:gd name="connsiteY68" fmla="*/ 3289 h 9870"/>
                    <a:gd name="connsiteX69" fmla="*/ 6111 w 10000"/>
                    <a:gd name="connsiteY69" fmla="*/ 3216 h 9870"/>
                    <a:gd name="connsiteX70" fmla="*/ 6056 w 10000"/>
                    <a:gd name="connsiteY70" fmla="*/ 3154 h 9870"/>
                    <a:gd name="connsiteX71" fmla="*/ 6056 w 10000"/>
                    <a:gd name="connsiteY71" fmla="*/ 3154 h 9870"/>
                    <a:gd name="connsiteX72" fmla="*/ 6056 w 10000"/>
                    <a:gd name="connsiteY72" fmla="*/ 1953 h 9870"/>
                    <a:gd name="connsiteX73" fmla="*/ 6056 w 10000"/>
                    <a:gd name="connsiteY73" fmla="*/ 1953 h 9870"/>
                    <a:gd name="connsiteX74" fmla="*/ 6056 w 10000"/>
                    <a:gd name="connsiteY74" fmla="*/ 1672 h 9870"/>
                    <a:gd name="connsiteX75" fmla="*/ 5944 w 10000"/>
                    <a:gd name="connsiteY75" fmla="*/ 1340 h 9870"/>
                    <a:gd name="connsiteX76" fmla="*/ 5889 w 10000"/>
                    <a:gd name="connsiteY76" fmla="*/ 1264 h 9870"/>
                    <a:gd name="connsiteX77" fmla="*/ 5778 w 10000"/>
                    <a:gd name="connsiteY77" fmla="*/ 1203 h 9870"/>
                    <a:gd name="connsiteX78" fmla="*/ 5667 w 10000"/>
                    <a:gd name="connsiteY78" fmla="*/ 1203 h 9870"/>
                    <a:gd name="connsiteX79" fmla="*/ 5500 w 10000"/>
                    <a:gd name="connsiteY79" fmla="*/ 1264 h 9870"/>
                    <a:gd name="connsiteX80" fmla="*/ 5500 w 10000"/>
                    <a:gd name="connsiteY80" fmla="*/ 1264 h 9870"/>
                    <a:gd name="connsiteX81" fmla="*/ 4889 w 10000"/>
                    <a:gd name="connsiteY81" fmla="*/ 1744 h 9870"/>
                    <a:gd name="connsiteX82" fmla="*/ 4611 w 10000"/>
                    <a:gd name="connsiteY82" fmla="*/ 1880 h 9870"/>
                    <a:gd name="connsiteX83" fmla="*/ 4556 w 10000"/>
                    <a:gd name="connsiteY83" fmla="*/ 1953 h 9870"/>
                    <a:gd name="connsiteX84" fmla="*/ 4500 w 10000"/>
                    <a:gd name="connsiteY84" fmla="*/ 1880 h 9870"/>
                    <a:gd name="connsiteX85" fmla="*/ 4500 w 10000"/>
                    <a:gd name="connsiteY85" fmla="*/ 1880 h 9870"/>
                    <a:gd name="connsiteX86" fmla="*/ 4222 w 10000"/>
                    <a:gd name="connsiteY86" fmla="*/ 1203 h 9870"/>
                    <a:gd name="connsiteX87" fmla="*/ 4222 w 10000"/>
                    <a:gd name="connsiteY87" fmla="*/ 1203 h 9870"/>
                    <a:gd name="connsiteX88" fmla="*/ 4111 w 10000"/>
                    <a:gd name="connsiteY88" fmla="*/ 870 h 9870"/>
                    <a:gd name="connsiteX89" fmla="*/ 4111 w 10000"/>
                    <a:gd name="connsiteY89" fmla="*/ 672 h 9870"/>
                    <a:gd name="connsiteX90" fmla="*/ 4111 w 10000"/>
                    <a:gd name="connsiteY90" fmla="*/ 465 h 9870"/>
                    <a:gd name="connsiteX91" fmla="*/ 4111 w 10000"/>
                    <a:gd name="connsiteY91" fmla="*/ 465 h 9870"/>
                    <a:gd name="connsiteX92" fmla="*/ 4278 w 10000"/>
                    <a:gd name="connsiteY92" fmla="*/ 266 h 9870"/>
                    <a:gd name="connsiteX93" fmla="*/ 4389 w 10000"/>
                    <a:gd name="connsiteY93" fmla="*/ 197 h 9870"/>
                    <a:gd name="connsiteX94" fmla="*/ 4389 w 10000"/>
                    <a:gd name="connsiteY94" fmla="*/ 197 h 9870"/>
                    <a:gd name="connsiteX95" fmla="*/ 4000 w 10000"/>
                    <a:gd name="connsiteY95" fmla="*/ 197 h 9870"/>
                    <a:gd name="connsiteX96" fmla="*/ 3722 w 10000"/>
                    <a:gd name="connsiteY96" fmla="*/ 266 h 9870"/>
                    <a:gd name="connsiteX97" fmla="*/ 3611 w 10000"/>
                    <a:gd name="connsiteY97" fmla="*/ 339 h 9870"/>
                    <a:gd name="connsiteX98" fmla="*/ 3556 w 10000"/>
                    <a:gd name="connsiteY98" fmla="*/ 407 h 9870"/>
                    <a:gd name="connsiteX99" fmla="*/ 3556 w 10000"/>
                    <a:gd name="connsiteY99" fmla="*/ 407 h 9870"/>
                    <a:gd name="connsiteX100" fmla="*/ 3444 w 10000"/>
                    <a:gd name="connsiteY100" fmla="*/ 672 h 9870"/>
                    <a:gd name="connsiteX101" fmla="*/ 3278 w 10000"/>
                    <a:gd name="connsiteY101" fmla="*/ 1080 h 9870"/>
                    <a:gd name="connsiteX102" fmla="*/ 3000 w 10000"/>
                    <a:gd name="connsiteY102" fmla="*/ 1540 h 9870"/>
                    <a:gd name="connsiteX103" fmla="*/ 2667 w 10000"/>
                    <a:gd name="connsiteY103" fmla="*/ 1880 h 9870"/>
                    <a:gd name="connsiteX104" fmla="*/ 2667 w 10000"/>
                    <a:gd name="connsiteY104" fmla="*/ 1880 h 9870"/>
                    <a:gd name="connsiteX105" fmla="*/ 2333 w 10000"/>
                    <a:gd name="connsiteY105" fmla="*/ 2156 h 9870"/>
                    <a:gd name="connsiteX106" fmla="*/ 1833 w 10000"/>
                    <a:gd name="connsiteY106" fmla="*/ 2426 h 9870"/>
                    <a:gd name="connsiteX107" fmla="*/ 1389 w 10000"/>
                    <a:gd name="connsiteY107" fmla="*/ 2552 h 9870"/>
                    <a:gd name="connsiteX108" fmla="*/ 889 w 10000"/>
                    <a:gd name="connsiteY108" fmla="*/ 2621 h 9870"/>
                    <a:gd name="connsiteX109" fmla="*/ 889 w 10000"/>
                    <a:gd name="connsiteY109" fmla="*/ 2621 h 9870"/>
                    <a:gd name="connsiteX110" fmla="*/ 500 w 10000"/>
                    <a:gd name="connsiteY110" fmla="*/ 2702 h 9870"/>
                    <a:gd name="connsiteX111" fmla="*/ 222 w 10000"/>
                    <a:gd name="connsiteY111" fmla="*/ 2752 h 9870"/>
                    <a:gd name="connsiteX112" fmla="*/ 0 w 10000"/>
                    <a:gd name="connsiteY112" fmla="*/ 2818 h 9870"/>
                    <a:gd name="connsiteX113" fmla="*/ 0 w 10000"/>
                    <a:gd name="connsiteY113" fmla="*/ 2818 h 9870"/>
                    <a:gd name="connsiteX114" fmla="*/ 278 w 10000"/>
                    <a:gd name="connsiteY114" fmla="*/ 3901 h 9870"/>
                    <a:gd name="connsiteX115" fmla="*/ 500 w 10000"/>
                    <a:gd name="connsiteY115" fmla="*/ 4691 h 9870"/>
                    <a:gd name="connsiteX116" fmla="*/ 722 w 10000"/>
                    <a:gd name="connsiteY116" fmla="*/ 5371 h 9870"/>
                    <a:gd name="connsiteX117" fmla="*/ 722 w 10000"/>
                    <a:gd name="connsiteY117" fmla="*/ 5371 h 9870"/>
                    <a:gd name="connsiteX118" fmla="*/ 889 w 10000"/>
                    <a:gd name="connsiteY118" fmla="*/ 5773 h 9870"/>
                    <a:gd name="connsiteX119" fmla="*/ 944 w 10000"/>
                    <a:gd name="connsiteY119" fmla="*/ 6118 h 9870"/>
                    <a:gd name="connsiteX120" fmla="*/ 1111 w 10000"/>
                    <a:gd name="connsiteY120" fmla="*/ 6456 h 9870"/>
                    <a:gd name="connsiteX121" fmla="*/ 1333 w 10000"/>
                    <a:gd name="connsiteY121" fmla="*/ 6976 h 9870"/>
                    <a:gd name="connsiteX122" fmla="*/ 1333 w 10000"/>
                    <a:gd name="connsiteY122" fmla="*/ 6976 h 9870"/>
                    <a:gd name="connsiteX123" fmla="*/ 1444 w 10000"/>
                    <a:gd name="connsiteY123" fmla="*/ 7249 h 9870"/>
                    <a:gd name="connsiteX124" fmla="*/ 1500 w 10000"/>
                    <a:gd name="connsiteY124" fmla="*/ 7451 h 9870"/>
                    <a:gd name="connsiteX125" fmla="*/ 1500 w 10000"/>
                    <a:gd name="connsiteY125" fmla="*/ 7641 h 9870"/>
                    <a:gd name="connsiteX126" fmla="*/ 1556 w 10000"/>
                    <a:gd name="connsiteY126" fmla="*/ 7726 h 9870"/>
                    <a:gd name="connsiteX127" fmla="*/ 1722 w 10000"/>
                    <a:gd name="connsiteY127" fmla="*/ 7786 h 9870"/>
                    <a:gd name="connsiteX128" fmla="*/ 1944 w 10000"/>
                    <a:gd name="connsiteY128" fmla="*/ 7850 h 9870"/>
                    <a:gd name="connsiteX129" fmla="*/ 2944 w 10000"/>
                    <a:gd name="connsiteY129" fmla="*/ 7924 h 9870"/>
                    <a:gd name="connsiteX130" fmla="*/ 2944 w 10000"/>
                    <a:gd name="connsiteY130" fmla="*/ 7924 h 9870"/>
                    <a:gd name="connsiteX131" fmla="*/ 4167 w 10000"/>
                    <a:gd name="connsiteY131" fmla="*/ 8060 h 9870"/>
                    <a:gd name="connsiteX132" fmla="*/ 4889 w 10000"/>
                    <a:gd name="connsiteY132" fmla="*/ 8250 h 9870"/>
                    <a:gd name="connsiteX133" fmla="*/ 5278 w 10000"/>
                    <a:gd name="connsiteY133" fmla="*/ 8464 h 9870"/>
                    <a:gd name="connsiteX134" fmla="*/ 5444 w 10000"/>
                    <a:gd name="connsiteY134" fmla="*/ 8520 h 9870"/>
                    <a:gd name="connsiteX135" fmla="*/ 5444 w 10000"/>
                    <a:gd name="connsiteY135" fmla="*/ 8520 h 9870"/>
                    <a:gd name="connsiteX136" fmla="*/ 5722 w 10000"/>
                    <a:gd name="connsiteY136" fmla="*/ 8670 h 9870"/>
                    <a:gd name="connsiteX137" fmla="*/ 5833 w 10000"/>
                    <a:gd name="connsiteY137" fmla="*/ 8738 h 9870"/>
                    <a:gd name="connsiteX138" fmla="*/ 5833 w 10000"/>
                    <a:gd name="connsiteY138" fmla="*/ 8738 h 9870"/>
                    <a:gd name="connsiteX139" fmla="*/ 5833 w 10000"/>
                    <a:gd name="connsiteY139" fmla="*/ 8670 h 9870"/>
                    <a:gd name="connsiteX140" fmla="*/ 5889 w 10000"/>
                    <a:gd name="connsiteY140" fmla="*/ 8594 h 9870"/>
                    <a:gd name="connsiteX141" fmla="*/ 6000 w 10000"/>
                    <a:gd name="connsiteY141" fmla="*/ 8520 h 9870"/>
                    <a:gd name="connsiteX142" fmla="*/ 6167 w 10000"/>
                    <a:gd name="connsiteY142" fmla="*/ 8464 h 9870"/>
                    <a:gd name="connsiteX143" fmla="*/ 6444 w 10000"/>
                    <a:gd name="connsiteY143" fmla="*/ 8464 h 9870"/>
                    <a:gd name="connsiteX144" fmla="*/ 6833 w 10000"/>
                    <a:gd name="connsiteY144" fmla="*/ 8520 h 9870"/>
                    <a:gd name="connsiteX145" fmla="*/ 7278 w 10000"/>
                    <a:gd name="connsiteY145" fmla="*/ 8738 h 9870"/>
                    <a:gd name="connsiteX146" fmla="*/ 7278 w 10000"/>
                    <a:gd name="connsiteY146" fmla="*/ 8738 h 9870"/>
                    <a:gd name="connsiteX147" fmla="*/ 8722 w 10000"/>
                    <a:gd name="connsiteY147" fmla="*/ 9324 h 9870"/>
                    <a:gd name="connsiteX148" fmla="*/ 10000 w 10000"/>
                    <a:gd name="connsiteY148" fmla="*/ 9870 h 9870"/>
                    <a:gd name="connsiteX149" fmla="*/ 10000 w 10000"/>
                    <a:gd name="connsiteY149" fmla="*/ 5296 h 9870"/>
                    <a:gd name="connsiteX0" fmla="*/ 10000 w 10000"/>
                    <a:gd name="connsiteY0" fmla="*/ 5288 h 9922"/>
                    <a:gd name="connsiteX1" fmla="*/ 10000 w 10000"/>
                    <a:gd name="connsiteY1" fmla="*/ 5288 h 9922"/>
                    <a:gd name="connsiteX2" fmla="*/ 9222 w 10000"/>
                    <a:gd name="connsiteY2" fmla="*/ 5364 h 9922"/>
                    <a:gd name="connsiteX3" fmla="*/ 8944 w 10000"/>
                    <a:gd name="connsiteY3" fmla="*/ 5364 h 9922"/>
                    <a:gd name="connsiteX4" fmla="*/ 8833 w 10000"/>
                    <a:gd name="connsiteY4" fmla="*/ 5288 h 9922"/>
                    <a:gd name="connsiteX5" fmla="*/ 8778 w 10000"/>
                    <a:gd name="connsiteY5" fmla="*/ 5223 h 9922"/>
                    <a:gd name="connsiteX6" fmla="*/ 8778 w 10000"/>
                    <a:gd name="connsiteY6" fmla="*/ 5223 h 9922"/>
                    <a:gd name="connsiteX7" fmla="*/ 8444 w 10000"/>
                    <a:gd name="connsiteY7" fmla="*/ 4408 h 9922"/>
                    <a:gd name="connsiteX8" fmla="*/ 8167 w 10000"/>
                    <a:gd name="connsiteY8" fmla="*/ 3659 h 9922"/>
                    <a:gd name="connsiteX9" fmla="*/ 8167 w 10000"/>
                    <a:gd name="connsiteY9" fmla="*/ 3659 h 9922"/>
                    <a:gd name="connsiteX10" fmla="*/ 8056 w 10000"/>
                    <a:gd name="connsiteY10" fmla="*/ 3530 h 9922"/>
                    <a:gd name="connsiteX11" fmla="*/ 7889 w 10000"/>
                    <a:gd name="connsiteY11" fmla="*/ 3398 h 9922"/>
                    <a:gd name="connsiteX12" fmla="*/ 7444 w 10000"/>
                    <a:gd name="connsiteY12" fmla="*/ 3319 h 9922"/>
                    <a:gd name="connsiteX13" fmla="*/ 6889 w 10000"/>
                    <a:gd name="connsiteY13" fmla="*/ 3254 h 9922"/>
                    <a:gd name="connsiteX14" fmla="*/ 6389 w 10000"/>
                    <a:gd name="connsiteY14" fmla="*/ 3254 h 9922"/>
                    <a:gd name="connsiteX15" fmla="*/ 6389 w 10000"/>
                    <a:gd name="connsiteY15" fmla="*/ 3254 h 9922"/>
                    <a:gd name="connsiteX16" fmla="*/ 6167 w 10000"/>
                    <a:gd name="connsiteY16" fmla="*/ 3180 h 9922"/>
                    <a:gd name="connsiteX17" fmla="*/ 6056 w 10000"/>
                    <a:gd name="connsiteY17" fmla="*/ 3056 h 9922"/>
                    <a:gd name="connsiteX18" fmla="*/ 6000 w 10000"/>
                    <a:gd name="connsiteY18" fmla="*/ 2910 h 9922"/>
                    <a:gd name="connsiteX19" fmla="*/ 6000 w 10000"/>
                    <a:gd name="connsiteY19" fmla="*/ 2660 h 9922"/>
                    <a:gd name="connsiteX20" fmla="*/ 6056 w 10000"/>
                    <a:gd name="connsiteY20" fmla="*/ 2106 h 9922"/>
                    <a:gd name="connsiteX21" fmla="*/ 6111 w 10000"/>
                    <a:gd name="connsiteY21" fmla="*/ 1827 h 9922"/>
                    <a:gd name="connsiteX22" fmla="*/ 6056 w 10000"/>
                    <a:gd name="connsiteY22" fmla="*/ 1482 h 9922"/>
                    <a:gd name="connsiteX23" fmla="*/ 6056 w 10000"/>
                    <a:gd name="connsiteY23" fmla="*/ 1482 h 9922"/>
                    <a:gd name="connsiteX24" fmla="*/ 6000 w 10000"/>
                    <a:gd name="connsiteY24" fmla="*/ 1280 h 9922"/>
                    <a:gd name="connsiteX25" fmla="*/ 5944 w 10000"/>
                    <a:gd name="connsiteY25" fmla="*/ 1141 h 9922"/>
                    <a:gd name="connsiteX26" fmla="*/ 5833 w 10000"/>
                    <a:gd name="connsiteY26" fmla="*/ 1141 h 9922"/>
                    <a:gd name="connsiteX27" fmla="*/ 5667 w 10000"/>
                    <a:gd name="connsiteY27" fmla="*/ 1203 h 9922"/>
                    <a:gd name="connsiteX28" fmla="*/ 5333 w 10000"/>
                    <a:gd name="connsiteY28" fmla="*/ 1416 h 9922"/>
                    <a:gd name="connsiteX29" fmla="*/ 4889 w 10000"/>
                    <a:gd name="connsiteY29" fmla="*/ 1759 h 9922"/>
                    <a:gd name="connsiteX30" fmla="*/ 4889 w 10000"/>
                    <a:gd name="connsiteY30" fmla="*/ 1759 h 9922"/>
                    <a:gd name="connsiteX31" fmla="*/ 4611 w 10000"/>
                    <a:gd name="connsiteY31" fmla="*/ 1827 h 9922"/>
                    <a:gd name="connsiteX32" fmla="*/ 4500 w 10000"/>
                    <a:gd name="connsiteY32" fmla="*/ 1827 h 9922"/>
                    <a:gd name="connsiteX33" fmla="*/ 4444 w 10000"/>
                    <a:gd name="connsiteY33" fmla="*/ 1759 h 9922"/>
                    <a:gd name="connsiteX34" fmla="*/ 4389 w 10000"/>
                    <a:gd name="connsiteY34" fmla="*/ 1482 h 9922"/>
                    <a:gd name="connsiteX35" fmla="*/ 4222 w 10000"/>
                    <a:gd name="connsiteY35" fmla="*/ 1141 h 9922"/>
                    <a:gd name="connsiteX36" fmla="*/ 4222 w 10000"/>
                    <a:gd name="connsiteY36" fmla="*/ 1141 h 9922"/>
                    <a:gd name="connsiteX37" fmla="*/ 4111 w 10000"/>
                    <a:gd name="connsiteY37" fmla="*/ 935 h 9922"/>
                    <a:gd name="connsiteX38" fmla="*/ 4111 w 10000"/>
                    <a:gd name="connsiteY38" fmla="*/ 739 h 9922"/>
                    <a:gd name="connsiteX39" fmla="*/ 4111 w 10000"/>
                    <a:gd name="connsiteY39" fmla="*/ 603 h 9922"/>
                    <a:gd name="connsiteX40" fmla="*/ 4167 w 10000"/>
                    <a:gd name="connsiteY40" fmla="*/ 461 h 9922"/>
                    <a:gd name="connsiteX41" fmla="*/ 4278 w 10000"/>
                    <a:gd name="connsiteY41" fmla="*/ 192 h 9922"/>
                    <a:gd name="connsiteX42" fmla="*/ 4389 w 10000"/>
                    <a:gd name="connsiteY42" fmla="*/ 122 h 9922"/>
                    <a:gd name="connsiteX43" fmla="*/ 4389 w 10000"/>
                    <a:gd name="connsiteY43" fmla="*/ 122 h 9922"/>
                    <a:gd name="connsiteX44" fmla="*/ 4389 w 10000"/>
                    <a:gd name="connsiteY44" fmla="*/ 52 h 9922"/>
                    <a:gd name="connsiteX45" fmla="*/ 4444 w 10000"/>
                    <a:gd name="connsiteY45" fmla="*/ 0 h 9922"/>
                    <a:gd name="connsiteX46" fmla="*/ 10000 w 10000"/>
                    <a:gd name="connsiteY46" fmla="*/ 5364 h 9922"/>
                    <a:gd name="connsiteX47" fmla="*/ 10000 w 10000"/>
                    <a:gd name="connsiteY47" fmla="*/ 5364 h 9922"/>
                    <a:gd name="connsiteX48" fmla="*/ 9722 w 10000"/>
                    <a:gd name="connsiteY48" fmla="*/ 5288 h 9922"/>
                    <a:gd name="connsiteX49" fmla="*/ 9389 w 10000"/>
                    <a:gd name="connsiteY49" fmla="*/ 5364 h 9922"/>
                    <a:gd name="connsiteX50" fmla="*/ 9389 w 10000"/>
                    <a:gd name="connsiteY50" fmla="*/ 5364 h 9922"/>
                    <a:gd name="connsiteX51" fmla="*/ 9278 w 10000"/>
                    <a:gd name="connsiteY51" fmla="*/ 5446 h 9922"/>
                    <a:gd name="connsiteX52" fmla="*/ 9056 w 10000"/>
                    <a:gd name="connsiteY52" fmla="*/ 5364 h 9922"/>
                    <a:gd name="connsiteX53" fmla="*/ 8889 w 10000"/>
                    <a:gd name="connsiteY53" fmla="*/ 5288 h 9922"/>
                    <a:gd name="connsiteX54" fmla="*/ 8722 w 10000"/>
                    <a:gd name="connsiteY54" fmla="*/ 5159 h 9922"/>
                    <a:gd name="connsiteX55" fmla="*/ 8611 w 10000"/>
                    <a:gd name="connsiteY55" fmla="*/ 4947 h 9922"/>
                    <a:gd name="connsiteX56" fmla="*/ 8444 w 10000"/>
                    <a:gd name="connsiteY56" fmla="*/ 4607 h 9922"/>
                    <a:gd name="connsiteX57" fmla="*/ 8444 w 10000"/>
                    <a:gd name="connsiteY57" fmla="*/ 4607 h 9922"/>
                    <a:gd name="connsiteX58" fmla="*/ 8222 w 10000"/>
                    <a:gd name="connsiteY58" fmla="*/ 4011 h 9922"/>
                    <a:gd name="connsiteX59" fmla="*/ 8111 w 10000"/>
                    <a:gd name="connsiteY59" fmla="*/ 3738 h 9922"/>
                    <a:gd name="connsiteX60" fmla="*/ 7944 w 10000"/>
                    <a:gd name="connsiteY60" fmla="*/ 3530 h 9922"/>
                    <a:gd name="connsiteX61" fmla="*/ 7778 w 10000"/>
                    <a:gd name="connsiteY61" fmla="*/ 3398 h 9922"/>
                    <a:gd name="connsiteX62" fmla="*/ 7556 w 10000"/>
                    <a:gd name="connsiteY62" fmla="*/ 3319 h 9922"/>
                    <a:gd name="connsiteX63" fmla="*/ 7333 w 10000"/>
                    <a:gd name="connsiteY63" fmla="*/ 3254 h 9922"/>
                    <a:gd name="connsiteX64" fmla="*/ 7000 w 10000"/>
                    <a:gd name="connsiteY64" fmla="*/ 3180 h 9922"/>
                    <a:gd name="connsiteX65" fmla="*/ 7000 w 10000"/>
                    <a:gd name="connsiteY65" fmla="*/ 3180 h 9922"/>
                    <a:gd name="connsiteX66" fmla="*/ 6556 w 10000"/>
                    <a:gd name="connsiteY66" fmla="*/ 3254 h 9922"/>
                    <a:gd name="connsiteX67" fmla="*/ 6222 w 10000"/>
                    <a:gd name="connsiteY67" fmla="*/ 3254 h 9922"/>
                    <a:gd name="connsiteX68" fmla="*/ 6111 w 10000"/>
                    <a:gd name="connsiteY68" fmla="*/ 3180 h 9922"/>
                    <a:gd name="connsiteX69" fmla="*/ 6056 w 10000"/>
                    <a:gd name="connsiteY69" fmla="*/ 3118 h 9922"/>
                    <a:gd name="connsiteX70" fmla="*/ 6056 w 10000"/>
                    <a:gd name="connsiteY70" fmla="*/ 3118 h 9922"/>
                    <a:gd name="connsiteX71" fmla="*/ 6056 w 10000"/>
                    <a:gd name="connsiteY71" fmla="*/ 1901 h 9922"/>
                    <a:gd name="connsiteX72" fmla="*/ 6056 w 10000"/>
                    <a:gd name="connsiteY72" fmla="*/ 1901 h 9922"/>
                    <a:gd name="connsiteX73" fmla="*/ 6056 w 10000"/>
                    <a:gd name="connsiteY73" fmla="*/ 1616 h 9922"/>
                    <a:gd name="connsiteX74" fmla="*/ 5944 w 10000"/>
                    <a:gd name="connsiteY74" fmla="*/ 1280 h 9922"/>
                    <a:gd name="connsiteX75" fmla="*/ 5889 w 10000"/>
                    <a:gd name="connsiteY75" fmla="*/ 1203 h 9922"/>
                    <a:gd name="connsiteX76" fmla="*/ 5778 w 10000"/>
                    <a:gd name="connsiteY76" fmla="*/ 1141 h 9922"/>
                    <a:gd name="connsiteX77" fmla="*/ 5667 w 10000"/>
                    <a:gd name="connsiteY77" fmla="*/ 1141 h 9922"/>
                    <a:gd name="connsiteX78" fmla="*/ 5500 w 10000"/>
                    <a:gd name="connsiteY78" fmla="*/ 1203 h 9922"/>
                    <a:gd name="connsiteX79" fmla="*/ 5500 w 10000"/>
                    <a:gd name="connsiteY79" fmla="*/ 1203 h 9922"/>
                    <a:gd name="connsiteX80" fmla="*/ 4889 w 10000"/>
                    <a:gd name="connsiteY80" fmla="*/ 1689 h 9922"/>
                    <a:gd name="connsiteX81" fmla="*/ 4611 w 10000"/>
                    <a:gd name="connsiteY81" fmla="*/ 1827 h 9922"/>
                    <a:gd name="connsiteX82" fmla="*/ 4556 w 10000"/>
                    <a:gd name="connsiteY82" fmla="*/ 1901 h 9922"/>
                    <a:gd name="connsiteX83" fmla="*/ 4500 w 10000"/>
                    <a:gd name="connsiteY83" fmla="*/ 1827 h 9922"/>
                    <a:gd name="connsiteX84" fmla="*/ 4500 w 10000"/>
                    <a:gd name="connsiteY84" fmla="*/ 1827 h 9922"/>
                    <a:gd name="connsiteX85" fmla="*/ 4222 w 10000"/>
                    <a:gd name="connsiteY85" fmla="*/ 1141 h 9922"/>
                    <a:gd name="connsiteX86" fmla="*/ 4222 w 10000"/>
                    <a:gd name="connsiteY86" fmla="*/ 1141 h 9922"/>
                    <a:gd name="connsiteX87" fmla="*/ 4111 w 10000"/>
                    <a:gd name="connsiteY87" fmla="*/ 803 h 9922"/>
                    <a:gd name="connsiteX88" fmla="*/ 4111 w 10000"/>
                    <a:gd name="connsiteY88" fmla="*/ 603 h 9922"/>
                    <a:gd name="connsiteX89" fmla="*/ 4111 w 10000"/>
                    <a:gd name="connsiteY89" fmla="*/ 393 h 9922"/>
                    <a:gd name="connsiteX90" fmla="*/ 4111 w 10000"/>
                    <a:gd name="connsiteY90" fmla="*/ 393 h 9922"/>
                    <a:gd name="connsiteX91" fmla="*/ 4278 w 10000"/>
                    <a:gd name="connsiteY91" fmla="*/ 192 h 9922"/>
                    <a:gd name="connsiteX92" fmla="*/ 4389 w 10000"/>
                    <a:gd name="connsiteY92" fmla="*/ 122 h 9922"/>
                    <a:gd name="connsiteX93" fmla="*/ 4389 w 10000"/>
                    <a:gd name="connsiteY93" fmla="*/ 122 h 9922"/>
                    <a:gd name="connsiteX94" fmla="*/ 4000 w 10000"/>
                    <a:gd name="connsiteY94" fmla="*/ 122 h 9922"/>
                    <a:gd name="connsiteX95" fmla="*/ 3722 w 10000"/>
                    <a:gd name="connsiteY95" fmla="*/ 192 h 9922"/>
                    <a:gd name="connsiteX96" fmla="*/ 3611 w 10000"/>
                    <a:gd name="connsiteY96" fmla="*/ 265 h 9922"/>
                    <a:gd name="connsiteX97" fmla="*/ 3556 w 10000"/>
                    <a:gd name="connsiteY97" fmla="*/ 334 h 9922"/>
                    <a:gd name="connsiteX98" fmla="*/ 3556 w 10000"/>
                    <a:gd name="connsiteY98" fmla="*/ 334 h 9922"/>
                    <a:gd name="connsiteX99" fmla="*/ 3444 w 10000"/>
                    <a:gd name="connsiteY99" fmla="*/ 603 h 9922"/>
                    <a:gd name="connsiteX100" fmla="*/ 3278 w 10000"/>
                    <a:gd name="connsiteY100" fmla="*/ 1016 h 9922"/>
                    <a:gd name="connsiteX101" fmla="*/ 3000 w 10000"/>
                    <a:gd name="connsiteY101" fmla="*/ 1482 h 9922"/>
                    <a:gd name="connsiteX102" fmla="*/ 2667 w 10000"/>
                    <a:gd name="connsiteY102" fmla="*/ 1827 h 9922"/>
                    <a:gd name="connsiteX103" fmla="*/ 2667 w 10000"/>
                    <a:gd name="connsiteY103" fmla="*/ 1827 h 9922"/>
                    <a:gd name="connsiteX104" fmla="*/ 2333 w 10000"/>
                    <a:gd name="connsiteY104" fmla="*/ 2106 h 9922"/>
                    <a:gd name="connsiteX105" fmla="*/ 1833 w 10000"/>
                    <a:gd name="connsiteY105" fmla="*/ 2380 h 9922"/>
                    <a:gd name="connsiteX106" fmla="*/ 1389 w 10000"/>
                    <a:gd name="connsiteY106" fmla="*/ 2508 h 9922"/>
                    <a:gd name="connsiteX107" fmla="*/ 889 w 10000"/>
                    <a:gd name="connsiteY107" fmla="*/ 2578 h 9922"/>
                    <a:gd name="connsiteX108" fmla="*/ 889 w 10000"/>
                    <a:gd name="connsiteY108" fmla="*/ 2578 h 9922"/>
                    <a:gd name="connsiteX109" fmla="*/ 500 w 10000"/>
                    <a:gd name="connsiteY109" fmla="*/ 2660 h 9922"/>
                    <a:gd name="connsiteX110" fmla="*/ 222 w 10000"/>
                    <a:gd name="connsiteY110" fmla="*/ 2710 h 9922"/>
                    <a:gd name="connsiteX111" fmla="*/ 0 w 10000"/>
                    <a:gd name="connsiteY111" fmla="*/ 2777 h 9922"/>
                    <a:gd name="connsiteX112" fmla="*/ 0 w 10000"/>
                    <a:gd name="connsiteY112" fmla="*/ 2777 h 9922"/>
                    <a:gd name="connsiteX113" fmla="*/ 278 w 10000"/>
                    <a:gd name="connsiteY113" fmla="*/ 3874 h 9922"/>
                    <a:gd name="connsiteX114" fmla="*/ 500 w 10000"/>
                    <a:gd name="connsiteY114" fmla="*/ 4675 h 9922"/>
                    <a:gd name="connsiteX115" fmla="*/ 722 w 10000"/>
                    <a:gd name="connsiteY115" fmla="*/ 5364 h 9922"/>
                    <a:gd name="connsiteX116" fmla="*/ 722 w 10000"/>
                    <a:gd name="connsiteY116" fmla="*/ 5364 h 9922"/>
                    <a:gd name="connsiteX117" fmla="*/ 889 w 10000"/>
                    <a:gd name="connsiteY117" fmla="*/ 5771 h 9922"/>
                    <a:gd name="connsiteX118" fmla="*/ 944 w 10000"/>
                    <a:gd name="connsiteY118" fmla="*/ 6121 h 9922"/>
                    <a:gd name="connsiteX119" fmla="*/ 1111 w 10000"/>
                    <a:gd name="connsiteY119" fmla="*/ 6463 h 9922"/>
                    <a:gd name="connsiteX120" fmla="*/ 1333 w 10000"/>
                    <a:gd name="connsiteY120" fmla="*/ 6990 h 9922"/>
                    <a:gd name="connsiteX121" fmla="*/ 1333 w 10000"/>
                    <a:gd name="connsiteY121" fmla="*/ 6990 h 9922"/>
                    <a:gd name="connsiteX122" fmla="*/ 1444 w 10000"/>
                    <a:gd name="connsiteY122" fmla="*/ 7266 h 9922"/>
                    <a:gd name="connsiteX123" fmla="*/ 1500 w 10000"/>
                    <a:gd name="connsiteY123" fmla="*/ 7471 h 9922"/>
                    <a:gd name="connsiteX124" fmla="*/ 1500 w 10000"/>
                    <a:gd name="connsiteY124" fmla="*/ 7664 h 9922"/>
                    <a:gd name="connsiteX125" fmla="*/ 1556 w 10000"/>
                    <a:gd name="connsiteY125" fmla="*/ 7750 h 9922"/>
                    <a:gd name="connsiteX126" fmla="*/ 1722 w 10000"/>
                    <a:gd name="connsiteY126" fmla="*/ 7811 h 9922"/>
                    <a:gd name="connsiteX127" fmla="*/ 1944 w 10000"/>
                    <a:gd name="connsiteY127" fmla="*/ 7875 h 9922"/>
                    <a:gd name="connsiteX128" fmla="*/ 2944 w 10000"/>
                    <a:gd name="connsiteY128" fmla="*/ 7950 h 9922"/>
                    <a:gd name="connsiteX129" fmla="*/ 2944 w 10000"/>
                    <a:gd name="connsiteY129" fmla="*/ 7950 h 9922"/>
                    <a:gd name="connsiteX130" fmla="*/ 4167 w 10000"/>
                    <a:gd name="connsiteY130" fmla="*/ 8088 h 9922"/>
                    <a:gd name="connsiteX131" fmla="*/ 4889 w 10000"/>
                    <a:gd name="connsiteY131" fmla="*/ 8281 h 9922"/>
                    <a:gd name="connsiteX132" fmla="*/ 5278 w 10000"/>
                    <a:gd name="connsiteY132" fmla="*/ 8497 h 9922"/>
                    <a:gd name="connsiteX133" fmla="*/ 5444 w 10000"/>
                    <a:gd name="connsiteY133" fmla="*/ 8554 h 9922"/>
                    <a:gd name="connsiteX134" fmla="*/ 5444 w 10000"/>
                    <a:gd name="connsiteY134" fmla="*/ 8554 h 9922"/>
                    <a:gd name="connsiteX135" fmla="*/ 5722 w 10000"/>
                    <a:gd name="connsiteY135" fmla="*/ 8706 h 9922"/>
                    <a:gd name="connsiteX136" fmla="*/ 5833 w 10000"/>
                    <a:gd name="connsiteY136" fmla="*/ 8775 h 9922"/>
                    <a:gd name="connsiteX137" fmla="*/ 5833 w 10000"/>
                    <a:gd name="connsiteY137" fmla="*/ 8775 h 9922"/>
                    <a:gd name="connsiteX138" fmla="*/ 5833 w 10000"/>
                    <a:gd name="connsiteY138" fmla="*/ 8706 h 9922"/>
                    <a:gd name="connsiteX139" fmla="*/ 5889 w 10000"/>
                    <a:gd name="connsiteY139" fmla="*/ 8629 h 9922"/>
                    <a:gd name="connsiteX140" fmla="*/ 6000 w 10000"/>
                    <a:gd name="connsiteY140" fmla="*/ 8554 h 9922"/>
                    <a:gd name="connsiteX141" fmla="*/ 6167 w 10000"/>
                    <a:gd name="connsiteY141" fmla="*/ 8497 h 9922"/>
                    <a:gd name="connsiteX142" fmla="*/ 6444 w 10000"/>
                    <a:gd name="connsiteY142" fmla="*/ 8497 h 9922"/>
                    <a:gd name="connsiteX143" fmla="*/ 6833 w 10000"/>
                    <a:gd name="connsiteY143" fmla="*/ 8554 h 9922"/>
                    <a:gd name="connsiteX144" fmla="*/ 7278 w 10000"/>
                    <a:gd name="connsiteY144" fmla="*/ 8775 h 9922"/>
                    <a:gd name="connsiteX145" fmla="*/ 7278 w 10000"/>
                    <a:gd name="connsiteY145" fmla="*/ 8775 h 9922"/>
                    <a:gd name="connsiteX146" fmla="*/ 8722 w 10000"/>
                    <a:gd name="connsiteY146" fmla="*/ 9369 h 9922"/>
                    <a:gd name="connsiteX147" fmla="*/ 10000 w 10000"/>
                    <a:gd name="connsiteY147" fmla="*/ 9922 h 9922"/>
                    <a:gd name="connsiteX148" fmla="*/ 10000 w 10000"/>
                    <a:gd name="connsiteY148" fmla="*/ 5288 h 9922"/>
                    <a:gd name="connsiteX0" fmla="*/ 10000 w 10000"/>
                    <a:gd name="connsiteY0" fmla="*/ 5278 h 9948"/>
                    <a:gd name="connsiteX1" fmla="*/ 10000 w 10000"/>
                    <a:gd name="connsiteY1" fmla="*/ 5278 h 9948"/>
                    <a:gd name="connsiteX2" fmla="*/ 9222 w 10000"/>
                    <a:gd name="connsiteY2" fmla="*/ 5354 h 9948"/>
                    <a:gd name="connsiteX3" fmla="*/ 8944 w 10000"/>
                    <a:gd name="connsiteY3" fmla="*/ 5354 h 9948"/>
                    <a:gd name="connsiteX4" fmla="*/ 8833 w 10000"/>
                    <a:gd name="connsiteY4" fmla="*/ 5278 h 9948"/>
                    <a:gd name="connsiteX5" fmla="*/ 8778 w 10000"/>
                    <a:gd name="connsiteY5" fmla="*/ 5212 h 9948"/>
                    <a:gd name="connsiteX6" fmla="*/ 8778 w 10000"/>
                    <a:gd name="connsiteY6" fmla="*/ 5212 h 9948"/>
                    <a:gd name="connsiteX7" fmla="*/ 8444 w 10000"/>
                    <a:gd name="connsiteY7" fmla="*/ 4391 h 9948"/>
                    <a:gd name="connsiteX8" fmla="*/ 8167 w 10000"/>
                    <a:gd name="connsiteY8" fmla="*/ 3636 h 9948"/>
                    <a:gd name="connsiteX9" fmla="*/ 8167 w 10000"/>
                    <a:gd name="connsiteY9" fmla="*/ 3636 h 9948"/>
                    <a:gd name="connsiteX10" fmla="*/ 8056 w 10000"/>
                    <a:gd name="connsiteY10" fmla="*/ 3506 h 9948"/>
                    <a:gd name="connsiteX11" fmla="*/ 7889 w 10000"/>
                    <a:gd name="connsiteY11" fmla="*/ 3373 h 9948"/>
                    <a:gd name="connsiteX12" fmla="*/ 7444 w 10000"/>
                    <a:gd name="connsiteY12" fmla="*/ 3293 h 9948"/>
                    <a:gd name="connsiteX13" fmla="*/ 6889 w 10000"/>
                    <a:gd name="connsiteY13" fmla="*/ 3228 h 9948"/>
                    <a:gd name="connsiteX14" fmla="*/ 6389 w 10000"/>
                    <a:gd name="connsiteY14" fmla="*/ 3228 h 9948"/>
                    <a:gd name="connsiteX15" fmla="*/ 6389 w 10000"/>
                    <a:gd name="connsiteY15" fmla="*/ 3228 h 9948"/>
                    <a:gd name="connsiteX16" fmla="*/ 6167 w 10000"/>
                    <a:gd name="connsiteY16" fmla="*/ 3153 h 9948"/>
                    <a:gd name="connsiteX17" fmla="*/ 6056 w 10000"/>
                    <a:gd name="connsiteY17" fmla="*/ 3028 h 9948"/>
                    <a:gd name="connsiteX18" fmla="*/ 6000 w 10000"/>
                    <a:gd name="connsiteY18" fmla="*/ 2881 h 9948"/>
                    <a:gd name="connsiteX19" fmla="*/ 6000 w 10000"/>
                    <a:gd name="connsiteY19" fmla="*/ 2629 h 9948"/>
                    <a:gd name="connsiteX20" fmla="*/ 6056 w 10000"/>
                    <a:gd name="connsiteY20" fmla="*/ 2071 h 9948"/>
                    <a:gd name="connsiteX21" fmla="*/ 6111 w 10000"/>
                    <a:gd name="connsiteY21" fmla="*/ 1789 h 9948"/>
                    <a:gd name="connsiteX22" fmla="*/ 6056 w 10000"/>
                    <a:gd name="connsiteY22" fmla="*/ 1442 h 9948"/>
                    <a:gd name="connsiteX23" fmla="*/ 6056 w 10000"/>
                    <a:gd name="connsiteY23" fmla="*/ 1442 h 9948"/>
                    <a:gd name="connsiteX24" fmla="*/ 6000 w 10000"/>
                    <a:gd name="connsiteY24" fmla="*/ 1238 h 9948"/>
                    <a:gd name="connsiteX25" fmla="*/ 5944 w 10000"/>
                    <a:gd name="connsiteY25" fmla="*/ 1098 h 9948"/>
                    <a:gd name="connsiteX26" fmla="*/ 5833 w 10000"/>
                    <a:gd name="connsiteY26" fmla="*/ 1098 h 9948"/>
                    <a:gd name="connsiteX27" fmla="*/ 5667 w 10000"/>
                    <a:gd name="connsiteY27" fmla="*/ 1160 h 9948"/>
                    <a:gd name="connsiteX28" fmla="*/ 5333 w 10000"/>
                    <a:gd name="connsiteY28" fmla="*/ 1375 h 9948"/>
                    <a:gd name="connsiteX29" fmla="*/ 4889 w 10000"/>
                    <a:gd name="connsiteY29" fmla="*/ 1721 h 9948"/>
                    <a:gd name="connsiteX30" fmla="*/ 4889 w 10000"/>
                    <a:gd name="connsiteY30" fmla="*/ 1721 h 9948"/>
                    <a:gd name="connsiteX31" fmla="*/ 4611 w 10000"/>
                    <a:gd name="connsiteY31" fmla="*/ 1789 h 9948"/>
                    <a:gd name="connsiteX32" fmla="*/ 4500 w 10000"/>
                    <a:gd name="connsiteY32" fmla="*/ 1789 h 9948"/>
                    <a:gd name="connsiteX33" fmla="*/ 4444 w 10000"/>
                    <a:gd name="connsiteY33" fmla="*/ 1721 h 9948"/>
                    <a:gd name="connsiteX34" fmla="*/ 4389 w 10000"/>
                    <a:gd name="connsiteY34" fmla="*/ 1442 h 9948"/>
                    <a:gd name="connsiteX35" fmla="*/ 4222 w 10000"/>
                    <a:gd name="connsiteY35" fmla="*/ 1098 h 9948"/>
                    <a:gd name="connsiteX36" fmla="*/ 4222 w 10000"/>
                    <a:gd name="connsiteY36" fmla="*/ 1098 h 9948"/>
                    <a:gd name="connsiteX37" fmla="*/ 4111 w 10000"/>
                    <a:gd name="connsiteY37" fmla="*/ 890 h 9948"/>
                    <a:gd name="connsiteX38" fmla="*/ 4111 w 10000"/>
                    <a:gd name="connsiteY38" fmla="*/ 693 h 9948"/>
                    <a:gd name="connsiteX39" fmla="*/ 4111 w 10000"/>
                    <a:gd name="connsiteY39" fmla="*/ 556 h 9948"/>
                    <a:gd name="connsiteX40" fmla="*/ 4167 w 10000"/>
                    <a:gd name="connsiteY40" fmla="*/ 413 h 9948"/>
                    <a:gd name="connsiteX41" fmla="*/ 4278 w 10000"/>
                    <a:gd name="connsiteY41" fmla="*/ 142 h 9948"/>
                    <a:gd name="connsiteX42" fmla="*/ 4389 w 10000"/>
                    <a:gd name="connsiteY42" fmla="*/ 71 h 9948"/>
                    <a:gd name="connsiteX43" fmla="*/ 4389 w 10000"/>
                    <a:gd name="connsiteY43" fmla="*/ 71 h 9948"/>
                    <a:gd name="connsiteX44" fmla="*/ 4389 w 10000"/>
                    <a:gd name="connsiteY44" fmla="*/ 0 h 9948"/>
                    <a:gd name="connsiteX45" fmla="*/ 10000 w 10000"/>
                    <a:gd name="connsiteY45" fmla="*/ 5354 h 9948"/>
                    <a:gd name="connsiteX46" fmla="*/ 10000 w 10000"/>
                    <a:gd name="connsiteY46" fmla="*/ 5354 h 9948"/>
                    <a:gd name="connsiteX47" fmla="*/ 9722 w 10000"/>
                    <a:gd name="connsiteY47" fmla="*/ 5278 h 9948"/>
                    <a:gd name="connsiteX48" fmla="*/ 9389 w 10000"/>
                    <a:gd name="connsiteY48" fmla="*/ 5354 h 9948"/>
                    <a:gd name="connsiteX49" fmla="*/ 9389 w 10000"/>
                    <a:gd name="connsiteY49" fmla="*/ 5354 h 9948"/>
                    <a:gd name="connsiteX50" fmla="*/ 9278 w 10000"/>
                    <a:gd name="connsiteY50" fmla="*/ 5437 h 9948"/>
                    <a:gd name="connsiteX51" fmla="*/ 9056 w 10000"/>
                    <a:gd name="connsiteY51" fmla="*/ 5354 h 9948"/>
                    <a:gd name="connsiteX52" fmla="*/ 8889 w 10000"/>
                    <a:gd name="connsiteY52" fmla="*/ 5278 h 9948"/>
                    <a:gd name="connsiteX53" fmla="*/ 8722 w 10000"/>
                    <a:gd name="connsiteY53" fmla="*/ 5148 h 9948"/>
                    <a:gd name="connsiteX54" fmla="*/ 8611 w 10000"/>
                    <a:gd name="connsiteY54" fmla="*/ 4934 h 9948"/>
                    <a:gd name="connsiteX55" fmla="*/ 8444 w 10000"/>
                    <a:gd name="connsiteY55" fmla="*/ 4591 h 9948"/>
                    <a:gd name="connsiteX56" fmla="*/ 8444 w 10000"/>
                    <a:gd name="connsiteY56" fmla="*/ 4591 h 9948"/>
                    <a:gd name="connsiteX57" fmla="*/ 8222 w 10000"/>
                    <a:gd name="connsiteY57" fmla="*/ 3991 h 9948"/>
                    <a:gd name="connsiteX58" fmla="*/ 8111 w 10000"/>
                    <a:gd name="connsiteY58" fmla="*/ 3715 h 9948"/>
                    <a:gd name="connsiteX59" fmla="*/ 7944 w 10000"/>
                    <a:gd name="connsiteY59" fmla="*/ 3506 h 9948"/>
                    <a:gd name="connsiteX60" fmla="*/ 7778 w 10000"/>
                    <a:gd name="connsiteY60" fmla="*/ 3373 h 9948"/>
                    <a:gd name="connsiteX61" fmla="*/ 7556 w 10000"/>
                    <a:gd name="connsiteY61" fmla="*/ 3293 h 9948"/>
                    <a:gd name="connsiteX62" fmla="*/ 7333 w 10000"/>
                    <a:gd name="connsiteY62" fmla="*/ 3228 h 9948"/>
                    <a:gd name="connsiteX63" fmla="*/ 7000 w 10000"/>
                    <a:gd name="connsiteY63" fmla="*/ 3153 h 9948"/>
                    <a:gd name="connsiteX64" fmla="*/ 7000 w 10000"/>
                    <a:gd name="connsiteY64" fmla="*/ 3153 h 9948"/>
                    <a:gd name="connsiteX65" fmla="*/ 6556 w 10000"/>
                    <a:gd name="connsiteY65" fmla="*/ 3228 h 9948"/>
                    <a:gd name="connsiteX66" fmla="*/ 6222 w 10000"/>
                    <a:gd name="connsiteY66" fmla="*/ 3228 h 9948"/>
                    <a:gd name="connsiteX67" fmla="*/ 6111 w 10000"/>
                    <a:gd name="connsiteY67" fmla="*/ 3153 h 9948"/>
                    <a:gd name="connsiteX68" fmla="*/ 6056 w 10000"/>
                    <a:gd name="connsiteY68" fmla="*/ 3091 h 9948"/>
                    <a:gd name="connsiteX69" fmla="*/ 6056 w 10000"/>
                    <a:gd name="connsiteY69" fmla="*/ 3091 h 9948"/>
                    <a:gd name="connsiteX70" fmla="*/ 6056 w 10000"/>
                    <a:gd name="connsiteY70" fmla="*/ 1864 h 9948"/>
                    <a:gd name="connsiteX71" fmla="*/ 6056 w 10000"/>
                    <a:gd name="connsiteY71" fmla="*/ 1864 h 9948"/>
                    <a:gd name="connsiteX72" fmla="*/ 6056 w 10000"/>
                    <a:gd name="connsiteY72" fmla="*/ 1577 h 9948"/>
                    <a:gd name="connsiteX73" fmla="*/ 5944 w 10000"/>
                    <a:gd name="connsiteY73" fmla="*/ 1238 h 9948"/>
                    <a:gd name="connsiteX74" fmla="*/ 5889 w 10000"/>
                    <a:gd name="connsiteY74" fmla="*/ 1160 h 9948"/>
                    <a:gd name="connsiteX75" fmla="*/ 5778 w 10000"/>
                    <a:gd name="connsiteY75" fmla="*/ 1098 h 9948"/>
                    <a:gd name="connsiteX76" fmla="*/ 5667 w 10000"/>
                    <a:gd name="connsiteY76" fmla="*/ 1098 h 9948"/>
                    <a:gd name="connsiteX77" fmla="*/ 5500 w 10000"/>
                    <a:gd name="connsiteY77" fmla="*/ 1160 h 9948"/>
                    <a:gd name="connsiteX78" fmla="*/ 5500 w 10000"/>
                    <a:gd name="connsiteY78" fmla="*/ 1160 h 9948"/>
                    <a:gd name="connsiteX79" fmla="*/ 4889 w 10000"/>
                    <a:gd name="connsiteY79" fmla="*/ 1650 h 9948"/>
                    <a:gd name="connsiteX80" fmla="*/ 4611 w 10000"/>
                    <a:gd name="connsiteY80" fmla="*/ 1789 h 9948"/>
                    <a:gd name="connsiteX81" fmla="*/ 4556 w 10000"/>
                    <a:gd name="connsiteY81" fmla="*/ 1864 h 9948"/>
                    <a:gd name="connsiteX82" fmla="*/ 4500 w 10000"/>
                    <a:gd name="connsiteY82" fmla="*/ 1789 h 9948"/>
                    <a:gd name="connsiteX83" fmla="*/ 4500 w 10000"/>
                    <a:gd name="connsiteY83" fmla="*/ 1789 h 9948"/>
                    <a:gd name="connsiteX84" fmla="*/ 4222 w 10000"/>
                    <a:gd name="connsiteY84" fmla="*/ 1098 h 9948"/>
                    <a:gd name="connsiteX85" fmla="*/ 4222 w 10000"/>
                    <a:gd name="connsiteY85" fmla="*/ 1098 h 9948"/>
                    <a:gd name="connsiteX86" fmla="*/ 4111 w 10000"/>
                    <a:gd name="connsiteY86" fmla="*/ 757 h 9948"/>
                    <a:gd name="connsiteX87" fmla="*/ 4111 w 10000"/>
                    <a:gd name="connsiteY87" fmla="*/ 556 h 9948"/>
                    <a:gd name="connsiteX88" fmla="*/ 4111 w 10000"/>
                    <a:gd name="connsiteY88" fmla="*/ 344 h 9948"/>
                    <a:gd name="connsiteX89" fmla="*/ 4111 w 10000"/>
                    <a:gd name="connsiteY89" fmla="*/ 344 h 9948"/>
                    <a:gd name="connsiteX90" fmla="*/ 4278 w 10000"/>
                    <a:gd name="connsiteY90" fmla="*/ 142 h 9948"/>
                    <a:gd name="connsiteX91" fmla="*/ 4389 w 10000"/>
                    <a:gd name="connsiteY91" fmla="*/ 71 h 9948"/>
                    <a:gd name="connsiteX92" fmla="*/ 4389 w 10000"/>
                    <a:gd name="connsiteY92" fmla="*/ 71 h 9948"/>
                    <a:gd name="connsiteX93" fmla="*/ 4000 w 10000"/>
                    <a:gd name="connsiteY93" fmla="*/ 71 h 9948"/>
                    <a:gd name="connsiteX94" fmla="*/ 3722 w 10000"/>
                    <a:gd name="connsiteY94" fmla="*/ 142 h 9948"/>
                    <a:gd name="connsiteX95" fmla="*/ 3611 w 10000"/>
                    <a:gd name="connsiteY95" fmla="*/ 215 h 9948"/>
                    <a:gd name="connsiteX96" fmla="*/ 3556 w 10000"/>
                    <a:gd name="connsiteY96" fmla="*/ 285 h 9948"/>
                    <a:gd name="connsiteX97" fmla="*/ 3556 w 10000"/>
                    <a:gd name="connsiteY97" fmla="*/ 285 h 9948"/>
                    <a:gd name="connsiteX98" fmla="*/ 3444 w 10000"/>
                    <a:gd name="connsiteY98" fmla="*/ 556 h 9948"/>
                    <a:gd name="connsiteX99" fmla="*/ 3278 w 10000"/>
                    <a:gd name="connsiteY99" fmla="*/ 972 h 9948"/>
                    <a:gd name="connsiteX100" fmla="*/ 3000 w 10000"/>
                    <a:gd name="connsiteY100" fmla="*/ 1442 h 9948"/>
                    <a:gd name="connsiteX101" fmla="*/ 2667 w 10000"/>
                    <a:gd name="connsiteY101" fmla="*/ 1789 h 9948"/>
                    <a:gd name="connsiteX102" fmla="*/ 2667 w 10000"/>
                    <a:gd name="connsiteY102" fmla="*/ 1789 h 9948"/>
                    <a:gd name="connsiteX103" fmla="*/ 2333 w 10000"/>
                    <a:gd name="connsiteY103" fmla="*/ 2071 h 9948"/>
                    <a:gd name="connsiteX104" fmla="*/ 1833 w 10000"/>
                    <a:gd name="connsiteY104" fmla="*/ 2347 h 9948"/>
                    <a:gd name="connsiteX105" fmla="*/ 1389 w 10000"/>
                    <a:gd name="connsiteY105" fmla="*/ 2476 h 9948"/>
                    <a:gd name="connsiteX106" fmla="*/ 889 w 10000"/>
                    <a:gd name="connsiteY106" fmla="*/ 2546 h 9948"/>
                    <a:gd name="connsiteX107" fmla="*/ 889 w 10000"/>
                    <a:gd name="connsiteY107" fmla="*/ 2546 h 9948"/>
                    <a:gd name="connsiteX108" fmla="*/ 500 w 10000"/>
                    <a:gd name="connsiteY108" fmla="*/ 2629 h 9948"/>
                    <a:gd name="connsiteX109" fmla="*/ 222 w 10000"/>
                    <a:gd name="connsiteY109" fmla="*/ 2679 h 9948"/>
                    <a:gd name="connsiteX110" fmla="*/ 0 w 10000"/>
                    <a:gd name="connsiteY110" fmla="*/ 2747 h 9948"/>
                    <a:gd name="connsiteX111" fmla="*/ 0 w 10000"/>
                    <a:gd name="connsiteY111" fmla="*/ 2747 h 9948"/>
                    <a:gd name="connsiteX112" fmla="*/ 278 w 10000"/>
                    <a:gd name="connsiteY112" fmla="*/ 3852 h 9948"/>
                    <a:gd name="connsiteX113" fmla="*/ 500 w 10000"/>
                    <a:gd name="connsiteY113" fmla="*/ 4660 h 9948"/>
                    <a:gd name="connsiteX114" fmla="*/ 722 w 10000"/>
                    <a:gd name="connsiteY114" fmla="*/ 5354 h 9948"/>
                    <a:gd name="connsiteX115" fmla="*/ 722 w 10000"/>
                    <a:gd name="connsiteY115" fmla="*/ 5354 h 9948"/>
                    <a:gd name="connsiteX116" fmla="*/ 889 w 10000"/>
                    <a:gd name="connsiteY116" fmla="*/ 5764 h 9948"/>
                    <a:gd name="connsiteX117" fmla="*/ 944 w 10000"/>
                    <a:gd name="connsiteY117" fmla="*/ 6117 h 9948"/>
                    <a:gd name="connsiteX118" fmla="*/ 1111 w 10000"/>
                    <a:gd name="connsiteY118" fmla="*/ 6462 h 9948"/>
                    <a:gd name="connsiteX119" fmla="*/ 1333 w 10000"/>
                    <a:gd name="connsiteY119" fmla="*/ 6993 h 9948"/>
                    <a:gd name="connsiteX120" fmla="*/ 1333 w 10000"/>
                    <a:gd name="connsiteY120" fmla="*/ 6993 h 9948"/>
                    <a:gd name="connsiteX121" fmla="*/ 1444 w 10000"/>
                    <a:gd name="connsiteY121" fmla="*/ 7271 h 9948"/>
                    <a:gd name="connsiteX122" fmla="*/ 1500 w 10000"/>
                    <a:gd name="connsiteY122" fmla="*/ 7478 h 9948"/>
                    <a:gd name="connsiteX123" fmla="*/ 1500 w 10000"/>
                    <a:gd name="connsiteY123" fmla="*/ 7672 h 9948"/>
                    <a:gd name="connsiteX124" fmla="*/ 1556 w 10000"/>
                    <a:gd name="connsiteY124" fmla="*/ 7759 h 9948"/>
                    <a:gd name="connsiteX125" fmla="*/ 1722 w 10000"/>
                    <a:gd name="connsiteY125" fmla="*/ 7820 h 9948"/>
                    <a:gd name="connsiteX126" fmla="*/ 1944 w 10000"/>
                    <a:gd name="connsiteY126" fmla="*/ 7885 h 9948"/>
                    <a:gd name="connsiteX127" fmla="*/ 2944 w 10000"/>
                    <a:gd name="connsiteY127" fmla="*/ 7960 h 9948"/>
                    <a:gd name="connsiteX128" fmla="*/ 2944 w 10000"/>
                    <a:gd name="connsiteY128" fmla="*/ 7960 h 9948"/>
                    <a:gd name="connsiteX129" fmla="*/ 4167 w 10000"/>
                    <a:gd name="connsiteY129" fmla="*/ 8100 h 9948"/>
                    <a:gd name="connsiteX130" fmla="*/ 4889 w 10000"/>
                    <a:gd name="connsiteY130" fmla="*/ 8294 h 9948"/>
                    <a:gd name="connsiteX131" fmla="*/ 5278 w 10000"/>
                    <a:gd name="connsiteY131" fmla="*/ 8512 h 9948"/>
                    <a:gd name="connsiteX132" fmla="*/ 5444 w 10000"/>
                    <a:gd name="connsiteY132" fmla="*/ 8569 h 9948"/>
                    <a:gd name="connsiteX133" fmla="*/ 5444 w 10000"/>
                    <a:gd name="connsiteY133" fmla="*/ 8569 h 9948"/>
                    <a:gd name="connsiteX134" fmla="*/ 5722 w 10000"/>
                    <a:gd name="connsiteY134" fmla="*/ 8722 h 9948"/>
                    <a:gd name="connsiteX135" fmla="*/ 5833 w 10000"/>
                    <a:gd name="connsiteY135" fmla="*/ 8792 h 9948"/>
                    <a:gd name="connsiteX136" fmla="*/ 5833 w 10000"/>
                    <a:gd name="connsiteY136" fmla="*/ 8792 h 9948"/>
                    <a:gd name="connsiteX137" fmla="*/ 5833 w 10000"/>
                    <a:gd name="connsiteY137" fmla="*/ 8722 h 9948"/>
                    <a:gd name="connsiteX138" fmla="*/ 5889 w 10000"/>
                    <a:gd name="connsiteY138" fmla="*/ 8645 h 9948"/>
                    <a:gd name="connsiteX139" fmla="*/ 6000 w 10000"/>
                    <a:gd name="connsiteY139" fmla="*/ 8569 h 9948"/>
                    <a:gd name="connsiteX140" fmla="*/ 6167 w 10000"/>
                    <a:gd name="connsiteY140" fmla="*/ 8512 h 9948"/>
                    <a:gd name="connsiteX141" fmla="*/ 6444 w 10000"/>
                    <a:gd name="connsiteY141" fmla="*/ 8512 h 9948"/>
                    <a:gd name="connsiteX142" fmla="*/ 6833 w 10000"/>
                    <a:gd name="connsiteY142" fmla="*/ 8569 h 9948"/>
                    <a:gd name="connsiteX143" fmla="*/ 7278 w 10000"/>
                    <a:gd name="connsiteY143" fmla="*/ 8792 h 9948"/>
                    <a:gd name="connsiteX144" fmla="*/ 7278 w 10000"/>
                    <a:gd name="connsiteY144" fmla="*/ 8792 h 9948"/>
                    <a:gd name="connsiteX145" fmla="*/ 8722 w 10000"/>
                    <a:gd name="connsiteY145" fmla="*/ 9391 h 9948"/>
                    <a:gd name="connsiteX146" fmla="*/ 10000 w 10000"/>
                    <a:gd name="connsiteY146" fmla="*/ 9948 h 9948"/>
                    <a:gd name="connsiteX147" fmla="*/ 10000 w 10000"/>
                    <a:gd name="connsiteY147" fmla="*/ 5278 h 9948"/>
                    <a:gd name="connsiteX0" fmla="*/ 10000 w 10000"/>
                    <a:gd name="connsiteY0" fmla="*/ 5235 h 9929"/>
                    <a:gd name="connsiteX1" fmla="*/ 10000 w 10000"/>
                    <a:gd name="connsiteY1" fmla="*/ 5235 h 9929"/>
                    <a:gd name="connsiteX2" fmla="*/ 9222 w 10000"/>
                    <a:gd name="connsiteY2" fmla="*/ 5311 h 9929"/>
                    <a:gd name="connsiteX3" fmla="*/ 8944 w 10000"/>
                    <a:gd name="connsiteY3" fmla="*/ 5311 h 9929"/>
                    <a:gd name="connsiteX4" fmla="*/ 8833 w 10000"/>
                    <a:gd name="connsiteY4" fmla="*/ 5235 h 9929"/>
                    <a:gd name="connsiteX5" fmla="*/ 8778 w 10000"/>
                    <a:gd name="connsiteY5" fmla="*/ 5168 h 9929"/>
                    <a:gd name="connsiteX6" fmla="*/ 8778 w 10000"/>
                    <a:gd name="connsiteY6" fmla="*/ 5168 h 9929"/>
                    <a:gd name="connsiteX7" fmla="*/ 8444 w 10000"/>
                    <a:gd name="connsiteY7" fmla="*/ 4343 h 9929"/>
                    <a:gd name="connsiteX8" fmla="*/ 8167 w 10000"/>
                    <a:gd name="connsiteY8" fmla="*/ 3584 h 9929"/>
                    <a:gd name="connsiteX9" fmla="*/ 8167 w 10000"/>
                    <a:gd name="connsiteY9" fmla="*/ 3584 h 9929"/>
                    <a:gd name="connsiteX10" fmla="*/ 8056 w 10000"/>
                    <a:gd name="connsiteY10" fmla="*/ 3453 h 9929"/>
                    <a:gd name="connsiteX11" fmla="*/ 7889 w 10000"/>
                    <a:gd name="connsiteY11" fmla="*/ 3320 h 9929"/>
                    <a:gd name="connsiteX12" fmla="*/ 7444 w 10000"/>
                    <a:gd name="connsiteY12" fmla="*/ 3239 h 9929"/>
                    <a:gd name="connsiteX13" fmla="*/ 6889 w 10000"/>
                    <a:gd name="connsiteY13" fmla="*/ 3174 h 9929"/>
                    <a:gd name="connsiteX14" fmla="*/ 6389 w 10000"/>
                    <a:gd name="connsiteY14" fmla="*/ 3174 h 9929"/>
                    <a:gd name="connsiteX15" fmla="*/ 6389 w 10000"/>
                    <a:gd name="connsiteY15" fmla="*/ 3174 h 9929"/>
                    <a:gd name="connsiteX16" fmla="*/ 6167 w 10000"/>
                    <a:gd name="connsiteY16" fmla="*/ 3098 h 9929"/>
                    <a:gd name="connsiteX17" fmla="*/ 6056 w 10000"/>
                    <a:gd name="connsiteY17" fmla="*/ 2973 h 9929"/>
                    <a:gd name="connsiteX18" fmla="*/ 6000 w 10000"/>
                    <a:gd name="connsiteY18" fmla="*/ 2825 h 9929"/>
                    <a:gd name="connsiteX19" fmla="*/ 6000 w 10000"/>
                    <a:gd name="connsiteY19" fmla="*/ 2572 h 9929"/>
                    <a:gd name="connsiteX20" fmla="*/ 6056 w 10000"/>
                    <a:gd name="connsiteY20" fmla="*/ 2011 h 9929"/>
                    <a:gd name="connsiteX21" fmla="*/ 6111 w 10000"/>
                    <a:gd name="connsiteY21" fmla="*/ 1727 h 9929"/>
                    <a:gd name="connsiteX22" fmla="*/ 6056 w 10000"/>
                    <a:gd name="connsiteY22" fmla="*/ 1379 h 9929"/>
                    <a:gd name="connsiteX23" fmla="*/ 6056 w 10000"/>
                    <a:gd name="connsiteY23" fmla="*/ 1379 h 9929"/>
                    <a:gd name="connsiteX24" fmla="*/ 6000 w 10000"/>
                    <a:gd name="connsiteY24" fmla="*/ 1173 h 9929"/>
                    <a:gd name="connsiteX25" fmla="*/ 5944 w 10000"/>
                    <a:gd name="connsiteY25" fmla="*/ 1033 h 9929"/>
                    <a:gd name="connsiteX26" fmla="*/ 5833 w 10000"/>
                    <a:gd name="connsiteY26" fmla="*/ 1033 h 9929"/>
                    <a:gd name="connsiteX27" fmla="*/ 5667 w 10000"/>
                    <a:gd name="connsiteY27" fmla="*/ 1095 h 9929"/>
                    <a:gd name="connsiteX28" fmla="*/ 5333 w 10000"/>
                    <a:gd name="connsiteY28" fmla="*/ 1311 h 9929"/>
                    <a:gd name="connsiteX29" fmla="*/ 4889 w 10000"/>
                    <a:gd name="connsiteY29" fmla="*/ 1659 h 9929"/>
                    <a:gd name="connsiteX30" fmla="*/ 4889 w 10000"/>
                    <a:gd name="connsiteY30" fmla="*/ 1659 h 9929"/>
                    <a:gd name="connsiteX31" fmla="*/ 4611 w 10000"/>
                    <a:gd name="connsiteY31" fmla="*/ 1727 h 9929"/>
                    <a:gd name="connsiteX32" fmla="*/ 4500 w 10000"/>
                    <a:gd name="connsiteY32" fmla="*/ 1727 h 9929"/>
                    <a:gd name="connsiteX33" fmla="*/ 4444 w 10000"/>
                    <a:gd name="connsiteY33" fmla="*/ 1659 h 9929"/>
                    <a:gd name="connsiteX34" fmla="*/ 4389 w 10000"/>
                    <a:gd name="connsiteY34" fmla="*/ 1379 h 9929"/>
                    <a:gd name="connsiteX35" fmla="*/ 4222 w 10000"/>
                    <a:gd name="connsiteY35" fmla="*/ 1033 h 9929"/>
                    <a:gd name="connsiteX36" fmla="*/ 4222 w 10000"/>
                    <a:gd name="connsiteY36" fmla="*/ 1033 h 9929"/>
                    <a:gd name="connsiteX37" fmla="*/ 4111 w 10000"/>
                    <a:gd name="connsiteY37" fmla="*/ 824 h 9929"/>
                    <a:gd name="connsiteX38" fmla="*/ 4111 w 10000"/>
                    <a:gd name="connsiteY38" fmla="*/ 626 h 9929"/>
                    <a:gd name="connsiteX39" fmla="*/ 4111 w 10000"/>
                    <a:gd name="connsiteY39" fmla="*/ 488 h 9929"/>
                    <a:gd name="connsiteX40" fmla="*/ 4167 w 10000"/>
                    <a:gd name="connsiteY40" fmla="*/ 344 h 9929"/>
                    <a:gd name="connsiteX41" fmla="*/ 4278 w 10000"/>
                    <a:gd name="connsiteY41" fmla="*/ 72 h 9929"/>
                    <a:gd name="connsiteX42" fmla="*/ 4389 w 10000"/>
                    <a:gd name="connsiteY42" fmla="*/ 0 h 9929"/>
                    <a:gd name="connsiteX43" fmla="*/ 4389 w 10000"/>
                    <a:gd name="connsiteY43" fmla="*/ 0 h 9929"/>
                    <a:gd name="connsiteX44" fmla="*/ 10000 w 10000"/>
                    <a:gd name="connsiteY44" fmla="*/ 5311 h 9929"/>
                    <a:gd name="connsiteX45" fmla="*/ 10000 w 10000"/>
                    <a:gd name="connsiteY45" fmla="*/ 5311 h 9929"/>
                    <a:gd name="connsiteX46" fmla="*/ 9722 w 10000"/>
                    <a:gd name="connsiteY46" fmla="*/ 5235 h 9929"/>
                    <a:gd name="connsiteX47" fmla="*/ 9389 w 10000"/>
                    <a:gd name="connsiteY47" fmla="*/ 5311 h 9929"/>
                    <a:gd name="connsiteX48" fmla="*/ 9389 w 10000"/>
                    <a:gd name="connsiteY48" fmla="*/ 5311 h 9929"/>
                    <a:gd name="connsiteX49" fmla="*/ 9278 w 10000"/>
                    <a:gd name="connsiteY49" fmla="*/ 5394 h 9929"/>
                    <a:gd name="connsiteX50" fmla="*/ 9056 w 10000"/>
                    <a:gd name="connsiteY50" fmla="*/ 5311 h 9929"/>
                    <a:gd name="connsiteX51" fmla="*/ 8889 w 10000"/>
                    <a:gd name="connsiteY51" fmla="*/ 5235 h 9929"/>
                    <a:gd name="connsiteX52" fmla="*/ 8722 w 10000"/>
                    <a:gd name="connsiteY52" fmla="*/ 5104 h 9929"/>
                    <a:gd name="connsiteX53" fmla="*/ 8611 w 10000"/>
                    <a:gd name="connsiteY53" fmla="*/ 4889 h 9929"/>
                    <a:gd name="connsiteX54" fmla="*/ 8444 w 10000"/>
                    <a:gd name="connsiteY54" fmla="*/ 4544 h 9929"/>
                    <a:gd name="connsiteX55" fmla="*/ 8444 w 10000"/>
                    <a:gd name="connsiteY55" fmla="*/ 4544 h 9929"/>
                    <a:gd name="connsiteX56" fmla="*/ 8222 w 10000"/>
                    <a:gd name="connsiteY56" fmla="*/ 3941 h 9929"/>
                    <a:gd name="connsiteX57" fmla="*/ 8111 w 10000"/>
                    <a:gd name="connsiteY57" fmla="*/ 3663 h 9929"/>
                    <a:gd name="connsiteX58" fmla="*/ 7944 w 10000"/>
                    <a:gd name="connsiteY58" fmla="*/ 3453 h 9929"/>
                    <a:gd name="connsiteX59" fmla="*/ 7778 w 10000"/>
                    <a:gd name="connsiteY59" fmla="*/ 3320 h 9929"/>
                    <a:gd name="connsiteX60" fmla="*/ 7556 w 10000"/>
                    <a:gd name="connsiteY60" fmla="*/ 3239 h 9929"/>
                    <a:gd name="connsiteX61" fmla="*/ 7333 w 10000"/>
                    <a:gd name="connsiteY61" fmla="*/ 3174 h 9929"/>
                    <a:gd name="connsiteX62" fmla="*/ 7000 w 10000"/>
                    <a:gd name="connsiteY62" fmla="*/ 3098 h 9929"/>
                    <a:gd name="connsiteX63" fmla="*/ 7000 w 10000"/>
                    <a:gd name="connsiteY63" fmla="*/ 3098 h 9929"/>
                    <a:gd name="connsiteX64" fmla="*/ 6556 w 10000"/>
                    <a:gd name="connsiteY64" fmla="*/ 3174 h 9929"/>
                    <a:gd name="connsiteX65" fmla="*/ 6222 w 10000"/>
                    <a:gd name="connsiteY65" fmla="*/ 3174 h 9929"/>
                    <a:gd name="connsiteX66" fmla="*/ 6111 w 10000"/>
                    <a:gd name="connsiteY66" fmla="*/ 3098 h 9929"/>
                    <a:gd name="connsiteX67" fmla="*/ 6056 w 10000"/>
                    <a:gd name="connsiteY67" fmla="*/ 3036 h 9929"/>
                    <a:gd name="connsiteX68" fmla="*/ 6056 w 10000"/>
                    <a:gd name="connsiteY68" fmla="*/ 3036 h 9929"/>
                    <a:gd name="connsiteX69" fmla="*/ 6056 w 10000"/>
                    <a:gd name="connsiteY69" fmla="*/ 1803 h 9929"/>
                    <a:gd name="connsiteX70" fmla="*/ 6056 w 10000"/>
                    <a:gd name="connsiteY70" fmla="*/ 1803 h 9929"/>
                    <a:gd name="connsiteX71" fmla="*/ 6056 w 10000"/>
                    <a:gd name="connsiteY71" fmla="*/ 1514 h 9929"/>
                    <a:gd name="connsiteX72" fmla="*/ 5944 w 10000"/>
                    <a:gd name="connsiteY72" fmla="*/ 1173 h 9929"/>
                    <a:gd name="connsiteX73" fmla="*/ 5889 w 10000"/>
                    <a:gd name="connsiteY73" fmla="*/ 1095 h 9929"/>
                    <a:gd name="connsiteX74" fmla="*/ 5778 w 10000"/>
                    <a:gd name="connsiteY74" fmla="*/ 1033 h 9929"/>
                    <a:gd name="connsiteX75" fmla="*/ 5667 w 10000"/>
                    <a:gd name="connsiteY75" fmla="*/ 1033 h 9929"/>
                    <a:gd name="connsiteX76" fmla="*/ 5500 w 10000"/>
                    <a:gd name="connsiteY76" fmla="*/ 1095 h 9929"/>
                    <a:gd name="connsiteX77" fmla="*/ 5500 w 10000"/>
                    <a:gd name="connsiteY77" fmla="*/ 1095 h 9929"/>
                    <a:gd name="connsiteX78" fmla="*/ 4889 w 10000"/>
                    <a:gd name="connsiteY78" fmla="*/ 1588 h 9929"/>
                    <a:gd name="connsiteX79" fmla="*/ 4611 w 10000"/>
                    <a:gd name="connsiteY79" fmla="*/ 1727 h 9929"/>
                    <a:gd name="connsiteX80" fmla="*/ 4556 w 10000"/>
                    <a:gd name="connsiteY80" fmla="*/ 1803 h 9929"/>
                    <a:gd name="connsiteX81" fmla="*/ 4500 w 10000"/>
                    <a:gd name="connsiteY81" fmla="*/ 1727 h 9929"/>
                    <a:gd name="connsiteX82" fmla="*/ 4500 w 10000"/>
                    <a:gd name="connsiteY82" fmla="*/ 1727 h 9929"/>
                    <a:gd name="connsiteX83" fmla="*/ 4222 w 10000"/>
                    <a:gd name="connsiteY83" fmla="*/ 1033 h 9929"/>
                    <a:gd name="connsiteX84" fmla="*/ 4222 w 10000"/>
                    <a:gd name="connsiteY84" fmla="*/ 1033 h 9929"/>
                    <a:gd name="connsiteX85" fmla="*/ 4111 w 10000"/>
                    <a:gd name="connsiteY85" fmla="*/ 690 h 9929"/>
                    <a:gd name="connsiteX86" fmla="*/ 4111 w 10000"/>
                    <a:gd name="connsiteY86" fmla="*/ 488 h 9929"/>
                    <a:gd name="connsiteX87" fmla="*/ 4111 w 10000"/>
                    <a:gd name="connsiteY87" fmla="*/ 275 h 9929"/>
                    <a:gd name="connsiteX88" fmla="*/ 4111 w 10000"/>
                    <a:gd name="connsiteY88" fmla="*/ 275 h 9929"/>
                    <a:gd name="connsiteX89" fmla="*/ 4278 w 10000"/>
                    <a:gd name="connsiteY89" fmla="*/ 72 h 9929"/>
                    <a:gd name="connsiteX90" fmla="*/ 4389 w 10000"/>
                    <a:gd name="connsiteY90" fmla="*/ 0 h 9929"/>
                    <a:gd name="connsiteX91" fmla="*/ 4389 w 10000"/>
                    <a:gd name="connsiteY91" fmla="*/ 0 h 9929"/>
                    <a:gd name="connsiteX92" fmla="*/ 4000 w 10000"/>
                    <a:gd name="connsiteY92" fmla="*/ 0 h 9929"/>
                    <a:gd name="connsiteX93" fmla="*/ 3722 w 10000"/>
                    <a:gd name="connsiteY93" fmla="*/ 72 h 9929"/>
                    <a:gd name="connsiteX94" fmla="*/ 3611 w 10000"/>
                    <a:gd name="connsiteY94" fmla="*/ 145 h 9929"/>
                    <a:gd name="connsiteX95" fmla="*/ 3556 w 10000"/>
                    <a:gd name="connsiteY95" fmla="*/ 215 h 9929"/>
                    <a:gd name="connsiteX96" fmla="*/ 3556 w 10000"/>
                    <a:gd name="connsiteY96" fmla="*/ 215 h 9929"/>
                    <a:gd name="connsiteX97" fmla="*/ 3444 w 10000"/>
                    <a:gd name="connsiteY97" fmla="*/ 488 h 9929"/>
                    <a:gd name="connsiteX98" fmla="*/ 3278 w 10000"/>
                    <a:gd name="connsiteY98" fmla="*/ 906 h 9929"/>
                    <a:gd name="connsiteX99" fmla="*/ 3000 w 10000"/>
                    <a:gd name="connsiteY99" fmla="*/ 1379 h 9929"/>
                    <a:gd name="connsiteX100" fmla="*/ 2667 w 10000"/>
                    <a:gd name="connsiteY100" fmla="*/ 1727 h 9929"/>
                    <a:gd name="connsiteX101" fmla="*/ 2667 w 10000"/>
                    <a:gd name="connsiteY101" fmla="*/ 1727 h 9929"/>
                    <a:gd name="connsiteX102" fmla="*/ 2333 w 10000"/>
                    <a:gd name="connsiteY102" fmla="*/ 2011 h 9929"/>
                    <a:gd name="connsiteX103" fmla="*/ 1833 w 10000"/>
                    <a:gd name="connsiteY103" fmla="*/ 2288 h 9929"/>
                    <a:gd name="connsiteX104" fmla="*/ 1389 w 10000"/>
                    <a:gd name="connsiteY104" fmla="*/ 2418 h 9929"/>
                    <a:gd name="connsiteX105" fmla="*/ 889 w 10000"/>
                    <a:gd name="connsiteY105" fmla="*/ 2488 h 9929"/>
                    <a:gd name="connsiteX106" fmla="*/ 889 w 10000"/>
                    <a:gd name="connsiteY106" fmla="*/ 2488 h 9929"/>
                    <a:gd name="connsiteX107" fmla="*/ 500 w 10000"/>
                    <a:gd name="connsiteY107" fmla="*/ 2572 h 9929"/>
                    <a:gd name="connsiteX108" fmla="*/ 222 w 10000"/>
                    <a:gd name="connsiteY108" fmla="*/ 2622 h 9929"/>
                    <a:gd name="connsiteX109" fmla="*/ 0 w 10000"/>
                    <a:gd name="connsiteY109" fmla="*/ 2690 h 9929"/>
                    <a:gd name="connsiteX110" fmla="*/ 0 w 10000"/>
                    <a:gd name="connsiteY110" fmla="*/ 2690 h 9929"/>
                    <a:gd name="connsiteX111" fmla="*/ 278 w 10000"/>
                    <a:gd name="connsiteY111" fmla="*/ 3801 h 9929"/>
                    <a:gd name="connsiteX112" fmla="*/ 500 w 10000"/>
                    <a:gd name="connsiteY112" fmla="*/ 4613 h 9929"/>
                    <a:gd name="connsiteX113" fmla="*/ 722 w 10000"/>
                    <a:gd name="connsiteY113" fmla="*/ 5311 h 9929"/>
                    <a:gd name="connsiteX114" fmla="*/ 722 w 10000"/>
                    <a:gd name="connsiteY114" fmla="*/ 5311 h 9929"/>
                    <a:gd name="connsiteX115" fmla="*/ 889 w 10000"/>
                    <a:gd name="connsiteY115" fmla="*/ 5723 h 9929"/>
                    <a:gd name="connsiteX116" fmla="*/ 944 w 10000"/>
                    <a:gd name="connsiteY116" fmla="*/ 6078 h 9929"/>
                    <a:gd name="connsiteX117" fmla="*/ 1111 w 10000"/>
                    <a:gd name="connsiteY117" fmla="*/ 6425 h 9929"/>
                    <a:gd name="connsiteX118" fmla="*/ 1333 w 10000"/>
                    <a:gd name="connsiteY118" fmla="*/ 6959 h 9929"/>
                    <a:gd name="connsiteX119" fmla="*/ 1333 w 10000"/>
                    <a:gd name="connsiteY119" fmla="*/ 6959 h 9929"/>
                    <a:gd name="connsiteX120" fmla="*/ 1444 w 10000"/>
                    <a:gd name="connsiteY120" fmla="*/ 7238 h 9929"/>
                    <a:gd name="connsiteX121" fmla="*/ 1500 w 10000"/>
                    <a:gd name="connsiteY121" fmla="*/ 7446 h 9929"/>
                    <a:gd name="connsiteX122" fmla="*/ 1500 w 10000"/>
                    <a:gd name="connsiteY122" fmla="*/ 7641 h 9929"/>
                    <a:gd name="connsiteX123" fmla="*/ 1556 w 10000"/>
                    <a:gd name="connsiteY123" fmla="*/ 7729 h 9929"/>
                    <a:gd name="connsiteX124" fmla="*/ 1722 w 10000"/>
                    <a:gd name="connsiteY124" fmla="*/ 7790 h 9929"/>
                    <a:gd name="connsiteX125" fmla="*/ 1944 w 10000"/>
                    <a:gd name="connsiteY125" fmla="*/ 7855 h 9929"/>
                    <a:gd name="connsiteX126" fmla="*/ 2944 w 10000"/>
                    <a:gd name="connsiteY126" fmla="*/ 7931 h 9929"/>
                    <a:gd name="connsiteX127" fmla="*/ 2944 w 10000"/>
                    <a:gd name="connsiteY127" fmla="*/ 7931 h 9929"/>
                    <a:gd name="connsiteX128" fmla="*/ 4167 w 10000"/>
                    <a:gd name="connsiteY128" fmla="*/ 8071 h 9929"/>
                    <a:gd name="connsiteX129" fmla="*/ 4889 w 10000"/>
                    <a:gd name="connsiteY129" fmla="*/ 8266 h 9929"/>
                    <a:gd name="connsiteX130" fmla="*/ 5278 w 10000"/>
                    <a:gd name="connsiteY130" fmla="*/ 8485 h 9929"/>
                    <a:gd name="connsiteX131" fmla="*/ 5444 w 10000"/>
                    <a:gd name="connsiteY131" fmla="*/ 8543 h 9929"/>
                    <a:gd name="connsiteX132" fmla="*/ 5444 w 10000"/>
                    <a:gd name="connsiteY132" fmla="*/ 8543 h 9929"/>
                    <a:gd name="connsiteX133" fmla="*/ 5722 w 10000"/>
                    <a:gd name="connsiteY133" fmla="*/ 8697 h 9929"/>
                    <a:gd name="connsiteX134" fmla="*/ 5833 w 10000"/>
                    <a:gd name="connsiteY134" fmla="*/ 8767 h 9929"/>
                    <a:gd name="connsiteX135" fmla="*/ 5833 w 10000"/>
                    <a:gd name="connsiteY135" fmla="*/ 8767 h 9929"/>
                    <a:gd name="connsiteX136" fmla="*/ 5833 w 10000"/>
                    <a:gd name="connsiteY136" fmla="*/ 8697 h 9929"/>
                    <a:gd name="connsiteX137" fmla="*/ 5889 w 10000"/>
                    <a:gd name="connsiteY137" fmla="*/ 8619 h 9929"/>
                    <a:gd name="connsiteX138" fmla="*/ 6000 w 10000"/>
                    <a:gd name="connsiteY138" fmla="*/ 8543 h 9929"/>
                    <a:gd name="connsiteX139" fmla="*/ 6167 w 10000"/>
                    <a:gd name="connsiteY139" fmla="*/ 8485 h 9929"/>
                    <a:gd name="connsiteX140" fmla="*/ 6444 w 10000"/>
                    <a:gd name="connsiteY140" fmla="*/ 8485 h 9929"/>
                    <a:gd name="connsiteX141" fmla="*/ 6833 w 10000"/>
                    <a:gd name="connsiteY141" fmla="*/ 8543 h 9929"/>
                    <a:gd name="connsiteX142" fmla="*/ 7278 w 10000"/>
                    <a:gd name="connsiteY142" fmla="*/ 8767 h 9929"/>
                    <a:gd name="connsiteX143" fmla="*/ 7278 w 10000"/>
                    <a:gd name="connsiteY143" fmla="*/ 8767 h 9929"/>
                    <a:gd name="connsiteX144" fmla="*/ 8722 w 10000"/>
                    <a:gd name="connsiteY144" fmla="*/ 9369 h 9929"/>
                    <a:gd name="connsiteX145" fmla="*/ 10000 w 10000"/>
                    <a:gd name="connsiteY145" fmla="*/ 9929 h 9929"/>
                    <a:gd name="connsiteX146" fmla="*/ 10000 w 10000"/>
                    <a:gd name="connsiteY146" fmla="*/ 5235 h 9929"/>
                    <a:gd name="connsiteX0" fmla="*/ 10000 w 10000"/>
                    <a:gd name="connsiteY0" fmla="*/ 5272 h 10000"/>
                    <a:gd name="connsiteX1" fmla="*/ 10000 w 10000"/>
                    <a:gd name="connsiteY1" fmla="*/ 5272 h 10000"/>
                    <a:gd name="connsiteX2" fmla="*/ 9222 w 10000"/>
                    <a:gd name="connsiteY2" fmla="*/ 5349 h 10000"/>
                    <a:gd name="connsiteX3" fmla="*/ 8944 w 10000"/>
                    <a:gd name="connsiteY3" fmla="*/ 5349 h 10000"/>
                    <a:gd name="connsiteX4" fmla="*/ 8833 w 10000"/>
                    <a:gd name="connsiteY4" fmla="*/ 5272 h 10000"/>
                    <a:gd name="connsiteX5" fmla="*/ 8778 w 10000"/>
                    <a:gd name="connsiteY5" fmla="*/ 5205 h 10000"/>
                    <a:gd name="connsiteX6" fmla="*/ 8778 w 10000"/>
                    <a:gd name="connsiteY6" fmla="*/ 5205 h 10000"/>
                    <a:gd name="connsiteX7" fmla="*/ 8444 w 10000"/>
                    <a:gd name="connsiteY7" fmla="*/ 4374 h 10000"/>
                    <a:gd name="connsiteX8" fmla="*/ 8167 w 10000"/>
                    <a:gd name="connsiteY8" fmla="*/ 3610 h 10000"/>
                    <a:gd name="connsiteX9" fmla="*/ 8167 w 10000"/>
                    <a:gd name="connsiteY9" fmla="*/ 3610 h 10000"/>
                    <a:gd name="connsiteX10" fmla="*/ 8056 w 10000"/>
                    <a:gd name="connsiteY10" fmla="*/ 3478 h 10000"/>
                    <a:gd name="connsiteX11" fmla="*/ 7889 w 10000"/>
                    <a:gd name="connsiteY11" fmla="*/ 3344 h 10000"/>
                    <a:gd name="connsiteX12" fmla="*/ 7444 w 10000"/>
                    <a:gd name="connsiteY12" fmla="*/ 3262 h 10000"/>
                    <a:gd name="connsiteX13" fmla="*/ 6889 w 10000"/>
                    <a:gd name="connsiteY13" fmla="*/ 3197 h 10000"/>
                    <a:gd name="connsiteX14" fmla="*/ 6389 w 10000"/>
                    <a:gd name="connsiteY14" fmla="*/ 3197 h 10000"/>
                    <a:gd name="connsiteX15" fmla="*/ 6389 w 10000"/>
                    <a:gd name="connsiteY15" fmla="*/ 3197 h 10000"/>
                    <a:gd name="connsiteX16" fmla="*/ 6167 w 10000"/>
                    <a:gd name="connsiteY16" fmla="*/ 3120 h 10000"/>
                    <a:gd name="connsiteX17" fmla="*/ 6056 w 10000"/>
                    <a:gd name="connsiteY17" fmla="*/ 2994 h 10000"/>
                    <a:gd name="connsiteX18" fmla="*/ 6000 w 10000"/>
                    <a:gd name="connsiteY18" fmla="*/ 2845 h 10000"/>
                    <a:gd name="connsiteX19" fmla="*/ 6000 w 10000"/>
                    <a:gd name="connsiteY19" fmla="*/ 2590 h 10000"/>
                    <a:gd name="connsiteX20" fmla="*/ 6056 w 10000"/>
                    <a:gd name="connsiteY20" fmla="*/ 2025 h 10000"/>
                    <a:gd name="connsiteX21" fmla="*/ 6111 w 10000"/>
                    <a:gd name="connsiteY21" fmla="*/ 1739 h 10000"/>
                    <a:gd name="connsiteX22" fmla="*/ 6056 w 10000"/>
                    <a:gd name="connsiteY22" fmla="*/ 1389 h 10000"/>
                    <a:gd name="connsiteX23" fmla="*/ 6056 w 10000"/>
                    <a:gd name="connsiteY23" fmla="*/ 1389 h 10000"/>
                    <a:gd name="connsiteX24" fmla="*/ 6000 w 10000"/>
                    <a:gd name="connsiteY24" fmla="*/ 1181 h 10000"/>
                    <a:gd name="connsiteX25" fmla="*/ 5944 w 10000"/>
                    <a:gd name="connsiteY25" fmla="*/ 1040 h 10000"/>
                    <a:gd name="connsiteX26" fmla="*/ 5833 w 10000"/>
                    <a:gd name="connsiteY26" fmla="*/ 1040 h 10000"/>
                    <a:gd name="connsiteX27" fmla="*/ 5667 w 10000"/>
                    <a:gd name="connsiteY27" fmla="*/ 1103 h 10000"/>
                    <a:gd name="connsiteX28" fmla="*/ 5333 w 10000"/>
                    <a:gd name="connsiteY28" fmla="*/ 1320 h 10000"/>
                    <a:gd name="connsiteX29" fmla="*/ 4889 w 10000"/>
                    <a:gd name="connsiteY29" fmla="*/ 1671 h 10000"/>
                    <a:gd name="connsiteX30" fmla="*/ 4889 w 10000"/>
                    <a:gd name="connsiteY30" fmla="*/ 1671 h 10000"/>
                    <a:gd name="connsiteX31" fmla="*/ 4611 w 10000"/>
                    <a:gd name="connsiteY31" fmla="*/ 1739 h 10000"/>
                    <a:gd name="connsiteX32" fmla="*/ 4500 w 10000"/>
                    <a:gd name="connsiteY32" fmla="*/ 1739 h 10000"/>
                    <a:gd name="connsiteX33" fmla="*/ 4444 w 10000"/>
                    <a:gd name="connsiteY33" fmla="*/ 1671 h 10000"/>
                    <a:gd name="connsiteX34" fmla="*/ 4389 w 10000"/>
                    <a:gd name="connsiteY34" fmla="*/ 1389 h 10000"/>
                    <a:gd name="connsiteX35" fmla="*/ 4222 w 10000"/>
                    <a:gd name="connsiteY35" fmla="*/ 1040 h 10000"/>
                    <a:gd name="connsiteX36" fmla="*/ 4222 w 10000"/>
                    <a:gd name="connsiteY36" fmla="*/ 1040 h 10000"/>
                    <a:gd name="connsiteX37" fmla="*/ 4111 w 10000"/>
                    <a:gd name="connsiteY37" fmla="*/ 830 h 10000"/>
                    <a:gd name="connsiteX38" fmla="*/ 4111 w 10000"/>
                    <a:gd name="connsiteY38" fmla="*/ 630 h 10000"/>
                    <a:gd name="connsiteX39" fmla="*/ 4111 w 10000"/>
                    <a:gd name="connsiteY39" fmla="*/ 491 h 10000"/>
                    <a:gd name="connsiteX40" fmla="*/ 4167 w 10000"/>
                    <a:gd name="connsiteY40" fmla="*/ 346 h 10000"/>
                    <a:gd name="connsiteX41" fmla="*/ 4278 w 10000"/>
                    <a:gd name="connsiteY41" fmla="*/ 73 h 10000"/>
                    <a:gd name="connsiteX42" fmla="*/ 4389 w 10000"/>
                    <a:gd name="connsiteY42" fmla="*/ 0 h 10000"/>
                    <a:gd name="connsiteX43" fmla="*/ 4389 w 10000"/>
                    <a:gd name="connsiteY43" fmla="*/ 0 h 10000"/>
                    <a:gd name="connsiteX44" fmla="*/ 10000 w 10000"/>
                    <a:gd name="connsiteY44" fmla="*/ 5349 h 10000"/>
                    <a:gd name="connsiteX45" fmla="*/ 10000 w 10000"/>
                    <a:gd name="connsiteY45" fmla="*/ 5349 h 10000"/>
                    <a:gd name="connsiteX46" fmla="*/ 9722 w 10000"/>
                    <a:gd name="connsiteY46" fmla="*/ 5272 h 10000"/>
                    <a:gd name="connsiteX47" fmla="*/ 9389 w 10000"/>
                    <a:gd name="connsiteY47" fmla="*/ 5349 h 10000"/>
                    <a:gd name="connsiteX48" fmla="*/ 9389 w 10000"/>
                    <a:gd name="connsiteY48" fmla="*/ 5349 h 10000"/>
                    <a:gd name="connsiteX49" fmla="*/ 9278 w 10000"/>
                    <a:gd name="connsiteY49" fmla="*/ 5433 h 10000"/>
                    <a:gd name="connsiteX50" fmla="*/ 9056 w 10000"/>
                    <a:gd name="connsiteY50" fmla="*/ 5349 h 10000"/>
                    <a:gd name="connsiteX51" fmla="*/ 8889 w 10000"/>
                    <a:gd name="connsiteY51" fmla="*/ 5272 h 10000"/>
                    <a:gd name="connsiteX52" fmla="*/ 8722 w 10000"/>
                    <a:gd name="connsiteY52" fmla="*/ 5140 h 10000"/>
                    <a:gd name="connsiteX53" fmla="*/ 8611 w 10000"/>
                    <a:gd name="connsiteY53" fmla="*/ 4924 h 10000"/>
                    <a:gd name="connsiteX54" fmla="*/ 8444 w 10000"/>
                    <a:gd name="connsiteY54" fmla="*/ 4576 h 10000"/>
                    <a:gd name="connsiteX55" fmla="*/ 8444 w 10000"/>
                    <a:gd name="connsiteY55" fmla="*/ 4576 h 10000"/>
                    <a:gd name="connsiteX56" fmla="*/ 8222 w 10000"/>
                    <a:gd name="connsiteY56" fmla="*/ 3969 h 10000"/>
                    <a:gd name="connsiteX57" fmla="*/ 8111 w 10000"/>
                    <a:gd name="connsiteY57" fmla="*/ 3689 h 10000"/>
                    <a:gd name="connsiteX58" fmla="*/ 7944 w 10000"/>
                    <a:gd name="connsiteY58" fmla="*/ 3478 h 10000"/>
                    <a:gd name="connsiteX59" fmla="*/ 7778 w 10000"/>
                    <a:gd name="connsiteY59" fmla="*/ 3344 h 10000"/>
                    <a:gd name="connsiteX60" fmla="*/ 7556 w 10000"/>
                    <a:gd name="connsiteY60" fmla="*/ 3262 h 10000"/>
                    <a:gd name="connsiteX61" fmla="*/ 7333 w 10000"/>
                    <a:gd name="connsiteY61" fmla="*/ 3197 h 10000"/>
                    <a:gd name="connsiteX62" fmla="*/ 7000 w 10000"/>
                    <a:gd name="connsiteY62" fmla="*/ 3120 h 10000"/>
                    <a:gd name="connsiteX63" fmla="*/ 7000 w 10000"/>
                    <a:gd name="connsiteY63" fmla="*/ 3120 h 10000"/>
                    <a:gd name="connsiteX64" fmla="*/ 6556 w 10000"/>
                    <a:gd name="connsiteY64" fmla="*/ 3197 h 10000"/>
                    <a:gd name="connsiteX65" fmla="*/ 6222 w 10000"/>
                    <a:gd name="connsiteY65" fmla="*/ 3197 h 10000"/>
                    <a:gd name="connsiteX66" fmla="*/ 6111 w 10000"/>
                    <a:gd name="connsiteY66" fmla="*/ 3120 h 10000"/>
                    <a:gd name="connsiteX67" fmla="*/ 6056 w 10000"/>
                    <a:gd name="connsiteY67" fmla="*/ 3058 h 10000"/>
                    <a:gd name="connsiteX68" fmla="*/ 6056 w 10000"/>
                    <a:gd name="connsiteY68" fmla="*/ 3058 h 10000"/>
                    <a:gd name="connsiteX69" fmla="*/ 6056 w 10000"/>
                    <a:gd name="connsiteY69" fmla="*/ 1816 h 10000"/>
                    <a:gd name="connsiteX70" fmla="*/ 6056 w 10000"/>
                    <a:gd name="connsiteY70" fmla="*/ 1816 h 10000"/>
                    <a:gd name="connsiteX71" fmla="*/ 6056 w 10000"/>
                    <a:gd name="connsiteY71" fmla="*/ 1525 h 10000"/>
                    <a:gd name="connsiteX72" fmla="*/ 5944 w 10000"/>
                    <a:gd name="connsiteY72" fmla="*/ 1181 h 10000"/>
                    <a:gd name="connsiteX73" fmla="*/ 5889 w 10000"/>
                    <a:gd name="connsiteY73" fmla="*/ 1103 h 10000"/>
                    <a:gd name="connsiteX74" fmla="*/ 5778 w 10000"/>
                    <a:gd name="connsiteY74" fmla="*/ 1040 h 10000"/>
                    <a:gd name="connsiteX75" fmla="*/ 5667 w 10000"/>
                    <a:gd name="connsiteY75" fmla="*/ 1040 h 10000"/>
                    <a:gd name="connsiteX76" fmla="*/ 5500 w 10000"/>
                    <a:gd name="connsiteY76" fmla="*/ 1103 h 10000"/>
                    <a:gd name="connsiteX77" fmla="*/ 5500 w 10000"/>
                    <a:gd name="connsiteY77" fmla="*/ 1103 h 10000"/>
                    <a:gd name="connsiteX78" fmla="*/ 4889 w 10000"/>
                    <a:gd name="connsiteY78" fmla="*/ 1599 h 10000"/>
                    <a:gd name="connsiteX79" fmla="*/ 4611 w 10000"/>
                    <a:gd name="connsiteY79" fmla="*/ 1739 h 10000"/>
                    <a:gd name="connsiteX80" fmla="*/ 4556 w 10000"/>
                    <a:gd name="connsiteY80" fmla="*/ 1816 h 10000"/>
                    <a:gd name="connsiteX81" fmla="*/ 4500 w 10000"/>
                    <a:gd name="connsiteY81" fmla="*/ 1739 h 10000"/>
                    <a:gd name="connsiteX82" fmla="*/ 4500 w 10000"/>
                    <a:gd name="connsiteY82" fmla="*/ 1739 h 10000"/>
                    <a:gd name="connsiteX83" fmla="*/ 4222 w 10000"/>
                    <a:gd name="connsiteY83" fmla="*/ 1040 h 10000"/>
                    <a:gd name="connsiteX84" fmla="*/ 4222 w 10000"/>
                    <a:gd name="connsiteY84" fmla="*/ 1040 h 10000"/>
                    <a:gd name="connsiteX85" fmla="*/ 4111 w 10000"/>
                    <a:gd name="connsiteY85" fmla="*/ 695 h 10000"/>
                    <a:gd name="connsiteX86" fmla="*/ 4111 w 10000"/>
                    <a:gd name="connsiteY86" fmla="*/ 491 h 10000"/>
                    <a:gd name="connsiteX87" fmla="*/ 4111 w 10000"/>
                    <a:gd name="connsiteY87" fmla="*/ 277 h 10000"/>
                    <a:gd name="connsiteX88" fmla="*/ 4111 w 10000"/>
                    <a:gd name="connsiteY88" fmla="*/ 277 h 10000"/>
                    <a:gd name="connsiteX89" fmla="*/ 4278 w 10000"/>
                    <a:gd name="connsiteY89" fmla="*/ 73 h 10000"/>
                    <a:gd name="connsiteX90" fmla="*/ 4389 w 10000"/>
                    <a:gd name="connsiteY90" fmla="*/ 0 h 10000"/>
                    <a:gd name="connsiteX91" fmla="*/ 4000 w 10000"/>
                    <a:gd name="connsiteY91" fmla="*/ 0 h 10000"/>
                    <a:gd name="connsiteX92" fmla="*/ 3722 w 10000"/>
                    <a:gd name="connsiteY92" fmla="*/ 73 h 10000"/>
                    <a:gd name="connsiteX93" fmla="*/ 3611 w 10000"/>
                    <a:gd name="connsiteY93" fmla="*/ 146 h 10000"/>
                    <a:gd name="connsiteX94" fmla="*/ 3556 w 10000"/>
                    <a:gd name="connsiteY94" fmla="*/ 217 h 10000"/>
                    <a:gd name="connsiteX95" fmla="*/ 3556 w 10000"/>
                    <a:gd name="connsiteY95" fmla="*/ 217 h 10000"/>
                    <a:gd name="connsiteX96" fmla="*/ 3444 w 10000"/>
                    <a:gd name="connsiteY96" fmla="*/ 491 h 10000"/>
                    <a:gd name="connsiteX97" fmla="*/ 3278 w 10000"/>
                    <a:gd name="connsiteY97" fmla="*/ 912 h 10000"/>
                    <a:gd name="connsiteX98" fmla="*/ 3000 w 10000"/>
                    <a:gd name="connsiteY98" fmla="*/ 1389 h 10000"/>
                    <a:gd name="connsiteX99" fmla="*/ 2667 w 10000"/>
                    <a:gd name="connsiteY99" fmla="*/ 1739 h 10000"/>
                    <a:gd name="connsiteX100" fmla="*/ 2667 w 10000"/>
                    <a:gd name="connsiteY100" fmla="*/ 1739 h 10000"/>
                    <a:gd name="connsiteX101" fmla="*/ 2333 w 10000"/>
                    <a:gd name="connsiteY101" fmla="*/ 2025 h 10000"/>
                    <a:gd name="connsiteX102" fmla="*/ 1833 w 10000"/>
                    <a:gd name="connsiteY102" fmla="*/ 2304 h 10000"/>
                    <a:gd name="connsiteX103" fmla="*/ 1389 w 10000"/>
                    <a:gd name="connsiteY103" fmla="*/ 2435 h 10000"/>
                    <a:gd name="connsiteX104" fmla="*/ 889 w 10000"/>
                    <a:gd name="connsiteY104" fmla="*/ 2506 h 10000"/>
                    <a:gd name="connsiteX105" fmla="*/ 889 w 10000"/>
                    <a:gd name="connsiteY105" fmla="*/ 2506 h 10000"/>
                    <a:gd name="connsiteX106" fmla="*/ 500 w 10000"/>
                    <a:gd name="connsiteY106" fmla="*/ 2590 h 10000"/>
                    <a:gd name="connsiteX107" fmla="*/ 222 w 10000"/>
                    <a:gd name="connsiteY107" fmla="*/ 2641 h 10000"/>
                    <a:gd name="connsiteX108" fmla="*/ 0 w 10000"/>
                    <a:gd name="connsiteY108" fmla="*/ 2709 h 10000"/>
                    <a:gd name="connsiteX109" fmla="*/ 0 w 10000"/>
                    <a:gd name="connsiteY109" fmla="*/ 2709 h 10000"/>
                    <a:gd name="connsiteX110" fmla="*/ 278 w 10000"/>
                    <a:gd name="connsiteY110" fmla="*/ 3828 h 10000"/>
                    <a:gd name="connsiteX111" fmla="*/ 500 w 10000"/>
                    <a:gd name="connsiteY111" fmla="*/ 4646 h 10000"/>
                    <a:gd name="connsiteX112" fmla="*/ 722 w 10000"/>
                    <a:gd name="connsiteY112" fmla="*/ 5349 h 10000"/>
                    <a:gd name="connsiteX113" fmla="*/ 722 w 10000"/>
                    <a:gd name="connsiteY113" fmla="*/ 5349 h 10000"/>
                    <a:gd name="connsiteX114" fmla="*/ 889 w 10000"/>
                    <a:gd name="connsiteY114" fmla="*/ 5764 h 10000"/>
                    <a:gd name="connsiteX115" fmla="*/ 944 w 10000"/>
                    <a:gd name="connsiteY115" fmla="*/ 6121 h 10000"/>
                    <a:gd name="connsiteX116" fmla="*/ 1111 w 10000"/>
                    <a:gd name="connsiteY116" fmla="*/ 6471 h 10000"/>
                    <a:gd name="connsiteX117" fmla="*/ 1333 w 10000"/>
                    <a:gd name="connsiteY117" fmla="*/ 7009 h 10000"/>
                    <a:gd name="connsiteX118" fmla="*/ 1333 w 10000"/>
                    <a:gd name="connsiteY118" fmla="*/ 7009 h 10000"/>
                    <a:gd name="connsiteX119" fmla="*/ 1444 w 10000"/>
                    <a:gd name="connsiteY119" fmla="*/ 7290 h 10000"/>
                    <a:gd name="connsiteX120" fmla="*/ 1500 w 10000"/>
                    <a:gd name="connsiteY120" fmla="*/ 7499 h 10000"/>
                    <a:gd name="connsiteX121" fmla="*/ 1500 w 10000"/>
                    <a:gd name="connsiteY121" fmla="*/ 7696 h 10000"/>
                    <a:gd name="connsiteX122" fmla="*/ 1556 w 10000"/>
                    <a:gd name="connsiteY122" fmla="*/ 7784 h 10000"/>
                    <a:gd name="connsiteX123" fmla="*/ 1722 w 10000"/>
                    <a:gd name="connsiteY123" fmla="*/ 7846 h 10000"/>
                    <a:gd name="connsiteX124" fmla="*/ 1944 w 10000"/>
                    <a:gd name="connsiteY124" fmla="*/ 7911 h 10000"/>
                    <a:gd name="connsiteX125" fmla="*/ 2944 w 10000"/>
                    <a:gd name="connsiteY125" fmla="*/ 7988 h 10000"/>
                    <a:gd name="connsiteX126" fmla="*/ 2944 w 10000"/>
                    <a:gd name="connsiteY126" fmla="*/ 7988 h 10000"/>
                    <a:gd name="connsiteX127" fmla="*/ 4167 w 10000"/>
                    <a:gd name="connsiteY127" fmla="*/ 8129 h 10000"/>
                    <a:gd name="connsiteX128" fmla="*/ 4889 w 10000"/>
                    <a:gd name="connsiteY128" fmla="*/ 8325 h 10000"/>
                    <a:gd name="connsiteX129" fmla="*/ 5278 w 10000"/>
                    <a:gd name="connsiteY129" fmla="*/ 8546 h 10000"/>
                    <a:gd name="connsiteX130" fmla="*/ 5444 w 10000"/>
                    <a:gd name="connsiteY130" fmla="*/ 8604 h 10000"/>
                    <a:gd name="connsiteX131" fmla="*/ 5444 w 10000"/>
                    <a:gd name="connsiteY131" fmla="*/ 8604 h 10000"/>
                    <a:gd name="connsiteX132" fmla="*/ 5722 w 10000"/>
                    <a:gd name="connsiteY132" fmla="*/ 8759 h 10000"/>
                    <a:gd name="connsiteX133" fmla="*/ 5833 w 10000"/>
                    <a:gd name="connsiteY133" fmla="*/ 8830 h 10000"/>
                    <a:gd name="connsiteX134" fmla="*/ 5833 w 10000"/>
                    <a:gd name="connsiteY134" fmla="*/ 8830 h 10000"/>
                    <a:gd name="connsiteX135" fmla="*/ 5833 w 10000"/>
                    <a:gd name="connsiteY135" fmla="*/ 8759 h 10000"/>
                    <a:gd name="connsiteX136" fmla="*/ 5889 w 10000"/>
                    <a:gd name="connsiteY136" fmla="*/ 8681 h 10000"/>
                    <a:gd name="connsiteX137" fmla="*/ 6000 w 10000"/>
                    <a:gd name="connsiteY137" fmla="*/ 8604 h 10000"/>
                    <a:gd name="connsiteX138" fmla="*/ 6167 w 10000"/>
                    <a:gd name="connsiteY138" fmla="*/ 8546 h 10000"/>
                    <a:gd name="connsiteX139" fmla="*/ 6444 w 10000"/>
                    <a:gd name="connsiteY139" fmla="*/ 8546 h 10000"/>
                    <a:gd name="connsiteX140" fmla="*/ 6833 w 10000"/>
                    <a:gd name="connsiteY140" fmla="*/ 8604 h 10000"/>
                    <a:gd name="connsiteX141" fmla="*/ 7278 w 10000"/>
                    <a:gd name="connsiteY141" fmla="*/ 8830 h 10000"/>
                    <a:gd name="connsiteX142" fmla="*/ 7278 w 10000"/>
                    <a:gd name="connsiteY142" fmla="*/ 8830 h 10000"/>
                    <a:gd name="connsiteX143" fmla="*/ 8722 w 10000"/>
                    <a:gd name="connsiteY143" fmla="*/ 9436 h 10000"/>
                    <a:gd name="connsiteX144" fmla="*/ 10000 w 10000"/>
                    <a:gd name="connsiteY144" fmla="*/ 10000 h 10000"/>
                    <a:gd name="connsiteX145" fmla="*/ 10000 w 10000"/>
                    <a:gd name="connsiteY145" fmla="*/ 5272 h 10000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4167 w 10000"/>
                    <a:gd name="connsiteY40" fmla="*/ 473 h 10127"/>
                    <a:gd name="connsiteX41" fmla="*/ 4278 w 10000"/>
                    <a:gd name="connsiteY41" fmla="*/ 200 h 10127"/>
                    <a:gd name="connsiteX42" fmla="*/ 4389 w 10000"/>
                    <a:gd name="connsiteY42" fmla="*/ 127 h 10127"/>
                    <a:gd name="connsiteX43" fmla="*/ 4389 w 10000"/>
                    <a:gd name="connsiteY43" fmla="*/ 127 h 10127"/>
                    <a:gd name="connsiteX44" fmla="*/ 10000 w 10000"/>
                    <a:gd name="connsiteY44" fmla="*/ 5476 h 10127"/>
                    <a:gd name="connsiteX45" fmla="*/ 10000 w 10000"/>
                    <a:gd name="connsiteY45" fmla="*/ 5476 h 10127"/>
                    <a:gd name="connsiteX46" fmla="*/ 9722 w 10000"/>
                    <a:gd name="connsiteY46" fmla="*/ 5399 h 10127"/>
                    <a:gd name="connsiteX47" fmla="*/ 9389 w 10000"/>
                    <a:gd name="connsiteY47" fmla="*/ 5476 h 10127"/>
                    <a:gd name="connsiteX48" fmla="*/ 9389 w 10000"/>
                    <a:gd name="connsiteY48" fmla="*/ 5476 h 10127"/>
                    <a:gd name="connsiteX49" fmla="*/ 9278 w 10000"/>
                    <a:gd name="connsiteY49" fmla="*/ 5560 h 10127"/>
                    <a:gd name="connsiteX50" fmla="*/ 9056 w 10000"/>
                    <a:gd name="connsiteY50" fmla="*/ 5476 h 10127"/>
                    <a:gd name="connsiteX51" fmla="*/ 8889 w 10000"/>
                    <a:gd name="connsiteY51" fmla="*/ 5399 h 10127"/>
                    <a:gd name="connsiteX52" fmla="*/ 8722 w 10000"/>
                    <a:gd name="connsiteY52" fmla="*/ 5267 h 10127"/>
                    <a:gd name="connsiteX53" fmla="*/ 8611 w 10000"/>
                    <a:gd name="connsiteY53" fmla="*/ 5051 h 10127"/>
                    <a:gd name="connsiteX54" fmla="*/ 8444 w 10000"/>
                    <a:gd name="connsiteY54" fmla="*/ 4703 h 10127"/>
                    <a:gd name="connsiteX55" fmla="*/ 8444 w 10000"/>
                    <a:gd name="connsiteY55" fmla="*/ 4703 h 10127"/>
                    <a:gd name="connsiteX56" fmla="*/ 8222 w 10000"/>
                    <a:gd name="connsiteY56" fmla="*/ 4096 h 10127"/>
                    <a:gd name="connsiteX57" fmla="*/ 8111 w 10000"/>
                    <a:gd name="connsiteY57" fmla="*/ 3816 h 10127"/>
                    <a:gd name="connsiteX58" fmla="*/ 7944 w 10000"/>
                    <a:gd name="connsiteY58" fmla="*/ 3605 h 10127"/>
                    <a:gd name="connsiteX59" fmla="*/ 7778 w 10000"/>
                    <a:gd name="connsiteY59" fmla="*/ 3471 h 10127"/>
                    <a:gd name="connsiteX60" fmla="*/ 7556 w 10000"/>
                    <a:gd name="connsiteY60" fmla="*/ 3389 h 10127"/>
                    <a:gd name="connsiteX61" fmla="*/ 7333 w 10000"/>
                    <a:gd name="connsiteY61" fmla="*/ 3324 h 10127"/>
                    <a:gd name="connsiteX62" fmla="*/ 7000 w 10000"/>
                    <a:gd name="connsiteY62" fmla="*/ 3247 h 10127"/>
                    <a:gd name="connsiteX63" fmla="*/ 7000 w 10000"/>
                    <a:gd name="connsiteY63" fmla="*/ 3247 h 10127"/>
                    <a:gd name="connsiteX64" fmla="*/ 6556 w 10000"/>
                    <a:gd name="connsiteY64" fmla="*/ 3324 h 10127"/>
                    <a:gd name="connsiteX65" fmla="*/ 6222 w 10000"/>
                    <a:gd name="connsiteY65" fmla="*/ 3324 h 10127"/>
                    <a:gd name="connsiteX66" fmla="*/ 6111 w 10000"/>
                    <a:gd name="connsiteY66" fmla="*/ 3247 h 10127"/>
                    <a:gd name="connsiteX67" fmla="*/ 6056 w 10000"/>
                    <a:gd name="connsiteY67" fmla="*/ 3185 h 10127"/>
                    <a:gd name="connsiteX68" fmla="*/ 6056 w 10000"/>
                    <a:gd name="connsiteY68" fmla="*/ 3185 h 10127"/>
                    <a:gd name="connsiteX69" fmla="*/ 6056 w 10000"/>
                    <a:gd name="connsiteY69" fmla="*/ 1943 h 10127"/>
                    <a:gd name="connsiteX70" fmla="*/ 6056 w 10000"/>
                    <a:gd name="connsiteY70" fmla="*/ 1943 h 10127"/>
                    <a:gd name="connsiteX71" fmla="*/ 6056 w 10000"/>
                    <a:gd name="connsiteY71" fmla="*/ 1652 h 10127"/>
                    <a:gd name="connsiteX72" fmla="*/ 5944 w 10000"/>
                    <a:gd name="connsiteY72" fmla="*/ 1308 h 10127"/>
                    <a:gd name="connsiteX73" fmla="*/ 5889 w 10000"/>
                    <a:gd name="connsiteY73" fmla="*/ 1230 h 10127"/>
                    <a:gd name="connsiteX74" fmla="*/ 5778 w 10000"/>
                    <a:gd name="connsiteY74" fmla="*/ 1167 h 10127"/>
                    <a:gd name="connsiteX75" fmla="*/ 5667 w 10000"/>
                    <a:gd name="connsiteY75" fmla="*/ 1167 h 10127"/>
                    <a:gd name="connsiteX76" fmla="*/ 5500 w 10000"/>
                    <a:gd name="connsiteY76" fmla="*/ 1230 h 10127"/>
                    <a:gd name="connsiteX77" fmla="*/ 5500 w 10000"/>
                    <a:gd name="connsiteY77" fmla="*/ 1230 h 10127"/>
                    <a:gd name="connsiteX78" fmla="*/ 4889 w 10000"/>
                    <a:gd name="connsiteY78" fmla="*/ 1726 h 10127"/>
                    <a:gd name="connsiteX79" fmla="*/ 4611 w 10000"/>
                    <a:gd name="connsiteY79" fmla="*/ 1866 h 10127"/>
                    <a:gd name="connsiteX80" fmla="*/ 4556 w 10000"/>
                    <a:gd name="connsiteY80" fmla="*/ 1943 h 10127"/>
                    <a:gd name="connsiteX81" fmla="*/ 4500 w 10000"/>
                    <a:gd name="connsiteY81" fmla="*/ 1866 h 10127"/>
                    <a:gd name="connsiteX82" fmla="*/ 4500 w 10000"/>
                    <a:gd name="connsiteY82" fmla="*/ 1866 h 10127"/>
                    <a:gd name="connsiteX83" fmla="*/ 4222 w 10000"/>
                    <a:gd name="connsiteY83" fmla="*/ 1167 h 10127"/>
                    <a:gd name="connsiteX84" fmla="*/ 4222 w 10000"/>
                    <a:gd name="connsiteY84" fmla="*/ 1167 h 10127"/>
                    <a:gd name="connsiteX85" fmla="*/ 4111 w 10000"/>
                    <a:gd name="connsiteY85" fmla="*/ 822 h 10127"/>
                    <a:gd name="connsiteX86" fmla="*/ 4111 w 10000"/>
                    <a:gd name="connsiteY86" fmla="*/ 618 h 10127"/>
                    <a:gd name="connsiteX87" fmla="*/ 4111 w 10000"/>
                    <a:gd name="connsiteY87" fmla="*/ 404 h 10127"/>
                    <a:gd name="connsiteX88" fmla="*/ 4111 w 10000"/>
                    <a:gd name="connsiteY88" fmla="*/ 404 h 10127"/>
                    <a:gd name="connsiteX89" fmla="*/ 4278 w 10000"/>
                    <a:gd name="connsiteY89" fmla="*/ 200 h 10127"/>
                    <a:gd name="connsiteX90" fmla="*/ 4213 w 10000"/>
                    <a:gd name="connsiteY90" fmla="*/ 0 h 10127"/>
                    <a:gd name="connsiteX91" fmla="*/ 4000 w 10000"/>
                    <a:gd name="connsiteY91" fmla="*/ 127 h 10127"/>
                    <a:gd name="connsiteX92" fmla="*/ 3722 w 10000"/>
                    <a:gd name="connsiteY92" fmla="*/ 200 h 10127"/>
                    <a:gd name="connsiteX93" fmla="*/ 3611 w 10000"/>
                    <a:gd name="connsiteY93" fmla="*/ 273 h 10127"/>
                    <a:gd name="connsiteX94" fmla="*/ 3556 w 10000"/>
                    <a:gd name="connsiteY94" fmla="*/ 344 h 10127"/>
                    <a:gd name="connsiteX95" fmla="*/ 3556 w 10000"/>
                    <a:gd name="connsiteY95" fmla="*/ 344 h 10127"/>
                    <a:gd name="connsiteX96" fmla="*/ 3444 w 10000"/>
                    <a:gd name="connsiteY96" fmla="*/ 618 h 10127"/>
                    <a:gd name="connsiteX97" fmla="*/ 3278 w 10000"/>
                    <a:gd name="connsiteY97" fmla="*/ 1039 h 10127"/>
                    <a:gd name="connsiteX98" fmla="*/ 3000 w 10000"/>
                    <a:gd name="connsiteY98" fmla="*/ 1516 h 10127"/>
                    <a:gd name="connsiteX99" fmla="*/ 2667 w 10000"/>
                    <a:gd name="connsiteY99" fmla="*/ 1866 h 10127"/>
                    <a:gd name="connsiteX100" fmla="*/ 2667 w 10000"/>
                    <a:gd name="connsiteY100" fmla="*/ 1866 h 10127"/>
                    <a:gd name="connsiteX101" fmla="*/ 2333 w 10000"/>
                    <a:gd name="connsiteY101" fmla="*/ 2152 h 10127"/>
                    <a:gd name="connsiteX102" fmla="*/ 1833 w 10000"/>
                    <a:gd name="connsiteY102" fmla="*/ 2431 h 10127"/>
                    <a:gd name="connsiteX103" fmla="*/ 1389 w 10000"/>
                    <a:gd name="connsiteY103" fmla="*/ 2562 h 10127"/>
                    <a:gd name="connsiteX104" fmla="*/ 889 w 10000"/>
                    <a:gd name="connsiteY104" fmla="*/ 2633 h 10127"/>
                    <a:gd name="connsiteX105" fmla="*/ 889 w 10000"/>
                    <a:gd name="connsiteY105" fmla="*/ 2633 h 10127"/>
                    <a:gd name="connsiteX106" fmla="*/ 500 w 10000"/>
                    <a:gd name="connsiteY106" fmla="*/ 2717 h 10127"/>
                    <a:gd name="connsiteX107" fmla="*/ 222 w 10000"/>
                    <a:gd name="connsiteY107" fmla="*/ 2768 h 10127"/>
                    <a:gd name="connsiteX108" fmla="*/ 0 w 10000"/>
                    <a:gd name="connsiteY108" fmla="*/ 2836 h 10127"/>
                    <a:gd name="connsiteX109" fmla="*/ 0 w 10000"/>
                    <a:gd name="connsiteY109" fmla="*/ 2836 h 10127"/>
                    <a:gd name="connsiteX110" fmla="*/ 278 w 10000"/>
                    <a:gd name="connsiteY110" fmla="*/ 3955 h 10127"/>
                    <a:gd name="connsiteX111" fmla="*/ 500 w 10000"/>
                    <a:gd name="connsiteY111" fmla="*/ 4773 h 10127"/>
                    <a:gd name="connsiteX112" fmla="*/ 722 w 10000"/>
                    <a:gd name="connsiteY112" fmla="*/ 5476 h 10127"/>
                    <a:gd name="connsiteX113" fmla="*/ 722 w 10000"/>
                    <a:gd name="connsiteY113" fmla="*/ 5476 h 10127"/>
                    <a:gd name="connsiteX114" fmla="*/ 889 w 10000"/>
                    <a:gd name="connsiteY114" fmla="*/ 5891 h 10127"/>
                    <a:gd name="connsiteX115" fmla="*/ 944 w 10000"/>
                    <a:gd name="connsiteY115" fmla="*/ 6248 h 10127"/>
                    <a:gd name="connsiteX116" fmla="*/ 1111 w 10000"/>
                    <a:gd name="connsiteY116" fmla="*/ 6598 h 10127"/>
                    <a:gd name="connsiteX117" fmla="*/ 1333 w 10000"/>
                    <a:gd name="connsiteY117" fmla="*/ 7136 h 10127"/>
                    <a:gd name="connsiteX118" fmla="*/ 1333 w 10000"/>
                    <a:gd name="connsiteY118" fmla="*/ 7136 h 10127"/>
                    <a:gd name="connsiteX119" fmla="*/ 1444 w 10000"/>
                    <a:gd name="connsiteY119" fmla="*/ 7417 h 10127"/>
                    <a:gd name="connsiteX120" fmla="*/ 1500 w 10000"/>
                    <a:gd name="connsiteY120" fmla="*/ 7626 h 10127"/>
                    <a:gd name="connsiteX121" fmla="*/ 1500 w 10000"/>
                    <a:gd name="connsiteY121" fmla="*/ 7823 h 10127"/>
                    <a:gd name="connsiteX122" fmla="*/ 1556 w 10000"/>
                    <a:gd name="connsiteY122" fmla="*/ 7911 h 10127"/>
                    <a:gd name="connsiteX123" fmla="*/ 1722 w 10000"/>
                    <a:gd name="connsiteY123" fmla="*/ 7973 h 10127"/>
                    <a:gd name="connsiteX124" fmla="*/ 1944 w 10000"/>
                    <a:gd name="connsiteY124" fmla="*/ 8038 h 10127"/>
                    <a:gd name="connsiteX125" fmla="*/ 2944 w 10000"/>
                    <a:gd name="connsiteY125" fmla="*/ 8115 h 10127"/>
                    <a:gd name="connsiteX126" fmla="*/ 2944 w 10000"/>
                    <a:gd name="connsiteY126" fmla="*/ 8115 h 10127"/>
                    <a:gd name="connsiteX127" fmla="*/ 4167 w 10000"/>
                    <a:gd name="connsiteY127" fmla="*/ 8256 h 10127"/>
                    <a:gd name="connsiteX128" fmla="*/ 4889 w 10000"/>
                    <a:gd name="connsiteY128" fmla="*/ 8452 h 10127"/>
                    <a:gd name="connsiteX129" fmla="*/ 5278 w 10000"/>
                    <a:gd name="connsiteY129" fmla="*/ 8673 h 10127"/>
                    <a:gd name="connsiteX130" fmla="*/ 5444 w 10000"/>
                    <a:gd name="connsiteY130" fmla="*/ 8731 h 10127"/>
                    <a:gd name="connsiteX131" fmla="*/ 5444 w 10000"/>
                    <a:gd name="connsiteY131" fmla="*/ 8731 h 10127"/>
                    <a:gd name="connsiteX132" fmla="*/ 5722 w 10000"/>
                    <a:gd name="connsiteY132" fmla="*/ 8886 h 10127"/>
                    <a:gd name="connsiteX133" fmla="*/ 5833 w 10000"/>
                    <a:gd name="connsiteY133" fmla="*/ 8957 h 10127"/>
                    <a:gd name="connsiteX134" fmla="*/ 5833 w 10000"/>
                    <a:gd name="connsiteY134" fmla="*/ 8957 h 10127"/>
                    <a:gd name="connsiteX135" fmla="*/ 5833 w 10000"/>
                    <a:gd name="connsiteY135" fmla="*/ 8886 h 10127"/>
                    <a:gd name="connsiteX136" fmla="*/ 5889 w 10000"/>
                    <a:gd name="connsiteY136" fmla="*/ 8808 h 10127"/>
                    <a:gd name="connsiteX137" fmla="*/ 6000 w 10000"/>
                    <a:gd name="connsiteY137" fmla="*/ 8731 h 10127"/>
                    <a:gd name="connsiteX138" fmla="*/ 6167 w 10000"/>
                    <a:gd name="connsiteY138" fmla="*/ 8673 h 10127"/>
                    <a:gd name="connsiteX139" fmla="*/ 6444 w 10000"/>
                    <a:gd name="connsiteY139" fmla="*/ 8673 h 10127"/>
                    <a:gd name="connsiteX140" fmla="*/ 6833 w 10000"/>
                    <a:gd name="connsiteY140" fmla="*/ 8731 h 10127"/>
                    <a:gd name="connsiteX141" fmla="*/ 7278 w 10000"/>
                    <a:gd name="connsiteY141" fmla="*/ 8957 h 10127"/>
                    <a:gd name="connsiteX142" fmla="*/ 7278 w 10000"/>
                    <a:gd name="connsiteY142" fmla="*/ 8957 h 10127"/>
                    <a:gd name="connsiteX143" fmla="*/ 8722 w 10000"/>
                    <a:gd name="connsiteY143" fmla="*/ 9563 h 10127"/>
                    <a:gd name="connsiteX144" fmla="*/ 10000 w 10000"/>
                    <a:gd name="connsiteY144" fmla="*/ 10127 h 10127"/>
                    <a:gd name="connsiteX145" fmla="*/ 10000 w 10000"/>
                    <a:gd name="connsiteY145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4167 w 10000"/>
                    <a:gd name="connsiteY40" fmla="*/ 473 h 10127"/>
                    <a:gd name="connsiteX41" fmla="*/ 4278 w 10000"/>
                    <a:gd name="connsiteY41" fmla="*/ 200 h 10127"/>
                    <a:gd name="connsiteX42" fmla="*/ 4389 w 10000"/>
                    <a:gd name="connsiteY42" fmla="*/ 127 h 10127"/>
                    <a:gd name="connsiteX43" fmla="*/ 10000 w 10000"/>
                    <a:gd name="connsiteY43" fmla="*/ 5476 h 10127"/>
                    <a:gd name="connsiteX44" fmla="*/ 10000 w 10000"/>
                    <a:gd name="connsiteY44" fmla="*/ 5476 h 10127"/>
                    <a:gd name="connsiteX45" fmla="*/ 9722 w 10000"/>
                    <a:gd name="connsiteY45" fmla="*/ 5399 h 10127"/>
                    <a:gd name="connsiteX46" fmla="*/ 9389 w 10000"/>
                    <a:gd name="connsiteY46" fmla="*/ 5476 h 10127"/>
                    <a:gd name="connsiteX47" fmla="*/ 9389 w 10000"/>
                    <a:gd name="connsiteY47" fmla="*/ 5476 h 10127"/>
                    <a:gd name="connsiteX48" fmla="*/ 9278 w 10000"/>
                    <a:gd name="connsiteY48" fmla="*/ 5560 h 10127"/>
                    <a:gd name="connsiteX49" fmla="*/ 9056 w 10000"/>
                    <a:gd name="connsiteY49" fmla="*/ 5476 h 10127"/>
                    <a:gd name="connsiteX50" fmla="*/ 8889 w 10000"/>
                    <a:gd name="connsiteY50" fmla="*/ 5399 h 10127"/>
                    <a:gd name="connsiteX51" fmla="*/ 8722 w 10000"/>
                    <a:gd name="connsiteY51" fmla="*/ 5267 h 10127"/>
                    <a:gd name="connsiteX52" fmla="*/ 8611 w 10000"/>
                    <a:gd name="connsiteY52" fmla="*/ 5051 h 10127"/>
                    <a:gd name="connsiteX53" fmla="*/ 8444 w 10000"/>
                    <a:gd name="connsiteY53" fmla="*/ 4703 h 10127"/>
                    <a:gd name="connsiteX54" fmla="*/ 8444 w 10000"/>
                    <a:gd name="connsiteY54" fmla="*/ 4703 h 10127"/>
                    <a:gd name="connsiteX55" fmla="*/ 8222 w 10000"/>
                    <a:gd name="connsiteY55" fmla="*/ 4096 h 10127"/>
                    <a:gd name="connsiteX56" fmla="*/ 8111 w 10000"/>
                    <a:gd name="connsiteY56" fmla="*/ 3816 h 10127"/>
                    <a:gd name="connsiteX57" fmla="*/ 7944 w 10000"/>
                    <a:gd name="connsiteY57" fmla="*/ 3605 h 10127"/>
                    <a:gd name="connsiteX58" fmla="*/ 7778 w 10000"/>
                    <a:gd name="connsiteY58" fmla="*/ 3471 h 10127"/>
                    <a:gd name="connsiteX59" fmla="*/ 7556 w 10000"/>
                    <a:gd name="connsiteY59" fmla="*/ 3389 h 10127"/>
                    <a:gd name="connsiteX60" fmla="*/ 7333 w 10000"/>
                    <a:gd name="connsiteY60" fmla="*/ 3324 h 10127"/>
                    <a:gd name="connsiteX61" fmla="*/ 7000 w 10000"/>
                    <a:gd name="connsiteY61" fmla="*/ 3247 h 10127"/>
                    <a:gd name="connsiteX62" fmla="*/ 7000 w 10000"/>
                    <a:gd name="connsiteY62" fmla="*/ 3247 h 10127"/>
                    <a:gd name="connsiteX63" fmla="*/ 6556 w 10000"/>
                    <a:gd name="connsiteY63" fmla="*/ 3324 h 10127"/>
                    <a:gd name="connsiteX64" fmla="*/ 6222 w 10000"/>
                    <a:gd name="connsiteY64" fmla="*/ 3324 h 10127"/>
                    <a:gd name="connsiteX65" fmla="*/ 6111 w 10000"/>
                    <a:gd name="connsiteY65" fmla="*/ 3247 h 10127"/>
                    <a:gd name="connsiteX66" fmla="*/ 6056 w 10000"/>
                    <a:gd name="connsiteY66" fmla="*/ 3185 h 10127"/>
                    <a:gd name="connsiteX67" fmla="*/ 6056 w 10000"/>
                    <a:gd name="connsiteY67" fmla="*/ 3185 h 10127"/>
                    <a:gd name="connsiteX68" fmla="*/ 6056 w 10000"/>
                    <a:gd name="connsiteY68" fmla="*/ 1943 h 10127"/>
                    <a:gd name="connsiteX69" fmla="*/ 6056 w 10000"/>
                    <a:gd name="connsiteY69" fmla="*/ 1943 h 10127"/>
                    <a:gd name="connsiteX70" fmla="*/ 6056 w 10000"/>
                    <a:gd name="connsiteY70" fmla="*/ 1652 h 10127"/>
                    <a:gd name="connsiteX71" fmla="*/ 5944 w 10000"/>
                    <a:gd name="connsiteY71" fmla="*/ 1308 h 10127"/>
                    <a:gd name="connsiteX72" fmla="*/ 5889 w 10000"/>
                    <a:gd name="connsiteY72" fmla="*/ 1230 h 10127"/>
                    <a:gd name="connsiteX73" fmla="*/ 5778 w 10000"/>
                    <a:gd name="connsiteY73" fmla="*/ 1167 h 10127"/>
                    <a:gd name="connsiteX74" fmla="*/ 5667 w 10000"/>
                    <a:gd name="connsiteY74" fmla="*/ 1167 h 10127"/>
                    <a:gd name="connsiteX75" fmla="*/ 5500 w 10000"/>
                    <a:gd name="connsiteY75" fmla="*/ 1230 h 10127"/>
                    <a:gd name="connsiteX76" fmla="*/ 5500 w 10000"/>
                    <a:gd name="connsiteY76" fmla="*/ 1230 h 10127"/>
                    <a:gd name="connsiteX77" fmla="*/ 4889 w 10000"/>
                    <a:gd name="connsiteY77" fmla="*/ 1726 h 10127"/>
                    <a:gd name="connsiteX78" fmla="*/ 4611 w 10000"/>
                    <a:gd name="connsiteY78" fmla="*/ 1866 h 10127"/>
                    <a:gd name="connsiteX79" fmla="*/ 4556 w 10000"/>
                    <a:gd name="connsiteY79" fmla="*/ 1943 h 10127"/>
                    <a:gd name="connsiteX80" fmla="*/ 4500 w 10000"/>
                    <a:gd name="connsiteY80" fmla="*/ 1866 h 10127"/>
                    <a:gd name="connsiteX81" fmla="*/ 4500 w 10000"/>
                    <a:gd name="connsiteY81" fmla="*/ 1866 h 10127"/>
                    <a:gd name="connsiteX82" fmla="*/ 4222 w 10000"/>
                    <a:gd name="connsiteY82" fmla="*/ 1167 h 10127"/>
                    <a:gd name="connsiteX83" fmla="*/ 4222 w 10000"/>
                    <a:gd name="connsiteY83" fmla="*/ 1167 h 10127"/>
                    <a:gd name="connsiteX84" fmla="*/ 4111 w 10000"/>
                    <a:gd name="connsiteY84" fmla="*/ 822 h 10127"/>
                    <a:gd name="connsiteX85" fmla="*/ 4111 w 10000"/>
                    <a:gd name="connsiteY85" fmla="*/ 618 h 10127"/>
                    <a:gd name="connsiteX86" fmla="*/ 4111 w 10000"/>
                    <a:gd name="connsiteY86" fmla="*/ 404 h 10127"/>
                    <a:gd name="connsiteX87" fmla="*/ 4111 w 10000"/>
                    <a:gd name="connsiteY87" fmla="*/ 404 h 10127"/>
                    <a:gd name="connsiteX88" fmla="*/ 4278 w 10000"/>
                    <a:gd name="connsiteY88" fmla="*/ 200 h 10127"/>
                    <a:gd name="connsiteX89" fmla="*/ 4213 w 10000"/>
                    <a:gd name="connsiteY89" fmla="*/ 0 h 10127"/>
                    <a:gd name="connsiteX90" fmla="*/ 4000 w 10000"/>
                    <a:gd name="connsiteY90" fmla="*/ 127 h 10127"/>
                    <a:gd name="connsiteX91" fmla="*/ 3722 w 10000"/>
                    <a:gd name="connsiteY91" fmla="*/ 200 h 10127"/>
                    <a:gd name="connsiteX92" fmla="*/ 3611 w 10000"/>
                    <a:gd name="connsiteY92" fmla="*/ 273 h 10127"/>
                    <a:gd name="connsiteX93" fmla="*/ 3556 w 10000"/>
                    <a:gd name="connsiteY93" fmla="*/ 344 h 10127"/>
                    <a:gd name="connsiteX94" fmla="*/ 3556 w 10000"/>
                    <a:gd name="connsiteY94" fmla="*/ 344 h 10127"/>
                    <a:gd name="connsiteX95" fmla="*/ 3444 w 10000"/>
                    <a:gd name="connsiteY95" fmla="*/ 618 h 10127"/>
                    <a:gd name="connsiteX96" fmla="*/ 3278 w 10000"/>
                    <a:gd name="connsiteY96" fmla="*/ 1039 h 10127"/>
                    <a:gd name="connsiteX97" fmla="*/ 3000 w 10000"/>
                    <a:gd name="connsiteY97" fmla="*/ 1516 h 10127"/>
                    <a:gd name="connsiteX98" fmla="*/ 2667 w 10000"/>
                    <a:gd name="connsiteY98" fmla="*/ 1866 h 10127"/>
                    <a:gd name="connsiteX99" fmla="*/ 2667 w 10000"/>
                    <a:gd name="connsiteY99" fmla="*/ 1866 h 10127"/>
                    <a:gd name="connsiteX100" fmla="*/ 2333 w 10000"/>
                    <a:gd name="connsiteY100" fmla="*/ 2152 h 10127"/>
                    <a:gd name="connsiteX101" fmla="*/ 1833 w 10000"/>
                    <a:gd name="connsiteY101" fmla="*/ 2431 h 10127"/>
                    <a:gd name="connsiteX102" fmla="*/ 1389 w 10000"/>
                    <a:gd name="connsiteY102" fmla="*/ 2562 h 10127"/>
                    <a:gd name="connsiteX103" fmla="*/ 889 w 10000"/>
                    <a:gd name="connsiteY103" fmla="*/ 2633 h 10127"/>
                    <a:gd name="connsiteX104" fmla="*/ 889 w 10000"/>
                    <a:gd name="connsiteY104" fmla="*/ 2633 h 10127"/>
                    <a:gd name="connsiteX105" fmla="*/ 500 w 10000"/>
                    <a:gd name="connsiteY105" fmla="*/ 2717 h 10127"/>
                    <a:gd name="connsiteX106" fmla="*/ 222 w 10000"/>
                    <a:gd name="connsiteY106" fmla="*/ 2768 h 10127"/>
                    <a:gd name="connsiteX107" fmla="*/ 0 w 10000"/>
                    <a:gd name="connsiteY107" fmla="*/ 2836 h 10127"/>
                    <a:gd name="connsiteX108" fmla="*/ 0 w 10000"/>
                    <a:gd name="connsiteY108" fmla="*/ 2836 h 10127"/>
                    <a:gd name="connsiteX109" fmla="*/ 278 w 10000"/>
                    <a:gd name="connsiteY109" fmla="*/ 3955 h 10127"/>
                    <a:gd name="connsiteX110" fmla="*/ 500 w 10000"/>
                    <a:gd name="connsiteY110" fmla="*/ 4773 h 10127"/>
                    <a:gd name="connsiteX111" fmla="*/ 722 w 10000"/>
                    <a:gd name="connsiteY111" fmla="*/ 5476 h 10127"/>
                    <a:gd name="connsiteX112" fmla="*/ 722 w 10000"/>
                    <a:gd name="connsiteY112" fmla="*/ 5476 h 10127"/>
                    <a:gd name="connsiteX113" fmla="*/ 889 w 10000"/>
                    <a:gd name="connsiteY113" fmla="*/ 5891 h 10127"/>
                    <a:gd name="connsiteX114" fmla="*/ 944 w 10000"/>
                    <a:gd name="connsiteY114" fmla="*/ 6248 h 10127"/>
                    <a:gd name="connsiteX115" fmla="*/ 1111 w 10000"/>
                    <a:gd name="connsiteY115" fmla="*/ 6598 h 10127"/>
                    <a:gd name="connsiteX116" fmla="*/ 1333 w 10000"/>
                    <a:gd name="connsiteY116" fmla="*/ 7136 h 10127"/>
                    <a:gd name="connsiteX117" fmla="*/ 1333 w 10000"/>
                    <a:gd name="connsiteY117" fmla="*/ 7136 h 10127"/>
                    <a:gd name="connsiteX118" fmla="*/ 1444 w 10000"/>
                    <a:gd name="connsiteY118" fmla="*/ 7417 h 10127"/>
                    <a:gd name="connsiteX119" fmla="*/ 1500 w 10000"/>
                    <a:gd name="connsiteY119" fmla="*/ 7626 h 10127"/>
                    <a:gd name="connsiteX120" fmla="*/ 1500 w 10000"/>
                    <a:gd name="connsiteY120" fmla="*/ 7823 h 10127"/>
                    <a:gd name="connsiteX121" fmla="*/ 1556 w 10000"/>
                    <a:gd name="connsiteY121" fmla="*/ 7911 h 10127"/>
                    <a:gd name="connsiteX122" fmla="*/ 1722 w 10000"/>
                    <a:gd name="connsiteY122" fmla="*/ 7973 h 10127"/>
                    <a:gd name="connsiteX123" fmla="*/ 1944 w 10000"/>
                    <a:gd name="connsiteY123" fmla="*/ 8038 h 10127"/>
                    <a:gd name="connsiteX124" fmla="*/ 2944 w 10000"/>
                    <a:gd name="connsiteY124" fmla="*/ 8115 h 10127"/>
                    <a:gd name="connsiteX125" fmla="*/ 2944 w 10000"/>
                    <a:gd name="connsiteY125" fmla="*/ 8115 h 10127"/>
                    <a:gd name="connsiteX126" fmla="*/ 4167 w 10000"/>
                    <a:gd name="connsiteY126" fmla="*/ 8256 h 10127"/>
                    <a:gd name="connsiteX127" fmla="*/ 4889 w 10000"/>
                    <a:gd name="connsiteY127" fmla="*/ 8452 h 10127"/>
                    <a:gd name="connsiteX128" fmla="*/ 5278 w 10000"/>
                    <a:gd name="connsiteY128" fmla="*/ 8673 h 10127"/>
                    <a:gd name="connsiteX129" fmla="*/ 5444 w 10000"/>
                    <a:gd name="connsiteY129" fmla="*/ 8731 h 10127"/>
                    <a:gd name="connsiteX130" fmla="*/ 5444 w 10000"/>
                    <a:gd name="connsiteY130" fmla="*/ 8731 h 10127"/>
                    <a:gd name="connsiteX131" fmla="*/ 5722 w 10000"/>
                    <a:gd name="connsiteY131" fmla="*/ 8886 h 10127"/>
                    <a:gd name="connsiteX132" fmla="*/ 5833 w 10000"/>
                    <a:gd name="connsiteY132" fmla="*/ 8957 h 10127"/>
                    <a:gd name="connsiteX133" fmla="*/ 5833 w 10000"/>
                    <a:gd name="connsiteY133" fmla="*/ 8957 h 10127"/>
                    <a:gd name="connsiteX134" fmla="*/ 5833 w 10000"/>
                    <a:gd name="connsiteY134" fmla="*/ 8886 h 10127"/>
                    <a:gd name="connsiteX135" fmla="*/ 5889 w 10000"/>
                    <a:gd name="connsiteY135" fmla="*/ 8808 h 10127"/>
                    <a:gd name="connsiteX136" fmla="*/ 6000 w 10000"/>
                    <a:gd name="connsiteY136" fmla="*/ 8731 h 10127"/>
                    <a:gd name="connsiteX137" fmla="*/ 6167 w 10000"/>
                    <a:gd name="connsiteY137" fmla="*/ 8673 h 10127"/>
                    <a:gd name="connsiteX138" fmla="*/ 6444 w 10000"/>
                    <a:gd name="connsiteY138" fmla="*/ 8673 h 10127"/>
                    <a:gd name="connsiteX139" fmla="*/ 6833 w 10000"/>
                    <a:gd name="connsiteY139" fmla="*/ 8731 h 10127"/>
                    <a:gd name="connsiteX140" fmla="*/ 7278 w 10000"/>
                    <a:gd name="connsiteY140" fmla="*/ 8957 h 10127"/>
                    <a:gd name="connsiteX141" fmla="*/ 7278 w 10000"/>
                    <a:gd name="connsiteY141" fmla="*/ 8957 h 10127"/>
                    <a:gd name="connsiteX142" fmla="*/ 8722 w 10000"/>
                    <a:gd name="connsiteY142" fmla="*/ 9563 h 10127"/>
                    <a:gd name="connsiteX143" fmla="*/ 10000 w 10000"/>
                    <a:gd name="connsiteY143" fmla="*/ 10127 h 10127"/>
                    <a:gd name="connsiteX144" fmla="*/ 10000 w 10000"/>
                    <a:gd name="connsiteY144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4167 w 10000"/>
                    <a:gd name="connsiteY40" fmla="*/ 473 h 10127"/>
                    <a:gd name="connsiteX41" fmla="*/ 4278 w 10000"/>
                    <a:gd name="connsiteY41" fmla="*/ 200 h 10127"/>
                    <a:gd name="connsiteX42" fmla="*/ 10000 w 10000"/>
                    <a:gd name="connsiteY42" fmla="*/ 5476 h 10127"/>
                    <a:gd name="connsiteX43" fmla="*/ 10000 w 10000"/>
                    <a:gd name="connsiteY43" fmla="*/ 5476 h 10127"/>
                    <a:gd name="connsiteX44" fmla="*/ 9722 w 10000"/>
                    <a:gd name="connsiteY44" fmla="*/ 5399 h 10127"/>
                    <a:gd name="connsiteX45" fmla="*/ 9389 w 10000"/>
                    <a:gd name="connsiteY45" fmla="*/ 5476 h 10127"/>
                    <a:gd name="connsiteX46" fmla="*/ 9389 w 10000"/>
                    <a:gd name="connsiteY46" fmla="*/ 5476 h 10127"/>
                    <a:gd name="connsiteX47" fmla="*/ 9278 w 10000"/>
                    <a:gd name="connsiteY47" fmla="*/ 5560 h 10127"/>
                    <a:gd name="connsiteX48" fmla="*/ 9056 w 10000"/>
                    <a:gd name="connsiteY48" fmla="*/ 5476 h 10127"/>
                    <a:gd name="connsiteX49" fmla="*/ 8889 w 10000"/>
                    <a:gd name="connsiteY49" fmla="*/ 5399 h 10127"/>
                    <a:gd name="connsiteX50" fmla="*/ 8722 w 10000"/>
                    <a:gd name="connsiteY50" fmla="*/ 5267 h 10127"/>
                    <a:gd name="connsiteX51" fmla="*/ 8611 w 10000"/>
                    <a:gd name="connsiteY51" fmla="*/ 5051 h 10127"/>
                    <a:gd name="connsiteX52" fmla="*/ 8444 w 10000"/>
                    <a:gd name="connsiteY52" fmla="*/ 4703 h 10127"/>
                    <a:gd name="connsiteX53" fmla="*/ 8444 w 10000"/>
                    <a:gd name="connsiteY53" fmla="*/ 4703 h 10127"/>
                    <a:gd name="connsiteX54" fmla="*/ 8222 w 10000"/>
                    <a:gd name="connsiteY54" fmla="*/ 4096 h 10127"/>
                    <a:gd name="connsiteX55" fmla="*/ 8111 w 10000"/>
                    <a:gd name="connsiteY55" fmla="*/ 3816 h 10127"/>
                    <a:gd name="connsiteX56" fmla="*/ 7944 w 10000"/>
                    <a:gd name="connsiteY56" fmla="*/ 3605 h 10127"/>
                    <a:gd name="connsiteX57" fmla="*/ 7778 w 10000"/>
                    <a:gd name="connsiteY57" fmla="*/ 3471 h 10127"/>
                    <a:gd name="connsiteX58" fmla="*/ 7556 w 10000"/>
                    <a:gd name="connsiteY58" fmla="*/ 3389 h 10127"/>
                    <a:gd name="connsiteX59" fmla="*/ 7333 w 10000"/>
                    <a:gd name="connsiteY59" fmla="*/ 3324 h 10127"/>
                    <a:gd name="connsiteX60" fmla="*/ 7000 w 10000"/>
                    <a:gd name="connsiteY60" fmla="*/ 3247 h 10127"/>
                    <a:gd name="connsiteX61" fmla="*/ 7000 w 10000"/>
                    <a:gd name="connsiteY61" fmla="*/ 3247 h 10127"/>
                    <a:gd name="connsiteX62" fmla="*/ 6556 w 10000"/>
                    <a:gd name="connsiteY62" fmla="*/ 3324 h 10127"/>
                    <a:gd name="connsiteX63" fmla="*/ 6222 w 10000"/>
                    <a:gd name="connsiteY63" fmla="*/ 3324 h 10127"/>
                    <a:gd name="connsiteX64" fmla="*/ 6111 w 10000"/>
                    <a:gd name="connsiteY64" fmla="*/ 3247 h 10127"/>
                    <a:gd name="connsiteX65" fmla="*/ 6056 w 10000"/>
                    <a:gd name="connsiteY65" fmla="*/ 3185 h 10127"/>
                    <a:gd name="connsiteX66" fmla="*/ 6056 w 10000"/>
                    <a:gd name="connsiteY66" fmla="*/ 3185 h 10127"/>
                    <a:gd name="connsiteX67" fmla="*/ 6056 w 10000"/>
                    <a:gd name="connsiteY67" fmla="*/ 1943 h 10127"/>
                    <a:gd name="connsiteX68" fmla="*/ 6056 w 10000"/>
                    <a:gd name="connsiteY68" fmla="*/ 1943 h 10127"/>
                    <a:gd name="connsiteX69" fmla="*/ 6056 w 10000"/>
                    <a:gd name="connsiteY69" fmla="*/ 1652 h 10127"/>
                    <a:gd name="connsiteX70" fmla="*/ 5944 w 10000"/>
                    <a:gd name="connsiteY70" fmla="*/ 1308 h 10127"/>
                    <a:gd name="connsiteX71" fmla="*/ 5889 w 10000"/>
                    <a:gd name="connsiteY71" fmla="*/ 1230 h 10127"/>
                    <a:gd name="connsiteX72" fmla="*/ 5778 w 10000"/>
                    <a:gd name="connsiteY72" fmla="*/ 1167 h 10127"/>
                    <a:gd name="connsiteX73" fmla="*/ 5667 w 10000"/>
                    <a:gd name="connsiteY73" fmla="*/ 1167 h 10127"/>
                    <a:gd name="connsiteX74" fmla="*/ 5500 w 10000"/>
                    <a:gd name="connsiteY74" fmla="*/ 1230 h 10127"/>
                    <a:gd name="connsiteX75" fmla="*/ 5500 w 10000"/>
                    <a:gd name="connsiteY75" fmla="*/ 1230 h 10127"/>
                    <a:gd name="connsiteX76" fmla="*/ 4889 w 10000"/>
                    <a:gd name="connsiteY76" fmla="*/ 1726 h 10127"/>
                    <a:gd name="connsiteX77" fmla="*/ 4611 w 10000"/>
                    <a:gd name="connsiteY77" fmla="*/ 1866 h 10127"/>
                    <a:gd name="connsiteX78" fmla="*/ 4556 w 10000"/>
                    <a:gd name="connsiteY78" fmla="*/ 1943 h 10127"/>
                    <a:gd name="connsiteX79" fmla="*/ 4500 w 10000"/>
                    <a:gd name="connsiteY79" fmla="*/ 1866 h 10127"/>
                    <a:gd name="connsiteX80" fmla="*/ 4500 w 10000"/>
                    <a:gd name="connsiteY80" fmla="*/ 1866 h 10127"/>
                    <a:gd name="connsiteX81" fmla="*/ 4222 w 10000"/>
                    <a:gd name="connsiteY81" fmla="*/ 1167 h 10127"/>
                    <a:gd name="connsiteX82" fmla="*/ 4222 w 10000"/>
                    <a:gd name="connsiteY82" fmla="*/ 1167 h 10127"/>
                    <a:gd name="connsiteX83" fmla="*/ 4111 w 10000"/>
                    <a:gd name="connsiteY83" fmla="*/ 822 h 10127"/>
                    <a:gd name="connsiteX84" fmla="*/ 4111 w 10000"/>
                    <a:gd name="connsiteY84" fmla="*/ 618 h 10127"/>
                    <a:gd name="connsiteX85" fmla="*/ 4111 w 10000"/>
                    <a:gd name="connsiteY85" fmla="*/ 404 h 10127"/>
                    <a:gd name="connsiteX86" fmla="*/ 4111 w 10000"/>
                    <a:gd name="connsiteY86" fmla="*/ 404 h 10127"/>
                    <a:gd name="connsiteX87" fmla="*/ 4278 w 10000"/>
                    <a:gd name="connsiteY87" fmla="*/ 200 h 10127"/>
                    <a:gd name="connsiteX88" fmla="*/ 4213 w 10000"/>
                    <a:gd name="connsiteY88" fmla="*/ 0 h 10127"/>
                    <a:gd name="connsiteX89" fmla="*/ 4000 w 10000"/>
                    <a:gd name="connsiteY89" fmla="*/ 127 h 10127"/>
                    <a:gd name="connsiteX90" fmla="*/ 3722 w 10000"/>
                    <a:gd name="connsiteY90" fmla="*/ 200 h 10127"/>
                    <a:gd name="connsiteX91" fmla="*/ 3611 w 10000"/>
                    <a:gd name="connsiteY91" fmla="*/ 273 h 10127"/>
                    <a:gd name="connsiteX92" fmla="*/ 3556 w 10000"/>
                    <a:gd name="connsiteY92" fmla="*/ 344 h 10127"/>
                    <a:gd name="connsiteX93" fmla="*/ 3556 w 10000"/>
                    <a:gd name="connsiteY93" fmla="*/ 344 h 10127"/>
                    <a:gd name="connsiteX94" fmla="*/ 3444 w 10000"/>
                    <a:gd name="connsiteY94" fmla="*/ 618 h 10127"/>
                    <a:gd name="connsiteX95" fmla="*/ 3278 w 10000"/>
                    <a:gd name="connsiteY95" fmla="*/ 1039 h 10127"/>
                    <a:gd name="connsiteX96" fmla="*/ 3000 w 10000"/>
                    <a:gd name="connsiteY96" fmla="*/ 1516 h 10127"/>
                    <a:gd name="connsiteX97" fmla="*/ 2667 w 10000"/>
                    <a:gd name="connsiteY97" fmla="*/ 1866 h 10127"/>
                    <a:gd name="connsiteX98" fmla="*/ 2667 w 10000"/>
                    <a:gd name="connsiteY98" fmla="*/ 1866 h 10127"/>
                    <a:gd name="connsiteX99" fmla="*/ 2333 w 10000"/>
                    <a:gd name="connsiteY99" fmla="*/ 2152 h 10127"/>
                    <a:gd name="connsiteX100" fmla="*/ 1833 w 10000"/>
                    <a:gd name="connsiteY100" fmla="*/ 2431 h 10127"/>
                    <a:gd name="connsiteX101" fmla="*/ 1389 w 10000"/>
                    <a:gd name="connsiteY101" fmla="*/ 2562 h 10127"/>
                    <a:gd name="connsiteX102" fmla="*/ 889 w 10000"/>
                    <a:gd name="connsiteY102" fmla="*/ 2633 h 10127"/>
                    <a:gd name="connsiteX103" fmla="*/ 889 w 10000"/>
                    <a:gd name="connsiteY103" fmla="*/ 2633 h 10127"/>
                    <a:gd name="connsiteX104" fmla="*/ 500 w 10000"/>
                    <a:gd name="connsiteY104" fmla="*/ 2717 h 10127"/>
                    <a:gd name="connsiteX105" fmla="*/ 222 w 10000"/>
                    <a:gd name="connsiteY105" fmla="*/ 2768 h 10127"/>
                    <a:gd name="connsiteX106" fmla="*/ 0 w 10000"/>
                    <a:gd name="connsiteY106" fmla="*/ 2836 h 10127"/>
                    <a:gd name="connsiteX107" fmla="*/ 0 w 10000"/>
                    <a:gd name="connsiteY107" fmla="*/ 2836 h 10127"/>
                    <a:gd name="connsiteX108" fmla="*/ 278 w 10000"/>
                    <a:gd name="connsiteY108" fmla="*/ 3955 h 10127"/>
                    <a:gd name="connsiteX109" fmla="*/ 500 w 10000"/>
                    <a:gd name="connsiteY109" fmla="*/ 4773 h 10127"/>
                    <a:gd name="connsiteX110" fmla="*/ 722 w 10000"/>
                    <a:gd name="connsiteY110" fmla="*/ 5476 h 10127"/>
                    <a:gd name="connsiteX111" fmla="*/ 722 w 10000"/>
                    <a:gd name="connsiteY111" fmla="*/ 5476 h 10127"/>
                    <a:gd name="connsiteX112" fmla="*/ 889 w 10000"/>
                    <a:gd name="connsiteY112" fmla="*/ 5891 h 10127"/>
                    <a:gd name="connsiteX113" fmla="*/ 944 w 10000"/>
                    <a:gd name="connsiteY113" fmla="*/ 6248 h 10127"/>
                    <a:gd name="connsiteX114" fmla="*/ 1111 w 10000"/>
                    <a:gd name="connsiteY114" fmla="*/ 6598 h 10127"/>
                    <a:gd name="connsiteX115" fmla="*/ 1333 w 10000"/>
                    <a:gd name="connsiteY115" fmla="*/ 7136 h 10127"/>
                    <a:gd name="connsiteX116" fmla="*/ 1333 w 10000"/>
                    <a:gd name="connsiteY116" fmla="*/ 7136 h 10127"/>
                    <a:gd name="connsiteX117" fmla="*/ 1444 w 10000"/>
                    <a:gd name="connsiteY117" fmla="*/ 7417 h 10127"/>
                    <a:gd name="connsiteX118" fmla="*/ 1500 w 10000"/>
                    <a:gd name="connsiteY118" fmla="*/ 7626 h 10127"/>
                    <a:gd name="connsiteX119" fmla="*/ 1500 w 10000"/>
                    <a:gd name="connsiteY119" fmla="*/ 7823 h 10127"/>
                    <a:gd name="connsiteX120" fmla="*/ 1556 w 10000"/>
                    <a:gd name="connsiteY120" fmla="*/ 7911 h 10127"/>
                    <a:gd name="connsiteX121" fmla="*/ 1722 w 10000"/>
                    <a:gd name="connsiteY121" fmla="*/ 7973 h 10127"/>
                    <a:gd name="connsiteX122" fmla="*/ 1944 w 10000"/>
                    <a:gd name="connsiteY122" fmla="*/ 8038 h 10127"/>
                    <a:gd name="connsiteX123" fmla="*/ 2944 w 10000"/>
                    <a:gd name="connsiteY123" fmla="*/ 8115 h 10127"/>
                    <a:gd name="connsiteX124" fmla="*/ 2944 w 10000"/>
                    <a:gd name="connsiteY124" fmla="*/ 8115 h 10127"/>
                    <a:gd name="connsiteX125" fmla="*/ 4167 w 10000"/>
                    <a:gd name="connsiteY125" fmla="*/ 8256 h 10127"/>
                    <a:gd name="connsiteX126" fmla="*/ 4889 w 10000"/>
                    <a:gd name="connsiteY126" fmla="*/ 8452 h 10127"/>
                    <a:gd name="connsiteX127" fmla="*/ 5278 w 10000"/>
                    <a:gd name="connsiteY127" fmla="*/ 8673 h 10127"/>
                    <a:gd name="connsiteX128" fmla="*/ 5444 w 10000"/>
                    <a:gd name="connsiteY128" fmla="*/ 8731 h 10127"/>
                    <a:gd name="connsiteX129" fmla="*/ 5444 w 10000"/>
                    <a:gd name="connsiteY129" fmla="*/ 8731 h 10127"/>
                    <a:gd name="connsiteX130" fmla="*/ 5722 w 10000"/>
                    <a:gd name="connsiteY130" fmla="*/ 8886 h 10127"/>
                    <a:gd name="connsiteX131" fmla="*/ 5833 w 10000"/>
                    <a:gd name="connsiteY131" fmla="*/ 8957 h 10127"/>
                    <a:gd name="connsiteX132" fmla="*/ 5833 w 10000"/>
                    <a:gd name="connsiteY132" fmla="*/ 8957 h 10127"/>
                    <a:gd name="connsiteX133" fmla="*/ 5833 w 10000"/>
                    <a:gd name="connsiteY133" fmla="*/ 8886 h 10127"/>
                    <a:gd name="connsiteX134" fmla="*/ 5889 w 10000"/>
                    <a:gd name="connsiteY134" fmla="*/ 8808 h 10127"/>
                    <a:gd name="connsiteX135" fmla="*/ 6000 w 10000"/>
                    <a:gd name="connsiteY135" fmla="*/ 8731 h 10127"/>
                    <a:gd name="connsiteX136" fmla="*/ 6167 w 10000"/>
                    <a:gd name="connsiteY136" fmla="*/ 8673 h 10127"/>
                    <a:gd name="connsiteX137" fmla="*/ 6444 w 10000"/>
                    <a:gd name="connsiteY137" fmla="*/ 8673 h 10127"/>
                    <a:gd name="connsiteX138" fmla="*/ 6833 w 10000"/>
                    <a:gd name="connsiteY138" fmla="*/ 8731 h 10127"/>
                    <a:gd name="connsiteX139" fmla="*/ 7278 w 10000"/>
                    <a:gd name="connsiteY139" fmla="*/ 8957 h 10127"/>
                    <a:gd name="connsiteX140" fmla="*/ 7278 w 10000"/>
                    <a:gd name="connsiteY140" fmla="*/ 8957 h 10127"/>
                    <a:gd name="connsiteX141" fmla="*/ 8722 w 10000"/>
                    <a:gd name="connsiteY141" fmla="*/ 9563 h 10127"/>
                    <a:gd name="connsiteX142" fmla="*/ 10000 w 10000"/>
                    <a:gd name="connsiteY142" fmla="*/ 10127 h 10127"/>
                    <a:gd name="connsiteX143" fmla="*/ 10000 w 10000"/>
                    <a:gd name="connsiteY14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4167 w 10000"/>
                    <a:gd name="connsiteY40" fmla="*/ 473 h 10127"/>
                    <a:gd name="connsiteX41" fmla="*/ 4278 w 10000"/>
                    <a:gd name="connsiteY41" fmla="*/ 200 h 10127"/>
                    <a:gd name="connsiteX42" fmla="*/ 10000 w 10000"/>
                    <a:gd name="connsiteY42" fmla="*/ 5476 h 10127"/>
                    <a:gd name="connsiteX43" fmla="*/ 10000 w 10000"/>
                    <a:gd name="connsiteY43" fmla="*/ 5476 h 10127"/>
                    <a:gd name="connsiteX44" fmla="*/ 9722 w 10000"/>
                    <a:gd name="connsiteY44" fmla="*/ 5399 h 10127"/>
                    <a:gd name="connsiteX45" fmla="*/ 9389 w 10000"/>
                    <a:gd name="connsiteY45" fmla="*/ 5476 h 10127"/>
                    <a:gd name="connsiteX46" fmla="*/ 9389 w 10000"/>
                    <a:gd name="connsiteY46" fmla="*/ 5476 h 10127"/>
                    <a:gd name="connsiteX47" fmla="*/ 9278 w 10000"/>
                    <a:gd name="connsiteY47" fmla="*/ 5560 h 10127"/>
                    <a:gd name="connsiteX48" fmla="*/ 9056 w 10000"/>
                    <a:gd name="connsiteY48" fmla="*/ 5476 h 10127"/>
                    <a:gd name="connsiteX49" fmla="*/ 8889 w 10000"/>
                    <a:gd name="connsiteY49" fmla="*/ 5399 h 10127"/>
                    <a:gd name="connsiteX50" fmla="*/ 8722 w 10000"/>
                    <a:gd name="connsiteY50" fmla="*/ 5267 h 10127"/>
                    <a:gd name="connsiteX51" fmla="*/ 8611 w 10000"/>
                    <a:gd name="connsiteY51" fmla="*/ 5051 h 10127"/>
                    <a:gd name="connsiteX52" fmla="*/ 8444 w 10000"/>
                    <a:gd name="connsiteY52" fmla="*/ 4703 h 10127"/>
                    <a:gd name="connsiteX53" fmla="*/ 8444 w 10000"/>
                    <a:gd name="connsiteY53" fmla="*/ 4703 h 10127"/>
                    <a:gd name="connsiteX54" fmla="*/ 8222 w 10000"/>
                    <a:gd name="connsiteY54" fmla="*/ 4096 h 10127"/>
                    <a:gd name="connsiteX55" fmla="*/ 8111 w 10000"/>
                    <a:gd name="connsiteY55" fmla="*/ 3816 h 10127"/>
                    <a:gd name="connsiteX56" fmla="*/ 7944 w 10000"/>
                    <a:gd name="connsiteY56" fmla="*/ 3605 h 10127"/>
                    <a:gd name="connsiteX57" fmla="*/ 7778 w 10000"/>
                    <a:gd name="connsiteY57" fmla="*/ 3471 h 10127"/>
                    <a:gd name="connsiteX58" fmla="*/ 7556 w 10000"/>
                    <a:gd name="connsiteY58" fmla="*/ 3389 h 10127"/>
                    <a:gd name="connsiteX59" fmla="*/ 7333 w 10000"/>
                    <a:gd name="connsiteY59" fmla="*/ 3324 h 10127"/>
                    <a:gd name="connsiteX60" fmla="*/ 7000 w 10000"/>
                    <a:gd name="connsiteY60" fmla="*/ 3247 h 10127"/>
                    <a:gd name="connsiteX61" fmla="*/ 7000 w 10000"/>
                    <a:gd name="connsiteY61" fmla="*/ 3247 h 10127"/>
                    <a:gd name="connsiteX62" fmla="*/ 6556 w 10000"/>
                    <a:gd name="connsiteY62" fmla="*/ 3324 h 10127"/>
                    <a:gd name="connsiteX63" fmla="*/ 6222 w 10000"/>
                    <a:gd name="connsiteY63" fmla="*/ 3324 h 10127"/>
                    <a:gd name="connsiteX64" fmla="*/ 6111 w 10000"/>
                    <a:gd name="connsiteY64" fmla="*/ 3247 h 10127"/>
                    <a:gd name="connsiteX65" fmla="*/ 6056 w 10000"/>
                    <a:gd name="connsiteY65" fmla="*/ 3185 h 10127"/>
                    <a:gd name="connsiteX66" fmla="*/ 6056 w 10000"/>
                    <a:gd name="connsiteY66" fmla="*/ 3185 h 10127"/>
                    <a:gd name="connsiteX67" fmla="*/ 6056 w 10000"/>
                    <a:gd name="connsiteY67" fmla="*/ 1943 h 10127"/>
                    <a:gd name="connsiteX68" fmla="*/ 6056 w 10000"/>
                    <a:gd name="connsiteY68" fmla="*/ 1943 h 10127"/>
                    <a:gd name="connsiteX69" fmla="*/ 6056 w 10000"/>
                    <a:gd name="connsiteY69" fmla="*/ 1652 h 10127"/>
                    <a:gd name="connsiteX70" fmla="*/ 5944 w 10000"/>
                    <a:gd name="connsiteY70" fmla="*/ 1308 h 10127"/>
                    <a:gd name="connsiteX71" fmla="*/ 5889 w 10000"/>
                    <a:gd name="connsiteY71" fmla="*/ 1230 h 10127"/>
                    <a:gd name="connsiteX72" fmla="*/ 5778 w 10000"/>
                    <a:gd name="connsiteY72" fmla="*/ 1167 h 10127"/>
                    <a:gd name="connsiteX73" fmla="*/ 5667 w 10000"/>
                    <a:gd name="connsiteY73" fmla="*/ 1167 h 10127"/>
                    <a:gd name="connsiteX74" fmla="*/ 5500 w 10000"/>
                    <a:gd name="connsiteY74" fmla="*/ 1230 h 10127"/>
                    <a:gd name="connsiteX75" fmla="*/ 5500 w 10000"/>
                    <a:gd name="connsiteY75" fmla="*/ 1230 h 10127"/>
                    <a:gd name="connsiteX76" fmla="*/ 4889 w 10000"/>
                    <a:gd name="connsiteY76" fmla="*/ 1726 h 10127"/>
                    <a:gd name="connsiteX77" fmla="*/ 4611 w 10000"/>
                    <a:gd name="connsiteY77" fmla="*/ 1866 h 10127"/>
                    <a:gd name="connsiteX78" fmla="*/ 4556 w 10000"/>
                    <a:gd name="connsiteY78" fmla="*/ 1943 h 10127"/>
                    <a:gd name="connsiteX79" fmla="*/ 4500 w 10000"/>
                    <a:gd name="connsiteY79" fmla="*/ 1866 h 10127"/>
                    <a:gd name="connsiteX80" fmla="*/ 4500 w 10000"/>
                    <a:gd name="connsiteY80" fmla="*/ 1866 h 10127"/>
                    <a:gd name="connsiteX81" fmla="*/ 4222 w 10000"/>
                    <a:gd name="connsiteY81" fmla="*/ 1167 h 10127"/>
                    <a:gd name="connsiteX82" fmla="*/ 4222 w 10000"/>
                    <a:gd name="connsiteY82" fmla="*/ 1167 h 10127"/>
                    <a:gd name="connsiteX83" fmla="*/ 4111 w 10000"/>
                    <a:gd name="connsiteY83" fmla="*/ 822 h 10127"/>
                    <a:gd name="connsiteX84" fmla="*/ 4111 w 10000"/>
                    <a:gd name="connsiteY84" fmla="*/ 618 h 10127"/>
                    <a:gd name="connsiteX85" fmla="*/ 4111 w 10000"/>
                    <a:gd name="connsiteY85" fmla="*/ 404 h 10127"/>
                    <a:gd name="connsiteX86" fmla="*/ 4111 w 10000"/>
                    <a:gd name="connsiteY86" fmla="*/ 404 h 10127"/>
                    <a:gd name="connsiteX87" fmla="*/ 4195 w 10000"/>
                    <a:gd name="connsiteY87" fmla="*/ 119 h 10127"/>
                    <a:gd name="connsiteX88" fmla="*/ 4213 w 10000"/>
                    <a:gd name="connsiteY88" fmla="*/ 0 h 10127"/>
                    <a:gd name="connsiteX89" fmla="*/ 4000 w 10000"/>
                    <a:gd name="connsiteY89" fmla="*/ 127 h 10127"/>
                    <a:gd name="connsiteX90" fmla="*/ 3722 w 10000"/>
                    <a:gd name="connsiteY90" fmla="*/ 200 h 10127"/>
                    <a:gd name="connsiteX91" fmla="*/ 3611 w 10000"/>
                    <a:gd name="connsiteY91" fmla="*/ 273 h 10127"/>
                    <a:gd name="connsiteX92" fmla="*/ 3556 w 10000"/>
                    <a:gd name="connsiteY92" fmla="*/ 344 h 10127"/>
                    <a:gd name="connsiteX93" fmla="*/ 3556 w 10000"/>
                    <a:gd name="connsiteY93" fmla="*/ 344 h 10127"/>
                    <a:gd name="connsiteX94" fmla="*/ 3444 w 10000"/>
                    <a:gd name="connsiteY94" fmla="*/ 618 h 10127"/>
                    <a:gd name="connsiteX95" fmla="*/ 3278 w 10000"/>
                    <a:gd name="connsiteY95" fmla="*/ 1039 h 10127"/>
                    <a:gd name="connsiteX96" fmla="*/ 3000 w 10000"/>
                    <a:gd name="connsiteY96" fmla="*/ 1516 h 10127"/>
                    <a:gd name="connsiteX97" fmla="*/ 2667 w 10000"/>
                    <a:gd name="connsiteY97" fmla="*/ 1866 h 10127"/>
                    <a:gd name="connsiteX98" fmla="*/ 2667 w 10000"/>
                    <a:gd name="connsiteY98" fmla="*/ 1866 h 10127"/>
                    <a:gd name="connsiteX99" fmla="*/ 2333 w 10000"/>
                    <a:gd name="connsiteY99" fmla="*/ 2152 h 10127"/>
                    <a:gd name="connsiteX100" fmla="*/ 1833 w 10000"/>
                    <a:gd name="connsiteY100" fmla="*/ 2431 h 10127"/>
                    <a:gd name="connsiteX101" fmla="*/ 1389 w 10000"/>
                    <a:gd name="connsiteY101" fmla="*/ 2562 h 10127"/>
                    <a:gd name="connsiteX102" fmla="*/ 889 w 10000"/>
                    <a:gd name="connsiteY102" fmla="*/ 2633 h 10127"/>
                    <a:gd name="connsiteX103" fmla="*/ 889 w 10000"/>
                    <a:gd name="connsiteY103" fmla="*/ 2633 h 10127"/>
                    <a:gd name="connsiteX104" fmla="*/ 500 w 10000"/>
                    <a:gd name="connsiteY104" fmla="*/ 2717 h 10127"/>
                    <a:gd name="connsiteX105" fmla="*/ 222 w 10000"/>
                    <a:gd name="connsiteY105" fmla="*/ 2768 h 10127"/>
                    <a:gd name="connsiteX106" fmla="*/ 0 w 10000"/>
                    <a:gd name="connsiteY106" fmla="*/ 2836 h 10127"/>
                    <a:gd name="connsiteX107" fmla="*/ 0 w 10000"/>
                    <a:gd name="connsiteY107" fmla="*/ 2836 h 10127"/>
                    <a:gd name="connsiteX108" fmla="*/ 278 w 10000"/>
                    <a:gd name="connsiteY108" fmla="*/ 3955 h 10127"/>
                    <a:gd name="connsiteX109" fmla="*/ 500 w 10000"/>
                    <a:gd name="connsiteY109" fmla="*/ 4773 h 10127"/>
                    <a:gd name="connsiteX110" fmla="*/ 722 w 10000"/>
                    <a:gd name="connsiteY110" fmla="*/ 5476 h 10127"/>
                    <a:gd name="connsiteX111" fmla="*/ 722 w 10000"/>
                    <a:gd name="connsiteY111" fmla="*/ 5476 h 10127"/>
                    <a:gd name="connsiteX112" fmla="*/ 889 w 10000"/>
                    <a:gd name="connsiteY112" fmla="*/ 5891 h 10127"/>
                    <a:gd name="connsiteX113" fmla="*/ 944 w 10000"/>
                    <a:gd name="connsiteY113" fmla="*/ 6248 h 10127"/>
                    <a:gd name="connsiteX114" fmla="*/ 1111 w 10000"/>
                    <a:gd name="connsiteY114" fmla="*/ 6598 h 10127"/>
                    <a:gd name="connsiteX115" fmla="*/ 1333 w 10000"/>
                    <a:gd name="connsiteY115" fmla="*/ 7136 h 10127"/>
                    <a:gd name="connsiteX116" fmla="*/ 1333 w 10000"/>
                    <a:gd name="connsiteY116" fmla="*/ 7136 h 10127"/>
                    <a:gd name="connsiteX117" fmla="*/ 1444 w 10000"/>
                    <a:gd name="connsiteY117" fmla="*/ 7417 h 10127"/>
                    <a:gd name="connsiteX118" fmla="*/ 1500 w 10000"/>
                    <a:gd name="connsiteY118" fmla="*/ 7626 h 10127"/>
                    <a:gd name="connsiteX119" fmla="*/ 1500 w 10000"/>
                    <a:gd name="connsiteY119" fmla="*/ 7823 h 10127"/>
                    <a:gd name="connsiteX120" fmla="*/ 1556 w 10000"/>
                    <a:gd name="connsiteY120" fmla="*/ 7911 h 10127"/>
                    <a:gd name="connsiteX121" fmla="*/ 1722 w 10000"/>
                    <a:gd name="connsiteY121" fmla="*/ 7973 h 10127"/>
                    <a:gd name="connsiteX122" fmla="*/ 1944 w 10000"/>
                    <a:gd name="connsiteY122" fmla="*/ 8038 h 10127"/>
                    <a:gd name="connsiteX123" fmla="*/ 2944 w 10000"/>
                    <a:gd name="connsiteY123" fmla="*/ 8115 h 10127"/>
                    <a:gd name="connsiteX124" fmla="*/ 2944 w 10000"/>
                    <a:gd name="connsiteY124" fmla="*/ 8115 h 10127"/>
                    <a:gd name="connsiteX125" fmla="*/ 4167 w 10000"/>
                    <a:gd name="connsiteY125" fmla="*/ 8256 h 10127"/>
                    <a:gd name="connsiteX126" fmla="*/ 4889 w 10000"/>
                    <a:gd name="connsiteY126" fmla="*/ 8452 h 10127"/>
                    <a:gd name="connsiteX127" fmla="*/ 5278 w 10000"/>
                    <a:gd name="connsiteY127" fmla="*/ 8673 h 10127"/>
                    <a:gd name="connsiteX128" fmla="*/ 5444 w 10000"/>
                    <a:gd name="connsiteY128" fmla="*/ 8731 h 10127"/>
                    <a:gd name="connsiteX129" fmla="*/ 5444 w 10000"/>
                    <a:gd name="connsiteY129" fmla="*/ 8731 h 10127"/>
                    <a:gd name="connsiteX130" fmla="*/ 5722 w 10000"/>
                    <a:gd name="connsiteY130" fmla="*/ 8886 h 10127"/>
                    <a:gd name="connsiteX131" fmla="*/ 5833 w 10000"/>
                    <a:gd name="connsiteY131" fmla="*/ 8957 h 10127"/>
                    <a:gd name="connsiteX132" fmla="*/ 5833 w 10000"/>
                    <a:gd name="connsiteY132" fmla="*/ 8957 h 10127"/>
                    <a:gd name="connsiteX133" fmla="*/ 5833 w 10000"/>
                    <a:gd name="connsiteY133" fmla="*/ 8886 h 10127"/>
                    <a:gd name="connsiteX134" fmla="*/ 5889 w 10000"/>
                    <a:gd name="connsiteY134" fmla="*/ 8808 h 10127"/>
                    <a:gd name="connsiteX135" fmla="*/ 6000 w 10000"/>
                    <a:gd name="connsiteY135" fmla="*/ 8731 h 10127"/>
                    <a:gd name="connsiteX136" fmla="*/ 6167 w 10000"/>
                    <a:gd name="connsiteY136" fmla="*/ 8673 h 10127"/>
                    <a:gd name="connsiteX137" fmla="*/ 6444 w 10000"/>
                    <a:gd name="connsiteY137" fmla="*/ 8673 h 10127"/>
                    <a:gd name="connsiteX138" fmla="*/ 6833 w 10000"/>
                    <a:gd name="connsiteY138" fmla="*/ 8731 h 10127"/>
                    <a:gd name="connsiteX139" fmla="*/ 7278 w 10000"/>
                    <a:gd name="connsiteY139" fmla="*/ 8957 h 10127"/>
                    <a:gd name="connsiteX140" fmla="*/ 7278 w 10000"/>
                    <a:gd name="connsiteY140" fmla="*/ 8957 h 10127"/>
                    <a:gd name="connsiteX141" fmla="*/ 8722 w 10000"/>
                    <a:gd name="connsiteY141" fmla="*/ 9563 h 10127"/>
                    <a:gd name="connsiteX142" fmla="*/ 10000 w 10000"/>
                    <a:gd name="connsiteY142" fmla="*/ 10127 h 10127"/>
                    <a:gd name="connsiteX143" fmla="*/ 10000 w 10000"/>
                    <a:gd name="connsiteY14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4167 w 10000"/>
                    <a:gd name="connsiteY40" fmla="*/ 473 h 10127"/>
                    <a:gd name="connsiteX41" fmla="*/ 10000 w 10000"/>
                    <a:gd name="connsiteY41" fmla="*/ 5476 h 10127"/>
                    <a:gd name="connsiteX42" fmla="*/ 10000 w 10000"/>
                    <a:gd name="connsiteY42" fmla="*/ 5476 h 10127"/>
                    <a:gd name="connsiteX43" fmla="*/ 9722 w 10000"/>
                    <a:gd name="connsiteY43" fmla="*/ 5399 h 10127"/>
                    <a:gd name="connsiteX44" fmla="*/ 9389 w 10000"/>
                    <a:gd name="connsiteY44" fmla="*/ 5476 h 10127"/>
                    <a:gd name="connsiteX45" fmla="*/ 9389 w 10000"/>
                    <a:gd name="connsiteY45" fmla="*/ 5476 h 10127"/>
                    <a:gd name="connsiteX46" fmla="*/ 9278 w 10000"/>
                    <a:gd name="connsiteY46" fmla="*/ 5560 h 10127"/>
                    <a:gd name="connsiteX47" fmla="*/ 9056 w 10000"/>
                    <a:gd name="connsiteY47" fmla="*/ 5476 h 10127"/>
                    <a:gd name="connsiteX48" fmla="*/ 8889 w 10000"/>
                    <a:gd name="connsiteY48" fmla="*/ 5399 h 10127"/>
                    <a:gd name="connsiteX49" fmla="*/ 8722 w 10000"/>
                    <a:gd name="connsiteY49" fmla="*/ 5267 h 10127"/>
                    <a:gd name="connsiteX50" fmla="*/ 8611 w 10000"/>
                    <a:gd name="connsiteY50" fmla="*/ 5051 h 10127"/>
                    <a:gd name="connsiteX51" fmla="*/ 8444 w 10000"/>
                    <a:gd name="connsiteY51" fmla="*/ 4703 h 10127"/>
                    <a:gd name="connsiteX52" fmla="*/ 8444 w 10000"/>
                    <a:gd name="connsiteY52" fmla="*/ 4703 h 10127"/>
                    <a:gd name="connsiteX53" fmla="*/ 8222 w 10000"/>
                    <a:gd name="connsiteY53" fmla="*/ 4096 h 10127"/>
                    <a:gd name="connsiteX54" fmla="*/ 8111 w 10000"/>
                    <a:gd name="connsiteY54" fmla="*/ 3816 h 10127"/>
                    <a:gd name="connsiteX55" fmla="*/ 7944 w 10000"/>
                    <a:gd name="connsiteY55" fmla="*/ 3605 h 10127"/>
                    <a:gd name="connsiteX56" fmla="*/ 7778 w 10000"/>
                    <a:gd name="connsiteY56" fmla="*/ 3471 h 10127"/>
                    <a:gd name="connsiteX57" fmla="*/ 7556 w 10000"/>
                    <a:gd name="connsiteY57" fmla="*/ 3389 h 10127"/>
                    <a:gd name="connsiteX58" fmla="*/ 7333 w 10000"/>
                    <a:gd name="connsiteY58" fmla="*/ 3324 h 10127"/>
                    <a:gd name="connsiteX59" fmla="*/ 7000 w 10000"/>
                    <a:gd name="connsiteY59" fmla="*/ 3247 h 10127"/>
                    <a:gd name="connsiteX60" fmla="*/ 7000 w 10000"/>
                    <a:gd name="connsiteY60" fmla="*/ 3247 h 10127"/>
                    <a:gd name="connsiteX61" fmla="*/ 6556 w 10000"/>
                    <a:gd name="connsiteY61" fmla="*/ 3324 h 10127"/>
                    <a:gd name="connsiteX62" fmla="*/ 6222 w 10000"/>
                    <a:gd name="connsiteY62" fmla="*/ 3324 h 10127"/>
                    <a:gd name="connsiteX63" fmla="*/ 6111 w 10000"/>
                    <a:gd name="connsiteY63" fmla="*/ 3247 h 10127"/>
                    <a:gd name="connsiteX64" fmla="*/ 6056 w 10000"/>
                    <a:gd name="connsiteY64" fmla="*/ 3185 h 10127"/>
                    <a:gd name="connsiteX65" fmla="*/ 6056 w 10000"/>
                    <a:gd name="connsiteY65" fmla="*/ 3185 h 10127"/>
                    <a:gd name="connsiteX66" fmla="*/ 6056 w 10000"/>
                    <a:gd name="connsiteY66" fmla="*/ 1943 h 10127"/>
                    <a:gd name="connsiteX67" fmla="*/ 6056 w 10000"/>
                    <a:gd name="connsiteY67" fmla="*/ 1943 h 10127"/>
                    <a:gd name="connsiteX68" fmla="*/ 6056 w 10000"/>
                    <a:gd name="connsiteY68" fmla="*/ 1652 h 10127"/>
                    <a:gd name="connsiteX69" fmla="*/ 5944 w 10000"/>
                    <a:gd name="connsiteY69" fmla="*/ 1308 h 10127"/>
                    <a:gd name="connsiteX70" fmla="*/ 5889 w 10000"/>
                    <a:gd name="connsiteY70" fmla="*/ 1230 h 10127"/>
                    <a:gd name="connsiteX71" fmla="*/ 5778 w 10000"/>
                    <a:gd name="connsiteY71" fmla="*/ 1167 h 10127"/>
                    <a:gd name="connsiteX72" fmla="*/ 5667 w 10000"/>
                    <a:gd name="connsiteY72" fmla="*/ 1167 h 10127"/>
                    <a:gd name="connsiteX73" fmla="*/ 5500 w 10000"/>
                    <a:gd name="connsiteY73" fmla="*/ 1230 h 10127"/>
                    <a:gd name="connsiteX74" fmla="*/ 5500 w 10000"/>
                    <a:gd name="connsiteY74" fmla="*/ 1230 h 10127"/>
                    <a:gd name="connsiteX75" fmla="*/ 4889 w 10000"/>
                    <a:gd name="connsiteY75" fmla="*/ 1726 h 10127"/>
                    <a:gd name="connsiteX76" fmla="*/ 4611 w 10000"/>
                    <a:gd name="connsiteY76" fmla="*/ 1866 h 10127"/>
                    <a:gd name="connsiteX77" fmla="*/ 4556 w 10000"/>
                    <a:gd name="connsiteY77" fmla="*/ 1943 h 10127"/>
                    <a:gd name="connsiteX78" fmla="*/ 4500 w 10000"/>
                    <a:gd name="connsiteY78" fmla="*/ 1866 h 10127"/>
                    <a:gd name="connsiteX79" fmla="*/ 4500 w 10000"/>
                    <a:gd name="connsiteY79" fmla="*/ 1866 h 10127"/>
                    <a:gd name="connsiteX80" fmla="*/ 4222 w 10000"/>
                    <a:gd name="connsiteY80" fmla="*/ 1167 h 10127"/>
                    <a:gd name="connsiteX81" fmla="*/ 4222 w 10000"/>
                    <a:gd name="connsiteY81" fmla="*/ 1167 h 10127"/>
                    <a:gd name="connsiteX82" fmla="*/ 4111 w 10000"/>
                    <a:gd name="connsiteY82" fmla="*/ 822 h 10127"/>
                    <a:gd name="connsiteX83" fmla="*/ 4111 w 10000"/>
                    <a:gd name="connsiteY83" fmla="*/ 618 h 10127"/>
                    <a:gd name="connsiteX84" fmla="*/ 4111 w 10000"/>
                    <a:gd name="connsiteY84" fmla="*/ 404 h 10127"/>
                    <a:gd name="connsiteX85" fmla="*/ 4111 w 10000"/>
                    <a:gd name="connsiteY85" fmla="*/ 404 h 10127"/>
                    <a:gd name="connsiteX86" fmla="*/ 4195 w 10000"/>
                    <a:gd name="connsiteY86" fmla="*/ 119 h 10127"/>
                    <a:gd name="connsiteX87" fmla="*/ 4213 w 10000"/>
                    <a:gd name="connsiteY87" fmla="*/ 0 h 10127"/>
                    <a:gd name="connsiteX88" fmla="*/ 4000 w 10000"/>
                    <a:gd name="connsiteY88" fmla="*/ 127 h 10127"/>
                    <a:gd name="connsiteX89" fmla="*/ 3722 w 10000"/>
                    <a:gd name="connsiteY89" fmla="*/ 200 h 10127"/>
                    <a:gd name="connsiteX90" fmla="*/ 3611 w 10000"/>
                    <a:gd name="connsiteY90" fmla="*/ 273 h 10127"/>
                    <a:gd name="connsiteX91" fmla="*/ 3556 w 10000"/>
                    <a:gd name="connsiteY91" fmla="*/ 344 h 10127"/>
                    <a:gd name="connsiteX92" fmla="*/ 3556 w 10000"/>
                    <a:gd name="connsiteY92" fmla="*/ 344 h 10127"/>
                    <a:gd name="connsiteX93" fmla="*/ 3444 w 10000"/>
                    <a:gd name="connsiteY93" fmla="*/ 618 h 10127"/>
                    <a:gd name="connsiteX94" fmla="*/ 3278 w 10000"/>
                    <a:gd name="connsiteY94" fmla="*/ 1039 h 10127"/>
                    <a:gd name="connsiteX95" fmla="*/ 3000 w 10000"/>
                    <a:gd name="connsiteY95" fmla="*/ 1516 h 10127"/>
                    <a:gd name="connsiteX96" fmla="*/ 2667 w 10000"/>
                    <a:gd name="connsiteY96" fmla="*/ 1866 h 10127"/>
                    <a:gd name="connsiteX97" fmla="*/ 2667 w 10000"/>
                    <a:gd name="connsiteY97" fmla="*/ 1866 h 10127"/>
                    <a:gd name="connsiteX98" fmla="*/ 2333 w 10000"/>
                    <a:gd name="connsiteY98" fmla="*/ 2152 h 10127"/>
                    <a:gd name="connsiteX99" fmla="*/ 1833 w 10000"/>
                    <a:gd name="connsiteY99" fmla="*/ 2431 h 10127"/>
                    <a:gd name="connsiteX100" fmla="*/ 1389 w 10000"/>
                    <a:gd name="connsiteY100" fmla="*/ 2562 h 10127"/>
                    <a:gd name="connsiteX101" fmla="*/ 889 w 10000"/>
                    <a:gd name="connsiteY101" fmla="*/ 2633 h 10127"/>
                    <a:gd name="connsiteX102" fmla="*/ 889 w 10000"/>
                    <a:gd name="connsiteY102" fmla="*/ 2633 h 10127"/>
                    <a:gd name="connsiteX103" fmla="*/ 500 w 10000"/>
                    <a:gd name="connsiteY103" fmla="*/ 2717 h 10127"/>
                    <a:gd name="connsiteX104" fmla="*/ 222 w 10000"/>
                    <a:gd name="connsiteY104" fmla="*/ 2768 h 10127"/>
                    <a:gd name="connsiteX105" fmla="*/ 0 w 10000"/>
                    <a:gd name="connsiteY105" fmla="*/ 2836 h 10127"/>
                    <a:gd name="connsiteX106" fmla="*/ 0 w 10000"/>
                    <a:gd name="connsiteY106" fmla="*/ 2836 h 10127"/>
                    <a:gd name="connsiteX107" fmla="*/ 278 w 10000"/>
                    <a:gd name="connsiteY107" fmla="*/ 3955 h 10127"/>
                    <a:gd name="connsiteX108" fmla="*/ 500 w 10000"/>
                    <a:gd name="connsiteY108" fmla="*/ 4773 h 10127"/>
                    <a:gd name="connsiteX109" fmla="*/ 722 w 10000"/>
                    <a:gd name="connsiteY109" fmla="*/ 5476 h 10127"/>
                    <a:gd name="connsiteX110" fmla="*/ 722 w 10000"/>
                    <a:gd name="connsiteY110" fmla="*/ 5476 h 10127"/>
                    <a:gd name="connsiteX111" fmla="*/ 889 w 10000"/>
                    <a:gd name="connsiteY111" fmla="*/ 5891 h 10127"/>
                    <a:gd name="connsiteX112" fmla="*/ 944 w 10000"/>
                    <a:gd name="connsiteY112" fmla="*/ 6248 h 10127"/>
                    <a:gd name="connsiteX113" fmla="*/ 1111 w 10000"/>
                    <a:gd name="connsiteY113" fmla="*/ 6598 h 10127"/>
                    <a:gd name="connsiteX114" fmla="*/ 1333 w 10000"/>
                    <a:gd name="connsiteY114" fmla="*/ 7136 h 10127"/>
                    <a:gd name="connsiteX115" fmla="*/ 1333 w 10000"/>
                    <a:gd name="connsiteY115" fmla="*/ 7136 h 10127"/>
                    <a:gd name="connsiteX116" fmla="*/ 1444 w 10000"/>
                    <a:gd name="connsiteY116" fmla="*/ 7417 h 10127"/>
                    <a:gd name="connsiteX117" fmla="*/ 1500 w 10000"/>
                    <a:gd name="connsiteY117" fmla="*/ 7626 h 10127"/>
                    <a:gd name="connsiteX118" fmla="*/ 1500 w 10000"/>
                    <a:gd name="connsiteY118" fmla="*/ 7823 h 10127"/>
                    <a:gd name="connsiteX119" fmla="*/ 1556 w 10000"/>
                    <a:gd name="connsiteY119" fmla="*/ 7911 h 10127"/>
                    <a:gd name="connsiteX120" fmla="*/ 1722 w 10000"/>
                    <a:gd name="connsiteY120" fmla="*/ 7973 h 10127"/>
                    <a:gd name="connsiteX121" fmla="*/ 1944 w 10000"/>
                    <a:gd name="connsiteY121" fmla="*/ 8038 h 10127"/>
                    <a:gd name="connsiteX122" fmla="*/ 2944 w 10000"/>
                    <a:gd name="connsiteY122" fmla="*/ 8115 h 10127"/>
                    <a:gd name="connsiteX123" fmla="*/ 2944 w 10000"/>
                    <a:gd name="connsiteY123" fmla="*/ 8115 h 10127"/>
                    <a:gd name="connsiteX124" fmla="*/ 4167 w 10000"/>
                    <a:gd name="connsiteY124" fmla="*/ 8256 h 10127"/>
                    <a:gd name="connsiteX125" fmla="*/ 4889 w 10000"/>
                    <a:gd name="connsiteY125" fmla="*/ 8452 h 10127"/>
                    <a:gd name="connsiteX126" fmla="*/ 5278 w 10000"/>
                    <a:gd name="connsiteY126" fmla="*/ 8673 h 10127"/>
                    <a:gd name="connsiteX127" fmla="*/ 5444 w 10000"/>
                    <a:gd name="connsiteY127" fmla="*/ 8731 h 10127"/>
                    <a:gd name="connsiteX128" fmla="*/ 5444 w 10000"/>
                    <a:gd name="connsiteY128" fmla="*/ 8731 h 10127"/>
                    <a:gd name="connsiteX129" fmla="*/ 5722 w 10000"/>
                    <a:gd name="connsiteY129" fmla="*/ 8886 h 10127"/>
                    <a:gd name="connsiteX130" fmla="*/ 5833 w 10000"/>
                    <a:gd name="connsiteY130" fmla="*/ 8957 h 10127"/>
                    <a:gd name="connsiteX131" fmla="*/ 5833 w 10000"/>
                    <a:gd name="connsiteY131" fmla="*/ 8957 h 10127"/>
                    <a:gd name="connsiteX132" fmla="*/ 5833 w 10000"/>
                    <a:gd name="connsiteY132" fmla="*/ 8886 h 10127"/>
                    <a:gd name="connsiteX133" fmla="*/ 5889 w 10000"/>
                    <a:gd name="connsiteY133" fmla="*/ 8808 h 10127"/>
                    <a:gd name="connsiteX134" fmla="*/ 6000 w 10000"/>
                    <a:gd name="connsiteY134" fmla="*/ 8731 h 10127"/>
                    <a:gd name="connsiteX135" fmla="*/ 6167 w 10000"/>
                    <a:gd name="connsiteY135" fmla="*/ 8673 h 10127"/>
                    <a:gd name="connsiteX136" fmla="*/ 6444 w 10000"/>
                    <a:gd name="connsiteY136" fmla="*/ 8673 h 10127"/>
                    <a:gd name="connsiteX137" fmla="*/ 6833 w 10000"/>
                    <a:gd name="connsiteY137" fmla="*/ 8731 h 10127"/>
                    <a:gd name="connsiteX138" fmla="*/ 7278 w 10000"/>
                    <a:gd name="connsiteY138" fmla="*/ 8957 h 10127"/>
                    <a:gd name="connsiteX139" fmla="*/ 7278 w 10000"/>
                    <a:gd name="connsiteY139" fmla="*/ 8957 h 10127"/>
                    <a:gd name="connsiteX140" fmla="*/ 8722 w 10000"/>
                    <a:gd name="connsiteY140" fmla="*/ 9563 h 10127"/>
                    <a:gd name="connsiteX141" fmla="*/ 10000 w 10000"/>
                    <a:gd name="connsiteY141" fmla="*/ 10127 h 10127"/>
                    <a:gd name="connsiteX142" fmla="*/ 10000 w 10000"/>
                    <a:gd name="connsiteY14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10000 w 10000"/>
                    <a:gd name="connsiteY40" fmla="*/ 5476 h 10127"/>
                    <a:gd name="connsiteX41" fmla="*/ 10000 w 10000"/>
                    <a:gd name="connsiteY41" fmla="*/ 5476 h 10127"/>
                    <a:gd name="connsiteX42" fmla="*/ 9722 w 10000"/>
                    <a:gd name="connsiteY42" fmla="*/ 5399 h 10127"/>
                    <a:gd name="connsiteX43" fmla="*/ 9389 w 10000"/>
                    <a:gd name="connsiteY43" fmla="*/ 5476 h 10127"/>
                    <a:gd name="connsiteX44" fmla="*/ 9389 w 10000"/>
                    <a:gd name="connsiteY44" fmla="*/ 5476 h 10127"/>
                    <a:gd name="connsiteX45" fmla="*/ 9278 w 10000"/>
                    <a:gd name="connsiteY45" fmla="*/ 5560 h 10127"/>
                    <a:gd name="connsiteX46" fmla="*/ 9056 w 10000"/>
                    <a:gd name="connsiteY46" fmla="*/ 5476 h 10127"/>
                    <a:gd name="connsiteX47" fmla="*/ 8889 w 10000"/>
                    <a:gd name="connsiteY47" fmla="*/ 5399 h 10127"/>
                    <a:gd name="connsiteX48" fmla="*/ 8722 w 10000"/>
                    <a:gd name="connsiteY48" fmla="*/ 5267 h 10127"/>
                    <a:gd name="connsiteX49" fmla="*/ 8611 w 10000"/>
                    <a:gd name="connsiteY49" fmla="*/ 5051 h 10127"/>
                    <a:gd name="connsiteX50" fmla="*/ 8444 w 10000"/>
                    <a:gd name="connsiteY50" fmla="*/ 4703 h 10127"/>
                    <a:gd name="connsiteX51" fmla="*/ 8444 w 10000"/>
                    <a:gd name="connsiteY51" fmla="*/ 4703 h 10127"/>
                    <a:gd name="connsiteX52" fmla="*/ 8222 w 10000"/>
                    <a:gd name="connsiteY52" fmla="*/ 4096 h 10127"/>
                    <a:gd name="connsiteX53" fmla="*/ 8111 w 10000"/>
                    <a:gd name="connsiteY53" fmla="*/ 3816 h 10127"/>
                    <a:gd name="connsiteX54" fmla="*/ 7944 w 10000"/>
                    <a:gd name="connsiteY54" fmla="*/ 3605 h 10127"/>
                    <a:gd name="connsiteX55" fmla="*/ 7778 w 10000"/>
                    <a:gd name="connsiteY55" fmla="*/ 3471 h 10127"/>
                    <a:gd name="connsiteX56" fmla="*/ 7556 w 10000"/>
                    <a:gd name="connsiteY56" fmla="*/ 3389 h 10127"/>
                    <a:gd name="connsiteX57" fmla="*/ 7333 w 10000"/>
                    <a:gd name="connsiteY57" fmla="*/ 3324 h 10127"/>
                    <a:gd name="connsiteX58" fmla="*/ 7000 w 10000"/>
                    <a:gd name="connsiteY58" fmla="*/ 3247 h 10127"/>
                    <a:gd name="connsiteX59" fmla="*/ 7000 w 10000"/>
                    <a:gd name="connsiteY59" fmla="*/ 3247 h 10127"/>
                    <a:gd name="connsiteX60" fmla="*/ 6556 w 10000"/>
                    <a:gd name="connsiteY60" fmla="*/ 3324 h 10127"/>
                    <a:gd name="connsiteX61" fmla="*/ 6222 w 10000"/>
                    <a:gd name="connsiteY61" fmla="*/ 3324 h 10127"/>
                    <a:gd name="connsiteX62" fmla="*/ 6111 w 10000"/>
                    <a:gd name="connsiteY62" fmla="*/ 3247 h 10127"/>
                    <a:gd name="connsiteX63" fmla="*/ 6056 w 10000"/>
                    <a:gd name="connsiteY63" fmla="*/ 3185 h 10127"/>
                    <a:gd name="connsiteX64" fmla="*/ 6056 w 10000"/>
                    <a:gd name="connsiteY64" fmla="*/ 3185 h 10127"/>
                    <a:gd name="connsiteX65" fmla="*/ 6056 w 10000"/>
                    <a:gd name="connsiteY65" fmla="*/ 1943 h 10127"/>
                    <a:gd name="connsiteX66" fmla="*/ 6056 w 10000"/>
                    <a:gd name="connsiteY66" fmla="*/ 1943 h 10127"/>
                    <a:gd name="connsiteX67" fmla="*/ 6056 w 10000"/>
                    <a:gd name="connsiteY67" fmla="*/ 1652 h 10127"/>
                    <a:gd name="connsiteX68" fmla="*/ 5944 w 10000"/>
                    <a:gd name="connsiteY68" fmla="*/ 1308 h 10127"/>
                    <a:gd name="connsiteX69" fmla="*/ 5889 w 10000"/>
                    <a:gd name="connsiteY69" fmla="*/ 1230 h 10127"/>
                    <a:gd name="connsiteX70" fmla="*/ 5778 w 10000"/>
                    <a:gd name="connsiteY70" fmla="*/ 1167 h 10127"/>
                    <a:gd name="connsiteX71" fmla="*/ 5667 w 10000"/>
                    <a:gd name="connsiteY71" fmla="*/ 1167 h 10127"/>
                    <a:gd name="connsiteX72" fmla="*/ 5500 w 10000"/>
                    <a:gd name="connsiteY72" fmla="*/ 1230 h 10127"/>
                    <a:gd name="connsiteX73" fmla="*/ 5500 w 10000"/>
                    <a:gd name="connsiteY73" fmla="*/ 1230 h 10127"/>
                    <a:gd name="connsiteX74" fmla="*/ 4889 w 10000"/>
                    <a:gd name="connsiteY74" fmla="*/ 1726 h 10127"/>
                    <a:gd name="connsiteX75" fmla="*/ 4611 w 10000"/>
                    <a:gd name="connsiteY75" fmla="*/ 1866 h 10127"/>
                    <a:gd name="connsiteX76" fmla="*/ 4556 w 10000"/>
                    <a:gd name="connsiteY76" fmla="*/ 1943 h 10127"/>
                    <a:gd name="connsiteX77" fmla="*/ 4500 w 10000"/>
                    <a:gd name="connsiteY77" fmla="*/ 1866 h 10127"/>
                    <a:gd name="connsiteX78" fmla="*/ 4500 w 10000"/>
                    <a:gd name="connsiteY78" fmla="*/ 1866 h 10127"/>
                    <a:gd name="connsiteX79" fmla="*/ 4222 w 10000"/>
                    <a:gd name="connsiteY79" fmla="*/ 1167 h 10127"/>
                    <a:gd name="connsiteX80" fmla="*/ 4222 w 10000"/>
                    <a:gd name="connsiteY80" fmla="*/ 1167 h 10127"/>
                    <a:gd name="connsiteX81" fmla="*/ 4111 w 10000"/>
                    <a:gd name="connsiteY81" fmla="*/ 822 h 10127"/>
                    <a:gd name="connsiteX82" fmla="*/ 4111 w 10000"/>
                    <a:gd name="connsiteY82" fmla="*/ 618 h 10127"/>
                    <a:gd name="connsiteX83" fmla="*/ 4111 w 10000"/>
                    <a:gd name="connsiteY83" fmla="*/ 404 h 10127"/>
                    <a:gd name="connsiteX84" fmla="*/ 4111 w 10000"/>
                    <a:gd name="connsiteY84" fmla="*/ 404 h 10127"/>
                    <a:gd name="connsiteX85" fmla="*/ 4195 w 10000"/>
                    <a:gd name="connsiteY85" fmla="*/ 119 h 10127"/>
                    <a:gd name="connsiteX86" fmla="*/ 4213 w 10000"/>
                    <a:gd name="connsiteY86" fmla="*/ 0 h 10127"/>
                    <a:gd name="connsiteX87" fmla="*/ 4000 w 10000"/>
                    <a:gd name="connsiteY87" fmla="*/ 127 h 10127"/>
                    <a:gd name="connsiteX88" fmla="*/ 3722 w 10000"/>
                    <a:gd name="connsiteY88" fmla="*/ 200 h 10127"/>
                    <a:gd name="connsiteX89" fmla="*/ 3611 w 10000"/>
                    <a:gd name="connsiteY89" fmla="*/ 273 h 10127"/>
                    <a:gd name="connsiteX90" fmla="*/ 3556 w 10000"/>
                    <a:gd name="connsiteY90" fmla="*/ 344 h 10127"/>
                    <a:gd name="connsiteX91" fmla="*/ 3556 w 10000"/>
                    <a:gd name="connsiteY91" fmla="*/ 344 h 10127"/>
                    <a:gd name="connsiteX92" fmla="*/ 3444 w 10000"/>
                    <a:gd name="connsiteY92" fmla="*/ 618 h 10127"/>
                    <a:gd name="connsiteX93" fmla="*/ 3278 w 10000"/>
                    <a:gd name="connsiteY93" fmla="*/ 1039 h 10127"/>
                    <a:gd name="connsiteX94" fmla="*/ 3000 w 10000"/>
                    <a:gd name="connsiteY94" fmla="*/ 1516 h 10127"/>
                    <a:gd name="connsiteX95" fmla="*/ 2667 w 10000"/>
                    <a:gd name="connsiteY95" fmla="*/ 1866 h 10127"/>
                    <a:gd name="connsiteX96" fmla="*/ 2667 w 10000"/>
                    <a:gd name="connsiteY96" fmla="*/ 1866 h 10127"/>
                    <a:gd name="connsiteX97" fmla="*/ 2333 w 10000"/>
                    <a:gd name="connsiteY97" fmla="*/ 2152 h 10127"/>
                    <a:gd name="connsiteX98" fmla="*/ 1833 w 10000"/>
                    <a:gd name="connsiteY98" fmla="*/ 2431 h 10127"/>
                    <a:gd name="connsiteX99" fmla="*/ 1389 w 10000"/>
                    <a:gd name="connsiteY99" fmla="*/ 2562 h 10127"/>
                    <a:gd name="connsiteX100" fmla="*/ 889 w 10000"/>
                    <a:gd name="connsiteY100" fmla="*/ 2633 h 10127"/>
                    <a:gd name="connsiteX101" fmla="*/ 889 w 10000"/>
                    <a:gd name="connsiteY101" fmla="*/ 2633 h 10127"/>
                    <a:gd name="connsiteX102" fmla="*/ 500 w 10000"/>
                    <a:gd name="connsiteY102" fmla="*/ 2717 h 10127"/>
                    <a:gd name="connsiteX103" fmla="*/ 222 w 10000"/>
                    <a:gd name="connsiteY103" fmla="*/ 2768 h 10127"/>
                    <a:gd name="connsiteX104" fmla="*/ 0 w 10000"/>
                    <a:gd name="connsiteY104" fmla="*/ 2836 h 10127"/>
                    <a:gd name="connsiteX105" fmla="*/ 0 w 10000"/>
                    <a:gd name="connsiteY105" fmla="*/ 2836 h 10127"/>
                    <a:gd name="connsiteX106" fmla="*/ 278 w 10000"/>
                    <a:gd name="connsiteY106" fmla="*/ 3955 h 10127"/>
                    <a:gd name="connsiteX107" fmla="*/ 500 w 10000"/>
                    <a:gd name="connsiteY107" fmla="*/ 4773 h 10127"/>
                    <a:gd name="connsiteX108" fmla="*/ 722 w 10000"/>
                    <a:gd name="connsiteY108" fmla="*/ 5476 h 10127"/>
                    <a:gd name="connsiteX109" fmla="*/ 722 w 10000"/>
                    <a:gd name="connsiteY109" fmla="*/ 5476 h 10127"/>
                    <a:gd name="connsiteX110" fmla="*/ 889 w 10000"/>
                    <a:gd name="connsiteY110" fmla="*/ 5891 h 10127"/>
                    <a:gd name="connsiteX111" fmla="*/ 944 w 10000"/>
                    <a:gd name="connsiteY111" fmla="*/ 6248 h 10127"/>
                    <a:gd name="connsiteX112" fmla="*/ 1111 w 10000"/>
                    <a:gd name="connsiteY112" fmla="*/ 6598 h 10127"/>
                    <a:gd name="connsiteX113" fmla="*/ 1333 w 10000"/>
                    <a:gd name="connsiteY113" fmla="*/ 7136 h 10127"/>
                    <a:gd name="connsiteX114" fmla="*/ 1333 w 10000"/>
                    <a:gd name="connsiteY114" fmla="*/ 7136 h 10127"/>
                    <a:gd name="connsiteX115" fmla="*/ 1444 w 10000"/>
                    <a:gd name="connsiteY115" fmla="*/ 7417 h 10127"/>
                    <a:gd name="connsiteX116" fmla="*/ 1500 w 10000"/>
                    <a:gd name="connsiteY116" fmla="*/ 7626 h 10127"/>
                    <a:gd name="connsiteX117" fmla="*/ 1500 w 10000"/>
                    <a:gd name="connsiteY117" fmla="*/ 7823 h 10127"/>
                    <a:gd name="connsiteX118" fmla="*/ 1556 w 10000"/>
                    <a:gd name="connsiteY118" fmla="*/ 7911 h 10127"/>
                    <a:gd name="connsiteX119" fmla="*/ 1722 w 10000"/>
                    <a:gd name="connsiteY119" fmla="*/ 7973 h 10127"/>
                    <a:gd name="connsiteX120" fmla="*/ 1944 w 10000"/>
                    <a:gd name="connsiteY120" fmla="*/ 8038 h 10127"/>
                    <a:gd name="connsiteX121" fmla="*/ 2944 w 10000"/>
                    <a:gd name="connsiteY121" fmla="*/ 8115 h 10127"/>
                    <a:gd name="connsiteX122" fmla="*/ 2944 w 10000"/>
                    <a:gd name="connsiteY122" fmla="*/ 8115 h 10127"/>
                    <a:gd name="connsiteX123" fmla="*/ 4167 w 10000"/>
                    <a:gd name="connsiteY123" fmla="*/ 8256 h 10127"/>
                    <a:gd name="connsiteX124" fmla="*/ 4889 w 10000"/>
                    <a:gd name="connsiteY124" fmla="*/ 8452 h 10127"/>
                    <a:gd name="connsiteX125" fmla="*/ 5278 w 10000"/>
                    <a:gd name="connsiteY125" fmla="*/ 8673 h 10127"/>
                    <a:gd name="connsiteX126" fmla="*/ 5444 w 10000"/>
                    <a:gd name="connsiteY126" fmla="*/ 8731 h 10127"/>
                    <a:gd name="connsiteX127" fmla="*/ 5444 w 10000"/>
                    <a:gd name="connsiteY127" fmla="*/ 8731 h 10127"/>
                    <a:gd name="connsiteX128" fmla="*/ 5722 w 10000"/>
                    <a:gd name="connsiteY128" fmla="*/ 8886 h 10127"/>
                    <a:gd name="connsiteX129" fmla="*/ 5833 w 10000"/>
                    <a:gd name="connsiteY129" fmla="*/ 8957 h 10127"/>
                    <a:gd name="connsiteX130" fmla="*/ 5833 w 10000"/>
                    <a:gd name="connsiteY130" fmla="*/ 8957 h 10127"/>
                    <a:gd name="connsiteX131" fmla="*/ 5833 w 10000"/>
                    <a:gd name="connsiteY131" fmla="*/ 8886 h 10127"/>
                    <a:gd name="connsiteX132" fmla="*/ 5889 w 10000"/>
                    <a:gd name="connsiteY132" fmla="*/ 8808 h 10127"/>
                    <a:gd name="connsiteX133" fmla="*/ 6000 w 10000"/>
                    <a:gd name="connsiteY133" fmla="*/ 8731 h 10127"/>
                    <a:gd name="connsiteX134" fmla="*/ 6167 w 10000"/>
                    <a:gd name="connsiteY134" fmla="*/ 8673 h 10127"/>
                    <a:gd name="connsiteX135" fmla="*/ 6444 w 10000"/>
                    <a:gd name="connsiteY135" fmla="*/ 8673 h 10127"/>
                    <a:gd name="connsiteX136" fmla="*/ 6833 w 10000"/>
                    <a:gd name="connsiteY136" fmla="*/ 8731 h 10127"/>
                    <a:gd name="connsiteX137" fmla="*/ 7278 w 10000"/>
                    <a:gd name="connsiteY137" fmla="*/ 8957 h 10127"/>
                    <a:gd name="connsiteX138" fmla="*/ 7278 w 10000"/>
                    <a:gd name="connsiteY138" fmla="*/ 8957 h 10127"/>
                    <a:gd name="connsiteX139" fmla="*/ 8722 w 10000"/>
                    <a:gd name="connsiteY139" fmla="*/ 9563 h 10127"/>
                    <a:gd name="connsiteX140" fmla="*/ 10000 w 10000"/>
                    <a:gd name="connsiteY140" fmla="*/ 10127 h 10127"/>
                    <a:gd name="connsiteX141" fmla="*/ 10000 w 10000"/>
                    <a:gd name="connsiteY141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4111 w 10000"/>
                    <a:gd name="connsiteY39" fmla="*/ 618 h 10127"/>
                    <a:gd name="connsiteX40" fmla="*/ 10000 w 10000"/>
                    <a:gd name="connsiteY40" fmla="*/ 5476 h 10127"/>
                    <a:gd name="connsiteX41" fmla="*/ 10000 w 10000"/>
                    <a:gd name="connsiteY41" fmla="*/ 5476 h 10127"/>
                    <a:gd name="connsiteX42" fmla="*/ 9722 w 10000"/>
                    <a:gd name="connsiteY42" fmla="*/ 5399 h 10127"/>
                    <a:gd name="connsiteX43" fmla="*/ 9389 w 10000"/>
                    <a:gd name="connsiteY43" fmla="*/ 5476 h 10127"/>
                    <a:gd name="connsiteX44" fmla="*/ 9389 w 10000"/>
                    <a:gd name="connsiteY44" fmla="*/ 5476 h 10127"/>
                    <a:gd name="connsiteX45" fmla="*/ 9278 w 10000"/>
                    <a:gd name="connsiteY45" fmla="*/ 5560 h 10127"/>
                    <a:gd name="connsiteX46" fmla="*/ 9056 w 10000"/>
                    <a:gd name="connsiteY46" fmla="*/ 5476 h 10127"/>
                    <a:gd name="connsiteX47" fmla="*/ 8889 w 10000"/>
                    <a:gd name="connsiteY47" fmla="*/ 5399 h 10127"/>
                    <a:gd name="connsiteX48" fmla="*/ 8722 w 10000"/>
                    <a:gd name="connsiteY48" fmla="*/ 5267 h 10127"/>
                    <a:gd name="connsiteX49" fmla="*/ 8611 w 10000"/>
                    <a:gd name="connsiteY49" fmla="*/ 5051 h 10127"/>
                    <a:gd name="connsiteX50" fmla="*/ 8444 w 10000"/>
                    <a:gd name="connsiteY50" fmla="*/ 4703 h 10127"/>
                    <a:gd name="connsiteX51" fmla="*/ 8444 w 10000"/>
                    <a:gd name="connsiteY51" fmla="*/ 4703 h 10127"/>
                    <a:gd name="connsiteX52" fmla="*/ 8222 w 10000"/>
                    <a:gd name="connsiteY52" fmla="*/ 4096 h 10127"/>
                    <a:gd name="connsiteX53" fmla="*/ 8111 w 10000"/>
                    <a:gd name="connsiteY53" fmla="*/ 3816 h 10127"/>
                    <a:gd name="connsiteX54" fmla="*/ 7944 w 10000"/>
                    <a:gd name="connsiteY54" fmla="*/ 3605 h 10127"/>
                    <a:gd name="connsiteX55" fmla="*/ 7778 w 10000"/>
                    <a:gd name="connsiteY55" fmla="*/ 3471 h 10127"/>
                    <a:gd name="connsiteX56" fmla="*/ 7556 w 10000"/>
                    <a:gd name="connsiteY56" fmla="*/ 3389 h 10127"/>
                    <a:gd name="connsiteX57" fmla="*/ 7333 w 10000"/>
                    <a:gd name="connsiteY57" fmla="*/ 3324 h 10127"/>
                    <a:gd name="connsiteX58" fmla="*/ 7000 w 10000"/>
                    <a:gd name="connsiteY58" fmla="*/ 3247 h 10127"/>
                    <a:gd name="connsiteX59" fmla="*/ 7000 w 10000"/>
                    <a:gd name="connsiteY59" fmla="*/ 3247 h 10127"/>
                    <a:gd name="connsiteX60" fmla="*/ 6556 w 10000"/>
                    <a:gd name="connsiteY60" fmla="*/ 3324 h 10127"/>
                    <a:gd name="connsiteX61" fmla="*/ 6222 w 10000"/>
                    <a:gd name="connsiteY61" fmla="*/ 3324 h 10127"/>
                    <a:gd name="connsiteX62" fmla="*/ 6111 w 10000"/>
                    <a:gd name="connsiteY62" fmla="*/ 3247 h 10127"/>
                    <a:gd name="connsiteX63" fmla="*/ 6056 w 10000"/>
                    <a:gd name="connsiteY63" fmla="*/ 3185 h 10127"/>
                    <a:gd name="connsiteX64" fmla="*/ 6056 w 10000"/>
                    <a:gd name="connsiteY64" fmla="*/ 3185 h 10127"/>
                    <a:gd name="connsiteX65" fmla="*/ 6056 w 10000"/>
                    <a:gd name="connsiteY65" fmla="*/ 1943 h 10127"/>
                    <a:gd name="connsiteX66" fmla="*/ 6056 w 10000"/>
                    <a:gd name="connsiteY66" fmla="*/ 1943 h 10127"/>
                    <a:gd name="connsiteX67" fmla="*/ 6056 w 10000"/>
                    <a:gd name="connsiteY67" fmla="*/ 1652 h 10127"/>
                    <a:gd name="connsiteX68" fmla="*/ 5944 w 10000"/>
                    <a:gd name="connsiteY68" fmla="*/ 1308 h 10127"/>
                    <a:gd name="connsiteX69" fmla="*/ 5889 w 10000"/>
                    <a:gd name="connsiteY69" fmla="*/ 1230 h 10127"/>
                    <a:gd name="connsiteX70" fmla="*/ 5778 w 10000"/>
                    <a:gd name="connsiteY70" fmla="*/ 1167 h 10127"/>
                    <a:gd name="connsiteX71" fmla="*/ 5667 w 10000"/>
                    <a:gd name="connsiteY71" fmla="*/ 1167 h 10127"/>
                    <a:gd name="connsiteX72" fmla="*/ 5500 w 10000"/>
                    <a:gd name="connsiteY72" fmla="*/ 1230 h 10127"/>
                    <a:gd name="connsiteX73" fmla="*/ 5500 w 10000"/>
                    <a:gd name="connsiteY73" fmla="*/ 1230 h 10127"/>
                    <a:gd name="connsiteX74" fmla="*/ 4889 w 10000"/>
                    <a:gd name="connsiteY74" fmla="*/ 1726 h 10127"/>
                    <a:gd name="connsiteX75" fmla="*/ 4611 w 10000"/>
                    <a:gd name="connsiteY75" fmla="*/ 1866 h 10127"/>
                    <a:gd name="connsiteX76" fmla="*/ 4556 w 10000"/>
                    <a:gd name="connsiteY76" fmla="*/ 1943 h 10127"/>
                    <a:gd name="connsiteX77" fmla="*/ 4500 w 10000"/>
                    <a:gd name="connsiteY77" fmla="*/ 1866 h 10127"/>
                    <a:gd name="connsiteX78" fmla="*/ 4500 w 10000"/>
                    <a:gd name="connsiteY78" fmla="*/ 1866 h 10127"/>
                    <a:gd name="connsiteX79" fmla="*/ 4222 w 10000"/>
                    <a:gd name="connsiteY79" fmla="*/ 1167 h 10127"/>
                    <a:gd name="connsiteX80" fmla="*/ 4222 w 10000"/>
                    <a:gd name="connsiteY80" fmla="*/ 1167 h 10127"/>
                    <a:gd name="connsiteX81" fmla="*/ 4111 w 10000"/>
                    <a:gd name="connsiteY81" fmla="*/ 822 h 10127"/>
                    <a:gd name="connsiteX82" fmla="*/ 4111 w 10000"/>
                    <a:gd name="connsiteY82" fmla="*/ 404 h 10127"/>
                    <a:gd name="connsiteX83" fmla="*/ 4111 w 10000"/>
                    <a:gd name="connsiteY83" fmla="*/ 404 h 10127"/>
                    <a:gd name="connsiteX84" fmla="*/ 4195 w 10000"/>
                    <a:gd name="connsiteY84" fmla="*/ 119 h 10127"/>
                    <a:gd name="connsiteX85" fmla="*/ 4213 w 10000"/>
                    <a:gd name="connsiteY85" fmla="*/ 0 h 10127"/>
                    <a:gd name="connsiteX86" fmla="*/ 4000 w 10000"/>
                    <a:gd name="connsiteY86" fmla="*/ 127 h 10127"/>
                    <a:gd name="connsiteX87" fmla="*/ 3722 w 10000"/>
                    <a:gd name="connsiteY87" fmla="*/ 200 h 10127"/>
                    <a:gd name="connsiteX88" fmla="*/ 3611 w 10000"/>
                    <a:gd name="connsiteY88" fmla="*/ 273 h 10127"/>
                    <a:gd name="connsiteX89" fmla="*/ 3556 w 10000"/>
                    <a:gd name="connsiteY89" fmla="*/ 344 h 10127"/>
                    <a:gd name="connsiteX90" fmla="*/ 3556 w 10000"/>
                    <a:gd name="connsiteY90" fmla="*/ 344 h 10127"/>
                    <a:gd name="connsiteX91" fmla="*/ 3444 w 10000"/>
                    <a:gd name="connsiteY91" fmla="*/ 618 h 10127"/>
                    <a:gd name="connsiteX92" fmla="*/ 3278 w 10000"/>
                    <a:gd name="connsiteY92" fmla="*/ 1039 h 10127"/>
                    <a:gd name="connsiteX93" fmla="*/ 3000 w 10000"/>
                    <a:gd name="connsiteY93" fmla="*/ 1516 h 10127"/>
                    <a:gd name="connsiteX94" fmla="*/ 2667 w 10000"/>
                    <a:gd name="connsiteY94" fmla="*/ 1866 h 10127"/>
                    <a:gd name="connsiteX95" fmla="*/ 2667 w 10000"/>
                    <a:gd name="connsiteY95" fmla="*/ 1866 h 10127"/>
                    <a:gd name="connsiteX96" fmla="*/ 2333 w 10000"/>
                    <a:gd name="connsiteY96" fmla="*/ 2152 h 10127"/>
                    <a:gd name="connsiteX97" fmla="*/ 1833 w 10000"/>
                    <a:gd name="connsiteY97" fmla="*/ 2431 h 10127"/>
                    <a:gd name="connsiteX98" fmla="*/ 1389 w 10000"/>
                    <a:gd name="connsiteY98" fmla="*/ 2562 h 10127"/>
                    <a:gd name="connsiteX99" fmla="*/ 889 w 10000"/>
                    <a:gd name="connsiteY99" fmla="*/ 2633 h 10127"/>
                    <a:gd name="connsiteX100" fmla="*/ 889 w 10000"/>
                    <a:gd name="connsiteY100" fmla="*/ 2633 h 10127"/>
                    <a:gd name="connsiteX101" fmla="*/ 500 w 10000"/>
                    <a:gd name="connsiteY101" fmla="*/ 2717 h 10127"/>
                    <a:gd name="connsiteX102" fmla="*/ 222 w 10000"/>
                    <a:gd name="connsiteY102" fmla="*/ 2768 h 10127"/>
                    <a:gd name="connsiteX103" fmla="*/ 0 w 10000"/>
                    <a:gd name="connsiteY103" fmla="*/ 2836 h 10127"/>
                    <a:gd name="connsiteX104" fmla="*/ 0 w 10000"/>
                    <a:gd name="connsiteY104" fmla="*/ 2836 h 10127"/>
                    <a:gd name="connsiteX105" fmla="*/ 278 w 10000"/>
                    <a:gd name="connsiteY105" fmla="*/ 3955 h 10127"/>
                    <a:gd name="connsiteX106" fmla="*/ 500 w 10000"/>
                    <a:gd name="connsiteY106" fmla="*/ 4773 h 10127"/>
                    <a:gd name="connsiteX107" fmla="*/ 722 w 10000"/>
                    <a:gd name="connsiteY107" fmla="*/ 5476 h 10127"/>
                    <a:gd name="connsiteX108" fmla="*/ 722 w 10000"/>
                    <a:gd name="connsiteY108" fmla="*/ 5476 h 10127"/>
                    <a:gd name="connsiteX109" fmla="*/ 889 w 10000"/>
                    <a:gd name="connsiteY109" fmla="*/ 5891 h 10127"/>
                    <a:gd name="connsiteX110" fmla="*/ 944 w 10000"/>
                    <a:gd name="connsiteY110" fmla="*/ 6248 h 10127"/>
                    <a:gd name="connsiteX111" fmla="*/ 1111 w 10000"/>
                    <a:gd name="connsiteY111" fmla="*/ 6598 h 10127"/>
                    <a:gd name="connsiteX112" fmla="*/ 1333 w 10000"/>
                    <a:gd name="connsiteY112" fmla="*/ 7136 h 10127"/>
                    <a:gd name="connsiteX113" fmla="*/ 1333 w 10000"/>
                    <a:gd name="connsiteY113" fmla="*/ 7136 h 10127"/>
                    <a:gd name="connsiteX114" fmla="*/ 1444 w 10000"/>
                    <a:gd name="connsiteY114" fmla="*/ 7417 h 10127"/>
                    <a:gd name="connsiteX115" fmla="*/ 1500 w 10000"/>
                    <a:gd name="connsiteY115" fmla="*/ 7626 h 10127"/>
                    <a:gd name="connsiteX116" fmla="*/ 1500 w 10000"/>
                    <a:gd name="connsiteY116" fmla="*/ 7823 h 10127"/>
                    <a:gd name="connsiteX117" fmla="*/ 1556 w 10000"/>
                    <a:gd name="connsiteY117" fmla="*/ 7911 h 10127"/>
                    <a:gd name="connsiteX118" fmla="*/ 1722 w 10000"/>
                    <a:gd name="connsiteY118" fmla="*/ 7973 h 10127"/>
                    <a:gd name="connsiteX119" fmla="*/ 1944 w 10000"/>
                    <a:gd name="connsiteY119" fmla="*/ 8038 h 10127"/>
                    <a:gd name="connsiteX120" fmla="*/ 2944 w 10000"/>
                    <a:gd name="connsiteY120" fmla="*/ 8115 h 10127"/>
                    <a:gd name="connsiteX121" fmla="*/ 2944 w 10000"/>
                    <a:gd name="connsiteY121" fmla="*/ 8115 h 10127"/>
                    <a:gd name="connsiteX122" fmla="*/ 4167 w 10000"/>
                    <a:gd name="connsiteY122" fmla="*/ 8256 h 10127"/>
                    <a:gd name="connsiteX123" fmla="*/ 4889 w 10000"/>
                    <a:gd name="connsiteY123" fmla="*/ 8452 h 10127"/>
                    <a:gd name="connsiteX124" fmla="*/ 5278 w 10000"/>
                    <a:gd name="connsiteY124" fmla="*/ 8673 h 10127"/>
                    <a:gd name="connsiteX125" fmla="*/ 5444 w 10000"/>
                    <a:gd name="connsiteY125" fmla="*/ 8731 h 10127"/>
                    <a:gd name="connsiteX126" fmla="*/ 5444 w 10000"/>
                    <a:gd name="connsiteY126" fmla="*/ 8731 h 10127"/>
                    <a:gd name="connsiteX127" fmla="*/ 5722 w 10000"/>
                    <a:gd name="connsiteY127" fmla="*/ 8886 h 10127"/>
                    <a:gd name="connsiteX128" fmla="*/ 5833 w 10000"/>
                    <a:gd name="connsiteY128" fmla="*/ 8957 h 10127"/>
                    <a:gd name="connsiteX129" fmla="*/ 5833 w 10000"/>
                    <a:gd name="connsiteY129" fmla="*/ 8957 h 10127"/>
                    <a:gd name="connsiteX130" fmla="*/ 5833 w 10000"/>
                    <a:gd name="connsiteY130" fmla="*/ 8886 h 10127"/>
                    <a:gd name="connsiteX131" fmla="*/ 5889 w 10000"/>
                    <a:gd name="connsiteY131" fmla="*/ 8808 h 10127"/>
                    <a:gd name="connsiteX132" fmla="*/ 6000 w 10000"/>
                    <a:gd name="connsiteY132" fmla="*/ 8731 h 10127"/>
                    <a:gd name="connsiteX133" fmla="*/ 6167 w 10000"/>
                    <a:gd name="connsiteY133" fmla="*/ 8673 h 10127"/>
                    <a:gd name="connsiteX134" fmla="*/ 6444 w 10000"/>
                    <a:gd name="connsiteY134" fmla="*/ 8673 h 10127"/>
                    <a:gd name="connsiteX135" fmla="*/ 6833 w 10000"/>
                    <a:gd name="connsiteY135" fmla="*/ 8731 h 10127"/>
                    <a:gd name="connsiteX136" fmla="*/ 7278 w 10000"/>
                    <a:gd name="connsiteY136" fmla="*/ 8957 h 10127"/>
                    <a:gd name="connsiteX137" fmla="*/ 7278 w 10000"/>
                    <a:gd name="connsiteY137" fmla="*/ 8957 h 10127"/>
                    <a:gd name="connsiteX138" fmla="*/ 8722 w 10000"/>
                    <a:gd name="connsiteY138" fmla="*/ 9563 h 10127"/>
                    <a:gd name="connsiteX139" fmla="*/ 10000 w 10000"/>
                    <a:gd name="connsiteY139" fmla="*/ 10127 h 10127"/>
                    <a:gd name="connsiteX140" fmla="*/ 10000 w 10000"/>
                    <a:gd name="connsiteY140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4111 w 10000"/>
                    <a:gd name="connsiteY38" fmla="*/ 757 h 10127"/>
                    <a:gd name="connsiteX39" fmla="*/ 10000 w 10000"/>
                    <a:gd name="connsiteY39" fmla="*/ 5476 h 10127"/>
                    <a:gd name="connsiteX40" fmla="*/ 10000 w 10000"/>
                    <a:gd name="connsiteY40" fmla="*/ 5476 h 10127"/>
                    <a:gd name="connsiteX41" fmla="*/ 9722 w 10000"/>
                    <a:gd name="connsiteY41" fmla="*/ 5399 h 10127"/>
                    <a:gd name="connsiteX42" fmla="*/ 9389 w 10000"/>
                    <a:gd name="connsiteY42" fmla="*/ 5476 h 10127"/>
                    <a:gd name="connsiteX43" fmla="*/ 9389 w 10000"/>
                    <a:gd name="connsiteY43" fmla="*/ 5476 h 10127"/>
                    <a:gd name="connsiteX44" fmla="*/ 9278 w 10000"/>
                    <a:gd name="connsiteY44" fmla="*/ 5560 h 10127"/>
                    <a:gd name="connsiteX45" fmla="*/ 9056 w 10000"/>
                    <a:gd name="connsiteY45" fmla="*/ 5476 h 10127"/>
                    <a:gd name="connsiteX46" fmla="*/ 8889 w 10000"/>
                    <a:gd name="connsiteY46" fmla="*/ 5399 h 10127"/>
                    <a:gd name="connsiteX47" fmla="*/ 8722 w 10000"/>
                    <a:gd name="connsiteY47" fmla="*/ 5267 h 10127"/>
                    <a:gd name="connsiteX48" fmla="*/ 8611 w 10000"/>
                    <a:gd name="connsiteY48" fmla="*/ 5051 h 10127"/>
                    <a:gd name="connsiteX49" fmla="*/ 8444 w 10000"/>
                    <a:gd name="connsiteY49" fmla="*/ 4703 h 10127"/>
                    <a:gd name="connsiteX50" fmla="*/ 8444 w 10000"/>
                    <a:gd name="connsiteY50" fmla="*/ 4703 h 10127"/>
                    <a:gd name="connsiteX51" fmla="*/ 8222 w 10000"/>
                    <a:gd name="connsiteY51" fmla="*/ 4096 h 10127"/>
                    <a:gd name="connsiteX52" fmla="*/ 8111 w 10000"/>
                    <a:gd name="connsiteY52" fmla="*/ 3816 h 10127"/>
                    <a:gd name="connsiteX53" fmla="*/ 7944 w 10000"/>
                    <a:gd name="connsiteY53" fmla="*/ 3605 h 10127"/>
                    <a:gd name="connsiteX54" fmla="*/ 7778 w 10000"/>
                    <a:gd name="connsiteY54" fmla="*/ 3471 h 10127"/>
                    <a:gd name="connsiteX55" fmla="*/ 7556 w 10000"/>
                    <a:gd name="connsiteY55" fmla="*/ 3389 h 10127"/>
                    <a:gd name="connsiteX56" fmla="*/ 7333 w 10000"/>
                    <a:gd name="connsiteY56" fmla="*/ 3324 h 10127"/>
                    <a:gd name="connsiteX57" fmla="*/ 7000 w 10000"/>
                    <a:gd name="connsiteY57" fmla="*/ 3247 h 10127"/>
                    <a:gd name="connsiteX58" fmla="*/ 7000 w 10000"/>
                    <a:gd name="connsiteY58" fmla="*/ 3247 h 10127"/>
                    <a:gd name="connsiteX59" fmla="*/ 6556 w 10000"/>
                    <a:gd name="connsiteY59" fmla="*/ 3324 h 10127"/>
                    <a:gd name="connsiteX60" fmla="*/ 6222 w 10000"/>
                    <a:gd name="connsiteY60" fmla="*/ 3324 h 10127"/>
                    <a:gd name="connsiteX61" fmla="*/ 6111 w 10000"/>
                    <a:gd name="connsiteY61" fmla="*/ 3247 h 10127"/>
                    <a:gd name="connsiteX62" fmla="*/ 6056 w 10000"/>
                    <a:gd name="connsiteY62" fmla="*/ 3185 h 10127"/>
                    <a:gd name="connsiteX63" fmla="*/ 6056 w 10000"/>
                    <a:gd name="connsiteY63" fmla="*/ 3185 h 10127"/>
                    <a:gd name="connsiteX64" fmla="*/ 6056 w 10000"/>
                    <a:gd name="connsiteY64" fmla="*/ 1943 h 10127"/>
                    <a:gd name="connsiteX65" fmla="*/ 6056 w 10000"/>
                    <a:gd name="connsiteY65" fmla="*/ 1943 h 10127"/>
                    <a:gd name="connsiteX66" fmla="*/ 6056 w 10000"/>
                    <a:gd name="connsiteY66" fmla="*/ 1652 h 10127"/>
                    <a:gd name="connsiteX67" fmla="*/ 5944 w 10000"/>
                    <a:gd name="connsiteY67" fmla="*/ 1308 h 10127"/>
                    <a:gd name="connsiteX68" fmla="*/ 5889 w 10000"/>
                    <a:gd name="connsiteY68" fmla="*/ 1230 h 10127"/>
                    <a:gd name="connsiteX69" fmla="*/ 5778 w 10000"/>
                    <a:gd name="connsiteY69" fmla="*/ 1167 h 10127"/>
                    <a:gd name="connsiteX70" fmla="*/ 5667 w 10000"/>
                    <a:gd name="connsiteY70" fmla="*/ 1167 h 10127"/>
                    <a:gd name="connsiteX71" fmla="*/ 5500 w 10000"/>
                    <a:gd name="connsiteY71" fmla="*/ 1230 h 10127"/>
                    <a:gd name="connsiteX72" fmla="*/ 5500 w 10000"/>
                    <a:gd name="connsiteY72" fmla="*/ 1230 h 10127"/>
                    <a:gd name="connsiteX73" fmla="*/ 4889 w 10000"/>
                    <a:gd name="connsiteY73" fmla="*/ 1726 h 10127"/>
                    <a:gd name="connsiteX74" fmla="*/ 4611 w 10000"/>
                    <a:gd name="connsiteY74" fmla="*/ 1866 h 10127"/>
                    <a:gd name="connsiteX75" fmla="*/ 4556 w 10000"/>
                    <a:gd name="connsiteY75" fmla="*/ 1943 h 10127"/>
                    <a:gd name="connsiteX76" fmla="*/ 4500 w 10000"/>
                    <a:gd name="connsiteY76" fmla="*/ 1866 h 10127"/>
                    <a:gd name="connsiteX77" fmla="*/ 4500 w 10000"/>
                    <a:gd name="connsiteY77" fmla="*/ 1866 h 10127"/>
                    <a:gd name="connsiteX78" fmla="*/ 4222 w 10000"/>
                    <a:gd name="connsiteY78" fmla="*/ 1167 h 10127"/>
                    <a:gd name="connsiteX79" fmla="*/ 4222 w 10000"/>
                    <a:gd name="connsiteY79" fmla="*/ 1167 h 10127"/>
                    <a:gd name="connsiteX80" fmla="*/ 4111 w 10000"/>
                    <a:gd name="connsiteY80" fmla="*/ 822 h 10127"/>
                    <a:gd name="connsiteX81" fmla="*/ 4111 w 10000"/>
                    <a:gd name="connsiteY81" fmla="*/ 404 h 10127"/>
                    <a:gd name="connsiteX82" fmla="*/ 4111 w 10000"/>
                    <a:gd name="connsiteY82" fmla="*/ 404 h 10127"/>
                    <a:gd name="connsiteX83" fmla="*/ 4195 w 10000"/>
                    <a:gd name="connsiteY83" fmla="*/ 119 h 10127"/>
                    <a:gd name="connsiteX84" fmla="*/ 4213 w 10000"/>
                    <a:gd name="connsiteY84" fmla="*/ 0 h 10127"/>
                    <a:gd name="connsiteX85" fmla="*/ 4000 w 10000"/>
                    <a:gd name="connsiteY85" fmla="*/ 127 h 10127"/>
                    <a:gd name="connsiteX86" fmla="*/ 3722 w 10000"/>
                    <a:gd name="connsiteY86" fmla="*/ 200 h 10127"/>
                    <a:gd name="connsiteX87" fmla="*/ 3611 w 10000"/>
                    <a:gd name="connsiteY87" fmla="*/ 273 h 10127"/>
                    <a:gd name="connsiteX88" fmla="*/ 3556 w 10000"/>
                    <a:gd name="connsiteY88" fmla="*/ 344 h 10127"/>
                    <a:gd name="connsiteX89" fmla="*/ 3556 w 10000"/>
                    <a:gd name="connsiteY89" fmla="*/ 344 h 10127"/>
                    <a:gd name="connsiteX90" fmla="*/ 3444 w 10000"/>
                    <a:gd name="connsiteY90" fmla="*/ 618 h 10127"/>
                    <a:gd name="connsiteX91" fmla="*/ 3278 w 10000"/>
                    <a:gd name="connsiteY91" fmla="*/ 1039 h 10127"/>
                    <a:gd name="connsiteX92" fmla="*/ 3000 w 10000"/>
                    <a:gd name="connsiteY92" fmla="*/ 1516 h 10127"/>
                    <a:gd name="connsiteX93" fmla="*/ 2667 w 10000"/>
                    <a:gd name="connsiteY93" fmla="*/ 1866 h 10127"/>
                    <a:gd name="connsiteX94" fmla="*/ 2667 w 10000"/>
                    <a:gd name="connsiteY94" fmla="*/ 1866 h 10127"/>
                    <a:gd name="connsiteX95" fmla="*/ 2333 w 10000"/>
                    <a:gd name="connsiteY95" fmla="*/ 2152 h 10127"/>
                    <a:gd name="connsiteX96" fmla="*/ 1833 w 10000"/>
                    <a:gd name="connsiteY96" fmla="*/ 2431 h 10127"/>
                    <a:gd name="connsiteX97" fmla="*/ 1389 w 10000"/>
                    <a:gd name="connsiteY97" fmla="*/ 2562 h 10127"/>
                    <a:gd name="connsiteX98" fmla="*/ 889 w 10000"/>
                    <a:gd name="connsiteY98" fmla="*/ 2633 h 10127"/>
                    <a:gd name="connsiteX99" fmla="*/ 889 w 10000"/>
                    <a:gd name="connsiteY99" fmla="*/ 2633 h 10127"/>
                    <a:gd name="connsiteX100" fmla="*/ 500 w 10000"/>
                    <a:gd name="connsiteY100" fmla="*/ 2717 h 10127"/>
                    <a:gd name="connsiteX101" fmla="*/ 222 w 10000"/>
                    <a:gd name="connsiteY101" fmla="*/ 2768 h 10127"/>
                    <a:gd name="connsiteX102" fmla="*/ 0 w 10000"/>
                    <a:gd name="connsiteY102" fmla="*/ 2836 h 10127"/>
                    <a:gd name="connsiteX103" fmla="*/ 0 w 10000"/>
                    <a:gd name="connsiteY103" fmla="*/ 2836 h 10127"/>
                    <a:gd name="connsiteX104" fmla="*/ 278 w 10000"/>
                    <a:gd name="connsiteY104" fmla="*/ 3955 h 10127"/>
                    <a:gd name="connsiteX105" fmla="*/ 500 w 10000"/>
                    <a:gd name="connsiteY105" fmla="*/ 4773 h 10127"/>
                    <a:gd name="connsiteX106" fmla="*/ 722 w 10000"/>
                    <a:gd name="connsiteY106" fmla="*/ 5476 h 10127"/>
                    <a:gd name="connsiteX107" fmla="*/ 722 w 10000"/>
                    <a:gd name="connsiteY107" fmla="*/ 5476 h 10127"/>
                    <a:gd name="connsiteX108" fmla="*/ 889 w 10000"/>
                    <a:gd name="connsiteY108" fmla="*/ 5891 h 10127"/>
                    <a:gd name="connsiteX109" fmla="*/ 944 w 10000"/>
                    <a:gd name="connsiteY109" fmla="*/ 6248 h 10127"/>
                    <a:gd name="connsiteX110" fmla="*/ 1111 w 10000"/>
                    <a:gd name="connsiteY110" fmla="*/ 6598 h 10127"/>
                    <a:gd name="connsiteX111" fmla="*/ 1333 w 10000"/>
                    <a:gd name="connsiteY111" fmla="*/ 7136 h 10127"/>
                    <a:gd name="connsiteX112" fmla="*/ 1333 w 10000"/>
                    <a:gd name="connsiteY112" fmla="*/ 7136 h 10127"/>
                    <a:gd name="connsiteX113" fmla="*/ 1444 w 10000"/>
                    <a:gd name="connsiteY113" fmla="*/ 7417 h 10127"/>
                    <a:gd name="connsiteX114" fmla="*/ 1500 w 10000"/>
                    <a:gd name="connsiteY114" fmla="*/ 7626 h 10127"/>
                    <a:gd name="connsiteX115" fmla="*/ 1500 w 10000"/>
                    <a:gd name="connsiteY115" fmla="*/ 7823 h 10127"/>
                    <a:gd name="connsiteX116" fmla="*/ 1556 w 10000"/>
                    <a:gd name="connsiteY116" fmla="*/ 7911 h 10127"/>
                    <a:gd name="connsiteX117" fmla="*/ 1722 w 10000"/>
                    <a:gd name="connsiteY117" fmla="*/ 7973 h 10127"/>
                    <a:gd name="connsiteX118" fmla="*/ 1944 w 10000"/>
                    <a:gd name="connsiteY118" fmla="*/ 8038 h 10127"/>
                    <a:gd name="connsiteX119" fmla="*/ 2944 w 10000"/>
                    <a:gd name="connsiteY119" fmla="*/ 8115 h 10127"/>
                    <a:gd name="connsiteX120" fmla="*/ 2944 w 10000"/>
                    <a:gd name="connsiteY120" fmla="*/ 8115 h 10127"/>
                    <a:gd name="connsiteX121" fmla="*/ 4167 w 10000"/>
                    <a:gd name="connsiteY121" fmla="*/ 8256 h 10127"/>
                    <a:gd name="connsiteX122" fmla="*/ 4889 w 10000"/>
                    <a:gd name="connsiteY122" fmla="*/ 8452 h 10127"/>
                    <a:gd name="connsiteX123" fmla="*/ 5278 w 10000"/>
                    <a:gd name="connsiteY123" fmla="*/ 8673 h 10127"/>
                    <a:gd name="connsiteX124" fmla="*/ 5444 w 10000"/>
                    <a:gd name="connsiteY124" fmla="*/ 8731 h 10127"/>
                    <a:gd name="connsiteX125" fmla="*/ 5444 w 10000"/>
                    <a:gd name="connsiteY125" fmla="*/ 8731 h 10127"/>
                    <a:gd name="connsiteX126" fmla="*/ 5722 w 10000"/>
                    <a:gd name="connsiteY126" fmla="*/ 8886 h 10127"/>
                    <a:gd name="connsiteX127" fmla="*/ 5833 w 10000"/>
                    <a:gd name="connsiteY127" fmla="*/ 8957 h 10127"/>
                    <a:gd name="connsiteX128" fmla="*/ 5833 w 10000"/>
                    <a:gd name="connsiteY128" fmla="*/ 8957 h 10127"/>
                    <a:gd name="connsiteX129" fmla="*/ 5833 w 10000"/>
                    <a:gd name="connsiteY129" fmla="*/ 8886 h 10127"/>
                    <a:gd name="connsiteX130" fmla="*/ 5889 w 10000"/>
                    <a:gd name="connsiteY130" fmla="*/ 8808 h 10127"/>
                    <a:gd name="connsiteX131" fmla="*/ 6000 w 10000"/>
                    <a:gd name="connsiteY131" fmla="*/ 8731 h 10127"/>
                    <a:gd name="connsiteX132" fmla="*/ 6167 w 10000"/>
                    <a:gd name="connsiteY132" fmla="*/ 8673 h 10127"/>
                    <a:gd name="connsiteX133" fmla="*/ 6444 w 10000"/>
                    <a:gd name="connsiteY133" fmla="*/ 8673 h 10127"/>
                    <a:gd name="connsiteX134" fmla="*/ 6833 w 10000"/>
                    <a:gd name="connsiteY134" fmla="*/ 8731 h 10127"/>
                    <a:gd name="connsiteX135" fmla="*/ 7278 w 10000"/>
                    <a:gd name="connsiteY135" fmla="*/ 8957 h 10127"/>
                    <a:gd name="connsiteX136" fmla="*/ 7278 w 10000"/>
                    <a:gd name="connsiteY136" fmla="*/ 8957 h 10127"/>
                    <a:gd name="connsiteX137" fmla="*/ 8722 w 10000"/>
                    <a:gd name="connsiteY137" fmla="*/ 9563 h 10127"/>
                    <a:gd name="connsiteX138" fmla="*/ 10000 w 10000"/>
                    <a:gd name="connsiteY138" fmla="*/ 10127 h 10127"/>
                    <a:gd name="connsiteX139" fmla="*/ 10000 w 10000"/>
                    <a:gd name="connsiteY139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4111 w 10000"/>
                    <a:gd name="connsiteY37" fmla="*/ 957 h 10127"/>
                    <a:gd name="connsiteX38" fmla="*/ 10000 w 10000"/>
                    <a:gd name="connsiteY38" fmla="*/ 5476 h 10127"/>
                    <a:gd name="connsiteX39" fmla="*/ 10000 w 10000"/>
                    <a:gd name="connsiteY39" fmla="*/ 5476 h 10127"/>
                    <a:gd name="connsiteX40" fmla="*/ 9722 w 10000"/>
                    <a:gd name="connsiteY40" fmla="*/ 5399 h 10127"/>
                    <a:gd name="connsiteX41" fmla="*/ 9389 w 10000"/>
                    <a:gd name="connsiteY41" fmla="*/ 5476 h 10127"/>
                    <a:gd name="connsiteX42" fmla="*/ 9389 w 10000"/>
                    <a:gd name="connsiteY42" fmla="*/ 5476 h 10127"/>
                    <a:gd name="connsiteX43" fmla="*/ 9278 w 10000"/>
                    <a:gd name="connsiteY43" fmla="*/ 5560 h 10127"/>
                    <a:gd name="connsiteX44" fmla="*/ 9056 w 10000"/>
                    <a:gd name="connsiteY44" fmla="*/ 5476 h 10127"/>
                    <a:gd name="connsiteX45" fmla="*/ 8889 w 10000"/>
                    <a:gd name="connsiteY45" fmla="*/ 5399 h 10127"/>
                    <a:gd name="connsiteX46" fmla="*/ 8722 w 10000"/>
                    <a:gd name="connsiteY46" fmla="*/ 5267 h 10127"/>
                    <a:gd name="connsiteX47" fmla="*/ 8611 w 10000"/>
                    <a:gd name="connsiteY47" fmla="*/ 5051 h 10127"/>
                    <a:gd name="connsiteX48" fmla="*/ 8444 w 10000"/>
                    <a:gd name="connsiteY48" fmla="*/ 4703 h 10127"/>
                    <a:gd name="connsiteX49" fmla="*/ 8444 w 10000"/>
                    <a:gd name="connsiteY49" fmla="*/ 4703 h 10127"/>
                    <a:gd name="connsiteX50" fmla="*/ 8222 w 10000"/>
                    <a:gd name="connsiteY50" fmla="*/ 4096 h 10127"/>
                    <a:gd name="connsiteX51" fmla="*/ 8111 w 10000"/>
                    <a:gd name="connsiteY51" fmla="*/ 3816 h 10127"/>
                    <a:gd name="connsiteX52" fmla="*/ 7944 w 10000"/>
                    <a:gd name="connsiteY52" fmla="*/ 3605 h 10127"/>
                    <a:gd name="connsiteX53" fmla="*/ 7778 w 10000"/>
                    <a:gd name="connsiteY53" fmla="*/ 3471 h 10127"/>
                    <a:gd name="connsiteX54" fmla="*/ 7556 w 10000"/>
                    <a:gd name="connsiteY54" fmla="*/ 3389 h 10127"/>
                    <a:gd name="connsiteX55" fmla="*/ 7333 w 10000"/>
                    <a:gd name="connsiteY55" fmla="*/ 3324 h 10127"/>
                    <a:gd name="connsiteX56" fmla="*/ 7000 w 10000"/>
                    <a:gd name="connsiteY56" fmla="*/ 3247 h 10127"/>
                    <a:gd name="connsiteX57" fmla="*/ 7000 w 10000"/>
                    <a:gd name="connsiteY57" fmla="*/ 3247 h 10127"/>
                    <a:gd name="connsiteX58" fmla="*/ 6556 w 10000"/>
                    <a:gd name="connsiteY58" fmla="*/ 3324 h 10127"/>
                    <a:gd name="connsiteX59" fmla="*/ 6222 w 10000"/>
                    <a:gd name="connsiteY59" fmla="*/ 3324 h 10127"/>
                    <a:gd name="connsiteX60" fmla="*/ 6111 w 10000"/>
                    <a:gd name="connsiteY60" fmla="*/ 3247 h 10127"/>
                    <a:gd name="connsiteX61" fmla="*/ 6056 w 10000"/>
                    <a:gd name="connsiteY61" fmla="*/ 3185 h 10127"/>
                    <a:gd name="connsiteX62" fmla="*/ 6056 w 10000"/>
                    <a:gd name="connsiteY62" fmla="*/ 3185 h 10127"/>
                    <a:gd name="connsiteX63" fmla="*/ 6056 w 10000"/>
                    <a:gd name="connsiteY63" fmla="*/ 1943 h 10127"/>
                    <a:gd name="connsiteX64" fmla="*/ 6056 w 10000"/>
                    <a:gd name="connsiteY64" fmla="*/ 1943 h 10127"/>
                    <a:gd name="connsiteX65" fmla="*/ 6056 w 10000"/>
                    <a:gd name="connsiteY65" fmla="*/ 1652 h 10127"/>
                    <a:gd name="connsiteX66" fmla="*/ 5944 w 10000"/>
                    <a:gd name="connsiteY66" fmla="*/ 1308 h 10127"/>
                    <a:gd name="connsiteX67" fmla="*/ 5889 w 10000"/>
                    <a:gd name="connsiteY67" fmla="*/ 1230 h 10127"/>
                    <a:gd name="connsiteX68" fmla="*/ 5778 w 10000"/>
                    <a:gd name="connsiteY68" fmla="*/ 1167 h 10127"/>
                    <a:gd name="connsiteX69" fmla="*/ 5667 w 10000"/>
                    <a:gd name="connsiteY69" fmla="*/ 1167 h 10127"/>
                    <a:gd name="connsiteX70" fmla="*/ 5500 w 10000"/>
                    <a:gd name="connsiteY70" fmla="*/ 1230 h 10127"/>
                    <a:gd name="connsiteX71" fmla="*/ 5500 w 10000"/>
                    <a:gd name="connsiteY71" fmla="*/ 1230 h 10127"/>
                    <a:gd name="connsiteX72" fmla="*/ 4889 w 10000"/>
                    <a:gd name="connsiteY72" fmla="*/ 1726 h 10127"/>
                    <a:gd name="connsiteX73" fmla="*/ 4611 w 10000"/>
                    <a:gd name="connsiteY73" fmla="*/ 1866 h 10127"/>
                    <a:gd name="connsiteX74" fmla="*/ 4556 w 10000"/>
                    <a:gd name="connsiteY74" fmla="*/ 1943 h 10127"/>
                    <a:gd name="connsiteX75" fmla="*/ 4500 w 10000"/>
                    <a:gd name="connsiteY75" fmla="*/ 1866 h 10127"/>
                    <a:gd name="connsiteX76" fmla="*/ 4500 w 10000"/>
                    <a:gd name="connsiteY76" fmla="*/ 1866 h 10127"/>
                    <a:gd name="connsiteX77" fmla="*/ 4222 w 10000"/>
                    <a:gd name="connsiteY77" fmla="*/ 1167 h 10127"/>
                    <a:gd name="connsiteX78" fmla="*/ 4222 w 10000"/>
                    <a:gd name="connsiteY78" fmla="*/ 1167 h 10127"/>
                    <a:gd name="connsiteX79" fmla="*/ 4111 w 10000"/>
                    <a:gd name="connsiteY79" fmla="*/ 822 h 10127"/>
                    <a:gd name="connsiteX80" fmla="*/ 4111 w 10000"/>
                    <a:gd name="connsiteY80" fmla="*/ 404 h 10127"/>
                    <a:gd name="connsiteX81" fmla="*/ 4111 w 10000"/>
                    <a:gd name="connsiteY81" fmla="*/ 404 h 10127"/>
                    <a:gd name="connsiteX82" fmla="*/ 4195 w 10000"/>
                    <a:gd name="connsiteY82" fmla="*/ 119 h 10127"/>
                    <a:gd name="connsiteX83" fmla="*/ 4213 w 10000"/>
                    <a:gd name="connsiteY83" fmla="*/ 0 h 10127"/>
                    <a:gd name="connsiteX84" fmla="*/ 4000 w 10000"/>
                    <a:gd name="connsiteY84" fmla="*/ 127 h 10127"/>
                    <a:gd name="connsiteX85" fmla="*/ 3722 w 10000"/>
                    <a:gd name="connsiteY85" fmla="*/ 200 h 10127"/>
                    <a:gd name="connsiteX86" fmla="*/ 3611 w 10000"/>
                    <a:gd name="connsiteY86" fmla="*/ 273 h 10127"/>
                    <a:gd name="connsiteX87" fmla="*/ 3556 w 10000"/>
                    <a:gd name="connsiteY87" fmla="*/ 344 h 10127"/>
                    <a:gd name="connsiteX88" fmla="*/ 3556 w 10000"/>
                    <a:gd name="connsiteY88" fmla="*/ 344 h 10127"/>
                    <a:gd name="connsiteX89" fmla="*/ 3444 w 10000"/>
                    <a:gd name="connsiteY89" fmla="*/ 618 h 10127"/>
                    <a:gd name="connsiteX90" fmla="*/ 3278 w 10000"/>
                    <a:gd name="connsiteY90" fmla="*/ 1039 h 10127"/>
                    <a:gd name="connsiteX91" fmla="*/ 3000 w 10000"/>
                    <a:gd name="connsiteY91" fmla="*/ 1516 h 10127"/>
                    <a:gd name="connsiteX92" fmla="*/ 2667 w 10000"/>
                    <a:gd name="connsiteY92" fmla="*/ 1866 h 10127"/>
                    <a:gd name="connsiteX93" fmla="*/ 2667 w 10000"/>
                    <a:gd name="connsiteY93" fmla="*/ 1866 h 10127"/>
                    <a:gd name="connsiteX94" fmla="*/ 2333 w 10000"/>
                    <a:gd name="connsiteY94" fmla="*/ 2152 h 10127"/>
                    <a:gd name="connsiteX95" fmla="*/ 1833 w 10000"/>
                    <a:gd name="connsiteY95" fmla="*/ 2431 h 10127"/>
                    <a:gd name="connsiteX96" fmla="*/ 1389 w 10000"/>
                    <a:gd name="connsiteY96" fmla="*/ 2562 h 10127"/>
                    <a:gd name="connsiteX97" fmla="*/ 889 w 10000"/>
                    <a:gd name="connsiteY97" fmla="*/ 2633 h 10127"/>
                    <a:gd name="connsiteX98" fmla="*/ 889 w 10000"/>
                    <a:gd name="connsiteY98" fmla="*/ 2633 h 10127"/>
                    <a:gd name="connsiteX99" fmla="*/ 500 w 10000"/>
                    <a:gd name="connsiteY99" fmla="*/ 2717 h 10127"/>
                    <a:gd name="connsiteX100" fmla="*/ 222 w 10000"/>
                    <a:gd name="connsiteY100" fmla="*/ 2768 h 10127"/>
                    <a:gd name="connsiteX101" fmla="*/ 0 w 10000"/>
                    <a:gd name="connsiteY101" fmla="*/ 2836 h 10127"/>
                    <a:gd name="connsiteX102" fmla="*/ 0 w 10000"/>
                    <a:gd name="connsiteY102" fmla="*/ 2836 h 10127"/>
                    <a:gd name="connsiteX103" fmla="*/ 278 w 10000"/>
                    <a:gd name="connsiteY103" fmla="*/ 3955 h 10127"/>
                    <a:gd name="connsiteX104" fmla="*/ 500 w 10000"/>
                    <a:gd name="connsiteY104" fmla="*/ 4773 h 10127"/>
                    <a:gd name="connsiteX105" fmla="*/ 722 w 10000"/>
                    <a:gd name="connsiteY105" fmla="*/ 5476 h 10127"/>
                    <a:gd name="connsiteX106" fmla="*/ 722 w 10000"/>
                    <a:gd name="connsiteY106" fmla="*/ 5476 h 10127"/>
                    <a:gd name="connsiteX107" fmla="*/ 889 w 10000"/>
                    <a:gd name="connsiteY107" fmla="*/ 5891 h 10127"/>
                    <a:gd name="connsiteX108" fmla="*/ 944 w 10000"/>
                    <a:gd name="connsiteY108" fmla="*/ 6248 h 10127"/>
                    <a:gd name="connsiteX109" fmla="*/ 1111 w 10000"/>
                    <a:gd name="connsiteY109" fmla="*/ 6598 h 10127"/>
                    <a:gd name="connsiteX110" fmla="*/ 1333 w 10000"/>
                    <a:gd name="connsiteY110" fmla="*/ 7136 h 10127"/>
                    <a:gd name="connsiteX111" fmla="*/ 1333 w 10000"/>
                    <a:gd name="connsiteY111" fmla="*/ 7136 h 10127"/>
                    <a:gd name="connsiteX112" fmla="*/ 1444 w 10000"/>
                    <a:gd name="connsiteY112" fmla="*/ 7417 h 10127"/>
                    <a:gd name="connsiteX113" fmla="*/ 1500 w 10000"/>
                    <a:gd name="connsiteY113" fmla="*/ 7626 h 10127"/>
                    <a:gd name="connsiteX114" fmla="*/ 1500 w 10000"/>
                    <a:gd name="connsiteY114" fmla="*/ 7823 h 10127"/>
                    <a:gd name="connsiteX115" fmla="*/ 1556 w 10000"/>
                    <a:gd name="connsiteY115" fmla="*/ 7911 h 10127"/>
                    <a:gd name="connsiteX116" fmla="*/ 1722 w 10000"/>
                    <a:gd name="connsiteY116" fmla="*/ 7973 h 10127"/>
                    <a:gd name="connsiteX117" fmla="*/ 1944 w 10000"/>
                    <a:gd name="connsiteY117" fmla="*/ 8038 h 10127"/>
                    <a:gd name="connsiteX118" fmla="*/ 2944 w 10000"/>
                    <a:gd name="connsiteY118" fmla="*/ 8115 h 10127"/>
                    <a:gd name="connsiteX119" fmla="*/ 2944 w 10000"/>
                    <a:gd name="connsiteY119" fmla="*/ 8115 h 10127"/>
                    <a:gd name="connsiteX120" fmla="*/ 4167 w 10000"/>
                    <a:gd name="connsiteY120" fmla="*/ 8256 h 10127"/>
                    <a:gd name="connsiteX121" fmla="*/ 4889 w 10000"/>
                    <a:gd name="connsiteY121" fmla="*/ 8452 h 10127"/>
                    <a:gd name="connsiteX122" fmla="*/ 5278 w 10000"/>
                    <a:gd name="connsiteY122" fmla="*/ 8673 h 10127"/>
                    <a:gd name="connsiteX123" fmla="*/ 5444 w 10000"/>
                    <a:gd name="connsiteY123" fmla="*/ 8731 h 10127"/>
                    <a:gd name="connsiteX124" fmla="*/ 5444 w 10000"/>
                    <a:gd name="connsiteY124" fmla="*/ 8731 h 10127"/>
                    <a:gd name="connsiteX125" fmla="*/ 5722 w 10000"/>
                    <a:gd name="connsiteY125" fmla="*/ 8886 h 10127"/>
                    <a:gd name="connsiteX126" fmla="*/ 5833 w 10000"/>
                    <a:gd name="connsiteY126" fmla="*/ 8957 h 10127"/>
                    <a:gd name="connsiteX127" fmla="*/ 5833 w 10000"/>
                    <a:gd name="connsiteY127" fmla="*/ 8957 h 10127"/>
                    <a:gd name="connsiteX128" fmla="*/ 5833 w 10000"/>
                    <a:gd name="connsiteY128" fmla="*/ 8886 h 10127"/>
                    <a:gd name="connsiteX129" fmla="*/ 5889 w 10000"/>
                    <a:gd name="connsiteY129" fmla="*/ 8808 h 10127"/>
                    <a:gd name="connsiteX130" fmla="*/ 6000 w 10000"/>
                    <a:gd name="connsiteY130" fmla="*/ 8731 h 10127"/>
                    <a:gd name="connsiteX131" fmla="*/ 6167 w 10000"/>
                    <a:gd name="connsiteY131" fmla="*/ 8673 h 10127"/>
                    <a:gd name="connsiteX132" fmla="*/ 6444 w 10000"/>
                    <a:gd name="connsiteY132" fmla="*/ 8673 h 10127"/>
                    <a:gd name="connsiteX133" fmla="*/ 6833 w 10000"/>
                    <a:gd name="connsiteY133" fmla="*/ 8731 h 10127"/>
                    <a:gd name="connsiteX134" fmla="*/ 7278 w 10000"/>
                    <a:gd name="connsiteY134" fmla="*/ 8957 h 10127"/>
                    <a:gd name="connsiteX135" fmla="*/ 7278 w 10000"/>
                    <a:gd name="connsiteY135" fmla="*/ 8957 h 10127"/>
                    <a:gd name="connsiteX136" fmla="*/ 8722 w 10000"/>
                    <a:gd name="connsiteY136" fmla="*/ 9563 h 10127"/>
                    <a:gd name="connsiteX137" fmla="*/ 10000 w 10000"/>
                    <a:gd name="connsiteY137" fmla="*/ 10127 h 10127"/>
                    <a:gd name="connsiteX138" fmla="*/ 10000 w 10000"/>
                    <a:gd name="connsiteY13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10000 w 10000"/>
                    <a:gd name="connsiteY37" fmla="*/ 5476 h 10127"/>
                    <a:gd name="connsiteX38" fmla="*/ 10000 w 10000"/>
                    <a:gd name="connsiteY38" fmla="*/ 5476 h 10127"/>
                    <a:gd name="connsiteX39" fmla="*/ 9722 w 10000"/>
                    <a:gd name="connsiteY39" fmla="*/ 5399 h 10127"/>
                    <a:gd name="connsiteX40" fmla="*/ 9389 w 10000"/>
                    <a:gd name="connsiteY40" fmla="*/ 5476 h 10127"/>
                    <a:gd name="connsiteX41" fmla="*/ 9389 w 10000"/>
                    <a:gd name="connsiteY41" fmla="*/ 5476 h 10127"/>
                    <a:gd name="connsiteX42" fmla="*/ 9278 w 10000"/>
                    <a:gd name="connsiteY42" fmla="*/ 5560 h 10127"/>
                    <a:gd name="connsiteX43" fmla="*/ 9056 w 10000"/>
                    <a:gd name="connsiteY43" fmla="*/ 5476 h 10127"/>
                    <a:gd name="connsiteX44" fmla="*/ 8889 w 10000"/>
                    <a:gd name="connsiteY44" fmla="*/ 5399 h 10127"/>
                    <a:gd name="connsiteX45" fmla="*/ 8722 w 10000"/>
                    <a:gd name="connsiteY45" fmla="*/ 5267 h 10127"/>
                    <a:gd name="connsiteX46" fmla="*/ 8611 w 10000"/>
                    <a:gd name="connsiteY46" fmla="*/ 5051 h 10127"/>
                    <a:gd name="connsiteX47" fmla="*/ 8444 w 10000"/>
                    <a:gd name="connsiteY47" fmla="*/ 4703 h 10127"/>
                    <a:gd name="connsiteX48" fmla="*/ 8444 w 10000"/>
                    <a:gd name="connsiteY48" fmla="*/ 4703 h 10127"/>
                    <a:gd name="connsiteX49" fmla="*/ 8222 w 10000"/>
                    <a:gd name="connsiteY49" fmla="*/ 4096 h 10127"/>
                    <a:gd name="connsiteX50" fmla="*/ 8111 w 10000"/>
                    <a:gd name="connsiteY50" fmla="*/ 3816 h 10127"/>
                    <a:gd name="connsiteX51" fmla="*/ 7944 w 10000"/>
                    <a:gd name="connsiteY51" fmla="*/ 3605 h 10127"/>
                    <a:gd name="connsiteX52" fmla="*/ 7778 w 10000"/>
                    <a:gd name="connsiteY52" fmla="*/ 3471 h 10127"/>
                    <a:gd name="connsiteX53" fmla="*/ 7556 w 10000"/>
                    <a:gd name="connsiteY53" fmla="*/ 3389 h 10127"/>
                    <a:gd name="connsiteX54" fmla="*/ 7333 w 10000"/>
                    <a:gd name="connsiteY54" fmla="*/ 3324 h 10127"/>
                    <a:gd name="connsiteX55" fmla="*/ 7000 w 10000"/>
                    <a:gd name="connsiteY55" fmla="*/ 3247 h 10127"/>
                    <a:gd name="connsiteX56" fmla="*/ 7000 w 10000"/>
                    <a:gd name="connsiteY56" fmla="*/ 3247 h 10127"/>
                    <a:gd name="connsiteX57" fmla="*/ 6556 w 10000"/>
                    <a:gd name="connsiteY57" fmla="*/ 3324 h 10127"/>
                    <a:gd name="connsiteX58" fmla="*/ 6222 w 10000"/>
                    <a:gd name="connsiteY58" fmla="*/ 3324 h 10127"/>
                    <a:gd name="connsiteX59" fmla="*/ 6111 w 10000"/>
                    <a:gd name="connsiteY59" fmla="*/ 3247 h 10127"/>
                    <a:gd name="connsiteX60" fmla="*/ 6056 w 10000"/>
                    <a:gd name="connsiteY60" fmla="*/ 3185 h 10127"/>
                    <a:gd name="connsiteX61" fmla="*/ 6056 w 10000"/>
                    <a:gd name="connsiteY61" fmla="*/ 3185 h 10127"/>
                    <a:gd name="connsiteX62" fmla="*/ 6056 w 10000"/>
                    <a:gd name="connsiteY62" fmla="*/ 1943 h 10127"/>
                    <a:gd name="connsiteX63" fmla="*/ 6056 w 10000"/>
                    <a:gd name="connsiteY63" fmla="*/ 1943 h 10127"/>
                    <a:gd name="connsiteX64" fmla="*/ 6056 w 10000"/>
                    <a:gd name="connsiteY64" fmla="*/ 1652 h 10127"/>
                    <a:gd name="connsiteX65" fmla="*/ 5944 w 10000"/>
                    <a:gd name="connsiteY65" fmla="*/ 1308 h 10127"/>
                    <a:gd name="connsiteX66" fmla="*/ 5889 w 10000"/>
                    <a:gd name="connsiteY66" fmla="*/ 1230 h 10127"/>
                    <a:gd name="connsiteX67" fmla="*/ 5778 w 10000"/>
                    <a:gd name="connsiteY67" fmla="*/ 1167 h 10127"/>
                    <a:gd name="connsiteX68" fmla="*/ 5667 w 10000"/>
                    <a:gd name="connsiteY68" fmla="*/ 1167 h 10127"/>
                    <a:gd name="connsiteX69" fmla="*/ 5500 w 10000"/>
                    <a:gd name="connsiteY69" fmla="*/ 1230 h 10127"/>
                    <a:gd name="connsiteX70" fmla="*/ 5500 w 10000"/>
                    <a:gd name="connsiteY70" fmla="*/ 1230 h 10127"/>
                    <a:gd name="connsiteX71" fmla="*/ 4889 w 10000"/>
                    <a:gd name="connsiteY71" fmla="*/ 1726 h 10127"/>
                    <a:gd name="connsiteX72" fmla="*/ 4611 w 10000"/>
                    <a:gd name="connsiteY72" fmla="*/ 1866 h 10127"/>
                    <a:gd name="connsiteX73" fmla="*/ 4556 w 10000"/>
                    <a:gd name="connsiteY73" fmla="*/ 1943 h 10127"/>
                    <a:gd name="connsiteX74" fmla="*/ 4500 w 10000"/>
                    <a:gd name="connsiteY74" fmla="*/ 1866 h 10127"/>
                    <a:gd name="connsiteX75" fmla="*/ 4500 w 10000"/>
                    <a:gd name="connsiteY75" fmla="*/ 1866 h 10127"/>
                    <a:gd name="connsiteX76" fmla="*/ 4222 w 10000"/>
                    <a:gd name="connsiteY76" fmla="*/ 1167 h 10127"/>
                    <a:gd name="connsiteX77" fmla="*/ 4222 w 10000"/>
                    <a:gd name="connsiteY77" fmla="*/ 1167 h 10127"/>
                    <a:gd name="connsiteX78" fmla="*/ 4111 w 10000"/>
                    <a:gd name="connsiteY78" fmla="*/ 822 h 10127"/>
                    <a:gd name="connsiteX79" fmla="*/ 4111 w 10000"/>
                    <a:gd name="connsiteY79" fmla="*/ 404 h 10127"/>
                    <a:gd name="connsiteX80" fmla="*/ 4111 w 10000"/>
                    <a:gd name="connsiteY80" fmla="*/ 404 h 10127"/>
                    <a:gd name="connsiteX81" fmla="*/ 4195 w 10000"/>
                    <a:gd name="connsiteY81" fmla="*/ 119 h 10127"/>
                    <a:gd name="connsiteX82" fmla="*/ 4213 w 10000"/>
                    <a:gd name="connsiteY82" fmla="*/ 0 h 10127"/>
                    <a:gd name="connsiteX83" fmla="*/ 4000 w 10000"/>
                    <a:gd name="connsiteY83" fmla="*/ 127 h 10127"/>
                    <a:gd name="connsiteX84" fmla="*/ 3722 w 10000"/>
                    <a:gd name="connsiteY84" fmla="*/ 200 h 10127"/>
                    <a:gd name="connsiteX85" fmla="*/ 3611 w 10000"/>
                    <a:gd name="connsiteY85" fmla="*/ 273 h 10127"/>
                    <a:gd name="connsiteX86" fmla="*/ 3556 w 10000"/>
                    <a:gd name="connsiteY86" fmla="*/ 344 h 10127"/>
                    <a:gd name="connsiteX87" fmla="*/ 3556 w 10000"/>
                    <a:gd name="connsiteY87" fmla="*/ 344 h 10127"/>
                    <a:gd name="connsiteX88" fmla="*/ 3444 w 10000"/>
                    <a:gd name="connsiteY88" fmla="*/ 618 h 10127"/>
                    <a:gd name="connsiteX89" fmla="*/ 3278 w 10000"/>
                    <a:gd name="connsiteY89" fmla="*/ 1039 h 10127"/>
                    <a:gd name="connsiteX90" fmla="*/ 3000 w 10000"/>
                    <a:gd name="connsiteY90" fmla="*/ 1516 h 10127"/>
                    <a:gd name="connsiteX91" fmla="*/ 2667 w 10000"/>
                    <a:gd name="connsiteY91" fmla="*/ 1866 h 10127"/>
                    <a:gd name="connsiteX92" fmla="*/ 2667 w 10000"/>
                    <a:gd name="connsiteY92" fmla="*/ 1866 h 10127"/>
                    <a:gd name="connsiteX93" fmla="*/ 2333 w 10000"/>
                    <a:gd name="connsiteY93" fmla="*/ 2152 h 10127"/>
                    <a:gd name="connsiteX94" fmla="*/ 1833 w 10000"/>
                    <a:gd name="connsiteY94" fmla="*/ 2431 h 10127"/>
                    <a:gd name="connsiteX95" fmla="*/ 1389 w 10000"/>
                    <a:gd name="connsiteY95" fmla="*/ 2562 h 10127"/>
                    <a:gd name="connsiteX96" fmla="*/ 889 w 10000"/>
                    <a:gd name="connsiteY96" fmla="*/ 2633 h 10127"/>
                    <a:gd name="connsiteX97" fmla="*/ 889 w 10000"/>
                    <a:gd name="connsiteY97" fmla="*/ 2633 h 10127"/>
                    <a:gd name="connsiteX98" fmla="*/ 500 w 10000"/>
                    <a:gd name="connsiteY98" fmla="*/ 2717 h 10127"/>
                    <a:gd name="connsiteX99" fmla="*/ 222 w 10000"/>
                    <a:gd name="connsiteY99" fmla="*/ 2768 h 10127"/>
                    <a:gd name="connsiteX100" fmla="*/ 0 w 10000"/>
                    <a:gd name="connsiteY100" fmla="*/ 2836 h 10127"/>
                    <a:gd name="connsiteX101" fmla="*/ 0 w 10000"/>
                    <a:gd name="connsiteY101" fmla="*/ 2836 h 10127"/>
                    <a:gd name="connsiteX102" fmla="*/ 278 w 10000"/>
                    <a:gd name="connsiteY102" fmla="*/ 3955 h 10127"/>
                    <a:gd name="connsiteX103" fmla="*/ 500 w 10000"/>
                    <a:gd name="connsiteY103" fmla="*/ 4773 h 10127"/>
                    <a:gd name="connsiteX104" fmla="*/ 722 w 10000"/>
                    <a:gd name="connsiteY104" fmla="*/ 5476 h 10127"/>
                    <a:gd name="connsiteX105" fmla="*/ 722 w 10000"/>
                    <a:gd name="connsiteY105" fmla="*/ 5476 h 10127"/>
                    <a:gd name="connsiteX106" fmla="*/ 889 w 10000"/>
                    <a:gd name="connsiteY106" fmla="*/ 5891 h 10127"/>
                    <a:gd name="connsiteX107" fmla="*/ 944 w 10000"/>
                    <a:gd name="connsiteY107" fmla="*/ 6248 h 10127"/>
                    <a:gd name="connsiteX108" fmla="*/ 1111 w 10000"/>
                    <a:gd name="connsiteY108" fmla="*/ 6598 h 10127"/>
                    <a:gd name="connsiteX109" fmla="*/ 1333 w 10000"/>
                    <a:gd name="connsiteY109" fmla="*/ 7136 h 10127"/>
                    <a:gd name="connsiteX110" fmla="*/ 1333 w 10000"/>
                    <a:gd name="connsiteY110" fmla="*/ 7136 h 10127"/>
                    <a:gd name="connsiteX111" fmla="*/ 1444 w 10000"/>
                    <a:gd name="connsiteY111" fmla="*/ 7417 h 10127"/>
                    <a:gd name="connsiteX112" fmla="*/ 1500 w 10000"/>
                    <a:gd name="connsiteY112" fmla="*/ 7626 h 10127"/>
                    <a:gd name="connsiteX113" fmla="*/ 1500 w 10000"/>
                    <a:gd name="connsiteY113" fmla="*/ 7823 h 10127"/>
                    <a:gd name="connsiteX114" fmla="*/ 1556 w 10000"/>
                    <a:gd name="connsiteY114" fmla="*/ 7911 h 10127"/>
                    <a:gd name="connsiteX115" fmla="*/ 1722 w 10000"/>
                    <a:gd name="connsiteY115" fmla="*/ 7973 h 10127"/>
                    <a:gd name="connsiteX116" fmla="*/ 1944 w 10000"/>
                    <a:gd name="connsiteY116" fmla="*/ 8038 h 10127"/>
                    <a:gd name="connsiteX117" fmla="*/ 2944 w 10000"/>
                    <a:gd name="connsiteY117" fmla="*/ 8115 h 10127"/>
                    <a:gd name="connsiteX118" fmla="*/ 2944 w 10000"/>
                    <a:gd name="connsiteY118" fmla="*/ 8115 h 10127"/>
                    <a:gd name="connsiteX119" fmla="*/ 4167 w 10000"/>
                    <a:gd name="connsiteY119" fmla="*/ 8256 h 10127"/>
                    <a:gd name="connsiteX120" fmla="*/ 4889 w 10000"/>
                    <a:gd name="connsiteY120" fmla="*/ 8452 h 10127"/>
                    <a:gd name="connsiteX121" fmla="*/ 5278 w 10000"/>
                    <a:gd name="connsiteY121" fmla="*/ 8673 h 10127"/>
                    <a:gd name="connsiteX122" fmla="*/ 5444 w 10000"/>
                    <a:gd name="connsiteY122" fmla="*/ 8731 h 10127"/>
                    <a:gd name="connsiteX123" fmla="*/ 5444 w 10000"/>
                    <a:gd name="connsiteY123" fmla="*/ 8731 h 10127"/>
                    <a:gd name="connsiteX124" fmla="*/ 5722 w 10000"/>
                    <a:gd name="connsiteY124" fmla="*/ 8886 h 10127"/>
                    <a:gd name="connsiteX125" fmla="*/ 5833 w 10000"/>
                    <a:gd name="connsiteY125" fmla="*/ 8957 h 10127"/>
                    <a:gd name="connsiteX126" fmla="*/ 5833 w 10000"/>
                    <a:gd name="connsiteY126" fmla="*/ 8957 h 10127"/>
                    <a:gd name="connsiteX127" fmla="*/ 5833 w 10000"/>
                    <a:gd name="connsiteY127" fmla="*/ 8886 h 10127"/>
                    <a:gd name="connsiteX128" fmla="*/ 5889 w 10000"/>
                    <a:gd name="connsiteY128" fmla="*/ 8808 h 10127"/>
                    <a:gd name="connsiteX129" fmla="*/ 6000 w 10000"/>
                    <a:gd name="connsiteY129" fmla="*/ 8731 h 10127"/>
                    <a:gd name="connsiteX130" fmla="*/ 6167 w 10000"/>
                    <a:gd name="connsiteY130" fmla="*/ 8673 h 10127"/>
                    <a:gd name="connsiteX131" fmla="*/ 6444 w 10000"/>
                    <a:gd name="connsiteY131" fmla="*/ 8673 h 10127"/>
                    <a:gd name="connsiteX132" fmla="*/ 6833 w 10000"/>
                    <a:gd name="connsiteY132" fmla="*/ 8731 h 10127"/>
                    <a:gd name="connsiteX133" fmla="*/ 7278 w 10000"/>
                    <a:gd name="connsiteY133" fmla="*/ 8957 h 10127"/>
                    <a:gd name="connsiteX134" fmla="*/ 7278 w 10000"/>
                    <a:gd name="connsiteY134" fmla="*/ 8957 h 10127"/>
                    <a:gd name="connsiteX135" fmla="*/ 8722 w 10000"/>
                    <a:gd name="connsiteY135" fmla="*/ 9563 h 10127"/>
                    <a:gd name="connsiteX136" fmla="*/ 10000 w 10000"/>
                    <a:gd name="connsiteY136" fmla="*/ 10127 h 10127"/>
                    <a:gd name="connsiteX137" fmla="*/ 10000 w 10000"/>
                    <a:gd name="connsiteY137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10000 w 10000"/>
                    <a:gd name="connsiteY37" fmla="*/ 5476 h 10127"/>
                    <a:gd name="connsiteX38" fmla="*/ 10000 w 10000"/>
                    <a:gd name="connsiteY38" fmla="*/ 5476 h 10127"/>
                    <a:gd name="connsiteX39" fmla="*/ 9722 w 10000"/>
                    <a:gd name="connsiteY39" fmla="*/ 5399 h 10127"/>
                    <a:gd name="connsiteX40" fmla="*/ 9389 w 10000"/>
                    <a:gd name="connsiteY40" fmla="*/ 5476 h 10127"/>
                    <a:gd name="connsiteX41" fmla="*/ 9389 w 10000"/>
                    <a:gd name="connsiteY41" fmla="*/ 5476 h 10127"/>
                    <a:gd name="connsiteX42" fmla="*/ 9278 w 10000"/>
                    <a:gd name="connsiteY42" fmla="*/ 5560 h 10127"/>
                    <a:gd name="connsiteX43" fmla="*/ 9056 w 10000"/>
                    <a:gd name="connsiteY43" fmla="*/ 5476 h 10127"/>
                    <a:gd name="connsiteX44" fmla="*/ 8889 w 10000"/>
                    <a:gd name="connsiteY44" fmla="*/ 5399 h 10127"/>
                    <a:gd name="connsiteX45" fmla="*/ 8722 w 10000"/>
                    <a:gd name="connsiteY45" fmla="*/ 5267 h 10127"/>
                    <a:gd name="connsiteX46" fmla="*/ 8611 w 10000"/>
                    <a:gd name="connsiteY46" fmla="*/ 5051 h 10127"/>
                    <a:gd name="connsiteX47" fmla="*/ 8444 w 10000"/>
                    <a:gd name="connsiteY47" fmla="*/ 4703 h 10127"/>
                    <a:gd name="connsiteX48" fmla="*/ 8444 w 10000"/>
                    <a:gd name="connsiteY48" fmla="*/ 4703 h 10127"/>
                    <a:gd name="connsiteX49" fmla="*/ 8222 w 10000"/>
                    <a:gd name="connsiteY49" fmla="*/ 4096 h 10127"/>
                    <a:gd name="connsiteX50" fmla="*/ 8111 w 10000"/>
                    <a:gd name="connsiteY50" fmla="*/ 3816 h 10127"/>
                    <a:gd name="connsiteX51" fmla="*/ 7944 w 10000"/>
                    <a:gd name="connsiteY51" fmla="*/ 3605 h 10127"/>
                    <a:gd name="connsiteX52" fmla="*/ 7778 w 10000"/>
                    <a:gd name="connsiteY52" fmla="*/ 3471 h 10127"/>
                    <a:gd name="connsiteX53" fmla="*/ 7556 w 10000"/>
                    <a:gd name="connsiteY53" fmla="*/ 3389 h 10127"/>
                    <a:gd name="connsiteX54" fmla="*/ 7333 w 10000"/>
                    <a:gd name="connsiteY54" fmla="*/ 3324 h 10127"/>
                    <a:gd name="connsiteX55" fmla="*/ 7000 w 10000"/>
                    <a:gd name="connsiteY55" fmla="*/ 3247 h 10127"/>
                    <a:gd name="connsiteX56" fmla="*/ 7000 w 10000"/>
                    <a:gd name="connsiteY56" fmla="*/ 3247 h 10127"/>
                    <a:gd name="connsiteX57" fmla="*/ 6556 w 10000"/>
                    <a:gd name="connsiteY57" fmla="*/ 3324 h 10127"/>
                    <a:gd name="connsiteX58" fmla="*/ 6222 w 10000"/>
                    <a:gd name="connsiteY58" fmla="*/ 3324 h 10127"/>
                    <a:gd name="connsiteX59" fmla="*/ 6111 w 10000"/>
                    <a:gd name="connsiteY59" fmla="*/ 3247 h 10127"/>
                    <a:gd name="connsiteX60" fmla="*/ 6056 w 10000"/>
                    <a:gd name="connsiteY60" fmla="*/ 3185 h 10127"/>
                    <a:gd name="connsiteX61" fmla="*/ 6056 w 10000"/>
                    <a:gd name="connsiteY61" fmla="*/ 3185 h 10127"/>
                    <a:gd name="connsiteX62" fmla="*/ 6056 w 10000"/>
                    <a:gd name="connsiteY62" fmla="*/ 1943 h 10127"/>
                    <a:gd name="connsiteX63" fmla="*/ 6056 w 10000"/>
                    <a:gd name="connsiteY63" fmla="*/ 1943 h 10127"/>
                    <a:gd name="connsiteX64" fmla="*/ 6056 w 10000"/>
                    <a:gd name="connsiteY64" fmla="*/ 1652 h 10127"/>
                    <a:gd name="connsiteX65" fmla="*/ 5944 w 10000"/>
                    <a:gd name="connsiteY65" fmla="*/ 1308 h 10127"/>
                    <a:gd name="connsiteX66" fmla="*/ 5889 w 10000"/>
                    <a:gd name="connsiteY66" fmla="*/ 1230 h 10127"/>
                    <a:gd name="connsiteX67" fmla="*/ 5778 w 10000"/>
                    <a:gd name="connsiteY67" fmla="*/ 1167 h 10127"/>
                    <a:gd name="connsiteX68" fmla="*/ 5667 w 10000"/>
                    <a:gd name="connsiteY68" fmla="*/ 1167 h 10127"/>
                    <a:gd name="connsiteX69" fmla="*/ 5500 w 10000"/>
                    <a:gd name="connsiteY69" fmla="*/ 1230 h 10127"/>
                    <a:gd name="connsiteX70" fmla="*/ 5500 w 10000"/>
                    <a:gd name="connsiteY70" fmla="*/ 1230 h 10127"/>
                    <a:gd name="connsiteX71" fmla="*/ 4889 w 10000"/>
                    <a:gd name="connsiteY71" fmla="*/ 1726 h 10127"/>
                    <a:gd name="connsiteX72" fmla="*/ 4611 w 10000"/>
                    <a:gd name="connsiteY72" fmla="*/ 1866 h 10127"/>
                    <a:gd name="connsiteX73" fmla="*/ 4556 w 10000"/>
                    <a:gd name="connsiteY73" fmla="*/ 1943 h 10127"/>
                    <a:gd name="connsiteX74" fmla="*/ 4500 w 10000"/>
                    <a:gd name="connsiteY74" fmla="*/ 1866 h 10127"/>
                    <a:gd name="connsiteX75" fmla="*/ 4500 w 10000"/>
                    <a:gd name="connsiteY75" fmla="*/ 1866 h 10127"/>
                    <a:gd name="connsiteX76" fmla="*/ 4222 w 10000"/>
                    <a:gd name="connsiteY76" fmla="*/ 1167 h 10127"/>
                    <a:gd name="connsiteX77" fmla="*/ 4111 w 10000"/>
                    <a:gd name="connsiteY77" fmla="*/ 822 h 10127"/>
                    <a:gd name="connsiteX78" fmla="*/ 4111 w 10000"/>
                    <a:gd name="connsiteY78" fmla="*/ 404 h 10127"/>
                    <a:gd name="connsiteX79" fmla="*/ 4111 w 10000"/>
                    <a:gd name="connsiteY79" fmla="*/ 404 h 10127"/>
                    <a:gd name="connsiteX80" fmla="*/ 4195 w 10000"/>
                    <a:gd name="connsiteY80" fmla="*/ 119 h 10127"/>
                    <a:gd name="connsiteX81" fmla="*/ 4213 w 10000"/>
                    <a:gd name="connsiteY81" fmla="*/ 0 h 10127"/>
                    <a:gd name="connsiteX82" fmla="*/ 4000 w 10000"/>
                    <a:gd name="connsiteY82" fmla="*/ 127 h 10127"/>
                    <a:gd name="connsiteX83" fmla="*/ 3722 w 10000"/>
                    <a:gd name="connsiteY83" fmla="*/ 200 h 10127"/>
                    <a:gd name="connsiteX84" fmla="*/ 3611 w 10000"/>
                    <a:gd name="connsiteY84" fmla="*/ 273 h 10127"/>
                    <a:gd name="connsiteX85" fmla="*/ 3556 w 10000"/>
                    <a:gd name="connsiteY85" fmla="*/ 344 h 10127"/>
                    <a:gd name="connsiteX86" fmla="*/ 3556 w 10000"/>
                    <a:gd name="connsiteY86" fmla="*/ 344 h 10127"/>
                    <a:gd name="connsiteX87" fmla="*/ 3444 w 10000"/>
                    <a:gd name="connsiteY87" fmla="*/ 618 h 10127"/>
                    <a:gd name="connsiteX88" fmla="*/ 3278 w 10000"/>
                    <a:gd name="connsiteY88" fmla="*/ 1039 h 10127"/>
                    <a:gd name="connsiteX89" fmla="*/ 3000 w 10000"/>
                    <a:gd name="connsiteY89" fmla="*/ 1516 h 10127"/>
                    <a:gd name="connsiteX90" fmla="*/ 2667 w 10000"/>
                    <a:gd name="connsiteY90" fmla="*/ 1866 h 10127"/>
                    <a:gd name="connsiteX91" fmla="*/ 2667 w 10000"/>
                    <a:gd name="connsiteY91" fmla="*/ 1866 h 10127"/>
                    <a:gd name="connsiteX92" fmla="*/ 2333 w 10000"/>
                    <a:gd name="connsiteY92" fmla="*/ 2152 h 10127"/>
                    <a:gd name="connsiteX93" fmla="*/ 1833 w 10000"/>
                    <a:gd name="connsiteY93" fmla="*/ 2431 h 10127"/>
                    <a:gd name="connsiteX94" fmla="*/ 1389 w 10000"/>
                    <a:gd name="connsiteY94" fmla="*/ 2562 h 10127"/>
                    <a:gd name="connsiteX95" fmla="*/ 889 w 10000"/>
                    <a:gd name="connsiteY95" fmla="*/ 2633 h 10127"/>
                    <a:gd name="connsiteX96" fmla="*/ 889 w 10000"/>
                    <a:gd name="connsiteY96" fmla="*/ 2633 h 10127"/>
                    <a:gd name="connsiteX97" fmla="*/ 500 w 10000"/>
                    <a:gd name="connsiteY97" fmla="*/ 2717 h 10127"/>
                    <a:gd name="connsiteX98" fmla="*/ 222 w 10000"/>
                    <a:gd name="connsiteY98" fmla="*/ 2768 h 10127"/>
                    <a:gd name="connsiteX99" fmla="*/ 0 w 10000"/>
                    <a:gd name="connsiteY99" fmla="*/ 2836 h 10127"/>
                    <a:gd name="connsiteX100" fmla="*/ 0 w 10000"/>
                    <a:gd name="connsiteY100" fmla="*/ 2836 h 10127"/>
                    <a:gd name="connsiteX101" fmla="*/ 278 w 10000"/>
                    <a:gd name="connsiteY101" fmla="*/ 3955 h 10127"/>
                    <a:gd name="connsiteX102" fmla="*/ 500 w 10000"/>
                    <a:gd name="connsiteY102" fmla="*/ 4773 h 10127"/>
                    <a:gd name="connsiteX103" fmla="*/ 722 w 10000"/>
                    <a:gd name="connsiteY103" fmla="*/ 5476 h 10127"/>
                    <a:gd name="connsiteX104" fmla="*/ 722 w 10000"/>
                    <a:gd name="connsiteY104" fmla="*/ 5476 h 10127"/>
                    <a:gd name="connsiteX105" fmla="*/ 889 w 10000"/>
                    <a:gd name="connsiteY105" fmla="*/ 5891 h 10127"/>
                    <a:gd name="connsiteX106" fmla="*/ 944 w 10000"/>
                    <a:gd name="connsiteY106" fmla="*/ 6248 h 10127"/>
                    <a:gd name="connsiteX107" fmla="*/ 1111 w 10000"/>
                    <a:gd name="connsiteY107" fmla="*/ 6598 h 10127"/>
                    <a:gd name="connsiteX108" fmla="*/ 1333 w 10000"/>
                    <a:gd name="connsiteY108" fmla="*/ 7136 h 10127"/>
                    <a:gd name="connsiteX109" fmla="*/ 1333 w 10000"/>
                    <a:gd name="connsiteY109" fmla="*/ 7136 h 10127"/>
                    <a:gd name="connsiteX110" fmla="*/ 1444 w 10000"/>
                    <a:gd name="connsiteY110" fmla="*/ 7417 h 10127"/>
                    <a:gd name="connsiteX111" fmla="*/ 1500 w 10000"/>
                    <a:gd name="connsiteY111" fmla="*/ 7626 h 10127"/>
                    <a:gd name="connsiteX112" fmla="*/ 1500 w 10000"/>
                    <a:gd name="connsiteY112" fmla="*/ 7823 h 10127"/>
                    <a:gd name="connsiteX113" fmla="*/ 1556 w 10000"/>
                    <a:gd name="connsiteY113" fmla="*/ 7911 h 10127"/>
                    <a:gd name="connsiteX114" fmla="*/ 1722 w 10000"/>
                    <a:gd name="connsiteY114" fmla="*/ 7973 h 10127"/>
                    <a:gd name="connsiteX115" fmla="*/ 1944 w 10000"/>
                    <a:gd name="connsiteY115" fmla="*/ 8038 h 10127"/>
                    <a:gd name="connsiteX116" fmla="*/ 2944 w 10000"/>
                    <a:gd name="connsiteY116" fmla="*/ 8115 h 10127"/>
                    <a:gd name="connsiteX117" fmla="*/ 2944 w 10000"/>
                    <a:gd name="connsiteY117" fmla="*/ 8115 h 10127"/>
                    <a:gd name="connsiteX118" fmla="*/ 4167 w 10000"/>
                    <a:gd name="connsiteY118" fmla="*/ 8256 h 10127"/>
                    <a:gd name="connsiteX119" fmla="*/ 4889 w 10000"/>
                    <a:gd name="connsiteY119" fmla="*/ 8452 h 10127"/>
                    <a:gd name="connsiteX120" fmla="*/ 5278 w 10000"/>
                    <a:gd name="connsiteY120" fmla="*/ 8673 h 10127"/>
                    <a:gd name="connsiteX121" fmla="*/ 5444 w 10000"/>
                    <a:gd name="connsiteY121" fmla="*/ 8731 h 10127"/>
                    <a:gd name="connsiteX122" fmla="*/ 5444 w 10000"/>
                    <a:gd name="connsiteY122" fmla="*/ 8731 h 10127"/>
                    <a:gd name="connsiteX123" fmla="*/ 5722 w 10000"/>
                    <a:gd name="connsiteY123" fmla="*/ 8886 h 10127"/>
                    <a:gd name="connsiteX124" fmla="*/ 5833 w 10000"/>
                    <a:gd name="connsiteY124" fmla="*/ 8957 h 10127"/>
                    <a:gd name="connsiteX125" fmla="*/ 5833 w 10000"/>
                    <a:gd name="connsiteY125" fmla="*/ 8957 h 10127"/>
                    <a:gd name="connsiteX126" fmla="*/ 5833 w 10000"/>
                    <a:gd name="connsiteY126" fmla="*/ 8886 h 10127"/>
                    <a:gd name="connsiteX127" fmla="*/ 5889 w 10000"/>
                    <a:gd name="connsiteY127" fmla="*/ 8808 h 10127"/>
                    <a:gd name="connsiteX128" fmla="*/ 6000 w 10000"/>
                    <a:gd name="connsiteY128" fmla="*/ 8731 h 10127"/>
                    <a:gd name="connsiteX129" fmla="*/ 6167 w 10000"/>
                    <a:gd name="connsiteY129" fmla="*/ 8673 h 10127"/>
                    <a:gd name="connsiteX130" fmla="*/ 6444 w 10000"/>
                    <a:gd name="connsiteY130" fmla="*/ 8673 h 10127"/>
                    <a:gd name="connsiteX131" fmla="*/ 6833 w 10000"/>
                    <a:gd name="connsiteY131" fmla="*/ 8731 h 10127"/>
                    <a:gd name="connsiteX132" fmla="*/ 7278 w 10000"/>
                    <a:gd name="connsiteY132" fmla="*/ 8957 h 10127"/>
                    <a:gd name="connsiteX133" fmla="*/ 7278 w 10000"/>
                    <a:gd name="connsiteY133" fmla="*/ 8957 h 10127"/>
                    <a:gd name="connsiteX134" fmla="*/ 8722 w 10000"/>
                    <a:gd name="connsiteY134" fmla="*/ 9563 h 10127"/>
                    <a:gd name="connsiteX135" fmla="*/ 10000 w 10000"/>
                    <a:gd name="connsiteY135" fmla="*/ 10127 h 10127"/>
                    <a:gd name="connsiteX136" fmla="*/ 10000 w 10000"/>
                    <a:gd name="connsiteY136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4222 w 10000"/>
                    <a:gd name="connsiteY36" fmla="*/ 1167 h 10127"/>
                    <a:gd name="connsiteX37" fmla="*/ 10000 w 10000"/>
                    <a:gd name="connsiteY37" fmla="*/ 5476 h 10127"/>
                    <a:gd name="connsiteX38" fmla="*/ 10000 w 10000"/>
                    <a:gd name="connsiteY38" fmla="*/ 5476 h 10127"/>
                    <a:gd name="connsiteX39" fmla="*/ 9722 w 10000"/>
                    <a:gd name="connsiteY39" fmla="*/ 5399 h 10127"/>
                    <a:gd name="connsiteX40" fmla="*/ 9389 w 10000"/>
                    <a:gd name="connsiteY40" fmla="*/ 5476 h 10127"/>
                    <a:gd name="connsiteX41" fmla="*/ 9389 w 10000"/>
                    <a:gd name="connsiteY41" fmla="*/ 5476 h 10127"/>
                    <a:gd name="connsiteX42" fmla="*/ 9278 w 10000"/>
                    <a:gd name="connsiteY42" fmla="*/ 5560 h 10127"/>
                    <a:gd name="connsiteX43" fmla="*/ 9056 w 10000"/>
                    <a:gd name="connsiteY43" fmla="*/ 5476 h 10127"/>
                    <a:gd name="connsiteX44" fmla="*/ 8889 w 10000"/>
                    <a:gd name="connsiteY44" fmla="*/ 5399 h 10127"/>
                    <a:gd name="connsiteX45" fmla="*/ 8722 w 10000"/>
                    <a:gd name="connsiteY45" fmla="*/ 5267 h 10127"/>
                    <a:gd name="connsiteX46" fmla="*/ 8611 w 10000"/>
                    <a:gd name="connsiteY46" fmla="*/ 5051 h 10127"/>
                    <a:gd name="connsiteX47" fmla="*/ 8444 w 10000"/>
                    <a:gd name="connsiteY47" fmla="*/ 4703 h 10127"/>
                    <a:gd name="connsiteX48" fmla="*/ 8444 w 10000"/>
                    <a:gd name="connsiteY48" fmla="*/ 4703 h 10127"/>
                    <a:gd name="connsiteX49" fmla="*/ 8222 w 10000"/>
                    <a:gd name="connsiteY49" fmla="*/ 4096 h 10127"/>
                    <a:gd name="connsiteX50" fmla="*/ 8111 w 10000"/>
                    <a:gd name="connsiteY50" fmla="*/ 3816 h 10127"/>
                    <a:gd name="connsiteX51" fmla="*/ 7944 w 10000"/>
                    <a:gd name="connsiteY51" fmla="*/ 3605 h 10127"/>
                    <a:gd name="connsiteX52" fmla="*/ 7778 w 10000"/>
                    <a:gd name="connsiteY52" fmla="*/ 3471 h 10127"/>
                    <a:gd name="connsiteX53" fmla="*/ 7556 w 10000"/>
                    <a:gd name="connsiteY53" fmla="*/ 3389 h 10127"/>
                    <a:gd name="connsiteX54" fmla="*/ 7333 w 10000"/>
                    <a:gd name="connsiteY54" fmla="*/ 3324 h 10127"/>
                    <a:gd name="connsiteX55" fmla="*/ 7000 w 10000"/>
                    <a:gd name="connsiteY55" fmla="*/ 3247 h 10127"/>
                    <a:gd name="connsiteX56" fmla="*/ 7000 w 10000"/>
                    <a:gd name="connsiteY56" fmla="*/ 3247 h 10127"/>
                    <a:gd name="connsiteX57" fmla="*/ 6556 w 10000"/>
                    <a:gd name="connsiteY57" fmla="*/ 3324 h 10127"/>
                    <a:gd name="connsiteX58" fmla="*/ 6222 w 10000"/>
                    <a:gd name="connsiteY58" fmla="*/ 3324 h 10127"/>
                    <a:gd name="connsiteX59" fmla="*/ 6111 w 10000"/>
                    <a:gd name="connsiteY59" fmla="*/ 3247 h 10127"/>
                    <a:gd name="connsiteX60" fmla="*/ 6056 w 10000"/>
                    <a:gd name="connsiteY60" fmla="*/ 3185 h 10127"/>
                    <a:gd name="connsiteX61" fmla="*/ 6056 w 10000"/>
                    <a:gd name="connsiteY61" fmla="*/ 3185 h 10127"/>
                    <a:gd name="connsiteX62" fmla="*/ 6056 w 10000"/>
                    <a:gd name="connsiteY62" fmla="*/ 1943 h 10127"/>
                    <a:gd name="connsiteX63" fmla="*/ 6056 w 10000"/>
                    <a:gd name="connsiteY63" fmla="*/ 1943 h 10127"/>
                    <a:gd name="connsiteX64" fmla="*/ 6056 w 10000"/>
                    <a:gd name="connsiteY64" fmla="*/ 1652 h 10127"/>
                    <a:gd name="connsiteX65" fmla="*/ 5944 w 10000"/>
                    <a:gd name="connsiteY65" fmla="*/ 1308 h 10127"/>
                    <a:gd name="connsiteX66" fmla="*/ 5889 w 10000"/>
                    <a:gd name="connsiteY66" fmla="*/ 1230 h 10127"/>
                    <a:gd name="connsiteX67" fmla="*/ 5778 w 10000"/>
                    <a:gd name="connsiteY67" fmla="*/ 1167 h 10127"/>
                    <a:gd name="connsiteX68" fmla="*/ 5667 w 10000"/>
                    <a:gd name="connsiteY68" fmla="*/ 1167 h 10127"/>
                    <a:gd name="connsiteX69" fmla="*/ 5500 w 10000"/>
                    <a:gd name="connsiteY69" fmla="*/ 1230 h 10127"/>
                    <a:gd name="connsiteX70" fmla="*/ 5500 w 10000"/>
                    <a:gd name="connsiteY70" fmla="*/ 1230 h 10127"/>
                    <a:gd name="connsiteX71" fmla="*/ 4889 w 10000"/>
                    <a:gd name="connsiteY71" fmla="*/ 1726 h 10127"/>
                    <a:gd name="connsiteX72" fmla="*/ 4611 w 10000"/>
                    <a:gd name="connsiteY72" fmla="*/ 1866 h 10127"/>
                    <a:gd name="connsiteX73" fmla="*/ 4556 w 10000"/>
                    <a:gd name="connsiteY73" fmla="*/ 1943 h 10127"/>
                    <a:gd name="connsiteX74" fmla="*/ 4500 w 10000"/>
                    <a:gd name="connsiteY74" fmla="*/ 1866 h 10127"/>
                    <a:gd name="connsiteX75" fmla="*/ 4500 w 10000"/>
                    <a:gd name="connsiteY75" fmla="*/ 1866 h 10127"/>
                    <a:gd name="connsiteX76" fmla="*/ 4111 w 10000"/>
                    <a:gd name="connsiteY76" fmla="*/ 822 h 10127"/>
                    <a:gd name="connsiteX77" fmla="*/ 4111 w 10000"/>
                    <a:gd name="connsiteY77" fmla="*/ 404 h 10127"/>
                    <a:gd name="connsiteX78" fmla="*/ 4111 w 10000"/>
                    <a:gd name="connsiteY78" fmla="*/ 404 h 10127"/>
                    <a:gd name="connsiteX79" fmla="*/ 4195 w 10000"/>
                    <a:gd name="connsiteY79" fmla="*/ 119 h 10127"/>
                    <a:gd name="connsiteX80" fmla="*/ 4213 w 10000"/>
                    <a:gd name="connsiteY80" fmla="*/ 0 h 10127"/>
                    <a:gd name="connsiteX81" fmla="*/ 4000 w 10000"/>
                    <a:gd name="connsiteY81" fmla="*/ 127 h 10127"/>
                    <a:gd name="connsiteX82" fmla="*/ 3722 w 10000"/>
                    <a:gd name="connsiteY82" fmla="*/ 200 h 10127"/>
                    <a:gd name="connsiteX83" fmla="*/ 3611 w 10000"/>
                    <a:gd name="connsiteY83" fmla="*/ 273 h 10127"/>
                    <a:gd name="connsiteX84" fmla="*/ 3556 w 10000"/>
                    <a:gd name="connsiteY84" fmla="*/ 344 h 10127"/>
                    <a:gd name="connsiteX85" fmla="*/ 3556 w 10000"/>
                    <a:gd name="connsiteY85" fmla="*/ 344 h 10127"/>
                    <a:gd name="connsiteX86" fmla="*/ 3444 w 10000"/>
                    <a:gd name="connsiteY86" fmla="*/ 618 h 10127"/>
                    <a:gd name="connsiteX87" fmla="*/ 3278 w 10000"/>
                    <a:gd name="connsiteY87" fmla="*/ 1039 h 10127"/>
                    <a:gd name="connsiteX88" fmla="*/ 3000 w 10000"/>
                    <a:gd name="connsiteY88" fmla="*/ 1516 h 10127"/>
                    <a:gd name="connsiteX89" fmla="*/ 2667 w 10000"/>
                    <a:gd name="connsiteY89" fmla="*/ 1866 h 10127"/>
                    <a:gd name="connsiteX90" fmla="*/ 2667 w 10000"/>
                    <a:gd name="connsiteY90" fmla="*/ 1866 h 10127"/>
                    <a:gd name="connsiteX91" fmla="*/ 2333 w 10000"/>
                    <a:gd name="connsiteY91" fmla="*/ 2152 h 10127"/>
                    <a:gd name="connsiteX92" fmla="*/ 1833 w 10000"/>
                    <a:gd name="connsiteY92" fmla="*/ 2431 h 10127"/>
                    <a:gd name="connsiteX93" fmla="*/ 1389 w 10000"/>
                    <a:gd name="connsiteY93" fmla="*/ 2562 h 10127"/>
                    <a:gd name="connsiteX94" fmla="*/ 889 w 10000"/>
                    <a:gd name="connsiteY94" fmla="*/ 2633 h 10127"/>
                    <a:gd name="connsiteX95" fmla="*/ 889 w 10000"/>
                    <a:gd name="connsiteY95" fmla="*/ 2633 h 10127"/>
                    <a:gd name="connsiteX96" fmla="*/ 500 w 10000"/>
                    <a:gd name="connsiteY96" fmla="*/ 2717 h 10127"/>
                    <a:gd name="connsiteX97" fmla="*/ 222 w 10000"/>
                    <a:gd name="connsiteY97" fmla="*/ 2768 h 10127"/>
                    <a:gd name="connsiteX98" fmla="*/ 0 w 10000"/>
                    <a:gd name="connsiteY98" fmla="*/ 2836 h 10127"/>
                    <a:gd name="connsiteX99" fmla="*/ 0 w 10000"/>
                    <a:gd name="connsiteY99" fmla="*/ 2836 h 10127"/>
                    <a:gd name="connsiteX100" fmla="*/ 278 w 10000"/>
                    <a:gd name="connsiteY100" fmla="*/ 3955 h 10127"/>
                    <a:gd name="connsiteX101" fmla="*/ 500 w 10000"/>
                    <a:gd name="connsiteY101" fmla="*/ 4773 h 10127"/>
                    <a:gd name="connsiteX102" fmla="*/ 722 w 10000"/>
                    <a:gd name="connsiteY102" fmla="*/ 5476 h 10127"/>
                    <a:gd name="connsiteX103" fmla="*/ 722 w 10000"/>
                    <a:gd name="connsiteY103" fmla="*/ 5476 h 10127"/>
                    <a:gd name="connsiteX104" fmla="*/ 889 w 10000"/>
                    <a:gd name="connsiteY104" fmla="*/ 5891 h 10127"/>
                    <a:gd name="connsiteX105" fmla="*/ 944 w 10000"/>
                    <a:gd name="connsiteY105" fmla="*/ 6248 h 10127"/>
                    <a:gd name="connsiteX106" fmla="*/ 1111 w 10000"/>
                    <a:gd name="connsiteY106" fmla="*/ 6598 h 10127"/>
                    <a:gd name="connsiteX107" fmla="*/ 1333 w 10000"/>
                    <a:gd name="connsiteY107" fmla="*/ 7136 h 10127"/>
                    <a:gd name="connsiteX108" fmla="*/ 1333 w 10000"/>
                    <a:gd name="connsiteY108" fmla="*/ 7136 h 10127"/>
                    <a:gd name="connsiteX109" fmla="*/ 1444 w 10000"/>
                    <a:gd name="connsiteY109" fmla="*/ 7417 h 10127"/>
                    <a:gd name="connsiteX110" fmla="*/ 1500 w 10000"/>
                    <a:gd name="connsiteY110" fmla="*/ 7626 h 10127"/>
                    <a:gd name="connsiteX111" fmla="*/ 1500 w 10000"/>
                    <a:gd name="connsiteY111" fmla="*/ 7823 h 10127"/>
                    <a:gd name="connsiteX112" fmla="*/ 1556 w 10000"/>
                    <a:gd name="connsiteY112" fmla="*/ 7911 h 10127"/>
                    <a:gd name="connsiteX113" fmla="*/ 1722 w 10000"/>
                    <a:gd name="connsiteY113" fmla="*/ 7973 h 10127"/>
                    <a:gd name="connsiteX114" fmla="*/ 1944 w 10000"/>
                    <a:gd name="connsiteY114" fmla="*/ 8038 h 10127"/>
                    <a:gd name="connsiteX115" fmla="*/ 2944 w 10000"/>
                    <a:gd name="connsiteY115" fmla="*/ 8115 h 10127"/>
                    <a:gd name="connsiteX116" fmla="*/ 2944 w 10000"/>
                    <a:gd name="connsiteY116" fmla="*/ 8115 h 10127"/>
                    <a:gd name="connsiteX117" fmla="*/ 4167 w 10000"/>
                    <a:gd name="connsiteY117" fmla="*/ 8256 h 10127"/>
                    <a:gd name="connsiteX118" fmla="*/ 4889 w 10000"/>
                    <a:gd name="connsiteY118" fmla="*/ 8452 h 10127"/>
                    <a:gd name="connsiteX119" fmla="*/ 5278 w 10000"/>
                    <a:gd name="connsiteY119" fmla="*/ 8673 h 10127"/>
                    <a:gd name="connsiteX120" fmla="*/ 5444 w 10000"/>
                    <a:gd name="connsiteY120" fmla="*/ 8731 h 10127"/>
                    <a:gd name="connsiteX121" fmla="*/ 5444 w 10000"/>
                    <a:gd name="connsiteY121" fmla="*/ 8731 h 10127"/>
                    <a:gd name="connsiteX122" fmla="*/ 5722 w 10000"/>
                    <a:gd name="connsiteY122" fmla="*/ 8886 h 10127"/>
                    <a:gd name="connsiteX123" fmla="*/ 5833 w 10000"/>
                    <a:gd name="connsiteY123" fmla="*/ 8957 h 10127"/>
                    <a:gd name="connsiteX124" fmla="*/ 5833 w 10000"/>
                    <a:gd name="connsiteY124" fmla="*/ 8957 h 10127"/>
                    <a:gd name="connsiteX125" fmla="*/ 5833 w 10000"/>
                    <a:gd name="connsiteY125" fmla="*/ 8886 h 10127"/>
                    <a:gd name="connsiteX126" fmla="*/ 5889 w 10000"/>
                    <a:gd name="connsiteY126" fmla="*/ 8808 h 10127"/>
                    <a:gd name="connsiteX127" fmla="*/ 6000 w 10000"/>
                    <a:gd name="connsiteY127" fmla="*/ 8731 h 10127"/>
                    <a:gd name="connsiteX128" fmla="*/ 6167 w 10000"/>
                    <a:gd name="connsiteY128" fmla="*/ 8673 h 10127"/>
                    <a:gd name="connsiteX129" fmla="*/ 6444 w 10000"/>
                    <a:gd name="connsiteY129" fmla="*/ 8673 h 10127"/>
                    <a:gd name="connsiteX130" fmla="*/ 6833 w 10000"/>
                    <a:gd name="connsiteY130" fmla="*/ 8731 h 10127"/>
                    <a:gd name="connsiteX131" fmla="*/ 7278 w 10000"/>
                    <a:gd name="connsiteY131" fmla="*/ 8957 h 10127"/>
                    <a:gd name="connsiteX132" fmla="*/ 7278 w 10000"/>
                    <a:gd name="connsiteY132" fmla="*/ 8957 h 10127"/>
                    <a:gd name="connsiteX133" fmla="*/ 8722 w 10000"/>
                    <a:gd name="connsiteY133" fmla="*/ 9563 h 10127"/>
                    <a:gd name="connsiteX134" fmla="*/ 10000 w 10000"/>
                    <a:gd name="connsiteY134" fmla="*/ 10127 h 10127"/>
                    <a:gd name="connsiteX135" fmla="*/ 10000 w 10000"/>
                    <a:gd name="connsiteY135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4222 w 10000"/>
                    <a:gd name="connsiteY35" fmla="*/ 1167 h 10127"/>
                    <a:gd name="connsiteX36" fmla="*/ 10000 w 10000"/>
                    <a:gd name="connsiteY36" fmla="*/ 5476 h 10127"/>
                    <a:gd name="connsiteX37" fmla="*/ 10000 w 10000"/>
                    <a:gd name="connsiteY37" fmla="*/ 5476 h 10127"/>
                    <a:gd name="connsiteX38" fmla="*/ 9722 w 10000"/>
                    <a:gd name="connsiteY38" fmla="*/ 5399 h 10127"/>
                    <a:gd name="connsiteX39" fmla="*/ 9389 w 10000"/>
                    <a:gd name="connsiteY39" fmla="*/ 5476 h 10127"/>
                    <a:gd name="connsiteX40" fmla="*/ 9389 w 10000"/>
                    <a:gd name="connsiteY40" fmla="*/ 5476 h 10127"/>
                    <a:gd name="connsiteX41" fmla="*/ 9278 w 10000"/>
                    <a:gd name="connsiteY41" fmla="*/ 5560 h 10127"/>
                    <a:gd name="connsiteX42" fmla="*/ 9056 w 10000"/>
                    <a:gd name="connsiteY42" fmla="*/ 5476 h 10127"/>
                    <a:gd name="connsiteX43" fmla="*/ 8889 w 10000"/>
                    <a:gd name="connsiteY43" fmla="*/ 5399 h 10127"/>
                    <a:gd name="connsiteX44" fmla="*/ 8722 w 10000"/>
                    <a:gd name="connsiteY44" fmla="*/ 5267 h 10127"/>
                    <a:gd name="connsiteX45" fmla="*/ 8611 w 10000"/>
                    <a:gd name="connsiteY45" fmla="*/ 5051 h 10127"/>
                    <a:gd name="connsiteX46" fmla="*/ 8444 w 10000"/>
                    <a:gd name="connsiteY46" fmla="*/ 4703 h 10127"/>
                    <a:gd name="connsiteX47" fmla="*/ 8444 w 10000"/>
                    <a:gd name="connsiteY47" fmla="*/ 4703 h 10127"/>
                    <a:gd name="connsiteX48" fmla="*/ 8222 w 10000"/>
                    <a:gd name="connsiteY48" fmla="*/ 4096 h 10127"/>
                    <a:gd name="connsiteX49" fmla="*/ 8111 w 10000"/>
                    <a:gd name="connsiteY49" fmla="*/ 3816 h 10127"/>
                    <a:gd name="connsiteX50" fmla="*/ 7944 w 10000"/>
                    <a:gd name="connsiteY50" fmla="*/ 3605 h 10127"/>
                    <a:gd name="connsiteX51" fmla="*/ 7778 w 10000"/>
                    <a:gd name="connsiteY51" fmla="*/ 3471 h 10127"/>
                    <a:gd name="connsiteX52" fmla="*/ 7556 w 10000"/>
                    <a:gd name="connsiteY52" fmla="*/ 3389 h 10127"/>
                    <a:gd name="connsiteX53" fmla="*/ 7333 w 10000"/>
                    <a:gd name="connsiteY53" fmla="*/ 3324 h 10127"/>
                    <a:gd name="connsiteX54" fmla="*/ 7000 w 10000"/>
                    <a:gd name="connsiteY54" fmla="*/ 3247 h 10127"/>
                    <a:gd name="connsiteX55" fmla="*/ 7000 w 10000"/>
                    <a:gd name="connsiteY55" fmla="*/ 3247 h 10127"/>
                    <a:gd name="connsiteX56" fmla="*/ 6556 w 10000"/>
                    <a:gd name="connsiteY56" fmla="*/ 3324 h 10127"/>
                    <a:gd name="connsiteX57" fmla="*/ 6222 w 10000"/>
                    <a:gd name="connsiteY57" fmla="*/ 3324 h 10127"/>
                    <a:gd name="connsiteX58" fmla="*/ 6111 w 10000"/>
                    <a:gd name="connsiteY58" fmla="*/ 3247 h 10127"/>
                    <a:gd name="connsiteX59" fmla="*/ 6056 w 10000"/>
                    <a:gd name="connsiteY59" fmla="*/ 3185 h 10127"/>
                    <a:gd name="connsiteX60" fmla="*/ 6056 w 10000"/>
                    <a:gd name="connsiteY60" fmla="*/ 3185 h 10127"/>
                    <a:gd name="connsiteX61" fmla="*/ 6056 w 10000"/>
                    <a:gd name="connsiteY61" fmla="*/ 1943 h 10127"/>
                    <a:gd name="connsiteX62" fmla="*/ 6056 w 10000"/>
                    <a:gd name="connsiteY62" fmla="*/ 1943 h 10127"/>
                    <a:gd name="connsiteX63" fmla="*/ 6056 w 10000"/>
                    <a:gd name="connsiteY63" fmla="*/ 1652 h 10127"/>
                    <a:gd name="connsiteX64" fmla="*/ 5944 w 10000"/>
                    <a:gd name="connsiteY64" fmla="*/ 1308 h 10127"/>
                    <a:gd name="connsiteX65" fmla="*/ 5889 w 10000"/>
                    <a:gd name="connsiteY65" fmla="*/ 1230 h 10127"/>
                    <a:gd name="connsiteX66" fmla="*/ 5778 w 10000"/>
                    <a:gd name="connsiteY66" fmla="*/ 1167 h 10127"/>
                    <a:gd name="connsiteX67" fmla="*/ 5667 w 10000"/>
                    <a:gd name="connsiteY67" fmla="*/ 1167 h 10127"/>
                    <a:gd name="connsiteX68" fmla="*/ 5500 w 10000"/>
                    <a:gd name="connsiteY68" fmla="*/ 1230 h 10127"/>
                    <a:gd name="connsiteX69" fmla="*/ 5500 w 10000"/>
                    <a:gd name="connsiteY69" fmla="*/ 1230 h 10127"/>
                    <a:gd name="connsiteX70" fmla="*/ 4889 w 10000"/>
                    <a:gd name="connsiteY70" fmla="*/ 1726 h 10127"/>
                    <a:gd name="connsiteX71" fmla="*/ 4611 w 10000"/>
                    <a:gd name="connsiteY71" fmla="*/ 1866 h 10127"/>
                    <a:gd name="connsiteX72" fmla="*/ 4556 w 10000"/>
                    <a:gd name="connsiteY72" fmla="*/ 1943 h 10127"/>
                    <a:gd name="connsiteX73" fmla="*/ 4500 w 10000"/>
                    <a:gd name="connsiteY73" fmla="*/ 1866 h 10127"/>
                    <a:gd name="connsiteX74" fmla="*/ 4500 w 10000"/>
                    <a:gd name="connsiteY74" fmla="*/ 1866 h 10127"/>
                    <a:gd name="connsiteX75" fmla="*/ 4111 w 10000"/>
                    <a:gd name="connsiteY75" fmla="*/ 822 h 10127"/>
                    <a:gd name="connsiteX76" fmla="*/ 4111 w 10000"/>
                    <a:gd name="connsiteY76" fmla="*/ 404 h 10127"/>
                    <a:gd name="connsiteX77" fmla="*/ 4111 w 10000"/>
                    <a:gd name="connsiteY77" fmla="*/ 404 h 10127"/>
                    <a:gd name="connsiteX78" fmla="*/ 4195 w 10000"/>
                    <a:gd name="connsiteY78" fmla="*/ 119 h 10127"/>
                    <a:gd name="connsiteX79" fmla="*/ 4213 w 10000"/>
                    <a:gd name="connsiteY79" fmla="*/ 0 h 10127"/>
                    <a:gd name="connsiteX80" fmla="*/ 4000 w 10000"/>
                    <a:gd name="connsiteY80" fmla="*/ 127 h 10127"/>
                    <a:gd name="connsiteX81" fmla="*/ 3722 w 10000"/>
                    <a:gd name="connsiteY81" fmla="*/ 200 h 10127"/>
                    <a:gd name="connsiteX82" fmla="*/ 3611 w 10000"/>
                    <a:gd name="connsiteY82" fmla="*/ 273 h 10127"/>
                    <a:gd name="connsiteX83" fmla="*/ 3556 w 10000"/>
                    <a:gd name="connsiteY83" fmla="*/ 344 h 10127"/>
                    <a:gd name="connsiteX84" fmla="*/ 3556 w 10000"/>
                    <a:gd name="connsiteY84" fmla="*/ 344 h 10127"/>
                    <a:gd name="connsiteX85" fmla="*/ 3444 w 10000"/>
                    <a:gd name="connsiteY85" fmla="*/ 618 h 10127"/>
                    <a:gd name="connsiteX86" fmla="*/ 3278 w 10000"/>
                    <a:gd name="connsiteY86" fmla="*/ 1039 h 10127"/>
                    <a:gd name="connsiteX87" fmla="*/ 3000 w 10000"/>
                    <a:gd name="connsiteY87" fmla="*/ 1516 h 10127"/>
                    <a:gd name="connsiteX88" fmla="*/ 2667 w 10000"/>
                    <a:gd name="connsiteY88" fmla="*/ 1866 h 10127"/>
                    <a:gd name="connsiteX89" fmla="*/ 2667 w 10000"/>
                    <a:gd name="connsiteY89" fmla="*/ 1866 h 10127"/>
                    <a:gd name="connsiteX90" fmla="*/ 2333 w 10000"/>
                    <a:gd name="connsiteY90" fmla="*/ 2152 h 10127"/>
                    <a:gd name="connsiteX91" fmla="*/ 1833 w 10000"/>
                    <a:gd name="connsiteY91" fmla="*/ 2431 h 10127"/>
                    <a:gd name="connsiteX92" fmla="*/ 1389 w 10000"/>
                    <a:gd name="connsiteY92" fmla="*/ 2562 h 10127"/>
                    <a:gd name="connsiteX93" fmla="*/ 889 w 10000"/>
                    <a:gd name="connsiteY93" fmla="*/ 2633 h 10127"/>
                    <a:gd name="connsiteX94" fmla="*/ 889 w 10000"/>
                    <a:gd name="connsiteY94" fmla="*/ 2633 h 10127"/>
                    <a:gd name="connsiteX95" fmla="*/ 500 w 10000"/>
                    <a:gd name="connsiteY95" fmla="*/ 2717 h 10127"/>
                    <a:gd name="connsiteX96" fmla="*/ 222 w 10000"/>
                    <a:gd name="connsiteY96" fmla="*/ 2768 h 10127"/>
                    <a:gd name="connsiteX97" fmla="*/ 0 w 10000"/>
                    <a:gd name="connsiteY97" fmla="*/ 2836 h 10127"/>
                    <a:gd name="connsiteX98" fmla="*/ 0 w 10000"/>
                    <a:gd name="connsiteY98" fmla="*/ 2836 h 10127"/>
                    <a:gd name="connsiteX99" fmla="*/ 278 w 10000"/>
                    <a:gd name="connsiteY99" fmla="*/ 3955 h 10127"/>
                    <a:gd name="connsiteX100" fmla="*/ 500 w 10000"/>
                    <a:gd name="connsiteY100" fmla="*/ 4773 h 10127"/>
                    <a:gd name="connsiteX101" fmla="*/ 722 w 10000"/>
                    <a:gd name="connsiteY101" fmla="*/ 5476 h 10127"/>
                    <a:gd name="connsiteX102" fmla="*/ 722 w 10000"/>
                    <a:gd name="connsiteY102" fmla="*/ 5476 h 10127"/>
                    <a:gd name="connsiteX103" fmla="*/ 889 w 10000"/>
                    <a:gd name="connsiteY103" fmla="*/ 5891 h 10127"/>
                    <a:gd name="connsiteX104" fmla="*/ 944 w 10000"/>
                    <a:gd name="connsiteY104" fmla="*/ 6248 h 10127"/>
                    <a:gd name="connsiteX105" fmla="*/ 1111 w 10000"/>
                    <a:gd name="connsiteY105" fmla="*/ 6598 h 10127"/>
                    <a:gd name="connsiteX106" fmla="*/ 1333 w 10000"/>
                    <a:gd name="connsiteY106" fmla="*/ 7136 h 10127"/>
                    <a:gd name="connsiteX107" fmla="*/ 1333 w 10000"/>
                    <a:gd name="connsiteY107" fmla="*/ 7136 h 10127"/>
                    <a:gd name="connsiteX108" fmla="*/ 1444 w 10000"/>
                    <a:gd name="connsiteY108" fmla="*/ 7417 h 10127"/>
                    <a:gd name="connsiteX109" fmla="*/ 1500 w 10000"/>
                    <a:gd name="connsiteY109" fmla="*/ 7626 h 10127"/>
                    <a:gd name="connsiteX110" fmla="*/ 1500 w 10000"/>
                    <a:gd name="connsiteY110" fmla="*/ 7823 h 10127"/>
                    <a:gd name="connsiteX111" fmla="*/ 1556 w 10000"/>
                    <a:gd name="connsiteY111" fmla="*/ 7911 h 10127"/>
                    <a:gd name="connsiteX112" fmla="*/ 1722 w 10000"/>
                    <a:gd name="connsiteY112" fmla="*/ 7973 h 10127"/>
                    <a:gd name="connsiteX113" fmla="*/ 1944 w 10000"/>
                    <a:gd name="connsiteY113" fmla="*/ 8038 h 10127"/>
                    <a:gd name="connsiteX114" fmla="*/ 2944 w 10000"/>
                    <a:gd name="connsiteY114" fmla="*/ 8115 h 10127"/>
                    <a:gd name="connsiteX115" fmla="*/ 2944 w 10000"/>
                    <a:gd name="connsiteY115" fmla="*/ 8115 h 10127"/>
                    <a:gd name="connsiteX116" fmla="*/ 4167 w 10000"/>
                    <a:gd name="connsiteY116" fmla="*/ 8256 h 10127"/>
                    <a:gd name="connsiteX117" fmla="*/ 4889 w 10000"/>
                    <a:gd name="connsiteY117" fmla="*/ 8452 h 10127"/>
                    <a:gd name="connsiteX118" fmla="*/ 5278 w 10000"/>
                    <a:gd name="connsiteY118" fmla="*/ 8673 h 10127"/>
                    <a:gd name="connsiteX119" fmla="*/ 5444 w 10000"/>
                    <a:gd name="connsiteY119" fmla="*/ 8731 h 10127"/>
                    <a:gd name="connsiteX120" fmla="*/ 5444 w 10000"/>
                    <a:gd name="connsiteY120" fmla="*/ 8731 h 10127"/>
                    <a:gd name="connsiteX121" fmla="*/ 5722 w 10000"/>
                    <a:gd name="connsiteY121" fmla="*/ 8886 h 10127"/>
                    <a:gd name="connsiteX122" fmla="*/ 5833 w 10000"/>
                    <a:gd name="connsiteY122" fmla="*/ 8957 h 10127"/>
                    <a:gd name="connsiteX123" fmla="*/ 5833 w 10000"/>
                    <a:gd name="connsiteY123" fmla="*/ 8957 h 10127"/>
                    <a:gd name="connsiteX124" fmla="*/ 5833 w 10000"/>
                    <a:gd name="connsiteY124" fmla="*/ 8886 h 10127"/>
                    <a:gd name="connsiteX125" fmla="*/ 5889 w 10000"/>
                    <a:gd name="connsiteY125" fmla="*/ 8808 h 10127"/>
                    <a:gd name="connsiteX126" fmla="*/ 6000 w 10000"/>
                    <a:gd name="connsiteY126" fmla="*/ 8731 h 10127"/>
                    <a:gd name="connsiteX127" fmla="*/ 6167 w 10000"/>
                    <a:gd name="connsiteY127" fmla="*/ 8673 h 10127"/>
                    <a:gd name="connsiteX128" fmla="*/ 6444 w 10000"/>
                    <a:gd name="connsiteY128" fmla="*/ 8673 h 10127"/>
                    <a:gd name="connsiteX129" fmla="*/ 6833 w 10000"/>
                    <a:gd name="connsiteY129" fmla="*/ 8731 h 10127"/>
                    <a:gd name="connsiteX130" fmla="*/ 7278 w 10000"/>
                    <a:gd name="connsiteY130" fmla="*/ 8957 h 10127"/>
                    <a:gd name="connsiteX131" fmla="*/ 7278 w 10000"/>
                    <a:gd name="connsiteY131" fmla="*/ 8957 h 10127"/>
                    <a:gd name="connsiteX132" fmla="*/ 8722 w 10000"/>
                    <a:gd name="connsiteY132" fmla="*/ 9563 h 10127"/>
                    <a:gd name="connsiteX133" fmla="*/ 10000 w 10000"/>
                    <a:gd name="connsiteY133" fmla="*/ 10127 h 10127"/>
                    <a:gd name="connsiteX134" fmla="*/ 10000 w 10000"/>
                    <a:gd name="connsiteY134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4389 w 10000"/>
                    <a:gd name="connsiteY34" fmla="*/ 1516 h 10127"/>
                    <a:gd name="connsiteX35" fmla="*/ 10000 w 10000"/>
                    <a:gd name="connsiteY35" fmla="*/ 5476 h 10127"/>
                    <a:gd name="connsiteX36" fmla="*/ 10000 w 10000"/>
                    <a:gd name="connsiteY36" fmla="*/ 5476 h 10127"/>
                    <a:gd name="connsiteX37" fmla="*/ 9722 w 10000"/>
                    <a:gd name="connsiteY37" fmla="*/ 5399 h 10127"/>
                    <a:gd name="connsiteX38" fmla="*/ 9389 w 10000"/>
                    <a:gd name="connsiteY38" fmla="*/ 5476 h 10127"/>
                    <a:gd name="connsiteX39" fmla="*/ 9389 w 10000"/>
                    <a:gd name="connsiteY39" fmla="*/ 5476 h 10127"/>
                    <a:gd name="connsiteX40" fmla="*/ 9278 w 10000"/>
                    <a:gd name="connsiteY40" fmla="*/ 5560 h 10127"/>
                    <a:gd name="connsiteX41" fmla="*/ 9056 w 10000"/>
                    <a:gd name="connsiteY41" fmla="*/ 5476 h 10127"/>
                    <a:gd name="connsiteX42" fmla="*/ 8889 w 10000"/>
                    <a:gd name="connsiteY42" fmla="*/ 5399 h 10127"/>
                    <a:gd name="connsiteX43" fmla="*/ 8722 w 10000"/>
                    <a:gd name="connsiteY43" fmla="*/ 5267 h 10127"/>
                    <a:gd name="connsiteX44" fmla="*/ 8611 w 10000"/>
                    <a:gd name="connsiteY44" fmla="*/ 5051 h 10127"/>
                    <a:gd name="connsiteX45" fmla="*/ 8444 w 10000"/>
                    <a:gd name="connsiteY45" fmla="*/ 4703 h 10127"/>
                    <a:gd name="connsiteX46" fmla="*/ 8444 w 10000"/>
                    <a:gd name="connsiteY46" fmla="*/ 4703 h 10127"/>
                    <a:gd name="connsiteX47" fmla="*/ 8222 w 10000"/>
                    <a:gd name="connsiteY47" fmla="*/ 4096 h 10127"/>
                    <a:gd name="connsiteX48" fmla="*/ 8111 w 10000"/>
                    <a:gd name="connsiteY48" fmla="*/ 3816 h 10127"/>
                    <a:gd name="connsiteX49" fmla="*/ 7944 w 10000"/>
                    <a:gd name="connsiteY49" fmla="*/ 3605 h 10127"/>
                    <a:gd name="connsiteX50" fmla="*/ 7778 w 10000"/>
                    <a:gd name="connsiteY50" fmla="*/ 3471 h 10127"/>
                    <a:gd name="connsiteX51" fmla="*/ 7556 w 10000"/>
                    <a:gd name="connsiteY51" fmla="*/ 3389 h 10127"/>
                    <a:gd name="connsiteX52" fmla="*/ 7333 w 10000"/>
                    <a:gd name="connsiteY52" fmla="*/ 3324 h 10127"/>
                    <a:gd name="connsiteX53" fmla="*/ 7000 w 10000"/>
                    <a:gd name="connsiteY53" fmla="*/ 3247 h 10127"/>
                    <a:gd name="connsiteX54" fmla="*/ 7000 w 10000"/>
                    <a:gd name="connsiteY54" fmla="*/ 3247 h 10127"/>
                    <a:gd name="connsiteX55" fmla="*/ 6556 w 10000"/>
                    <a:gd name="connsiteY55" fmla="*/ 3324 h 10127"/>
                    <a:gd name="connsiteX56" fmla="*/ 6222 w 10000"/>
                    <a:gd name="connsiteY56" fmla="*/ 3324 h 10127"/>
                    <a:gd name="connsiteX57" fmla="*/ 6111 w 10000"/>
                    <a:gd name="connsiteY57" fmla="*/ 3247 h 10127"/>
                    <a:gd name="connsiteX58" fmla="*/ 6056 w 10000"/>
                    <a:gd name="connsiteY58" fmla="*/ 3185 h 10127"/>
                    <a:gd name="connsiteX59" fmla="*/ 6056 w 10000"/>
                    <a:gd name="connsiteY59" fmla="*/ 3185 h 10127"/>
                    <a:gd name="connsiteX60" fmla="*/ 6056 w 10000"/>
                    <a:gd name="connsiteY60" fmla="*/ 1943 h 10127"/>
                    <a:gd name="connsiteX61" fmla="*/ 6056 w 10000"/>
                    <a:gd name="connsiteY61" fmla="*/ 1943 h 10127"/>
                    <a:gd name="connsiteX62" fmla="*/ 6056 w 10000"/>
                    <a:gd name="connsiteY62" fmla="*/ 1652 h 10127"/>
                    <a:gd name="connsiteX63" fmla="*/ 5944 w 10000"/>
                    <a:gd name="connsiteY63" fmla="*/ 1308 h 10127"/>
                    <a:gd name="connsiteX64" fmla="*/ 5889 w 10000"/>
                    <a:gd name="connsiteY64" fmla="*/ 1230 h 10127"/>
                    <a:gd name="connsiteX65" fmla="*/ 5778 w 10000"/>
                    <a:gd name="connsiteY65" fmla="*/ 1167 h 10127"/>
                    <a:gd name="connsiteX66" fmla="*/ 5667 w 10000"/>
                    <a:gd name="connsiteY66" fmla="*/ 1167 h 10127"/>
                    <a:gd name="connsiteX67" fmla="*/ 5500 w 10000"/>
                    <a:gd name="connsiteY67" fmla="*/ 1230 h 10127"/>
                    <a:gd name="connsiteX68" fmla="*/ 5500 w 10000"/>
                    <a:gd name="connsiteY68" fmla="*/ 1230 h 10127"/>
                    <a:gd name="connsiteX69" fmla="*/ 4889 w 10000"/>
                    <a:gd name="connsiteY69" fmla="*/ 1726 h 10127"/>
                    <a:gd name="connsiteX70" fmla="*/ 4611 w 10000"/>
                    <a:gd name="connsiteY70" fmla="*/ 1866 h 10127"/>
                    <a:gd name="connsiteX71" fmla="*/ 4556 w 10000"/>
                    <a:gd name="connsiteY71" fmla="*/ 1943 h 10127"/>
                    <a:gd name="connsiteX72" fmla="*/ 4500 w 10000"/>
                    <a:gd name="connsiteY72" fmla="*/ 1866 h 10127"/>
                    <a:gd name="connsiteX73" fmla="*/ 4500 w 10000"/>
                    <a:gd name="connsiteY73" fmla="*/ 1866 h 10127"/>
                    <a:gd name="connsiteX74" fmla="*/ 4111 w 10000"/>
                    <a:gd name="connsiteY74" fmla="*/ 822 h 10127"/>
                    <a:gd name="connsiteX75" fmla="*/ 4111 w 10000"/>
                    <a:gd name="connsiteY75" fmla="*/ 404 h 10127"/>
                    <a:gd name="connsiteX76" fmla="*/ 4111 w 10000"/>
                    <a:gd name="connsiteY76" fmla="*/ 404 h 10127"/>
                    <a:gd name="connsiteX77" fmla="*/ 4195 w 10000"/>
                    <a:gd name="connsiteY77" fmla="*/ 119 h 10127"/>
                    <a:gd name="connsiteX78" fmla="*/ 4213 w 10000"/>
                    <a:gd name="connsiteY78" fmla="*/ 0 h 10127"/>
                    <a:gd name="connsiteX79" fmla="*/ 4000 w 10000"/>
                    <a:gd name="connsiteY79" fmla="*/ 127 h 10127"/>
                    <a:gd name="connsiteX80" fmla="*/ 3722 w 10000"/>
                    <a:gd name="connsiteY80" fmla="*/ 200 h 10127"/>
                    <a:gd name="connsiteX81" fmla="*/ 3611 w 10000"/>
                    <a:gd name="connsiteY81" fmla="*/ 273 h 10127"/>
                    <a:gd name="connsiteX82" fmla="*/ 3556 w 10000"/>
                    <a:gd name="connsiteY82" fmla="*/ 344 h 10127"/>
                    <a:gd name="connsiteX83" fmla="*/ 3556 w 10000"/>
                    <a:gd name="connsiteY83" fmla="*/ 344 h 10127"/>
                    <a:gd name="connsiteX84" fmla="*/ 3444 w 10000"/>
                    <a:gd name="connsiteY84" fmla="*/ 618 h 10127"/>
                    <a:gd name="connsiteX85" fmla="*/ 3278 w 10000"/>
                    <a:gd name="connsiteY85" fmla="*/ 1039 h 10127"/>
                    <a:gd name="connsiteX86" fmla="*/ 3000 w 10000"/>
                    <a:gd name="connsiteY86" fmla="*/ 1516 h 10127"/>
                    <a:gd name="connsiteX87" fmla="*/ 2667 w 10000"/>
                    <a:gd name="connsiteY87" fmla="*/ 1866 h 10127"/>
                    <a:gd name="connsiteX88" fmla="*/ 2667 w 10000"/>
                    <a:gd name="connsiteY88" fmla="*/ 1866 h 10127"/>
                    <a:gd name="connsiteX89" fmla="*/ 2333 w 10000"/>
                    <a:gd name="connsiteY89" fmla="*/ 2152 h 10127"/>
                    <a:gd name="connsiteX90" fmla="*/ 1833 w 10000"/>
                    <a:gd name="connsiteY90" fmla="*/ 2431 h 10127"/>
                    <a:gd name="connsiteX91" fmla="*/ 1389 w 10000"/>
                    <a:gd name="connsiteY91" fmla="*/ 2562 h 10127"/>
                    <a:gd name="connsiteX92" fmla="*/ 889 w 10000"/>
                    <a:gd name="connsiteY92" fmla="*/ 2633 h 10127"/>
                    <a:gd name="connsiteX93" fmla="*/ 889 w 10000"/>
                    <a:gd name="connsiteY93" fmla="*/ 2633 h 10127"/>
                    <a:gd name="connsiteX94" fmla="*/ 500 w 10000"/>
                    <a:gd name="connsiteY94" fmla="*/ 2717 h 10127"/>
                    <a:gd name="connsiteX95" fmla="*/ 222 w 10000"/>
                    <a:gd name="connsiteY95" fmla="*/ 2768 h 10127"/>
                    <a:gd name="connsiteX96" fmla="*/ 0 w 10000"/>
                    <a:gd name="connsiteY96" fmla="*/ 2836 h 10127"/>
                    <a:gd name="connsiteX97" fmla="*/ 0 w 10000"/>
                    <a:gd name="connsiteY97" fmla="*/ 2836 h 10127"/>
                    <a:gd name="connsiteX98" fmla="*/ 278 w 10000"/>
                    <a:gd name="connsiteY98" fmla="*/ 3955 h 10127"/>
                    <a:gd name="connsiteX99" fmla="*/ 500 w 10000"/>
                    <a:gd name="connsiteY99" fmla="*/ 4773 h 10127"/>
                    <a:gd name="connsiteX100" fmla="*/ 722 w 10000"/>
                    <a:gd name="connsiteY100" fmla="*/ 5476 h 10127"/>
                    <a:gd name="connsiteX101" fmla="*/ 722 w 10000"/>
                    <a:gd name="connsiteY101" fmla="*/ 5476 h 10127"/>
                    <a:gd name="connsiteX102" fmla="*/ 889 w 10000"/>
                    <a:gd name="connsiteY102" fmla="*/ 5891 h 10127"/>
                    <a:gd name="connsiteX103" fmla="*/ 944 w 10000"/>
                    <a:gd name="connsiteY103" fmla="*/ 6248 h 10127"/>
                    <a:gd name="connsiteX104" fmla="*/ 1111 w 10000"/>
                    <a:gd name="connsiteY104" fmla="*/ 6598 h 10127"/>
                    <a:gd name="connsiteX105" fmla="*/ 1333 w 10000"/>
                    <a:gd name="connsiteY105" fmla="*/ 7136 h 10127"/>
                    <a:gd name="connsiteX106" fmla="*/ 1333 w 10000"/>
                    <a:gd name="connsiteY106" fmla="*/ 7136 h 10127"/>
                    <a:gd name="connsiteX107" fmla="*/ 1444 w 10000"/>
                    <a:gd name="connsiteY107" fmla="*/ 7417 h 10127"/>
                    <a:gd name="connsiteX108" fmla="*/ 1500 w 10000"/>
                    <a:gd name="connsiteY108" fmla="*/ 7626 h 10127"/>
                    <a:gd name="connsiteX109" fmla="*/ 1500 w 10000"/>
                    <a:gd name="connsiteY109" fmla="*/ 7823 h 10127"/>
                    <a:gd name="connsiteX110" fmla="*/ 1556 w 10000"/>
                    <a:gd name="connsiteY110" fmla="*/ 7911 h 10127"/>
                    <a:gd name="connsiteX111" fmla="*/ 1722 w 10000"/>
                    <a:gd name="connsiteY111" fmla="*/ 7973 h 10127"/>
                    <a:gd name="connsiteX112" fmla="*/ 1944 w 10000"/>
                    <a:gd name="connsiteY112" fmla="*/ 8038 h 10127"/>
                    <a:gd name="connsiteX113" fmla="*/ 2944 w 10000"/>
                    <a:gd name="connsiteY113" fmla="*/ 8115 h 10127"/>
                    <a:gd name="connsiteX114" fmla="*/ 2944 w 10000"/>
                    <a:gd name="connsiteY114" fmla="*/ 8115 h 10127"/>
                    <a:gd name="connsiteX115" fmla="*/ 4167 w 10000"/>
                    <a:gd name="connsiteY115" fmla="*/ 8256 h 10127"/>
                    <a:gd name="connsiteX116" fmla="*/ 4889 w 10000"/>
                    <a:gd name="connsiteY116" fmla="*/ 8452 h 10127"/>
                    <a:gd name="connsiteX117" fmla="*/ 5278 w 10000"/>
                    <a:gd name="connsiteY117" fmla="*/ 8673 h 10127"/>
                    <a:gd name="connsiteX118" fmla="*/ 5444 w 10000"/>
                    <a:gd name="connsiteY118" fmla="*/ 8731 h 10127"/>
                    <a:gd name="connsiteX119" fmla="*/ 5444 w 10000"/>
                    <a:gd name="connsiteY119" fmla="*/ 8731 h 10127"/>
                    <a:gd name="connsiteX120" fmla="*/ 5722 w 10000"/>
                    <a:gd name="connsiteY120" fmla="*/ 8886 h 10127"/>
                    <a:gd name="connsiteX121" fmla="*/ 5833 w 10000"/>
                    <a:gd name="connsiteY121" fmla="*/ 8957 h 10127"/>
                    <a:gd name="connsiteX122" fmla="*/ 5833 w 10000"/>
                    <a:gd name="connsiteY122" fmla="*/ 8957 h 10127"/>
                    <a:gd name="connsiteX123" fmla="*/ 5833 w 10000"/>
                    <a:gd name="connsiteY123" fmla="*/ 8886 h 10127"/>
                    <a:gd name="connsiteX124" fmla="*/ 5889 w 10000"/>
                    <a:gd name="connsiteY124" fmla="*/ 8808 h 10127"/>
                    <a:gd name="connsiteX125" fmla="*/ 6000 w 10000"/>
                    <a:gd name="connsiteY125" fmla="*/ 8731 h 10127"/>
                    <a:gd name="connsiteX126" fmla="*/ 6167 w 10000"/>
                    <a:gd name="connsiteY126" fmla="*/ 8673 h 10127"/>
                    <a:gd name="connsiteX127" fmla="*/ 6444 w 10000"/>
                    <a:gd name="connsiteY127" fmla="*/ 8673 h 10127"/>
                    <a:gd name="connsiteX128" fmla="*/ 6833 w 10000"/>
                    <a:gd name="connsiteY128" fmla="*/ 8731 h 10127"/>
                    <a:gd name="connsiteX129" fmla="*/ 7278 w 10000"/>
                    <a:gd name="connsiteY129" fmla="*/ 8957 h 10127"/>
                    <a:gd name="connsiteX130" fmla="*/ 7278 w 10000"/>
                    <a:gd name="connsiteY130" fmla="*/ 8957 h 10127"/>
                    <a:gd name="connsiteX131" fmla="*/ 8722 w 10000"/>
                    <a:gd name="connsiteY131" fmla="*/ 9563 h 10127"/>
                    <a:gd name="connsiteX132" fmla="*/ 10000 w 10000"/>
                    <a:gd name="connsiteY132" fmla="*/ 10127 h 10127"/>
                    <a:gd name="connsiteX133" fmla="*/ 10000 w 10000"/>
                    <a:gd name="connsiteY13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444 w 10000"/>
                    <a:gd name="connsiteY33" fmla="*/ 1798 h 10127"/>
                    <a:gd name="connsiteX34" fmla="*/ 10000 w 10000"/>
                    <a:gd name="connsiteY34" fmla="*/ 5476 h 10127"/>
                    <a:gd name="connsiteX35" fmla="*/ 10000 w 10000"/>
                    <a:gd name="connsiteY35" fmla="*/ 5476 h 10127"/>
                    <a:gd name="connsiteX36" fmla="*/ 9722 w 10000"/>
                    <a:gd name="connsiteY36" fmla="*/ 5399 h 10127"/>
                    <a:gd name="connsiteX37" fmla="*/ 9389 w 10000"/>
                    <a:gd name="connsiteY37" fmla="*/ 5476 h 10127"/>
                    <a:gd name="connsiteX38" fmla="*/ 9389 w 10000"/>
                    <a:gd name="connsiteY38" fmla="*/ 5476 h 10127"/>
                    <a:gd name="connsiteX39" fmla="*/ 9278 w 10000"/>
                    <a:gd name="connsiteY39" fmla="*/ 5560 h 10127"/>
                    <a:gd name="connsiteX40" fmla="*/ 9056 w 10000"/>
                    <a:gd name="connsiteY40" fmla="*/ 5476 h 10127"/>
                    <a:gd name="connsiteX41" fmla="*/ 8889 w 10000"/>
                    <a:gd name="connsiteY41" fmla="*/ 5399 h 10127"/>
                    <a:gd name="connsiteX42" fmla="*/ 8722 w 10000"/>
                    <a:gd name="connsiteY42" fmla="*/ 5267 h 10127"/>
                    <a:gd name="connsiteX43" fmla="*/ 8611 w 10000"/>
                    <a:gd name="connsiteY43" fmla="*/ 5051 h 10127"/>
                    <a:gd name="connsiteX44" fmla="*/ 8444 w 10000"/>
                    <a:gd name="connsiteY44" fmla="*/ 4703 h 10127"/>
                    <a:gd name="connsiteX45" fmla="*/ 8444 w 10000"/>
                    <a:gd name="connsiteY45" fmla="*/ 4703 h 10127"/>
                    <a:gd name="connsiteX46" fmla="*/ 8222 w 10000"/>
                    <a:gd name="connsiteY46" fmla="*/ 4096 h 10127"/>
                    <a:gd name="connsiteX47" fmla="*/ 8111 w 10000"/>
                    <a:gd name="connsiteY47" fmla="*/ 3816 h 10127"/>
                    <a:gd name="connsiteX48" fmla="*/ 7944 w 10000"/>
                    <a:gd name="connsiteY48" fmla="*/ 3605 h 10127"/>
                    <a:gd name="connsiteX49" fmla="*/ 7778 w 10000"/>
                    <a:gd name="connsiteY49" fmla="*/ 3471 h 10127"/>
                    <a:gd name="connsiteX50" fmla="*/ 7556 w 10000"/>
                    <a:gd name="connsiteY50" fmla="*/ 3389 h 10127"/>
                    <a:gd name="connsiteX51" fmla="*/ 7333 w 10000"/>
                    <a:gd name="connsiteY51" fmla="*/ 3324 h 10127"/>
                    <a:gd name="connsiteX52" fmla="*/ 7000 w 10000"/>
                    <a:gd name="connsiteY52" fmla="*/ 3247 h 10127"/>
                    <a:gd name="connsiteX53" fmla="*/ 7000 w 10000"/>
                    <a:gd name="connsiteY53" fmla="*/ 3247 h 10127"/>
                    <a:gd name="connsiteX54" fmla="*/ 6556 w 10000"/>
                    <a:gd name="connsiteY54" fmla="*/ 3324 h 10127"/>
                    <a:gd name="connsiteX55" fmla="*/ 6222 w 10000"/>
                    <a:gd name="connsiteY55" fmla="*/ 3324 h 10127"/>
                    <a:gd name="connsiteX56" fmla="*/ 6111 w 10000"/>
                    <a:gd name="connsiteY56" fmla="*/ 3247 h 10127"/>
                    <a:gd name="connsiteX57" fmla="*/ 6056 w 10000"/>
                    <a:gd name="connsiteY57" fmla="*/ 3185 h 10127"/>
                    <a:gd name="connsiteX58" fmla="*/ 6056 w 10000"/>
                    <a:gd name="connsiteY58" fmla="*/ 3185 h 10127"/>
                    <a:gd name="connsiteX59" fmla="*/ 6056 w 10000"/>
                    <a:gd name="connsiteY59" fmla="*/ 1943 h 10127"/>
                    <a:gd name="connsiteX60" fmla="*/ 6056 w 10000"/>
                    <a:gd name="connsiteY60" fmla="*/ 1943 h 10127"/>
                    <a:gd name="connsiteX61" fmla="*/ 6056 w 10000"/>
                    <a:gd name="connsiteY61" fmla="*/ 1652 h 10127"/>
                    <a:gd name="connsiteX62" fmla="*/ 5944 w 10000"/>
                    <a:gd name="connsiteY62" fmla="*/ 1308 h 10127"/>
                    <a:gd name="connsiteX63" fmla="*/ 5889 w 10000"/>
                    <a:gd name="connsiteY63" fmla="*/ 1230 h 10127"/>
                    <a:gd name="connsiteX64" fmla="*/ 5778 w 10000"/>
                    <a:gd name="connsiteY64" fmla="*/ 1167 h 10127"/>
                    <a:gd name="connsiteX65" fmla="*/ 5667 w 10000"/>
                    <a:gd name="connsiteY65" fmla="*/ 1167 h 10127"/>
                    <a:gd name="connsiteX66" fmla="*/ 5500 w 10000"/>
                    <a:gd name="connsiteY66" fmla="*/ 1230 h 10127"/>
                    <a:gd name="connsiteX67" fmla="*/ 5500 w 10000"/>
                    <a:gd name="connsiteY67" fmla="*/ 1230 h 10127"/>
                    <a:gd name="connsiteX68" fmla="*/ 4889 w 10000"/>
                    <a:gd name="connsiteY68" fmla="*/ 1726 h 10127"/>
                    <a:gd name="connsiteX69" fmla="*/ 4611 w 10000"/>
                    <a:gd name="connsiteY69" fmla="*/ 1866 h 10127"/>
                    <a:gd name="connsiteX70" fmla="*/ 4556 w 10000"/>
                    <a:gd name="connsiteY70" fmla="*/ 1943 h 10127"/>
                    <a:gd name="connsiteX71" fmla="*/ 4500 w 10000"/>
                    <a:gd name="connsiteY71" fmla="*/ 1866 h 10127"/>
                    <a:gd name="connsiteX72" fmla="*/ 4500 w 10000"/>
                    <a:gd name="connsiteY72" fmla="*/ 1866 h 10127"/>
                    <a:gd name="connsiteX73" fmla="*/ 4111 w 10000"/>
                    <a:gd name="connsiteY73" fmla="*/ 822 h 10127"/>
                    <a:gd name="connsiteX74" fmla="*/ 4111 w 10000"/>
                    <a:gd name="connsiteY74" fmla="*/ 404 h 10127"/>
                    <a:gd name="connsiteX75" fmla="*/ 4111 w 10000"/>
                    <a:gd name="connsiteY75" fmla="*/ 404 h 10127"/>
                    <a:gd name="connsiteX76" fmla="*/ 4195 w 10000"/>
                    <a:gd name="connsiteY76" fmla="*/ 119 h 10127"/>
                    <a:gd name="connsiteX77" fmla="*/ 4213 w 10000"/>
                    <a:gd name="connsiteY77" fmla="*/ 0 h 10127"/>
                    <a:gd name="connsiteX78" fmla="*/ 4000 w 10000"/>
                    <a:gd name="connsiteY78" fmla="*/ 127 h 10127"/>
                    <a:gd name="connsiteX79" fmla="*/ 3722 w 10000"/>
                    <a:gd name="connsiteY79" fmla="*/ 200 h 10127"/>
                    <a:gd name="connsiteX80" fmla="*/ 3611 w 10000"/>
                    <a:gd name="connsiteY80" fmla="*/ 273 h 10127"/>
                    <a:gd name="connsiteX81" fmla="*/ 3556 w 10000"/>
                    <a:gd name="connsiteY81" fmla="*/ 344 h 10127"/>
                    <a:gd name="connsiteX82" fmla="*/ 3556 w 10000"/>
                    <a:gd name="connsiteY82" fmla="*/ 344 h 10127"/>
                    <a:gd name="connsiteX83" fmla="*/ 3444 w 10000"/>
                    <a:gd name="connsiteY83" fmla="*/ 618 h 10127"/>
                    <a:gd name="connsiteX84" fmla="*/ 3278 w 10000"/>
                    <a:gd name="connsiteY84" fmla="*/ 1039 h 10127"/>
                    <a:gd name="connsiteX85" fmla="*/ 3000 w 10000"/>
                    <a:gd name="connsiteY85" fmla="*/ 1516 h 10127"/>
                    <a:gd name="connsiteX86" fmla="*/ 2667 w 10000"/>
                    <a:gd name="connsiteY86" fmla="*/ 1866 h 10127"/>
                    <a:gd name="connsiteX87" fmla="*/ 2667 w 10000"/>
                    <a:gd name="connsiteY87" fmla="*/ 1866 h 10127"/>
                    <a:gd name="connsiteX88" fmla="*/ 2333 w 10000"/>
                    <a:gd name="connsiteY88" fmla="*/ 2152 h 10127"/>
                    <a:gd name="connsiteX89" fmla="*/ 1833 w 10000"/>
                    <a:gd name="connsiteY89" fmla="*/ 2431 h 10127"/>
                    <a:gd name="connsiteX90" fmla="*/ 1389 w 10000"/>
                    <a:gd name="connsiteY90" fmla="*/ 2562 h 10127"/>
                    <a:gd name="connsiteX91" fmla="*/ 889 w 10000"/>
                    <a:gd name="connsiteY91" fmla="*/ 2633 h 10127"/>
                    <a:gd name="connsiteX92" fmla="*/ 889 w 10000"/>
                    <a:gd name="connsiteY92" fmla="*/ 2633 h 10127"/>
                    <a:gd name="connsiteX93" fmla="*/ 500 w 10000"/>
                    <a:gd name="connsiteY93" fmla="*/ 2717 h 10127"/>
                    <a:gd name="connsiteX94" fmla="*/ 222 w 10000"/>
                    <a:gd name="connsiteY94" fmla="*/ 2768 h 10127"/>
                    <a:gd name="connsiteX95" fmla="*/ 0 w 10000"/>
                    <a:gd name="connsiteY95" fmla="*/ 2836 h 10127"/>
                    <a:gd name="connsiteX96" fmla="*/ 0 w 10000"/>
                    <a:gd name="connsiteY96" fmla="*/ 2836 h 10127"/>
                    <a:gd name="connsiteX97" fmla="*/ 278 w 10000"/>
                    <a:gd name="connsiteY97" fmla="*/ 3955 h 10127"/>
                    <a:gd name="connsiteX98" fmla="*/ 500 w 10000"/>
                    <a:gd name="connsiteY98" fmla="*/ 4773 h 10127"/>
                    <a:gd name="connsiteX99" fmla="*/ 722 w 10000"/>
                    <a:gd name="connsiteY99" fmla="*/ 5476 h 10127"/>
                    <a:gd name="connsiteX100" fmla="*/ 722 w 10000"/>
                    <a:gd name="connsiteY100" fmla="*/ 5476 h 10127"/>
                    <a:gd name="connsiteX101" fmla="*/ 889 w 10000"/>
                    <a:gd name="connsiteY101" fmla="*/ 5891 h 10127"/>
                    <a:gd name="connsiteX102" fmla="*/ 944 w 10000"/>
                    <a:gd name="connsiteY102" fmla="*/ 6248 h 10127"/>
                    <a:gd name="connsiteX103" fmla="*/ 1111 w 10000"/>
                    <a:gd name="connsiteY103" fmla="*/ 6598 h 10127"/>
                    <a:gd name="connsiteX104" fmla="*/ 1333 w 10000"/>
                    <a:gd name="connsiteY104" fmla="*/ 7136 h 10127"/>
                    <a:gd name="connsiteX105" fmla="*/ 1333 w 10000"/>
                    <a:gd name="connsiteY105" fmla="*/ 7136 h 10127"/>
                    <a:gd name="connsiteX106" fmla="*/ 1444 w 10000"/>
                    <a:gd name="connsiteY106" fmla="*/ 7417 h 10127"/>
                    <a:gd name="connsiteX107" fmla="*/ 1500 w 10000"/>
                    <a:gd name="connsiteY107" fmla="*/ 7626 h 10127"/>
                    <a:gd name="connsiteX108" fmla="*/ 1500 w 10000"/>
                    <a:gd name="connsiteY108" fmla="*/ 7823 h 10127"/>
                    <a:gd name="connsiteX109" fmla="*/ 1556 w 10000"/>
                    <a:gd name="connsiteY109" fmla="*/ 7911 h 10127"/>
                    <a:gd name="connsiteX110" fmla="*/ 1722 w 10000"/>
                    <a:gd name="connsiteY110" fmla="*/ 7973 h 10127"/>
                    <a:gd name="connsiteX111" fmla="*/ 1944 w 10000"/>
                    <a:gd name="connsiteY111" fmla="*/ 8038 h 10127"/>
                    <a:gd name="connsiteX112" fmla="*/ 2944 w 10000"/>
                    <a:gd name="connsiteY112" fmla="*/ 8115 h 10127"/>
                    <a:gd name="connsiteX113" fmla="*/ 2944 w 10000"/>
                    <a:gd name="connsiteY113" fmla="*/ 8115 h 10127"/>
                    <a:gd name="connsiteX114" fmla="*/ 4167 w 10000"/>
                    <a:gd name="connsiteY114" fmla="*/ 8256 h 10127"/>
                    <a:gd name="connsiteX115" fmla="*/ 4889 w 10000"/>
                    <a:gd name="connsiteY115" fmla="*/ 8452 h 10127"/>
                    <a:gd name="connsiteX116" fmla="*/ 5278 w 10000"/>
                    <a:gd name="connsiteY116" fmla="*/ 8673 h 10127"/>
                    <a:gd name="connsiteX117" fmla="*/ 5444 w 10000"/>
                    <a:gd name="connsiteY117" fmla="*/ 8731 h 10127"/>
                    <a:gd name="connsiteX118" fmla="*/ 5444 w 10000"/>
                    <a:gd name="connsiteY118" fmla="*/ 8731 h 10127"/>
                    <a:gd name="connsiteX119" fmla="*/ 5722 w 10000"/>
                    <a:gd name="connsiteY119" fmla="*/ 8886 h 10127"/>
                    <a:gd name="connsiteX120" fmla="*/ 5833 w 10000"/>
                    <a:gd name="connsiteY120" fmla="*/ 8957 h 10127"/>
                    <a:gd name="connsiteX121" fmla="*/ 5833 w 10000"/>
                    <a:gd name="connsiteY121" fmla="*/ 8957 h 10127"/>
                    <a:gd name="connsiteX122" fmla="*/ 5833 w 10000"/>
                    <a:gd name="connsiteY122" fmla="*/ 8886 h 10127"/>
                    <a:gd name="connsiteX123" fmla="*/ 5889 w 10000"/>
                    <a:gd name="connsiteY123" fmla="*/ 8808 h 10127"/>
                    <a:gd name="connsiteX124" fmla="*/ 6000 w 10000"/>
                    <a:gd name="connsiteY124" fmla="*/ 8731 h 10127"/>
                    <a:gd name="connsiteX125" fmla="*/ 6167 w 10000"/>
                    <a:gd name="connsiteY125" fmla="*/ 8673 h 10127"/>
                    <a:gd name="connsiteX126" fmla="*/ 6444 w 10000"/>
                    <a:gd name="connsiteY126" fmla="*/ 8673 h 10127"/>
                    <a:gd name="connsiteX127" fmla="*/ 6833 w 10000"/>
                    <a:gd name="connsiteY127" fmla="*/ 8731 h 10127"/>
                    <a:gd name="connsiteX128" fmla="*/ 7278 w 10000"/>
                    <a:gd name="connsiteY128" fmla="*/ 8957 h 10127"/>
                    <a:gd name="connsiteX129" fmla="*/ 7278 w 10000"/>
                    <a:gd name="connsiteY129" fmla="*/ 8957 h 10127"/>
                    <a:gd name="connsiteX130" fmla="*/ 8722 w 10000"/>
                    <a:gd name="connsiteY130" fmla="*/ 9563 h 10127"/>
                    <a:gd name="connsiteX131" fmla="*/ 10000 w 10000"/>
                    <a:gd name="connsiteY131" fmla="*/ 10127 h 10127"/>
                    <a:gd name="connsiteX132" fmla="*/ 10000 w 10000"/>
                    <a:gd name="connsiteY13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795 w 10000"/>
                    <a:gd name="connsiteY33" fmla="*/ 1371 h 10127"/>
                    <a:gd name="connsiteX34" fmla="*/ 10000 w 10000"/>
                    <a:gd name="connsiteY34" fmla="*/ 5476 h 10127"/>
                    <a:gd name="connsiteX35" fmla="*/ 10000 w 10000"/>
                    <a:gd name="connsiteY35" fmla="*/ 5476 h 10127"/>
                    <a:gd name="connsiteX36" fmla="*/ 9722 w 10000"/>
                    <a:gd name="connsiteY36" fmla="*/ 5399 h 10127"/>
                    <a:gd name="connsiteX37" fmla="*/ 9389 w 10000"/>
                    <a:gd name="connsiteY37" fmla="*/ 5476 h 10127"/>
                    <a:gd name="connsiteX38" fmla="*/ 9389 w 10000"/>
                    <a:gd name="connsiteY38" fmla="*/ 5476 h 10127"/>
                    <a:gd name="connsiteX39" fmla="*/ 9278 w 10000"/>
                    <a:gd name="connsiteY39" fmla="*/ 5560 h 10127"/>
                    <a:gd name="connsiteX40" fmla="*/ 9056 w 10000"/>
                    <a:gd name="connsiteY40" fmla="*/ 5476 h 10127"/>
                    <a:gd name="connsiteX41" fmla="*/ 8889 w 10000"/>
                    <a:gd name="connsiteY41" fmla="*/ 5399 h 10127"/>
                    <a:gd name="connsiteX42" fmla="*/ 8722 w 10000"/>
                    <a:gd name="connsiteY42" fmla="*/ 5267 h 10127"/>
                    <a:gd name="connsiteX43" fmla="*/ 8611 w 10000"/>
                    <a:gd name="connsiteY43" fmla="*/ 5051 h 10127"/>
                    <a:gd name="connsiteX44" fmla="*/ 8444 w 10000"/>
                    <a:gd name="connsiteY44" fmla="*/ 4703 h 10127"/>
                    <a:gd name="connsiteX45" fmla="*/ 8444 w 10000"/>
                    <a:gd name="connsiteY45" fmla="*/ 4703 h 10127"/>
                    <a:gd name="connsiteX46" fmla="*/ 8222 w 10000"/>
                    <a:gd name="connsiteY46" fmla="*/ 4096 h 10127"/>
                    <a:gd name="connsiteX47" fmla="*/ 8111 w 10000"/>
                    <a:gd name="connsiteY47" fmla="*/ 3816 h 10127"/>
                    <a:gd name="connsiteX48" fmla="*/ 7944 w 10000"/>
                    <a:gd name="connsiteY48" fmla="*/ 3605 h 10127"/>
                    <a:gd name="connsiteX49" fmla="*/ 7778 w 10000"/>
                    <a:gd name="connsiteY49" fmla="*/ 3471 h 10127"/>
                    <a:gd name="connsiteX50" fmla="*/ 7556 w 10000"/>
                    <a:gd name="connsiteY50" fmla="*/ 3389 h 10127"/>
                    <a:gd name="connsiteX51" fmla="*/ 7333 w 10000"/>
                    <a:gd name="connsiteY51" fmla="*/ 3324 h 10127"/>
                    <a:gd name="connsiteX52" fmla="*/ 7000 w 10000"/>
                    <a:gd name="connsiteY52" fmla="*/ 3247 h 10127"/>
                    <a:gd name="connsiteX53" fmla="*/ 7000 w 10000"/>
                    <a:gd name="connsiteY53" fmla="*/ 3247 h 10127"/>
                    <a:gd name="connsiteX54" fmla="*/ 6556 w 10000"/>
                    <a:gd name="connsiteY54" fmla="*/ 3324 h 10127"/>
                    <a:gd name="connsiteX55" fmla="*/ 6222 w 10000"/>
                    <a:gd name="connsiteY55" fmla="*/ 3324 h 10127"/>
                    <a:gd name="connsiteX56" fmla="*/ 6111 w 10000"/>
                    <a:gd name="connsiteY56" fmla="*/ 3247 h 10127"/>
                    <a:gd name="connsiteX57" fmla="*/ 6056 w 10000"/>
                    <a:gd name="connsiteY57" fmla="*/ 3185 h 10127"/>
                    <a:gd name="connsiteX58" fmla="*/ 6056 w 10000"/>
                    <a:gd name="connsiteY58" fmla="*/ 3185 h 10127"/>
                    <a:gd name="connsiteX59" fmla="*/ 6056 w 10000"/>
                    <a:gd name="connsiteY59" fmla="*/ 1943 h 10127"/>
                    <a:gd name="connsiteX60" fmla="*/ 6056 w 10000"/>
                    <a:gd name="connsiteY60" fmla="*/ 1943 h 10127"/>
                    <a:gd name="connsiteX61" fmla="*/ 6056 w 10000"/>
                    <a:gd name="connsiteY61" fmla="*/ 1652 h 10127"/>
                    <a:gd name="connsiteX62" fmla="*/ 5944 w 10000"/>
                    <a:gd name="connsiteY62" fmla="*/ 1308 h 10127"/>
                    <a:gd name="connsiteX63" fmla="*/ 5889 w 10000"/>
                    <a:gd name="connsiteY63" fmla="*/ 1230 h 10127"/>
                    <a:gd name="connsiteX64" fmla="*/ 5778 w 10000"/>
                    <a:gd name="connsiteY64" fmla="*/ 1167 h 10127"/>
                    <a:gd name="connsiteX65" fmla="*/ 5667 w 10000"/>
                    <a:gd name="connsiteY65" fmla="*/ 1167 h 10127"/>
                    <a:gd name="connsiteX66" fmla="*/ 5500 w 10000"/>
                    <a:gd name="connsiteY66" fmla="*/ 1230 h 10127"/>
                    <a:gd name="connsiteX67" fmla="*/ 5500 w 10000"/>
                    <a:gd name="connsiteY67" fmla="*/ 1230 h 10127"/>
                    <a:gd name="connsiteX68" fmla="*/ 4889 w 10000"/>
                    <a:gd name="connsiteY68" fmla="*/ 1726 h 10127"/>
                    <a:gd name="connsiteX69" fmla="*/ 4611 w 10000"/>
                    <a:gd name="connsiteY69" fmla="*/ 1866 h 10127"/>
                    <a:gd name="connsiteX70" fmla="*/ 4556 w 10000"/>
                    <a:gd name="connsiteY70" fmla="*/ 1943 h 10127"/>
                    <a:gd name="connsiteX71" fmla="*/ 4500 w 10000"/>
                    <a:gd name="connsiteY71" fmla="*/ 1866 h 10127"/>
                    <a:gd name="connsiteX72" fmla="*/ 4500 w 10000"/>
                    <a:gd name="connsiteY72" fmla="*/ 1866 h 10127"/>
                    <a:gd name="connsiteX73" fmla="*/ 4111 w 10000"/>
                    <a:gd name="connsiteY73" fmla="*/ 822 h 10127"/>
                    <a:gd name="connsiteX74" fmla="*/ 4111 w 10000"/>
                    <a:gd name="connsiteY74" fmla="*/ 404 h 10127"/>
                    <a:gd name="connsiteX75" fmla="*/ 4111 w 10000"/>
                    <a:gd name="connsiteY75" fmla="*/ 404 h 10127"/>
                    <a:gd name="connsiteX76" fmla="*/ 4195 w 10000"/>
                    <a:gd name="connsiteY76" fmla="*/ 119 h 10127"/>
                    <a:gd name="connsiteX77" fmla="*/ 4213 w 10000"/>
                    <a:gd name="connsiteY77" fmla="*/ 0 h 10127"/>
                    <a:gd name="connsiteX78" fmla="*/ 4000 w 10000"/>
                    <a:gd name="connsiteY78" fmla="*/ 127 h 10127"/>
                    <a:gd name="connsiteX79" fmla="*/ 3722 w 10000"/>
                    <a:gd name="connsiteY79" fmla="*/ 200 h 10127"/>
                    <a:gd name="connsiteX80" fmla="*/ 3611 w 10000"/>
                    <a:gd name="connsiteY80" fmla="*/ 273 h 10127"/>
                    <a:gd name="connsiteX81" fmla="*/ 3556 w 10000"/>
                    <a:gd name="connsiteY81" fmla="*/ 344 h 10127"/>
                    <a:gd name="connsiteX82" fmla="*/ 3556 w 10000"/>
                    <a:gd name="connsiteY82" fmla="*/ 344 h 10127"/>
                    <a:gd name="connsiteX83" fmla="*/ 3444 w 10000"/>
                    <a:gd name="connsiteY83" fmla="*/ 618 h 10127"/>
                    <a:gd name="connsiteX84" fmla="*/ 3278 w 10000"/>
                    <a:gd name="connsiteY84" fmla="*/ 1039 h 10127"/>
                    <a:gd name="connsiteX85" fmla="*/ 3000 w 10000"/>
                    <a:gd name="connsiteY85" fmla="*/ 1516 h 10127"/>
                    <a:gd name="connsiteX86" fmla="*/ 2667 w 10000"/>
                    <a:gd name="connsiteY86" fmla="*/ 1866 h 10127"/>
                    <a:gd name="connsiteX87" fmla="*/ 2667 w 10000"/>
                    <a:gd name="connsiteY87" fmla="*/ 1866 h 10127"/>
                    <a:gd name="connsiteX88" fmla="*/ 2333 w 10000"/>
                    <a:gd name="connsiteY88" fmla="*/ 2152 h 10127"/>
                    <a:gd name="connsiteX89" fmla="*/ 1833 w 10000"/>
                    <a:gd name="connsiteY89" fmla="*/ 2431 h 10127"/>
                    <a:gd name="connsiteX90" fmla="*/ 1389 w 10000"/>
                    <a:gd name="connsiteY90" fmla="*/ 2562 h 10127"/>
                    <a:gd name="connsiteX91" fmla="*/ 889 w 10000"/>
                    <a:gd name="connsiteY91" fmla="*/ 2633 h 10127"/>
                    <a:gd name="connsiteX92" fmla="*/ 889 w 10000"/>
                    <a:gd name="connsiteY92" fmla="*/ 2633 h 10127"/>
                    <a:gd name="connsiteX93" fmla="*/ 500 w 10000"/>
                    <a:gd name="connsiteY93" fmla="*/ 2717 h 10127"/>
                    <a:gd name="connsiteX94" fmla="*/ 222 w 10000"/>
                    <a:gd name="connsiteY94" fmla="*/ 2768 h 10127"/>
                    <a:gd name="connsiteX95" fmla="*/ 0 w 10000"/>
                    <a:gd name="connsiteY95" fmla="*/ 2836 h 10127"/>
                    <a:gd name="connsiteX96" fmla="*/ 0 w 10000"/>
                    <a:gd name="connsiteY96" fmla="*/ 2836 h 10127"/>
                    <a:gd name="connsiteX97" fmla="*/ 278 w 10000"/>
                    <a:gd name="connsiteY97" fmla="*/ 3955 h 10127"/>
                    <a:gd name="connsiteX98" fmla="*/ 500 w 10000"/>
                    <a:gd name="connsiteY98" fmla="*/ 4773 h 10127"/>
                    <a:gd name="connsiteX99" fmla="*/ 722 w 10000"/>
                    <a:gd name="connsiteY99" fmla="*/ 5476 h 10127"/>
                    <a:gd name="connsiteX100" fmla="*/ 722 w 10000"/>
                    <a:gd name="connsiteY100" fmla="*/ 5476 h 10127"/>
                    <a:gd name="connsiteX101" fmla="*/ 889 w 10000"/>
                    <a:gd name="connsiteY101" fmla="*/ 5891 h 10127"/>
                    <a:gd name="connsiteX102" fmla="*/ 944 w 10000"/>
                    <a:gd name="connsiteY102" fmla="*/ 6248 h 10127"/>
                    <a:gd name="connsiteX103" fmla="*/ 1111 w 10000"/>
                    <a:gd name="connsiteY103" fmla="*/ 6598 h 10127"/>
                    <a:gd name="connsiteX104" fmla="*/ 1333 w 10000"/>
                    <a:gd name="connsiteY104" fmla="*/ 7136 h 10127"/>
                    <a:gd name="connsiteX105" fmla="*/ 1333 w 10000"/>
                    <a:gd name="connsiteY105" fmla="*/ 7136 h 10127"/>
                    <a:gd name="connsiteX106" fmla="*/ 1444 w 10000"/>
                    <a:gd name="connsiteY106" fmla="*/ 7417 h 10127"/>
                    <a:gd name="connsiteX107" fmla="*/ 1500 w 10000"/>
                    <a:gd name="connsiteY107" fmla="*/ 7626 h 10127"/>
                    <a:gd name="connsiteX108" fmla="*/ 1500 w 10000"/>
                    <a:gd name="connsiteY108" fmla="*/ 7823 h 10127"/>
                    <a:gd name="connsiteX109" fmla="*/ 1556 w 10000"/>
                    <a:gd name="connsiteY109" fmla="*/ 7911 h 10127"/>
                    <a:gd name="connsiteX110" fmla="*/ 1722 w 10000"/>
                    <a:gd name="connsiteY110" fmla="*/ 7973 h 10127"/>
                    <a:gd name="connsiteX111" fmla="*/ 1944 w 10000"/>
                    <a:gd name="connsiteY111" fmla="*/ 8038 h 10127"/>
                    <a:gd name="connsiteX112" fmla="*/ 2944 w 10000"/>
                    <a:gd name="connsiteY112" fmla="*/ 8115 h 10127"/>
                    <a:gd name="connsiteX113" fmla="*/ 2944 w 10000"/>
                    <a:gd name="connsiteY113" fmla="*/ 8115 h 10127"/>
                    <a:gd name="connsiteX114" fmla="*/ 4167 w 10000"/>
                    <a:gd name="connsiteY114" fmla="*/ 8256 h 10127"/>
                    <a:gd name="connsiteX115" fmla="*/ 4889 w 10000"/>
                    <a:gd name="connsiteY115" fmla="*/ 8452 h 10127"/>
                    <a:gd name="connsiteX116" fmla="*/ 5278 w 10000"/>
                    <a:gd name="connsiteY116" fmla="*/ 8673 h 10127"/>
                    <a:gd name="connsiteX117" fmla="*/ 5444 w 10000"/>
                    <a:gd name="connsiteY117" fmla="*/ 8731 h 10127"/>
                    <a:gd name="connsiteX118" fmla="*/ 5444 w 10000"/>
                    <a:gd name="connsiteY118" fmla="*/ 8731 h 10127"/>
                    <a:gd name="connsiteX119" fmla="*/ 5722 w 10000"/>
                    <a:gd name="connsiteY119" fmla="*/ 8886 h 10127"/>
                    <a:gd name="connsiteX120" fmla="*/ 5833 w 10000"/>
                    <a:gd name="connsiteY120" fmla="*/ 8957 h 10127"/>
                    <a:gd name="connsiteX121" fmla="*/ 5833 w 10000"/>
                    <a:gd name="connsiteY121" fmla="*/ 8957 h 10127"/>
                    <a:gd name="connsiteX122" fmla="*/ 5833 w 10000"/>
                    <a:gd name="connsiteY122" fmla="*/ 8886 h 10127"/>
                    <a:gd name="connsiteX123" fmla="*/ 5889 w 10000"/>
                    <a:gd name="connsiteY123" fmla="*/ 8808 h 10127"/>
                    <a:gd name="connsiteX124" fmla="*/ 6000 w 10000"/>
                    <a:gd name="connsiteY124" fmla="*/ 8731 h 10127"/>
                    <a:gd name="connsiteX125" fmla="*/ 6167 w 10000"/>
                    <a:gd name="connsiteY125" fmla="*/ 8673 h 10127"/>
                    <a:gd name="connsiteX126" fmla="*/ 6444 w 10000"/>
                    <a:gd name="connsiteY126" fmla="*/ 8673 h 10127"/>
                    <a:gd name="connsiteX127" fmla="*/ 6833 w 10000"/>
                    <a:gd name="connsiteY127" fmla="*/ 8731 h 10127"/>
                    <a:gd name="connsiteX128" fmla="*/ 7278 w 10000"/>
                    <a:gd name="connsiteY128" fmla="*/ 8957 h 10127"/>
                    <a:gd name="connsiteX129" fmla="*/ 7278 w 10000"/>
                    <a:gd name="connsiteY129" fmla="*/ 8957 h 10127"/>
                    <a:gd name="connsiteX130" fmla="*/ 8722 w 10000"/>
                    <a:gd name="connsiteY130" fmla="*/ 9563 h 10127"/>
                    <a:gd name="connsiteX131" fmla="*/ 10000 w 10000"/>
                    <a:gd name="connsiteY131" fmla="*/ 10127 h 10127"/>
                    <a:gd name="connsiteX132" fmla="*/ 10000 w 10000"/>
                    <a:gd name="connsiteY13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10000 w 10000"/>
                    <a:gd name="connsiteY33" fmla="*/ 5476 h 10127"/>
                    <a:gd name="connsiteX34" fmla="*/ 10000 w 10000"/>
                    <a:gd name="connsiteY34" fmla="*/ 5476 h 10127"/>
                    <a:gd name="connsiteX35" fmla="*/ 9722 w 10000"/>
                    <a:gd name="connsiteY35" fmla="*/ 5399 h 10127"/>
                    <a:gd name="connsiteX36" fmla="*/ 9389 w 10000"/>
                    <a:gd name="connsiteY36" fmla="*/ 5476 h 10127"/>
                    <a:gd name="connsiteX37" fmla="*/ 9389 w 10000"/>
                    <a:gd name="connsiteY37" fmla="*/ 5476 h 10127"/>
                    <a:gd name="connsiteX38" fmla="*/ 9278 w 10000"/>
                    <a:gd name="connsiteY38" fmla="*/ 5560 h 10127"/>
                    <a:gd name="connsiteX39" fmla="*/ 9056 w 10000"/>
                    <a:gd name="connsiteY39" fmla="*/ 5476 h 10127"/>
                    <a:gd name="connsiteX40" fmla="*/ 8889 w 10000"/>
                    <a:gd name="connsiteY40" fmla="*/ 5399 h 10127"/>
                    <a:gd name="connsiteX41" fmla="*/ 8722 w 10000"/>
                    <a:gd name="connsiteY41" fmla="*/ 5267 h 10127"/>
                    <a:gd name="connsiteX42" fmla="*/ 8611 w 10000"/>
                    <a:gd name="connsiteY42" fmla="*/ 5051 h 10127"/>
                    <a:gd name="connsiteX43" fmla="*/ 8444 w 10000"/>
                    <a:gd name="connsiteY43" fmla="*/ 4703 h 10127"/>
                    <a:gd name="connsiteX44" fmla="*/ 8444 w 10000"/>
                    <a:gd name="connsiteY44" fmla="*/ 4703 h 10127"/>
                    <a:gd name="connsiteX45" fmla="*/ 8222 w 10000"/>
                    <a:gd name="connsiteY45" fmla="*/ 4096 h 10127"/>
                    <a:gd name="connsiteX46" fmla="*/ 8111 w 10000"/>
                    <a:gd name="connsiteY46" fmla="*/ 3816 h 10127"/>
                    <a:gd name="connsiteX47" fmla="*/ 7944 w 10000"/>
                    <a:gd name="connsiteY47" fmla="*/ 3605 h 10127"/>
                    <a:gd name="connsiteX48" fmla="*/ 7778 w 10000"/>
                    <a:gd name="connsiteY48" fmla="*/ 3471 h 10127"/>
                    <a:gd name="connsiteX49" fmla="*/ 7556 w 10000"/>
                    <a:gd name="connsiteY49" fmla="*/ 3389 h 10127"/>
                    <a:gd name="connsiteX50" fmla="*/ 7333 w 10000"/>
                    <a:gd name="connsiteY50" fmla="*/ 3324 h 10127"/>
                    <a:gd name="connsiteX51" fmla="*/ 7000 w 10000"/>
                    <a:gd name="connsiteY51" fmla="*/ 3247 h 10127"/>
                    <a:gd name="connsiteX52" fmla="*/ 7000 w 10000"/>
                    <a:gd name="connsiteY52" fmla="*/ 3247 h 10127"/>
                    <a:gd name="connsiteX53" fmla="*/ 6556 w 10000"/>
                    <a:gd name="connsiteY53" fmla="*/ 3324 h 10127"/>
                    <a:gd name="connsiteX54" fmla="*/ 6222 w 10000"/>
                    <a:gd name="connsiteY54" fmla="*/ 3324 h 10127"/>
                    <a:gd name="connsiteX55" fmla="*/ 6111 w 10000"/>
                    <a:gd name="connsiteY55" fmla="*/ 3247 h 10127"/>
                    <a:gd name="connsiteX56" fmla="*/ 6056 w 10000"/>
                    <a:gd name="connsiteY56" fmla="*/ 3185 h 10127"/>
                    <a:gd name="connsiteX57" fmla="*/ 6056 w 10000"/>
                    <a:gd name="connsiteY57" fmla="*/ 3185 h 10127"/>
                    <a:gd name="connsiteX58" fmla="*/ 6056 w 10000"/>
                    <a:gd name="connsiteY58" fmla="*/ 1943 h 10127"/>
                    <a:gd name="connsiteX59" fmla="*/ 6056 w 10000"/>
                    <a:gd name="connsiteY59" fmla="*/ 1943 h 10127"/>
                    <a:gd name="connsiteX60" fmla="*/ 6056 w 10000"/>
                    <a:gd name="connsiteY60" fmla="*/ 1652 h 10127"/>
                    <a:gd name="connsiteX61" fmla="*/ 5944 w 10000"/>
                    <a:gd name="connsiteY61" fmla="*/ 1308 h 10127"/>
                    <a:gd name="connsiteX62" fmla="*/ 5889 w 10000"/>
                    <a:gd name="connsiteY62" fmla="*/ 1230 h 10127"/>
                    <a:gd name="connsiteX63" fmla="*/ 5778 w 10000"/>
                    <a:gd name="connsiteY63" fmla="*/ 1167 h 10127"/>
                    <a:gd name="connsiteX64" fmla="*/ 5667 w 10000"/>
                    <a:gd name="connsiteY64" fmla="*/ 1167 h 10127"/>
                    <a:gd name="connsiteX65" fmla="*/ 5500 w 10000"/>
                    <a:gd name="connsiteY65" fmla="*/ 1230 h 10127"/>
                    <a:gd name="connsiteX66" fmla="*/ 5500 w 10000"/>
                    <a:gd name="connsiteY66" fmla="*/ 1230 h 10127"/>
                    <a:gd name="connsiteX67" fmla="*/ 4889 w 10000"/>
                    <a:gd name="connsiteY67" fmla="*/ 1726 h 10127"/>
                    <a:gd name="connsiteX68" fmla="*/ 4611 w 10000"/>
                    <a:gd name="connsiteY68" fmla="*/ 1866 h 10127"/>
                    <a:gd name="connsiteX69" fmla="*/ 4556 w 10000"/>
                    <a:gd name="connsiteY69" fmla="*/ 1943 h 10127"/>
                    <a:gd name="connsiteX70" fmla="*/ 4500 w 10000"/>
                    <a:gd name="connsiteY70" fmla="*/ 1866 h 10127"/>
                    <a:gd name="connsiteX71" fmla="*/ 4500 w 10000"/>
                    <a:gd name="connsiteY71" fmla="*/ 1866 h 10127"/>
                    <a:gd name="connsiteX72" fmla="*/ 4111 w 10000"/>
                    <a:gd name="connsiteY72" fmla="*/ 822 h 10127"/>
                    <a:gd name="connsiteX73" fmla="*/ 4111 w 10000"/>
                    <a:gd name="connsiteY73" fmla="*/ 404 h 10127"/>
                    <a:gd name="connsiteX74" fmla="*/ 4111 w 10000"/>
                    <a:gd name="connsiteY74" fmla="*/ 404 h 10127"/>
                    <a:gd name="connsiteX75" fmla="*/ 4195 w 10000"/>
                    <a:gd name="connsiteY75" fmla="*/ 119 h 10127"/>
                    <a:gd name="connsiteX76" fmla="*/ 4213 w 10000"/>
                    <a:gd name="connsiteY76" fmla="*/ 0 h 10127"/>
                    <a:gd name="connsiteX77" fmla="*/ 4000 w 10000"/>
                    <a:gd name="connsiteY77" fmla="*/ 127 h 10127"/>
                    <a:gd name="connsiteX78" fmla="*/ 3722 w 10000"/>
                    <a:gd name="connsiteY78" fmla="*/ 200 h 10127"/>
                    <a:gd name="connsiteX79" fmla="*/ 3611 w 10000"/>
                    <a:gd name="connsiteY79" fmla="*/ 273 h 10127"/>
                    <a:gd name="connsiteX80" fmla="*/ 3556 w 10000"/>
                    <a:gd name="connsiteY80" fmla="*/ 344 h 10127"/>
                    <a:gd name="connsiteX81" fmla="*/ 3556 w 10000"/>
                    <a:gd name="connsiteY81" fmla="*/ 344 h 10127"/>
                    <a:gd name="connsiteX82" fmla="*/ 3444 w 10000"/>
                    <a:gd name="connsiteY82" fmla="*/ 618 h 10127"/>
                    <a:gd name="connsiteX83" fmla="*/ 3278 w 10000"/>
                    <a:gd name="connsiteY83" fmla="*/ 1039 h 10127"/>
                    <a:gd name="connsiteX84" fmla="*/ 3000 w 10000"/>
                    <a:gd name="connsiteY84" fmla="*/ 1516 h 10127"/>
                    <a:gd name="connsiteX85" fmla="*/ 2667 w 10000"/>
                    <a:gd name="connsiteY85" fmla="*/ 1866 h 10127"/>
                    <a:gd name="connsiteX86" fmla="*/ 2667 w 10000"/>
                    <a:gd name="connsiteY86" fmla="*/ 1866 h 10127"/>
                    <a:gd name="connsiteX87" fmla="*/ 2333 w 10000"/>
                    <a:gd name="connsiteY87" fmla="*/ 2152 h 10127"/>
                    <a:gd name="connsiteX88" fmla="*/ 1833 w 10000"/>
                    <a:gd name="connsiteY88" fmla="*/ 2431 h 10127"/>
                    <a:gd name="connsiteX89" fmla="*/ 1389 w 10000"/>
                    <a:gd name="connsiteY89" fmla="*/ 2562 h 10127"/>
                    <a:gd name="connsiteX90" fmla="*/ 889 w 10000"/>
                    <a:gd name="connsiteY90" fmla="*/ 2633 h 10127"/>
                    <a:gd name="connsiteX91" fmla="*/ 889 w 10000"/>
                    <a:gd name="connsiteY91" fmla="*/ 2633 h 10127"/>
                    <a:gd name="connsiteX92" fmla="*/ 500 w 10000"/>
                    <a:gd name="connsiteY92" fmla="*/ 2717 h 10127"/>
                    <a:gd name="connsiteX93" fmla="*/ 222 w 10000"/>
                    <a:gd name="connsiteY93" fmla="*/ 2768 h 10127"/>
                    <a:gd name="connsiteX94" fmla="*/ 0 w 10000"/>
                    <a:gd name="connsiteY94" fmla="*/ 2836 h 10127"/>
                    <a:gd name="connsiteX95" fmla="*/ 0 w 10000"/>
                    <a:gd name="connsiteY95" fmla="*/ 2836 h 10127"/>
                    <a:gd name="connsiteX96" fmla="*/ 278 w 10000"/>
                    <a:gd name="connsiteY96" fmla="*/ 3955 h 10127"/>
                    <a:gd name="connsiteX97" fmla="*/ 500 w 10000"/>
                    <a:gd name="connsiteY97" fmla="*/ 4773 h 10127"/>
                    <a:gd name="connsiteX98" fmla="*/ 722 w 10000"/>
                    <a:gd name="connsiteY98" fmla="*/ 5476 h 10127"/>
                    <a:gd name="connsiteX99" fmla="*/ 722 w 10000"/>
                    <a:gd name="connsiteY99" fmla="*/ 5476 h 10127"/>
                    <a:gd name="connsiteX100" fmla="*/ 889 w 10000"/>
                    <a:gd name="connsiteY100" fmla="*/ 5891 h 10127"/>
                    <a:gd name="connsiteX101" fmla="*/ 944 w 10000"/>
                    <a:gd name="connsiteY101" fmla="*/ 6248 h 10127"/>
                    <a:gd name="connsiteX102" fmla="*/ 1111 w 10000"/>
                    <a:gd name="connsiteY102" fmla="*/ 6598 h 10127"/>
                    <a:gd name="connsiteX103" fmla="*/ 1333 w 10000"/>
                    <a:gd name="connsiteY103" fmla="*/ 7136 h 10127"/>
                    <a:gd name="connsiteX104" fmla="*/ 1333 w 10000"/>
                    <a:gd name="connsiteY104" fmla="*/ 7136 h 10127"/>
                    <a:gd name="connsiteX105" fmla="*/ 1444 w 10000"/>
                    <a:gd name="connsiteY105" fmla="*/ 7417 h 10127"/>
                    <a:gd name="connsiteX106" fmla="*/ 1500 w 10000"/>
                    <a:gd name="connsiteY106" fmla="*/ 7626 h 10127"/>
                    <a:gd name="connsiteX107" fmla="*/ 1500 w 10000"/>
                    <a:gd name="connsiteY107" fmla="*/ 7823 h 10127"/>
                    <a:gd name="connsiteX108" fmla="*/ 1556 w 10000"/>
                    <a:gd name="connsiteY108" fmla="*/ 7911 h 10127"/>
                    <a:gd name="connsiteX109" fmla="*/ 1722 w 10000"/>
                    <a:gd name="connsiteY109" fmla="*/ 7973 h 10127"/>
                    <a:gd name="connsiteX110" fmla="*/ 1944 w 10000"/>
                    <a:gd name="connsiteY110" fmla="*/ 8038 h 10127"/>
                    <a:gd name="connsiteX111" fmla="*/ 2944 w 10000"/>
                    <a:gd name="connsiteY111" fmla="*/ 8115 h 10127"/>
                    <a:gd name="connsiteX112" fmla="*/ 2944 w 10000"/>
                    <a:gd name="connsiteY112" fmla="*/ 8115 h 10127"/>
                    <a:gd name="connsiteX113" fmla="*/ 4167 w 10000"/>
                    <a:gd name="connsiteY113" fmla="*/ 8256 h 10127"/>
                    <a:gd name="connsiteX114" fmla="*/ 4889 w 10000"/>
                    <a:gd name="connsiteY114" fmla="*/ 8452 h 10127"/>
                    <a:gd name="connsiteX115" fmla="*/ 5278 w 10000"/>
                    <a:gd name="connsiteY115" fmla="*/ 8673 h 10127"/>
                    <a:gd name="connsiteX116" fmla="*/ 5444 w 10000"/>
                    <a:gd name="connsiteY116" fmla="*/ 8731 h 10127"/>
                    <a:gd name="connsiteX117" fmla="*/ 5444 w 10000"/>
                    <a:gd name="connsiteY117" fmla="*/ 8731 h 10127"/>
                    <a:gd name="connsiteX118" fmla="*/ 5722 w 10000"/>
                    <a:gd name="connsiteY118" fmla="*/ 8886 h 10127"/>
                    <a:gd name="connsiteX119" fmla="*/ 5833 w 10000"/>
                    <a:gd name="connsiteY119" fmla="*/ 8957 h 10127"/>
                    <a:gd name="connsiteX120" fmla="*/ 5833 w 10000"/>
                    <a:gd name="connsiteY120" fmla="*/ 8957 h 10127"/>
                    <a:gd name="connsiteX121" fmla="*/ 5833 w 10000"/>
                    <a:gd name="connsiteY121" fmla="*/ 8886 h 10127"/>
                    <a:gd name="connsiteX122" fmla="*/ 5889 w 10000"/>
                    <a:gd name="connsiteY122" fmla="*/ 8808 h 10127"/>
                    <a:gd name="connsiteX123" fmla="*/ 6000 w 10000"/>
                    <a:gd name="connsiteY123" fmla="*/ 8731 h 10127"/>
                    <a:gd name="connsiteX124" fmla="*/ 6167 w 10000"/>
                    <a:gd name="connsiteY124" fmla="*/ 8673 h 10127"/>
                    <a:gd name="connsiteX125" fmla="*/ 6444 w 10000"/>
                    <a:gd name="connsiteY125" fmla="*/ 8673 h 10127"/>
                    <a:gd name="connsiteX126" fmla="*/ 6833 w 10000"/>
                    <a:gd name="connsiteY126" fmla="*/ 8731 h 10127"/>
                    <a:gd name="connsiteX127" fmla="*/ 7278 w 10000"/>
                    <a:gd name="connsiteY127" fmla="*/ 8957 h 10127"/>
                    <a:gd name="connsiteX128" fmla="*/ 7278 w 10000"/>
                    <a:gd name="connsiteY128" fmla="*/ 8957 h 10127"/>
                    <a:gd name="connsiteX129" fmla="*/ 8722 w 10000"/>
                    <a:gd name="connsiteY129" fmla="*/ 9563 h 10127"/>
                    <a:gd name="connsiteX130" fmla="*/ 10000 w 10000"/>
                    <a:gd name="connsiteY130" fmla="*/ 10127 h 10127"/>
                    <a:gd name="connsiteX131" fmla="*/ 10000 w 10000"/>
                    <a:gd name="connsiteY131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10000 w 10000"/>
                    <a:gd name="connsiteY33" fmla="*/ 5476 h 10127"/>
                    <a:gd name="connsiteX34" fmla="*/ 9722 w 10000"/>
                    <a:gd name="connsiteY34" fmla="*/ 5399 h 10127"/>
                    <a:gd name="connsiteX35" fmla="*/ 9389 w 10000"/>
                    <a:gd name="connsiteY35" fmla="*/ 5476 h 10127"/>
                    <a:gd name="connsiteX36" fmla="*/ 9389 w 10000"/>
                    <a:gd name="connsiteY36" fmla="*/ 5476 h 10127"/>
                    <a:gd name="connsiteX37" fmla="*/ 9278 w 10000"/>
                    <a:gd name="connsiteY37" fmla="*/ 5560 h 10127"/>
                    <a:gd name="connsiteX38" fmla="*/ 9056 w 10000"/>
                    <a:gd name="connsiteY38" fmla="*/ 5476 h 10127"/>
                    <a:gd name="connsiteX39" fmla="*/ 8889 w 10000"/>
                    <a:gd name="connsiteY39" fmla="*/ 5399 h 10127"/>
                    <a:gd name="connsiteX40" fmla="*/ 8722 w 10000"/>
                    <a:gd name="connsiteY40" fmla="*/ 5267 h 10127"/>
                    <a:gd name="connsiteX41" fmla="*/ 8611 w 10000"/>
                    <a:gd name="connsiteY41" fmla="*/ 5051 h 10127"/>
                    <a:gd name="connsiteX42" fmla="*/ 8444 w 10000"/>
                    <a:gd name="connsiteY42" fmla="*/ 4703 h 10127"/>
                    <a:gd name="connsiteX43" fmla="*/ 8444 w 10000"/>
                    <a:gd name="connsiteY43" fmla="*/ 4703 h 10127"/>
                    <a:gd name="connsiteX44" fmla="*/ 8222 w 10000"/>
                    <a:gd name="connsiteY44" fmla="*/ 4096 h 10127"/>
                    <a:gd name="connsiteX45" fmla="*/ 8111 w 10000"/>
                    <a:gd name="connsiteY45" fmla="*/ 3816 h 10127"/>
                    <a:gd name="connsiteX46" fmla="*/ 7944 w 10000"/>
                    <a:gd name="connsiteY46" fmla="*/ 3605 h 10127"/>
                    <a:gd name="connsiteX47" fmla="*/ 7778 w 10000"/>
                    <a:gd name="connsiteY47" fmla="*/ 3471 h 10127"/>
                    <a:gd name="connsiteX48" fmla="*/ 7556 w 10000"/>
                    <a:gd name="connsiteY48" fmla="*/ 3389 h 10127"/>
                    <a:gd name="connsiteX49" fmla="*/ 7333 w 10000"/>
                    <a:gd name="connsiteY49" fmla="*/ 3324 h 10127"/>
                    <a:gd name="connsiteX50" fmla="*/ 7000 w 10000"/>
                    <a:gd name="connsiteY50" fmla="*/ 3247 h 10127"/>
                    <a:gd name="connsiteX51" fmla="*/ 7000 w 10000"/>
                    <a:gd name="connsiteY51" fmla="*/ 3247 h 10127"/>
                    <a:gd name="connsiteX52" fmla="*/ 6556 w 10000"/>
                    <a:gd name="connsiteY52" fmla="*/ 3324 h 10127"/>
                    <a:gd name="connsiteX53" fmla="*/ 6222 w 10000"/>
                    <a:gd name="connsiteY53" fmla="*/ 3324 h 10127"/>
                    <a:gd name="connsiteX54" fmla="*/ 6111 w 10000"/>
                    <a:gd name="connsiteY54" fmla="*/ 3247 h 10127"/>
                    <a:gd name="connsiteX55" fmla="*/ 6056 w 10000"/>
                    <a:gd name="connsiteY55" fmla="*/ 3185 h 10127"/>
                    <a:gd name="connsiteX56" fmla="*/ 6056 w 10000"/>
                    <a:gd name="connsiteY56" fmla="*/ 3185 h 10127"/>
                    <a:gd name="connsiteX57" fmla="*/ 6056 w 10000"/>
                    <a:gd name="connsiteY57" fmla="*/ 1943 h 10127"/>
                    <a:gd name="connsiteX58" fmla="*/ 6056 w 10000"/>
                    <a:gd name="connsiteY58" fmla="*/ 1943 h 10127"/>
                    <a:gd name="connsiteX59" fmla="*/ 6056 w 10000"/>
                    <a:gd name="connsiteY59" fmla="*/ 1652 h 10127"/>
                    <a:gd name="connsiteX60" fmla="*/ 5944 w 10000"/>
                    <a:gd name="connsiteY60" fmla="*/ 1308 h 10127"/>
                    <a:gd name="connsiteX61" fmla="*/ 5889 w 10000"/>
                    <a:gd name="connsiteY61" fmla="*/ 1230 h 10127"/>
                    <a:gd name="connsiteX62" fmla="*/ 5778 w 10000"/>
                    <a:gd name="connsiteY62" fmla="*/ 1167 h 10127"/>
                    <a:gd name="connsiteX63" fmla="*/ 5667 w 10000"/>
                    <a:gd name="connsiteY63" fmla="*/ 1167 h 10127"/>
                    <a:gd name="connsiteX64" fmla="*/ 5500 w 10000"/>
                    <a:gd name="connsiteY64" fmla="*/ 1230 h 10127"/>
                    <a:gd name="connsiteX65" fmla="*/ 5500 w 10000"/>
                    <a:gd name="connsiteY65" fmla="*/ 1230 h 10127"/>
                    <a:gd name="connsiteX66" fmla="*/ 4889 w 10000"/>
                    <a:gd name="connsiteY66" fmla="*/ 1726 h 10127"/>
                    <a:gd name="connsiteX67" fmla="*/ 4611 w 10000"/>
                    <a:gd name="connsiteY67" fmla="*/ 1866 h 10127"/>
                    <a:gd name="connsiteX68" fmla="*/ 4556 w 10000"/>
                    <a:gd name="connsiteY68" fmla="*/ 1943 h 10127"/>
                    <a:gd name="connsiteX69" fmla="*/ 4500 w 10000"/>
                    <a:gd name="connsiteY69" fmla="*/ 1866 h 10127"/>
                    <a:gd name="connsiteX70" fmla="*/ 4500 w 10000"/>
                    <a:gd name="connsiteY70" fmla="*/ 1866 h 10127"/>
                    <a:gd name="connsiteX71" fmla="*/ 4111 w 10000"/>
                    <a:gd name="connsiteY71" fmla="*/ 822 h 10127"/>
                    <a:gd name="connsiteX72" fmla="*/ 4111 w 10000"/>
                    <a:gd name="connsiteY72" fmla="*/ 404 h 10127"/>
                    <a:gd name="connsiteX73" fmla="*/ 4111 w 10000"/>
                    <a:gd name="connsiteY73" fmla="*/ 404 h 10127"/>
                    <a:gd name="connsiteX74" fmla="*/ 4195 w 10000"/>
                    <a:gd name="connsiteY74" fmla="*/ 119 h 10127"/>
                    <a:gd name="connsiteX75" fmla="*/ 4213 w 10000"/>
                    <a:gd name="connsiteY75" fmla="*/ 0 h 10127"/>
                    <a:gd name="connsiteX76" fmla="*/ 4000 w 10000"/>
                    <a:gd name="connsiteY76" fmla="*/ 127 h 10127"/>
                    <a:gd name="connsiteX77" fmla="*/ 3722 w 10000"/>
                    <a:gd name="connsiteY77" fmla="*/ 200 h 10127"/>
                    <a:gd name="connsiteX78" fmla="*/ 3611 w 10000"/>
                    <a:gd name="connsiteY78" fmla="*/ 273 h 10127"/>
                    <a:gd name="connsiteX79" fmla="*/ 3556 w 10000"/>
                    <a:gd name="connsiteY79" fmla="*/ 344 h 10127"/>
                    <a:gd name="connsiteX80" fmla="*/ 3556 w 10000"/>
                    <a:gd name="connsiteY80" fmla="*/ 344 h 10127"/>
                    <a:gd name="connsiteX81" fmla="*/ 3444 w 10000"/>
                    <a:gd name="connsiteY81" fmla="*/ 618 h 10127"/>
                    <a:gd name="connsiteX82" fmla="*/ 3278 w 10000"/>
                    <a:gd name="connsiteY82" fmla="*/ 1039 h 10127"/>
                    <a:gd name="connsiteX83" fmla="*/ 3000 w 10000"/>
                    <a:gd name="connsiteY83" fmla="*/ 1516 h 10127"/>
                    <a:gd name="connsiteX84" fmla="*/ 2667 w 10000"/>
                    <a:gd name="connsiteY84" fmla="*/ 1866 h 10127"/>
                    <a:gd name="connsiteX85" fmla="*/ 2667 w 10000"/>
                    <a:gd name="connsiteY85" fmla="*/ 1866 h 10127"/>
                    <a:gd name="connsiteX86" fmla="*/ 2333 w 10000"/>
                    <a:gd name="connsiteY86" fmla="*/ 2152 h 10127"/>
                    <a:gd name="connsiteX87" fmla="*/ 1833 w 10000"/>
                    <a:gd name="connsiteY87" fmla="*/ 2431 h 10127"/>
                    <a:gd name="connsiteX88" fmla="*/ 1389 w 10000"/>
                    <a:gd name="connsiteY88" fmla="*/ 2562 h 10127"/>
                    <a:gd name="connsiteX89" fmla="*/ 889 w 10000"/>
                    <a:gd name="connsiteY89" fmla="*/ 2633 h 10127"/>
                    <a:gd name="connsiteX90" fmla="*/ 889 w 10000"/>
                    <a:gd name="connsiteY90" fmla="*/ 2633 h 10127"/>
                    <a:gd name="connsiteX91" fmla="*/ 500 w 10000"/>
                    <a:gd name="connsiteY91" fmla="*/ 2717 h 10127"/>
                    <a:gd name="connsiteX92" fmla="*/ 222 w 10000"/>
                    <a:gd name="connsiteY92" fmla="*/ 2768 h 10127"/>
                    <a:gd name="connsiteX93" fmla="*/ 0 w 10000"/>
                    <a:gd name="connsiteY93" fmla="*/ 2836 h 10127"/>
                    <a:gd name="connsiteX94" fmla="*/ 0 w 10000"/>
                    <a:gd name="connsiteY94" fmla="*/ 2836 h 10127"/>
                    <a:gd name="connsiteX95" fmla="*/ 278 w 10000"/>
                    <a:gd name="connsiteY95" fmla="*/ 3955 h 10127"/>
                    <a:gd name="connsiteX96" fmla="*/ 500 w 10000"/>
                    <a:gd name="connsiteY96" fmla="*/ 4773 h 10127"/>
                    <a:gd name="connsiteX97" fmla="*/ 722 w 10000"/>
                    <a:gd name="connsiteY97" fmla="*/ 5476 h 10127"/>
                    <a:gd name="connsiteX98" fmla="*/ 722 w 10000"/>
                    <a:gd name="connsiteY98" fmla="*/ 5476 h 10127"/>
                    <a:gd name="connsiteX99" fmla="*/ 889 w 10000"/>
                    <a:gd name="connsiteY99" fmla="*/ 5891 h 10127"/>
                    <a:gd name="connsiteX100" fmla="*/ 944 w 10000"/>
                    <a:gd name="connsiteY100" fmla="*/ 6248 h 10127"/>
                    <a:gd name="connsiteX101" fmla="*/ 1111 w 10000"/>
                    <a:gd name="connsiteY101" fmla="*/ 6598 h 10127"/>
                    <a:gd name="connsiteX102" fmla="*/ 1333 w 10000"/>
                    <a:gd name="connsiteY102" fmla="*/ 7136 h 10127"/>
                    <a:gd name="connsiteX103" fmla="*/ 1333 w 10000"/>
                    <a:gd name="connsiteY103" fmla="*/ 7136 h 10127"/>
                    <a:gd name="connsiteX104" fmla="*/ 1444 w 10000"/>
                    <a:gd name="connsiteY104" fmla="*/ 7417 h 10127"/>
                    <a:gd name="connsiteX105" fmla="*/ 1500 w 10000"/>
                    <a:gd name="connsiteY105" fmla="*/ 7626 h 10127"/>
                    <a:gd name="connsiteX106" fmla="*/ 1500 w 10000"/>
                    <a:gd name="connsiteY106" fmla="*/ 7823 h 10127"/>
                    <a:gd name="connsiteX107" fmla="*/ 1556 w 10000"/>
                    <a:gd name="connsiteY107" fmla="*/ 7911 h 10127"/>
                    <a:gd name="connsiteX108" fmla="*/ 1722 w 10000"/>
                    <a:gd name="connsiteY108" fmla="*/ 7973 h 10127"/>
                    <a:gd name="connsiteX109" fmla="*/ 1944 w 10000"/>
                    <a:gd name="connsiteY109" fmla="*/ 8038 h 10127"/>
                    <a:gd name="connsiteX110" fmla="*/ 2944 w 10000"/>
                    <a:gd name="connsiteY110" fmla="*/ 8115 h 10127"/>
                    <a:gd name="connsiteX111" fmla="*/ 2944 w 10000"/>
                    <a:gd name="connsiteY111" fmla="*/ 8115 h 10127"/>
                    <a:gd name="connsiteX112" fmla="*/ 4167 w 10000"/>
                    <a:gd name="connsiteY112" fmla="*/ 8256 h 10127"/>
                    <a:gd name="connsiteX113" fmla="*/ 4889 w 10000"/>
                    <a:gd name="connsiteY113" fmla="*/ 8452 h 10127"/>
                    <a:gd name="connsiteX114" fmla="*/ 5278 w 10000"/>
                    <a:gd name="connsiteY114" fmla="*/ 8673 h 10127"/>
                    <a:gd name="connsiteX115" fmla="*/ 5444 w 10000"/>
                    <a:gd name="connsiteY115" fmla="*/ 8731 h 10127"/>
                    <a:gd name="connsiteX116" fmla="*/ 5444 w 10000"/>
                    <a:gd name="connsiteY116" fmla="*/ 8731 h 10127"/>
                    <a:gd name="connsiteX117" fmla="*/ 5722 w 10000"/>
                    <a:gd name="connsiteY117" fmla="*/ 8886 h 10127"/>
                    <a:gd name="connsiteX118" fmla="*/ 5833 w 10000"/>
                    <a:gd name="connsiteY118" fmla="*/ 8957 h 10127"/>
                    <a:gd name="connsiteX119" fmla="*/ 5833 w 10000"/>
                    <a:gd name="connsiteY119" fmla="*/ 8957 h 10127"/>
                    <a:gd name="connsiteX120" fmla="*/ 5833 w 10000"/>
                    <a:gd name="connsiteY120" fmla="*/ 8886 h 10127"/>
                    <a:gd name="connsiteX121" fmla="*/ 5889 w 10000"/>
                    <a:gd name="connsiteY121" fmla="*/ 8808 h 10127"/>
                    <a:gd name="connsiteX122" fmla="*/ 6000 w 10000"/>
                    <a:gd name="connsiteY122" fmla="*/ 8731 h 10127"/>
                    <a:gd name="connsiteX123" fmla="*/ 6167 w 10000"/>
                    <a:gd name="connsiteY123" fmla="*/ 8673 h 10127"/>
                    <a:gd name="connsiteX124" fmla="*/ 6444 w 10000"/>
                    <a:gd name="connsiteY124" fmla="*/ 8673 h 10127"/>
                    <a:gd name="connsiteX125" fmla="*/ 6833 w 10000"/>
                    <a:gd name="connsiteY125" fmla="*/ 8731 h 10127"/>
                    <a:gd name="connsiteX126" fmla="*/ 7278 w 10000"/>
                    <a:gd name="connsiteY126" fmla="*/ 8957 h 10127"/>
                    <a:gd name="connsiteX127" fmla="*/ 7278 w 10000"/>
                    <a:gd name="connsiteY127" fmla="*/ 8957 h 10127"/>
                    <a:gd name="connsiteX128" fmla="*/ 8722 w 10000"/>
                    <a:gd name="connsiteY128" fmla="*/ 9563 h 10127"/>
                    <a:gd name="connsiteX129" fmla="*/ 10000 w 10000"/>
                    <a:gd name="connsiteY129" fmla="*/ 10127 h 10127"/>
                    <a:gd name="connsiteX130" fmla="*/ 10000 w 10000"/>
                    <a:gd name="connsiteY130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722 w 10000"/>
                    <a:gd name="connsiteY33" fmla="*/ 5399 h 10127"/>
                    <a:gd name="connsiteX34" fmla="*/ 9389 w 10000"/>
                    <a:gd name="connsiteY34" fmla="*/ 5476 h 10127"/>
                    <a:gd name="connsiteX35" fmla="*/ 9389 w 10000"/>
                    <a:gd name="connsiteY35" fmla="*/ 5476 h 10127"/>
                    <a:gd name="connsiteX36" fmla="*/ 9278 w 10000"/>
                    <a:gd name="connsiteY36" fmla="*/ 5560 h 10127"/>
                    <a:gd name="connsiteX37" fmla="*/ 9056 w 10000"/>
                    <a:gd name="connsiteY37" fmla="*/ 5476 h 10127"/>
                    <a:gd name="connsiteX38" fmla="*/ 8889 w 10000"/>
                    <a:gd name="connsiteY38" fmla="*/ 5399 h 10127"/>
                    <a:gd name="connsiteX39" fmla="*/ 8722 w 10000"/>
                    <a:gd name="connsiteY39" fmla="*/ 5267 h 10127"/>
                    <a:gd name="connsiteX40" fmla="*/ 8611 w 10000"/>
                    <a:gd name="connsiteY40" fmla="*/ 5051 h 10127"/>
                    <a:gd name="connsiteX41" fmla="*/ 8444 w 10000"/>
                    <a:gd name="connsiteY41" fmla="*/ 4703 h 10127"/>
                    <a:gd name="connsiteX42" fmla="*/ 8444 w 10000"/>
                    <a:gd name="connsiteY42" fmla="*/ 4703 h 10127"/>
                    <a:gd name="connsiteX43" fmla="*/ 8222 w 10000"/>
                    <a:gd name="connsiteY43" fmla="*/ 4096 h 10127"/>
                    <a:gd name="connsiteX44" fmla="*/ 8111 w 10000"/>
                    <a:gd name="connsiteY44" fmla="*/ 3816 h 10127"/>
                    <a:gd name="connsiteX45" fmla="*/ 7944 w 10000"/>
                    <a:gd name="connsiteY45" fmla="*/ 3605 h 10127"/>
                    <a:gd name="connsiteX46" fmla="*/ 7778 w 10000"/>
                    <a:gd name="connsiteY46" fmla="*/ 3471 h 10127"/>
                    <a:gd name="connsiteX47" fmla="*/ 7556 w 10000"/>
                    <a:gd name="connsiteY47" fmla="*/ 3389 h 10127"/>
                    <a:gd name="connsiteX48" fmla="*/ 7333 w 10000"/>
                    <a:gd name="connsiteY48" fmla="*/ 3324 h 10127"/>
                    <a:gd name="connsiteX49" fmla="*/ 7000 w 10000"/>
                    <a:gd name="connsiteY49" fmla="*/ 3247 h 10127"/>
                    <a:gd name="connsiteX50" fmla="*/ 7000 w 10000"/>
                    <a:gd name="connsiteY50" fmla="*/ 3247 h 10127"/>
                    <a:gd name="connsiteX51" fmla="*/ 6556 w 10000"/>
                    <a:gd name="connsiteY51" fmla="*/ 3324 h 10127"/>
                    <a:gd name="connsiteX52" fmla="*/ 6222 w 10000"/>
                    <a:gd name="connsiteY52" fmla="*/ 3324 h 10127"/>
                    <a:gd name="connsiteX53" fmla="*/ 6111 w 10000"/>
                    <a:gd name="connsiteY53" fmla="*/ 3247 h 10127"/>
                    <a:gd name="connsiteX54" fmla="*/ 6056 w 10000"/>
                    <a:gd name="connsiteY54" fmla="*/ 3185 h 10127"/>
                    <a:gd name="connsiteX55" fmla="*/ 6056 w 10000"/>
                    <a:gd name="connsiteY55" fmla="*/ 3185 h 10127"/>
                    <a:gd name="connsiteX56" fmla="*/ 6056 w 10000"/>
                    <a:gd name="connsiteY56" fmla="*/ 1943 h 10127"/>
                    <a:gd name="connsiteX57" fmla="*/ 6056 w 10000"/>
                    <a:gd name="connsiteY57" fmla="*/ 1943 h 10127"/>
                    <a:gd name="connsiteX58" fmla="*/ 6056 w 10000"/>
                    <a:gd name="connsiteY58" fmla="*/ 1652 h 10127"/>
                    <a:gd name="connsiteX59" fmla="*/ 5944 w 10000"/>
                    <a:gd name="connsiteY59" fmla="*/ 1308 h 10127"/>
                    <a:gd name="connsiteX60" fmla="*/ 5889 w 10000"/>
                    <a:gd name="connsiteY60" fmla="*/ 1230 h 10127"/>
                    <a:gd name="connsiteX61" fmla="*/ 5778 w 10000"/>
                    <a:gd name="connsiteY61" fmla="*/ 1167 h 10127"/>
                    <a:gd name="connsiteX62" fmla="*/ 5667 w 10000"/>
                    <a:gd name="connsiteY62" fmla="*/ 1167 h 10127"/>
                    <a:gd name="connsiteX63" fmla="*/ 5500 w 10000"/>
                    <a:gd name="connsiteY63" fmla="*/ 1230 h 10127"/>
                    <a:gd name="connsiteX64" fmla="*/ 5500 w 10000"/>
                    <a:gd name="connsiteY64" fmla="*/ 1230 h 10127"/>
                    <a:gd name="connsiteX65" fmla="*/ 4889 w 10000"/>
                    <a:gd name="connsiteY65" fmla="*/ 1726 h 10127"/>
                    <a:gd name="connsiteX66" fmla="*/ 4611 w 10000"/>
                    <a:gd name="connsiteY66" fmla="*/ 1866 h 10127"/>
                    <a:gd name="connsiteX67" fmla="*/ 4556 w 10000"/>
                    <a:gd name="connsiteY67" fmla="*/ 1943 h 10127"/>
                    <a:gd name="connsiteX68" fmla="*/ 4500 w 10000"/>
                    <a:gd name="connsiteY68" fmla="*/ 1866 h 10127"/>
                    <a:gd name="connsiteX69" fmla="*/ 4500 w 10000"/>
                    <a:gd name="connsiteY69" fmla="*/ 1866 h 10127"/>
                    <a:gd name="connsiteX70" fmla="*/ 4111 w 10000"/>
                    <a:gd name="connsiteY70" fmla="*/ 822 h 10127"/>
                    <a:gd name="connsiteX71" fmla="*/ 4111 w 10000"/>
                    <a:gd name="connsiteY71" fmla="*/ 404 h 10127"/>
                    <a:gd name="connsiteX72" fmla="*/ 4111 w 10000"/>
                    <a:gd name="connsiteY72" fmla="*/ 404 h 10127"/>
                    <a:gd name="connsiteX73" fmla="*/ 4195 w 10000"/>
                    <a:gd name="connsiteY73" fmla="*/ 119 h 10127"/>
                    <a:gd name="connsiteX74" fmla="*/ 4213 w 10000"/>
                    <a:gd name="connsiteY74" fmla="*/ 0 h 10127"/>
                    <a:gd name="connsiteX75" fmla="*/ 4000 w 10000"/>
                    <a:gd name="connsiteY75" fmla="*/ 127 h 10127"/>
                    <a:gd name="connsiteX76" fmla="*/ 3722 w 10000"/>
                    <a:gd name="connsiteY76" fmla="*/ 200 h 10127"/>
                    <a:gd name="connsiteX77" fmla="*/ 3611 w 10000"/>
                    <a:gd name="connsiteY77" fmla="*/ 273 h 10127"/>
                    <a:gd name="connsiteX78" fmla="*/ 3556 w 10000"/>
                    <a:gd name="connsiteY78" fmla="*/ 344 h 10127"/>
                    <a:gd name="connsiteX79" fmla="*/ 3556 w 10000"/>
                    <a:gd name="connsiteY79" fmla="*/ 344 h 10127"/>
                    <a:gd name="connsiteX80" fmla="*/ 3444 w 10000"/>
                    <a:gd name="connsiteY80" fmla="*/ 618 h 10127"/>
                    <a:gd name="connsiteX81" fmla="*/ 3278 w 10000"/>
                    <a:gd name="connsiteY81" fmla="*/ 1039 h 10127"/>
                    <a:gd name="connsiteX82" fmla="*/ 3000 w 10000"/>
                    <a:gd name="connsiteY82" fmla="*/ 1516 h 10127"/>
                    <a:gd name="connsiteX83" fmla="*/ 2667 w 10000"/>
                    <a:gd name="connsiteY83" fmla="*/ 1866 h 10127"/>
                    <a:gd name="connsiteX84" fmla="*/ 2667 w 10000"/>
                    <a:gd name="connsiteY84" fmla="*/ 1866 h 10127"/>
                    <a:gd name="connsiteX85" fmla="*/ 2333 w 10000"/>
                    <a:gd name="connsiteY85" fmla="*/ 2152 h 10127"/>
                    <a:gd name="connsiteX86" fmla="*/ 1833 w 10000"/>
                    <a:gd name="connsiteY86" fmla="*/ 2431 h 10127"/>
                    <a:gd name="connsiteX87" fmla="*/ 1389 w 10000"/>
                    <a:gd name="connsiteY87" fmla="*/ 2562 h 10127"/>
                    <a:gd name="connsiteX88" fmla="*/ 889 w 10000"/>
                    <a:gd name="connsiteY88" fmla="*/ 2633 h 10127"/>
                    <a:gd name="connsiteX89" fmla="*/ 889 w 10000"/>
                    <a:gd name="connsiteY89" fmla="*/ 2633 h 10127"/>
                    <a:gd name="connsiteX90" fmla="*/ 500 w 10000"/>
                    <a:gd name="connsiteY90" fmla="*/ 2717 h 10127"/>
                    <a:gd name="connsiteX91" fmla="*/ 222 w 10000"/>
                    <a:gd name="connsiteY91" fmla="*/ 2768 h 10127"/>
                    <a:gd name="connsiteX92" fmla="*/ 0 w 10000"/>
                    <a:gd name="connsiteY92" fmla="*/ 2836 h 10127"/>
                    <a:gd name="connsiteX93" fmla="*/ 0 w 10000"/>
                    <a:gd name="connsiteY93" fmla="*/ 2836 h 10127"/>
                    <a:gd name="connsiteX94" fmla="*/ 278 w 10000"/>
                    <a:gd name="connsiteY94" fmla="*/ 3955 h 10127"/>
                    <a:gd name="connsiteX95" fmla="*/ 500 w 10000"/>
                    <a:gd name="connsiteY95" fmla="*/ 4773 h 10127"/>
                    <a:gd name="connsiteX96" fmla="*/ 722 w 10000"/>
                    <a:gd name="connsiteY96" fmla="*/ 5476 h 10127"/>
                    <a:gd name="connsiteX97" fmla="*/ 722 w 10000"/>
                    <a:gd name="connsiteY97" fmla="*/ 5476 h 10127"/>
                    <a:gd name="connsiteX98" fmla="*/ 889 w 10000"/>
                    <a:gd name="connsiteY98" fmla="*/ 5891 h 10127"/>
                    <a:gd name="connsiteX99" fmla="*/ 944 w 10000"/>
                    <a:gd name="connsiteY99" fmla="*/ 6248 h 10127"/>
                    <a:gd name="connsiteX100" fmla="*/ 1111 w 10000"/>
                    <a:gd name="connsiteY100" fmla="*/ 6598 h 10127"/>
                    <a:gd name="connsiteX101" fmla="*/ 1333 w 10000"/>
                    <a:gd name="connsiteY101" fmla="*/ 7136 h 10127"/>
                    <a:gd name="connsiteX102" fmla="*/ 1333 w 10000"/>
                    <a:gd name="connsiteY102" fmla="*/ 7136 h 10127"/>
                    <a:gd name="connsiteX103" fmla="*/ 1444 w 10000"/>
                    <a:gd name="connsiteY103" fmla="*/ 7417 h 10127"/>
                    <a:gd name="connsiteX104" fmla="*/ 1500 w 10000"/>
                    <a:gd name="connsiteY104" fmla="*/ 7626 h 10127"/>
                    <a:gd name="connsiteX105" fmla="*/ 1500 w 10000"/>
                    <a:gd name="connsiteY105" fmla="*/ 7823 h 10127"/>
                    <a:gd name="connsiteX106" fmla="*/ 1556 w 10000"/>
                    <a:gd name="connsiteY106" fmla="*/ 7911 h 10127"/>
                    <a:gd name="connsiteX107" fmla="*/ 1722 w 10000"/>
                    <a:gd name="connsiteY107" fmla="*/ 7973 h 10127"/>
                    <a:gd name="connsiteX108" fmla="*/ 1944 w 10000"/>
                    <a:gd name="connsiteY108" fmla="*/ 8038 h 10127"/>
                    <a:gd name="connsiteX109" fmla="*/ 2944 w 10000"/>
                    <a:gd name="connsiteY109" fmla="*/ 8115 h 10127"/>
                    <a:gd name="connsiteX110" fmla="*/ 2944 w 10000"/>
                    <a:gd name="connsiteY110" fmla="*/ 8115 h 10127"/>
                    <a:gd name="connsiteX111" fmla="*/ 4167 w 10000"/>
                    <a:gd name="connsiteY111" fmla="*/ 8256 h 10127"/>
                    <a:gd name="connsiteX112" fmla="*/ 4889 w 10000"/>
                    <a:gd name="connsiteY112" fmla="*/ 8452 h 10127"/>
                    <a:gd name="connsiteX113" fmla="*/ 5278 w 10000"/>
                    <a:gd name="connsiteY113" fmla="*/ 8673 h 10127"/>
                    <a:gd name="connsiteX114" fmla="*/ 5444 w 10000"/>
                    <a:gd name="connsiteY114" fmla="*/ 8731 h 10127"/>
                    <a:gd name="connsiteX115" fmla="*/ 5444 w 10000"/>
                    <a:gd name="connsiteY115" fmla="*/ 8731 h 10127"/>
                    <a:gd name="connsiteX116" fmla="*/ 5722 w 10000"/>
                    <a:gd name="connsiteY116" fmla="*/ 8886 h 10127"/>
                    <a:gd name="connsiteX117" fmla="*/ 5833 w 10000"/>
                    <a:gd name="connsiteY117" fmla="*/ 8957 h 10127"/>
                    <a:gd name="connsiteX118" fmla="*/ 5833 w 10000"/>
                    <a:gd name="connsiteY118" fmla="*/ 8957 h 10127"/>
                    <a:gd name="connsiteX119" fmla="*/ 5833 w 10000"/>
                    <a:gd name="connsiteY119" fmla="*/ 8886 h 10127"/>
                    <a:gd name="connsiteX120" fmla="*/ 5889 w 10000"/>
                    <a:gd name="connsiteY120" fmla="*/ 8808 h 10127"/>
                    <a:gd name="connsiteX121" fmla="*/ 6000 w 10000"/>
                    <a:gd name="connsiteY121" fmla="*/ 8731 h 10127"/>
                    <a:gd name="connsiteX122" fmla="*/ 6167 w 10000"/>
                    <a:gd name="connsiteY122" fmla="*/ 8673 h 10127"/>
                    <a:gd name="connsiteX123" fmla="*/ 6444 w 10000"/>
                    <a:gd name="connsiteY123" fmla="*/ 8673 h 10127"/>
                    <a:gd name="connsiteX124" fmla="*/ 6833 w 10000"/>
                    <a:gd name="connsiteY124" fmla="*/ 8731 h 10127"/>
                    <a:gd name="connsiteX125" fmla="*/ 7278 w 10000"/>
                    <a:gd name="connsiteY125" fmla="*/ 8957 h 10127"/>
                    <a:gd name="connsiteX126" fmla="*/ 7278 w 10000"/>
                    <a:gd name="connsiteY126" fmla="*/ 8957 h 10127"/>
                    <a:gd name="connsiteX127" fmla="*/ 8722 w 10000"/>
                    <a:gd name="connsiteY127" fmla="*/ 9563 h 10127"/>
                    <a:gd name="connsiteX128" fmla="*/ 10000 w 10000"/>
                    <a:gd name="connsiteY128" fmla="*/ 10127 h 10127"/>
                    <a:gd name="connsiteX129" fmla="*/ 10000 w 10000"/>
                    <a:gd name="connsiteY129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389 w 10000"/>
                    <a:gd name="connsiteY33" fmla="*/ 5476 h 10127"/>
                    <a:gd name="connsiteX34" fmla="*/ 9389 w 10000"/>
                    <a:gd name="connsiteY34" fmla="*/ 5476 h 10127"/>
                    <a:gd name="connsiteX35" fmla="*/ 9278 w 10000"/>
                    <a:gd name="connsiteY35" fmla="*/ 5560 h 10127"/>
                    <a:gd name="connsiteX36" fmla="*/ 9056 w 10000"/>
                    <a:gd name="connsiteY36" fmla="*/ 5476 h 10127"/>
                    <a:gd name="connsiteX37" fmla="*/ 8889 w 10000"/>
                    <a:gd name="connsiteY37" fmla="*/ 5399 h 10127"/>
                    <a:gd name="connsiteX38" fmla="*/ 8722 w 10000"/>
                    <a:gd name="connsiteY38" fmla="*/ 5267 h 10127"/>
                    <a:gd name="connsiteX39" fmla="*/ 8611 w 10000"/>
                    <a:gd name="connsiteY39" fmla="*/ 5051 h 10127"/>
                    <a:gd name="connsiteX40" fmla="*/ 8444 w 10000"/>
                    <a:gd name="connsiteY40" fmla="*/ 4703 h 10127"/>
                    <a:gd name="connsiteX41" fmla="*/ 8444 w 10000"/>
                    <a:gd name="connsiteY41" fmla="*/ 4703 h 10127"/>
                    <a:gd name="connsiteX42" fmla="*/ 8222 w 10000"/>
                    <a:gd name="connsiteY42" fmla="*/ 4096 h 10127"/>
                    <a:gd name="connsiteX43" fmla="*/ 8111 w 10000"/>
                    <a:gd name="connsiteY43" fmla="*/ 3816 h 10127"/>
                    <a:gd name="connsiteX44" fmla="*/ 7944 w 10000"/>
                    <a:gd name="connsiteY44" fmla="*/ 3605 h 10127"/>
                    <a:gd name="connsiteX45" fmla="*/ 7778 w 10000"/>
                    <a:gd name="connsiteY45" fmla="*/ 3471 h 10127"/>
                    <a:gd name="connsiteX46" fmla="*/ 7556 w 10000"/>
                    <a:gd name="connsiteY46" fmla="*/ 3389 h 10127"/>
                    <a:gd name="connsiteX47" fmla="*/ 7333 w 10000"/>
                    <a:gd name="connsiteY47" fmla="*/ 3324 h 10127"/>
                    <a:gd name="connsiteX48" fmla="*/ 7000 w 10000"/>
                    <a:gd name="connsiteY48" fmla="*/ 3247 h 10127"/>
                    <a:gd name="connsiteX49" fmla="*/ 7000 w 10000"/>
                    <a:gd name="connsiteY49" fmla="*/ 3247 h 10127"/>
                    <a:gd name="connsiteX50" fmla="*/ 6556 w 10000"/>
                    <a:gd name="connsiteY50" fmla="*/ 3324 h 10127"/>
                    <a:gd name="connsiteX51" fmla="*/ 6222 w 10000"/>
                    <a:gd name="connsiteY51" fmla="*/ 3324 h 10127"/>
                    <a:gd name="connsiteX52" fmla="*/ 6111 w 10000"/>
                    <a:gd name="connsiteY52" fmla="*/ 3247 h 10127"/>
                    <a:gd name="connsiteX53" fmla="*/ 6056 w 10000"/>
                    <a:gd name="connsiteY53" fmla="*/ 3185 h 10127"/>
                    <a:gd name="connsiteX54" fmla="*/ 6056 w 10000"/>
                    <a:gd name="connsiteY54" fmla="*/ 3185 h 10127"/>
                    <a:gd name="connsiteX55" fmla="*/ 6056 w 10000"/>
                    <a:gd name="connsiteY55" fmla="*/ 1943 h 10127"/>
                    <a:gd name="connsiteX56" fmla="*/ 6056 w 10000"/>
                    <a:gd name="connsiteY56" fmla="*/ 1943 h 10127"/>
                    <a:gd name="connsiteX57" fmla="*/ 6056 w 10000"/>
                    <a:gd name="connsiteY57" fmla="*/ 1652 h 10127"/>
                    <a:gd name="connsiteX58" fmla="*/ 5944 w 10000"/>
                    <a:gd name="connsiteY58" fmla="*/ 1308 h 10127"/>
                    <a:gd name="connsiteX59" fmla="*/ 5889 w 10000"/>
                    <a:gd name="connsiteY59" fmla="*/ 1230 h 10127"/>
                    <a:gd name="connsiteX60" fmla="*/ 5778 w 10000"/>
                    <a:gd name="connsiteY60" fmla="*/ 1167 h 10127"/>
                    <a:gd name="connsiteX61" fmla="*/ 5667 w 10000"/>
                    <a:gd name="connsiteY61" fmla="*/ 1167 h 10127"/>
                    <a:gd name="connsiteX62" fmla="*/ 5500 w 10000"/>
                    <a:gd name="connsiteY62" fmla="*/ 1230 h 10127"/>
                    <a:gd name="connsiteX63" fmla="*/ 5500 w 10000"/>
                    <a:gd name="connsiteY63" fmla="*/ 1230 h 10127"/>
                    <a:gd name="connsiteX64" fmla="*/ 4889 w 10000"/>
                    <a:gd name="connsiteY64" fmla="*/ 1726 h 10127"/>
                    <a:gd name="connsiteX65" fmla="*/ 4611 w 10000"/>
                    <a:gd name="connsiteY65" fmla="*/ 1866 h 10127"/>
                    <a:gd name="connsiteX66" fmla="*/ 4556 w 10000"/>
                    <a:gd name="connsiteY66" fmla="*/ 1943 h 10127"/>
                    <a:gd name="connsiteX67" fmla="*/ 4500 w 10000"/>
                    <a:gd name="connsiteY67" fmla="*/ 1866 h 10127"/>
                    <a:gd name="connsiteX68" fmla="*/ 4500 w 10000"/>
                    <a:gd name="connsiteY68" fmla="*/ 1866 h 10127"/>
                    <a:gd name="connsiteX69" fmla="*/ 4111 w 10000"/>
                    <a:gd name="connsiteY69" fmla="*/ 822 h 10127"/>
                    <a:gd name="connsiteX70" fmla="*/ 4111 w 10000"/>
                    <a:gd name="connsiteY70" fmla="*/ 404 h 10127"/>
                    <a:gd name="connsiteX71" fmla="*/ 4111 w 10000"/>
                    <a:gd name="connsiteY71" fmla="*/ 404 h 10127"/>
                    <a:gd name="connsiteX72" fmla="*/ 4195 w 10000"/>
                    <a:gd name="connsiteY72" fmla="*/ 119 h 10127"/>
                    <a:gd name="connsiteX73" fmla="*/ 4213 w 10000"/>
                    <a:gd name="connsiteY73" fmla="*/ 0 h 10127"/>
                    <a:gd name="connsiteX74" fmla="*/ 4000 w 10000"/>
                    <a:gd name="connsiteY74" fmla="*/ 127 h 10127"/>
                    <a:gd name="connsiteX75" fmla="*/ 3722 w 10000"/>
                    <a:gd name="connsiteY75" fmla="*/ 200 h 10127"/>
                    <a:gd name="connsiteX76" fmla="*/ 3611 w 10000"/>
                    <a:gd name="connsiteY76" fmla="*/ 273 h 10127"/>
                    <a:gd name="connsiteX77" fmla="*/ 3556 w 10000"/>
                    <a:gd name="connsiteY77" fmla="*/ 344 h 10127"/>
                    <a:gd name="connsiteX78" fmla="*/ 3556 w 10000"/>
                    <a:gd name="connsiteY78" fmla="*/ 344 h 10127"/>
                    <a:gd name="connsiteX79" fmla="*/ 3444 w 10000"/>
                    <a:gd name="connsiteY79" fmla="*/ 618 h 10127"/>
                    <a:gd name="connsiteX80" fmla="*/ 3278 w 10000"/>
                    <a:gd name="connsiteY80" fmla="*/ 1039 h 10127"/>
                    <a:gd name="connsiteX81" fmla="*/ 3000 w 10000"/>
                    <a:gd name="connsiteY81" fmla="*/ 1516 h 10127"/>
                    <a:gd name="connsiteX82" fmla="*/ 2667 w 10000"/>
                    <a:gd name="connsiteY82" fmla="*/ 1866 h 10127"/>
                    <a:gd name="connsiteX83" fmla="*/ 2667 w 10000"/>
                    <a:gd name="connsiteY83" fmla="*/ 1866 h 10127"/>
                    <a:gd name="connsiteX84" fmla="*/ 2333 w 10000"/>
                    <a:gd name="connsiteY84" fmla="*/ 2152 h 10127"/>
                    <a:gd name="connsiteX85" fmla="*/ 1833 w 10000"/>
                    <a:gd name="connsiteY85" fmla="*/ 2431 h 10127"/>
                    <a:gd name="connsiteX86" fmla="*/ 1389 w 10000"/>
                    <a:gd name="connsiteY86" fmla="*/ 2562 h 10127"/>
                    <a:gd name="connsiteX87" fmla="*/ 889 w 10000"/>
                    <a:gd name="connsiteY87" fmla="*/ 2633 h 10127"/>
                    <a:gd name="connsiteX88" fmla="*/ 889 w 10000"/>
                    <a:gd name="connsiteY88" fmla="*/ 2633 h 10127"/>
                    <a:gd name="connsiteX89" fmla="*/ 500 w 10000"/>
                    <a:gd name="connsiteY89" fmla="*/ 2717 h 10127"/>
                    <a:gd name="connsiteX90" fmla="*/ 222 w 10000"/>
                    <a:gd name="connsiteY90" fmla="*/ 2768 h 10127"/>
                    <a:gd name="connsiteX91" fmla="*/ 0 w 10000"/>
                    <a:gd name="connsiteY91" fmla="*/ 2836 h 10127"/>
                    <a:gd name="connsiteX92" fmla="*/ 0 w 10000"/>
                    <a:gd name="connsiteY92" fmla="*/ 2836 h 10127"/>
                    <a:gd name="connsiteX93" fmla="*/ 278 w 10000"/>
                    <a:gd name="connsiteY93" fmla="*/ 3955 h 10127"/>
                    <a:gd name="connsiteX94" fmla="*/ 500 w 10000"/>
                    <a:gd name="connsiteY94" fmla="*/ 4773 h 10127"/>
                    <a:gd name="connsiteX95" fmla="*/ 722 w 10000"/>
                    <a:gd name="connsiteY95" fmla="*/ 5476 h 10127"/>
                    <a:gd name="connsiteX96" fmla="*/ 722 w 10000"/>
                    <a:gd name="connsiteY96" fmla="*/ 5476 h 10127"/>
                    <a:gd name="connsiteX97" fmla="*/ 889 w 10000"/>
                    <a:gd name="connsiteY97" fmla="*/ 5891 h 10127"/>
                    <a:gd name="connsiteX98" fmla="*/ 944 w 10000"/>
                    <a:gd name="connsiteY98" fmla="*/ 6248 h 10127"/>
                    <a:gd name="connsiteX99" fmla="*/ 1111 w 10000"/>
                    <a:gd name="connsiteY99" fmla="*/ 6598 h 10127"/>
                    <a:gd name="connsiteX100" fmla="*/ 1333 w 10000"/>
                    <a:gd name="connsiteY100" fmla="*/ 7136 h 10127"/>
                    <a:gd name="connsiteX101" fmla="*/ 1333 w 10000"/>
                    <a:gd name="connsiteY101" fmla="*/ 7136 h 10127"/>
                    <a:gd name="connsiteX102" fmla="*/ 1444 w 10000"/>
                    <a:gd name="connsiteY102" fmla="*/ 7417 h 10127"/>
                    <a:gd name="connsiteX103" fmla="*/ 1500 w 10000"/>
                    <a:gd name="connsiteY103" fmla="*/ 7626 h 10127"/>
                    <a:gd name="connsiteX104" fmla="*/ 1500 w 10000"/>
                    <a:gd name="connsiteY104" fmla="*/ 7823 h 10127"/>
                    <a:gd name="connsiteX105" fmla="*/ 1556 w 10000"/>
                    <a:gd name="connsiteY105" fmla="*/ 7911 h 10127"/>
                    <a:gd name="connsiteX106" fmla="*/ 1722 w 10000"/>
                    <a:gd name="connsiteY106" fmla="*/ 7973 h 10127"/>
                    <a:gd name="connsiteX107" fmla="*/ 1944 w 10000"/>
                    <a:gd name="connsiteY107" fmla="*/ 8038 h 10127"/>
                    <a:gd name="connsiteX108" fmla="*/ 2944 w 10000"/>
                    <a:gd name="connsiteY108" fmla="*/ 8115 h 10127"/>
                    <a:gd name="connsiteX109" fmla="*/ 2944 w 10000"/>
                    <a:gd name="connsiteY109" fmla="*/ 8115 h 10127"/>
                    <a:gd name="connsiteX110" fmla="*/ 4167 w 10000"/>
                    <a:gd name="connsiteY110" fmla="*/ 8256 h 10127"/>
                    <a:gd name="connsiteX111" fmla="*/ 4889 w 10000"/>
                    <a:gd name="connsiteY111" fmla="*/ 8452 h 10127"/>
                    <a:gd name="connsiteX112" fmla="*/ 5278 w 10000"/>
                    <a:gd name="connsiteY112" fmla="*/ 8673 h 10127"/>
                    <a:gd name="connsiteX113" fmla="*/ 5444 w 10000"/>
                    <a:gd name="connsiteY113" fmla="*/ 8731 h 10127"/>
                    <a:gd name="connsiteX114" fmla="*/ 5444 w 10000"/>
                    <a:gd name="connsiteY114" fmla="*/ 8731 h 10127"/>
                    <a:gd name="connsiteX115" fmla="*/ 5722 w 10000"/>
                    <a:gd name="connsiteY115" fmla="*/ 8886 h 10127"/>
                    <a:gd name="connsiteX116" fmla="*/ 5833 w 10000"/>
                    <a:gd name="connsiteY116" fmla="*/ 8957 h 10127"/>
                    <a:gd name="connsiteX117" fmla="*/ 5833 w 10000"/>
                    <a:gd name="connsiteY117" fmla="*/ 8957 h 10127"/>
                    <a:gd name="connsiteX118" fmla="*/ 5833 w 10000"/>
                    <a:gd name="connsiteY118" fmla="*/ 8886 h 10127"/>
                    <a:gd name="connsiteX119" fmla="*/ 5889 w 10000"/>
                    <a:gd name="connsiteY119" fmla="*/ 8808 h 10127"/>
                    <a:gd name="connsiteX120" fmla="*/ 6000 w 10000"/>
                    <a:gd name="connsiteY120" fmla="*/ 8731 h 10127"/>
                    <a:gd name="connsiteX121" fmla="*/ 6167 w 10000"/>
                    <a:gd name="connsiteY121" fmla="*/ 8673 h 10127"/>
                    <a:gd name="connsiteX122" fmla="*/ 6444 w 10000"/>
                    <a:gd name="connsiteY122" fmla="*/ 8673 h 10127"/>
                    <a:gd name="connsiteX123" fmla="*/ 6833 w 10000"/>
                    <a:gd name="connsiteY123" fmla="*/ 8731 h 10127"/>
                    <a:gd name="connsiteX124" fmla="*/ 7278 w 10000"/>
                    <a:gd name="connsiteY124" fmla="*/ 8957 h 10127"/>
                    <a:gd name="connsiteX125" fmla="*/ 7278 w 10000"/>
                    <a:gd name="connsiteY125" fmla="*/ 8957 h 10127"/>
                    <a:gd name="connsiteX126" fmla="*/ 8722 w 10000"/>
                    <a:gd name="connsiteY126" fmla="*/ 9563 h 10127"/>
                    <a:gd name="connsiteX127" fmla="*/ 10000 w 10000"/>
                    <a:gd name="connsiteY127" fmla="*/ 10127 h 10127"/>
                    <a:gd name="connsiteX128" fmla="*/ 10000 w 10000"/>
                    <a:gd name="connsiteY12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389 w 10000"/>
                    <a:gd name="connsiteY33" fmla="*/ 5476 h 10127"/>
                    <a:gd name="connsiteX34" fmla="*/ 9417 w 10000"/>
                    <a:gd name="connsiteY34" fmla="*/ 5661 h 10127"/>
                    <a:gd name="connsiteX35" fmla="*/ 9278 w 10000"/>
                    <a:gd name="connsiteY35" fmla="*/ 5560 h 10127"/>
                    <a:gd name="connsiteX36" fmla="*/ 9056 w 10000"/>
                    <a:gd name="connsiteY36" fmla="*/ 5476 h 10127"/>
                    <a:gd name="connsiteX37" fmla="*/ 8889 w 10000"/>
                    <a:gd name="connsiteY37" fmla="*/ 5399 h 10127"/>
                    <a:gd name="connsiteX38" fmla="*/ 8722 w 10000"/>
                    <a:gd name="connsiteY38" fmla="*/ 5267 h 10127"/>
                    <a:gd name="connsiteX39" fmla="*/ 8611 w 10000"/>
                    <a:gd name="connsiteY39" fmla="*/ 5051 h 10127"/>
                    <a:gd name="connsiteX40" fmla="*/ 8444 w 10000"/>
                    <a:gd name="connsiteY40" fmla="*/ 4703 h 10127"/>
                    <a:gd name="connsiteX41" fmla="*/ 8444 w 10000"/>
                    <a:gd name="connsiteY41" fmla="*/ 4703 h 10127"/>
                    <a:gd name="connsiteX42" fmla="*/ 8222 w 10000"/>
                    <a:gd name="connsiteY42" fmla="*/ 4096 h 10127"/>
                    <a:gd name="connsiteX43" fmla="*/ 8111 w 10000"/>
                    <a:gd name="connsiteY43" fmla="*/ 3816 h 10127"/>
                    <a:gd name="connsiteX44" fmla="*/ 7944 w 10000"/>
                    <a:gd name="connsiteY44" fmla="*/ 3605 h 10127"/>
                    <a:gd name="connsiteX45" fmla="*/ 7778 w 10000"/>
                    <a:gd name="connsiteY45" fmla="*/ 3471 h 10127"/>
                    <a:gd name="connsiteX46" fmla="*/ 7556 w 10000"/>
                    <a:gd name="connsiteY46" fmla="*/ 3389 h 10127"/>
                    <a:gd name="connsiteX47" fmla="*/ 7333 w 10000"/>
                    <a:gd name="connsiteY47" fmla="*/ 3324 h 10127"/>
                    <a:gd name="connsiteX48" fmla="*/ 7000 w 10000"/>
                    <a:gd name="connsiteY48" fmla="*/ 3247 h 10127"/>
                    <a:gd name="connsiteX49" fmla="*/ 7000 w 10000"/>
                    <a:gd name="connsiteY49" fmla="*/ 3247 h 10127"/>
                    <a:gd name="connsiteX50" fmla="*/ 6556 w 10000"/>
                    <a:gd name="connsiteY50" fmla="*/ 3324 h 10127"/>
                    <a:gd name="connsiteX51" fmla="*/ 6222 w 10000"/>
                    <a:gd name="connsiteY51" fmla="*/ 3324 h 10127"/>
                    <a:gd name="connsiteX52" fmla="*/ 6111 w 10000"/>
                    <a:gd name="connsiteY52" fmla="*/ 3247 h 10127"/>
                    <a:gd name="connsiteX53" fmla="*/ 6056 w 10000"/>
                    <a:gd name="connsiteY53" fmla="*/ 3185 h 10127"/>
                    <a:gd name="connsiteX54" fmla="*/ 6056 w 10000"/>
                    <a:gd name="connsiteY54" fmla="*/ 3185 h 10127"/>
                    <a:gd name="connsiteX55" fmla="*/ 6056 w 10000"/>
                    <a:gd name="connsiteY55" fmla="*/ 1943 h 10127"/>
                    <a:gd name="connsiteX56" fmla="*/ 6056 w 10000"/>
                    <a:gd name="connsiteY56" fmla="*/ 1943 h 10127"/>
                    <a:gd name="connsiteX57" fmla="*/ 6056 w 10000"/>
                    <a:gd name="connsiteY57" fmla="*/ 1652 h 10127"/>
                    <a:gd name="connsiteX58" fmla="*/ 5944 w 10000"/>
                    <a:gd name="connsiteY58" fmla="*/ 1308 h 10127"/>
                    <a:gd name="connsiteX59" fmla="*/ 5889 w 10000"/>
                    <a:gd name="connsiteY59" fmla="*/ 1230 h 10127"/>
                    <a:gd name="connsiteX60" fmla="*/ 5778 w 10000"/>
                    <a:gd name="connsiteY60" fmla="*/ 1167 h 10127"/>
                    <a:gd name="connsiteX61" fmla="*/ 5667 w 10000"/>
                    <a:gd name="connsiteY61" fmla="*/ 1167 h 10127"/>
                    <a:gd name="connsiteX62" fmla="*/ 5500 w 10000"/>
                    <a:gd name="connsiteY62" fmla="*/ 1230 h 10127"/>
                    <a:gd name="connsiteX63" fmla="*/ 5500 w 10000"/>
                    <a:gd name="connsiteY63" fmla="*/ 1230 h 10127"/>
                    <a:gd name="connsiteX64" fmla="*/ 4889 w 10000"/>
                    <a:gd name="connsiteY64" fmla="*/ 1726 h 10127"/>
                    <a:gd name="connsiteX65" fmla="*/ 4611 w 10000"/>
                    <a:gd name="connsiteY65" fmla="*/ 1866 h 10127"/>
                    <a:gd name="connsiteX66" fmla="*/ 4556 w 10000"/>
                    <a:gd name="connsiteY66" fmla="*/ 1943 h 10127"/>
                    <a:gd name="connsiteX67" fmla="*/ 4500 w 10000"/>
                    <a:gd name="connsiteY67" fmla="*/ 1866 h 10127"/>
                    <a:gd name="connsiteX68" fmla="*/ 4500 w 10000"/>
                    <a:gd name="connsiteY68" fmla="*/ 1866 h 10127"/>
                    <a:gd name="connsiteX69" fmla="*/ 4111 w 10000"/>
                    <a:gd name="connsiteY69" fmla="*/ 822 h 10127"/>
                    <a:gd name="connsiteX70" fmla="*/ 4111 w 10000"/>
                    <a:gd name="connsiteY70" fmla="*/ 404 h 10127"/>
                    <a:gd name="connsiteX71" fmla="*/ 4111 w 10000"/>
                    <a:gd name="connsiteY71" fmla="*/ 404 h 10127"/>
                    <a:gd name="connsiteX72" fmla="*/ 4195 w 10000"/>
                    <a:gd name="connsiteY72" fmla="*/ 119 h 10127"/>
                    <a:gd name="connsiteX73" fmla="*/ 4213 w 10000"/>
                    <a:gd name="connsiteY73" fmla="*/ 0 h 10127"/>
                    <a:gd name="connsiteX74" fmla="*/ 4000 w 10000"/>
                    <a:gd name="connsiteY74" fmla="*/ 127 h 10127"/>
                    <a:gd name="connsiteX75" fmla="*/ 3722 w 10000"/>
                    <a:gd name="connsiteY75" fmla="*/ 200 h 10127"/>
                    <a:gd name="connsiteX76" fmla="*/ 3611 w 10000"/>
                    <a:gd name="connsiteY76" fmla="*/ 273 h 10127"/>
                    <a:gd name="connsiteX77" fmla="*/ 3556 w 10000"/>
                    <a:gd name="connsiteY77" fmla="*/ 344 h 10127"/>
                    <a:gd name="connsiteX78" fmla="*/ 3556 w 10000"/>
                    <a:gd name="connsiteY78" fmla="*/ 344 h 10127"/>
                    <a:gd name="connsiteX79" fmla="*/ 3444 w 10000"/>
                    <a:gd name="connsiteY79" fmla="*/ 618 h 10127"/>
                    <a:gd name="connsiteX80" fmla="*/ 3278 w 10000"/>
                    <a:gd name="connsiteY80" fmla="*/ 1039 h 10127"/>
                    <a:gd name="connsiteX81" fmla="*/ 3000 w 10000"/>
                    <a:gd name="connsiteY81" fmla="*/ 1516 h 10127"/>
                    <a:gd name="connsiteX82" fmla="*/ 2667 w 10000"/>
                    <a:gd name="connsiteY82" fmla="*/ 1866 h 10127"/>
                    <a:gd name="connsiteX83" fmla="*/ 2667 w 10000"/>
                    <a:gd name="connsiteY83" fmla="*/ 1866 h 10127"/>
                    <a:gd name="connsiteX84" fmla="*/ 2333 w 10000"/>
                    <a:gd name="connsiteY84" fmla="*/ 2152 h 10127"/>
                    <a:gd name="connsiteX85" fmla="*/ 1833 w 10000"/>
                    <a:gd name="connsiteY85" fmla="*/ 2431 h 10127"/>
                    <a:gd name="connsiteX86" fmla="*/ 1389 w 10000"/>
                    <a:gd name="connsiteY86" fmla="*/ 2562 h 10127"/>
                    <a:gd name="connsiteX87" fmla="*/ 889 w 10000"/>
                    <a:gd name="connsiteY87" fmla="*/ 2633 h 10127"/>
                    <a:gd name="connsiteX88" fmla="*/ 889 w 10000"/>
                    <a:gd name="connsiteY88" fmla="*/ 2633 h 10127"/>
                    <a:gd name="connsiteX89" fmla="*/ 500 w 10000"/>
                    <a:gd name="connsiteY89" fmla="*/ 2717 h 10127"/>
                    <a:gd name="connsiteX90" fmla="*/ 222 w 10000"/>
                    <a:gd name="connsiteY90" fmla="*/ 2768 h 10127"/>
                    <a:gd name="connsiteX91" fmla="*/ 0 w 10000"/>
                    <a:gd name="connsiteY91" fmla="*/ 2836 h 10127"/>
                    <a:gd name="connsiteX92" fmla="*/ 0 w 10000"/>
                    <a:gd name="connsiteY92" fmla="*/ 2836 h 10127"/>
                    <a:gd name="connsiteX93" fmla="*/ 278 w 10000"/>
                    <a:gd name="connsiteY93" fmla="*/ 3955 h 10127"/>
                    <a:gd name="connsiteX94" fmla="*/ 500 w 10000"/>
                    <a:gd name="connsiteY94" fmla="*/ 4773 h 10127"/>
                    <a:gd name="connsiteX95" fmla="*/ 722 w 10000"/>
                    <a:gd name="connsiteY95" fmla="*/ 5476 h 10127"/>
                    <a:gd name="connsiteX96" fmla="*/ 722 w 10000"/>
                    <a:gd name="connsiteY96" fmla="*/ 5476 h 10127"/>
                    <a:gd name="connsiteX97" fmla="*/ 889 w 10000"/>
                    <a:gd name="connsiteY97" fmla="*/ 5891 h 10127"/>
                    <a:gd name="connsiteX98" fmla="*/ 944 w 10000"/>
                    <a:gd name="connsiteY98" fmla="*/ 6248 h 10127"/>
                    <a:gd name="connsiteX99" fmla="*/ 1111 w 10000"/>
                    <a:gd name="connsiteY99" fmla="*/ 6598 h 10127"/>
                    <a:gd name="connsiteX100" fmla="*/ 1333 w 10000"/>
                    <a:gd name="connsiteY100" fmla="*/ 7136 h 10127"/>
                    <a:gd name="connsiteX101" fmla="*/ 1333 w 10000"/>
                    <a:gd name="connsiteY101" fmla="*/ 7136 h 10127"/>
                    <a:gd name="connsiteX102" fmla="*/ 1444 w 10000"/>
                    <a:gd name="connsiteY102" fmla="*/ 7417 h 10127"/>
                    <a:gd name="connsiteX103" fmla="*/ 1500 w 10000"/>
                    <a:gd name="connsiteY103" fmla="*/ 7626 h 10127"/>
                    <a:gd name="connsiteX104" fmla="*/ 1500 w 10000"/>
                    <a:gd name="connsiteY104" fmla="*/ 7823 h 10127"/>
                    <a:gd name="connsiteX105" fmla="*/ 1556 w 10000"/>
                    <a:gd name="connsiteY105" fmla="*/ 7911 h 10127"/>
                    <a:gd name="connsiteX106" fmla="*/ 1722 w 10000"/>
                    <a:gd name="connsiteY106" fmla="*/ 7973 h 10127"/>
                    <a:gd name="connsiteX107" fmla="*/ 1944 w 10000"/>
                    <a:gd name="connsiteY107" fmla="*/ 8038 h 10127"/>
                    <a:gd name="connsiteX108" fmla="*/ 2944 w 10000"/>
                    <a:gd name="connsiteY108" fmla="*/ 8115 h 10127"/>
                    <a:gd name="connsiteX109" fmla="*/ 2944 w 10000"/>
                    <a:gd name="connsiteY109" fmla="*/ 8115 h 10127"/>
                    <a:gd name="connsiteX110" fmla="*/ 4167 w 10000"/>
                    <a:gd name="connsiteY110" fmla="*/ 8256 h 10127"/>
                    <a:gd name="connsiteX111" fmla="*/ 4889 w 10000"/>
                    <a:gd name="connsiteY111" fmla="*/ 8452 h 10127"/>
                    <a:gd name="connsiteX112" fmla="*/ 5278 w 10000"/>
                    <a:gd name="connsiteY112" fmla="*/ 8673 h 10127"/>
                    <a:gd name="connsiteX113" fmla="*/ 5444 w 10000"/>
                    <a:gd name="connsiteY113" fmla="*/ 8731 h 10127"/>
                    <a:gd name="connsiteX114" fmla="*/ 5444 w 10000"/>
                    <a:gd name="connsiteY114" fmla="*/ 8731 h 10127"/>
                    <a:gd name="connsiteX115" fmla="*/ 5722 w 10000"/>
                    <a:gd name="connsiteY115" fmla="*/ 8886 h 10127"/>
                    <a:gd name="connsiteX116" fmla="*/ 5833 w 10000"/>
                    <a:gd name="connsiteY116" fmla="*/ 8957 h 10127"/>
                    <a:gd name="connsiteX117" fmla="*/ 5833 w 10000"/>
                    <a:gd name="connsiteY117" fmla="*/ 8957 h 10127"/>
                    <a:gd name="connsiteX118" fmla="*/ 5833 w 10000"/>
                    <a:gd name="connsiteY118" fmla="*/ 8886 h 10127"/>
                    <a:gd name="connsiteX119" fmla="*/ 5889 w 10000"/>
                    <a:gd name="connsiteY119" fmla="*/ 8808 h 10127"/>
                    <a:gd name="connsiteX120" fmla="*/ 6000 w 10000"/>
                    <a:gd name="connsiteY120" fmla="*/ 8731 h 10127"/>
                    <a:gd name="connsiteX121" fmla="*/ 6167 w 10000"/>
                    <a:gd name="connsiteY121" fmla="*/ 8673 h 10127"/>
                    <a:gd name="connsiteX122" fmla="*/ 6444 w 10000"/>
                    <a:gd name="connsiteY122" fmla="*/ 8673 h 10127"/>
                    <a:gd name="connsiteX123" fmla="*/ 6833 w 10000"/>
                    <a:gd name="connsiteY123" fmla="*/ 8731 h 10127"/>
                    <a:gd name="connsiteX124" fmla="*/ 7278 w 10000"/>
                    <a:gd name="connsiteY124" fmla="*/ 8957 h 10127"/>
                    <a:gd name="connsiteX125" fmla="*/ 7278 w 10000"/>
                    <a:gd name="connsiteY125" fmla="*/ 8957 h 10127"/>
                    <a:gd name="connsiteX126" fmla="*/ 8722 w 10000"/>
                    <a:gd name="connsiteY126" fmla="*/ 9563 h 10127"/>
                    <a:gd name="connsiteX127" fmla="*/ 10000 w 10000"/>
                    <a:gd name="connsiteY127" fmla="*/ 10127 h 10127"/>
                    <a:gd name="connsiteX128" fmla="*/ 10000 w 10000"/>
                    <a:gd name="connsiteY12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417 w 10000"/>
                    <a:gd name="connsiteY33" fmla="*/ 5661 h 10127"/>
                    <a:gd name="connsiteX34" fmla="*/ 9278 w 10000"/>
                    <a:gd name="connsiteY34" fmla="*/ 5560 h 10127"/>
                    <a:gd name="connsiteX35" fmla="*/ 9056 w 10000"/>
                    <a:gd name="connsiteY35" fmla="*/ 5476 h 10127"/>
                    <a:gd name="connsiteX36" fmla="*/ 8889 w 10000"/>
                    <a:gd name="connsiteY36" fmla="*/ 5399 h 10127"/>
                    <a:gd name="connsiteX37" fmla="*/ 8722 w 10000"/>
                    <a:gd name="connsiteY37" fmla="*/ 5267 h 10127"/>
                    <a:gd name="connsiteX38" fmla="*/ 8611 w 10000"/>
                    <a:gd name="connsiteY38" fmla="*/ 5051 h 10127"/>
                    <a:gd name="connsiteX39" fmla="*/ 8444 w 10000"/>
                    <a:gd name="connsiteY39" fmla="*/ 4703 h 10127"/>
                    <a:gd name="connsiteX40" fmla="*/ 8444 w 10000"/>
                    <a:gd name="connsiteY40" fmla="*/ 4703 h 10127"/>
                    <a:gd name="connsiteX41" fmla="*/ 8222 w 10000"/>
                    <a:gd name="connsiteY41" fmla="*/ 4096 h 10127"/>
                    <a:gd name="connsiteX42" fmla="*/ 8111 w 10000"/>
                    <a:gd name="connsiteY42" fmla="*/ 3816 h 10127"/>
                    <a:gd name="connsiteX43" fmla="*/ 7944 w 10000"/>
                    <a:gd name="connsiteY43" fmla="*/ 3605 h 10127"/>
                    <a:gd name="connsiteX44" fmla="*/ 7778 w 10000"/>
                    <a:gd name="connsiteY44" fmla="*/ 3471 h 10127"/>
                    <a:gd name="connsiteX45" fmla="*/ 7556 w 10000"/>
                    <a:gd name="connsiteY45" fmla="*/ 3389 h 10127"/>
                    <a:gd name="connsiteX46" fmla="*/ 7333 w 10000"/>
                    <a:gd name="connsiteY46" fmla="*/ 3324 h 10127"/>
                    <a:gd name="connsiteX47" fmla="*/ 7000 w 10000"/>
                    <a:gd name="connsiteY47" fmla="*/ 3247 h 10127"/>
                    <a:gd name="connsiteX48" fmla="*/ 7000 w 10000"/>
                    <a:gd name="connsiteY48" fmla="*/ 3247 h 10127"/>
                    <a:gd name="connsiteX49" fmla="*/ 6556 w 10000"/>
                    <a:gd name="connsiteY49" fmla="*/ 3324 h 10127"/>
                    <a:gd name="connsiteX50" fmla="*/ 6222 w 10000"/>
                    <a:gd name="connsiteY50" fmla="*/ 3324 h 10127"/>
                    <a:gd name="connsiteX51" fmla="*/ 6111 w 10000"/>
                    <a:gd name="connsiteY51" fmla="*/ 3247 h 10127"/>
                    <a:gd name="connsiteX52" fmla="*/ 6056 w 10000"/>
                    <a:gd name="connsiteY52" fmla="*/ 3185 h 10127"/>
                    <a:gd name="connsiteX53" fmla="*/ 6056 w 10000"/>
                    <a:gd name="connsiteY53" fmla="*/ 3185 h 10127"/>
                    <a:gd name="connsiteX54" fmla="*/ 6056 w 10000"/>
                    <a:gd name="connsiteY54" fmla="*/ 1943 h 10127"/>
                    <a:gd name="connsiteX55" fmla="*/ 6056 w 10000"/>
                    <a:gd name="connsiteY55" fmla="*/ 1943 h 10127"/>
                    <a:gd name="connsiteX56" fmla="*/ 6056 w 10000"/>
                    <a:gd name="connsiteY56" fmla="*/ 1652 h 10127"/>
                    <a:gd name="connsiteX57" fmla="*/ 5944 w 10000"/>
                    <a:gd name="connsiteY57" fmla="*/ 1308 h 10127"/>
                    <a:gd name="connsiteX58" fmla="*/ 5889 w 10000"/>
                    <a:gd name="connsiteY58" fmla="*/ 1230 h 10127"/>
                    <a:gd name="connsiteX59" fmla="*/ 5778 w 10000"/>
                    <a:gd name="connsiteY59" fmla="*/ 1167 h 10127"/>
                    <a:gd name="connsiteX60" fmla="*/ 5667 w 10000"/>
                    <a:gd name="connsiteY60" fmla="*/ 1167 h 10127"/>
                    <a:gd name="connsiteX61" fmla="*/ 5500 w 10000"/>
                    <a:gd name="connsiteY61" fmla="*/ 1230 h 10127"/>
                    <a:gd name="connsiteX62" fmla="*/ 5500 w 10000"/>
                    <a:gd name="connsiteY62" fmla="*/ 1230 h 10127"/>
                    <a:gd name="connsiteX63" fmla="*/ 4889 w 10000"/>
                    <a:gd name="connsiteY63" fmla="*/ 1726 h 10127"/>
                    <a:gd name="connsiteX64" fmla="*/ 4611 w 10000"/>
                    <a:gd name="connsiteY64" fmla="*/ 1866 h 10127"/>
                    <a:gd name="connsiteX65" fmla="*/ 4556 w 10000"/>
                    <a:gd name="connsiteY65" fmla="*/ 1943 h 10127"/>
                    <a:gd name="connsiteX66" fmla="*/ 4500 w 10000"/>
                    <a:gd name="connsiteY66" fmla="*/ 1866 h 10127"/>
                    <a:gd name="connsiteX67" fmla="*/ 4500 w 10000"/>
                    <a:gd name="connsiteY67" fmla="*/ 1866 h 10127"/>
                    <a:gd name="connsiteX68" fmla="*/ 4111 w 10000"/>
                    <a:gd name="connsiteY68" fmla="*/ 822 h 10127"/>
                    <a:gd name="connsiteX69" fmla="*/ 4111 w 10000"/>
                    <a:gd name="connsiteY69" fmla="*/ 404 h 10127"/>
                    <a:gd name="connsiteX70" fmla="*/ 4111 w 10000"/>
                    <a:gd name="connsiteY70" fmla="*/ 404 h 10127"/>
                    <a:gd name="connsiteX71" fmla="*/ 4195 w 10000"/>
                    <a:gd name="connsiteY71" fmla="*/ 119 h 10127"/>
                    <a:gd name="connsiteX72" fmla="*/ 4213 w 10000"/>
                    <a:gd name="connsiteY72" fmla="*/ 0 h 10127"/>
                    <a:gd name="connsiteX73" fmla="*/ 4000 w 10000"/>
                    <a:gd name="connsiteY73" fmla="*/ 127 h 10127"/>
                    <a:gd name="connsiteX74" fmla="*/ 3722 w 10000"/>
                    <a:gd name="connsiteY74" fmla="*/ 200 h 10127"/>
                    <a:gd name="connsiteX75" fmla="*/ 3611 w 10000"/>
                    <a:gd name="connsiteY75" fmla="*/ 273 h 10127"/>
                    <a:gd name="connsiteX76" fmla="*/ 3556 w 10000"/>
                    <a:gd name="connsiteY76" fmla="*/ 344 h 10127"/>
                    <a:gd name="connsiteX77" fmla="*/ 3556 w 10000"/>
                    <a:gd name="connsiteY77" fmla="*/ 344 h 10127"/>
                    <a:gd name="connsiteX78" fmla="*/ 3444 w 10000"/>
                    <a:gd name="connsiteY78" fmla="*/ 618 h 10127"/>
                    <a:gd name="connsiteX79" fmla="*/ 3278 w 10000"/>
                    <a:gd name="connsiteY79" fmla="*/ 1039 h 10127"/>
                    <a:gd name="connsiteX80" fmla="*/ 3000 w 10000"/>
                    <a:gd name="connsiteY80" fmla="*/ 1516 h 10127"/>
                    <a:gd name="connsiteX81" fmla="*/ 2667 w 10000"/>
                    <a:gd name="connsiteY81" fmla="*/ 1866 h 10127"/>
                    <a:gd name="connsiteX82" fmla="*/ 2667 w 10000"/>
                    <a:gd name="connsiteY82" fmla="*/ 1866 h 10127"/>
                    <a:gd name="connsiteX83" fmla="*/ 2333 w 10000"/>
                    <a:gd name="connsiteY83" fmla="*/ 2152 h 10127"/>
                    <a:gd name="connsiteX84" fmla="*/ 1833 w 10000"/>
                    <a:gd name="connsiteY84" fmla="*/ 2431 h 10127"/>
                    <a:gd name="connsiteX85" fmla="*/ 1389 w 10000"/>
                    <a:gd name="connsiteY85" fmla="*/ 2562 h 10127"/>
                    <a:gd name="connsiteX86" fmla="*/ 889 w 10000"/>
                    <a:gd name="connsiteY86" fmla="*/ 2633 h 10127"/>
                    <a:gd name="connsiteX87" fmla="*/ 889 w 10000"/>
                    <a:gd name="connsiteY87" fmla="*/ 2633 h 10127"/>
                    <a:gd name="connsiteX88" fmla="*/ 500 w 10000"/>
                    <a:gd name="connsiteY88" fmla="*/ 2717 h 10127"/>
                    <a:gd name="connsiteX89" fmla="*/ 222 w 10000"/>
                    <a:gd name="connsiteY89" fmla="*/ 2768 h 10127"/>
                    <a:gd name="connsiteX90" fmla="*/ 0 w 10000"/>
                    <a:gd name="connsiteY90" fmla="*/ 2836 h 10127"/>
                    <a:gd name="connsiteX91" fmla="*/ 0 w 10000"/>
                    <a:gd name="connsiteY91" fmla="*/ 2836 h 10127"/>
                    <a:gd name="connsiteX92" fmla="*/ 278 w 10000"/>
                    <a:gd name="connsiteY92" fmla="*/ 3955 h 10127"/>
                    <a:gd name="connsiteX93" fmla="*/ 500 w 10000"/>
                    <a:gd name="connsiteY93" fmla="*/ 4773 h 10127"/>
                    <a:gd name="connsiteX94" fmla="*/ 722 w 10000"/>
                    <a:gd name="connsiteY94" fmla="*/ 5476 h 10127"/>
                    <a:gd name="connsiteX95" fmla="*/ 722 w 10000"/>
                    <a:gd name="connsiteY95" fmla="*/ 5476 h 10127"/>
                    <a:gd name="connsiteX96" fmla="*/ 889 w 10000"/>
                    <a:gd name="connsiteY96" fmla="*/ 5891 h 10127"/>
                    <a:gd name="connsiteX97" fmla="*/ 944 w 10000"/>
                    <a:gd name="connsiteY97" fmla="*/ 6248 h 10127"/>
                    <a:gd name="connsiteX98" fmla="*/ 1111 w 10000"/>
                    <a:gd name="connsiteY98" fmla="*/ 6598 h 10127"/>
                    <a:gd name="connsiteX99" fmla="*/ 1333 w 10000"/>
                    <a:gd name="connsiteY99" fmla="*/ 7136 h 10127"/>
                    <a:gd name="connsiteX100" fmla="*/ 1333 w 10000"/>
                    <a:gd name="connsiteY100" fmla="*/ 7136 h 10127"/>
                    <a:gd name="connsiteX101" fmla="*/ 1444 w 10000"/>
                    <a:gd name="connsiteY101" fmla="*/ 7417 h 10127"/>
                    <a:gd name="connsiteX102" fmla="*/ 1500 w 10000"/>
                    <a:gd name="connsiteY102" fmla="*/ 7626 h 10127"/>
                    <a:gd name="connsiteX103" fmla="*/ 1500 w 10000"/>
                    <a:gd name="connsiteY103" fmla="*/ 7823 h 10127"/>
                    <a:gd name="connsiteX104" fmla="*/ 1556 w 10000"/>
                    <a:gd name="connsiteY104" fmla="*/ 7911 h 10127"/>
                    <a:gd name="connsiteX105" fmla="*/ 1722 w 10000"/>
                    <a:gd name="connsiteY105" fmla="*/ 7973 h 10127"/>
                    <a:gd name="connsiteX106" fmla="*/ 1944 w 10000"/>
                    <a:gd name="connsiteY106" fmla="*/ 8038 h 10127"/>
                    <a:gd name="connsiteX107" fmla="*/ 2944 w 10000"/>
                    <a:gd name="connsiteY107" fmla="*/ 8115 h 10127"/>
                    <a:gd name="connsiteX108" fmla="*/ 2944 w 10000"/>
                    <a:gd name="connsiteY108" fmla="*/ 8115 h 10127"/>
                    <a:gd name="connsiteX109" fmla="*/ 4167 w 10000"/>
                    <a:gd name="connsiteY109" fmla="*/ 8256 h 10127"/>
                    <a:gd name="connsiteX110" fmla="*/ 4889 w 10000"/>
                    <a:gd name="connsiteY110" fmla="*/ 8452 h 10127"/>
                    <a:gd name="connsiteX111" fmla="*/ 5278 w 10000"/>
                    <a:gd name="connsiteY111" fmla="*/ 8673 h 10127"/>
                    <a:gd name="connsiteX112" fmla="*/ 5444 w 10000"/>
                    <a:gd name="connsiteY112" fmla="*/ 8731 h 10127"/>
                    <a:gd name="connsiteX113" fmla="*/ 5444 w 10000"/>
                    <a:gd name="connsiteY113" fmla="*/ 8731 h 10127"/>
                    <a:gd name="connsiteX114" fmla="*/ 5722 w 10000"/>
                    <a:gd name="connsiteY114" fmla="*/ 8886 h 10127"/>
                    <a:gd name="connsiteX115" fmla="*/ 5833 w 10000"/>
                    <a:gd name="connsiteY115" fmla="*/ 8957 h 10127"/>
                    <a:gd name="connsiteX116" fmla="*/ 5833 w 10000"/>
                    <a:gd name="connsiteY116" fmla="*/ 8957 h 10127"/>
                    <a:gd name="connsiteX117" fmla="*/ 5833 w 10000"/>
                    <a:gd name="connsiteY117" fmla="*/ 8886 h 10127"/>
                    <a:gd name="connsiteX118" fmla="*/ 5889 w 10000"/>
                    <a:gd name="connsiteY118" fmla="*/ 8808 h 10127"/>
                    <a:gd name="connsiteX119" fmla="*/ 6000 w 10000"/>
                    <a:gd name="connsiteY119" fmla="*/ 8731 h 10127"/>
                    <a:gd name="connsiteX120" fmla="*/ 6167 w 10000"/>
                    <a:gd name="connsiteY120" fmla="*/ 8673 h 10127"/>
                    <a:gd name="connsiteX121" fmla="*/ 6444 w 10000"/>
                    <a:gd name="connsiteY121" fmla="*/ 8673 h 10127"/>
                    <a:gd name="connsiteX122" fmla="*/ 6833 w 10000"/>
                    <a:gd name="connsiteY122" fmla="*/ 8731 h 10127"/>
                    <a:gd name="connsiteX123" fmla="*/ 7278 w 10000"/>
                    <a:gd name="connsiteY123" fmla="*/ 8957 h 10127"/>
                    <a:gd name="connsiteX124" fmla="*/ 7278 w 10000"/>
                    <a:gd name="connsiteY124" fmla="*/ 8957 h 10127"/>
                    <a:gd name="connsiteX125" fmla="*/ 8722 w 10000"/>
                    <a:gd name="connsiteY125" fmla="*/ 9563 h 10127"/>
                    <a:gd name="connsiteX126" fmla="*/ 10000 w 10000"/>
                    <a:gd name="connsiteY126" fmla="*/ 10127 h 10127"/>
                    <a:gd name="connsiteX127" fmla="*/ 10000 w 10000"/>
                    <a:gd name="connsiteY127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278 w 10000"/>
                    <a:gd name="connsiteY33" fmla="*/ 5560 h 10127"/>
                    <a:gd name="connsiteX34" fmla="*/ 9056 w 10000"/>
                    <a:gd name="connsiteY34" fmla="*/ 5476 h 10127"/>
                    <a:gd name="connsiteX35" fmla="*/ 8889 w 10000"/>
                    <a:gd name="connsiteY35" fmla="*/ 5399 h 10127"/>
                    <a:gd name="connsiteX36" fmla="*/ 8722 w 10000"/>
                    <a:gd name="connsiteY36" fmla="*/ 5267 h 10127"/>
                    <a:gd name="connsiteX37" fmla="*/ 8611 w 10000"/>
                    <a:gd name="connsiteY37" fmla="*/ 5051 h 10127"/>
                    <a:gd name="connsiteX38" fmla="*/ 8444 w 10000"/>
                    <a:gd name="connsiteY38" fmla="*/ 4703 h 10127"/>
                    <a:gd name="connsiteX39" fmla="*/ 8444 w 10000"/>
                    <a:gd name="connsiteY39" fmla="*/ 4703 h 10127"/>
                    <a:gd name="connsiteX40" fmla="*/ 8222 w 10000"/>
                    <a:gd name="connsiteY40" fmla="*/ 4096 h 10127"/>
                    <a:gd name="connsiteX41" fmla="*/ 8111 w 10000"/>
                    <a:gd name="connsiteY41" fmla="*/ 3816 h 10127"/>
                    <a:gd name="connsiteX42" fmla="*/ 7944 w 10000"/>
                    <a:gd name="connsiteY42" fmla="*/ 3605 h 10127"/>
                    <a:gd name="connsiteX43" fmla="*/ 7778 w 10000"/>
                    <a:gd name="connsiteY43" fmla="*/ 3471 h 10127"/>
                    <a:gd name="connsiteX44" fmla="*/ 7556 w 10000"/>
                    <a:gd name="connsiteY44" fmla="*/ 3389 h 10127"/>
                    <a:gd name="connsiteX45" fmla="*/ 7333 w 10000"/>
                    <a:gd name="connsiteY45" fmla="*/ 3324 h 10127"/>
                    <a:gd name="connsiteX46" fmla="*/ 7000 w 10000"/>
                    <a:gd name="connsiteY46" fmla="*/ 3247 h 10127"/>
                    <a:gd name="connsiteX47" fmla="*/ 7000 w 10000"/>
                    <a:gd name="connsiteY47" fmla="*/ 3247 h 10127"/>
                    <a:gd name="connsiteX48" fmla="*/ 6556 w 10000"/>
                    <a:gd name="connsiteY48" fmla="*/ 3324 h 10127"/>
                    <a:gd name="connsiteX49" fmla="*/ 6222 w 10000"/>
                    <a:gd name="connsiteY49" fmla="*/ 3324 h 10127"/>
                    <a:gd name="connsiteX50" fmla="*/ 6111 w 10000"/>
                    <a:gd name="connsiteY50" fmla="*/ 3247 h 10127"/>
                    <a:gd name="connsiteX51" fmla="*/ 6056 w 10000"/>
                    <a:gd name="connsiteY51" fmla="*/ 3185 h 10127"/>
                    <a:gd name="connsiteX52" fmla="*/ 6056 w 10000"/>
                    <a:gd name="connsiteY52" fmla="*/ 3185 h 10127"/>
                    <a:gd name="connsiteX53" fmla="*/ 6056 w 10000"/>
                    <a:gd name="connsiteY53" fmla="*/ 1943 h 10127"/>
                    <a:gd name="connsiteX54" fmla="*/ 6056 w 10000"/>
                    <a:gd name="connsiteY54" fmla="*/ 1943 h 10127"/>
                    <a:gd name="connsiteX55" fmla="*/ 6056 w 10000"/>
                    <a:gd name="connsiteY55" fmla="*/ 1652 h 10127"/>
                    <a:gd name="connsiteX56" fmla="*/ 5944 w 10000"/>
                    <a:gd name="connsiteY56" fmla="*/ 1308 h 10127"/>
                    <a:gd name="connsiteX57" fmla="*/ 5889 w 10000"/>
                    <a:gd name="connsiteY57" fmla="*/ 1230 h 10127"/>
                    <a:gd name="connsiteX58" fmla="*/ 5778 w 10000"/>
                    <a:gd name="connsiteY58" fmla="*/ 1167 h 10127"/>
                    <a:gd name="connsiteX59" fmla="*/ 5667 w 10000"/>
                    <a:gd name="connsiteY59" fmla="*/ 1167 h 10127"/>
                    <a:gd name="connsiteX60" fmla="*/ 5500 w 10000"/>
                    <a:gd name="connsiteY60" fmla="*/ 1230 h 10127"/>
                    <a:gd name="connsiteX61" fmla="*/ 5500 w 10000"/>
                    <a:gd name="connsiteY61" fmla="*/ 1230 h 10127"/>
                    <a:gd name="connsiteX62" fmla="*/ 4889 w 10000"/>
                    <a:gd name="connsiteY62" fmla="*/ 1726 h 10127"/>
                    <a:gd name="connsiteX63" fmla="*/ 4611 w 10000"/>
                    <a:gd name="connsiteY63" fmla="*/ 1866 h 10127"/>
                    <a:gd name="connsiteX64" fmla="*/ 4556 w 10000"/>
                    <a:gd name="connsiteY64" fmla="*/ 1943 h 10127"/>
                    <a:gd name="connsiteX65" fmla="*/ 4500 w 10000"/>
                    <a:gd name="connsiteY65" fmla="*/ 1866 h 10127"/>
                    <a:gd name="connsiteX66" fmla="*/ 4500 w 10000"/>
                    <a:gd name="connsiteY66" fmla="*/ 1866 h 10127"/>
                    <a:gd name="connsiteX67" fmla="*/ 4111 w 10000"/>
                    <a:gd name="connsiteY67" fmla="*/ 822 h 10127"/>
                    <a:gd name="connsiteX68" fmla="*/ 4111 w 10000"/>
                    <a:gd name="connsiteY68" fmla="*/ 404 h 10127"/>
                    <a:gd name="connsiteX69" fmla="*/ 4111 w 10000"/>
                    <a:gd name="connsiteY69" fmla="*/ 404 h 10127"/>
                    <a:gd name="connsiteX70" fmla="*/ 4195 w 10000"/>
                    <a:gd name="connsiteY70" fmla="*/ 119 h 10127"/>
                    <a:gd name="connsiteX71" fmla="*/ 4213 w 10000"/>
                    <a:gd name="connsiteY71" fmla="*/ 0 h 10127"/>
                    <a:gd name="connsiteX72" fmla="*/ 4000 w 10000"/>
                    <a:gd name="connsiteY72" fmla="*/ 127 h 10127"/>
                    <a:gd name="connsiteX73" fmla="*/ 3722 w 10000"/>
                    <a:gd name="connsiteY73" fmla="*/ 200 h 10127"/>
                    <a:gd name="connsiteX74" fmla="*/ 3611 w 10000"/>
                    <a:gd name="connsiteY74" fmla="*/ 273 h 10127"/>
                    <a:gd name="connsiteX75" fmla="*/ 3556 w 10000"/>
                    <a:gd name="connsiteY75" fmla="*/ 344 h 10127"/>
                    <a:gd name="connsiteX76" fmla="*/ 3556 w 10000"/>
                    <a:gd name="connsiteY76" fmla="*/ 344 h 10127"/>
                    <a:gd name="connsiteX77" fmla="*/ 3444 w 10000"/>
                    <a:gd name="connsiteY77" fmla="*/ 618 h 10127"/>
                    <a:gd name="connsiteX78" fmla="*/ 3278 w 10000"/>
                    <a:gd name="connsiteY78" fmla="*/ 1039 h 10127"/>
                    <a:gd name="connsiteX79" fmla="*/ 3000 w 10000"/>
                    <a:gd name="connsiteY79" fmla="*/ 1516 h 10127"/>
                    <a:gd name="connsiteX80" fmla="*/ 2667 w 10000"/>
                    <a:gd name="connsiteY80" fmla="*/ 1866 h 10127"/>
                    <a:gd name="connsiteX81" fmla="*/ 2667 w 10000"/>
                    <a:gd name="connsiteY81" fmla="*/ 1866 h 10127"/>
                    <a:gd name="connsiteX82" fmla="*/ 2333 w 10000"/>
                    <a:gd name="connsiteY82" fmla="*/ 2152 h 10127"/>
                    <a:gd name="connsiteX83" fmla="*/ 1833 w 10000"/>
                    <a:gd name="connsiteY83" fmla="*/ 2431 h 10127"/>
                    <a:gd name="connsiteX84" fmla="*/ 1389 w 10000"/>
                    <a:gd name="connsiteY84" fmla="*/ 2562 h 10127"/>
                    <a:gd name="connsiteX85" fmla="*/ 889 w 10000"/>
                    <a:gd name="connsiteY85" fmla="*/ 2633 h 10127"/>
                    <a:gd name="connsiteX86" fmla="*/ 889 w 10000"/>
                    <a:gd name="connsiteY86" fmla="*/ 2633 h 10127"/>
                    <a:gd name="connsiteX87" fmla="*/ 500 w 10000"/>
                    <a:gd name="connsiteY87" fmla="*/ 2717 h 10127"/>
                    <a:gd name="connsiteX88" fmla="*/ 222 w 10000"/>
                    <a:gd name="connsiteY88" fmla="*/ 2768 h 10127"/>
                    <a:gd name="connsiteX89" fmla="*/ 0 w 10000"/>
                    <a:gd name="connsiteY89" fmla="*/ 2836 h 10127"/>
                    <a:gd name="connsiteX90" fmla="*/ 0 w 10000"/>
                    <a:gd name="connsiteY90" fmla="*/ 2836 h 10127"/>
                    <a:gd name="connsiteX91" fmla="*/ 278 w 10000"/>
                    <a:gd name="connsiteY91" fmla="*/ 3955 h 10127"/>
                    <a:gd name="connsiteX92" fmla="*/ 500 w 10000"/>
                    <a:gd name="connsiteY92" fmla="*/ 4773 h 10127"/>
                    <a:gd name="connsiteX93" fmla="*/ 722 w 10000"/>
                    <a:gd name="connsiteY93" fmla="*/ 5476 h 10127"/>
                    <a:gd name="connsiteX94" fmla="*/ 722 w 10000"/>
                    <a:gd name="connsiteY94" fmla="*/ 5476 h 10127"/>
                    <a:gd name="connsiteX95" fmla="*/ 889 w 10000"/>
                    <a:gd name="connsiteY95" fmla="*/ 5891 h 10127"/>
                    <a:gd name="connsiteX96" fmla="*/ 944 w 10000"/>
                    <a:gd name="connsiteY96" fmla="*/ 6248 h 10127"/>
                    <a:gd name="connsiteX97" fmla="*/ 1111 w 10000"/>
                    <a:gd name="connsiteY97" fmla="*/ 6598 h 10127"/>
                    <a:gd name="connsiteX98" fmla="*/ 1333 w 10000"/>
                    <a:gd name="connsiteY98" fmla="*/ 7136 h 10127"/>
                    <a:gd name="connsiteX99" fmla="*/ 1333 w 10000"/>
                    <a:gd name="connsiteY99" fmla="*/ 7136 h 10127"/>
                    <a:gd name="connsiteX100" fmla="*/ 1444 w 10000"/>
                    <a:gd name="connsiteY100" fmla="*/ 7417 h 10127"/>
                    <a:gd name="connsiteX101" fmla="*/ 1500 w 10000"/>
                    <a:gd name="connsiteY101" fmla="*/ 7626 h 10127"/>
                    <a:gd name="connsiteX102" fmla="*/ 1500 w 10000"/>
                    <a:gd name="connsiteY102" fmla="*/ 7823 h 10127"/>
                    <a:gd name="connsiteX103" fmla="*/ 1556 w 10000"/>
                    <a:gd name="connsiteY103" fmla="*/ 7911 h 10127"/>
                    <a:gd name="connsiteX104" fmla="*/ 1722 w 10000"/>
                    <a:gd name="connsiteY104" fmla="*/ 7973 h 10127"/>
                    <a:gd name="connsiteX105" fmla="*/ 1944 w 10000"/>
                    <a:gd name="connsiteY105" fmla="*/ 8038 h 10127"/>
                    <a:gd name="connsiteX106" fmla="*/ 2944 w 10000"/>
                    <a:gd name="connsiteY106" fmla="*/ 8115 h 10127"/>
                    <a:gd name="connsiteX107" fmla="*/ 2944 w 10000"/>
                    <a:gd name="connsiteY107" fmla="*/ 8115 h 10127"/>
                    <a:gd name="connsiteX108" fmla="*/ 4167 w 10000"/>
                    <a:gd name="connsiteY108" fmla="*/ 8256 h 10127"/>
                    <a:gd name="connsiteX109" fmla="*/ 4889 w 10000"/>
                    <a:gd name="connsiteY109" fmla="*/ 8452 h 10127"/>
                    <a:gd name="connsiteX110" fmla="*/ 5278 w 10000"/>
                    <a:gd name="connsiteY110" fmla="*/ 8673 h 10127"/>
                    <a:gd name="connsiteX111" fmla="*/ 5444 w 10000"/>
                    <a:gd name="connsiteY111" fmla="*/ 8731 h 10127"/>
                    <a:gd name="connsiteX112" fmla="*/ 5444 w 10000"/>
                    <a:gd name="connsiteY112" fmla="*/ 8731 h 10127"/>
                    <a:gd name="connsiteX113" fmla="*/ 5722 w 10000"/>
                    <a:gd name="connsiteY113" fmla="*/ 8886 h 10127"/>
                    <a:gd name="connsiteX114" fmla="*/ 5833 w 10000"/>
                    <a:gd name="connsiteY114" fmla="*/ 8957 h 10127"/>
                    <a:gd name="connsiteX115" fmla="*/ 5833 w 10000"/>
                    <a:gd name="connsiteY115" fmla="*/ 8957 h 10127"/>
                    <a:gd name="connsiteX116" fmla="*/ 5833 w 10000"/>
                    <a:gd name="connsiteY116" fmla="*/ 8886 h 10127"/>
                    <a:gd name="connsiteX117" fmla="*/ 5889 w 10000"/>
                    <a:gd name="connsiteY117" fmla="*/ 8808 h 10127"/>
                    <a:gd name="connsiteX118" fmla="*/ 6000 w 10000"/>
                    <a:gd name="connsiteY118" fmla="*/ 8731 h 10127"/>
                    <a:gd name="connsiteX119" fmla="*/ 6167 w 10000"/>
                    <a:gd name="connsiteY119" fmla="*/ 8673 h 10127"/>
                    <a:gd name="connsiteX120" fmla="*/ 6444 w 10000"/>
                    <a:gd name="connsiteY120" fmla="*/ 8673 h 10127"/>
                    <a:gd name="connsiteX121" fmla="*/ 6833 w 10000"/>
                    <a:gd name="connsiteY121" fmla="*/ 8731 h 10127"/>
                    <a:gd name="connsiteX122" fmla="*/ 7278 w 10000"/>
                    <a:gd name="connsiteY122" fmla="*/ 8957 h 10127"/>
                    <a:gd name="connsiteX123" fmla="*/ 7278 w 10000"/>
                    <a:gd name="connsiteY123" fmla="*/ 8957 h 10127"/>
                    <a:gd name="connsiteX124" fmla="*/ 8722 w 10000"/>
                    <a:gd name="connsiteY124" fmla="*/ 9563 h 10127"/>
                    <a:gd name="connsiteX125" fmla="*/ 10000 w 10000"/>
                    <a:gd name="connsiteY125" fmla="*/ 10127 h 10127"/>
                    <a:gd name="connsiteX126" fmla="*/ 10000 w 10000"/>
                    <a:gd name="connsiteY126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9056 w 10000"/>
                    <a:gd name="connsiteY33" fmla="*/ 5476 h 10127"/>
                    <a:gd name="connsiteX34" fmla="*/ 8889 w 10000"/>
                    <a:gd name="connsiteY34" fmla="*/ 5399 h 10127"/>
                    <a:gd name="connsiteX35" fmla="*/ 8722 w 10000"/>
                    <a:gd name="connsiteY35" fmla="*/ 5267 h 10127"/>
                    <a:gd name="connsiteX36" fmla="*/ 8611 w 10000"/>
                    <a:gd name="connsiteY36" fmla="*/ 5051 h 10127"/>
                    <a:gd name="connsiteX37" fmla="*/ 8444 w 10000"/>
                    <a:gd name="connsiteY37" fmla="*/ 4703 h 10127"/>
                    <a:gd name="connsiteX38" fmla="*/ 8444 w 10000"/>
                    <a:gd name="connsiteY38" fmla="*/ 4703 h 10127"/>
                    <a:gd name="connsiteX39" fmla="*/ 8222 w 10000"/>
                    <a:gd name="connsiteY39" fmla="*/ 4096 h 10127"/>
                    <a:gd name="connsiteX40" fmla="*/ 8111 w 10000"/>
                    <a:gd name="connsiteY40" fmla="*/ 3816 h 10127"/>
                    <a:gd name="connsiteX41" fmla="*/ 7944 w 10000"/>
                    <a:gd name="connsiteY41" fmla="*/ 3605 h 10127"/>
                    <a:gd name="connsiteX42" fmla="*/ 7778 w 10000"/>
                    <a:gd name="connsiteY42" fmla="*/ 3471 h 10127"/>
                    <a:gd name="connsiteX43" fmla="*/ 7556 w 10000"/>
                    <a:gd name="connsiteY43" fmla="*/ 3389 h 10127"/>
                    <a:gd name="connsiteX44" fmla="*/ 7333 w 10000"/>
                    <a:gd name="connsiteY44" fmla="*/ 3324 h 10127"/>
                    <a:gd name="connsiteX45" fmla="*/ 7000 w 10000"/>
                    <a:gd name="connsiteY45" fmla="*/ 3247 h 10127"/>
                    <a:gd name="connsiteX46" fmla="*/ 7000 w 10000"/>
                    <a:gd name="connsiteY46" fmla="*/ 3247 h 10127"/>
                    <a:gd name="connsiteX47" fmla="*/ 6556 w 10000"/>
                    <a:gd name="connsiteY47" fmla="*/ 3324 h 10127"/>
                    <a:gd name="connsiteX48" fmla="*/ 6222 w 10000"/>
                    <a:gd name="connsiteY48" fmla="*/ 3324 h 10127"/>
                    <a:gd name="connsiteX49" fmla="*/ 6111 w 10000"/>
                    <a:gd name="connsiteY49" fmla="*/ 3247 h 10127"/>
                    <a:gd name="connsiteX50" fmla="*/ 6056 w 10000"/>
                    <a:gd name="connsiteY50" fmla="*/ 3185 h 10127"/>
                    <a:gd name="connsiteX51" fmla="*/ 6056 w 10000"/>
                    <a:gd name="connsiteY51" fmla="*/ 3185 h 10127"/>
                    <a:gd name="connsiteX52" fmla="*/ 6056 w 10000"/>
                    <a:gd name="connsiteY52" fmla="*/ 1943 h 10127"/>
                    <a:gd name="connsiteX53" fmla="*/ 6056 w 10000"/>
                    <a:gd name="connsiteY53" fmla="*/ 1943 h 10127"/>
                    <a:gd name="connsiteX54" fmla="*/ 6056 w 10000"/>
                    <a:gd name="connsiteY54" fmla="*/ 1652 h 10127"/>
                    <a:gd name="connsiteX55" fmla="*/ 5944 w 10000"/>
                    <a:gd name="connsiteY55" fmla="*/ 1308 h 10127"/>
                    <a:gd name="connsiteX56" fmla="*/ 5889 w 10000"/>
                    <a:gd name="connsiteY56" fmla="*/ 1230 h 10127"/>
                    <a:gd name="connsiteX57" fmla="*/ 5778 w 10000"/>
                    <a:gd name="connsiteY57" fmla="*/ 1167 h 10127"/>
                    <a:gd name="connsiteX58" fmla="*/ 5667 w 10000"/>
                    <a:gd name="connsiteY58" fmla="*/ 1167 h 10127"/>
                    <a:gd name="connsiteX59" fmla="*/ 5500 w 10000"/>
                    <a:gd name="connsiteY59" fmla="*/ 1230 h 10127"/>
                    <a:gd name="connsiteX60" fmla="*/ 5500 w 10000"/>
                    <a:gd name="connsiteY60" fmla="*/ 1230 h 10127"/>
                    <a:gd name="connsiteX61" fmla="*/ 4889 w 10000"/>
                    <a:gd name="connsiteY61" fmla="*/ 1726 h 10127"/>
                    <a:gd name="connsiteX62" fmla="*/ 4611 w 10000"/>
                    <a:gd name="connsiteY62" fmla="*/ 1866 h 10127"/>
                    <a:gd name="connsiteX63" fmla="*/ 4556 w 10000"/>
                    <a:gd name="connsiteY63" fmla="*/ 1943 h 10127"/>
                    <a:gd name="connsiteX64" fmla="*/ 4500 w 10000"/>
                    <a:gd name="connsiteY64" fmla="*/ 1866 h 10127"/>
                    <a:gd name="connsiteX65" fmla="*/ 4500 w 10000"/>
                    <a:gd name="connsiteY65" fmla="*/ 1866 h 10127"/>
                    <a:gd name="connsiteX66" fmla="*/ 4111 w 10000"/>
                    <a:gd name="connsiteY66" fmla="*/ 822 h 10127"/>
                    <a:gd name="connsiteX67" fmla="*/ 4111 w 10000"/>
                    <a:gd name="connsiteY67" fmla="*/ 404 h 10127"/>
                    <a:gd name="connsiteX68" fmla="*/ 4111 w 10000"/>
                    <a:gd name="connsiteY68" fmla="*/ 404 h 10127"/>
                    <a:gd name="connsiteX69" fmla="*/ 4195 w 10000"/>
                    <a:gd name="connsiteY69" fmla="*/ 119 h 10127"/>
                    <a:gd name="connsiteX70" fmla="*/ 4213 w 10000"/>
                    <a:gd name="connsiteY70" fmla="*/ 0 h 10127"/>
                    <a:gd name="connsiteX71" fmla="*/ 4000 w 10000"/>
                    <a:gd name="connsiteY71" fmla="*/ 127 h 10127"/>
                    <a:gd name="connsiteX72" fmla="*/ 3722 w 10000"/>
                    <a:gd name="connsiteY72" fmla="*/ 200 h 10127"/>
                    <a:gd name="connsiteX73" fmla="*/ 3611 w 10000"/>
                    <a:gd name="connsiteY73" fmla="*/ 273 h 10127"/>
                    <a:gd name="connsiteX74" fmla="*/ 3556 w 10000"/>
                    <a:gd name="connsiteY74" fmla="*/ 344 h 10127"/>
                    <a:gd name="connsiteX75" fmla="*/ 3556 w 10000"/>
                    <a:gd name="connsiteY75" fmla="*/ 344 h 10127"/>
                    <a:gd name="connsiteX76" fmla="*/ 3444 w 10000"/>
                    <a:gd name="connsiteY76" fmla="*/ 618 h 10127"/>
                    <a:gd name="connsiteX77" fmla="*/ 3278 w 10000"/>
                    <a:gd name="connsiteY77" fmla="*/ 1039 h 10127"/>
                    <a:gd name="connsiteX78" fmla="*/ 3000 w 10000"/>
                    <a:gd name="connsiteY78" fmla="*/ 1516 h 10127"/>
                    <a:gd name="connsiteX79" fmla="*/ 2667 w 10000"/>
                    <a:gd name="connsiteY79" fmla="*/ 1866 h 10127"/>
                    <a:gd name="connsiteX80" fmla="*/ 2667 w 10000"/>
                    <a:gd name="connsiteY80" fmla="*/ 1866 h 10127"/>
                    <a:gd name="connsiteX81" fmla="*/ 2333 w 10000"/>
                    <a:gd name="connsiteY81" fmla="*/ 2152 h 10127"/>
                    <a:gd name="connsiteX82" fmla="*/ 1833 w 10000"/>
                    <a:gd name="connsiteY82" fmla="*/ 2431 h 10127"/>
                    <a:gd name="connsiteX83" fmla="*/ 1389 w 10000"/>
                    <a:gd name="connsiteY83" fmla="*/ 2562 h 10127"/>
                    <a:gd name="connsiteX84" fmla="*/ 889 w 10000"/>
                    <a:gd name="connsiteY84" fmla="*/ 2633 h 10127"/>
                    <a:gd name="connsiteX85" fmla="*/ 889 w 10000"/>
                    <a:gd name="connsiteY85" fmla="*/ 2633 h 10127"/>
                    <a:gd name="connsiteX86" fmla="*/ 500 w 10000"/>
                    <a:gd name="connsiteY86" fmla="*/ 2717 h 10127"/>
                    <a:gd name="connsiteX87" fmla="*/ 222 w 10000"/>
                    <a:gd name="connsiteY87" fmla="*/ 2768 h 10127"/>
                    <a:gd name="connsiteX88" fmla="*/ 0 w 10000"/>
                    <a:gd name="connsiteY88" fmla="*/ 2836 h 10127"/>
                    <a:gd name="connsiteX89" fmla="*/ 0 w 10000"/>
                    <a:gd name="connsiteY89" fmla="*/ 2836 h 10127"/>
                    <a:gd name="connsiteX90" fmla="*/ 278 w 10000"/>
                    <a:gd name="connsiteY90" fmla="*/ 3955 h 10127"/>
                    <a:gd name="connsiteX91" fmla="*/ 500 w 10000"/>
                    <a:gd name="connsiteY91" fmla="*/ 4773 h 10127"/>
                    <a:gd name="connsiteX92" fmla="*/ 722 w 10000"/>
                    <a:gd name="connsiteY92" fmla="*/ 5476 h 10127"/>
                    <a:gd name="connsiteX93" fmla="*/ 722 w 10000"/>
                    <a:gd name="connsiteY93" fmla="*/ 5476 h 10127"/>
                    <a:gd name="connsiteX94" fmla="*/ 889 w 10000"/>
                    <a:gd name="connsiteY94" fmla="*/ 5891 h 10127"/>
                    <a:gd name="connsiteX95" fmla="*/ 944 w 10000"/>
                    <a:gd name="connsiteY95" fmla="*/ 6248 h 10127"/>
                    <a:gd name="connsiteX96" fmla="*/ 1111 w 10000"/>
                    <a:gd name="connsiteY96" fmla="*/ 6598 h 10127"/>
                    <a:gd name="connsiteX97" fmla="*/ 1333 w 10000"/>
                    <a:gd name="connsiteY97" fmla="*/ 7136 h 10127"/>
                    <a:gd name="connsiteX98" fmla="*/ 1333 w 10000"/>
                    <a:gd name="connsiteY98" fmla="*/ 7136 h 10127"/>
                    <a:gd name="connsiteX99" fmla="*/ 1444 w 10000"/>
                    <a:gd name="connsiteY99" fmla="*/ 7417 h 10127"/>
                    <a:gd name="connsiteX100" fmla="*/ 1500 w 10000"/>
                    <a:gd name="connsiteY100" fmla="*/ 7626 h 10127"/>
                    <a:gd name="connsiteX101" fmla="*/ 1500 w 10000"/>
                    <a:gd name="connsiteY101" fmla="*/ 7823 h 10127"/>
                    <a:gd name="connsiteX102" fmla="*/ 1556 w 10000"/>
                    <a:gd name="connsiteY102" fmla="*/ 7911 h 10127"/>
                    <a:gd name="connsiteX103" fmla="*/ 1722 w 10000"/>
                    <a:gd name="connsiteY103" fmla="*/ 7973 h 10127"/>
                    <a:gd name="connsiteX104" fmla="*/ 1944 w 10000"/>
                    <a:gd name="connsiteY104" fmla="*/ 8038 h 10127"/>
                    <a:gd name="connsiteX105" fmla="*/ 2944 w 10000"/>
                    <a:gd name="connsiteY105" fmla="*/ 8115 h 10127"/>
                    <a:gd name="connsiteX106" fmla="*/ 2944 w 10000"/>
                    <a:gd name="connsiteY106" fmla="*/ 8115 h 10127"/>
                    <a:gd name="connsiteX107" fmla="*/ 4167 w 10000"/>
                    <a:gd name="connsiteY107" fmla="*/ 8256 h 10127"/>
                    <a:gd name="connsiteX108" fmla="*/ 4889 w 10000"/>
                    <a:gd name="connsiteY108" fmla="*/ 8452 h 10127"/>
                    <a:gd name="connsiteX109" fmla="*/ 5278 w 10000"/>
                    <a:gd name="connsiteY109" fmla="*/ 8673 h 10127"/>
                    <a:gd name="connsiteX110" fmla="*/ 5444 w 10000"/>
                    <a:gd name="connsiteY110" fmla="*/ 8731 h 10127"/>
                    <a:gd name="connsiteX111" fmla="*/ 5444 w 10000"/>
                    <a:gd name="connsiteY111" fmla="*/ 8731 h 10127"/>
                    <a:gd name="connsiteX112" fmla="*/ 5722 w 10000"/>
                    <a:gd name="connsiteY112" fmla="*/ 8886 h 10127"/>
                    <a:gd name="connsiteX113" fmla="*/ 5833 w 10000"/>
                    <a:gd name="connsiteY113" fmla="*/ 8957 h 10127"/>
                    <a:gd name="connsiteX114" fmla="*/ 5833 w 10000"/>
                    <a:gd name="connsiteY114" fmla="*/ 8957 h 10127"/>
                    <a:gd name="connsiteX115" fmla="*/ 5833 w 10000"/>
                    <a:gd name="connsiteY115" fmla="*/ 8886 h 10127"/>
                    <a:gd name="connsiteX116" fmla="*/ 5889 w 10000"/>
                    <a:gd name="connsiteY116" fmla="*/ 8808 h 10127"/>
                    <a:gd name="connsiteX117" fmla="*/ 6000 w 10000"/>
                    <a:gd name="connsiteY117" fmla="*/ 8731 h 10127"/>
                    <a:gd name="connsiteX118" fmla="*/ 6167 w 10000"/>
                    <a:gd name="connsiteY118" fmla="*/ 8673 h 10127"/>
                    <a:gd name="connsiteX119" fmla="*/ 6444 w 10000"/>
                    <a:gd name="connsiteY119" fmla="*/ 8673 h 10127"/>
                    <a:gd name="connsiteX120" fmla="*/ 6833 w 10000"/>
                    <a:gd name="connsiteY120" fmla="*/ 8731 h 10127"/>
                    <a:gd name="connsiteX121" fmla="*/ 7278 w 10000"/>
                    <a:gd name="connsiteY121" fmla="*/ 8957 h 10127"/>
                    <a:gd name="connsiteX122" fmla="*/ 7278 w 10000"/>
                    <a:gd name="connsiteY122" fmla="*/ 8957 h 10127"/>
                    <a:gd name="connsiteX123" fmla="*/ 8722 w 10000"/>
                    <a:gd name="connsiteY123" fmla="*/ 9563 h 10127"/>
                    <a:gd name="connsiteX124" fmla="*/ 10000 w 10000"/>
                    <a:gd name="connsiteY124" fmla="*/ 10127 h 10127"/>
                    <a:gd name="connsiteX125" fmla="*/ 10000 w 10000"/>
                    <a:gd name="connsiteY125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889 w 10000"/>
                    <a:gd name="connsiteY33" fmla="*/ 5399 h 10127"/>
                    <a:gd name="connsiteX34" fmla="*/ 8722 w 10000"/>
                    <a:gd name="connsiteY34" fmla="*/ 5267 h 10127"/>
                    <a:gd name="connsiteX35" fmla="*/ 8611 w 10000"/>
                    <a:gd name="connsiteY35" fmla="*/ 5051 h 10127"/>
                    <a:gd name="connsiteX36" fmla="*/ 8444 w 10000"/>
                    <a:gd name="connsiteY36" fmla="*/ 4703 h 10127"/>
                    <a:gd name="connsiteX37" fmla="*/ 8444 w 10000"/>
                    <a:gd name="connsiteY37" fmla="*/ 4703 h 10127"/>
                    <a:gd name="connsiteX38" fmla="*/ 8222 w 10000"/>
                    <a:gd name="connsiteY38" fmla="*/ 4096 h 10127"/>
                    <a:gd name="connsiteX39" fmla="*/ 8111 w 10000"/>
                    <a:gd name="connsiteY39" fmla="*/ 3816 h 10127"/>
                    <a:gd name="connsiteX40" fmla="*/ 7944 w 10000"/>
                    <a:gd name="connsiteY40" fmla="*/ 3605 h 10127"/>
                    <a:gd name="connsiteX41" fmla="*/ 7778 w 10000"/>
                    <a:gd name="connsiteY41" fmla="*/ 3471 h 10127"/>
                    <a:gd name="connsiteX42" fmla="*/ 7556 w 10000"/>
                    <a:gd name="connsiteY42" fmla="*/ 3389 h 10127"/>
                    <a:gd name="connsiteX43" fmla="*/ 7333 w 10000"/>
                    <a:gd name="connsiteY43" fmla="*/ 3324 h 10127"/>
                    <a:gd name="connsiteX44" fmla="*/ 7000 w 10000"/>
                    <a:gd name="connsiteY44" fmla="*/ 3247 h 10127"/>
                    <a:gd name="connsiteX45" fmla="*/ 7000 w 10000"/>
                    <a:gd name="connsiteY45" fmla="*/ 3247 h 10127"/>
                    <a:gd name="connsiteX46" fmla="*/ 6556 w 10000"/>
                    <a:gd name="connsiteY46" fmla="*/ 3324 h 10127"/>
                    <a:gd name="connsiteX47" fmla="*/ 6222 w 10000"/>
                    <a:gd name="connsiteY47" fmla="*/ 3324 h 10127"/>
                    <a:gd name="connsiteX48" fmla="*/ 6111 w 10000"/>
                    <a:gd name="connsiteY48" fmla="*/ 3247 h 10127"/>
                    <a:gd name="connsiteX49" fmla="*/ 6056 w 10000"/>
                    <a:gd name="connsiteY49" fmla="*/ 3185 h 10127"/>
                    <a:gd name="connsiteX50" fmla="*/ 6056 w 10000"/>
                    <a:gd name="connsiteY50" fmla="*/ 3185 h 10127"/>
                    <a:gd name="connsiteX51" fmla="*/ 6056 w 10000"/>
                    <a:gd name="connsiteY51" fmla="*/ 1943 h 10127"/>
                    <a:gd name="connsiteX52" fmla="*/ 6056 w 10000"/>
                    <a:gd name="connsiteY52" fmla="*/ 1943 h 10127"/>
                    <a:gd name="connsiteX53" fmla="*/ 6056 w 10000"/>
                    <a:gd name="connsiteY53" fmla="*/ 1652 h 10127"/>
                    <a:gd name="connsiteX54" fmla="*/ 5944 w 10000"/>
                    <a:gd name="connsiteY54" fmla="*/ 1308 h 10127"/>
                    <a:gd name="connsiteX55" fmla="*/ 5889 w 10000"/>
                    <a:gd name="connsiteY55" fmla="*/ 1230 h 10127"/>
                    <a:gd name="connsiteX56" fmla="*/ 5778 w 10000"/>
                    <a:gd name="connsiteY56" fmla="*/ 1167 h 10127"/>
                    <a:gd name="connsiteX57" fmla="*/ 5667 w 10000"/>
                    <a:gd name="connsiteY57" fmla="*/ 1167 h 10127"/>
                    <a:gd name="connsiteX58" fmla="*/ 5500 w 10000"/>
                    <a:gd name="connsiteY58" fmla="*/ 1230 h 10127"/>
                    <a:gd name="connsiteX59" fmla="*/ 5500 w 10000"/>
                    <a:gd name="connsiteY59" fmla="*/ 1230 h 10127"/>
                    <a:gd name="connsiteX60" fmla="*/ 4889 w 10000"/>
                    <a:gd name="connsiteY60" fmla="*/ 1726 h 10127"/>
                    <a:gd name="connsiteX61" fmla="*/ 4611 w 10000"/>
                    <a:gd name="connsiteY61" fmla="*/ 1866 h 10127"/>
                    <a:gd name="connsiteX62" fmla="*/ 4556 w 10000"/>
                    <a:gd name="connsiteY62" fmla="*/ 1943 h 10127"/>
                    <a:gd name="connsiteX63" fmla="*/ 4500 w 10000"/>
                    <a:gd name="connsiteY63" fmla="*/ 1866 h 10127"/>
                    <a:gd name="connsiteX64" fmla="*/ 4500 w 10000"/>
                    <a:gd name="connsiteY64" fmla="*/ 1866 h 10127"/>
                    <a:gd name="connsiteX65" fmla="*/ 4111 w 10000"/>
                    <a:gd name="connsiteY65" fmla="*/ 822 h 10127"/>
                    <a:gd name="connsiteX66" fmla="*/ 4111 w 10000"/>
                    <a:gd name="connsiteY66" fmla="*/ 404 h 10127"/>
                    <a:gd name="connsiteX67" fmla="*/ 4111 w 10000"/>
                    <a:gd name="connsiteY67" fmla="*/ 404 h 10127"/>
                    <a:gd name="connsiteX68" fmla="*/ 4195 w 10000"/>
                    <a:gd name="connsiteY68" fmla="*/ 119 h 10127"/>
                    <a:gd name="connsiteX69" fmla="*/ 4213 w 10000"/>
                    <a:gd name="connsiteY69" fmla="*/ 0 h 10127"/>
                    <a:gd name="connsiteX70" fmla="*/ 4000 w 10000"/>
                    <a:gd name="connsiteY70" fmla="*/ 127 h 10127"/>
                    <a:gd name="connsiteX71" fmla="*/ 3722 w 10000"/>
                    <a:gd name="connsiteY71" fmla="*/ 200 h 10127"/>
                    <a:gd name="connsiteX72" fmla="*/ 3611 w 10000"/>
                    <a:gd name="connsiteY72" fmla="*/ 273 h 10127"/>
                    <a:gd name="connsiteX73" fmla="*/ 3556 w 10000"/>
                    <a:gd name="connsiteY73" fmla="*/ 344 h 10127"/>
                    <a:gd name="connsiteX74" fmla="*/ 3556 w 10000"/>
                    <a:gd name="connsiteY74" fmla="*/ 344 h 10127"/>
                    <a:gd name="connsiteX75" fmla="*/ 3444 w 10000"/>
                    <a:gd name="connsiteY75" fmla="*/ 618 h 10127"/>
                    <a:gd name="connsiteX76" fmla="*/ 3278 w 10000"/>
                    <a:gd name="connsiteY76" fmla="*/ 1039 h 10127"/>
                    <a:gd name="connsiteX77" fmla="*/ 3000 w 10000"/>
                    <a:gd name="connsiteY77" fmla="*/ 1516 h 10127"/>
                    <a:gd name="connsiteX78" fmla="*/ 2667 w 10000"/>
                    <a:gd name="connsiteY78" fmla="*/ 1866 h 10127"/>
                    <a:gd name="connsiteX79" fmla="*/ 2667 w 10000"/>
                    <a:gd name="connsiteY79" fmla="*/ 1866 h 10127"/>
                    <a:gd name="connsiteX80" fmla="*/ 2333 w 10000"/>
                    <a:gd name="connsiteY80" fmla="*/ 2152 h 10127"/>
                    <a:gd name="connsiteX81" fmla="*/ 1833 w 10000"/>
                    <a:gd name="connsiteY81" fmla="*/ 2431 h 10127"/>
                    <a:gd name="connsiteX82" fmla="*/ 1389 w 10000"/>
                    <a:gd name="connsiteY82" fmla="*/ 2562 h 10127"/>
                    <a:gd name="connsiteX83" fmla="*/ 889 w 10000"/>
                    <a:gd name="connsiteY83" fmla="*/ 2633 h 10127"/>
                    <a:gd name="connsiteX84" fmla="*/ 889 w 10000"/>
                    <a:gd name="connsiteY84" fmla="*/ 2633 h 10127"/>
                    <a:gd name="connsiteX85" fmla="*/ 500 w 10000"/>
                    <a:gd name="connsiteY85" fmla="*/ 2717 h 10127"/>
                    <a:gd name="connsiteX86" fmla="*/ 222 w 10000"/>
                    <a:gd name="connsiteY86" fmla="*/ 2768 h 10127"/>
                    <a:gd name="connsiteX87" fmla="*/ 0 w 10000"/>
                    <a:gd name="connsiteY87" fmla="*/ 2836 h 10127"/>
                    <a:gd name="connsiteX88" fmla="*/ 0 w 10000"/>
                    <a:gd name="connsiteY88" fmla="*/ 2836 h 10127"/>
                    <a:gd name="connsiteX89" fmla="*/ 278 w 10000"/>
                    <a:gd name="connsiteY89" fmla="*/ 3955 h 10127"/>
                    <a:gd name="connsiteX90" fmla="*/ 500 w 10000"/>
                    <a:gd name="connsiteY90" fmla="*/ 4773 h 10127"/>
                    <a:gd name="connsiteX91" fmla="*/ 722 w 10000"/>
                    <a:gd name="connsiteY91" fmla="*/ 5476 h 10127"/>
                    <a:gd name="connsiteX92" fmla="*/ 722 w 10000"/>
                    <a:gd name="connsiteY92" fmla="*/ 5476 h 10127"/>
                    <a:gd name="connsiteX93" fmla="*/ 889 w 10000"/>
                    <a:gd name="connsiteY93" fmla="*/ 5891 h 10127"/>
                    <a:gd name="connsiteX94" fmla="*/ 944 w 10000"/>
                    <a:gd name="connsiteY94" fmla="*/ 6248 h 10127"/>
                    <a:gd name="connsiteX95" fmla="*/ 1111 w 10000"/>
                    <a:gd name="connsiteY95" fmla="*/ 6598 h 10127"/>
                    <a:gd name="connsiteX96" fmla="*/ 1333 w 10000"/>
                    <a:gd name="connsiteY96" fmla="*/ 7136 h 10127"/>
                    <a:gd name="connsiteX97" fmla="*/ 1333 w 10000"/>
                    <a:gd name="connsiteY97" fmla="*/ 7136 h 10127"/>
                    <a:gd name="connsiteX98" fmla="*/ 1444 w 10000"/>
                    <a:gd name="connsiteY98" fmla="*/ 7417 h 10127"/>
                    <a:gd name="connsiteX99" fmla="*/ 1500 w 10000"/>
                    <a:gd name="connsiteY99" fmla="*/ 7626 h 10127"/>
                    <a:gd name="connsiteX100" fmla="*/ 1500 w 10000"/>
                    <a:gd name="connsiteY100" fmla="*/ 7823 h 10127"/>
                    <a:gd name="connsiteX101" fmla="*/ 1556 w 10000"/>
                    <a:gd name="connsiteY101" fmla="*/ 7911 h 10127"/>
                    <a:gd name="connsiteX102" fmla="*/ 1722 w 10000"/>
                    <a:gd name="connsiteY102" fmla="*/ 7973 h 10127"/>
                    <a:gd name="connsiteX103" fmla="*/ 1944 w 10000"/>
                    <a:gd name="connsiteY103" fmla="*/ 8038 h 10127"/>
                    <a:gd name="connsiteX104" fmla="*/ 2944 w 10000"/>
                    <a:gd name="connsiteY104" fmla="*/ 8115 h 10127"/>
                    <a:gd name="connsiteX105" fmla="*/ 2944 w 10000"/>
                    <a:gd name="connsiteY105" fmla="*/ 8115 h 10127"/>
                    <a:gd name="connsiteX106" fmla="*/ 4167 w 10000"/>
                    <a:gd name="connsiteY106" fmla="*/ 8256 h 10127"/>
                    <a:gd name="connsiteX107" fmla="*/ 4889 w 10000"/>
                    <a:gd name="connsiteY107" fmla="*/ 8452 h 10127"/>
                    <a:gd name="connsiteX108" fmla="*/ 5278 w 10000"/>
                    <a:gd name="connsiteY108" fmla="*/ 8673 h 10127"/>
                    <a:gd name="connsiteX109" fmla="*/ 5444 w 10000"/>
                    <a:gd name="connsiteY109" fmla="*/ 8731 h 10127"/>
                    <a:gd name="connsiteX110" fmla="*/ 5444 w 10000"/>
                    <a:gd name="connsiteY110" fmla="*/ 8731 h 10127"/>
                    <a:gd name="connsiteX111" fmla="*/ 5722 w 10000"/>
                    <a:gd name="connsiteY111" fmla="*/ 8886 h 10127"/>
                    <a:gd name="connsiteX112" fmla="*/ 5833 w 10000"/>
                    <a:gd name="connsiteY112" fmla="*/ 8957 h 10127"/>
                    <a:gd name="connsiteX113" fmla="*/ 5833 w 10000"/>
                    <a:gd name="connsiteY113" fmla="*/ 8957 h 10127"/>
                    <a:gd name="connsiteX114" fmla="*/ 5833 w 10000"/>
                    <a:gd name="connsiteY114" fmla="*/ 8886 h 10127"/>
                    <a:gd name="connsiteX115" fmla="*/ 5889 w 10000"/>
                    <a:gd name="connsiteY115" fmla="*/ 8808 h 10127"/>
                    <a:gd name="connsiteX116" fmla="*/ 6000 w 10000"/>
                    <a:gd name="connsiteY116" fmla="*/ 8731 h 10127"/>
                    <a:gd name="connsiteX117" fmla="*/ 6167 w 10000"/>
                    <a:gd name="connsiteY117" fmla="*/ 8673 h 10127"/>
                    <a:gd name="connsiteX118" fmla="*/ 6444 w 10000"/>
                    <a:gd name="connsiteY118" fmla="*/ 8673 h 10127"/>
                    <a:gd name="connsiteX119" fmla="*/ 6833 w 10000"/>
                    <a:gd name="connsiteY119" fmla="*/ 8731 h 10127"/>
                    <a:gd name="connsiteX120" fmla="*/ 7278 w 10000"/>
                    <a:gd name="connsiteY120" fmla="*/ 8957 h 10127"/>
                    <a:gd name="connsiteX121" fmla="*/ 7278 w 10000"/>
                    <a:gd name="connsiteY121" fmla="*/ 8957 h 10127"/>
                    <a:gd name="connsiteX122" fmla="*/ 8722 w 10000"/>
                    <a:gd name="connsiteY122" fmla="*/ 9563 h 10127"/>
                    <a:gd name="connsiteX123" fmla="*/ 10000 w 10000"/>
                    <a:gd name="connsiteY123" fmla="*/ 10127 h 10127"/>
                    <a:gd name="connsiteX124" fmla="*/ 10000 w 10000"/>
                    <a:gd name="connsiteY124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722 w 10000"/>
                    <a:gd name="connsiteY33" fmla="*/ 5267 h 10127"/>
                    <a:gd name="connsiteX34" fmla="*/ 8611 w 10000"/>
                    <a:gd name="connsiteY34" fmla="*/ 5051 h 10127"/>
                    <a:gd name="connsiteX35" fmla="*/ 8444 w 10000"/>
                    <a:gd name="connsiteY35" fmla="*/ 4703 h 10127"/>
                    <a:gd name="connsiteX36" fmla="*/ 8444 w 10000"/>
                    <a:gd name="connsiteY36" fmla="*/ 4703 h 10127"/>
                    <a:gd name="connsiteX37" fmla="*/ 8222 w 10000"/>
                    <a:gd name="connsiteY37" fmla="*/ 4096 h 10127"/>
                    <a:gd name="connsiteX38" fmla="*/ 8111 w 10000"/>
                    <a:gd name="connsiteY38" fmla="*/ 3816 h 10127"/>
                    <a:gd name="connsiteX39" fmla="*/ 7944 w 10000"/>
                    <a:gd name="connsiteY39" fmla="*/ 3605 h 10127"/>
                    <a:gd name="connsiteX40" fmla="*/ 7778 w 10000"/>
                    <a:gd name="connsiteY40" fmla="*/ 3471 h 10127"/>
                    <a:gd name="connsiteX41" fmla="*/ 7556 w 10000"/>
                    <a:gd name="connsiteY41" fmla="*/ 3389 h 10127"/>
                    <a:gd name="connsiteX42" fmla="*/ 7333 w 10000"/>
                    <a:gd name="connsiteY42" fmla="*/ 3324 h 10127"/>
                    <a:gd name="connsiteX43" fmla="*/ 7000 w 10000"/>
                    <a:gd name="connsiteY43" fmla="*/ 3247 h 10127"/>
                    <a:gd name="connsiteX44" fmla="*/ 7000 w 10000"/>
                    <a:gd name="connsiteY44" fmla="*/ 3247 h 10127"/>
                    <a:gd name="connsiteX45" fmla="*/ 6556 w 10000"/>
                    <a:gd name="connsiteY45" fmla="*/ 3324 h 10127"/>
                    <a:gd name="connsiteX46" fmla="*/ 6222 w 10000"/>
                    <a:gd name="connsiteY46" fmla="*/ 3324 h 10127"/>
                    <a:gd name="connsiteX47" fmla="*/ 6111 w 10000"/>
                    <a:gd name="connsiteY47" fmla="*/ 3247 h 10127"/>
                    <a:gd name="connsiteX48" fmla="*/ 6056 w 10000"/>
                    <a:gd name="connsiteY48" fmla="*/ 3185 h 10127"/>
                    <a:gd name="connsiteX49" fmla="*/ 6056 w 10000"/>
                    <a:gd name="connsiteY49" fmla="*/ 3185 h 10127"/>
                    <a:gd name="connsiteX50" fmla="*/ 6056 w 10000"/>
                    <a:gd name="connsiteY50" fmla="*/ 1943 h 10127"/>
                    <a:gd name="connsiteX51" fmla="*/ 6056 w 10000"/>
                    <a:gd name="connsiteY51" fmla="*/ 1943 h 10127"/>
                    <a:gd name="connsiteX52" fmla="*/ 6056 w 10000"/>
                    <a:gd name="connsiteY52" fmla="*/ 1652 h 10127"/>
                    <a:gd name="connsiteX53" fmla="*/ 5944 w 10000"/>
                    <a:gd name="connsiteY53" fmla="*/ 1308 h 10127"/>
                    <a:gd name="connsiteX54" fmla="*/ 5889 w 10000"/>
                    <a:gd name="connsiteY54" fmla="*/ 1230 h 10127"/>
                    <a:gd name="connsiteX55" fmla="*/ 5778 w 10000"/>
                    <a:gd name="connsiteY55" fmla="*/ 1167 h 10127"/>
                    <a:gd name="connsiteX56" fmla="*/ 5667 w 10000"/>
                    <a:gd name="connsiteY56" fmla="*/ 1167 h 10127"/>
                    <a:gd name="connsiteX57" fmla="*/ 5500 w 10000"/>
                    <a:gd name="connsiteY57" fmla="*/ 1230 h 10127"/>
                    <a:gd name="connsiteX58" fmla="*/ 5500 w 10000"/>
                    <a:gd name="connsiteY58" fmla="*/ 1230 h 10127"/>
                    <a:gd name="connsiteX59" fmla="*/ 4889 w 10000"/>
                    <a:gd name="connsiteY59" fmla="*/ 1726 h 10127"/>
                    <a:gd name="connsiteX60" fmla="*/ 4611 w 10000"/>
                    <a:gd name="connsiteY60" fmla="*/ 1866 h 10127"/>
                    <a:gd name="connsiteX61" fmla="*/ 4556 w 10000"/>
                    <a:gd name="connsiteY61" fmla="*/ 1943 h 10127"/>
                    <a:gd name="connsiteX62" fmla="*/ 4500 w 10000"/>
                    <a:gd name="connsiteY62" fmla="*/ 1866 h 10127"/>
                    <a:gd name="connsiteX63" fmla="*/ 4500 w 10000"/>
                    <a:gd name="connsiteY63" fmla="*/ 1866 h 10127"/>
                    <a:gd name="connsiteX64" fmla="*/ 4111 w 10000"/>
                    <a:gd name="connsiteY64" fmla="*/ 822 h 10127"/>
                    <a:gd name="connsiteX65" fmla="*/ 4111 w 10000"/>
                    <a:gd name="connsiteY65" fmla="*/ 404 h 10127"/>
                    <a:gd name="connsiteX66" fmla="*/ 4111 w 10000"/>
                    <a:gd name="connsiteY66" fmla="*/ 404 h 10127"/>
                    <a:gd name="connsiteX67" fmla="*/ 4195 w 10000"/>
                    <a:gd name="connsiteY67" fmla="*/ 119 h 10127"/>
                    <a:gd name="connsiteX68" fmla="*/ 4213 w 10000"/>
                    <a:gd name="connsiteY68" fmla="*/ 0 h 10127"/>
                    <a:gd name="connsiteX69" fmla="*/ 4000 w 10000"/>
                    <a:gd name="connsiteY69" fmla="*/ 127 h 10127"/>
                    <a:gd name="connsiteX70" fmla="*/ 3722 w 10000"/>
                    <a:gd name="connsiteY70" fmla="*/ 200 h 10127"/>
                    <a:gd name="connsiteX71" fmla="*/ 3611 w 10000"/>
                    <a:gd name="connsiteY71" fmla="*/ 273 h 10127"/>
                    <a:gd name="connsiteX72" fmla="*/ 3556 w 10000"/>
                    <a:gd name="connsiteY72" fmla="*/ 344 h 10127"/>
                    <a:gd name="connsiteX73" fmla="*/ 3556 w 10000"/>
                    <a:gd name="connsiteY73" fmla="*/ 344 h 10127"/>
                    <a:gd name="connsiteX74" fmla="*/ 3444 w 10000"/>
                    <a:gd name="connsiteY74" fmla="*/ 618 h 10127"/>
                    <a:gd name="connsiteX75" fmla="*/ 3278 w 10000"/>
                    <a:gd name="connsiteY75" fmla="*/ 1039 h 10127"/>
                    <a:gd name="connsiteX76" fmla="*/ 3000 w 10000"/>
                    <a:gd name="connsiteY76" fmla="*/ 1516 h 10127"/>
                    <a:gd name="connsiteX77" fmla="*/ 2667 w 10000"/>
                    <a:gd name="connsiteY77" fmla="*/ 1866 h 10127"/>
                    <a:gd name="connsiteX78" fmla="*/ 2667 w 10000"/>
                    <a:gd name="connsiteY78" fmla="*/ 1866 h 10127"/>
                    <a:gd name="connsiteX79" fmla="*/ 2333 w 10000"/>
                    <a:gd name="connsiteY79" fmla="*/ 2152 h 10127"/>
                    <a:gd name="connsiteX80" fmla="*/ 1833 w 10000"/>
                    <a:gd name="connsiteY80" fmla="*/ 2431 h 10127"/>
                    <a:gd name="connsiteX81" fmla="*/ 1389 w 10000"/>
                    <a:gd name="connsiteY81" fmla="*/ 2562 h 10127"/>
                    <a:gd name="connsiteX82" fmla="*/ 889 w 10000"/>
                    <a:gd name="connsiteY82" fmla="*/ 2633 h 10127"/>
                    <a:gd name="connsiteX83" fmla="*/ 889 w 10000"/>
                    <a:gd name="connsiteY83" fmla="*/ 2633 h 10127"/>
                    <a:gd name="connsiteX84" fmla="*/ 500 w 10000"/>
                    <a:gd name="connsiteY84" fmla="*/ 2717 h 10127"/>
                    <a:gd name="connsiteX85" fmla="*/ 222 w 10000"/>
                    <a:gd name="connsiteY85" fmla="*/ 2768 h 10127"/>
                    <a:gd name="connsiteX86" fmla="*/ 0 w 10000"/>
                    <a:gd name="connsiteY86" fmla="*/ 2836 h 10127"/>
                    <a:gd name="connsiteX87" fmla="*/ 0 w 10000"/>
                    <a:gd name="connsiteY87" fmla="*/ 2836 h 10127"/>
                    <a:gd name="connsiteX88" fmla="*/ 278 w 10000"/>
                    <a:gd name="connsiteY88" fmla="*/ 3955 h 10127"/>
                    <a:gd name="connsiteX89" fmla="*/ 500 w 10000"/>
                    <a:gd name="connsiteY89" fmla="*/ 4773 h 10127"/>
                    <a:gd name="connsiteX90" fmla="*/ 722 w 10000"/>
                    <a:gd name="connsiteY90" fmla="*/ 5476 h 10127"/>
                    <a:gd name="connsiteX91" fmla="*/ 722 w 10000"/>
                    <a:gd name="connsiteY91" fmla="*/ 5476 h 10127"/>
                    <a:gd name="connsiteX92" fmla="*/ 889 w 10000"/>
                    <a:gd name="connsiteY92" fmla="*/ 5891 h 10127"/>
                    <a:gd name="connsiteX93" fmla="*/ 944 w 10000"/>
                    <a:gd name="connsiteY93" fmla="*/ 6248 h 10127"/>
                    <a:gd name="connsiteX94" fmla="*/ 1111 w 10000"/>
                    <a:gd name="connsiteY94" fmla="*/ 6598 h 10127"/>
                    <a:gd name="connsiteX95" fmla="*/ 1333 w 10000"/>
                    <a:gd name="connsiteY95" fmla="*/ 7136 h 10127"/>
                    <a:gd name="connsiteX96" fmla="*/ 1333 w 10000"/>
                    <a:gd name="connsiteY96" fmla="*/ 7136 h 10127"/>
                    <a:gd name="connsiteX97" fmla="*/ 1444 w 10000"/>
                    <a:gd name="connsiteY97" fmla="*/ 7417 h 10127"/>
                    <a:gd name="connsiteX98" fmla="*/ 1500 w 10000"/>
                    <a:gd name="connsiteY98" fmla="*/ 7626 h 10127"/>
                    <a:gd name="connsiteX99" fmla="*/ 1500 w 10000"/>
                    <a:gd name="connsiteY99" fmla="*/ 7823 h 10127"/>
                    <a:gd name="connsiteX100" fmla="*/ 1556 w 10000"/>
                    <a:gd name="connsiteY100" fmla="*/ 7911 h 10127"/>
                    <a:gd name="connsiteX101" fmla="*/ 1722 w 10000"/>
                    <a:gd name="connsiteY101" fmla="*/ 7973 h 10127"/>
                    <a:gd name="connsiteX102" fmla="*/ 1944 w 10000"/>
                    <a:gd name="connsiteY102" fmla="*/ 8038 h 10127"/>
                    <a:gd name="connsiteX103" fmla="*/ 2944 w 10000"/>
                    <a:gd name="connsiteY103" fmla="*/ 8115 h 10127"/>
                    <a:gd name="connsiteX104" fmla="*/ 2944 w 10000"/>
                    <a:gd name="connsiteY104" fmla="*/ 8115 h 10127"/>
                    <a:gd name="connsiteX105" fmla="*/ 4167 w 10000"/>
                    <a:gd name="connsiteY105" fmla="*/ 8256 h 10127"/>
                    <a:gd name="connsiteX106" fmla="*/ 4889 w 10000"/>
                    <a:gd name="connsiteY106" fmla="*/ 8452 h 10127"/>
                    <a:gd name="connsiteX107" fmla="*/ 5278 w 10000"/>
                    <a:gd name="connsiteY107" fmla="*/ 8673 h 10127"/>
                    <a:gd name="connsiteX108" fmla="*/ 5444 w 10000"/>
                    <a:gd name="connsiteY108" fmla="*/ 8731 h 10127"/>
                    <a:gd name="connsiteX109" fmla="*/ 5444 w 10000"/>
                    <a:gd name="connsiteY109" fmla="*/ 8731 h 10127"/>
                    <a:gd name="connsiteX110" fmla="*/ 5722 w 10000"/>
                    <a:gd name="connsiteY110" fmla="*/ 8886 h 10127"/>
                    <a:gd name="connsiteX111" fmla="*/ 5833 w 10000"/>
                    <a:gd name="connsiteY111" fmla="*/ 8957 h 10127"/>
                    <a:gd name="connsiteX112" fmla="*/ 5833 w 10000"/>
                    <a:gd name="connsiteY112" fmla="*/ 8957 h 10127"/>
                    <a:gd name="connsiteX113" fmla="*/ 5833 w 10000"/>
                    <a:gd name="connsiteY113" fmla="*/ 8886 h 10127"/>
                    <a:gd name="connsiteX114" fmla="*/ 5889 w 10000"/>
                    <a:gd name="connsiteY114" fmla="*/ 8808 h 10127"/>
                    <a:gd name="connsiteX115" fmla="*/ 6000 w 10000"/>
                    <a:gd name="connsiteY115" fmla="*/ 8731 h 10127"/>
                    <a:gd name="connsiteX116" fmla="*/ 6167 w 10000"/>
                    <a:gd name="connsiteY116" fmla="*/ 8673 h 10127"/>
                    <a:gd name="connsiteX117" fmla="*/ 6444 w 10000"/>
                    <a:gd name="connsiteY117" fmla="*/ 8673 h 10127"/>
                    <a:gd name="connsiteX118" fmla="*/ 6833 w 10000"/>
                    <a:gd name="connsiteY118" fmla="*/ 8731 h 10127"/>
                    <a:gd name="connsiteX119" fmla="*/ 7278 w 10000"/>
                    <a:gd name="connsiteY119" fmla="*/ 8957 h 10127"/>
                    <a:gd name="connsiteX120" fmla="*/ 7278 w 10000"/>
                    <a:gd name="connsiteY120" fmla="*/ 8957 h 10127"/>
                    <a:gd name="connsiteX121" fmla="*/ 8722 w 10000"/>
                    <a:gd name="connsiteY121" fmla="*/ 9563 h 10127"/>
                    <a:gd name="connsiteX122" fmla="*/ 10000 w 10000"/>
                    <a:gd name="connsiteY122" fmla="*/ 10127 h 10127"/>
                    <a:gd name="connsiteX123" fmla="*/ 10000 w 10000"/>
                    <a:gd name="connsiteY12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611 w 10000"/>
                    <a:gd name="connsiteY33" fmla="*/ 5051 h 10127"/>
                    <a:gd name="connsiteX34" fmla="*/ 8444 w 10000"/>
                    <a:gd name="connsiteY34" fmla="*/ 4703 h 10127"/>
                    <a:gd name="connsiteX35" fmla="*/ 8444 w 10000"/>
                    <a:gd name="connsiteY35" fmla="*/ 4703 h 10127"/>
                    <a:gd name="connsiteX36" fmla="*/ 8222 w 10000"/>
                    <a:gd name="connsiteY36" fmla="*/ 4096 h 10127"/>
                    <a:gd name="connsiteX37" fmla="*/ 8111 w 10000"/>
                    <a:gd name="connsiteY37" fmla="*/ 3816 h 10127"/>
                    <a:gd name="connsiteX38" fmla="*/ 7944 w 10000"/>
                    <a:gd name="connsiteY38" fmla="*/ 3605 h 10127"/>
                    <a:gd name="connsiteX39" fmla="*/ 7778 w 10000"/>
                    <a:gd name="connsiteY39" fmla="*/ 3471 h 10127"/>
                    <a:gd name="connsiteX40" fmla="*/ 7556 w 10000"/>
                    <a:gd name="connsiteY40" fmla="*/ 3389 h 10127"/>
                    <a:gd name="connsiteX41" fmla="*/ 7333 w 10000"/>
                    <a:gd name="connsiteY41" fmla="*/ 3324 h 10127"/>
                    <a:gd name="connsiteX42" fmla="*/ 7000 w 10000"/>
                    <a:gd name="connsiteY42" fmla="*/ 3247 h 10127"/>
                    <a:gd name="connsiteX43" fmla="*/ 7000 w 10000"/>
                    <a:gd name="connsiteY43" fmla="*/ 3247 h 10127"/>
                    <a:gd name="connsiteX44" fmla="*/ 6556 w 10000"/>
                    <a:gd name="connsiteY44" fmla="*/ 3324 h 10127"/>
                    <a:gd name="connsiteX45" fmla="*/ 6222 w 10000"/>
                    <a:gd name="connsiteY45" fmla="*/ 3324 h 10127"/>
                    <a:gd name="connsiteX46" fmla="*/ 6111 w 10000"/>
                    <a:gd name="connsiteY46" fmla="*/ 3247 h 10127"/>
                    <a:gd name="connsiteX47" fmla="*/ 6056 w 10000"/>
                    <a:gd name="connsiteY47" fmla="*/ 3185 h 10127"/>
                    <a:gd name="connsiteX48" fmla="*/ 6056 w 10000"/>
                    <a:gd name="connsiteY48" fmla="*/ 3185 h 10127"/>
                    <a:gd name="connsiteX49" fmla="*/ 6056 w 10000"/>
                    <a:gd name="connsiteY49" fmla="*/ 1943 h 10127"/>
                    <a:gd name="connsiteX50" fmla="*/ 6056 w 10000"/>
                    <a:gd name="connsiteY50" fmla="*/ 1943 h 10127"/>
                    <a:gd name="connsiteX51" fmla="*/ 6056 w 10000"/>
                    <a:gd name="connsiteY51" fmla="*/ 1652 h 10127"/>
                    <a:gd name="connsiteX52" fmla="*/ 5944 w 10000"/>
                    <a:gd name="connsiteY52" fmla="*/ 1308 h 10127"/>
                    <a:gd name="connsiteX53" fmla="*/ 5889 w 10000"/>
                    <a:gd name="connsiteY53" fmla="*/ 1230 h 10127"/>
                    <a:gd name="connsiteX54" fmla="*/ 5778 w 10000"/>
                    <a:gd name="connsiteY54" fmla="*/ 1167 h 10127"/>
                    <a:gd name="connsiteX55" fmla="*/ 5667 w 10000"/>
                    <a:gd name="connsiteY55" fmla="*/ 1167 h 10127"/>
                    <a:gd name="connsiteX56" fmla="*/ 5500 w 10000"/>
                    <a:gd name="connsiteY56" fmla="*/ 1230 h 10127"/>
                    <a:gd name="connsiteX57" fmla="*/ 5500 w 10000"/>
                    <a:gd name="connsiteY57" fmla="*/ 1230 h 10127"/>
                    <a:gd name="connsiteX58" fmla="*/ 4889 w 10000"/>
                    <a:gd name="connsiteY58" fmla="*/ 1726 h 10127"/>
                    <a:gd name="connsiteX59" fmla="*/ 4611 w 10000"/>
                    <a:gd name="connsiteY59" fmla="*/ 1866 h 10127"/>
                    <a:gd name="connsiteX60" fmla="*/ 4556 w 10000"/>
                    <a:gd name="connsiteY60" fmla="*/ 1943 h 10127"/>
                    <a:gd name="connsiteX61" fmla="*/ 4500 w 10000"/>
                    <a:gd name="connsiteY61" fmla="*/ 1866 h 10127"/>
                    <a:gd name="connsiteX62" fmla="*/ 4500 w 10000"/>
                    <a:gd name="connsiteY62" fmla="*/ 1866 h 10127"/>
                    <a:gd name="connsiteX63" fmla="*/ 4111 w 10000"/>
                    <a:gd name="connsiteY63" fmla="*/ 822 h 10127"/>
                    <a:gd name="connsiteX64" fmla="*/ 4111 w 10000"/>
                    <a:gd name="connsiteY64" fmla="*/ 404 h 10127"/>
                    <a:gd name="connsiteX65" fmla="*/ 4111 w 10000"/>
                    <a:gd name="connsiteY65" fmla="*/ 404 h 10127"/>
                    <a:gd name="connsiteX66" fmla="*/ 4195 w 10000"/>
                    <a:gd name="connsiteY66" fmla="*/ 119 h 10127"/>
                    <a:gd name="connsiteX67" fmla="*/ 4213 w 10000"/>
                    <a:gd name="connsiteY67" fmla="*/ 0 h 10127"/>
                    <a:gd name="connsiteX68" fmla="*/ 4000 w 10000"/>
                    <a:gd name="connsiteY68" fmla="*/ 127 h 10127"/>
                    <a:gd name="connsiteX69" fmla="*/ 3722 w 10000"/>
                    <a:gd name="connsiteY69" fmla="*/ 200 h 10127"/>
                    <a:gd name="connsiteX70" fmla="*/ 3611 w 10000"/>
                    <a:gd name="connsiteY70" fmla="*/ 273 h 10127"/>
                    <a:gd name="connsiteX71" fmla="*/ 3556 w 10000"/>
                    <a:gd name="connsiteY71" fmla="*/ 344 h 10127"/>
                    <a:gd name="connsiteX72" fmla="*/ 3556 w 10000"/>
                    <a:gd name="connsiteY72" fmla="*/ 344 h 10127"/>
                    <a:gd name="connsiteX73" fmla="*/ 3444 w 10000"/>
                    <a:gd name="connsiteY73" fmla="*/ 618 h 10127"/>
                    <a:gd name="connsiteX74" fmla="*/ 3278 w 10000"/>
                    <a:gd name="connsiteY74" fmla="*/ 1039 h 10127"/>
                    <a:gd name="connsiteX75" fmla="*/ 3000 w 10000"/>
                    <a:gd name="connsiteY75" fmla="*/ 1516 h 10127"/>
                    <a:gd name="connsiteX76" fmla="*/ 2667 w 10000"/>
                    <a:gd name="connsiteY76" fmla="*/ 1866 h 10127"/>
                    <a:gd name="connsiteX77" fmla="*/ 2667 w 10000"/>
                    <a:gd name="connsiteY77" fmla="*/ 1866 h 10127"/>
                    <a:gd name="connsiteX78" fmla="*/ 2333 w 10000"/>
                    <a:gd name="connsiteY78" fmla="*/ 2152 h 10127"/>
                    <a:gd name="connsiteX79" fmla="*/ 1833 w 10000"/>
                    <a:gd name="connsiteY79" fmla="*/ 2431 h 10127"/>
                    <a:gd name="connsiteX80" fmla="*/ 1389 w 10000"/>
                    <a:gd name="connsiteY80" fmla="*/ 2562 h 10127"/>
                    <a:gd name="connsiteX81" fmla="*/ 889 w 10000"/>
                    <a:gd name="connsiteY81" fmla="*/ 2633 h 10127"/>
                    <a:gd name="connsiteX82" fmla="*/ 889 w 10000"/>
                    <a:gd name="connsiteY82" fmla="*/ 2633 h 10127"/>
                    <a:gd name="connsiteX83" fmla="*/ 500 w 10000"/>
                    <a:gd name="connsiteY83" fmla="*/ 2717 h 10127"/>
                    <a:gd name="connsiteX84" fmla="*/ 222 w 10000"/>
                    <a:gd name="connsiteY84" fmla="*/ 2768 h 10127"/>
                    <a:gd name="connsiteX85" fmla="*/ 0 w 10000"/>
                    <a:gd name="connsiteY85" fmla="*/ 2836 h 10127"/>
                    <a:gd name="connsiteX86" fmla="*/ 0 w 10000"/>
                    <a:gd name="connsiteY86" fmla="*/ 2836 h 10127"/>
                    <a:gd name="connsiteX87" fmla="*/ 278 w 10000"/>
                    <a:gd name="connsiteY87" fmla="*/ 3955 h 10127"/>
                    <a:gd name="connsiteX88" fmla="*/ 500 w 10000"/>
                    <a:gd name="connsiteY88" fmla="*/ 4773 h 10127"/>
                    <a:gd name="connsiteX89" fmla="*/ 722 w 10000"/>
                    <a:gd name="connsiteY89" fmla="*/ 5476 h 10127"/>
                    <a:gd name="connsiteX90" fmla="*/ 722 w 10000"/>
                    <a:gd name="connsiteY90" fmla="*/ 5476 h 10127"/>
                    <a:gd name="connsiteX91" fmla="*/ 889 w 10000"/>
                    <a:gd name="connsiteY91" fmla="*/ 5891 h 10127"/>
                    <a:gd name="connsiteX92" fmla="*/ 944 w 10000"/>
                    <a:gd name="connsiteY92" fmla="*/ 6248 h 10127"/>
                    <a:gd name="connsiteX93" fmla="*/ 1111 w 10000"/>
                    <a:gd name="connsiteY93" fmla="*/ 6598 h 10127"/>
                    <a:gd name="connsiteX94" fmla="*/ 1333 w 10000"/>
                    <a:gd name="connsiteY94" fmla="*/ 7136 h 10127"/>
                    <a:gd name="connsiteX95" fmla="*/ 1333 w 10000"/>
                    <a:gd name="connsiteY95" fmla="*/ 7136 h 10127"/>
                    <a:gd name="connsiteX96" fmla="*/ 1444 w 10000"/>
                    <a:gd name="connsiteY96" fmla="*/ 7417 h 10127"/>
                    <a:gd name="connsiteX97" fmla="*/ 1500 w 10000"/>
                    <a:gd name="connsiteY97" fmla="*/ 7626 h 10127"/>
                    <a:gd name="connsiteX98" fmla="*/ 1500 w 10000"/>
                    <a:gd name="connsiteY98" fmla="*/ 7823 h 10127"/>
                    <a:gd name="connsiteX99" fmla="*/ 1556 w 10000"/>
                    <a:gd name="connsiteY99" fmla="*/ 7911 h 10127"/>
                    <a:gd name="connsiteX100" fmla="*/ 1722 w 10000"/>
                    <a:gd name="connsiteY100" fmla="*/ 7973 h 10127"/>
                    <a:gd name="connsiteX101" fmla="*/ 1944 w 10000"/>
                    <a:gd name="connsiteY101" fmla="*/ 8038 h 10127"/>
                    <a:gd name="connsiteX102" fmla="*/ 2944 w 10000"/>
                    <a:gd name="connsiteY102" fmla="*/ 8115 h 10127"/>
                    <a:gd name="connsiteX103" fmla="*/ 2944 w 10000"/>
                    <a:gd name="connsiteY103" fmla="*/ 8115 h 10127"/>
                    <a:gd name="connsiteX104" fmla="*/ 4167 w 10000"/>
                    <a:gd name="connsiteY104" fmla="*/ 8256 h 10127"/>
                    <a:gd name="connsiteX105" fmla="*/ 4889 w 10000"/>
                    <a:gd name="connsiteY105" fmla="*/ 8452 h 10127"/>
                    <a:gd name="connsiteX106" fmla="*/ 5278 w 10000"/>
                    <a:gd name="connsiteY106" fmla="*/ 8673 h 10127"/>
                    <a:gd name="connsiteX107" fmla="*/ 5444 w 10000"/>
                    <a:gd name="connsiteY107" fmla="*/ 8731 h 10127"/>
                    <a:gd name="connsiteX108" fmla="*/ 5444 w 10000"/>
                    <a:gd name="connsiteY108" fmla="*/ 8731 h 10127"/>
                    <a:gd name="connsiteX109" fmla="*/ 5722 w 10000"/>
                    <a:gd name="connsiteY109" fmla="*/ 8886 h 10127"/>
                    <a:gd name="connsiteX110" fmla="*/ 5833 w 10000"/>
                    <a:gd name="connsiteY110" fmla="*/ 8957 h 10127"/>
                    <a:gd name="connsiteX111" fmla="*/ 5833 w 10000"/>
                    <a:gd name="connsiteY111" fmla="*/ 8957 h 10127"/>
                    <a:gd name="connsiteX112" fmla="*/ 5833 w 10000"/>
                    <a:gd name="connsiteY112" fmla="*/ 8886 h 10127"/>
                    <a:gd name="connsiteX113" fmla="*/ 5889 w 10000"/>
                    <a:gd name="connsiteY113" fmla="*/ 8808 h 10127"/>
                    <a:gd name="connsiteX114" fmla="*/ 6000 w 10000"/>
                    <a:gd name="connsiteY114" fmla="*/ 8731 h 10127"/>
                    <a:gd name="connsiteX115" fmla="*/ 6167 w 10000"/>
                    <a:gd name="connsiteY115" fmla="*/ 8673 h 10127"/>
                    <a:gd name="connsiteX116" fmla="*/ 6444 w 10000"/>
                    <a:gd name="connsiteY116" fmla="*/ 8673 h 10127"/>
                    <a:gd name="connsiteX117" fmla="*/ 6833 w 10000"/>
                    <a:gd name="connsiteY117" fmla="*/ 8731 h 10127"/>
                    <a:gd name="connsiteX118" fmla="*/ 7278 w 10000"/>
                    <a:gd name="connsiteY118" fmla="*/ 8957 h 10127"/>
                    <a:gd name="connsiteX119" fmla="*/ 7278 w 10000"/>
                    <a:gd name="connsiteY119" fmla="*/ 8957 h 10127"/>
                    <a:gd name="connsiteX120" fmla="*/ 8722 w 10000"/>
                    <a:gd name="connsiteY120" fmla="*/ 9563 h 10127"/>
                    <a:gd name="connsiteX121" fmla="*/ 10000 w 10000"/>
                    <a:gd name="connsiteY121" fmla="*/ 10127 h 10127"/>
                    <a:gd name="connsiteX122" fmla="*/ 10000 w 10000"/>
                    <a:gd name="connsiteY12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444 w 10000"/>
                    <a:gd name="connsiteY33" fmla="*/ 4703 h 10127"/>
                    <a:gd name="connsiteX34" fmla="*/ 8444 w 10000"/>
                    <a:gd name="connsiteY34" fmla="*/ 4703 h 10127"/>
                    <a:gd name="connsiteX35" fmla="*/ 8222 w 10000"/>
                    <a:gd name="connsiteY35" fmla="*/ 4096 h 10127"/>
                    <a:gd name="connsiteX36" fmla="*/ 8111 w 10000"/>
                    <a:gd name="connsiteY36" fmla="*/ 3816 h 10127"/>
                    <a:gd name="connsiteX37" fmla="*/ 7944 w 10000"/>
                    <a:gd name="connsiteY37" fmla="*/ 3605 h 10127"/>
                    <a:gd name="connsiteX38" fmla="*/ 7778 w 10000"/>
                    <a:gd name="connsiteY38" fmla="*/ 3471 h 10127"/>
                    <a:gd name="connsiteX39" fmla="*/ 7556 w 10000"/>
                    <a:gd name="connsiteY39" fmla="*/ 3389 h 10127"/>
                    <a:gd name="connsiteX40" fmla="*/ 7333 w 10000"/>
                    <a:gd name="connsiteY40" fmla="*/ 3324 h 10127"/>
                    <a:gd name="connsiteX41" fmla="*/ 7000 w 10000"/>
                    <a:gd name="connsiteY41" fmla="*/ 3247 h 10127"/>
                    <a:gd name="connsiteX42" fmla="*/ 7000 w 10000"/>
                    <a:gd name="connsiteY42" fmla="*/ 3247 h 10127"/>
                    <a:gd name="connsiteX43" fmla="*/ 6556 w 10000"/>
                    <a:gd name="connsiteY43" fmla="*/ 3324 h 10127"/>
                    <a:gd name="connsiteX44" fmla="*/ 6222 w 10000"/>
                    <a:gd name="connsiteY44" fmla="*/ 3324 h 10127"/>
                    <a:gd name="connsiteX45" fmla="*/ 6111 w 10000"/>
                    <a:gd name="connsiteY45" fmla="*/ 3247 h 10127"/>
                    <a:gd name="connsiteX46" fmla="*/ 6056 w 10000"/>
                    <a:gd name="connsiteY46" fmla="*/ 3185 h 10127"/>
                    <a:gd name="connsiteX47" fmla="*/ 6056 w 10000"/>
                    <a:gd name="connsiteY47" fmla="*/ 3185 h 10127"/>
                    <a:gd name="connsiteX48" fmla="*/ 6056 w 10000"/>
                    <a:gd name="connsiteY48" fmla="*/ 1943 h 10127"/>
                    <a:gd name="connsiteX49" fmla="*/ 6056 w 10000"/>
                    <a:gd name="connsiteY49" fmla="*/ 1943 h 10127"/>
                    <a:gd name="connsiteX50" fmla="*/ 6056 w 10000"/>
                    <a:gd name="connsiteY50" fmla="*/ 1652 h 10127"/>
                    <a:gd name="connsiteX51" fmla="*/ 5944 w 10000"/>
                    <a:gd name="connsiteY51" fmla="*/ 1308 h 10127"/>
                    <a:gd name="connsiteX52" fmla="*/ 5889 w 10000"/>
                    <a:gd name="connsiteY52" fmla="*/ 1230 h 10127"/>
                    <a:gd name="connsiteX53" fmla="*/ 5778 w 10000"/>
                    <a:gd name="connsiteY53" fmla="*/ 1167 h 10127"/>
                    <a:gd name="connsiteX54" fmla="*/ 5667 w 10000"/>
                    <a:gd name="connsiteY54" fmla="*/ 1167 h 10127"/>
                    <a:gd name="connsiteX55" fmla="*/ 5500 w 10000"/>
                    <a:gd name="connsiteY55" fmla="*/ 1230 h 10127"/>
                    <a:gd name="connsiteX56" fmla="*/ 5500 w 10000"/>
                    <a:gd name="connsiteY56" fmla="*/ 1230 h 10127"/>
                    <a:gd name="connsiteX57" fmla="*/ 4889 w 10000"/>
                    <a:gd name="connsiteY57" fmla="*/ 1726 h 10127"/>
                    <a:gd name="connsiteX58" fmla="*/ 4611 w 10000"/>
                    <a:gd name="connsiteY58" fmla="*/ 1866 h 10127"/>
                    <a:gd name="connsiteX59" fmla="*/ 4556 w 10000"/>
                    <a:gd name="connsiteY59" fmla="*/ 1943 h 10127"/>
                    <a:gd name="connsiteX60" fmla="*/ 4500 w 10000"/>
                    <a:gd name="connsiteY60" fmla="*/ 1866 h 10127"/>
                    <a:gd name="connsiteX61" fmla="*/ 4500 w 10000"/>
                    <a:gd name="connsiteY61" fmla="*/ 1866 h 10127"/>
                    <a:gd name="connsiteX62" fmla="*/ 4111 w 10000"/>
                    <a:gd name="connsiteY62" fmla="*/ 822 h 10127"/>
                    <a:gd name="connsiteX63" fmla="*/ 4111 w 10000"/>
                    <a:gd name="connsiteY63" fmla="*/ 404 h 10127"/>
                    <a:gd name="connsiteX64" fmla="*/ 4111 w 10000"/>
                    <a:gd name="connsiteY64" fmla="*/ 404 h 10127"/>
                    <a:gd name="connsiteX65" fmla="*/ 4195 w 10000"/>
                    <a:gd name="connsiteY65" fmla="*/ 119 h 10127"/>
                    <a:gd name="connsiteX66" fmla="*/ 4213 w 10000"/>
                    <a:gd name="connsiteY66" fmla="*/ 0 h 10127"/>
                    <a:gd name="connsiteX67" fmla="*/ 4000 w 10000"/>
                    <a:gd name="connsiteY67" fmla="*/ 127 h 10127"/>
                    <a:gd name="connsiteX68" fmla="*/ 3722 w 10000"/>
                    <a:gd name="connsiteY68" fmla="*/ 200 h 10127"/>
                    <a:gd name="connsiteX69" fmla="*/ 3611 w 10000"/>
                    <a:gd name="connsiteY69" fmla="*/ 273 h 10127"/>
                    <a:gd name="connsiteX70" fmla="*/ 3556 w 10000"/>
                    <a:gd name="connsiteY70" fmla="*/ 344 h 10127"/>
                    <a:gd name="connsiteX71" fmla="*/ 3556 w 10000"/>
                    <a:gd name="connsiteY71" fmla="*/ 344 h 10127"/>
                    <a:gd name="connsiteX72" fmla="*/ 3444 w 10000"/>
                    <a:gd name="connsiteY72" fmla="*/ 618 h 10127"/>
                    <a:gd name="connsiteX73" fmla="*/ 3278 w 10000"/>
                    <a:gd name="connsiteY73" fmla="*/ 1039 h 10127"/>
                    <a:gd name="connsiteX74" fmla="*/ 3000 w 10000"/>
                    <a:gd name="connsiteY74" fmla="*/ 1516 h 10127"/>
                    <a:gd name="connsiteX75" fmla="*/ 2667 w 10000"/>
                    <a:gd name="connsiteY75" fmla="*/ 1866 h 10127"/>
                    <a:gd name="connsiteX76" fmla="*/ 2667 w 10000"/>
                    <a:gd name="connsiteY76" fmla="*/ 1866 h 10127"/>
                    <a:gd name="connsiteX77" fmla="*/ 2333 w 10000"/>
                    <a:gd name="connsiteY77" fmla="*/ 2152 h 10127"/>
                    <a:gd name="connsiteX78" fmla="*/ 1833 w 10000"/>
                    <a:gd name="connsiteY78" fmla="*/ 2431 h 10127"/>
                    <a:gd name="connsiteX79" fmla="*/ 1389 w 10000"/>
                    <a:gd name="connsiteY79" fmla="*/ 2562 h 10127"/>
                    <a:gd name="connsiteX80" fmla="*/ 889 w 10000"/>
                    <a:gd name="connsiteY80" fmla="*/ 2633 h 10127"/>
                    <a:gd name="connsiteX81" fmla="*/ 889 w 10000"/>
                    <a:gd name="connsiteY81" fmla="*/ 2633 h 10127"/>
                    <a:gd name="connsiteX82" fmla="*/ 500 w 10000"/>
                    <a:gd name="connsiteY82" fmla="*/ 2717 h 10127"/>
                    <a:gd name="connsiteX83" fmla="*/ 222 w 10000"/>
                    <a:gd name="connsiteY83" fmla="*/ 2768 h 10127"/>
                    <a:gd name="connsiteX84" fmla="*/ 0 w 10000"/>
                    <a:gd name="connsiteY84" fmla="*/ 2836 h 10127"/>
                    <a:gd name="connsiteX85" fmla="*/ 0 w 10000"/>
                    <a:gd name="connsiteY85" fmla="*/ 2836 h 10127"/>
                    <a:gd name="connsiteX86" fmla="*/ 278 w 10000"/>
                    <a:gd name="connsiteY86" fmla="*/ 3955 h 10127"/>
                    <a:gd name="connsiteX87" fmla="*/ 500 w 10000"/>
                    <a:gd name="connsiteY87" fmla="*/ 4773 h 10127"/>
                    <a:gd name="connsiteX88" fmla="*/ 722 w 10000"/>
                    <a:gd name="connsiteY88" fmla="*/ 5476 h 10127"/>
                    <a:gd name="connsiteX89" fmla="*/ 722 w 10000"/>
                    <a:gd name="connsiteY89" fmla="*/ 5476 h 10127"/>
                    <a:gd name="connsiteX90" fmla="*/ 889 w 10000"/>
                    <a:gd name="connsiteY90" fmla="*/ 5891 h 10127"/>
                    <a:gd name="connsiteX91" fmla="*/ 944 w 10000"/>
                    <a:gd name="connsiteY91" fmla="*/ 6248 h 10127"/>
                    <a:gd name="connsiteX92" fmla="*/ 1111 w 10000"/>
                    <a:gd name="connsiteY92" fmla="*/ 6598 h 10127"/>
                    <a:gd name="connsiteX93" fmla="*/ 1333 w 10000"/>
                    <a:gd name="connsiteY93" fmla="*/ 7136 h 10127"/>
                    <a:gd name="connsiteX94" fmla="*/ 1333 w 10000"/>
                    <a:gd name="connsiteY94" fmla="*/ 7136 h 10127"/>
                    <a:gd name="connsiteX95" fmla="*/ 1444 w 10000"/>
                    <a:gd name="connsiteY95" fmla="*/ 7417 h 10127"/>
                    <a:gd name="connsiteX96" fmla="*/ 1500 w 10000"/>
                    <a:gd name="connsiteY96" fmla="*/ 7626 h 10127"/>
                    <a:gd name="connsiteX97" fmla="*/ 1500 w 10000"/>
                    <a:gd name="connsiteY97" fmla="*/ 7823 h 10127"/>
                    <a:gd name="connsiteX98" fmla="*/ 1556 w 10000"/>
                    <a:gd name="connsiteY98" fmla="*/ 7911 h 10127"/>
                    <a:gd name="connsiteX99" fmla="*/ 1722 w 10000"/>
                    <a:gd name="connsiteY99" fmla="*/ 7973 h 10127"/>
                    <a:gd name="connsiteX100" fmla="*/ 1944 w 10000"/>
                    <a:gd name="connsiteY100" fmla="*/ 8038 h 10127"/>
                    <a:gd name="connsiteX101" fmla="*/ 2944 w 10000"/>
                    <a:gd name="connsiteY101" fmla="*/ 8115 h 10127"/>
                    <a:gd name="connsiteX102" fmla="*/ 2944 w 10000"/>
                    <a:gd name="connsiteY102" fmla="*/ 8115 h 10127"/>
                    <a:gd name="connsiteX103" fmla="*/ 4167 w 10000"/>
                    <a:gd name="connsiteY103" fmla="*/ 8256 h 10127"/>
                    <a:gd name="connsiteX104" fmla="*/ 4889 w 10000"/>
                    <a:gd name="connsiteY104" fmla="*/ 8452 h 10127"/>
                    <a:gd name="connsiteX105" fmla="*/ 5278 w 10000"/>
                    <a:gd name="connsiteY105" fmla="*/ 8673 h 10127"/>
                    <a:gd name="connsiteX106" fmla="*/ 5444 w 10000"/>
                    <a:gd name="connsiteY106" fmla="*/ 8731 h 10127"/>
                    <a:gd name="connsiteX107" fmla="*/ 5444 w 10000"/>
                    <a:gd name="connsiteY107" fmla="*/ 8731 h 10127"/>
                    <a:gd name="connsiteX108" fmla="*/ 5722 w 10000"/>
                    <a:gd name="connsiteY108" fmla="*/ 8886 h 10127"/>
                    <a:gd name="connsiteX109" fmla="*/ 5833 w 10000"/>
                    <a:gd name="connsiteY109" fmla="*/ 8957 h 10127"/>
                    <a:gd name="connsiteX110" fmla="*/ 5833 w 10000"/>
                    <a:gd name="connsiteY110" fmla="*/ 8957 h 10127"/>
                    <a:gd name="connsiteX111" fmla="*/ 5833 w 10000"/>
                    <a:gd name="connsiteY111" fmla="*/ 8886 h 10127"/>
                    <a:gd name="connsiteX112" fmla="*/ 5889 w 10000"/>
                    <a:gd name="connsiteY112" fmla="*/ 8808 h 10127"/>
                    <a:gd name="connsiteX113" fmla="*/ 6000 w 10000"/>
                    <a:gd name="connsiteY113" fmla="*/ 8731 h 10127"/>
                    <a:gd name="connsiteX114" fmla="*/ 6167 w 10000"/>
                    <a:gd name="connsiteY114" fmla="*/ 8673 h 10127"/>
                    <a:gd name="connsiteX115" fmla="*/ 6444 w 10000"/>
                    <a:gd name="connsiteY115" fmla="*/ 8673 h 10127"/>
                    <a:gd name="connsiteX116" fmla="*/ 6833 w 10000"/>
                    <a:gd name="connsiteY116" fmla="*/ 8731 h 10127"/>
                    <a:gd name="connsiteX117" fmla="*/ 7278 w 10000"/>
                    <a:gd name="connsiteY117" fmla="*/ 8957 h 10127"/>
                    <a:gd name="connsiteX118" fmla="*/ 7278 w 10000"/>
                    <a:gd name="connsiteY118" fmla="*/ 8957 h 10127"/>
                    <a:gd name="connsiteX119" fmla="*/ 8722 w 10000"/>
                    <a:gd name="connsiteY119" fmla="*/ 9563 h 10127"/>
                    <a:gd name="connsiteX120" fmla="*/ 10000 w 10000"/>
                    <a:gd name="connsiteY120" fmla="*/ 10127 h 10127"/>
                    <a:gd name="connsiteX121" fmla="*/ 10000 w 10000"/>
                    <a:gd name="connsiteY121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444 w 10000"/>
                    <a:gd name="connsiteY33" fmla="*/ 4703 h 10127"/>
                    <a:gd name="connsiteX34" fmla="*/ 8222 w 10000"/>
                    <a:gd name="connsiteY34" fmla="*/ 4096 h 10127"/>
                    <a:gd name="connsiteX35" fmla="*/ 8111 w 10000"/>
                    <a:gd name="connsiteY35" fmla="*/ 3816 h 10127"/>
                    <a:gd name="connsiteX36" fmla="*/ 7944 w 10000"/>
                    <a:gd name="connsiteY36" fmla="*/ 3605 h 10127"/>
                    <a:gd name="connsiteX37" fmla="*/ 7778 w 10000"/>
                    <a:gd name="connsiteY37" fmla="*/ 3471 h 10127"/>
                    <a:gd name="connsiteX38" fmla="*/ 7556 w 10000"/>
                    <a:gd name="connsiteY38" fmla="*/ 3389 h 10127"/>
                    <a:gd name="connsiteX39" fmla="*/ 7333 w 10000"/>
                    <a:gd name="connsiteY39" fmla="*/ 3324 h 10127"/>
                    <a:gd name="connsiteX40" fmla="*/ 7000 w 10000"/>
                    <a:gd name="connsiteY40" fmla="*/ 3247 h 10127"/>
                    <a:gd name="connsiteX41" fmla="*/ 7000 w 10000"/>
                    <a:gd name="connsiteY41" fmla="*/ 3247 h 10127"/>
                    <a:gd name="connsiteX42" fmla="*/ 6556 w 10000"/>
                    <a:gd name="connsiteY42" fmla="*/ 3324 h 10127"/>
                    <a:gd name="connsiteX43" fmla="*/ 6222 w 10000"/>
                    <a:gd name="connsiteY43" fmla="*/ 3324 h 10127"/>
                    <a:gd name="connsiteX44" fmla="*/ 6111 w 10000"/>
                    <a:gd name="connsiteY44" fmla="*/ 3247 h 10127"/>
                    <a:gd name="connsiteX45" fmla="*/ 6056 w 10000"/>
                    <a:gd name="connsiteY45" fmla="*/ 3185 h 10127"/>
                    <a:gd name="connsiteX46" fmla="*/ 6056 w 10000"/>
                    <a:gd name="connsiteY46" fmla="*/ 3185 h 10127"/>
                    <a:gd name="connsiteX47" fmla="*/ 6056 w 10000"/>
                    <a:gd name="connsiteY47" fmla="*/ 1943 h 10127"/>
                    <a:gd name="connsiteX48" fmla="*/ 6056 w 10000"/>
                    <a:gd name="connsiteY48" fmla="*/ 1943 h 10127"/>
                    <a:gd name="connsiteX49" fmla="*/ 6056 w 10000"/>
                    <a:gd name="connsiteY49" fmla="*/ 1652 h 10127"/>
                    <a:gd name="connsiteX50" fmla="*/ 5944 w 10000"/>
                    <a:gd name="connsiteY50" fmla="*/ 1308 h 10127"/>
                    <a:gd name="connsiteX51" fmla="*/ 5889 w 10000"/>
                    <a:gd name="connsiteY51" fmla="*/ 1230 h 10127"/>
                    <a:gd name="connsiteX52" fmla="*/ 5778 w 10000"/>
                    <a:gd name="connsiteY52" fmla="*/ 1167 h 10127"/>
                    <a:gd name="connsiteX53" fmla="*/ 5667 w 10000"/>
                    <a:gd name="connsiteY53" fmla="*/ 1167 h 10127"/>
                    <a:gd name="connsiteX54" fmla="*/ 5500 w 10000"/>
                    <a:gd name="connsiteY54" fmla="*/ 1230 h 10127"/>
                    <a:gd name="connsiteX55" fmla="*/ 5500 w 10000"/>
                    <a:gd name="connsiteY55" fmla="*/ 1230 h 10127"/>
                    <a:gd name="connsiteX56" fmla="*/ 4889 w 10000"/>
                    <a:gd name="connsiteY56" fmla="*/ 1726 h 10127"/>
                    <a:gd name="connsiteX57" fmla="*/ 4611 w 10000"/>
                    <a:gd name="connsiteY57" fmla="*/ 1866 h 10127"/>
                    <a:gd name="connsiteX58" fmla="*/ 4556 w 10000"/>
                    <a:gd name="connsiteY58" fmla="*/ 1943 h 10127"/>
                    <a:gd name="connsiteX59" fmla="*/ 4500 w 10000"/>
                    <a:gd name="connsiteY59" fmla="*/ 1866 h 10127"/>
                    <a:gd name="connsiteX60" fmla="*/ 4500 w 10000"/>
                    <a:gd name="connsiteY60" fmla="*/ 1866 h 10127"/>
                    <a:gd name="connsiteX61" fmla="*/ 4111 w 10000"/>
                    <a:gd name="connsiteY61" fmla="*/ 822 h 10127"/>
                    <a:gd name="connsiteX62" fmla="*/ 4111 w 10000"/>
                    <a:gd name="connsiteY62" fmla="*/ 404 h 10127"/>
                    <a:gd name="connsiteX63" fmla="*/ 4111 w 10000"/>
                    <a:gd name="connsiteY63" fmla="*/ 404 h 10127"/>
                    <a:gd name="connsiteX64" fmla="*/ 4195 w 10000"/>
                    <a:gd name="connsiteY64" fmla="*/ 119 h 10127"/>
                    <a:gd name="connsiteX65" fmla="*/ 4213 w 10000"/>
                    <a:gd name="connsiteY65" fmla="*/ 0 h 10127"/>
                    <a:gd name="connsiteX66" fmla="*/ 4000 w 10000"/>
                    <a:gd name="connsiteY66" fmla="*/ 127 h 10127"/>
                    <a:gd name="connsiteX67" fmla="*/ 3722 w 10000"/>
                    <a:gd name="connsiteY67" fmla="*/ 200 h 10127"/>
                    <a:gd name="connsiteX68" fmla="*/ 3611 w 10000"/>
                    <a:gd name="connsiteY68" fmla="*/ 273 h 10127"/>
                    <a:gd name="connsiteX69" fmla="*/ 3556 w 10000"/>
                    <a:gd name="connsiteY69" fmla="*/ 344 h 10127"/>
                    <a:gd name="connsiteX70" fmla="*/ 3556 w 10000"/>
                    <a:gd name="connsiteY70" fmla="*/ 344 h 10127"/>
                    <a:gd name="connsiteX71" fmla="*/ 3444 w 10000"/>
                    <a:gd name="connsiteY71" fmla="*/ 618 h 10127"/>
                    <a:gd name="connsiteX72" fmla="*/ 3278 w 10000"/>
                    <a:gd name="connsiteY72" fmla="*/ 1039 h 10127"/>
                    <a:gd name="connsiteX73" fmla="*/ 3000 w 10000"/>
                    <a:gd name="connsiteY73" fmla="*/ 1516 h 10127"/>
                    <a:gd name="connsiteX74" fmla="*/ 2667 w 10000"/>
                    <a:gd name="connsiteY74" fmla="*/ 1866 h 10127"/>
                    <a:gd name="connsiteX75" fmla="*/ 2667 w 10000"/>
                    <a:gd name="connsiteY75" fmla="*/ 1866 h 10127"/>
                    <a:gd name="connsiteX76" fmla="*/ 2333 w 10000"/>
                    <a:gd name="connsiteY76" fmla="*/ 2152 h 10127"/>
                    <a:gd name="connsiteX77" fmla="*/ 1833 w 10000"/>
                    <a:gd name="connsiteY77" fmla="*/ 2431 h 10127"/>
                    <a:gd name="connsiteX78" fmla="*/ 1389 w 10000"/>
                    <a:gd name="connsiteY78" fmla="*/ 2562 h 10127"/>
                    <a:gd name="connsiteX79" fmla="*/ 889 w 10000"/>
                    <a:gd name="connsiteY79" fmla="*/ 2633 h 10127"/>
                    <a:gd name="connsiteX80" fmla="*/ 889 w 10000"/>
                    <a:gd name="connsiteY80" fmla="*/ 2633 h 10127"/>
                    <a:gd name="connsiteX81" fmla="*/ 500 w 10000"/>
                    <a:gd name="connsiteY81" fmla="*/ 2717 h 10127"/>
                    <a:gd name="connsiteX82" fmla="*/ 222 w 10000"/>
                    <a:gd name="connsiteY82" fmla="*/ 2768 h 10127"/>
                    <a:gd name="connsiteX83" fmla="*/ 0 w 10000"/>
                    <a:gd name="connsiteY83" fmla="*/ 2836 h 10127"/>
                    <a:gd name="connsiteX84" fmla="*/ 0 w 10000"/>
                    <a:gd name="connsiteY84" fmla="*/ 2836 h 10127"/>
                    <a:gd name="connsiteX85" fmla="*/ 278 w 10000"/>
                    <a:gd name="connsiteY85" fmla="*/ 3955 h 10127"/>
                    <a:gd name="connsiteX86" fmla="*/ 500 w 10000"/>
                    <a:gd name="connsiteY86" fmla="*/ 4773 h 10127"/>
                    <a:gd name="connsiteX87" fmla="*/ 722 w 10000"/>
                    <a:gd name="connsiteY87" fmla="*/ 5476 h 10127"/>
                    <a:gd name="connsiteX88" fmla="*/ 722 w 10000"/>
                    <a:gd name="connsiteY88" fmla="*/ 5476 h 10127"/>
                    <a:gd name="connsiteX89" fmla="*/ 889 w 10000"/>
                    <a:gd name="connsiteY89" fmla="*/ 5891 h 10127"/>
                    <a:gd name="connsiteX90" fmla="*/ 944 w 10000"/>
                    <a:gd name="connsiteY90" fmla="*/ 6248 h 10127"/>
                    <a:gd name="connsiteX91" fmla="*/ 1111 w 10000"/>
                    <a:gd name="connsiteY91" fmla="*/ 6598 h 10127"/>
                    <a:gd name="connsiteX92" fmla="*/ 1333 w 10000"/>
                    <a:gd name="connsiteY92" fmla="*/ 7136 h 10127"/>
                    <a:gd name="connsiteX93" fmla="*/ 1333 w 10000"/>
                    <a:gd name="connsiteY93" fmla="*/ 7136 h 10127"/>
                    <a:gd name="connsiteX94" fmla="*/ 1444 w 10000"/>
                    <a:gd name="connsiteY94" fmla="*/ 7417 h 10127"/>
                    <a:gd name="connsiteX95" fmla="*/ 1500 w 10000"/>
                    <a:gd name="connsiteY95" fmla="*/ 7626 h 10127"/>
                    <a:gd name="connsiteX96" fmla="*/ 1500 w 10000"/>
                    <a:gd name="connsiteY96" fmla="*/ 7823 h 10127"/>
                    <a:gd name="connsiteX97" fmla="*/ 1556 w 10000"/>
                    <a:gd name="connsiteY97" fmla="*/ 7911 h 10127"/>
                    <a:gd name="connsiteX98" fmla="*/ 1722 w 10000"/>
                    <a:gd name="connsiteY98" fmla="*/ 7973 h 10127"/>
                    <a:gd name="connsiteX99" fmla="*/ 1944 w 10000"/>
                    <a:gd name="connsiteY99" fmla="*/ 8038 h 10127"/>
                    <a:gd name="connsiteX100" fmla="*/ 2944 w 10000"/>
                    <a:gd name="connsiteY100" fmla="*/ 8115 h 10127"/>
                    <a:gd name="connsiteX101" fmla="*/ 2944 w 10000"/>
                    <a:gd name="connsiteY101" fmla="*/ 8115 h 10127"/>
                    <a:gd name="connsiteX102" fmla="*/ 4167 w 10000"/>
                    <a:gd name="connsiteY102" fmla="*/ 8256 h 10127"/>
                    <a:gd name="connsiteX103" fmla="*/ 4889 w 10000"/>
                    <a:gd name="connsiteY103" fmla="*/ 8452 h 10127"/>
                    <a:gd name="connsiteX104" fmla="*/ 5278 w 10000"/>
                    <a:gd name="connsiteY104" fmla="*/ 8673 h 10127"/>
                    <a:gd name="connsiteX105" fmla="*/ 5444 w 10000"/>
                    <a:gd name="connsiteY105" fmla="*/ 8731 h 10127"/>
                    <a:gd name="connsiteX106" fmla="*/ 5444 w 10000"/>
                    <a:gd name="connsiteY106" fmla="*/ 8731 h 10127"/>
                    <a:gd name="connsiteX107" fmla="*/ 5722 w 10000"/>
                    <a:gd name="connsiteY107" fmla="*/ 8886 h 10127"/>
                    <a:gd name="connsiteX108" fmla="*/ 5833 w 10000"/>
                    <a:gd name="connsiteY108" fmla="*/ 8957 h 10127"/>
                    <a:gd name="connsiteX109" fmla="*/ 5833 w 10000"/>
                    <a:gd name="connsiteY109" fmla="*/ 8957 h 10127"/>
                    <a:gd name="connsiteX110" fmla="*/ 5833 w 10000"/>
                    <a:gd name="connsiteY110" fmla="*/ 8886 h 10127"/>
                    <a:gd name="connsiteX111" fmla="*/ 5889 w 10000"/>
                    <a:gd name="connsiteY111" fmla="*/ 8808 h 10127"/>
                    <a:gd name="connsiteX112" fmla="*/ 6000 w 10000"/>
                    <a:gd name="connsiteY112" fmla="*/ 8731 h 10127"/>
                    <a:gd name="connsiteX113" fmla="*/ 6167 w 10000"/>
                    <a:gd name="connsiteY113" fmla="*/ 8673 h 10127"/>
                    <a:gd name="connsiteX114" fmla="*/ 6444 w 10000"/>
                    <a:gd name="connsiteY114" fmla="*/ 8673 h 10127"/>
                    <a:gd name="connsiteX115" fmla="*/ 6833 w 10000"/>
                    <a:gd name="connsiteY115" fmla="*/ 8731 h 10127"/>
                    <a:gd name="connsiteX116" fmla="*/ 7278 w 10000"/>
                    <a:gd name="connsiteY116" fmla="*/ 8957 h 10127"/>
                    <a:gd name="connsiteX117" fmla="*/ 7278 w 10000"/>
                    <a:gd name="connsiteY117" fmla="*/ 8957 h 10127"/>
                    <a:gd name="connsiteX118" fmla="*/ 8722 w 10000"/>
                    <a:gd name="connsiteY118" fmla="*/ 9563 h 10127"/>
                    <a:gd name="connsiteX119" fmla="*/ 10000 w 10000"/>
                    <a:gd name="connsiteY119" fmla="*/ 10127 h 10127"/>
                    <a:gd name="connsiteX120" fmla="*/ 10000 w 10000"/>
                    <a:gd name="connsiteY120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222 w 10000"/>
                    <a:gd name="connsiteY33" fmla="*/ 4096 h 10127"/>
                    <a:gd name="connsiteX34" fmla="*/ 8111 w 10000"/>
                    <a:gd name="connsiteY34" fmla="*/ 3816 h 10127"/>
                    <a:gd name="connsiteX35" fmla="*/ 7944 w 10000"/>
                    <a:gd name="connsiteY35" fmla="*/ 3605 h 10127"/>
                    <a:gd name="connsiteX36" fmla="*/ 7778 w 10000"/>
                    <a:gd name="connsiteY36" fmla="*/ 3471 h 10127"/>
                    <a:gd name="connsiteX37" fmla="*/ 7556 w 10000"/>
                    <a:gd name="connsiteY37" fmla="*/ 3389 h 10127"/>
                    <a:gd name="connsiteX38" fmla="*/ 7333 w 10000"/>
                    <a:gd name="connsiteY38" fmla="*/ 3324 h 10127"/>
                    <a:gd name="connsiteX39" fmla="*/ 7000 w 10000"/>
                    <a:gd name="connsiteY39" fmla="*/ 3247 h 10127"/>
                    <a:gd name="connsiteX40" fmla="*/ 7000 w 10000"/>
                    <a:gd name="connsiteY40" fmla="*/ 3247 h 10127"/>
                    <a:gd name="connsiteX41" fmla="*/ 6556 w 10000"/>
                    <a:gd name="connsiteY41" fmla="*/ 3324 h 10127"/>
                    <a:gd name="connsiteX42" fmla="*/ 6222 w 10000"/>
                    <a:gd name="connsiteY42" fmla="*/ 3324 h 10127"/>
                    <a:gd name="connsiteX43" fmla="*/ 6111 w 10000"/>
                    <a:gd name="connsiteY43" fmla="*/ 3247 h 10127"/>
                    <a:gd name="connsiteX44" fmla="*/ 6056 w 10000"/>
                    <a:gd name="connsiteY44" fmla="*/ 3185 h 10127"/>
                    <a:gd name="connsiteX45" fmla="*/ 6056 w 10000"/>
                    <a:gd name="connsiteY45" fmla="*/ 3185 h 10127"/>
                    <a:gd name="connsiteX46" fmla="*/ 6056 w 10000"/>
                    <a:gd name="connsiteY46" fmla="*/ 1943 h 10127"/>
                    <a:gd name="connsiteX47" fmla="*/ 6056 w 10000"/>
                    <a:gd name="connsiteY47" fmla="*/ 1943 h 10127"/>
                    <a:gd name="connsiteX48" fmla="*/ 6056 w 10000"/>
                    <a:gd name="connsiteY48" fmla="*/ 1652 h 10127"/>
                    <a:gd name="connsiteX49" fmla="*/ 5944 w 10000"/>
                    <a:gd name="connsiteY49" fmla="*/ 1308 h 10127"/>
                    <a:gd name="connsiteX50" fmla="*/ 5889 w 10000"/>
                    <a:gd name="connsiteY50" fmla="*/ 1230 h 10127"/>
                    <a:gd name="connsiteX51" fmla="*/ 5778 w 10000"/>
                    <a:gd name="connsiteY51" fmla="*/ 1167 h 10127"/>
                    <a:gd name="connsiteX52" fmla="*/ 5667 w 10000"/>
                    <a:gd name="connsiteY52" fmla="*/ 1167 h 10127"/>
                    <a:gd name="connsiteX53" fmla="*/ 5500 w 10000"/>
                    <a:gd name="connsiteY53" fmla="*/ 1230 h 10127"/>
                    <a:gd name="connsiteX54" fmla="*/ 5500 w 10000"/>
                    <a:gd name="connsiteY54" fmla="*/ 1230 h 10127"/>
                    <a:gd name="connsiteX55" fmla="*/ 4889 w 10000"/>
                    <a:gd name="connsiteY55" fmla="*/ 1726 h 10127"/>
                    <a:gd name="connsiteX56" fmla="*/ 4611 w 10000"/>
                    <a:gd name="connsiteY56" fmla="*/ 1866 h 10127"/>
                    <a:gd name="connsiteX57" fmla="*/ 4556 w 10000"/>
                    <a:gd name="connsiteY57" fmla="*/ 1943 h 10127"/>
                    <a:gd name="connsiteX58" fmla="*/ 4500 w 10000"/>
                    <a:gd name="connsiteY58" fmla="*/ 1866 h 10127"/>
                    <a:gd name="connsiteX59" fmla="*/ 4500 w 10000"/>
                    <a:gd name="connsiteY59" fmla="*/ 1866 h 10127"/>
                    <a:gd name="connsiteX60" fmla="*/ 4111 w 10000"/>
                    <a:gd name="connsiteY60" fmla="*/ 822 h 10127"/>
                    <a:gd name="connsiteX61" fmla="*/ 4111 w 10000"/>
                    <a:gd name="connsiteY61" fmla="*/ 404 h 10127"/>
                    <a:gd name="connsiteX62" fmla="*/ 4111 w 10000"/>
                    <a:gd name="connsiteY62" fmla="*/ 404 h 10127"/>
                    <a:gd name="connsiteX63" fmla="*/ 4195 w 10000"/>
                    <a:gd name="connsiteY63" fmla="*/ 119 h 10127"/>
                    <a:gd name="connsiteX64" fmla="*/ 4213 w 10000"/>
                    <a:gd name="connsiteY64" fmla="*/ 0 h 10127"/>
                    <a:gd name="connsiteX65" fmla="*/ 4000 w 10000"/>
                    <a:gd name="connsiteY65" fmla="*/ 127 h 10127"/>
                    <a:gd name="connsiteX66" fmla="*/ 3722 w 10000"/>
                    <a:gd name="connsiteY66" fmla="*/ 200 h 10127"/>
                    <a:gd name="connsiteX67" fmla="*/ 3611 w 10000"/>
                    <a:gd name="connsiteY67" fmla="*/ 273 h 10127"/>
                    <a:gd name="connsiteX68" fmla="*/ 3556 w 10000"/>
                    <a:gd name="connsiteY68" fmla="*/ 344 h 10127"/>
                    <a:gd name="connsiteX69" fmla="*/ 3556 w 10000"/>
                    <a:gd name="connsiteY69" fmla="*/ 344 h 10127"/>
                    <a:gd name="connsiteX70" fmla="*/ 3444 w 10000"/>
                    <a:gd name="connsiteY70" fmla="*/ 618 h 10127"/>
                    <a:gd name="connsiteX71" fmla="*/ 3278 w 10000"/>
                    <a:gd name="connsiteY71" fmla="*/ 1039 h 10127"/>
                    <a:gd name="connsiteX72" fmla="*/ 3000 w 10000"/>
                    <a:gd name="connsiteY72" fmla="*/ 1516 h 10127"/>
                    <a:gd name="connsiteX73" fmla="*/ 2667 w 10000"/>
                    <a:gd name="connsiteY73" fmla="*/ 1866 h 10127"/>
                    <a:gd name="connsiteX74" fmla="*/ 2667 w 10000"/>
                    <a:gd name="connsiteY74" fmla="*/ 1866 h 10127"/>
                    <a:gd name="connsiteX75" fmla="*/ 2333 w 10000"/>
                    <a:gd name="connsiteY75" fmla="*/ 2152 h 10127"/>
                    <a:gd name="connsiteX76" fmla="*/ 1833 w 10000"/>
                    <a:gd name="connsiteY76" fmla="*/ 2431 h 10127"/>
                    <a:gd name="connsiteX77" fmla="*/ 1389 w 10000"/>
                    <a:gd name="connsiteY77" fmla="*/ 2562 h 10127"/>
                    <a:gd name="connsiteX78" fmla="*/ 889 w 10000"/>
                    <a:gd name="connsiteY78" fmla="*/ 2633 h 10127"/>
                    <a:gd name="connsiteX79" fmla="*/ 889 w 10000"/>
                    <a:gd name="connsiteY79" fmla="*/ 2633 h 10127"/>
                    <a:gd name="connsiteX80" fmla="*/ 500 w 10000"/>
                    <a:gd name="connsiteY80" fmla="*/ 2717 h 10127"/>
                    <a:gd name="connsiteX81" fmla="*/ 222 w 10000"/>
                    <a:gd name="connsiteY81" fmla="*/ 2768 h 10127"/>
                    <a:gd name="connsiteX82" fmla="*/ 0 w 10000"/>
                    <a:gd name="connsiteY82" fmla="*/ 2836 h 10127"/>
                    <a:gd name="connsiteX83" fmla="*/ 0 w 10000"/>
                    <a:gd name="connsiteY83" fmla="*/ 2836 h 10127"/>
                    <a:gd name="connsiteX84" fmla="*/ 278 w 10000"/>
                    <a:gd name="connsiteY84" fmla="*/ 3955 h 10127"/>
                    <a:gd name="connsiteX85" fmla="*/ 500 w 10000"/>
                    <a:gd name="connsiteY85" fmla="*/ 4773 h 10127"/>
                    <a:gd name="connsiteX86" fmla="*/ 722 w 10000"/>
                    <a:gd name="connsiteY86" fmla="*/ 5476 h 10127"/>
                    <a:gd name="connsiteX87" fmla="*/ 722 w 10000"/>
                    <a:gd name="connsiteY87" fmla="*/ 5476 h 10127"/>
                    <a:gd name="connsiteX88" fmla="*/ 889 w 10000"/>
                    <a:gd name="connsiteY88" fmla="*/ 5891 h 10127"/>
                    <a:gd name="connsiteX89" fmla="*/ 944 w 10000"/>
                    <a:gd name="connsiteY89" fmla="*/ 6248 h 10127"/>
                    <a:gd name="connsiteX90" fmla="*/ 1111 w 10000"/>
                    <a:gd name="connsiteY90" fmla="*/ 6598 h 10127"/>
                    <a:gd name="connsiteX91" fmla="*/ 1333 w 10000"/>
                    <a:gd name="connsiteY91" fmla="*/ 7136 h 10127"/>
                    <a:gd name="connsiteX92" fmla="*/ 1333 w 10000"/>
                    <a:gd name="connsiteY92" fmla="*/ 7136 h 10127"/>
                    <a:gd name="connsiteX93" fmla="*/ 1444 w 10000"/>
                    <a:gd name="connsiteY93" fmla="*/ 7417 h 10127"/>
                    <a:gd name="connsiteX94" fmla="*/ 1500 w 10000"/>
                    <a:gd name="connsiteY94" fmla="*/ 7626 h 10127"/>
                    <a:gd name="connsiteX95" fmla="*/ 1500 w 10000"/>
                    <a:gd name="connsiteY95" fmla="*/ 7823 h 10127"/>
                    <a:gd name="connsiteX96" fmla="*/ 1556 w 10000"/>
                    <a:gd name="connsiteY96" fmla="*/ 7911 h 10127"/>
                    <a:gd name="connsiteX97" fmla="*/ 1722 w 10000"/>
                    <a:gd name="connsiteY97" fmla="*/ 7973 h 10127"/>
                    <a:gd name="connsiteX98" fmla="*/ 1944 w 10000"/>
                    <a:gd name="connsiteY98" fmla="*/ 8038 h 10127"/>
                    <a:gd name="connsiteX99" fmla="*/ 2944 w 10000"/>
                    <a:gd name="connsiteY99" fmla="*/ 8115 h 10127"/>
                    <a:gd name="connsiteX100" fmla="*/ 2944 w 10000"/>
                    <a:gd name="connsiteY100" fmla="*/ 8115 h 10127"/>
                    <a:gd name="connsiteX101" fmla="*/ 4167 w 10000"/>
                    <a:gd name="connsiteY101" fmla="*/ 8256 h 10127"/>
                    <a:gd name="connsiteX102" fmla="*/ 4889 w 10000"/>
                    <a:gd name="connsiteY102" fmla="*/ 8452 h 10127"/>
                    <a:gd name="connsiteX103" fmla="*/ 5278 w 10000"/>
                    <a:gd name="connsiteY103" fmla="*/ 8673 h 10127"/>
                    <a:gd name="connsiteX104" fmla="*/ 5444 w 10000"/>
                    <a:gd name="connsiteY104" fmla="*/ 8731 h 10127"/>
                    <a:gd name="connsiteX105" fmla="*/ 5444 w 10000"/>
                    <a:gd name="connsiteY105" fmla="*/ 8731 h 10127"/>
                    <a:gd name="connsiteX106" fmla="*/ 5722 w 10000"/>
                    <a:gd name="connsiteY106" fmla="*/ 8886 h 10127"/>
                    <a:gd name="connsiteX107" fmla="*/ 5833 w 10000"/>
                    <a:gd name="connsiteY107" fmla="*/ 8957 h 10127"/>
                    <a:gd name="connsiteX108" fmla="*/ 5833 w 10000"/>
                    <a:gd name="connsiteY108" fmla="*/ 8957 h 10127"/>
                    <a:gd name="connsiteX109" fmla="*/ 5833 w 10000"/>
                    <a:gd name="connsiteY109" fmla="*/ 8886 h 10127"/>
                    <a:gd name="connsiteX110" fmla="*/ 5889 w 10000"/>
                    <a:gd name="connsiteY110" fmla="*/ 8808 h 10127"/>
                    <a:gd name="connsiteX111" fmla="*/ 6000 w 10000"/>
                    <a:gd name="connsiteY111" fmla="*/ 8731 h 10127"/>
                    <a:gd name="connsiteX112" fmla="*/ 6167 w 10000"/>
                    <a:gd name="connsiteY112" fmla="*/ 8673 h 10127"/>
                    <a:gd name="connsiteX113" fmla="*/ 6444 w 10000"/>
                    <a:gd name="connsiteY113" fmla="*/ 8673 h 10127"/>
                    <a:gd name="connsiteX114" fmla="*/ 6833 w 10000"/>
                    <a:gd name="connsiteY114" fmla="*/ 8731 h 10127"/>
                    <a:gd name="connsiteX115" fmla="*/ 7278 w 10000"/>
                    <a:gd name="connsiteY115" fmla="*/ 8957 h 10127"/>
                    <a:gd name="connsiteX116" fmla="*/ 7278 w 10000"/>
                    <a:gd name="connsiteY116" fmla="*/ 8957 h 10127"/>
                    <a:gd name="connsiteX117" fmla="*/ 8722 w 10000"/>
                    <a:gd name="connsiteY117" fmla="*/ 9563 h 10127"/>
                    <a:gd name="connsiteX118" fmla="*/ 10000 w 10000"/>
                    <a:gd name="connsiteY118" fmla="*/ 10127 h 10127"/>
                    <a:gd name="connsiteX119" fmla="*/ 10000 w 10000"/>
                    <a:gd name="connsiteY119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8111 w 10000"/>
                    <a:gd name="connsiteY33" fmla="*/ 3816 h 10127"/>
                    <a:gd name="connsiteX34" fmla="*/ 7944 w 10000"/>
                    <a:gd name="connsiteY34" fmla="*/ 3605 h 10127"/>
                    <a:gd name="connsiteX35" fmla="*/ 7778 w 10000"/>
                    <a:gd name="connsiteY35" fmla="*/ 3471 h 10127"/>
                    <a:gd name="connsiteX36" fmla="*/ 7556 w 10000"/>
                    <a:gd name="connsiteY36" fmla="*/ 3389 h 10127"/>
                    <a:gd name="connsiteX37" fmla="*/ 7333 w 10000"/>
                    <a:gd name="connsiteY37" fmla="*/ 3324 h 10127"/>
                    <a:gd name="connsiteX38" fmla="*/ 7000 w 10000"/>
                    <a:gd name="connsiteY38" fmla="*/ 3247 h 10127"/>
                    <a:gd name="connsiteX39" fmla="*/ 7000 w 10000"/>
                    <a:gd name="connsiteY39" fmla="*/ 3247 h 10127"/>
                    <a:gd name="connsiteX40" fmla="*/ 6556 w 10000"/>
                    <a:gd name="connsiteY40" fmla="*/ 3324 h 10127"/>
                    <a:gd name="connsiteX41" fmla="*/ 6222 w 10000"/>
                    <a:gd name="connsiteY41" fmla="*/ 3324 h 10127"/>
                    <a:gd name="connsiteX42" fmla="*/ 6111 w 10000"/>
                    <a:gd name="connsiteY42" fmla="*/ 3247 h 10127"/>
                    <a:gd name="connsiteX43" fmla="*/ 6056 w 10000"/>
                    <a:gd name="connsiteY43" fmla="*/ 3185 h 10127"/>
                    <a:gd name="connsiteX44" fmla="*/ 6056 w 10000"/>
                    <a:gd name="connsiteY44" fmla="*/ 3185 h 10127"/>
                    <a:gd name="connsiteX45" fmla="*/ 6056 w 10000"/>
                    <a:gd name="connsiteY45" fmla="*/ 1943 h 10127"/>
                    <a:gd name="connsiteX46" fmla="*/ 6056 w 10000"/>
                    <a:gd name="connsiteY46" fmla="*/ 1943 h 10127"/>
                    <a:gd name="connsiteX47" fmla="*/ 6056 w 10000"/>
                    <a:gd name="connsiteY47" fmla="*/ 1652 h 10127"/>
                    <a:gd name="connsiteX48" fmla="*/ 5944 w 10000"/>
                    <a:gd name="connsiteY48" fmla="*/ 1308 h 10127"/>
                    <a:gd name="connsiteX49" fmla="*/ 5889 w 10000"/>
                    <a:gd name="connsiteY49" fmla="*/ 1230 h 10127"/>
                    <a:gd name="connsiteX50" fmla="*/ 5778 w 10000"/>
                    <a:gd name="connsiteY50" fmla="*/ 1167 h 10127"/>
                    <a:gd name="connsiteX51" fmla="*/ 5667 w 10000"/>
                    <a:gd name="connsiteY51" fmla="*/ 1167 h 10127"/>
                    <a:gd name="connsiteX52" fmla="*/ 5500 w 10000"/>
                    <a:gd name="connsiteY52" fmla="*/ 1230 h 10127"/>
                    <a:gd name="connsiteX53" fmla="*/ 5500 w 10000"/>
                    <a:gd name="connsiteY53" fmla="*/ 1230 h 10127"/>
                    <a:gd name="connsiteX54" fmla="*/ 4889 w 10000"/>
                    <a:gd name="connsiteY54" fmla="*/ 1726 h 10127"/>
                    <a:gd name="connsiteX55" fmla="*/ 4611 w 10000"/>
                    <a:gd name="connsiteY55" fmla="*/ 1866 h 10127"/>
                    <a:gd name="connsiteX56" fmla="*/ 4556 w 10000"/>
                    <a:gd name="connsiteY56" fmla="*/ 1943 h 10127"/>
                    <a:gd name="connsiteX57" fmla="*/ 4500 w 10000"/>
                    <a:gd name="connsiteY57" fmla="*/ 1866 h 10127"/>
                    <a:gd name="connsiteX58" fmla="*/ 4500 w 10000"/>
                    <a:gd name="connsiteY58" fmla="*/ 1866 h 10127"/>
                    <a:gd name="connsiteX59" fmla="*/ 4111 w 10000"/>
                    <a:gd name="connsiteY59" fmla="*/ 822 h 10127"/>
                    <a:gd name="connsiteX60" fmla="*/ 4111 w 10000"/>
                    <a:gd name="connsiteY60" fmla="*/ 404 h 10127"/>
                    <a:gd name="connsiteX61" fmla="*/ 4111 w 10000"/>
                    <a:gd name="connsiteY61" fmla="*/ 404 h 10127"/>
                    <a:gd name="connsiteX62" fmla="*/ 4195 w 10000"/>
                    <a:gd name="connsiteY62" fmla="*/ 119 h 10127"/>
                    <a:gd name="connsiteX63" fmla="*/ 4213 w 10000"/>
                    <a:gd name="connsiteY63" fmla="*/ 0 h 10127"/>
                    <a:gd name="connsiteX64" fmla="*/ 4000 w 10000"/>
                    <a:gd name="connsiteY64" fmla="*/ 127 h 10127"/>
                    <a:gd name="connsiteX65" fmla="*/ 3722 w 10000"/>
                    <a:gd name="connsiteY65" fmla="*/ 200 h 10127"/>
                    <a:gd name="connsiteX66" fmla="*/ 3611 w 10000"/>
                    <a:gd name="connsiteY66" fmla="*/ 273 h 10127"/>
                    <a:gd name="connsiteX67" fmla="*/ 3556 w 10000"/>
                    <a:gd name="connsiteY67" fmla="*/ 344 h 10127"/>
                    <a:gd name="connsiteX68" fmla="*/ 3556 w 10000"/>
                    <a:gd name="connsiteY68" fmla="*/ 344 h 10127"/>
                    <a:gd name="connsiteX69" fmla="*/ 3444 w 10000"/>
                    <a:gd name="connsiteY69" fmla="*/ 618 h 10127"/>
                    <a:gd name="connsiteX70" fmla="*/ 3278 w 10000"/>
                    <a:gd name="connsiteY70" fmla="*/ 1039 h 10127"/>
                    <a:gd name="connsiteX71" fmla="*/ 3000 w 10000"/>
                    <a:gd name="connsiteY71" fmla="*/ 1516 h 10127"/>
                    <a:gd name="connsiteX72" fmla="*/ 2667 w 10000"/>
                    <a:gd name="connsiteY72" fmla="*/ 1866 h 10127"/>
                    <a:gd name="connsiteX73" fmla="*/ 2667 w 10000"/>
                    <a:gd name="connsiteY73" fmla="*/ 1866 h 10127"/>
                    <a:gd name="connsiteX74" fmla="*/ 2333 w 10000"/>
                    <a:gd name="connsiteY74" fmla="*/ 2152 h 10127"/>
                    <a:gd name="connsiteX75" fmla="*/ 1833 w 10000"/>
                    <a:gd name="connsiteY75" fmla="*/ 2431 h 10127"/>
                    <a:gd name="connsiteX76" fmla="*/ 1389 w 10000"/>
                    <a:gd name="connsiteY76" fmla="*/ 2562 h 10127"/>
                    <a:gd name="connsiteX77" fmla="*/ 889 w 10000"/>
                    <a:gd name="connsiteY77" fmla="*/ 2633 h 10127"/>
                    <a:gd name="connsiteX78" fmla="*/ 889 w 10000"/>
                    <a:gd name="connsiteY78" fmla="*/ 2633 h 10127"/>
                    <a:gd name="connsiteX79" fmla="*/ 500 w 10000"/>
                    <a:gd name="connsiteY79" fmla="*/ 2717 h 10127"/>
                    <a:gd name="connsiteX80" fmla="*/ 222 w 10000"/>
                    <a:gd name="connsiteY80" fmla="*/ 2768 h 10127"/>
                    <a:gd name="connsiteX81" fmla="*/ 0 w 10000"/>
                    <a:gd name="connsiteY81" fmla="*/ 2836 h 10127"/>
                    <a:gd name="connsiteX82" fmla="*/ 0 w 10000"/>
                    <a:gd name="connsiteY82" fmla="*/ 2836 h 10127"/>
                    <a:gd name="connsiteX83" fmla="*/ 278 w 10000"/>
                    <a:gd name="connsiteY83" fmla="*/ 3955 h 10127"/>
                    <a:gd name="connsiteX84" fmla="*/ 500 w 10000"/>
                    <a:gd name="connsiteY84" fmla="*/ 4773 h 10127"/>
                    <a:gd name="connsiteX85" fmla="*/ 722 w 10000"/>
                    <a:gd name="connsiteY85" fmla="*/ 5476 h 10127"/>
                    <a:gd name="connsiteX86" fmla="*/ 722 w 10000"/>
                    <a:gd name="connsiteY86" fmla="*/ 5476 h 10127"/>
                    <a:gd name="connsiteX87" fmla="*/ 889 w 10000"/>
                    <a:gd name="connsiteY87" fmla="*/ 5891 h 10127"/>
                    <a:gd name="connsiteX88" fmla="*/ 944 w 10000"/>
                    <a:gd name="connsiteY88" fmla="*/ 6248 h 10127"/>
                    <a:gd name="connsiteX89" fmla="*/ 1111 w 10000"/>
                    <a:gd name="connsiteY89" fmla="*/ 6598 h 10127"/>
                    <a:gd name="connsiteX90" fmla="*/ 1333 w 10000"/>
                    <a:gd name="connsiteY90" fmla="*/ 7136 h 10127"/>
                    <a:gd name="connsiteX91" fmla="*/ 1333 w 10000"/>
                    <a:gd name="connsiteY91" fmla="*/ 7136 h 10127"/>
                    <a:gd name="connsiteX92" fmla="*/ 1444 w 10000"/>
                    <a:gd name="connsiteY92" fmla="*/ 7417 h 10127"/>
                    <a:gd name="connsiteX93" fmla="*/ 1500 w 10000"/>
                    <a:gd name="connsiteY93" fmla="*/ 7626 h 10127"/>
                    <a:gd name="connsiteX94" fmla="*/ 1500 w 10000"/>
                    <a:gd name="connsiteY94" fmla="*/ 7823 h 10127"/>
                    <a:gd name="connsiteX95" fmla="*/ 1556 w 10000"/>
                    <a:gd name="connsiteY95" fmla="*/ 7911 h 10127"/>
                    <a:gd name="connsiteX96" fmla="*/ 1722 w 10000"/>
                    <a:gd name="connsiteY96" fmla="*/ 7973 h 10127"/>
                    <a:gd name="connsiteX97" fmla="*/ 1944 w 10000"/>
                    <a:gd name="connsiteY97" fmla="*/ 8038 h 10127"/>
                    <a:gd name="connsiteX98" fmla="*/ 2944 w 10000"/>
                    <a:gd name="connsiteY98" fmla="*/ 8115 h 10127"/>
                    <a:gd name="connsiteX99" fmla="*/ 2944 w 10000"/>
                    <a:gd name="connsiteY99" fmla="*/ 8115 h 10127"/>
                    <a:gd name="connsiteX100" fmla="*/ 4167 w 10000"/>
                    <a:gd name="connsiteY100" fmla="*/ 8256 h 10127"/>
                    <a:gd name="connsiteX101" fmla="*/ 4889 w 10000"/>
                    <a:gd name="connsiteY101" fmla="*/ 8452 h 10127"/>
                    <a:gd name="connsiteX102" fmla="*/ 5278 w 10000"/>
                    <a:gd name="connsiteY102" fmla="*/ 8673 h 10127"/>
                    <a:gd name="connsiteX103" fmla="*/ 5444 w 10000"/>
                    <a:gd name="connsiteY103" fmla="*/ 8731 h 10127"/>
                    <a:gd name="connsiteX104" fmla="*/ 5444 w 10000"/>
                    <a:gd name="connsiteY104" fmla="*/ 8731 h 10127"/>
                    <a:gd name="connsiteX105" fmla="*/ 5722 w 10000"/>
                    <a:gd name="connsiteY105" fmla="*/ 8886 h 10127"/>
                    <a:gd name="connsiteX106" fmla="*/ 5833 w 10000"/>
                    <a:gd name="connsiteY106" fmla="*/ 8957 h 10127"/>
                    <a:gd name="connsiteX107" fmla="*/ 5833 w 10000"/>
                    <a:gd name="connsiteY107" fmla="*/ 8957 h 10127"/>
                    <a:gd name="connsiteX108" fmla="*/ 5833 w 10000"/>
                    <a:gd name="connsiteY108" fmla="*/ 8886 h 10127"/>
                    <a:gd name="connsiteX109" fmla="*/ 5889 w 10000"/>
                    <a:gd name="connsiteY109" fmla="*/ 8808 h 10127"/>
                    <a:gd name="connsiteX110" fmla="*/ 6000 w 10000"/>
                    <a:gd name="connsiteY110" fmla="*/ 8731 h 10127"/>
                    <a:gd name="connsiteX111" fmla="*/ 6167 w 10000"/>
                    <a:gd name="connsiteY111" fmla="*/ 8673 h 10127"/>
                    <a:gd name="connsiteX112" fmla="*/ 6444 w 10000"/>
                    <a:gd name="connsiteY112" fmla="*/ 8673 h 10127"/>
                    <a:gd name="connsiteX113" fmla="*/ 6833 w 10000"/>
                    <a:gd name="connsiteY113" fmla="*/ 8731 h 10127"/>
                    <a:gd name="connsiteX114" fmla="*/ 7278 w 10000"/>
                    <a:gd name="connsiteY114" fmla="*/ 8957 h 10127"/>
                    <a:gd name="connsiteX115" fmla="*/ 7278 w 10000"/>
                    <a:gd name="connsiteY115" fmla="*/ 8957 h 10127"/>
                    <a:gd name="connsiteX116" fmla="*/ 8722 w 10000"/>
                    <a:gd name="connsiteY116" fmla="*/ 9563 h 10127"/>
                    <a:gd name="connsiteX117" fmla="*/ 10000 w 10000"/>
                    <a:gd name="connsiteY117" fmla="*/ 10127 h 10127"/>
                    <a:gd name="connsiteX118" fmla="*/ 10000 w 10000"/>
                    <a:gd name="connsiteY11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944 w 10000"/>
                    <a:gd name="connsiteY33" fmla="*/ 3605 h 10127"/>
                    <a:gd name="connsiteX34" fmla="*/ 7778 w 10000"/>
                    <a:gd name="connsiteY34" fmla="*/ 3471 h 10127"/>
                    <a:gd name="connsiteX35" fmla="*/ 7556 w 10000"/>
                    <a:gd name="connsiteY35" fmla="*/ 3389 h 10127"/>
                    <a:gd name="connsiteX36" fmla="*/ 7333 w 10000"/>
                    <a:gd name="connsiteY36" fmla="*/ 3324 h 10127"/>
                    <a:gd name="connsiteX37" fmla="*/ 7000 w 10000"/>
                    <a:gd name="connsiteY37" fmla="*/ 3247 h 10127"/>
                    <a:gd name="connsiteX38" fmla="*/ 7000 w 10000"/>
                    <a:gd name="connsiteY38" fmla="*/ 3247 h 10127"/>
                    <a:gd name="connsiteX39" fmla="*/ 6556 w 10000"/>
                    <a:gd name="connsiteY39" fmla="*/ 3324 h 10127"/>
                    <a:gd name="connsiteX40" fmla="*/ 6222 w 10000"/>
                    <a:gd name="connsiteY40" fmla="*/ 3324 h 10127"/>
                    <a:gd name="connsiteX41" fmla="*/ 6111 w 10000"/>
                    <a:gd name="connsiteY41" fmla="*/ 3247 h 10127"/>
                    <a:gd name="connsiteX42" fmla="*/ 6056 w 10000"/>
                    <a:gd name="connsiteY42" fmla="*/ 3185 h 10127"/>
                    <a:gd name="connsiteX43" fmla="*/ 6056 w 10000"/>
                    <a:gd name="connsiteY43" fmla="*/ 3185 h 10127"/>
                    <a:gd name="connsiteX44" fmla="*/ 6056 w 10000"/>
                    <a:gd name="connsiteY44" fmla="*/ 1943 h 10127"/>
                    <a:gd name="connsiteX45" fmla="*/ 6056 w 10000"/>
                    <a:gd name="connsiteY45" fmla="*/ 1943 h 10127"/>
                    <a:gd name="connsiteX46" fmla="*/ 6056 w 10000"/>
                    <a:gd name="connsiteY46" fmla="*/ 1652 h 10127"/>
                    <a:gd name="connsiteX47" fmla="*/ 5944 w 10000"/>
                    <a:gd name="connsiteY47" fmla="*/ 1308 h 10127"/>
                    <a:gd name="connsiteX48" fmla="*/ 5889 w 10000"/>
                    <a:gd name="connsiteY48" fmla="*/ 1230 h 10127"/>
                    <a:gd name="connsiteX49" fmla="*/ 5778 w 10000"/>
                    <a:gd name="connsiteY49" fmla="*/ 1167 h 10127"/>
                    <a:gd name="connsiteX50" fmla="*/ 5667 w 10000"/>
                    <a:gd name="connsiteY50" fmla="*/ 1167 h 10127"/>
                    <a:gd name="connsiteX51" fmla="*/ 5500 w 10000"/>
                    <a:gd name="connsiteY51" fmla="*/ 1230 h 10127"/>
                    <a:gd name="connsiteX52" fmla="*/ 5500 w 10000"/>
                    <a:gd name="connsiteY52" fmla="*/ 1230 h 10127"/>
                    <a:gd name="connsiteX53" fmla="*/ 4889 w 10000"/>
                    <a:gd name="connsiteY53" fmla="*/ 1726 h 10127"/>
                    <a:gd name="connsiteX54" fmla="*/ 4611 w 10000"/>
                    <a:gd name="connsiteY54" fmla="*/ 1866 h 10127"/>
                    <a:gd name="connsiteX55" fmla="*/ 4556 w 10000"/>
                    <a:gd name="connsiteY55" fmla="*/ 1943 h 10127"/>
                    <a:gd name="connsiteX56" fmla="*/ 4500 w 10000"/>
                    <a:gd name="connsiteY56" fmla="*/ 1866 h 10127"/>
                    <a:gd name="connsiteX57" fmla="*/ 4500 w 10000"/>
                    <a:gd name="connsiteY57" fmla="*/ 1866 h 10127"/>
                    <a:gd name="connsiteX58" fmla="*/ 4111 w 10000"/>
                    <a:gd name="connsiteY58" fmla="*/ 822 h 10127"/>
                    <a:gd name="connsiteX59" fmla="*/ 4111 w 10000"/>
                    <a:gd name="connsiteY59" fmla="*/ 404 h 10127"/>
                    <a:gd name="connsiteX60" fmla="*/ 4111 w 10000"/>
                    <a:gd name="connsiteY60" fmla="*/ 404 h 10127"/>
                    <a:gd name="connsiteX61" fmla="*/ 4195 w 10000"/>
                    <a:gd name="connsiteY61" fmla="*/ 119 h 10127"/>
                    <a:gd name="connsiteX62" fmla="*/ 4213 w 10000"/>
                    <a:gd name="connsiteY62" fmla="*/ 0 h 10127"/>
                    <a:gd name="connsiteX63" fmla="*/ 4000 w 10000"/>
                    <a:gd name="connsiteY63" fmla="*/ 127 h 10127"/>
                    <a:gd name="connsiteX64" fmla="*/ 3722 w 10000"/>
                    <a:gd name="connsiteY64" fmla="*/ 200 h 10127"/>
                    <a:gd name="connsiteX65" fmla="*/ 3611 w 10000"/>
                    <a:gd name="connsiteY65" fmla="*/ 273 h 10127"/>
                    <a:gd name="connsiteX66" fmla="*/ 3556 w 10000"/>
                    <a:gd name="connsiteY66" fmla="*/ 344 h 10127"/>
                    <a:gd name="connsiteX67" fmla="*/ 3556 w 10000"/>
                    <a:gd name="connsiteY67" fmla="*/ 344 h 10127"/>
                    <a:gd name="connsiteX68" fmla="*/ 3444 w 10000"/>
                    <a:gd name="connsiteY68" fmla="*/ 618 h 10127"/>
                    <a:gd name="connsiteX69" fmla="*/ 3278 w 10000"/>
                    <a:gd name="connsiteY69" fmla="*/ 1039 h 10127"/>
                    <a:gd name="connsiteX70" fmla="*/ 3000 w 10000"/>
                    <a:gd name="connsiteY70" fmla="*/ 1516 h 10127"/>
                    <a:gd name="connsiteX71" fmla="*/ 2667 w 10000"/>
                    <a:gd name="connsiteY71" fmla="*/ 1866 h 10127"/>
                    <a:gd name="connsiteX72" fmla="*/ 2667 w 10000"/>
                    <a:gd name="connsiteY72" fmla="*/ 1866 h 10127"/>
                    <a:gd name="connsiteX73" fmla="*/ 2333 w 10000"/>
                    <a:gd name="connsiteY73" fmla="*/ 2152 h 10127"/>
                    <a:gd name="connsiteX74" fmla="*/ 1833 w 10000"/>
                    <a:gd name="connsiteY74" fmla="*/ 2431 h 10127"/>
                    <a:gd name="connsiteX75" fmla="*/ 1389 w 10000"/>
                    <a:gd name="connsiteY75" fmla="*/ 2562 h 10127"/>
                    <a:gd name="connsiteX76" fmla="*/ 889 w 10000"/>
                    <a:gd name="connsiteY76" fmla="*/ 2633 h 10127"/>
                    <a:gd name="connsiteX77" fmla="*/ 889 w 10000"/>
                    <a:gd name="connsiteY77" fmla="*/ 2633 h 10127"/>
                    <a:gd name="connsiteX78" fmla="*/ 500 w 10000"/>
                    <a:gd name="connsiteY78" fmla="*/ 2717 h 10127"/>
                    <a:gd name="connsiteX79" fmla="*/ 222 w 10000"/>
                    <a:gd name="connsiteY79" fmla="*/ 2768 h 10127"/>
                    <a:gd name="connsiteX80" fmla="*/ 0 w 10000"/>
                    <a:gd name="connsiteY80" fmla="*/ 2836 h 10127"/>
                    <a:gd name="connsiteX81" fmla="*/ 0 w 10000"/>
                    <a:gd name="connsiteY81" fmla="*/ 2836 h 10127"/>
                    <a:gd name="connsiteX82" fmla="*/ 278 w 10000"/>
                    <a:gd name="connsiteY82" fmla="*/ 3955 h 10127"/>
                    <a:gd name="connsiteX83" fmla="*/ 500 w 10000"/>
                    <a:gd name="connsiteY83" fmla="*/ 4773 h 10127"/>
                    <a:gd name="connsiteX84" fmla="*/ 722 w 10000"/>
                    <a:gd name="connsiteY84" fmla="*/ 5476 h 10127"/>
                    <a:gd name="connsiteX85" fmla="*/ 722 w 10000"/>
                    <a:gd name="connsiteY85" fmla="*/ 5476 h 10127"/>
                    <a:gd name="connsiteX86" fmla="*/ 889 w 10000"/>
                    <a:gd name="connsiteY86" fmla="*/ 5891 h 10127"/>
                    <a:gd name="connsiteX87" fmla="*/ 944 w 10000"/>
                    <a:gd name="connsiteY87" fmla="*/ 6248 h 10127"/>
                    <a:gd name="connsiteX88" fmla="*/ 1111 w 10000"/>
                    <a:gd name="connsiteY88" fmla="*/ 6598 h 10127"/>
                    <a:gd name="connsiteX89" fmla="*/ 1333 w 10000"/>
                    <a:gd name="connsiteY89" fmla="*/ 7136 h 10127"/>
                    <a:gd name="connsiteX90" fmla="*/ 1333 w 10000"/>
                    <a:gd name="connsiteY90" fmla="*/ 7136 h 10127"/>
                    <a:gd name="connsiteX91" fmla="*/ 1444 w 10000"/>
                    <a:gd name="connsiteY91" fmla="*/ 7417 h 10127"/>
                    <a:gd name="connsiteX92" fmla="*/ 1500 w 10000"/>
                    <a:gd name="connsiteY92" fmla="*/ 7626 h 10127"/>
                    <a:gd name="connsiteX93" fmla="*/ 1500 w 10000"/>
                    <a:gd name="connsiteY93" fmla="*/ 7823 h 10127"/>
                    <a:gd name="connsiteX94" fmla="*/ 1556 w 10000"/>
                    <a:gd name="connsiteY94" fmla="*/ 7911 h 10127"/>
                    <a:gd name="connsiteX95" fmla="*/ 1722 w 10000"/>
                    <a:gd name="connsiteY95" fmla="*/ 7973 h 10127"/>
                    <a:gd name="connsiteX96" fmla="*/ 1944 w 10000"/>
                    <a:gd name="connsiteY96" fmla="*/ 8038 h 10127"/>
                    <a:gd name="connsiteX97" fmla="*/ 2944 w 10000"/>
                    <a:gd name="connsiteY97" fmla="*/ 8115 h 10127"/>
                    <a:gd name="connsiteX98" fmla="*/ 2944 w 10000"/>
                    <a:gd name="connsiteY98" fmla="*/ 8115 h 10127"/>
                    <a:gd name="connsiteX99" fmla="*/ 4167 w 10000"/>
                    <a:gd name="connsiteY99" fmla="*/ 8256 h 10127"/>
                    <a:gd name="connsiteX100" fmla="*/ 4889 w 10000"/>
                    <a:gd name="connsiteY100" fmla="*/ 8452 h 10127"/>
                    <a:gd name="connsiteX101" fmla="*/ 5278 w 10000"/>
                    <a:gd name="connsiteY101" fmla="*/ 8673 h 10127"/>
                    <a:gd name="connsiteX102" fmla="*/ 5444 w 10000"/>
                    <a:gd name="connsiteY102" fmla="*/ 8731 h 10127"/>
                    <a:gd name="connsiteX103" fmla="*/ 5444 w 10000"/>
                    <a:gd name="connsiteY103" fmla="*/ 8731 h 10127"/>
                    <a:gd name="connsiteX104" fmla="*/ 5722 w 10000"/>
                    <a:gd name="connsiteY104" fmla="*/ 8886 h 10127"/>
                    <a:gd name="connsiteX105" fmla="*/ 5833 w 10000"/>
                    <a:gd name="connsiteY105" fmla="*/ 8957 h 10127"/>
                    <a:gd name="connsiteX106" fmla="*/ 5833 w 10000"/>
                    <a:gd name="connsiteY106" fmla="*/ 8957 h 10127"/>
                    <a:gd name="connsiteX107" fmla="*/ 5833 w 10000"/>
                    <a:gd name="connsiteY107" fmla="*/ 8886 h 10127"/>
                    <a:gd name="connsiteX108" fmla="*/ 5889 w 10000"/>
                    <a:gd name="connsiteY108" fmla="*/ 8808 h 10127"/>
                    <a:gd name="connsiteX109" fmla="*/ 6000 w 10000"/>
                    <a:gd name="connsiteY109" fmla="*/ 8731 h 10127"/>
                    <a:gd name="connsiteX110" fmla="*/ 6167 w 10000"/>
                    <a:gd name="connsiteY110" fmla="*/ 8673 h 10127"/>
                    <a:gd name="connsiteX111" fmla="*/ 6444 w 10000"/>
                    <a:gd name="connsiteY111" fmla="*/ 8673 h 10127"/>
                    <a:gd name="connsiteX112" fmla="*/ 6833 w 10000"/>
                    <a:gd name="connsiteY112" fmla="*/ 8731 h 10127"/>
                    <a:gd name="connsiteX113" fmla="*/ 7278 w 10000"/>
                    <a:gd name="connsiteY113" fmla="*/ 8957 h 10127"/>
                    <a:gd name="connsiteX114" fmla="*/ 7278 w 10000"/>
                    <a:gd name="connsiteY114" fmla="*/ 8957 h 10127"/>
                    <a:gd name="connsiteX115" fmla="*/ 8722 w 10000"/>
                    <a:gd name="connsiteY115" fmla="*/ 9563 h 10127"/>
                    <a:gd name="connsiteX116" fmla="*/ 10000 w 10000"/>
                    <a:gd name="connsiteY116" fmla="*/ 10127 h 10127"/>
                    <a:gd name="connsiteX117" fmla="*/ 10000 w 10000"/>
                    <a:gd name="connsiteY117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778 w 10000"/>
                    <a:gd name="connsiteY33" fmla="*/ 3471 h 10127"/>
                    <a:gd name="connsiteX34" fmla="*/ 7556 w 10000"/>
                    <a:gd name="connsiteY34" fmla="*/ 3389 h 10127"/>
                    <a:gd name="connsiteX35" fmla="*/ 7333 w 10000"/>
                    <a:gd name="connsiteY35" fmla="*/ 3324 h 10127"/>
                    <a:gd name="connsiteX36" fmla="*/ 7000 w 10000"/>
                    <a:gd name="connsiteY36" fmla="*/ 3247 h 10127"/>
                    <a:gd name="connsiteX37" fmla="*/ 7000 w 10000"/>
                    <a:gd name="connsiteY37" fmla="*/ 3247 h 10127"/>
                    <a:gd name="connsiteX38" fmla="*/ 6556 w 10000"/>
                    <a:gd name="connsiteY38" fmla="*/ 3324 h 10127"/>
                    <a:gd name="connsiteX39" fmla="*/ 6222 w 10000"/>
                    <a:gd name="connsiteY39" fmla="*/ 3324 h 10127"/>
                    <a:gd name="connsiteX40" fmla="*/ 6111 w 10000"/>
                    <a:gd name="connsiteY40" fmla="*/ 3247 h 10127"/>
                    <a:gd name="connsiteX41" fmla="*/ 6056 w 10000"/>
                    <a:gd name="connsiteY41" fmla="*/ 3185 h 10127"/>
                    <a:gd name="connsiteX42" fmla="*/ 6056 w 10000"/>
                    <a:gd name="connsiteY42" fmla="*/ 3185 h 10127"/>
                    <a:gd name="connsiteX43" fmla="*/ 6056 w 10000"/>
                    <a:gd name="connsiteY43" fmla="*/ 1943 h 10127"/>
                    <a:gd name="connsiteX44" fmla="*/ 6056 w 10000"/>
                    <a:gd name="connsiteY44" fmla="*/ 1943 h 10127"/>
                    <a:gd name="connsiteX45" fmla="*/ 6056 w 10000"/>
                    <a:gd name="connsiteY45" fmla="*/ 1652 h 10127"/>
                    <a:gd name="connsiteX46" fmla="*/ 5944 w 10000"/>
                    <a:gd name="connsiteY46" fmla="*/ 1308 h 10127"/>
                    <a:gd name="connsiteX47" fmla="*/ 5889 w 10000"/>
                    <a:gd name="connsiteY47" fmla="*/ 1230 h 10127"/>
                    <a:gd name="connsiteX48" fmla="*/ 5778 w 10000"/>
                    <a:gd name="connsiteY48" fmla="*/ 1167 h 10127"/>
                    <a:gd name="connsiteX49" fmla="*/ 5667 w 10000"/>
                    <a:gd name="connsiteY49" fmla="*/ 1167 h 10127"/>
                    <a:gd name="connsiteX50" fmla="*/ 5500 w 10000"/>
                    <a:gd name="connsiteY50" fmla="*/ 1230 h 10127"/>
                    <a:gd name="connsiteX51" fmla="*/ 5500 w 10000"/>
                    <a:gd name="connsiteY51" fmla="*/ 1230 h 10127"/>
                    <a:gd name="connsiteX52" fmla="*/ 4889 w 10000"/>
                    <a:gd name="connsiteY52" fmla="*/ 1726 h 10127"/>
                    <a:gd name="connsiteX53" fmla="*/ 4611 w 10000"/>
                    <a:gd name="connsiteY53" fmla="*/ 1866 h 10127"/>
                    <a:gd name="connsiteX54" fmla="*/ 4556 w 10000"/>
                    <a:gd name="connsiteY54" fmla="*/ 1943 h 10127"/>
                    <a:gd name="connsiteX55" fmla="*/ 4500 w 10000"/>
                    <a:gd name="connsiteY55" fmla="*/ 1866 h 10127"/>
                    <a:gd name="connsiteX56" fmla="*/ 4500 w 10000"/>
                    <a:gd name="connsiteY56" fmla="*/ 1866 h 10127"/>
                    <a:gd name="connsiteX57" fmla="*/ 4111 w 10000"/>
                    <a:gd name="connsiteY57" fmla="*/ 822 h 10127"/>
                    <a:gd name="connsiteX58" fmla="*/ 4111 w 10000"/>
                    <a:gd name="connsiteY58" fmla="*/ 404 h 10127"/>
                    <a:gd name="connsiteX59" fmla="*/ 4111 w 10000"/>
                    <a:gd name="connsiteY59" fmla="*/ 404 h 10127"/>
                    <a:gd name="connsiteX60" fmla="*/ 4195 w 10000"/>
                    <a:gd name="connsiteY60" fmla="*/ 119 h 10127"/>
                    <a:gd name="connsiteX61" fmla="*/ 4213 w 10000"/>
                    <a:gd name="connsiteY61" fmla="*/ 0 h 10127"/>
                    <a:gd name="connsiteX62" fmla="*/ 4000 w 10000"/>
                    <a:gd name="connsiteY62" fmla="*/ 127 h 10127"/>
                    <a:gd name="connsiteX63" fmla="*/ 3722 w 10000"/>
                    <a:gd name="connsiteY63" fmla="*/ 200 h 10127"/>
                    <a:gd name="connsiteX64" fmla="*/ 3611 w 10000"/>
                    <a:gd name="connsiteY64" fmla="*/ 273 h 10127"/>
                    <a:gd name="connsiteX65" fmla="*/ 3556 w 10000"/>
                    <a:gd name="connsiteY65" fmla="*/ 344 h 10127"/>
                    <a:gd name="connsiteX66" fmla="*/ 3556 w 10000"/>
                    <a:gd name="connsiteY66" fmla="*/ 344 h 10127"/>
                    <a:gd name="connsiteX67" fmla="*/ 3444 w 10000"/>
                    <a:gd name="connsiteY67" fmla="*/ 618 h 10127"/>
                    <a:gd name="connsiteX68" fmla="*/ 3278 w 10000"/>
                    <a:gd name="connsiteY68" fmla="*/ 1039 h 10127"/>
                    <a:gd name="connsiteX69" fmla="*/ 3000 w 10000"/>
                    <a:gd name="connsiteY69" fmla="*/ 1516 h 10127"/>
                    <a:gd name="connsiteX70" fmla="*/ 2667 w 10000"/>
                    <a:gd name="connsiteY70" fmla="*/ 1866 h 10127"/>
                    <a:gd name="connsiteX71" fmla="*/ 2667 w 10000"/>
                    <a:gd name="connsiteY71" fmla="*/ 1866 h 10127"/>
                    <a:gd name="connsiteX72" fmla="*/ 2333 w 10000"/>
                    <a:gd name="connsiteY72" fmla="*/ 2152 h 10127"/>
                    <a:gd name="connsiteX73" fmla="*/ 1833 w 10000"/>
                    <a:gd name="connsiteY73" fmla="*/ 2431 h 10127"/>
                    <a:gd name="connsiteX74" fmla="*/ 1389 w 10000"/>
                    <a:gd name="connsiteY74" fmla="*/ 2562 h 10127"/>
                    <a:gd name="connsiteX75" fmla="*/ 889 w 10000"/>
                    <a:gd name="connsiteY75" fmla="*/ 2633 h 10127"/>
                    <a:gd name="connsiteX76" fmla="*/ 889 w 10000"/>
                    <a:gd name="connsiteY76" fmla="*/ 2633 h 10127"/>
                    <a:gd name="connsiteX77" fmla="*/ 500 w 10000"/>
                    <a:gd name="connsiteY77" fmla="*/ 2717 h 10127"/>
                    <a:gd name="connsiteX78" fmla="*/ 222 w 10000"/>
                    <a:gd name="connsiteY78" fmla="*/ 2768 h 10127"/>
                    <a:gd name="connsiteX79" fmla="*/ 0 w 10000"/>
                    <a:gd name="connsiteY79" fmla="*/ 2836 h 10127"/>
                    <a:gd name="connsiteX80" fmla="*/ 0 w 10000"/>
                    <a:gd name="connsiteY80" fmla="*/ 2836 h 10127"/>
                    <a:gd name="connsiteX81" fmla="*/ 278 w 10000"/>
                    <a:gd name="connsiteY81" fmla="*/ 3955 h 10127"/>
                    <a:gd name="connsiteX82" fmla="*/ 500 w 10000"/>
                    <a:gd name="connsiteY82" fmla="*/ 4773 h 10127"/>
                    <a:gd name="connsiteX83" fmla="*/ 722 w 10000"/>
                    <a:gd name="connsiteY83" fmla="*/ 5476 h 10127"/>
                    <a:gd name="connsiteX84" fmla="*/ 722 w 10000"/>
                    <a:gd name="connsiteY84" fmla="*/ 5476 h 10127"/>
                    <a:gd name="connsiteX85" fmla="*/ 889 w 10000"/>
                    <a:gd name="connsiteY85" fmla="*/ 5891 h 10127"/>
                    <a:gd name="connsiteX86" fmla="*/ 944 w 10000"/>
                    <a:gd name="connsiteY86" fmla="*/ 6248 h 10127"/>
                    <a:gd name="connsiteX87" fmla="*/ 1111 w 10000"/>
                    <a:gd name="connsiteY87" fmla="*/ 6598 h 10127"/>
                    <a:gd name="connsiteX88" fmla="*/ 1333 w 10000"/>
                    <a:gd name="connsiteY88" fmla="*/ 7136 h 10127"/>
                    <a:gd name="connsiteX89" fmla="*/ 1333 w 10000"/>
                    <a:gd name="connsiteY89" fmla="*/ 7136 h 10127"/>
                    <a:gd name="connsiteX90" fmla="*/ 1444 w 10000"/>
                    <a:gd name="connsiteY90" fmla="*/ 7417 h 10127"/>
                    <a:gd name="connsiteX91" fmla="*/ 1500 w 10000"/>
                    <a:gd name="connsiteY91" fmla="*/ 7626 h 10127"/>
                    <a:gd name="connsiteX92" fmla="*/ 1500 w 10000"/>
                    <a:gd name="connsiteY92" fmla="*/ 7823 h 10127"/>
                    <a:gd name="connsiteX93" fmla="*/ 1556 w 10000"/>
                    <a:gd name="connsiteY93" fmla="*/ 7911 h 10127"/>
                    <a:gd name="connsiteX94" fmla="*/ 1722 w 10000"/>
                    <a:gd name="connsiteY94" fmla="*/ 7973 h 10127"/>
                    <a:gd name="connsiteX95" fmla="*/ 1944 w 10000"/>
                    <a:gd name="connsiteY95" fmla="*/ 8038 h 10127"/>
                    <a:gd name="connsiteX96" fmla="*/ 2944 w 10000"/>
                    <a:gd name="connsiteY96" fmla="*/ 8115 h 10127"/>
                    <a:gd name="connsiteX97" fmla="*/ 2944 w 10000"/>
                    <a:gd name="connsiteY97" fmla="*/ 8115 h 10127"/>
                    <a:gd name="connsiteX98" fmla="*/ 4167 w 10000"/>
                    <a:gd name="connsiteY98" fmla="*/ 8256 h 10127"/>
                    <a:gd name="connsiteX99" fmla="*/ 4889 w 10000"/>
                    <a:gd name="connsiteY99" fmla="*/ 8452 h 10127"/>
                    <a:gd name="connsiteX100" fmla="*/ 5278 w 10000"/>
                    <a:gd name="connsiteY100" fmla="*/ 8673 h 10127"/>
                    <a:gd name="connsiteX101" fmla="*/ 5444 w 10000"/>
                    <a:gd name="connsiteY101" fmla="*/ 8731 h 10127"/>
                    <a:gd name="connsiteX102" fmla="*/ 5444 w 10000"/>
                    <a:gd name="connsiteY102" fmla="*/ 8731 h 10127"/>
                    <a:gd name="connsiteX103" fmla="*/ 5722 w 10000"/>
                    <a:gd name="connsiteY103" fmla="*/ 8886 h 10127"/>
                    <a:gd name="connsiteX104" fmla="*/ 5833 w 10000"/>
                    <a:gd name="connsiteY104" fmla="*/ 8957 h 10127"/>
                    <a:gd name="connsiteX105" fmla="*/ 5833 w 10000"/>
                    <a:gd name="connsiteY105" fmla="*/ 8957 h 10127"/>
                    <a:gd name="connsiteX106" fmla="*/ 5833 w 10000"/>
                    <a:gd name="connsiteY106" fmla="*/ 8886 h 10127"/>
                    <a:gd name="connsiteX107" fmla="*/ 5889 w 10000"/>
                    <a:gd name="connsiteY107" fmla="*/ 8808 h 10127"/>
                    <a:gd name="connsiteX108" fmla="*/ 6000 w 10000"/>
                    <a:gd name="connsiteY108" fmla="*/ 8731 h 10127"/>
                    <a:gd name="connsiteX109" fmla="*/ 6167 w 10000"/>
                    <a:gd name="connsiteY109" fmla="*/ 8673 h 10127"/>
                    <a:gd name="connsiteX110" fmla="*/ 6444 w 10000"/>
                    <a:gd name="connsiteY110" fmla="*/ 8673 h 10127"/>
                    <a:gd name="connsiteX111" fmla="*/ 6833 w 10000"/>
                    <a:gd name="connsiteY111" fmla="*/ 8731 h 10127"/>
                    <a:gd name="connsiteX112" fmla="*/ 7278 w 10000"/>
                    <a:gd name="connsiteY112" fmla="*/ 8957 h 10127"/>
                    <a:gd name="connsiteX113" fmla="*/ 7278 w 10000"/>
                    <a:gd name="connsiteY113" fmla="*/ 8957 h 10127"/>
                    <a:gd name="connsiteX114" fmla="*/ 8722 w 10000"/>
                    <a:gd name="connsiteY114" fmla="*/ 9563 h 10127"/>
                    <a:gd name="connsiteX115" fmla="*/ 10000 w 10000"/>
                    <a:gd name="connsiteY115" fmla="*/ 10127 h 10127"/>
                    <a:gd name="connsiteX116" fmla="*/ 10000 w 10000"/>
                    <a:gd name="connsiteY116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556 w 10000"/>
                    <a:gd name="connsiteY33" fmla="*/ 3389 h 10127"/>
                    <a:gd name="connsiteX34" fmla="*/ 7333 w 10000"/>
                    <a:gd name="connsiteY34" fmla="*/ 3324 h 10127"/>
                    <a:gd name="connsiteX35" fmla="*/ 7000 w 10000"/>
                    <a:gd name="connsiteY35" fmla="*/ 3247 h 10127"/>
                    <a:gd name="connsiteX36" fmla="*/ 7000 w 10000"/>
                    <a:gd name="connsiteY36" fmla="*/ 3247 h 10127"/>
                    <a:gd name="connsiteX37" fmla="*/ 6556 w 10000"/>
                    <a:gd name="connsiteY37" fmla="*/ 3324 h 10127"/>
                    <a:gd name="connsiteX38" fmla="*/ 6222 w 10000"/>
                    <a:gd name="connsiteY38" fmla="*/ 3324 h 10127"/>
                    <a:gd name="connsiteX39" fmla="*/ 6111 w 10000"/>
                    <a:gd name="connsiteY39" fmla="*/ 3247 h 10127"/>
                    <a:gd name="connsiteX40" fmla="*/ 6056 w 10000"/>
                    <a:gd name="connsiteY40" fmla="*/ 3185 h 10127"/>
                    <a:gd name="connsiteX41" fmla="*/ 6056 w 10000"/>
                    <a:gd name="connsiteY41" fmla="*/ 3185 h 10127"/>
                    <a:gd name="connsiteX42" fmla="*/ 6056 w 10000"/>
                    <a:gd name="connsiteY42" fmla="*/ 1943 h 10127"/>
                    <a:gd name="connsiteX43" fmla="*/ 6056 w 10000"/>
                    <a:gd name="connsiteY43" fmla="*/ 1943 h 10127"/>
                    <a:gd name="connsiteX44" fmla="*/ 6056 w 10000"/>
                    <a:gd name="connsiteY44" fmla="*/ 1652 h 10127"/>
                    <a:gd name="connsiteX45" fmla="*/ 5944 w 10000"/>
                    <a:gd name="connsiteY45" fmla="*/ 1308 h 10127"/>
                    <a:gd name="connsiteX46" fmla="*/ 5889 w 10000"/>
                    <a:gd name="connsiteY46" fmla="*/ 1230 h 10127"/>
                    <a:gd name="connsiteX47" fmla="*/ 5778 w 10000"/>
                    <a:gd name="connsiteY47" fmla="*/ 1167 h 10127"/>
                    <a:gd name="connsiteX48" fmla="*/ 5667 w 10000"/>
                    <a:gd name="connsiteY48" fmla="*/ 1167 h 10127"/>
                    <a:gd name="connsiteX49" fmla="*/ 5500 w 10000"/>
                    <a:gd name="connsiteY49" fmla="*/ 1230 h 10127"/>
                    <a:gd name="connsiteX50" fmla="*/ 5500 w 10000"/>
                    <a:gd name="connsiteY50" fmla="*/ 1230 h 10127"/>
                    <a:gd name="connsiteX51" fmla="*/ 4889 w 10000"/>
                    <a:gd name="connsiteY51" fmla="*/ 1726 h 10127"/>
                    <a:gd name="connsiteX52" fmla="*/ 4611 w 10000"/>
                    <a:gd name="connsiteY52" fmla="*/ 1866 h 10127"/>
                    <a:gd name="connsiteX53" fmla="*/ 4556 w 10000"/>
                    <a:gd name="connsiteY53" fmla="*/ 1943 h 10127"/>
                    <a:gd name="connsiteX54" fmla="*/ 4500 w 10000"/>
                    <a:gd name="connsiteY54" fmla="*/ 1866 h 10127"/>
                    <a:gd name="connsiteX55" fmla="*/ 4500 w 10000"/>
                    <a:gd name="connsiteY55" fmla="*/ 1866 h 10127"/>
                    <a:gd name="connsiteX56" fmla="*/ 4111 w 10000"/>
                    <a:gd name="connsiteY56" fmla="*/ 822 h 10127"/>
                    <a:gd name="connsiteX57" fmla="*/ 4111 w 10000"/>
                    <a:gd name="connsiteY57" fmla="*/ 404 h 10127"/>
                    <a:gd name="connsiteX58" fmla="*/ 4111 w 10000"/>
                    <a:gd name="connsiteY58" fmla="*/ 404 h 10127"/>
                    <a:gd name="connsiteX59" fmla="*/ 4195 w 10000"/>
                    <a:gd name="connsiteY59" fmla="*/ 119 h 10127"/>
                    <a:gd name="connsiteX60" fmla="*/ 4213 w 10000"/>
                    <a:gd name="connsiteY60" fmla="*/ 0 h 10127"/>
                    <a:gd name="connsiteX61" fmla="*/ 4000 w 10000"/>
                    <a:gd name="connsiteY61" fmla="*/ 127 h 10127"/>
                    <a:gd name="connsiteX62" fmla="*/ 3722 w 10000"/>
                    <a:gd name="connsiteY62" fmla="*/ 200 h 10127"/>
                    <a:gd name="connsiteX63" fmla="*/ 3611 w 10000"/>
                    <a:gd name="connsiteY63" fmla="*/ 273 h 10127"/>
                    <a:gd name="connsiteX64" fmla="*/ 3556 w 10000"/>
                    <a:gd name="connsiteY64" fmla="*/ 344 h 10127"/>
                    <a:gd name="connsiteX65" fmla="*/ 3556 w 10000"/>
                    <a:gd name="connsiteY65" fmla="*/ 344 h 10127"/>
                    <a:gd name="connsiteX66" fmla="*/ 3444 w 10000"/>
                    <a:gd name="connsiteY66" fmla="*/ 618 h 10127"/>
                    <a:gd name="connsiteX67" fmla="*/ 3278 w 10000"/>
                    <a:gd name="connsiteY67" fmla="*/ 1039 h 10127"/>
                    <a:gd name="connsiteX68" fmla="*/ 3000 w 10000"/>
                    <a:gd name="connsiteY68" fmla="*/ 1516 h 10127"/>
                    <a:gd name="connsiteX69" fmla="*/ 2667 w 10000"/>
                    <a:gd name="connsiteY69" fmla="*/ 1866 h 10127"/>
                    <a:gd name="connsiteX70" fmla="*/ 2667 w 10000"/>
                    <a:gd name="connsiteY70" fmla="*/ 1866 h 10127"/>
                    <a:gd name="connsiteX71" fmla="*/ 2333 w 10000"/>
                    <a:gd name="connsiteY71" fmla="*/ 2152 h 10127"/>
                    <a:gd name="connsiteX72" fmla="*/ 1833 w 10000"/>
                    <a:gd name="connsiteY72" fmla="*/ 2431 h 10127"/>
                    <a:gd name="connsiteX73" fmla="*/ 1389 w 10000"/>
                    <a:gd name="connsiteY73" fmla="*/ 2562 h 10127"/>
                    <a:gd name="connsiteX74" fmla="*/ 889 w 10000"/>
                    <a:gd name="connsiteY74" fmla="*/ 2633 h 10127"/>
                    <a:gd name="connsiteX75" fmla="*/ 889 w 10000"/>
                    <a:gd name="connsiteY75" fmla="*/ 2633 h 10127"/>
                    <a:gd name="connsiteX76" fmla="*/ 500 w 10000"/>
                    <a:gd name="connsiteY76" fmla="*/ 2717 h 10127"/>
                    <a:gd name="connsiteX77" fmla="*/ 222 w 10000"/>
                    <a:gd name="connsiteY77" fmla="*/ 2768 h 10127"/>
                    <a:gd name="connsiteX78" fmla="*/ 0 w 10000"/>
                    <a:gd name="connsiteY78" fmla="*/ 2836 h 10127"/>
                    <a:gd name="connsiteX79" fmla="*/ 0 w 10000"/>
                    <a:gd name="connsiteY79" fmla="*/ 2836 h 10127"/>
                    <a:gd name="connsiteX80" fmla="*/ 278 w 10000"/>
                    <a:gd name="connsiteY80" fmla="*/ 3955 h 10127"/>
                    <a:gd name="connsiteX81" fmla="*/ 500 w 10000"/>
                    <a:gd name="connsiteY81" fmla="*/ 4773 h 10127"/>
                    <a:gd name="connsiteX82" fmla="*/ 722 w 10000"/>
                    <a:gd name="connsiteY82" fmla="*/ 5476 h 10127"/>
                    <a:gd name="connsiteX83" fmla="*/ 722 w 10000"/>
                    <a:gd name="connsiteY83" fmla="*/ 5476 h 10127"/>
                    <a:gd name="connsiteX84" fmla="*/ 889 w 10000"/>
                    <a:gd name="connsiteY84" fmla="*/ 5891 h 10127"/>
                    <a:gd name="connsiteX85" fmla="*/ 944 w 10000"/>
                    <a:gd name="connsiteY85" fmla="*/ 6248 h 10127"/>
                    <a:gd name="connsiteX86" fmla="*/ 1111 w 10000"/>
                    <a:gd name="connsiteY86" fmla="*/ 6598 h 10127"/>
                    <a:gd name="connsiteX87" fmla="*/ 1333 w 10000"/>
                    <a:gd name="connsiteY87" fmla="*/ 7136 h 10127"/>
                    <a:gd name="connsiteX88" fmla="*/ 1333 w 10000"/>
                    <a:gd name="connsiteY88" fmla="*/ 7136 h 10127"/>
                    <a:gd name="connsiteX89" fmla="*/ 1444 w 10000"/>
                    <a:gd name="connsiteY89" fmla="*/ 7417 h 10127"/>
                    <a:gd name="connsiteX90" fmla="*/ 1500 w 10000"/>
                    <a:gd name="connsiteY90" fmla="*/ 7626 h 10127"/>
                    <a:gd name="connsiteX91" fmla="*/ 1500 w 10000"/>
                    <a:gd name="connsiteY91" fmla="*/ 7823 h 10127"/>
                    <a:gd name="connsiteX92" fmla="*/ 1556 w 10000"/>
                    <a:gd name="connsiteY92" fmla="*/ 7911 h 10127"/>
                    <a:gd name="connsiteX93" fmla="*/ 1722 w 10000"/>
                    <a:gd name="connsiteY93" fmla="*/ 7973 h 10127"/>
                    <a:gd name="connsiteX94" fmla="*/ 1944 w 10000"/>
                    <a:gd name="connsiteY94" fmla="*/ 8038 h 10127"/>
                    <a:gd name="connsiteX95" fmla="*/ 2944 w 10000"/>
                    <a:gd name="connsiteY95" fmla="*/ 8115 h 10127"/>
                    <a:gd name="connsiteX96" fmla="*/ 2944 w 10000"/>
                    <a:gd name="connsiteY96" fmla="*/ 8115 h 10127"/>
                    <a:gd name="connsiteX97" fmla="*/ 4167 w 10000"/>
                    <a:gd name="connsiteY97" fmla="*/ 8256 h 10127"/>
                    <a:gd name="connsiteX98" fmla="*/ 4889 w 10000"/>
                    <a:gd name="connsiteY98" fmla="*/ 8452 h 10127"/>
                    <a:gd name="connsiteX99" fmla="*/ 5278 w 10000"/>
                    <a:gd name="connsiteY99" fmla="*/ 8673 h 10127"/>
                    <a:gd name="connsiteX100" fmla="*/ 5444 w 10000"/>
                    <a:gd name="connsiteY100" fmla="*/ 8731 h 10127"/>
                    <a:gd name="connsiteX101" fmla="*/ 5444 w 10000"/>
                    <a:gd name="connsiteY101" fmla="*/ 8731 h 10127"/>
                    <a:gd name="connsiteX102" fmla="*/ 5722 w 10000"/>
                    <a:gd name="connsiteY102" fmla="*/ 8886 h 10127"/>
                    <a:gd name="connsiteX103" fmla="*/ 5833 w 10000"/>
                    <a:gd name="connsiteY103" fmla="*/ 8957 h 10127"/>
                    <a:gd name="connsiteX104" fmla="*/ 5833 w 10000"/>
                    <a:gd name="connsiteY104" fmla="*/ 8957 h 10127"/>
                    <a:gd name="connsiteX105" fmla="*/ 5833 w 10000"/>
                    <a:gd name="connsiteY105" fmla="*/ 8886 h 10127"/>
                    <a:gd name="connsiteX106" fmla="*/ 5889 w 10000"/>
                    <a:gd name="connsiteY106" fmla="*/ 8808 h 10127"/>
                    <a:gd name="connsiteX107" fmla="*/ 6000 w 10000"/>
                    <a:gd name="connsiteY107" fmla="*/ 8731 h 10127"/>
                    <a:gd name="connsiteX108" fmla="*/ 6167 w 10000"/>
                    <a:gd name="connsiteY108" fmla="*/ 8673 h 10127"/>
                    <a:gd name="connsiteX109" fmla="*/ 6444 w 10000"/>
                    <a:gd name="connsiteY109" fmla="*/ 8673 h 10127"/>
                    <a:gd name="connsiteX110" fmla="*/ 6833 w 10000"/>
                    <a:gd name="connsiteY110" fmla="*/ 8731 h 10127"/>
                    <a:gd name="connsiteX111" fmla="*/ 7278 w 10000"/>
                    <a:gd name="connsiteY111" fmla="*/ 8957 h 10127"/>
                    <a:gd name="connsiteX112" fmla="*/ 7278 w 10000"/>
                    <a:gd name="connsiteY112" fmla="*/ 8957 h 10127"/>
                    <a:gd name="connsiteX113" fmla="*/ 8722 w 10000"/>
                    <a:gd name="connsiteY113" fmla="*/ 9563 h 10127"/>
                    <a:gd name="connsiteX114" fmla="*/ 10000 w 10000"/>
                    <a:gd name="connsiteY114" fmla="*/ 10127 h 10127"/>
                    <a:gd name="connsiteX115" fmla="*/ 10000 w 10000"/>
                    <a:gd name="connsiteY115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333 w 10000"/>
                    <a:gd name="connsiteY33" fmla="*/ 3324 h 10127"/>
                    <a:gd name="connsiteX34" fmla="*/ 7000 w 10000"/>
                    <a:gd name="connsiteY34" fmla="*/ 3247 h 10127"/>
                    <a:gd name="connsiteX35" fmla="*/ 7000 w 10000"/>
                    <a:gd name="connsiteY35" fmla="*/ 3247 h 10127"/>
                    <a:gd name="connsiteX36" fmla="*/ 6556 w 10000"/>
                    <a:gd name="connsiteY36" fmla="*/ 3324 h 10127"/>
                    <a:gd name="connsiteX37" fmla="*/ 6222 w 10000"/>
                    <a:gd name="connsiteY37" fmla="*/ 3324 h 10127"/>
                    <a:gd name="connsiteX38" fmla="*/ 6111 w 10000"/>
                    <a:gd name="connsiteY38" fmla="*/ 3247 h 10127"/>
                    <a:gd name="connsiteX39" fmla="*/ 6056 w 10000"/>
                    <a:gd name="connsiteY39" fmla="*/ 3185 h 10127"/>
                    <a:gd name="connsiteX40" fmla="*/ 6056 w 10000"/>
                    <a:gd name="connsiteY40" fmla="*/ 3185 h 10127"/>
                    <a:gd name="connsiteX41" fmla="*/ 6056 w 10000"/>
                    <a:gd name="connsiteY41" fmla="*/ 1943 h 10127"/>
                    <a:gd name="connsiteX42" fmla="*/ 6056 w 10000"/>
                    <a:gd name="connsiteY42" fmla="*/ 1943 h 10127"/>
                    <a:gd name="connsiteX43" fmla="*/ 6056 w 10000"/>
                    <a:gd name="connsiteY43" fmla="*/ 1652 h 10127"/>
                    <a:gd name="connsiteX44" fmla="*/ 5944 w 10000"/>
                    <a:gd name="connsiteY44" fmla="*/ 1308 h 10127"/>
                    <a:gd name="connsiteX45" fmla="*/ 5889 w 10000"/>
                    <a:gd name="connsiteY45" fmla="*/ 1230 h 10127"/>
                    <a:gd name="connsiteX46" fmla="*/ 5778 w 10000"/>
                    <a:gd name="connsiteY46" fmla="*/ 1167 h 10127"/>
                    <a:gd name="connsiteX47" fmla="*/ 5667 w 10000"/>
                    <a:gd name="connsiteY47" fmla="*/ 1167 h 10127"/>
                    <a:gd name="connsiteX48" fmla="*/ 5500 w 10000"/>
                    <a:gd name="connsiteY48" fmla="*/ 1230 h 10127"/>
                    <a:gd name="connsiteX49" fmla="*/ 5500 w 10000"/>
                    <a:gd name="connsiteY49" fmla="*/ 1230 h 10127"/>
                    <a:gd name="connsiteX50" fmla="*/ 4889 w 10000"/>
                    <a:gd name="connsiteY50" fmla="*/ 1726 h 10127"/>
                    <a:gd name="connsiteX51" fmla="*/ 4611 w 10000"/>
                    <a:gd name="connsiteY51" fmla="*/ 1866 h 10127"/>
                    <a:gd name="connsiteX52" fmla="*/ 4556 w 10000"/>
                    <a:gd name="connsiteY52" fmla="*/ 1943 h 10127"/>
                    <a:gd name="connsiteX53" fmla="*/ 4500 w 10000"/>
                    <a:gd name="connsiteY53" fmla="*/ 1866 h 10127"/>
                    <a:gd name="connsiteX54" fmla="*/ 4500 w 10000"/>
                    <a:gd name="connsiteY54" fmla="*/ 1866 h 10127"/>
                    <a:gd name="connsiteX55" fmla="*/ 4111 w 10000"/>
                    <a:gd name="connsiteY55" fmla="*/ 822 h 10127"/>
                    <a:gd name="connsiteX56" fmla="*/ 4111 w 10000"/>
                    <a:gd name="connsiteY56" fmla="*/ 404 h 10127"/>
                    <a:gd name="connsiteX57" fmla="*/ 4111 w 10000"/>
                    <a:gd name="connsiteY57" fmla="*/ 404 h 10127"/>
                    <a:gd name="connsiteX58" fmla="*/ 4195 w 10000"/>
                    <a:gd name="connsiteY58" fmla="*/ 119 h 10127"/>
                    <a:gd name="connsiteX59" fmla="*/ 4213 w 10000"/>
                    <a:gd name="connsiteY59" fmla="*/ 0 h 10127"/>
                    <a:gd name="connsiteX60" fmla="*/ 4000 w 10000"/>
                    <a:gd name="connsiteY60" fmla="*/ 127 h 10127"/>
                    <a:gd name="connsiteX61" fmla="*/ 3722 w 10000"/>
                    <a:gd name="connsiteY61" fmla="*/ 200 h 10127"/>
                    <a:gd name="connsiteX62" fmla="*/ 3611 w 10000"/>
                    <a:gd name="connsiteY62" fmla="*/ 273 h 10127"/>
                    <a:gd name="connsiteX63" fmla="*/ 3556 w 10000"/>
                    <a:gd name="connsiteY63" fmla="*/ 344 h 10127"/>
                    <a:gd name="connsiteX64" fmla="*/ 3556 w 10000"/>
                    <a:gd name="connsiteY64" fmla="*/ 344 h 10127"/>
                    <a:gd name="connsiteX65" fmla="*/ 3444 w 10000"/>
                    <a:gd name="connsiteY65" fmla="*/ 618 h 10127"/>
                    <a:gd name="connsiteX66" fmla="*/ 3278 w 10000"/>
                    <a:gd name="connsiteY66" fmla="*/ 1039 h 10127"/>
                    <a:gd name="connsiteX67" fmla="*/ 3000 w 10000"/>
                    <a:gd name="connsiteY67" fmla="*/ 1516 h 10127"/>
                    <a:gd name="connsiteX68" fmla="*/ 2667 w 10000"/>
                    <a:gd name="connsiteY68" fmla="*/ 1866 h 10127"/>
                    <a:gd name="connsiteX69" fmla="*/ 2667 w 10000"/>
                    <a:gd name="connsiteY69" fmla="*/ 1866 h 10127"/>
                    <a:gd name="connsiteX70" fmla="*/ 2333 w 10000"/>
                    <a:gd name="connsiteY70" fmla="*/ 2152 h 10127"/>
                    <a:gd name="connsiteX71" fmla="*/ 1833 w 10000"/>
                    <a:gd name="connsiteY71" fmla="*/ 2431 h 10127"/>
                    <a:gd name="connsiteX72" fmla="*/ 1389 w 10000"/>
                    <a:gd name="connsiteY72" fmla="*/ 2562 h 10127"/>
                    <a:gd name="connsiteX73" fmla="*/ 889 w 10000"/>
                    <a:gd name="connsiteY73" fmla="*/ 2633 h 10127"/>
                    <a:gd name="connsiteX74" fmla="*/ 889 w 10000"/>
                    <a:gd name="connsiteY74" fmla="*/ 2633 h 10127"/>
                    <a:gd name="connsiteX75" fmla="*/ 500 w 10000"/>
                    <a:gd name="connsiteY75" fmla="*/ 2717 h 10127"/>
                    <a:gd name="connsiteX76" fmla="*/ 222 w 10000"/>
                    <a:gd name="connsiteY76" fmla="*/ 2768 h 10127"/>
                    <a:gd name="connsiteX77" fmla="*/ 0 w 10000"/>
                    <a:gd name="connsiteY77" fmla="*/ 2836 h 10127"/>
                    <a:gd name="connsiteX78" fmla="*/ 0 w 10000"/>
                    <a:gd name="connsiteY78" fmla="*/ 2836 h 10127"/>
                    <a:gd name="connsiteX79" fmla="*/ 278 w 10000"/>
                    <a:gd name="connsiteY79" fmla="*/ 3955 h 10127"/>
                    <a:gd name="connsiteX80" fmla="*/ 500 w 10000"/>
                    <a:gd name="connsiteY80" fmla="*/ 4773 h 10127"/>
                    <a:gd name="connsiteX81" fmla="*/ 722 w 10000"/>
                    <a:gd name="connsiteY81" fmla="*/ 5476 h 10127"/>
                    <a:gd name="connsiteX82" fmla="*/ 722 w 10000"/>
                    <a:gd name="connsiteY82" fmla="*/ 5476 h 10127"/>
                    <a:gd name="connsiteX83" fmla="*/ 889 w 10000"/>
                    <a:gd name="connsiteY83" fmla="*/ 5891 h 10127"/>
                    <a:gd name="connsiteX84" fmla="*/ 944 w 10000"/>
                    <a:gd name="connsiteY84" fmla="*/ 6248 h 10127"/>
                    <a:gd name="connsiteX85" fmla="*/ 1111 w 10000"/>
                    <a:gd name="connsiteY85" fmla="*/ 6598 h 10127"/>
                    <a:gd name="connsiteX86" fmla="*/ 1333 w 10000"/>
                    <a:gd name="connsiteY86" fmla="*/ 7136 h 10127"/>
                    <a:gd name="connsiteX87" fmla="*/ 1333 w 10000"/>
                    <a:gd name="connsiteY87" fmla="*/ 7136 h 10127"/>
                    <a:gd name="connsiteX88" fmla="*/ 1444 w 10000"/>
                    <a:gd name="connsiteY88" fmla="*/ 7417 h 10127"/>
                    <a:gd name="connsiteX89" fmla="*/ 1500 w 10000"/>
                    <a:gd name="connsiteY89" fmla="*/ 7626 h 10127"/>
                    <a:gd name="connsiteX90" fmla="*/ 1500 w 10000"/>
                    <a:gd name="connsiteY90" fmla="*/ 7823 h 10127"/>
                    <a:gd name="connsiteX91" fmla="*/ 1556 w 10000"/>
                    <a:gd name="connsiteY91" fmla="*/ 7911 h 10127"/>
                    <a:gd name="connsiteX92" fmla="*/ 1722 w 10000"/>
                    <a:gd name="connsiteY92" fmla="*/ 7973 h 10127"/>
                    <a:gd name="connsiteX93" fmla="*/ 1944 w 10000"/>
                    <a:gd name="connsiteY93" fmla="*/ 8038 h 10127"/>
                    <a:gd name="connsiteX94" fmla="*/ 2944 w 10000"/>
                    <a:gd name="connsiteY94" fmla="*/ 8115 h 10127"/>
                    <a:gd name="connsiteX95" fmla="*/ 2944 w 10000"/>
                    <a:gd name="connsiteY95" fmla="*/ 8115 h 10127"/>
                    <a:gd name="connsiteX96" fmla="*/ 4167 w 10000"/>
                    <a:gd name="connsiteY96" fmla="*/ 8256 h 10127"/>
                    <a:gd name="connsiteX97" fmla="*/ 4889 w 10000"/>
                    <a:gd name="connsiteY97" fmla="*/ 8452 h 10127"/>
                    <a:gd name="connsiteX98" fmla="*/ 5278 w 10000"/>
                    <a:gd name="connsiteY98" fmla="*/ 8673 h 10127"/>
                    <a:gd name="connsiteX99" fmla="*/ 5444 w 10000"/>
                    <a:gd name="connsiteY99" fmla="*/ 8731 h 10127"/>
                    <a:gd name="connsiteX100" fmla="*/ 5444 w 10000"/>
                    <a:gd name="connsiteY100" fmla="*/ 8731 h 10127"/>
                    <a:gd name="connsiteX101" fmla="*/ 5722 w 10000"/>
                    <a:gd name="connsiteY101" fmla="*/ 8886 h 10127"/>
                    <a:gd name="connsiteX102" fmla="*/ 5833 w 10000"/>
                    <a:gd name="connsiteY102" fmla="*/ 8957 h 10127"/>
                    <a:gd name="connsiteX103" fmla="*/ 5833 w 10000"/>
                    <a:gd name="connsiteY103" fmla="*/ 8957 h 10127"/>
                    <a:gd name="connsiteX104" fmla="*/ 5833 w 10000"/>
                    <a:gd name="connsiteY104" fmla="*/ 8886 h 10127"/>
                    <a:gd name="connsiteX105" fmla="*/ 5889 w 10000"/>
                    <a:gd name="connsiteY105" fmla="*/ 8808 h 10127"/>
                    <a:gd name="connsiteX106" fmla="*/ 6000 w 10000"/>
                    <a:gd name="connsiteY106" fmla="*/ 8731 h 10127"/>
                    <a:gd name="connsiteX107" fmla="*/ 6167 w 10000"/>
                    <a:gd name="connsiteY107" fmla="*/ 8673 h 10127"/>
                    <a:gd name="connsiteX108" fmla="*/ 6444 w 10000"/>
                    <a:gd name="connsiteY108" fmla="*/ 8673 h 10127"/>
                    <a:gd name="connsiteX109" fmla="*/ 6833 w 10000"/>
                    <a:gd name="connsiteY109" fmla="*/ 8731 h 10127"/>
                    <a:gd name="connsiteX110" fmla="*/ 7278 w 10000"/>
                    <a:gd name="connsiteY110" fmla="*/ 8957 h 10127"/>
                    <a:gd name="connsiteX111" fmla="*/ 7278 w 10000"/>
                    <a:gd name="connsiteY111" fmla="*/ 8957 h 10127"/>
                    <a:gd name="connsiteX112" fmla="*/ 8722 w 10000"/>
                    <a:gd name="connsiteY112" fmla="*/ 9563 h 10127"/>
                    <a:gd name="connsiteX113" fmla="*/ 10000 w 10000"/>
                    <a:gd name="connsiteY113" fmla="*/ 10127 h 10127"/>
                    <a:gd name="connsiteX114" fmla="*/ 10000 w 10000"/>
                    <a:gd name="connsiteY114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000 w 10000"/>
                    <a:gd name="connsiteY33" fmla="*/ 3247 h 10127"/>
                    <a:gd name="connsiteX34" fmla="*/ 7000 w 10000"/>
                    <a:gd name="connsiteY34" fmla="*/ 3247 h 10127"/>
                    <a:gd name="connsiteX35" fmla="*/ 6556 w 10000"/>
                    <a:gd name="connsiteY35" fmla="*/ 3324 h 10127"/>
                    <a:gd name="connsiteX36" fmla="*/ 6222 w 10000"/>
                    <a:gd name="connsiteY36" fmla="*/ 3324 h 10127"/>
                    <a:gd name="connsiteX37" fmla="*/ 6111 w 10000"/>
                    <a:gd name="connsiteY37" fmla="*/ 3247 h 10127"/>
                    <a:gd name="connsiteX38" fmla="*/ 6056 w 10000"/>
                    <a:gd name="connsiteY38" fmla="*/ 3185 h 10127"/>
                    <a:gd name="connsiteX39" fmla="*/ 6056 w 10000"/>
                    <a:gd name="connsiteY39" fmla="*/ 3185 h 10127"/>
                    <a:gd name="connsiteX40" fmla="*/ 6056 w 10000"/>
                    <a:gd name="connsiteY40" fmla="*/ 1943 h 10127"/>
                    <a:gd name="connsiteX41" fmla="*/ 6056 w 10000"/>
                    <a:gd name="connsiteY41" fmla="*/ 1943 h 10127"/>
                    <a:gd name="connsiteX42" fmla="*/ 6056 w 10000"/>
                    <a:gd name="connsiteY42" fmla="*/ 1652 h 10127"/>
                    <a:gd name="connsiteX43" fmla="*/ 5944 w 10000"/>
                    <a:gd name="connsiteY43" fmla="*/ 1308 h 10127"/>
                    <a:gd name="connsiteX44" fmla="*/ 5889 w 10000"/>
                    <a:gd name="connsiteY44" fmla="*/ 1230 h 10127"/>
                    <a:gd name="connsiteX45" fmla="*/ 5778 w 10000"/>
                    <a:gd name="connsiteY45" fmla="*/ 1167 h 10127"/>
                    <a:gd name="connsiteX46" fmla="*/ 5667 w 10000"/>
                    <a:gd name="connsiteY46" fmla="*/ 1167 h 10127"/>
                    <a:gd name="connsiteX47" fmla="*/ 5500 w 10000"/>
                    <a:gd name="connsiteY47" fmla="*/ 1230 h 10127"/>
                    <a:gd name="connsiteX48" fmla="*/ 5500 w 10000"/>
                    <a:gd name="connsiteY48" fmla="*/ 1230 h 10127"/>
                    <a:gd name="connsiteX49" fmla="*/ 4889 w 10000"/>
                    <a:gd name="connsiteY49" fmla="*/ 1726 h 10127"/>
                    <a:gd name="connsiteX50" fmla="*/ 4611 w 10000"/>
                    <a:gd name="connsiteY50" fmla="*/ 1866 h 10127"/>
                    <a:gd name="connsiteX51" fmla="*/ 4556 w 10000"/>
                    <a:gd name="connsiteY51" fmla="*/ 1943 h 10127"/>
                    <a:gd name="connsiteX52" fmla="*/ 4500 w 10000"/>
                    <a:gd name="connsiteY52" fmla="*/ 1866 h 10127"/>
                    <a:gd name="connsiteX53" fmla="*/ 4500 w 10000"/>
                    <a:gd name="connsiteY53" fmla="*/ 1866 h 10127"/>
                    <a:gd name="connsiteX54" fmla="*/ 4111 w 10000"/>
                    <a:gd name="connsiteY54" fmla="*/ 822 h 10127"/>
                    <a:gd name="connsiteX55" fmla="*/ 4111 w 10000"/>
                    <a:gd name="connsiteY55" fmla="*/ 404 h 10127"/>
                    <a:gd name="connsiteX56" fmla="*/ 4111 w 10000"/>
                    <a:gd name="connsiteY56" fmla="*/ 404 h 10127"/>
                    <a:gd name="connsiteX57" fmla="*/ 4195 w 10000"/>
                    <a:gd name="connsiteY57" fmla="*/ 119 h 10127"/>
                    <a:gd name="connsiteX58" fmla="*/ 4213 w 10000"/>
                    <a:gd name="connsiteY58" fmla="*/ 0 h 10127"/>
                    <a:gd name="connsiteX59" fmla="*/ 4000 w 10000"/>
                    <a:gd name="connsiteY59" fmla="*/ 127 h 10127"/>
                    <a:gd name="connsiteX60" fmla="*/ 3722 w 10000"/>
                    <a:gd name="connsiteY60" fmla="*/ 200 h 10127"/>
                    <a:gd name="connsiteX61" fmla="*/ 3611 w 10000"/>
                    <a:gd name="connsiteY61" fmla="*/ 273 h 10127"/>
                    <a:gd name="connsiteX62" fmla="*/ 3556 w 10000"/>
                    <a:gd name="connsiteY62" fmla="*/ 344 h 10127"/>
                    <a:gd name="connsiteX63" fmla="*/ 3556 w 10000"/>
                    <a:gd name="connsiteY63" fmla="*/ 344 h 10127"/>
                    <a:gd name="connsiteX64" fmla="*/ 3444 w 10000"/>
                    <a:gd name="connsiteY64" fmla="*/ 618 h 10127"/>
                    <a:gd name="connsiteX65" fmla="*/ 3278 w 10000"/>
                    <a:gd name="connsiteY65" fmla="*/ 1039 h 10127"/>
                    <a:gd name="connsiteX66" fmla="*/ 3000 w 10000"/>
                    <a:gd name="connsiteY66" fmla="*/ 1516 h 10127"/>
                    <a:gd name="connsiteX67" fmla="*/ 2667 w 10000"/>
                    <a:gd name="connsiteY67" fmla="*/ 1866 h 10127"/>
                    <a:gd name="connsiteX68" fmla="*/ 2667 w 10000"/>
                    <a:gd name="connsiteY68" fmla="*/ 1866 h 10127"/>
                    <a:gd name="connsiteX69" fmla="*/ 2333 w 10000"/>
                    <a:gd name="connsiteY69" fmla="*/ 2152 h 10127"/>
                    <a:gd name="connsiteX70" fmla="*/ 1833 w 10000"/>
                    <a:gd name="connsiteY70" fmla="*/ 2431 h 10127"/>
                    <a:gd name="connsiteX71" fmla="*/ 1389 w 10000"/>
                    <a:gd name="connsiteY71" fmla="*/ 2562 h 10127"/>
                    <a:gd name="connsiteX72" fmla="*/ 889 w 10000"/>
                    <a:gd name="connsiteY72" fmla="*/ 2633 h 10127"/>
                    <a:gd name="connsiteX73" fmla="*/ 889 w 10000"/>
                    <a:gd name="connsiteY73" fmla="*/ 2633 h 10127"/>
                    <a:gd name="connsiteX74" fmla="*/ 500 w 10000"/>
                    <a:gd name="connsiteY74" fmla="*/ 2717 h 10127"/>
                    <a:gd name="connsiteX75" fmla="*/ 222 w 10000"/>
                    <a:gd name="connsiteY75" fmla="*/ 2768 h 10127"/>
                    <a:gd name="connsiteX76" fmla="*/ 0 w 10000"/>
                    <a:gd name="connsiteY76" fmla="*/ 2836 h 10127"/>
                    <a:gd name="connsiteX77" fmla="*/ 0 w 10000"/>
                    <a:gd name="connsiteY77" fmla="*/ 2836 h 10127"/>
                    <a:gd name="connsiteX78" fmla="*/ 278 w 10000"/>
                    <a:gd name="connsiteY78" fmla="*/ 3955 h 10127"/>
                    <a:gd name="connsiteX79" fmla="*/ 500 w 10000"/>
                    <a:gd name="connsiteY79" fmla="*/ 4773 h 10127"/>
                    <a:gd name="connsiteX80" fmla="*/ 722 w 10000"/>
                    <a:gd name="connsiteY80" fmla="*/ 5476 h 10127"/>
                    <a:gd name="connsiteX81" fmla="*/ 722 w 10000"/>
                    <a:gd name="connsiteY81" fmla="*/ 5476 h 10127"/>
                    <a:gd name="connsiteX82" fmla="*/ 889 w 10000"/>
                    <a:gd name="connsiteY82" fmla="*/ 5891 h 10127"/>
                    <a:gd name="connsiteX83" fmla="*/ 944 w 10000"/>
                    <a:gd name="connsiteY83" fmla="*/ 6248 h 10127"/>
                    <a:gd name="connsiteX84" fmla="*/ 1111 w 10000"/>
                    <a:gd name="connsiteY84" fmla="*/ 6598 h 10127"/>
                    <a:gd name="connsiteX85" fmla="*/ 1333 w 10000"/>
                    <a:gd name="connsiteY85" fmla="*/ 7136 h 10127"/>
                    <a:gd name="connsiteX86" fmla="*/ 1333 w 10000"/>
                    <a:gd name="connsiteY86" fmla="*/ 7136 h 10127"/>
                    <a:gd name="connsiteX87" fmla="*/ 1444 w 10000"/>
                    <a:gd name="connsiteY87" fmla="*/ 7417 h 10127"/>
                    <a:gd name="connsiteX88" fmla="*/ 1500 w 10000"/>
                    <a:gd name="connsiteY88" fmla="*/ 7626 h 10127"/>
                    <a:gd name="connsiteX89" fmla="*/ 1500 w 10000"/>
                    <a:gd name="connsiteY89" fmla="*/ 7823 h 10127"/>
                    <a:gd name="connsiteX90" fmla="*/ 1556 w 10000"/>
                    <a:gd name="connsiteY90" fmla="*/ 7911 h 10127"/>
                    <a:gd name="connsiteX91" fmla="*/ 1722 w 10000"/>
                    <a:gd name="connsiteY91" fmla="*/ 7973 h 10127"/>
                    <a:gd name="connsiteX92" fmla="*/ 1944 w 10000"/>
                    <a:gd name="connsiteY92" fmla="*/ 8038 h 10127"/>
                    <a:gd name="connsiteX93" fmla="*/ 2944 w 10000"/>
                    <a:gd name="connsiteY93" fmla="*/ 8115 h 10127"/>
                    <a:gd name="connsiteX94" fmla="*/ 2944 w 10000"/>
                    <a:gd name="connsiteY94" fmla="*/ 8115 h 10127"/>
                    <a:gd name="connsiteX95" fmla="*/ 4167 w 10000"/>
                    <a:gd name="connsiteY95" fmla="*/ 8256 h 10127"/>
                    <a:gd name="connsiteX96" fmla="*/ 4889 w 10000"/>
                    <a:gd name="connsiteY96" fmla="*/ 8452 h 10127"/>
                    <a:gd name="connsiteX97" fmla="*/ 5278 w 10000"/>
                    <a:gd name="connsiteY97" fmla="*/ 8673 h 10127"/>
                    <a:gd name="connsiteX98" fmla="*/ 5444 w 10000"/>
                    <a:gd name="connsiteY98" fmla="*/ 8731 h 10127"/>
                    <a:gd name="connsiteX99" fmla="*/ 5444 w 10000"/>
                    <a:gd name="connsiteY99" fmla="*/ 8731 h 10127"/>
                    <a:gd name="connsiteX100" fmla="*/ 5722 w 10000"/>
                    <a:gd name="connsiteY100" fmla="*/ 8886 h 10127"/>
                    <a:gd name="connsiteX101" fmla="*/ 5833 w 10000"/>
                    <a:gd name="connsiteY101" fmla="*/ 8957 h 10127"/>
                    <a:gd name="connsiteX102" fmla="*/ 5833 w 10000"/>
                    <a:gd name="connsiteY102" fmla="*/ 8957 h 10127"/>
                    <a:gd name="connsiteX103" fmla="*/ 5833 w 10000"/>
                    <a:gd name="connsiteY103" fmla="*/ 8886 h 10127"/>
                    <a:gd name="connsiteX104" fmla="*/ 5889 w 10000"/>
                    <a:gd name="connsiteY104" fmla="*/ 8808 h 10127"/>
                    <a:gd name="connsiteX105" fmla="*/ 6000 w 10000"/>
                    <a:gd name="connsiteY105" fmla="*/ 8731 h 10127"/>
                    <a:gd name="connsiteX106" fmla="*/ 6167 w 10000"/>
                    <a:gd name="connsiteY106" fmla="*/ 8673 h 10127"/>
                    <a:gd name="connsiteX107" fmla="*/ 6444 w 10000"/>
                    <a:gd name="connsiteY107" fmla="*/ 8673 h 10127"/>
                    <a:gd name="connsiteX108" fmla="*/ 6833 w 10000"/>
                    <a:gd name="connsiteY108" fmla="*/ 8731 h 10127"/>
                    <a:gd name="connsiteX109" fmla="*/ 7278 w 10000"/>
                    <a:gd name="connsiteY109" fmla="*/ 8957 h 10127"/>
                    <a:gd name="connsiteX110" fmla="*/ 7278 w 10000"/>
                    <a:gd name="connsiteY110" fmla="*/ 8957 h 10127"/>
                    <a:gd name="connsiteX111" fmla="*/ 8722 w 10000"/>
                    <a:gd name="connsiteY111" fmla="*/ 9563 h 10127"/>
                    <a:gd name="connsiteX112" fmla="*/ 10000 w 10000"/>
                    <a:gd name="connsiteY112" fmla="*/ 10127 h 10127"/>
                    <a:gd name="connsiteX113" fmla="*/ 10000 w 10000"/>
                    <a:gd name="connsiteY11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7000 w 10000"/>
                    <a:gd name="connsiteY33" fmla="*/ 3247 h 10127"/>
                    <a:gd name="connsiteX34" fmla="*/ 6556 w 10000"/>
                    <a:gd name="connsiteY34" fmla="*/ 3324 h 10127"/>
                    <a:gd name="connsiteX35" fmla="*/ 6222 w 10000"/>
                    <a:gd name="connsiteY35" fmla="*/ 3324 h 10127"/>
                    <a:gd name="connsiteX36" fmla="*/ 6111 w 10000"/>
                    <a:gd name="connsiteY36" fmla="*/ 3247 h 10127"/>
                    <a:gd name="connsiteX37" fmla="*/ 6056 w 10000"/>
                    <a:gd name="connsiteY37" fmla="*/ 3185 h 10127"/>
                    <a:gd name="connsiteX38" fmla="*/ 6056 w 10000"/>
                    <a:gd name="connsiteY38" fmla="*/ 3185 h 10127"/>
                    <a:gd name="connsiteX39" fmla="*/ 6056 w 10000"/>
                    <a:gd name="connsiteY39" fmla="*/ 1943 h 10127"/>
                    <a:gd name="connsiteX40" fmla="*/ 6056 w 10000"/>
                    <a:gd name="connsiteY40" fmla="*/ 1943 h 10127"/>
                    <a:gd name="connsiteX41" fmla="*/ 6056 w 10000"/>
                    <a:gd name="connsiteY41" fmla="*/ 1652 h 10127"/>
                    <a:gd name="connsiteX42" fmla="*/ 5944 w 10000"/>
                    <a:gd name="connsiteY42" fmla="*/ 1308 h 10127"/>
                    <a:gd name="connsiteX43" fmla="*/ 5889 w 10000"/>
                    <a:gd name="connsiteY43" fmla="*/ 1230 h 10127"/>
                    <a:gd name="connsiteX44" fmla="*/ 5778 w 10000"/>
                    <a:gd name="connsiteY44" fmla="*/ 1167 h 10127"/>
                    <a:gd name="connsiteX45" fmla="*/ 5667 w 10000"/>
                    <a:gd name="connsiteY45" fmla="*/ 1167 h 10127"/>
                    <a:gd name="connsiteX46" fmla="*/ 5500 w 10000"/>
                    <a:gd name="connsiteY46" fmla="*/ 1230 h 10127"/>
                    <a:gd name="connsiteX47" fmla="*/ 5500 w 10000"/>
                    <a:gd name="connsiteY47" fmla="*/ 1230 h 10127"/>
                    <a:gd name="connsiteX48" fmla="*/ 4889 w 10000"/>
                    <a:gd name="connsiteY48" fmla="*/ 1726 h 10127"/>
                    <a:gd name="connsiteX49" fmla="*/ 4611 w 10000"/>
                    <a:gd name="connsiteY49" fmla="*/ 1866 h 10127"/>
                    <a:gd name="connsiteX50" fmla="*/ 4556 w 10000"/>
                    <a:gd name="connsiteY50" fmla="*/ 1943 h 10127"/>
                    <a:gd name="connsiteX51" fmla="*/ 4500 w 10000"/>
                    <a:gd name="connsiteY51" fmla="*/ 1866 h 10127"/>
                    <a:gd name="connsiteX52" fmla="*/ 4500 w 10000"/>
                    <a:gd name="connsiteY52" fmla="*/ 1866 h 10127"/>
                    <a:gd name="connsiteX53" fmla="*/ 4111 w 10000"/>
                    <a:gd name="connsiteY53" fmla="*/ 822 h 10127"/>
                    <a:gd name="connsiteX54" fmla="*/ 4111 w 10000"/>
                    <a:gd name="connsiteY54" fmla="*/ 404 h 10127"/>
                    <a:gd name="connsiteX55" fmla="*/ 4111 w 10000"/>
                    <a:gd name="connsiteY55" fmla="*/ 404 h 10127"/>
                    <a:gd name="connsiteX56" fmla="*/ 4195 w 10000"/>
                    <a:gd name="connsiteY56" fmla="*/ 119 h 10127"/>
                    <a:gd name="connsiteX57" fmla="*/ 4213 w 10000"/>
                    <a:gd name="connsiteY57" fmla="*/ 0 h 10127"/>
                    <a:gd name="connsiteX58" fmla="*/ 4000 w 10000"/>
                    <a:gd name="connsiteY58" fmla="*/ 127 h 10127"/>
                    <a:gd name="connsiteX59" fmla="*/ 3722 w 10000"/>
                    <a:gd name="connsiteY59" fmla="*/ 200 h 10127"/>
                    <a:gd name="connsiteX60" fmla="*/ 3611 w 10000"/>
                    <a:gd name="connsiteY60" fmla="*/ 273 h 10127"/>
                    <a:gd name="connsiteX61" fmla="*/ 3556 w 10000"/>
                    <a:gd name="connsiteY61" fmla="*/ 344 h 10127"/>
                    <a:gd name="connsiteX62" fmla="*/ 3556 w 10000"/>
                    <a:gd name="connsiteY62" fmla="*/ 344 h 10127"/>
                    <a:gd name="connsiteX63" fmla="*/ 3444 w 10000"/>
                    <a:gd name="connsiteY63" fmla="*/ 618 h 10127"/>
                    <a:gd name="connsiteX64" fmla="*/ 3278 w 10000"/>
                    <a:gd name="connsiteY64" fmla="*/ 1039 h 10127"/>
                    <a:gd name="connsiteX65" fmla="*/ 3000 w 10000"/>
                    <a:gd name="connsiteY65" fmla="*/ 1516 h 10127"/>
                    <a:gd name="connsiteX66" fmla="*/ 2667 w 10000"/>
                    <a:gd name="connsiteY66" fmla="*/ 1866 h 10127"/>
                    <a:gd name="connsiteX67" fmla="*/ 2667 w 10000"/>
                    <a:gd name="connsiteY67" fmla="*/ 1866 h 10127"/>
                    <a:gd name="connsiteX68" fmla="*/ 2333 w 10000"/>
                    <a:gd name="connsiteY68" fmla="*/ 2152 h 10127"/>
                    <a:gd name="connsiteX69" fmla="*/ 1833 w 10000"/>
                    <a:gd name="connsiteY69" fmla="*/ 2431 h 10127"/>
                    <a:gd name="connsiteX70" fmla="*/ 1389 w 10000"/>
                    <a:gd name="connsiteY70" fmla="*/ 2562 h 10127"/>
                    <a:gd name="connsiteX71" fmla="*/ 889 w 10000"/>
                    <a:gd name="connsiteY71" fmla="*/ 2633 h 10127"/>
                    <a:gd name="connsiteX72" fmla="*/ 889 w 10000"/>
                    <a:gd name="connsiteY72" fmla="*/ 2633 h 10127"/>
                    <a:gd name="connsiteX73" fmla="*/ 500 w 10000"/>
                    <a:gd name="connsiteY73" fmla="*/ 2717 h 10127"/>
                    <a:gd name="connsiteX74" fmla="*/ 222 w 10000"/>
                    <a:gd name="connsiteY74" fmla="*/ 2768 h 10127"/>
                    <a:gd name="connsiteX75" fmla="*/ 0 w 10000"/>
                    <a:gd name="connsiteY75" fmla="*/ 2836 h 10127"/>
                    <a:gd name="connsiteX76" fmla="*/ 0 w 10000"/>
                    <a:gd name="connsiteY76" fmla="*/ 2836 h 10127"/>
                    <a:gd name="connsiteX77" fmla="*/ 278 w 10000"/>
                    <a:gd name="connsiteY77" fmla="*/ 3955 h 10127"/>
                    <a:gd name="connsiteX78" fmla="*/ 500 w 10000"/>
                    <a:gd name="connsiteY78" fmla="*/ 4773 h 10127"/>
                    <a:gd name="connsiteX79" fmla="*/ 722 w 10000"/>
                    <a:gd name="connsiteY79" fmla="*/ 5476 h 10127"/>
                    <a:gd name="connsiteX80" fmla="*/ 722 w 10000"/>
                    <a:gd name="connsiteY80" fmla="*/ 5476 h 10127"/>
                    <a:gd name="connsiteX81" fmla="*/ 889 w 10000"/>
                    <a:gd name="connsiteY81" fmla="*/ 5891 h 10127"/>
                    <a:gd name="connsiteX82" fmla="*/ 944 w 10000"/>
                    <a:gd name="connsiteY82" fmla="*/ 6248 h 10127"/>
                    <a:gd name="connsiteX83" fmla="*/ 1111 w 10000"/>
                    <a:gd name="connsiteY83" fmla="*/ 6598 h 10127"/>
                    <a:gd name="connsiteX84" fmla="*/ 1333 w 10000"/>
                    <a:gd name="connsiteY84" fmla="*/ 7136 h 10127"/>
                    <a:gd name="connsiteX85" fmla="*/ 1333 w 10000"/>
                    <a:gd name="connsiteY85" fmla="*/ 7136 h 10127"/>
                    <a:gd name="connsiteX86" fmla="*/ 1444 w 10000"/>
                    <a:gd name="connsiteY86" fmla="*/ 7417 h 10127"/>
                    <a:gd name="connsiteX87" fmla="*/ 1500 w 10000"/>
                    <a:gd name="connsiteY87" fmla="*/ 7626 h 10127"/>
                    <a:gd name="connsiteX88" fmla="*/ 1500 w 10000"/>
                    <a:gd name="connsiteY88" fmla="*/ 7823 h 10127"/>
                    <a:gd name="connsiteX89" fmla="*/ 1556 w 10000"/>
                    <a:gd name="connsiteY89" fmla="*/ 7911 h 10127"/>
                    <a:gd name="connsiteX90" fmla="*/ 1722 w 10000"/>
                    <a:gd name="connsiteY90" fmla="*/ 7973 h 10127"/>
                    <a:gd name="connsiteX91" fmla="*/ 1944 w 10000"/>
                    <a:gd name="connsiteY91" fmla="*/ 8038 h 10127"/>
                    <a:gd name="connsiteX92" fmla="*/ 2944 w 10000"/>
                    <a:gd name="connsiteY92" fmla="*/ 8115 h 10127"/>
                    <a:gd name="connsiteX93" fmla="*/ 2944 w 10000"/>
                    <a:gd name="connsiteY93" fmla="*/ 8115 h 10127"/>
                    <a:gd name="connsiteX94" fmla="*/ 4167 w 10000"/>
                    <a:gd name="connsiteY94" fmla="*/ 8256 h 10127"/>
                    <a:gd name="connsiteX95" fmla="*/ 4889 w 10000"/>
                    <a:gd name="connsiteY95" fmla="*/ 8452 h 10127"/>
                    <a:gd name="connsiteX96" fmla="*/ 5278 w 10000"/>
                    <a:gd name="connsiteY96" fmla="*/ 8673 h 10127"/>
                    <a:gd name="connsiteX97" fmla="*/ 5444 w 10000"/>
                    <a:gd name="connsiteY97" fmla="*/ 8731 h 10127"/>
                    <a:gd name="connsiteX98" fmla="*/ 5444 w 10000"/>
                    <a:gd name="connsiteY98" fmla="*/ 8731 h 10127"/>
                    <a:gd name="connsiteX99" fmla="*/ 5722 w 10000"/>
                    <a:gd name="connsiteY99" fmla="*/ 8886 h 10127"/>
                    <a:gd name="connsiteX100" fmla="*/ 5833 w 10000"/>
                    <a:gd name="connsiteY100" fmla="*/ 8957 h 10127"/>
                    <a:gd name="connsiteX101" fmla="*/ 5833 w 10000"/>
                    <a:gd name="connsiteY101" fmla="*/ 8957 h 10127"/>
                    <a:gd name="connsiteX102" fmla="*/ 5833 w 10000"/>
                    <a:gd name="connsiteY102" fmla="*/ 8886 h 10127"/>
                    <a:gd name="connsiteX103" fmla="*/ 5889 w 10000"/>
                    <a:gd name="connsiteY103" fmla="*/ 8808 h 10127"/>
                    <a:gd name="connsiteX104" fmla="*/ 6000 w 10000"/>
                    <a:gd name="connsiteY104" fmla="*/ 8731 h 10127"/>
                    <a:gd name="connsiteX105" fmla="*/ 6167 w 10000"/>
                    <a:gd name="connsiteY105" fmla="*/ 8673 h 10127"/>
                    <a:gd name="connsiteX106" fmla="*/ 6444 w 10000"/>
                    <a:gd name="connsiteY106" fmla="*/ 8673 h 10127"/>
                    <a:gd name="connsiteX107" fmla="*/ 6833 w 10000"/>
                    <a:gd name="connsiteY107" fmla="*/ 8731 h 10127"/>
                    <a:gd name="connsiteX108" fmla="*/ 7278 w 10000"/>
                    <a:gd name="connsiteY108" fmla="*/ 8957 h 10127"/>
                    <a:gd name="connsiteX109" fmla="*/ 7278 w 10000"/>
                    <a:gd name="connsiteY109" fmla="*/ 8957 h 10127"/>
                    <a:gd name="connsiteX110" fmla="*/ 8722 w 10000"/>
                    <a:gd name="connsiteY110" fmla="*/ 9563 h 10127"/>
                    <a:gd name="connsiteX111" fmla="*/ 10000 w 10000"/>
                    <a:gd name="connsiteY111" fmla="*/ 10127 h 10127"/>
                    <a:gd name="connsiteX112" fmla="*/ 10000 w 10000"/>
                    <a:gd name="connsiteY11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556 w 10000"/>
                    <a:gd name="connsiteY33" fmla="*/ 3324 h 10127"/>
                    <a:gd name="connsiteX34" fmla="*/ 6222 w 10000"/>
                    <a:gd name="connsiteY34" fmla="*/ 3324 h 10127"/>
                    <a:gd name="connsiteX35" fmla="*/ 6111 w 10000"/>
                    <a:gd name="connsiteY35" fmla="*/ 3247 h 10127"/>
                    <a:gd name="connsiteX36" fmla="*/ 6056 w 10000"/>
                    <a:gd name="connsiteY36" fmla="*/ 3185 h 10127"/>
                    <a:gd name="connsiteX37" fmla="*/ 6056 w 10000"/>
                    <a:gd name="connsiteY37" fmla="*/ 3185 h 10127"/>
                    <a:gd name="connsiteX38" fmla="*/ 6056 w 10000"/>
                    <a:gd name="connsiteY38" fmla="*/ 1943 h 10127"/>
                    <a:gd name="connsiteX39" fmla="*/ 6056 w 10000"/>
                    <a:gd name="connsiteY39" fmla="*/ 1943 h 10127"/>
                    <a:gd name="connsiteX40" fmla="*/ 6056 w 10000"/>
                    <a:gd name="connsiteY40" fmla="*/ 1652 h 10127"/>
                    <a:gd name="connsiteX41" fmla="*/ 5944 w 10000"/>
                    <a:gd name="connsiteY41" fmla="*/ 1308 h 10127"/>
                    <a:gd name="connsiteX42" fmla="*/ 5889 w 10000"/>
                    <a:gd name="connsiteY42" fmla="*/ 1230 h 10127"/>
                    <a:gd name="connsiteX43" fmla="*/ 5778 w 10000"/>
                    <a:gd name="connsiteY43" fmla="*/ 1167 h 10127"/>
                    <a:gd name="connsiteX44" fmla="*/ 5667 w 10000"/>
                    <a:gd name="connsiteY44" fmla="*/ 1167 h 10127"/>
                    <a:gd name="connsiteX45" fmla="*/ 5500 w 10000"/>
                    <a:gd name="connsiteY45" fmla="*/ 1230 h 10127"/>
                    <a:gd name="connsiteX46" fmla="*/ 5500 w 10000"/>
                    <a:gd name="connsiteY46" fmla="*/ 1230 h 10127"/>
                    <a:gd name="connsiteX47" fmla="*/ 4889 w 10000"/>
                    <a:gd name="connsiteY47" fmla="*/ 1726 h 10127"/>
                    <a:gd name="connsiteX48" fmla="*/ 4611 w 10000"/>
                    <a:gd name="connsiteY48" fmla="*/ 1866 h 10127"/>
                    <a:gd name="connsiteX49" fmla="*/ 4556 w 10000"/>
                    <a:gd name="connsiteY49" fmla="*/ 1943 h 10127"/>
                    <a:gd name="connsiteX50" fmla="*/ 4500 w 10000"/>
                    <a:gd name="connsiteY50" fmla="*/ 1866 h 10127"/>
                    <a:gd name="connsiteX51" fmla="*/ 4500 w 10000"/>
                    <a:gd name="connsiteY51" fmla="*/ 1866 h 10127"/>
                    <a:gd name="connsiteX52" fmla="*/ 4111 w 10000"/>
                    <a:gd name="connsiteY52" fmla="*/ 822 h 10127"/>
                    <a:gd name="connsiteX53" fmla="*/ 4111 w 10000"/>
                    <a:gd name="connsiteY53" fmla="*/ 404 h 10127"/>
                    <a:gd name="connsiteX54" fmla="*/ 4111 w 10000"/>
                    <a:gd name="connsiteY54" fmla="*/ 404 h 10127"/>
                    <a:gd name="connsiteX55" fmla="*/ 4195 w 10000"/>
                    <a:gd name="connsiteY55" fmla="*/ 119 h 10127"/>
                    <a:gd name="connsiteX56" fmla="*/ 4213 w 10000"/>
                    <a:gd name="connsiteY56" fmla="*/ 0 h 10127"/>
                    <a:gd name="connsiteX57" fmla="*/ 4000 w 10000"/>
                    <a:gd name="connsiteY57" fmla="*/ 127 h 10127"/>
                    <a:gd name="connsiteX58" fmla="*/ 3722 w 10000"/>
                    <a:gd name="connsiteY58" fmla="*/ 200 h 10127"/>
                    <a:gd name="connsiteX59" fmla="*/ 3611 w 10000"/>
                    <a:gd name="connsiteY59" fmla="*/ 273 h 10127"/>
                    <a:gd name="connsiteX60" fmla="*/ 3556 w 10000"/>
                    <a:gd name="connsiteY60" fmla="*/ 344 h 10127"/>
                    <a:gd name="connsiteX61" fmla="*/ 3556 w 10000"/>
                    <a:gd name="connsiteY61" fmla="*/ 344 h 10127"/>
                    <a:gd name="connsiteX62" fmla="*/ 3444 w 10000"/>
                    <a:gd name="connsiteY62" fmla="*/ 618 h 10127"/>
                    <a:gd name="connsiteX63" fmla="*/ 3278 w 10000"/>
                    <a:gd name="connsiteY63" fmla="*/ 1039 h 10127"/>
                    <a:gd name="connsiteX64" fmla="*/ 3000 w 10000"/>
                    <a:gd name="connsiteY64" fmla="*/ 1516 h 10127"/>
                    <a:gd name="connsiteX65" fmla="*/ 2667 w 10000"/>
                    <a:gd name="connsiteY65" fmla="*/ 1866 h 10127"/>
                    <a:gd name="connsiteX66" fmla="*/ 2667 w 10000"/>
                    <a:gd name="connsiteY66" fmla="*/ 1866 h 10127"/>
                    <a:gd name="connsiteX67" fmla="*/ 2333 w 10000"/>
                    <a:gd name="connsiteY67" fmla="*/ 2152 h 10127"/>
                    <a:gd name="connsiteX68" fmla="*/ 1833 w 10000"/>
                    <a:gd name="connsiteY68" fmla="*/ 2431 h 10127"/>
                    <a:gd name="connsiteX69" fmla="*/ 1389 w 10000"/>
                    <a:gd name="connsiteY69" fmla="*/ 2562 h 10127"/>
                    <a:gd name="connsiteX70" fmla="*/ 889 w 10000"/>
                    <a:gd name="connsiteY70" fmla="*/ 2633 h 10127"/>
                    <a:gd name="connsiteX71" fmla="*/ 889 w 10000"/>
                    <a:gd name="connsiteY71" fmla="*/ 2633 h 10127"/>
                    <a:gd name="connsiteX72" fmla="*/ 500 w 10000"/>
                    <a:gd name="connsiteY72" fmla="*/ 2717 h 10127"/>
                    <a:gd name="connsiteX73" fmla="*/ 222 w 10000"/>
                    <a:gd name="connsiteY73" fmla="*/ 2768 h 10127"/>
                    <a:gd name="connsiteX74" fmla="*/ 0 w 10000"/>
                    <a:gd name="connsiteY74" fmla="*/ 2836 h 10127"/>
                    <a:gd name="connsiteX75" fmla="*/ 0 w 10000"/>
                    <a:gd name="connsiteY75" fmla="*/ 2836 h 10127"/>
                    <a:gd name="connsiteX76" fmla="*/ 278 w 10000"/>
                    <a:gd name="connsiteY76" fmla="*/ 3955 h 10127"/>
                    <a:gd name="connsiteX77" fmla="*/ 500 w 10000"/>
                    <a:gd name="connsiteY77" fmla="*/ 4773 h 10127"/>
                    <a:gd name="connsiteX78" fmla="*/ 722 w 10000"/>
                    <a:gd name="connsiteY78" fmla="*/ 5476 h 10127"/>
                    <a:gd name="connsiteX79" fmla="*/ 722 w 10000"/>
                    <a:gd name="connsiteY79" fmla="*/ 5476 h 10127"/>
                    <a:gd name="connsiteX80" fmla="*/ 889 w 10000"/>
                    <a:gd name="connsiteY80" fmla="*/ 5891 h 10127"/>
                    <a:gd name="connsiteX81" fmla="*/ 944 w 10000"/>
                    <a:gd name="connsiteY81" fmla="*/ 6248 h 10127"/>
                    <a:gd name="connsiteX82" fmla="*/ 1111 w 10000"/>
                    <a:gd name="connsiteY82" fmla="*/ 6598 h 10127"/>
                    <a:gd name="connsiteX83" fmla="*/ 1333 w 10000"/>
                    <a:gd name="connsiteY83" fmla="*/ 7136 h 10127"/>
                    <a:gd name="connsiteX84" fmla="*/ 1333 w 10000"/>
                    <a:gd name="connsiteY84" fmla="*/ 7136 h 10127"/>
                    <a:gd name="connsiteX85" fmla="*/ 1444 w 10000"/>
                    <a:gd name="connsiteY85" fmla="*/ 7417 h 10127"/>
                    <a:gd name="connsiteX86" fmla="*/ 1500 w 10000"/>
                    <a:gd name="connsiteY86" fmla="*/ 7626 h 10127"/>
                    <a:gd name="connsiteX87" fmla="*/ 1500 w 10000"/>
                    <a:gd name="connsiteY87" fmla="*/ 7823 h 10127"/>
                    <a:gd name="connsiteX88" fmla="*/ 1556 w 10000"/>
                    <a:gd name="connsiteY88" fmla="*/ 7911 h 10127"/>
                    <a:gd name="connsiteX89" fmla="*/ 1722 w 10000"/>
                    <a:gd name="connsiteY89" fmla="*/ 7973 h 10127"/>
                    <a:gd name="connsiteX90" fmla="*/ 1944 w 10000"/>
                    <a:gd name="connsiteY90" fmla="*/ 8038 h 10127"/>
                    <a:gd name="connsiteX91" fmla="*/ 2944 w 10000"/>
                    <a:gd name="connsiteY91" fmla="*/ 8115 h 10127"/>
                    <a:gd name="connsiteX92" fmla="*/ 2944 w 10000"/>
                    <a:gd name="connsiteY92" fmla="*/ 8115 h 10127"/>
                    <a:gd name="connsiteX93" fmla="*/ 4167 w 10000"/>
                    <a:gd name="connsiteY93" fmla="*/ 8256 h 10127"/>
                    <a:gd name="connsiteX94" fmla="*/ 4889 w 10000"/>
                    <a:gd name="connsiteY94" fmla="*/ 8452 h 10127"/>
                    <a:gd name="connsiteX95" fmla="*/ 5278 w 10000"/>
                    <a:gd name="connsiteY95" fmla="*/ 8673 h 10127"/>
                    <a:gd name="connsiteX96" fmla="*/ 5444 w 10000"/>
                    <a:gd name="connsiteY96" fmla="*/ 8731 h 10127"/>
                    <a:gd name="connsiteX97" fmla="*/ 5444 w 10000"/>
                    <a:gd name="connsiteY97" fmla="*/ 8731 h 10127"/>
                    <a:gd name="connsiteX98" fmla="*/ 5722 w 10000"/>
                    <a:gd name="connsiteY98" fmla="*/ 8886 h 10127"/>
                    <a:gd name="connsiteX99" fmla="*/ 5833 w 10000"/>
                    <a:gd name="connsiteY99" fmla="*/ 8957 h 10127"/>
                    <a:gd name="connsiteX100" fmla="*/ 5833 w 10000"/>
                    <a:gd name="connsiteY100" fmla="*/ 8957 h 10127"/>
                    <a:gd name="connsiteX101" fmla="*/ 5833 w 10000"/>
                    <a:gd name="connsiteY101" fmla="*/ 8886 h 10127"/>
                    <a:gd name="connsiteX102" fmla="*/ 5889 w 10000"/>
                    <a:gd name="connsiteY102" fmla="*/ 8808 h 10127"/>
                    <a:gd name="connsiteX103" fmla="*/ 6000 w 10000"/>
                    <a:gd name="connsiteY103" fmla="*/ 8731 h 10127"/>
                    <a:gd name="connsiteX104" fmla="*/ 6167 w 10000"/>
                    <a:gd name="connsiteY104" fmla="*/ 8673 h 10127"/>
                    <a:gd name="connsiteX105" fmla="*/ 6444 w 10000"/>
                    <a:gd name="connsiteY105" fmla="*/ 8673 h 10127"/>
                    <a:gd name="connsiteX106" fmla="*/ 6833 w 10000"/>
                    <a:gd name="connsiteY106" fmla="*/ 8731 h 10127"/>
                    <a:gd name="connsiteX107" fmla="*/ 7278 w 10000"/>
                    <a:gd name="connsiteY107" fmla="*/ 8957 h 10127"/>
                    <a:gd name="connsiteX108" fmla="*/ 7278 w 10000"/>
                    <a:gd name="connsiteY108" fmla="*/ 8957 h 10127"/>
                    <a:gd name="connsiteX109" fmla="*/ 8722 w 10000"/>
                    <a:gd name="connsiteY109" fmla="*/ 9563 h 10127"/>
                    <a:gd name="connsiteX110" fmla="*/ 10000 w 10000"/>
                    <a:gd name="connsiteY110" fmla="*/ 10127 h 10127"/>
                    <a:gd name="connsiteX111" fmla="*/ 10000 w 10000"/>
                    <a:gd name="connsiteY111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222 w 10000"/>
                    <a:gd name="connsiteY33" fmla="*/ 3324 h 10127"/>
                    <a:gd name="connsiteX34" fmla="*/ 6111 w 10000"/>
                    <a:gd name="connsiteY34" fmla="*/ 3247 h 10127"/>
                    <a:gd name="connsiteX35" fmla="*/ 6056 w 10000"/>
                    <a:gd name="connsiteY35" fmla="*/ 3185 h 10127"/>
                    <a:gd name="connsiteX36" fmla="*/ 6056 w 10000"/>
                    <a:gd name="connsiteY36" fmla="*/ 3185 h 10127"/>
                    <a:gd name="connsiteX37" fmla="*/ 6056 w 10000"/>
                    <a:gd name="connsiteY37" fmla="*/ 1943 h 10127"/>
                    <a:gd name="connsiteX38" fmla="*/ 6056 w 10000"/>
                    <a:gd name="connsiteY38" fmla="*/ 1943 h 10127"/>
                    <a:gd name="connsiteX39" fmla="*/ 6056 w 10000"/>
                    <a:gd name="connsiteY39" fmla="*/ 1652 h 10127"/>
                    <a:gd name="connsiteX40" fmla="*/ 5944 w 10000"/>
                    <a:gd name="connsiteY40" fmla="*/ 1308 h 10127"/>
                    <a:gd name="connsiteX41" fmla="*/ 5889 w 10000"/>
                    <a:gd name="connsiteY41" fmla="*/ 1230 h 10127"/>
                    <a:gd name="connsiteX42" fmla="*/ 5778 w 10000"/>
                    <a:gd name="connsiteY42" fmla="*/ 1167 h 10127"/>
                    <a:gd name="connsiteX43" fmla="*/ 5667 w 10000"/>
                    <a:gd name="connsiteY43" fmla="*/ 1167 h 10127"/>
                    <a:gd name="connsiteX44" fmla="*/ 5500 w 10000"/>
                    <a:gd name="connsiteY44" fmla="*/ 1230 h 10127"/>
                    <a:gd name="connsiteX45" fmla="*/ 5500 w 10000"/>
                    <a:gd name="connsiteY45" fmla="*/ 1230 h 10127"/>
                    <a:gd name="connsiteX46" fmla="*/ 4889 w 10000"/>
                    <a:gd name="connsiteY46" fmla="*/ 1726 h 10127"/>
                    <a:gd name="connsiteX47" fmla="*/ 4611 w 10000"/>
                    <a:gd name="connsiteY47" fmla="*/ 1866 h 10127"/>
                    <a:gd name="connsiteX48" fmla="*/ 4556 w 10000"/>
                    <a:gd name="connsiteY48" fmla="*/ 1943 h 10127"/>
                    <a:gd name="connsiteX49" fmla="*/ 4500 w 10000"/>
                    <a:gd name="connsiteY49" fmla="*/ 1866 h 10127"/>
                    <a:gd name="connsiteX50" fmla="*/ 4500 w 10000"/>
                    <a:gd name="connsiteY50" fmla="*/ 1866 h 10127"/>
                    <a:gd name="connsiteX51" fmla="*/ 4111 w 10000"/>
                    <a:gd name="connsiteY51" fmla="*/ 822 h 10127"/>
                    <a:gd name="connsiteX52" fmla="*/ 4111 w 10000"/>
                    <a:gd name="connsiteY52" fmla="*/ 404 h 10127"/>
                    <a:gd name="connsiteX53" fmla="*/ 4111 w 10000"/>
                    <a:gd name="connsiteY53" fmla="*/ 404 h 10127"/>
                    <a:gd name="connsiteX54" fmla="*/ 4195 w 10000"/>
                    <a:gd name="connsiteY54" fmla="*/ 119 h 10127"/>
                    <a:gd name="connsiteX55" fmla="*/ 4213 w 10000"/>
                    <a:gd name="connsiteY55" fmla="*/ 0 h 10127"/>
                    <a:gd name="connsiteX56" fmla="*/ 4000 w 10000"/>
                    <a:gd name="connsiteY56" fmla="*/ 127 h 10127"/>
                    <a:gd name="connsiteX57" fmla="*/ 3722 w 10000"/>
                    <a:gd name="connsiteY57" fmla="*/ 200 h 10127"/>
                    <a:gd name="connsiteX58" fmla="*/ 3611 w 10000"/>
                    <a:gd name="connsiteY58" fmla="*/ 273 h 10127"/>
                    <a:gd name="connsiteX59" fmla="*/ 3556 w 10000"/>
                    <a:gd name="connsiteY59" fmla="*/ 344 h 10127"/>
                    <a:gd name="connsiteX60" fmla="*/ 3556 w 10000"/>
                    <a:gd name="connsiteY60" fmla="*/ 344 h 10127"/>
                    <a:gd name="connsiteX61" fmla="*/ 3444 w 10000"/>
                    <a:gd name="connsiteY61" fmla="*/ 618 h 10127"/>
                    <a:gd name="connsiteX62" fmla="*/ 3278 w 10000"/>
                    <a:gd name="connsiteY62" fmla="*/ 1039 h 10127"/>
                    <a:gd name="connsiteX63" fmla="*/ 3000 w 10000"/>
                    <a:gd name="connsiteY63" fmla="*/ 1516 h 10127"/>
                    <a:gd name="connsiteX64" fmla="*/ 2667 w 10000"/>
                    <a:gd name="connsiteY64" fmla="*/ 1866 h 10127"/>
                    <a:gd name="connsiteX65" fmla="*/ 2667 w 10000"/>
                    <a:gd name="connsiteY65" fmla="*/ 1866 h 10127"/>
                    <a:gd name="connsiteX66" fmla="*/ 2333 w 10000"/>
                    <a:gd name="connsiteY66" fmla="*/ 2152 h 10127"/>
                    <a:gd name="connsiteX67" fmla="*/ 1833 w 10000"/>
                    <a:gd name="connsiteY67" fmla="*/ 2431 h 10127"/>
                    <a:gd name="connsiteX68" fmla="*/ 1389 w 10000"/>
                    <a:gd name="connsiteY68" fmla="*/ 2562 h 10127"/>
                    <a:gd name="connsiteX69" fmla="*/ 889 w 10000"/>
                    <a:gd name="connsiteY69" fmla="*/ 2633 h 10127"/>
                    <a:gd name="connsiteX70" fmla="*/ 889 w 10000"/>
                    <a:gd name="connsiteY70" fmla="*/ 2633 h 10127"/>
                    <a:gd name="connsiteX71" fmla="*/ 500 w 10000"/>
                    <a:gd name="connsiteY71" fmla="*/ 2717 h 10127"/>
                    <a:gd name="connsiteX72" fmla="*/ 222 w 10000"/>
                    <a:gd name="connsiteY72" fmla="*/ 2768 h 10127"/>
                    <a:gd name="connsiteX73" fmla="*/ 0 w 10000"/>
                    <a:gd name="connsiteY73" fmla="*/ 2836 h 10127"/>
                    <a:gd name="connsiteX74" fmla="*/ 0 w 10000"/>
                    <a:gd name="connsiteY74" fmla="*/ 2836 h 10127"/>
                    <a:gd name="connsiteX75" fmla="*/ 278 w 10000"/>
                    <a:gd name="connsiteY75" fmla="*/ 3955 h 10127"/>
                    <a:gd name="connsiteX76" fmla="*/ 500 w 10000"/>
                    <a:gd name="connsiteY76" fmla="*/ 4773 h 10127"/>
                    <a:gd name="connsiteX77" fmla="*/ 722 w 10000"/>
                    <a:gd name="connsiteY77" fmla="*/ 5476 h 10127"/>
                    <a:gd name="connsiteX78" fmla="*/ 722 w 10000"/>
                    <a:gd name="connsiteY78" fmla="*/ 5476 h 10127"/>
                    <a:gd name="connsiteX79" fmla="*/ 889 w 10000"/>
                    <a:gd name="connsiteY79" fmla="*/ 5891 h 10127"/>
                    <a:gd name="connsiteX80" fmla="*/ 944 w 10000"/>
                    <a:gd name="connsiteY80" fmla="*/ 6248 h 10127"/>
                    <a:gd name="connsiteX81" fmla="*/ 1111 w 10000"/>
                    <a:gd name="connsiteY81" fmla="*/ 6598 h 10127"/>
                    <a:gd name="connsiteX82" fmla="*/ 1333 w 10000"/>
                    <a:gd name="connsiteY82" fmla="*/ 7136 h 10127"/>
                    <a:gd name="connsiteX83" fmla="*/ 1333 w 10000"/>
                    <a:gd name="connsiteY83" fmla="*/ 7136 h 10127"/>
                    <a:gd name="connsiteX84" fmla="*/ 1444 w 10000"/>
                    <a:gd name="connsiteY84" fmla="*/ 7417 h 10127"/>
                    <a:gd name="connsiteX85" fmla="*/ 1500 w 10000"/>
                    <a:gd name="connsiteY85" fmla="*/ 7626 h 10127"/>
                    <a:gd name="connsiteX86" fmla="*/ 1500 w 10000"/>
                    <a:gd name="connsiteY86" fmla="*/ 7823 h 10127"/>
                    <a:gd name="connsiteX87" fmla="*/ 1556 w 10000"/>
                    <a:gd name="connsiteY87" fmla="*/ 7911 h 10127"/>
                    <a:gd name="connsiteX88" fmla="*/ 1722 w 10000"/>
                    <a:gd name="connsiteY88" fmla="*/ 7973 h 10127"/>
                    <a:gd name="connsiteX89" fmla="*/ 1944 w 10000"/>
                    <a:gd name="connsiteY89" fmla="*/ 8038 h 10127"/>
                    <a:gd name="connsiteX90" fmla="*/ 2944 w 10000"/>
                    <a:gd name="connsiteY90" fmla="*/ 8115 h 10127"/>
                    <a:gd name="connsiteX91" fmla="*/ 2944 w 10000"/>
                    <a:gd name="connsiteY91" fmla="*/ 8115 h 10127"/>
                    <a:gd name="connsiteX92" fmla="*/ 4167 w 10000"/>
                    <a:gd name="connsiteY92" fmla="*/ 8256 h 10127"/>
                    <a:gd name="connsiteX93" fmla="*/ 4889 w 10000"/>
                    <a:gd name="connsiteY93" fmla="*/ 8452 h 10127"/>
                    <a:gd name="connsiteX94" fmla="*/ 5278 w 10000"/>
                    <a:gd name="connsiteY94" fmla="*/ 8673 h 10127"/>
                    <a:gd name="connsiteX95" fmla="*/ 5444 w 10000"/>
                    <a:gd name="connsiteY95" fmla="*/ 8731 h 10127"/>
                    <a:gd name="connsiteX96" fmla="*/ 5444 w 10000"/>
                    <a:gd name="connsiteY96" fmla="*/ 8731 h 10127"/>
                    <a:gd name="connsiteX97" fmla="*/ 5722 w 10000"/>
                    <a:gd name="connsiteY97" fmla="*/ 8886 h 10127"/>
                    <a:gd name="connsiteX98" fmla="*/ 5833 w 10000"/>
                    <a:gd name="connsiteY98" fmla="*/ 8957 h 10127"/>
                    <a:gd name="connsiteX99" fmla="*/ 5833 w 10000"/>
                    <a:gd name="connsiteY99" fmla="*/ 8957 h 10127"/>
                    <a:gd name="connsiteX100" fmla="*/ 5833 w 10000"/>
                    <a:gd name="connsiteY100" fmla="*/ 8886 h 10127"/>
                    <a:gd name="connsiteX101" fmla="*/ 5889 w 10000"/>
                    <a:gd name="connsiteY101" fmla="*/ 8808 h 10127"/>
                    <a:gd name="connsiteX102" fmla="*/ 6000 w 10000"/>
                    <a:gd name="connsiteY102" fmla="*/ 8731 h 10127"/>
                    <a:gd name="connsiteX103" fmla="*/ 6167 w 10000"/>
                    <a:gd name="connsiteY103" fmla="*/ 8673 h 10127"/>
                    <a:gd name="connsiteX104" fmla="*/ 6444 w 10000"/>
                    <a:gd name="connsiteY104" fmla="*/ 8673 h 10127"/>
                    <a:gd name="connsiteX105" fmla="*/ 6833 w 10000"/>
                    <a:gd name="connsiteY105" fmla="*/ 8731 h 10127"/>
                    <a:gd name="connsiteX106" fmla="*/ 7278 w 10000"/>
                    <a:gd name="connsiteY106" fmla="*/ 8957 h 10127"/>
                    <a:gd name="connsiteX107" fmla="*/ 7278 w 10000"/>
                    <a:gd name="connsiteY107" fmla="*/ 8957 h 10127"/>
                    <a:gd name="connsiteX108" fmla="*/ 8722 w 10000"/>
                    <a:gd name="connsiteY108" fmla="*/ 9563 h 10127"/>
                    <a:gd name="connsiteX109" fmla="*/ 10000 w 10000"/>
                    <a:gd name="connsiteY109" fmla="*/ 10127 h 10127"/>
                    <a:gd name="connsiteX110" fmla="*/ 10000 w 10000"/>
                    <a:gd name="connsiteY110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111 w 10000"/>
                    <a:gd name="connsiteY33" fmla="*/ 3247 h 10127"/>
                    <a:gd name="connsiteX34" fmla="*/ 6056 w 10000"/>
                    <a:gd name="connsiteY34" fmla="*/ 3185 h 10127"/>
                    <a:gd name="connsiteX35" fmla="*/ 6056 w 10000"/>
                    <a:gd name="connsiteY35" fmla="*/ 3185 h 10127"/>
                    <a:gd name="connsiteX36" fmla="*/ 6056 w 10000"/>
                    <a:gd name="connsiteY36" fmla="*/ 1943 h 10127"/>
                    <a:gd name="connsiteX37" fmla="*/ 6056 w 10000"/>
                    <a:gd name="connsiteY37" fmla="*/ 1943 h 10127"/>
                    <a:gd name="connsiteX38" fmla="*/ 6056 w 10000"/>
                    <a:gd name="connsiteY38" fmla="*/ 1652 h 10127"/>
                    <a:gd name="connsiteX39" fmla="*/ 5944 w 10000"/>
                    <a:gd name="connsiteY39" fmla="*/ 1308 h 10127"/>
                    <a:gd name="connsiteX40" fmla="*/ 5889 w 10000"/>
                    <a:gd name="connsiteY40" fmla="*/ 1230 h 10127"/>
                    <a:gd name="connsiteX41" fmla="*/ 5778 w 10000"/>
                    <a:gd name="connsiteY41" fmla="*/ 1167 h 10127"/>
                    <a:gd name="connsiteX42" fmla="*/ 5667 w 10000"/>
                    <a:gd name="connsiteY42" fmla="*/ 1167 h 10127"/>
                    <a:gd name="connsiteX43" fmla="*/ 5500 w 10000"/>
                    <a:gd name="connsiteY43" fmla="*/ 1230 h 10127"/>
                    <a:gd name="connsiteX44" fmla="*/ 5500 w 10000"/>
                    <a:gd name="connsiteY44" fmla="*/ 1230 h 10127"/>
                    <a:gd name="connsiteX45" fmla="*/ 4889 w 10000"/>
                    <a:gd name="connsiteY45" fmla="*/ 1726 h 10127"/>
                    <a:gd name="connsiteX46" fmla="*/ 4611 w 10000"/>
                    <a:gd name="connsiteY46" fmla="*/ 1866 h 10127"/>
                    <a:gd name="connsiteX47" fmla="*/ 4556 w 10000"/>
                    <a:gd name="connsiteY47" fmla="*/ 1943 h 10127"/>
                    <a:gd name="connsiteX48" fmla="*/ 4500 w 10000"/>
                    <a:gd name="connsiteY48" fmla="*/ 1866 h 10127"/>
                    <a:gd name="connsiteX49" fmla="*/ 4500 w 10000"/>
                    <a:gd name="connsiteY49" fmla="*/ 1866 h 10127"/>
                    <a:gd name="connsiteX50" fmla="*/ 4111 w 10000"/>
                    <a:gd name="connsiteY50" fmla="*/ 822 h 10127"/>
                    <a:gd name="connsiteX51" fmla="*/ 4111 w 10000"/>
                    <a:gd name="connsiteY51" fmla="*/ 404 h 10127"/>
                    <a:gd name="connsiteX52" fmla="*/ 4111 w 10000"/>
                    <a:gd name="connsiteY52" fmla="*/ 404 h 10127"/>
                    <a:gd name="connsiteX53" fmla="*/ 4195 w 10000"/>
                    <a:gd name="connsiteY53" fmla="*/ 119 h 10127"/>
                    <a:gd name="connsiteX54" fmla="*/ 4213 w 10000"/>
                    <a:gd name="connsiteY54" fmla="*/ 0 h 10127"/>
                    <a:gd name="connsiteX55" fmla="*/ 4000 w 10000"/>
                    <a:gd name="connsiteY55" fmla="*/ 127 h 10127"/>
                    <a:gd name="connsiteX56" fmla="*/ 3722 w 10000"/>
                    <a:gd name="connsiteY56" fmla="*/ 200 h 10127"/>
                    <a:gd name="connsiteX57" fmla="*/ 3611 w 10000"/>
                    <a:gd name="connsiteY57" fmla="*/ 273 h 10127"/>
                    <a:gd name="connsiteX58" fmla="*/ 3556 w 10000"/>
                    <a:gd name="connsiteY58" fmla="*/ 344 h 10127"/>
                    <a:gd name="connsiteX59" fmla="*/ 3556 w 10000"/>
                    <a:gd name="connsiteY59" fmla="*/ 344 h 10127"/>
                    <a:gd name="connsiteX60" fmla="*/ 3444 w 10000"/>
                    <a:gd name="connsiteY60" fmla="*/ 618 h 10127"/>
                    <a:gd name="connsiteX61" fmla="*/ 3278 w 10000"/>
                    <a:gd name="connsiteY61" fmla="*/ 1039 h 10127"/>
                    <a:gd name="connsiteX62" fmla="*/ 3000 w 10000"/>
                    <a:gd name="connsiteY62" fmla="*/ 1516 h 10127"/>
                    <a:gd name="connsiteX63" fmla="*/ 2667 w 10000"/>
                    <a:gd name="connsiteY63" fmla="*/ 1866 h 10127"/>
                    <a:gd name="connsiteX64" fmla="*/ 2667 w 10000"/>
                    <a:gd name="connsiteY64" fmla="*/ 1866 h 10127"/>
                    <a:gd name="connsiteX65" fmla="*/ 2333 w 10000"/>
                    <a:gd name="connsiteY65" fmla="*/ 2152 h 10127"/>
                    <a:gd name="connsiteX66" fmla="*/ 1833 w 10000"/>
                    <a:gd name="connsiteY66" fmla="*/ 2431 h 10127"/>
                    <a:gd name="connsiteX67" fmla="*/ 1389 w 10000"/>
                    <a:gd name="connsiteY67" fmla="*/ 2562 h 10127"/>
                    <a:gd name="connsiteX68" fmla="*/ 889 w 10000"/>
                    <a:gd name="connsiteY68" fmla="*/ 2633 h 10127"/>
                    <a:gd name="connsiteX69" fmla="*/ 889 w 10000"/>
                    <a:gd name="connsiteY69" fmla="*/ 2633 h 10127"/>
                    <a:gd name="connsiteX70" fmla="*/ 500 w 10000"/>
                    <a:gd name="connsiteY70" fmla="*/ 2717 h 10127"/>
                    <a:gd name="connsiteX71" fmla="*/ 222 w 10000"/>
                    <a:gd name="connsiteY71" fmla="*/ 2768 h 10127"/>
                    <a:gd name="connsiteX72" fmla="*/ 0 w 10000"/>
                    <a:gd name="connsiteY72" fmla="*/ 2836 h 10127"/>
                    <a:gd name="connsiteX73" fmla="*/ 0 w 10000"/>
                    <a:gd name="connsiteY73" fmla="*/ 2836 h 10127"/>
                    <a:gd name="connsiteX74" fmla="*/ 278 w 10000"/>
                    <a:gd name="connsiteY74" fmla="*/ 3955 h 10127"/>
                    <a:gd name="connsiteX75" fmla="*/ 500 w 10000"/>
                    <a:gd name="connsiteY75" fmla="*/ 4773 h 10127"/>
                    <a:gd name="connsiteX76" fmla="*/ 722 w 10000"/>
                    <a:gd name="connsiteY76" fmla="*/ 5476 h 10127"/>
                    <a:gd name="connsiteX77" fmla="*/ 722 w 10000"/>
                    <a:gd name="connsiteY77" fmla="*/ 5476 h 10127"/>
                    <a:gd name="connsiteX78" fmla="*/ 889 w 10000"/>
                    <a:gd name="connsiteY78" fmla="*/ 5891 h 10127"/>
                    <a:gd name="connsiteX79" fmla="*/ 944 w 10000"/>
                    <a:gd name="connsiteY79" fmla="*/ 6248 h 10127"/>
                    <a:gd name="connsiteX80" fmla="*/ 1111 w 10000"/>
                    <a:gd name="connsiteY80" fmla="*/ 6598 h 10127"/>
                    <a:gd name="connsiteX81" fmla="*/ 1333 w 10000"/>
                    <a:gd name="connsiteY81" fmla="*/ 7136 h 10127"/>
                    <a:gd name="connsiteX82" fmla="*/ 1333 w 10000"/>
                    <a:gd name="connsiteY82" fmla="*/ 7136 h 10127"/>
                    <a:gd name="connsiteX83" fmla="*/ 1444 w 10000"/>
                    <a:gd name="connsiteY83" fmla="*/ 7417 h 10127"/>
                    <a:gd name="connsiteX84" fmla="*/ 1500 w 10000"/>
                    <a:gd name="connsiteY84" fmla="*/ 7626 h 10127"/>
                    <a:gd name="connsiteX85" fmla="*/ 1500 w 10000"/>
                    <a:gd name="connsiteY85" fmla="*/ 7823 h 10127"/>
                    <a:gd name="connsiteX86" fmla="*/ 1556 w 10000"/>
                    <a:gd name="connsiteY86" fmla="*/ 7911 h 10127"/>
                    <a:gd name="connsiteX87" fmla="*/ 1722 w 10000"/>
                    <a:gd name="connsiteY87" fmla="*/ 7973 h 10127"/>
                    <a:gd name="connsiteX88" fmla="*/ 1944 w 10000"/>
                    <a:gd name="connsiteY88" fmla="*/ 8038 h 10127"/>
                    <a:gd name="connsiteX89" fmla="*/ 2944 w 10000"/>
                    <a:gd name="connsiteY89" fmla="*/ 8115 h 10127"/>
                    <a:gd name="connsiteX90" fmla="*/ 2944 w 10000"/>
                    <a:gd name="connsiteY90" fmla="*/ 8115 h 10127"/>
                    <a:gd name="connsiteX91" fmla="*/ 4167 w 10000"/>
                    <a:gd name="connsiteY91" fmla="*/ 8256 h 10127"/>
                    <a:gd name="connsiteX92" fmla="*/ 4889 w 10000"/>
                    <a:gd name="connsiteY92" fmla="*/ 8452 h 10127"/>
                    <a:gd name="connsiteX93" fmla="*/ 5278 w 10000"/>
                    <a:gd name="connsiteY93" fmla="*/ 8673 h 10127"/>
                    <a:gd name="connsiteX94" fmla="*/ 5444 w 10000"/>
                    <a:gd name="connsiteY94" fmla="*/ 8731 h 10127"/>
                    <a:gd name="connsiteX95" fmla="*/ 5444 w 10000"/>
                    <a:gd name="connsiteY95" fmla="*/ 8731 h 10127"/>
                    <a:gd name="connsiteX96" fmla="*/ 5722 w 10000"/>
                    <a:gd name="connsiteY96" fmla="*/ 8886 h 10127"/>
                    <a:gd name="connsiteX97" fmla="*/ 5833 w 10000"/>
                    <a:gd name="connsiteY97" fmla="*/ 8957 h 10127"/>
                    <a:gd name="connsiteX98" fmla="*/ 5833 w 10000"/>
                    <a:gd name="connsiteY98" fmla="*/ 8957 h 10127"/>
                    <a:gd name="connsiteX99" fmla="*/ 5833 w 10000"/>
                    <a:gd name="connsiteY99" fmla="*/ 8886 h 10127"/>
                    <a:gd name="connsiteX100" fmla="*/ 5889 w 10000"/>
                    <a:gd name="connsiteY100" fmla="*/ 8808 h 10127"/>
                    <a:gd name="connsiteX101" fmla="*/ 6000 w 10000"/>
                    <a:gd name="connsiteY101" fmla="*/ 8731 h 10127"/>
                    <a:gd name="connsiteX102" fmla="*/ 6167 w 10000"/>
                    <a:gd name="connsiteY102" fmla="*/ 8673 h 10127"/>
                    <a:gd name="connsiteX103" fmla="*/ 6444 w 10000"/>
                    <a:gd name="connsiteY103" fmla="*/ 8673 h 10127"/>
                    <a:gd name="connsiteX104" fmla="*/ 6833 w 10000"/>
                    <a:gd name="connsiteY104" fmla="*/ 8731 h 10127"/>
                    <a:gd name="connsiteX105" fmla="*/ 7278 w 10000"/>
                    <a:gd name="connsiteY105" fmla="*/ 8957 h 10127"/>
                    <a:gd name="connsiteX106" fmla="*/ 7278 w 10000"/>
                    <a:gd name="connsiteY106" fmla="*/ 8957 h 10127"/>
                    <a:gd name="connsiteX107" fmla="*/ 8722 w 10000"/>
                    <a:gd name="connsiteY107" fmla="*/ 9563 h 10127"/>
                    <a:gd name="connsiteX108" fmla="*/ 10000 w 10000"/>
                    <a:gd name="connsiteY108" fmla="*/ 10127 h 10127"/>
                    <a:gd name="connsiteX109" fmla="*/ 10000 w 10000"/>
                    <a:gd name="connsiteY109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056 w 10000"/>
                    <a:gd name="connsiteY33" fmla="*/ 3185 h 10127"/>
                    <a:gd name="connsiteX34" fmla="*/ 6056 w 10000"/>
                    <a:gd name="connsiteY34" fmla="*/ 3185 h 10127"/>
                    <a:gd name="connsiteX35" fmla="*/ 6056 w 10000"/>
                    <a:gd name="connsiteY35" fmla="*/ 1943 h 10127"/>
                    <a:gd name="connsiteX36" fmla="*/ 6056 w 10000"/>
                    <a:gd name="connsiteY36" fmla="*/ 1943 h 10127"/>
                    <a:gd name="connsiteX37" fmla="*/ 6056 w 10000"/>
                    <a:gd name="connsiteY37" fmla="*/ 1652 h 10127"/>
                    <a:gd name="connsiteX38" fmla="*/ 5944 w 10000"/>
                    <a:gd name="connsiteY38" fmla="*/ 1308 h 10127"/>
                    <a:gd name="connsiteX39" fmla="*/ 5889 w 10000"/>
                    <a:gd name="connsiteY39" fmla="*/ 1230 h 10127"/>
                    <a:gd name="connsiteX40" fmla="*/ 5778 w 10000"/>
                    <a:gd name="connsiteY40" fmla="*/ 1167 h 10127"/>
                    <a:gd name="connsiteX41" fmla="*/ 5667 w 10000"/>
                    <a:gd name="connsiteY41" fmla="*/ 1167 h 10127"/>
                    <a:gd name="connsiteX42" fmla="*/ 5500 w 10000"/>
                    <a:gd name="connsiteY42" fmla="*/ 1230 h 10127"/>
                    <a:gd name="connsiteX43" fmla="*/ 5500 w 10000"/>
                    <a:gd name="connsiteY43" fmla="*/ 1230 h 10127"/>
                    <a:gd name="connsiteX44" fmla="*/ 4889 w 10000"/>
                    <a:gd name="connsiteY44" fmla="*/ 1726 h 10127"/>
                    <a:gd name="connsiteX45" fmla="*/ 4611 w 10000"/>
                    <a:gd name="connsiteY45" fmla="*/ 1866 h 10127"/>
                    <a:gd name="connsiteX46" fmla="*/ 4556 w 10000"/>
                    <a:gd name="connsiteY46" fmla="*/ 1943 h 10127"/>
                    <a:gd name="connsiteX47" fmla="*/ 4500 w 10000"/>
                    <a:gd name="connsiteY47" fmla="*/ 1866 h 10127"/>
                    <a:gd name="connsiteX48" fmla="*/ 4500 w 10000"/>
                    <a:gd name="connsiteY48" fmla="*/ 1866 h 10127"/>
                    <a:gd name="connsiteX49" fmla="*/ 4111 w 10000"/>
                    <a:gd name="connsiteY49" fmla="*/ 822 h 10127"/>
                    <a:gd name="connsiteX50" fmla="*/ 4111 w 10000"/>
                    <a:gd name="connsiteY50" fmla="*/ 404 h 10127"/>
                    <a:gd name="connsiteX51" fmla="*/ 4111 w 10000"/>
                    <a:gd name="connsiteY51" fmla="*/ 404 h 10127"/>
                    <a:gd name="connsiteX52" fmla="*/ 4195 w 10000"/>
                    <a:gd name="connsiteY52" fmla="*/ 119 h 10127"/>
                    <a:gd name="connsiteX53" fmla="*/ 4213 w 10000"/>
                    <a:gd name="connsiteY53" fmla="*/ 0 h 10127"/>
                    <a:gd name="connsiteX54" fmla="*/ 4000 w 10000"/>
                    <a:gd name="connsiteY54" fmla="*/ 127 h 10127"/>
                    <a:gd name="connsiteX55" fmla="*/ 3722 w 10000"/>
                    <a:gd name="connsiteY55" fmla="*/ 200 h 10127"/>
                    <a:gd name="connsiteX56" fmla="*/ 3611 w 10000"/>
                    <a:gd name="connsiteY56" fmla="*/ 273 h 10127"/>
                    <a:gd name="connsiteX57" fmla="*/ 3556 w 10000"/>
                    <a:gd name="connsiteY57" fmla="*/ 344 h 10127"/>
                    <a:gd name="connsiteX58" fmla="*/ 3556 w 10000"/>
                    <a:gd name="connsiteY58" fmla="*/ 344 h 10127"/>
                    <a:gd name="connsiteX59" fmla="*/ 3444 w 10000"/>
                    <a:gd name="connsiteY59" fmla="*/ 618 h 10127"/>
                    <a:gd name="connsiteX60" fmla="*/ 3278 w 10000"/>
                    <a:gd name="connsiteY60" fmla="*/ 1039 h 10127"/>
                    <a:gd name="connsiteX61" fmla="*/ 3000 w 10000"/>
                    <a:gd name="connsiteY61" fmla="*/ 1516 h 10127"/>
                    <a:gd name="connsiteX62" fmla="*/ 2667 w 10000"/>
                    <a:gd name="connsiteY62" fmla="*/ 1866 h 10127"/>
                    <a:gd name="connsiteX63" fmla="*/ 2667 w 10000"/>
                    <a:gd name="connsiteY63" fmla="*/ 1866 h 10127"/>
                    <a:gd name="connsiteX64" fmla="*/ 2333 w 10000"/>
                    <a:gd name="connsiteY64" fmla="*/ 2152 h 10127"/>
                    <a:gd name="connsiteX65" fmla="*/ 1833 w 10000"/>
                    <a:gd name="connsiteY65" fmla="*/ 2431 h 10127"/>
                    <a:gd name="connsiteX66" fmla="*/ 1389 w 10000"/>
                    <a:gd name="connsiteY66" fmla="*/ 2562 h 10127"/>
                    <a:gd name="connsiteX67" fmla="*/ 889 w 10000"/>
                    <a:gd name="connsiteY67" fmla="*/ 2633 h 10127"/>
                    <a:gd name="connsiteX68" fmla="*/ 889 w 10000"/>
                    <a:gd name="connsiteY68" fmla="*/ 2633 h 10127"/>
                    <a:gd name="connsiteX69" fmla="*/ 500 w 10000"/>
                    <a:gd name="connsiteY69" fmla="*/ 2717 h 10127"/>
                    <a:gd name="connsiteX70" fmla="*/ 222 w 10000"/>
                    <a:gd name="connsiteY70" fmla="*/ 2768 h 10127"/>
                    <a:gd name="connsiteX71" fmla="*/ 0 w 10000"/>
                    <a:gd name="connsiteY71" fmla="*/ 2836 h 10127"/>
                    <a:gd name="connsiteX72" fmla="*/ 0 w 10000"/>
                    <a:gd name="connsiteY72" fmla="*/ 2836 h 10127"/>
                    <a:gd name="connsiteX73" fmla="*/ 278 w 10000"/>
                    <a:gd name="connsiteY73" fmla="*/ 3955 h 10127"/>
                    <a:gd name="connsiteX74" fmla="*/ 500 w 10000"/>
                    <a:gd name="connsiteY74" fmla="*/ 4773 h 10127"/>
                    <a:gd name="connsiteX75" fmla="*/ 722 w 10000"/>
                    <a:gd name="connsiteY75" fmla="*/ 5476 h 10127"/>
                    <a:gd name="connsiteX76" fmla="*/ 722 w 10000"/>
                    <a:gd name="connsiteY76" fmla="*/ 5476 h 10127"/>
                    <a:gd name="connsiteX77" fmla="*/ 889 w 10000"/>
                    <a:gd name="connsiteY77" fmla="*/ 5891 h 10127"/>
                    <a:gd name="connsiteX78" fmla="*/ 944 w 10000"/>
                    <a:gd name="connsiteY78" fmla="*/ 6248 h 10127"/>
                    <a:gd name="connsiteX79" fmla="*/ 1111 w 10000"/>
                    <a:gd name="connsiteY79" fmla="*/ 6598 h 10127"/>
                    <a:gd name="connsiteX80" fmla="*/ 1333 w 10000"/>
                    <a:gd name="connsiteY80" fmla="*/ 7136 h 10127"/>
                    <a:gd name="connsiteX81" fmla="*/ 1333 w 10000"/>
                    <a:gd name="connsiteY81" fmla="*/ 7136 h 10127"/>
                    <a:gd name="connsiteX82" fmla="*/ 1444 w 10000"/>
                    <a:gd name="connsiteY82" fmla="*/ 7417 h 10127"/>
                    <a:gd name="connsiteX83" fmla="*/ 1500 w 10000"/>
                    <a:gd name="connsiteY83" fmla="*/ 7626 h 10127"/>
                    <a:gd name="connsiteX84" fmla="*/ 1500 w 10000"/>
                    <a:gd name="connsiteY84" fmla="*/ 7823 h 10127"/>
                    <a:gd name="connsiteX85" fmla="*/ 1556 w 10000"/>
                    <a:gd name="connsiteY85" fmla="*/ 7911 h 10127"/>
                    <a:gd name="connsiteX86" fmla="*/ 1722 w 10000"/>
                    <a:gd name="connsiteY86" fmla="*/ 7973 h 10127"/>
                    <a:gd name="connsiteX87" fmla="*/ 1944 w 10000"/>
                    <a:gd name="connsiteY87" fmla="*/ 8038 h 10127"/>
                    <a:gd name="connsiteX88" fmla="*/ 2944 w 10000"/>
                    <a:gd name="connsiteY88" fmla="*/ 8115 h 10127"/>
                    <a:gd name="connsiteX89" fmla="*/ 2944 w 10000"/>
                    <a:gd name="connsiteY89" fmla="*/ 8115 h 10127"/>
                    <a:gd name="connsiteX90" fmla="*/ 4167 w 10000"/>
                    <a:gd name="connsiteY90" fmla="*/ 8256 h 10127"/>
                    <a:gd name="connsiteX91" fmla="*/ 4889 w 10000"/>
                    <a:gd name="connsiteY91" fmla="*/ 8452 h 10127"/>
                    <a:gd name="connsiteX92" fmla="*/ 5278 w 10000"/>
                    <a:gd name="connsiteY92" fmla="*/ 8673 h 10127"/>
                    <a:gd name="connsiteX93" fmla="*/ 5444 w 10000"/>
                    <a:gd name="connsiteY93" fmla="*/ 8731 h 10127"/>
                    <a:gd name="connsiteX94" fmla="*/ 5444 w 10000"/>
                    <a:gd name="connsiteY94" fmla="*/ 8731 h 10127"/>
                    <a:gd name="connsiteX95" fmla="*/ 5722 w 10000"/>
                    <a:gd name="connsiteY95" fmla="*/ 8886 h 10127"/>
                    <a:gd name="connsiteX96" fmla="*/ 5833 w 10000"/>
                    <a:gd name="connsiteY96" fmla="*/ 8957 h 10127"/>
                    <a:gd name="connsiteX97" fmla="*/ 5833 w 10000"/>
                    <a:gd name="connsiteY97" fmla="*/ 8957 h 10127"/>
                    <a:gd name="connsiteX98" fmla="*/ 5833 w 10000"/>
                    <a:gd name="connsiteY98" fmla="*/ 8886 h 10127"/>
                    <a:gd name="connsiteX99" fmla="*/ 5889 w 10000"/>
                    <a:gd name="connsiteY99" fmla="*/ 8808 h 10127"/>
                    <a:gd name="connsiteX100" fmla="*/ 6000 w 10000"/>
                    <a:gd name="connsiteY100" fmla="*/ 8731 h 10127"/>
                    <a:gd name="connsiteX101" fmla="*/ 6167 w 10000"/>
                    <a:gd name="connsiteY101" fmla="*/ 8673 h 10127"/>
                    <a:gd name="connsiteX102" fmla="*/ 6444 w 10000"/>
                    <a:gd name="connsiteY102" fmla="*/ 8673 h 10127"/>
                    <a:gd name="connsiteX103" fmla="*/ 6833 w 10000"/>
                    <a:gd name="connsiteY103" fmla="*/ 8731 h 10127"/>
                    <a:gd name="connsiteX104" fmla="*/ 7278 w 10000"/>
                    <a:gd name="connsiteY104" fmla="*/ 8957 h 10127"/>
                    <a:gd name="connsiteX105" fmla="*/ 7278 w 10000"/>
                    <a:gd name="connsiteY105" fmla="*/ 8957 h 10127"/>
                    <a:gd name="connsiteX106" fmla="*/ 8722 w 10000"/>
                    <a:gd name="connsiteY106" fmla="*/ 9563 h 10127"/>
                    <a:gd name="connsiteX107" fmla="*/ 10000 w 10000"/>
                    <a:gd name="connsiteY107" fmla="*/ 10127 h 10127"/>
                    <a:gd name="connsiteX108" fmla="*/ 10000 w 10000"/>
                    <a:gd name="connsiteY10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056 w 10000"/>
                    <a:gd name="connsiteY33" fmla="*/ 3185 h 10127"/>
                    <a:gd name="connsiteX34" fmla="*/ 6056 w 10000"/>
                    <a:gd name="connsiteY34" fmla="*/ 1943 h 10127"/>
                    <a:gd name="connsiteX35" fmla="*/ 6056 w 10000"/>
                    <a:gd name="connsiteY35" fmla="*/ 1943 h 10127"/>
                    <a:gd name="connsiteX36" fmla="*/ 6056 w 10000"/>
                    <a:gd name="connsiteY36" fmla="*/ 1652 h 10127"/>
                    <a:gd name="connsiteX37" fmla="*/ 5944 w 10000"/>
                    <a:gd name="connsiteY37" fmla="*/ 1308 h 10127"/>
                    <a:gd name="connsiteX38" fmla="*/ 5889 w 10000"/>
                    <a:gd name="connsiteY38" fmla="*/ 1230 h 10127"/>
                    <a:gd name="connsiteX39" fmla="*/ 5778 w 10000"/>
                    <a:gd name="connsiteY39" fmla="*/ 1167 h 10127"/>
                    <a:gd name="connsiteX40" fmla="*/ 5667 w 10000"/>
                    <a:gd name="connsiteY40" fmla="*/ 1167 h 10127"/>
                    <a:gd name="connsiteX41" fmla="*/ 5500 w 10000"/>
                    <a:gd name="connsiteY41" fmla="*/ 1230 h 10127"/>
                    <a:gd name="connsiteX42" fmla="*/ 5500 w 10000"/>
                    <a:gd name="connsiteY42" fmla="*/ 1230 h 10127"/>
                    <a:gd name="connsiteX43" fmla="*/ 4889 w 10000"/>
                    <a:gd name="connsiteY43" fmla="*/ 1726 h 10127"/>
                    <a:gd name="connsiteX44" fmla="*/ 4611 w 10000"/>
                    <a:gd name="connsiteY44" fmla="*/ 1866 h 10127"/>
                    <a:gd name="connsiteX45" fmla="*/ 4556 w 10000"/>
                    <a:gd name="connsiteY45" fmla="*/ 1943 h 10127"/>
                    <a:gd name="connsiteX46" fmla="*/ 4500 w 10000"/>
                    <a:gd name="connsiteY46" fmla="*/ 1866 h 10127"/>
                    <a:gd name="connsiteX47" fmla="*/ 4500 w 10000"/>
                    <a:gd name="connsiteY47" fmla="*/ 1866 h 10127"/>
                    <a:gd name="connsiteX48" fmla="*/ 4111 w 10000"/>
                    <a:gd name="connsiteY48" fmla="*/ 822 h 10127"/>
                    <a:gd name="connsiteX49" fmla="*/ 4111 w 10000"/>
                    <a:gd name="connsiteY49" fmla="*/ 404 h 10127"/>
                    <a:gd name="connsiteX50" fmla="*/ 4111 w 10000"/>
                    <a:gd name="connsiteY50" fmla="*/ 404 h 10127"/>
                    <a:gd name="connsiteX51" fmla="*/ 4195 w 10000"/>
                    <a:gd name="connsiteY51" fmla="*/ 119 h 10127"/>
                    <a:gd name="connsiteX52" fmla="*/ 4213 w 10000"/>
                    <a:gd name="connsiteY52" fmla="*/ 0 h 10127"/>
                    <a:gd name="connsiteX53" fmla="*/ 4000 w 10000"/>
                    <a:gd name="connsiteY53" fmla="*/ 127 h 10127"/>
                    <a:gd name="connsiteX54" fmla="*/ 3722 w 10000"/>
                    <a:gd name="connsiteY54" fmla="*/ 200 h 10127"/>
                    <a:gd name="connsiteX55" fmla="*/ 3611 w 10000"/>
                    <a:gd name="connsiteY55" fmla="*/ 273 h 10127"/>
                    <a:gd name="connsiteX56" fmla="*/ 3556 w 10000"/>
                    <a:gd name="connsiteY56" fmla="*/ 344 h 10127"/>
                    <a:gd name="connsiteX57" fmla="*/ 3556 w 10000"/>
                    <a:gd name="connsiteY57" fmla="*/ 344 h 10127"/>
                    <a:gd name="connsiteX58" fmla="*/ 3444 w 10000"/>
                    <a:gd name="connsiteY58" fmla="*/ 618 h 10127"/>
                    <a:gd name="connsiteX59" fmla="*/ 3278 w 10000"/>
                    <a:gd name="connsiteY59" fmla="*/ 1039 h 10127"/>
                    <a:gd name="connsiteX60" fmla="*/ 3000 w 10000"/>
                    <a:gd name="connsiteY60" fmla="*/ 1516 h 10127"/>
                    <a:gd name="connsiteX61" fmla="*/ 2667 w 10000"/>
                    <a:gd name="connsiteY61" fmla="*/ 1866 h 10127"/>
                    <a:gd name="connsiteX62" fmla="*/ 2667 w 10000"/>
                    <a:gd name="connsiteY62" fmla="*/ 1866 h 10127"/>
                    <a:gd name="connsiteX63" fmla="*/ 2333 w 10000"/>
                    <a:gd name="connsiteY63" fmla="*/ 2152 h 10127"/>
                    <a:gd name="connsiteX64" fmla="*/ 1833 w 10000"/>
                    <a:gd name="connsiteY64" fmla="*/ 2431 h 10127"/>
                    <a:gd name="connsiteX65" fmla="*/ 1389 w 10000"/>
                    <a:gd name="connsiteY65" fmla="*/ 2562 h 10127"/>
                    <a:gd name="connsiteX66" fmla="*/ 889 w 10000"/>
                    <a:gd name="connsiteY66" fmla="*/ 2633 h 10127"/>
                    <a:gd name="connsiteX67" fmla="*/ 889 w 10000"/>
                    <a:gd name="connsiteY67" fmla="*/ 2633 h 10127"/>
                    <a:gd name="connsiteX68" fmla="*/ 500 w 10000"/>
                    <a:gd name="connsiteY68" fmla="*/ 2717 h 10127"/>
                    <a:gd name="connsiteX69" fmla="*/ 222 w 10000"/>
                    <a:gd name="connsiteY69" fmla="*/ 2768 h 10127"/>
                    <a:gd name="connsiteX70" fmla="*/ 0 w 10000"/>
                    <a:gd name="connsiteY70" fmla="*/ 2836 h 10127"/>
                    <a:gd name="connsiteX71" fmla="*/ 0 w 10000"/>
                    <a:gd name="connsiteY71" fmla="*/ 2836 h 10127"/>
                    <a:gd name="connsiteX72" fmla="*/ 278 w 10000"/>
                    <a:gd name="connsiteY72" fmla="*/ 3955 h 10127"/>
                    <a:gd name="connsiteX73" fmla="*/ 500 w 10000"/>
                    <a:gd name="connsiteY73" fmla="*/ 4773 h 10127"/>
                    <a:gd name="connsiteX74" fmla="*/ 722 w 10000"/>
                    <a:gd name="connsiteY74" fmla="*/ 5476 h 10127"/>
                    <a:gd name="connsiteX75" fmla="*/ 722 w 10000"/>
                    <a:gd name="connsiteY75" fmla="*/ 5476 h 10127"/>
                    <a:gd name="connsiteX76" fmla="*/ 889 w 10000"/>
                    <a:gd name="connsiteY76" fmla="*/ 5891 h 10127"/>
                    <a:gd name="connsiteX77" fmla="*/ 944 w 10000"/>
                    <a:gd name="connsiteY77" fmla="*/ 6248 h 10127"/>
                    <a:gd name="connsiteX78" fmla="*/ 1111 w 10000"/>
                    <a:gd name="connsiteY78" fmla="*/ 6598 h 10127"/>
                    <a:gd name="connsiteX79" fmla="*/ 1333 w 10000"/>
                    <a:gd name="connsiteY79" fmla="*/ 7136 h 10127"/>
                    <a:gd name="connsiteX80" fmla="*/ 1333 w 10000"/>
                    <a:gd name="connsiteY80" fmla="*/ 7136 h 10127"/>
                    <a:gd name="connsiteX81" fmla="*/ 1444 w 10000"/>
                    <a:gd name="connsiteY81" fmla="*/ 7417 h 10127"/>
                    <a:gd name="connsiteX82" fmla="*/ 1500 w 10000"/>
                    <a:gd name="connsiteY82" fmla="*/ 7626 h 10127"/>
                    <a:gd name="connsiteX83" fmla="*/ 1500 w 10000"/>
                    <a:gd name="connsiteY83" fmla="*/ 7823 h 10127"/>
                    <a:gd name="connsiteX84" fmla="*/ 1556 w 10000"/>
                    <a:gd name="connsiteY84" fmla="*/ 7911 h 10127"/>
                    <a:gd name="connsiteX85" fmla="*/ 1722 w 10000"/>
                    <a:gd name="connsiteY85" fmla="*/ 7973 h 10127"/>
                    <a:gd name="connsiteX86" fmla="*/ 1944 w 10000"/>
                    <a:gd name="connsiteY86" fmla="*/ 8038 h 10127"/>
                    <a:gd name="connsiteX87" fmla="*/ 2944 w 10000"/>
                    <a:gd name="connsiteY87" fmla="*/ 8115 h 10127"/>
                    <a:gd name="connsiteX88" fmla="*/ 2944 w 10000"/>
                    <a:gd name="connsiteY88" fmla="*/ 8115 h 10127"/>
                    <a:gd name="connsiteX89" fmla="*/ 4167 w 10000"/>
                    <a:gd name="connsiteY89" fmla="*/ 8256 h 10127"/>
                    <a:gd name="connsiteX90" fmla="*/ 4889 w 10000"/>
                    <a:gd name="connsiteY90" fmla="*/ 8452 h 10127"/>
                    <a:gd name="connsiteX91" fmla="*/ 5278 w 10000"/>
                    <a:gd name="connsiteY91" fmla="*/ 8673 h 10127"/>
                    <a:gd name="connsiteX92" fmla="*/ 5444 w 10000"/>
                    <a:gd name="connsiteY92" fmla="*/ 8731 h 10127"/>
                    <a:gd name="connsiteX93" fmla="*/ 5444 w 10000"/>
                    <a:gd name="connsiteY93" fmla="*/ 8731 h 10127"/>
                    <a:gd name="connsiteX94" fmla="*/ 5722 w 10000"/>
                    <a:gd name="connsiteY94" fmla="*/ 8886 h 10127"/>
                    <a:gd name="connsiteX95" fmla="*/ 5833 w 10000"/>
                    <a:gd name="connsiteY95" fmla="*/ 8957 h 10127"/>
                    <a:gd name="connsiteX96" fmla="*/ 5833 w 10000"/>
                    <a:gd name="connsiteY96" fmla="*/ 8957 h 10127"/>
                    <a:gd name="connsiteX97" fmla="*/ 5833 w 10000"/>
                    <a:gd name="connsiteY97" fmla="*/ 8886 h 10127"/>
                    <a:gd name="connsiteX98" fmla="*/ 5889 w 10000"/>
                    <a:gd name="connsiteY98" fmla="*/ 8808 h 10127"/>
                    <a:gd name="connsiteX99" fmla="*/ 6000 w 10000"/>
                    <a:gd name="connsiteY99" fmla="*/ 8731 h 10127"/>
                    <a:gd name="connsiteX100" fmla="*/ 6167 w 10000"/>
                    <a:gd name="connsiteY100" fmla="*/ 8673 h 10127"/>
                    <a:gd name="connsiteX101" fmla="*/ 6444 w 10000"/>
                    <a:gd name="connsiteY101" fmla="*/ 8673 h 10127"/>
                    <a:gd name="connsiteX102" fmla="*/ 6833 w 10000"/>
                    <a:gd name="connsiteY102" fmla="*/ 8731 h 10127"/>
                    <a:gd name="connsiteX103" fmla="*/ 7278 w 10000"/>
                    <a:gd name="connsiteY103" fmla="*/ 8957 h 10127"/>
                    <a:gd name="connsiteX104" fmla="*/ 7278 w 10000"/>
                    <a:gd name="connsiteY104" fmla="*/ 8957 h 10127"/>
                    <a:gd name="connsiteX105" fmla="*/ 8722 w 10000"/>
                    <a:gd name="connsiteY105" fmla="*/ 9563 h 10127"/>
                    <a:gd name="connsiteX106" fmla="*/ 10000 w 10000"/>
                    <a:gd name="connsiteY106" fmla="*/ 10127 h 10127"/>
                    <a:gd name="connsiteX107" fmla="*/ 10000 w 10000"/>
                    <a:gd name="connsiteY107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056 w 10000"/>
                    <a:gd name="connsiteY33" fmla="*/ 1943 h 10127"/>
                    <a:gd name="connsiteX34" fmla="*/ 6056 w 10000"/>
                    <a:gd name="connsiteY34" fmla="*/ 1943 h 10127"/>
                    <a:gd name="connsiteX35" fmla="*/ 6056 w 10000"/>
                    <a:gd name="connsiteY35" fmla="*/ 1652 h 10127"/>
                    <a:gd name="connsiteX36" fmla="*/ 5944 w 10000"/>
                    <a:gd name="connsiteY36" fmla="*/ 1308 h 10127"/>
                    <a:gd name="connsiteX37" fmla="*/ 5889 w 10000"/>
                    <a:gd name="connsiteY37" fmla="*/ 1230 h 10127"/>
                    <a:gd name="connsiteX38" fmla="*/ 5778 w 10000"/>
                    <a:gd name="connsiteY38" fmla="*/ 1167 h 10127"/>
                    <a:gd name="connsiteX39" fmla="*/ 5667 w 10000"/>
                    <a:gd name="connsiteY39" fmla="*/ 1167 h 10127"/>
                    <a:gd name="connsiteX40" fmla="*/ 5500 w 10000"/>
                    <a:gd name="connsiteY40" fmla="*/ 1230 h 10127"/>
                    <a:gd name="connsiteX41" fmla="*/ 5500 w 10000"/>
                    <a:gd name="connsiteY41" fmla="*/ 1230 h 10127"/>
                    <a:gd name="connsiteX42" fmla="*/ 4889 w 10000"/>
                    <a:gd name="connsiteY42" fmla="*/ 1726 h 10127"/>
                    <a:gd name="connsiteX43" fmla="*/ 4611 w 10000"/>
                    <a:gd name="connsiteY43" fmla="*/ 1866 h 10127"/>
                    <a:gd name="connsiteX44" fmla="*/ 4556 w 10000"/>
                    <a:gd name="connsiteY44" fmla="*/ 1943 h 10127"/>
                    <a:gd name="connsiteX45" fmla="*/ 4500 w 10000"/>
                    <a:gd name="connsiteY45" fmla="*/ 1866 h 10127"/>
                    <a:gd name="connsiteX46" fmla="*/ 4500 w 10000"/>
                    <a:gd name="connsiteY46" fmla="*/ 1866 h 10127"/>
                    <a:gd name="connsiteX47" fmla="*/ 4111 w 10000"/>
                    <a:gd name="connsiteY47" fmla="*/ 822 h 10127"/>
                    <a:gd name="connsiteX48" fmla="*/ 4111 w 10000"/>
                    <a:gd name="connsiteY48" fmla="*/ 404 h 10127"/>
                    <a:gd name="connsiteX49" fmla="*/ 4111 w 10000"/>
                    <a:gd name="connsiteY49" fmla="*/ 404 h 10127"/>
                    <a:gd name="connsiteX50" fmla="*/ 4195 w 10000"/>
                    <a:gd name="connsiteY50" fmla="*/ 119 h 10127"/>
                    <a:gd name="connsiteX51" fmla="*/ 4213 w 10000"/>
                    <a:gd name="connsiteY51" fmla="*/ 0 h 10127"/>
                    <a:gd name="connsiteX52" fmla="*/ 4000 w 10000"/>
                    <a:gd name="connsiteY52" fmla="*/ 127 h 10127"/>
                    <a:gd name="connsiteX53" fmla="*/ 3722 w 10000"/>
                    <a:gd name="connsiteY53" fmla="*/ 200 h 10127"/>
                    <a:gd name="connsiteX54" fmla="*/ 3611 w 10000"/>
                    <a:gd name="connsiteY54" fmla="*/ 273 h 10127"/>
                    <a:gd name="connsiteX55" fmla="*/ 3556 w 10000"/>
                    <a:gd name="connsiteY55" fmla="*/ 344 h 10127"/>
                    <a:gd name="connsiteX56" fmla="*/ 3556 w 10000"/>
                    <a:gd name="connsiteY56" fmla="*/ 344 h 10127"/>
                    <a:gd name="connsiteX57" fmla="*/ 3444 w 10000"/>
                    <a:gd name="connsiteY57" fmla="*/ 618 h 10127"/>
                    <a:gd name="connsiteX58" fmla="*/ 3278 w 10000"/>
                    <a:gd name="connsiteY58" fmla="*/ 1039 h 10127"/>
                    <a:gd name="connsiteX59" fmla="*/ 3000 w 10000"/>
                    <a:gd name="connsiteY59" fmla="*/ 1516 h 10127"/>
                    <a:gd name="connsiteX60" fmla="*/ 2667 w 10000"/>
                    <a:gd name="connsiteY60" fmla="*/ 1866 h 10127"/>
                    <a:gd name="connsiteX61" fmla="*/ 2667 w 10000"/>
                    <a:gd name="connsiteY61" fmla="*/ 1866 h 10127"/>
                    <a:gd name="connsiteX62" fmla="*/ 2333 w 10000"/>
                    <a:gd name="connsiteY62" fmla="*/ 2152 h 10127"/>
                    <a:gd name="connsiteX63" fmla="*/ 1833 w 10000"/>
                    <a:gd name="connsiteY63" fmla="*/ 2431 h 10127"/>
                    <a:gd name="connsiteX64" fmla="*/ 1389 w 10000"/>
                    <a:gd name="connsiteY64" fmla="*/ 2562 h 10127"/>
                    <a:gd name="connsiteX65" fmla="*/ 889 w 10000"/>
                    <a:gd name="connsiteY65" fmla="*/ 2633 h 10127"/>
                    <a:gd name="connsiteX66" fmla="*/ 889 w 10000"/>
                    <a:gd name="connsiteY66" fmla="*/ 2633 h 10127"/>
                    <a:gd name="connsiteX67" fmla="*/ 500 w 10000"/>
                    <a:gd name="connsiteY67" fmla="*/ 2717 h 10127"/>
                    <a:gd name="connsiteX68" fmla="*/ 222 w 10000"/>
                    <a:gd name="connsiteY68" fmla="*/ 2768 h 10127"/>
                    <a:gd name="connsiteX69" fmla="*/ 0 w 10000"/>
                    <a:gd name="connsiteY69" fmla="*/ 2836 h 10127"/>
                    <a:gd name="connsiteX70" fmla="*/ 0 w 10000"/>
                    <a:gd name="connsiteY70" fmla="*/ 2836 h 10127"/>
                    <a:gd name="connsiteX71" fmla="*/ 278 w 10000"/>
                    <a:gd name="connsiteY71" fmla="*/ 3955 h 10127"/>
                    <a:gd name="connsiteX72" fmla="*/ 500 w 10000"/>
                    <a:gd name="connsiteY72" fmla="*/ 4773 h 10127"/>
                    <a:gd name="connsiteX73" fmla="*/ 722 w 10000"/>
                    <a:gd name="connsiteY73" fmla="*/ 5476 h 10127"/>
                    <a:gd name="connsiteX74" fmla="*/ 722 w 10000"/>
                    <a:gd name="connsiteY74" fmla="*/ 5476 h 10127"/>
                    <a:gd name="connsiteX75" fmla="*/ 889 w 10000"/>
                    <a:gd name="connsiteY75" fmla="*/ 5891 h 10127"/>
                    <a:gd name="connsiteX76" fmla="*/ 944 w 10000"/>
                    <a:gd name="connsiteY76" fmla="*/ 6248 h 10127"/>
                    <a:gd name="connsiteX77" fmla="*/ 1111 w 10000"/>
                    <a:gd name="connsiteY77" fmla="*/ 6598 h 10127"/>
                    <a:gd name="connsiteX78" fmla="*/ 1333 w 10000"/>
                    <a:gd name="connsiteY78" fmla="*/ 7136 h 10127"/>
                    <a:gd name="connsiteX79" fmla="*/ 1333 w 10000"/>
                    <a:gd name="connsiteY79" fmla="*/ 7136 h 10127"/>
                    <a:gd name="connsiteX80" fmla="*/ 1444 w 10000"/>
                    <a:gd name="connsiteY80" fmla="*/ 7417 h 10127"/>
                    <a:gd name="connsiteX81" fmla="*/ 1500 w 10000"/>
                    <a:gd name="connsiteY81" fmla="*/ 7626 h 10127"/>
                    <a:gd name="connsiteX82" fmla="*/ 1500 w 10000"/>
                    <a:gd name="connsiteY82" fmla="*/ 7823 h 10127"/>
                    <a:gd name="connsiteX83" fmla="*/ 1556 w 10000"/>
                    <a:gd name="connsiteY83" fmla="*/ 7911 h 10127"/>
                    <a:gd name="connsiteX84" fmla="*/ 1722 w 10000"/>
                    <a:gd name="connsiteY84" fmla="*/ 7973 h 10127"/>
                    <a:gd name="connsiteX85" fmla="*/ 1944 w 10000"/>
                    <a:gd name="connsiteY85" fmla="*/ 8038 h 10127"/>
                    <a:gd name="connsiteX86" fmla="*/ 2944 w 10000"/>
                    <a:gd name="connsiteY86" fmla="*/ 8115 h 10127"/>
                    <a:gd name="connsiteX87" fmla="*/ 2944 w 10000"/>
                    <a:gd name="connsiteY87" fmla="*/ 8115 h 10127"/>
                    <a:gd name="connsiteX88" fmla="*/ 4167 w 10000"/>
                    <a:gd name="connsiteY88" fmla="*/ 8256 h 10127"/>
                    <a:gd name="connsiteX89" fmla="*/ 4889 w 10000"/>
                    <a:gd name="connsiteY89" fmla="*/ 8452 h 10127"/>
                    <a:gd name="connsiteX90" fmla="*/ 5278 w 10000"/>
                    <a:gd name="connsiteY90" fmla="*/ 8673 h 10127"/>
                    <a:gd name="connsiteX91" fmla="*/ 5444 w 10000"/>
                    <a:gd name="connsiteY91" fmla="*/ 8731 h 10127"/>
                    <a:gd name="connsiteX92" fmla="*/ 5444 w 10000"/>
                    <a:gd name="connsiteY92" fmla="*/ 8731 h 10127"/>
                    <a:gd name="connsiteX93" fmla="*/ 5722 w 10000"/>
                    <a:gd name="connsiteY93" fmla="*/ 8886 h 10127"/>
                    <a:gd name="connsiteX94" fmla="*/ 5833 w 10000"/>
                    <a:gd name="connsiteY94" fmla="*/ 8957 h 10127"/>
                    <a:gd name="connsiteX95" fmla="*/ 5833 w 10000"/>
                    <a:gd name="connsiteY95" fmla="*/ 8957 h 10127"/>
                    <a:gd name="connsiteX96" fmla="*/ 5833 w 10000"/>
                    <a:gd name="connsiteY96" fmla="*/ 8886 h 10127"/>
                    <a:gd name="connsiteX97" fmla="*/ 5889 w 10000"/>
                    <a:gd name="connsiteY97" fmla="*/ 8808 h 10127"/>
                    <a:gd name="connsiteX98" fmla="*/ 6000 w 10000"/>
                    <a:gd name="connsiteY98" fmla="*/ 8731 h 10127"/>
                    <a:gd name="connsiteX99" fmla="*/ 6167 w 10000"/>
                    <a:gd name="connsiteY99" fmla="*/ 8673 h 10127"/>
                    <a:gd name="connsiteX100" fmla="*/ 6444 w 10000"/>
                    <a:gd name="connsiteY100" fmla="*/ 8673 h 10127"/>
                    <a:gd name="connsiteX101" fmla="*/ 6833 w 10000"/>
                    <a:gd name="connsiteY101" fmla="*/ 8731 h 10127"/>
                    <a:gd name="connsiteX102" fmla="*/ 7278 w 10000"/>
                    <a:gd name="connsiteY102" fmla="*/ 8957 h 10127"/>
                    <a:gd name="connsiteX103" fmla="*/ 7278 w 10000"/>
                    <a:gd name="connsiteY103" fmla="*/ 8957 h 10127"/>
                    <a:gd name="connsiteX104" fmla="*/ 8722 w 10000"/>
                    <a:gd name="connsiteY104" fmla="*/ 9563 h 10127"/>
                    <a:gd name="connsiteX105" fmla="*/ 10000 w 10000"/>
                    <a:gd name="connsiteY105" fmla="*/ 10127 h 10127"/>
                    <a:gd name="connsiteX106" fmla="*/ 10000 w 10000"/>
                    <a:gd name="connsiteY106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056 w 10000"/>
                    <a:gd name="connsiteY33" fmla="*/ 1943 h 10127"/>
                    <a:gd name="connsiteX34" fmla="*/ 6056 w 10000"/>
                    <a:gd name="connsiteY34" fmla="*/ 1652 h 10127"/>
                    <a:gd name="connsiteX35" fmla="*/ 5944 w 10000"/>
                    <a:gd name="connsiteY35" fmla="*/ 1308 h 10127"/>
                    <a:gd name="connsiteX36" fmla="*/ 5889 w 10000"/>
                    <a:gd name="connsiteY36" fmla="*/ 1230 h 10127"/>
                    <a:gd name="connsiteX37" fmla="*/ 5778 w 10000"/>
                    <a:gd name="connsiteY37" fmla="*/ 1167 h 10127"/>
                    <a:gd name="connsiteX38" fmla="*/ 5667 w 10000"/>
                    <a:gd name="connsiteY38" fmla="*/ 1167 h 10127"/>
                    <a:gd name="connsiteX39" fmla="*/ 5500 w 10000"/>
                    <a:gd name="connsiteY39" fmla="*/ 1230 h 10127"/>
                    <a:gd name="connsiteX40" fmla="*/ 5500 w 10000"/>
                    <a:gd name="connsiteY40" fmla="*/ 1230 h 10127"/>
                    <a:gd name="connsiteX41" fmla="*/ 4889 w 10000"/>
                    <a:gd name="connsiteY41" fmla="*/ 1726 h 10127"/>
                    <a:gd name="connsiteX42" fmla="*/ 4611 w 10000"/>
                    <a:gd name="connsiteY42" fmla="*/ 1866 h 10127"/>
                    <a:gd name="connsiteX43" fmla="*/ 4556 w 10000"/>
                    <a:gd name="connsiteY43" fmla="*/ 1943 h 10127"/>
                    <a:gd name="connsiteX44" fmla="*/ 4500 w 10000"/>
                    <a:gd name="connsiteY44" fmla="*/ 1866 h 10127"/>
                    <a:gd name="connsiteX45" fmla="*/ 4500 w 10000"/>
                    <a:gd name="connsiteY45" fmla="*/ 1866 h 10127"/>
                    <a:gd name="connsiteX46" fmla="*/ 4111 w 10000"/>
                    <a:gd name="connsiteY46" fmla="*/ 822 h 10127"/>
                    <a:gd name="connsiteX47" fmla="*/ 4111 w 10000"/>
                    <a:gd name="connsiteY47" fmla="*/ 404 h 10127"/>
                    <a:gd name="connsiteX48" fmla="*/ 4111 w 10000"/>
                    <a:gd name="connsiteY48" fmla="*/ 404 h 10127"/>
                    <a:gd name="connsiteX49" fmla="*/ 4195 w 10000"/>
                    <a:gd name="connsiteY49" fmla="*/ 119 h 10127"/>
                    <a:gd name="connsiteX50" fmla="*/ 4213 w 10000"/>
                    <a:gd name="connsiteY50" fmla="*/ 0 h 10127"/>
                    <a:gd name="connsiteX51" fmla="*/ 4000 w 10000"/>
                    <a:gd name="connsiteY51" fmla="*/ 127 h 10127"/>
                    <a:gd name="connsiteX52" fmla="*/ 3722 w 10000"/>
                    <a:gd name="connsiteY52" fmla="*/ 200 h 10127"/>
                    <a:gd name="connsiteX53" fmla="*/ 3611 w 10000"/>
                    <a:gd name="connsiteY53" fmla="*/ 273 h 10127"/>
                    <a:gd name="connsiteX54" fmla="*/ 3556 w 10000"/>
                    <a:gd name="connsiteY54" fmla="*/ 344 h 10127"/>
                    <a:gd name="connsiteX55" fmla="*/ 3556 w 10000"/>
                    <a:gd name="connsiteY55" fmla="*/ 344 h 10127"/>
                    <a:gd name="connsiteX56" fmla="*/ 3444 w 10000"/>
                    <a:gd name="connsiteY56" fmla="*/ 618 h 10127"/>
                    <a:gd name="connsiteX57" fmla="*/ 3278 w 10000"/>
                    <a:gd name="connsiteY57" fmla="*/ 1039 h 10127"/>
                    <a:gd name="connsiteX58" fmla="*/ 3000 w 10000"/>
                    <a:gd name="connsiteY58" fmla="*/ 1516 h 10127"/>
                    <a:gd name="connsiteX59" fmla="*/ 2667 w 10000"/>
                    <a:gd name="connsiteY59" fmla="*/ 1866 h 10127"/>
                    <a:gd name="connsiteX60" fmla="*/ 2667 w 10000"/>
                    <a:gd name="connsiteY60" fmla="*/ 1866 h 10127"/>
                    <a:gd name="connsiteX61" fmla="*/ 2333 w 10000"/>
                    <a:gd name="connsiteY61" fmla="*/ 2152 h 10127"/>
                    <a:gd name="connsiteX62" fmla="*/ 1833 w 10000"/>
                    <a:gd name="connsiteY62" fmla="*/ 2431 h 10127"/>
                    <a:gd name="connsiteX63" fmla="*/ 1389 w 10000"/>
                    <a:gd name="connsiteY63" fmla="*/ 2562 h 10127"/>
                    <a:gd name="connsiteX64" fmla="*/ 889 w 10000"/>
                    <a:gd name="connsiteY64" fmla="*/ 2633 h 10127"/>
                    <a:gd name="connsiteX65" fmla="*/ 889 w 10000"/>
                    <a:gd name="connsiteY65" fmla="*/ 2633 h 10127"/>
                    <a:gd name="connsiteX66" fmla="*/ 500 w 10000"/>
                    <a:gd name="connsiteY66" fmla="*/ 2717 h 10127"/>
                    <a:gd name="connsiteX67" fmla="*/ 222 w 10000"/>
                    <a:gd name="connsiteY67" fmla="*/ 2768 h 10127"/>
                    <a:gd name="connsiteX68" fmla="*/ 0 w 10000"/>
                    <a:gd name="connsiteY68" fmla="*/ 2836 h 10127"/>
                    <a:gd name="connsiteX69" fmla="*/ 0 w 10000"/>
                    <a:gd name="connsiteY69" fmla="*/ 2836 h 10127"/>
                    <a:gd name="connsiteX70" fmla="*/ 278 w 10000"/>
                    <a:gd name="connsiteY70" fmla="*/ 3955 h 10127"/>
                    <a:gd name="connsiteX71" fmla="*/ 500 w 10000"/>
                    <a:gd name="connsiteY71" fmla="*/ 4773 h 10127"/>
                    <a:gd name="connsiteX72" fmla="*/ 722 w 10000"/>
                    <a:gd name="connsiteY72" fmla="*/ 5476 h 10127"/>
                    <a:gd name="connsiteX73" fmla="*/ 722 w 10000"/>
                    <a:gd name="connsiteY73" fmla="*/ 5476 h 10127"/>
                    <a:gd name="connsiteX74" fmla="*/ 889 w 10000"/>
                    <a:gd name="connsiteY74" fmla="*/ 5891 h 10127"/>
                    <a:gd name="connsiteX75" fmla="*/ 944 w 10000"/>
                    <a:gd name="connsiteY75" fmla="*/ 6248 h 10127"/>
                    <a:gd name="connsiteX76" fmla="*/ 1111 w 10000"/>
                    <a:gd name="connsiteY76" fmla="*/ 6598 h 10127"/>
                    <a:gd name="connsiteX77" fmla="*/ 1333 w 10000"/>
                    <a:gd name="connsiteY77" fmla="*/ 7136 h 10127"/>
                    <a:gd name="connsiteX78" fmla="*/ 1333 w 10000"/>
                    <a:gd name="connsiteY78" fmla="*/ 7136 h 10127"/>
                    <a:gd name="connsiteX79" fmla="*/ 1444 w 10000"/>
                    <a:gd name="connsiteY79" fmla="*/ 7417 h 10127"/>
                    <a:gd name="connsiteX80" fmla="*/ 1500 w 10000"/>
                    <a:gd name="connsiteY80" fmla="*/ 7626 h 10127"/>
                    <a:gd name="connsiteX81" fmla="*/ 1500 w 10000"/>
                    <a:gd name="connsiteY81" fmla="*/ 7823 h 10127"/>
                    <a:gd name="connsiteX82" fmla="*/ 1556 w 10000"/>
                    <a:gd name="connsiteY82" fmla="*/ 7911 h 10127"/>
                    <a:gd name="connsiteX83" fmla="*/ 1722 w 10000"/>
                    <a:gd name="connsiteY83" fmla="*/ 7973 h 10127"/>
                    <a:gd name="connsiteX84" fmla="*/ 1944 w 10000"/>
                    <a:gd name="connsiteY84" fmla="*/ 8038 h 10127"/>
                    <a:gd name="connsiteX85" fmla="*/ 2944 w 10000"/>
                    <a:gd name="connsiteY85" fmla="*/ 8115 h 10127"/>
                    <a:gd name="connsiteX86" fmla="*/ 2944 w 10000"/>
                    <a:gd name="connsiteY86" fmla="*/ 8115 h 10127"/>
                    <a:gd name="connsiteX87" fmla="*/ 4167 w 10000"/>
                    <a:gd name="connsiteY87" fmla="*/ 8256 h 10127"/>
                    <a:gd name="connsiteX88" fmla="*/ 4889 w 10000"/>
                    <a:gd name="connsiteY88" fmla="*/ 8452 h 10127"/>
                    <a:gd name="connsiteX89" fmla="*/ 5278 w 10000"/>
                    <a:gd name="connsiteY89" fmla="*/ 8673 h 10127"/>
                    <a:gd name="connsiteX90" fmla="*/ 5444 w 10000"/>
                    <a:gd name="connsiteY90" fmla="*/ 8731 h 10127"/>
                    <a:gd name="connsiteX91" fmla="*/ 5444 w 10000"/>
                    <a:gd name="connsiteY91" fmla="*/ 8731 h 10127"/>
                    <a:gd name="connsiteX92" fmla="*/ 5722 w 10000"/>
                    <a:gd name="connsiteY92" fmla="*/ 8886 h 10127"/>
                    <a:gd name="connsiteX93" fmla="*/ 5833 w 10000"/>
                    <a:gd name="connsiteY93" fmla="*/ 8957 h 10127"/>
                    <a:gd name="connsiteX94" fmla="*/ 5833 w 10000"/>
                    <a:gd name="connsiteY94" fmla="*/ 8957 h 10127"/>
                    <a:gd name="connsiteX95" fmla="*/ 5833 w 10000"/>
                    <a:gd name="connsiteY95" fmla="*/ 8886 h 10127"/>
                    <a:gd name="connsiteX96" fmla="*/ 5889 w 10000"/>
                    <a:gd name="connsiteY96" fmla="*/ 8808 h 10127"/>
                    <a:gd name="connsiteX97" fmla="*/ 6000 w 10000"/>
                    <a:gd name="connsiteY97" fmla="*/ 8731 h 10127"/>
                    <a:gd name="connsiteX98" fmla="*/ 6167 w 10000"/>
                    <a:gd name="connsiteY98" fmla="*/ 8673 h 10127"/>
                    <a:gd name="connsiteX99" fmla="*/ 6444 w 10000"/>
                    <a:gd name="connsiteY99" fmla="*/ 8673 h 10127"/>
                    <a:gd name="connsiteX100" fmla="*/ 6833 w 10000"/>
                    <a:gd name="connsiteY100" fmla="*/ 8731 h 10127"/>
                    <a:gd name="connsiteX101" fmla="*/ 7278 w 10000"/>
                    <a:gd name="connsiteY101" fmla="*/ 8957 h 10127"/>
                    <a:gd name="connsiteX102" fmla="*/ 7278 w 10000"/>
                    <a:gd name="connsiteY102" fmla="*/ 8957 h 10127"/>
                    <a:gd name="connsiteX103" fmla="*/ 8722 w 10000"/>
                    <a:gd name="connsiteY103" fmla="*/ 9563 h 10127"/>
                    <a:gd name="connsiteX104" fmla="*/ 10000 w 10000"/>
                    <a:gd name="connsiteY104" fmla="*/ 10127 h 10127"/>
                    <a:gd name="connsiteX105" fmla="*/ 10000 w 10000"/>
                    <a:gd name="connsiteY105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6056 w 10000"/>
                    <a:gd name="connsiteY33" fmla="*/ 1652 h 10127"/>
                    <a:gd name="connsiteX34" fmla="*/ 5944 w 10000"/>
                    <a:gd name="connsiteY34" fmla="*/ 1308 h 10127"/>
                    <a:gd name="connsiteX35" fmla="*/ 5889 w 10000"/>
                    <a:gd name="connsiteY35" fmla="*/ 1230 h 10127"/>
                    <a:gd name="connsiteX36" fmla="*/ 5778 w 10000"/>
                    <a:gd name="connsiteY36" fmla="*/ 1167 h 10127"/>
                    <a:gd name="connsiteX37" fmla="*/ 5667 w 10000"/>
                    <a:gd name="connsiteY37" fmla="*/ 1167 h 10127"/>
                    <a:gd name="connsiteX38" fmla="*/ 5500 w 10000"/>
                    <a:gd name="connsiteY38" fmla="*/ 1230 h 10127"/>
                    <a:gd name="connsiteX39" fmla="*/ 5500 w 10000"/>
                    <a:gd name="connsiteY39" fmla="*/ 1230 h 10127"/>
                    <a:gd name="connsiteX40" fmla="*/ 4889 w 10000"/>
                    <a:gd name="connsiteY40" fmla="*/ 1726 h 10127"/>
                    <a:gd name="connsiteX41" fmla="*/ 4611 w 10000"/>
                    <a:gd name="connsiteY41" fmla="*/ 1866 h 10127"/>
                    <a:gd name="connsiteX42" fmla="*/ 4556 w 10000"/>
                    <a:gd name="connsiteY42" fmla="*/ 1943 h 10127"/>
                    <a:gd name="connsiteX43" fmla="*/ 4500 w 10000"/>
                    <a:gd name="connsiteY43" fmla="*/ 1866 h 10127"/>
                    <a:gd name="connsiteX44" fmla="*/ 4500 w 10000"/>
                    <a:gd name="connsiteY44" fmla="*/ 1866 h 10127"/>
                    <a:gd name="connsiteX45" fmla="*/ 4111 w 10000"/>
                    <a:gd name="connsiteY45" fmla="*/ 822 h 10127"/>
                    <a:gd name="connsiteX46" fmla="*/ 4111 w 10000"/>
                    <a:gd name="connsiteY46" fmla="*/ 404 h 10127"/>
                    <a:gd name="connsiteX47" fmla="*/ 4111 w 10000"/>
                    <a:gd name="connsiteY47" fmla="*/ 404 h 10127"/>
                    <a:gd name="connsiteX48" fmla="*/ 4195 w 10000"/>
                    <a:gd name="connsiteY48" fmla="*/ 119 h 10127"/>
                    <a:gd name="connsiteX49" fmla="*/ 4213 w 10000"/>
                    <a:gd name="connsiteY49" fmla="*/ 0 h 10127"/>
                    <a:gd name="connsiteX50" fmla="*/ 4000 w 10000"/>
                    <a:gd name="connsiteY50" fmla="*/ 127 h 10127"/>
                    <a:gd name="connsiteX51" fmla="*/ 3722 w 10000"/>
                    <a:gd name="connsiteY51" fmla="*/ 200 h 10127"/>
                    <a:gd name="connsiteX52" fmla="*/ 3611 w 10000"/>
                    <a:gd name="connsiteY52" fmla="*/ 273 h 10127"/>
                    <a:gd name="connsiteX53" fmla="*/ 3556 w 10000"/>
                    <a:gd name="connsiteY53" fmla="*/ 344 h 10127"/>
                    <a:gd name="connsiteX54" fmla="*/ 3556 w 10000"/>
                    <a:gd name="connsiteY54" fmla="*/ 344 h 10127"/>
                    <a:gd name="connsiteX55" fmla="*/ 3444 w 10000"/>
                    <a:gd name="connsiteY55" fmla="*/ 618 h 10127"/>
                    <a:gd name="connsiteX56" fmla="*/ 3278 w 10000"/>
                    <a:gd name="connsiteY56" fmla="*/ 1039 h 10127"/>
                    <a:gd name="connsiteX57" fmla="*/ 3000 w 10000"/>
                    <a:gd name="connsiteY57" fmla="*/ 1516 h 10127"/>
                    <a:gd name="connsiteX58" fmla="*/ 2667 w 10000"/>
                    <a:gd name="connsiteY58" fmla="*/ 1866 h 10127"/>
                    <a:gd name="connsiteX59" fmla="*/ 2667 w 10000"/>
                    <a:gd name="connsiteY59" fmla="*/ 1866 h 10127"/>
                    <a:gd name="connsiteX60" fmla="*/ 2333 w 10000"/>
                    <a:gd name="connsiteY60" fmla="*/ 2152 h 10127"/>
                    <a:gd name="connsiteX61" fmla="*/ 1833 w 10000"/>
                    <a:gd name="connsiteY61" fmla="*/ 2431 h 10127"/>
                    <a:gd name="connsiteX62" fmla="*/ 1389 w 10000"/>
                    <a:gd name="connsiteY62" fmla="*/ 2562 h 10127"/>
                    <a:gd name="connsiteX63" fmla="*/ 889 w 10000"/>
                    <a:gd name="connsiteY63" fmla="*/ 2633 h 10127"/>
                    <a:gd name="connsiteX64" fmla="*/ 889 w 10000"/>
                    <a:gd name="connsiteY64" fmla="*/ 2633 h 10127"/>
                    <a:gd name="connsiteX65" fmla="*/ 500 w 10000"/>
                    <a:gd name="connsiteY65" fmla="*/ 2717 h 10127"/>
                    <a:gd name="connsiteX66" fmla="*/ 222 w 10000"/>
                    <a:gd name="connsiteY66" fmla="*/ 2768 h 10127"/>
                    <a:gd name="connsiteX67" fmla="*/ 0 w 10000"/>
                    <a:gd name="connsiteY67" fmla="*/ 2836 h 10127"/>
                    <a:gd name="connsiteX68" fmla="*/ 0 w 10000"/>
                    <a:gd name="connsiteY68" fmla="*/ 2836 h 10127"/>
                    <a:gd name="connsiteX69" fmla="*/ 278 w 10000"/>
                    <a:gd name="connsiteY69" fmla="*/ 3955 h 10127"/>
                    <a:gd name="connsiteX70" fmla="*/ 500 w 10000"/>
                    <a:gd name="connsiteY70" fmla="*/ 4773 h 10127"/>
                    <a:gd name="connsiteX71" fmla="*/ 722 w 10000"/>
                    <a:gd name="connsiteY71" fmla="*/ 5476 h 10127"/>
                    <a:gd name="connsiteX72" fmla="*/ 722 w 10000"/>
                    <a:gd name="connsiteY72" fmla="*/ 5476 h 10127"/>
                    <a:gd name="connsiteX73" fmla="*/ 889 w 10000"/>
                    <a:gd name="connsiteY73" fmla="*/ 5891 h 10127"/>
                    <a:gd name="connsiteX74" fmla="*/ 944 w 10000"/>
                    <a:gd name="connsiteY74" fmla="*/ 6248 h 10127"/>
                    <a:gd name="connsiteX75" fmla="*/ 1111 w 10000"/>
                    <a:gd name="connsiteY75" fmla="*/ 6598 h 10127"/>
                    <a:gd name="connsiteX76" fmla="*/ 1333 w 10000"/>
                    <a:gd name="connsiteY76" fmla="*/ 7136 h 10127"/>
                    <a:gd name="connsiteX77" fmla="*/ 1333 w 10000"/>
                    <a:gd name="connsiteY77" fmla="*/ 7136 h 10127"/>
                    <a:gd name="connsiteX78" fmla="*/ 1444 w 10000"/>
                    <a:gd name="connsiteY78" fmla="*/ 7417 h 10127"/>
                    <a:gd name="connsiteX79" fmla="*/ 1500 w 10000"/>
                    <a:gd name="connsiteY79" fmla="*/ 7626 h 10127"/>
                    <a:gd name="connsiteX80" fmla="*/ 1500 w 10000"/>
                    <a:gd name="connsiteY80" fmla="*/ 7823 h 10127"/>
                    <a:gd name="connsiteX81" fmla="*/ 1556 w 10000"/>
                    <a:gd name="connsiteY81" fmla="*/ 7911 h 10127"/>
                    <a:gd name="connsiteX82" fmla="*/ 1722 w 10000"/>
                    <a:gd name="connsiteY82" fmla="*/ 7973 h 10127"/>
                    <a:gd name="connsiteX83" fmla="*/ 1944 w 10000"/>
                    <a:gd name="connsiteY83" fmla="*/ 8038 h 10127"/>
                    <a:gd name="connsiteX84" fmla="*/ 2944 w 10000"/>
                    <a:gd name="connsiteY84" fmla="*/ 8115 h 10127"/>
                    <a:gd name="connsiteX85" fmla="*/ 2944 w 10000"/>
                    <a:gd name="connsiteY85" fmla="*/ 8115 h 10127"/>
                    <a:gd name="connsiteX86" fmla="*/ 4167 w 10000"/>
                    <a:gd name="connsiteY86" fmla="*/ 8256 h 10127"/>
                    <a:gd name="connsiteX87" fmla="*/ 4889 w 10000"/>
                    <a:gd name="connsiteY87" fmla="*/ 8452 h 10127"/>
                    <a:gd name="connsiteX88" fmla="*/ 5278 w 10000"/>
                    <a:gd name="connsiteY88" fmla="*/ 8673 h 10127"/>
                    <a:gd name="connsiteX89" fmla="*/ 5444 w 10000"/>
                    <a:gd name="connsiteY89" fmla="*/ 8731 h 10127"/>
                    <a:gd name="connsiteX90" fmla="*/ 5444 w 10000"/>
                    <a:gd name="connsiteY90" fmla="*/ 8731 h 10127"/>
                    <a:gd name="connsiteX91" fmla="*/ 5722 w 10000"/>
                    <a:gd name="connsiteY91" fmla="*/ 8886 h 10127"/>
                    <a:gd name="connsiteX92" fmla="*/ 5833 w 10000"/>
                    <a:gd name="connsiteY92" fmla="*/ 8957 h 10127"/>
                    <a:gd name="connsiteX93" fmla="*/ 5833 w 10000"/>
                    <a:gd name="connsiteY93" fmla="*/ 8957 h 10127"/>
                    <a:gd name="connsiteX94" fmla="*/ 5833 w 10000"/>
                    <a:gd name="connsiteY94" fmla="*/ 8886 h 10127"/>
                    <a:gd name="connsiteX95" fmla="*/ 5889 w 10000"/>
                    <a:gd name="connsiteY95" fmla="*/ 8808 h 10127"/>
                    <a:gd name="connsiteX96" fmla="*/ 6000 w 10000"/>
                    <a:gd name="connsiteY96" fmla="*/ 8731 h 10127"/>
                    <a:gd name="connsiteX97" fmla="*/ 6167 w 10000"/>
                    <a:gd name="connsiteY97" fmla="*/ 8673 h 10127"/>
                    <a:gd name="connsiteX98" fmla="*/ 6444 w 10000"/>
                    <a:gd name="connsiteY98" fmla="*/ 8673 h 10127"/>
                    <a:gd name="connsiteX99" fmla="*/ 6833 w 10000"/>
                    <a:gd name="connsiteY99" fmla="*/ 8731 h 10127"/>
                    <a:gd name="connsiteX100" fmla="*/ 7278 w 10000"/>
                    <a:gd name="connsiteY100" fmla="*/ 8957 h 10127"/>
                    <a:gd name="connsiteX101" fmla="*/ 7278 w 10000"/>
                    <a:gd name="connsiteY101" fmla="*/ 8957 h 10127"/>
                    <a:gd name="connsiteX102" fmla="*/ 8722 w 10000"/>
                    <a:gd name="connsiteY102" fmla="*/ 9563 h 10127"/>
                    <a:gd name="connsiteX103" fmla="*/ 10000 w 10000"/>
                    <a:gd name="connsiteY103" fmla="*/ 10127 h 10127"/>
                    <a:gd name="connsiteX104" fmla="*/ 10000 w 10000"/>
                    <a:gd name="connsiteY104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944 w 10000"/>
                    <a:gd name="connsiteY33" fmla="*/ 1308 h 10127"/>
                    <a:gd name="connsiteX34" fmla="*/ 5889 w 10000"/>
                    <a:gd name="connsiteY34" fmla="*/ 1230 h 10127"/>
                    <a:gd name="connsiteX35" fmla="*/ 5778 w 10000"/>
                    <a:gd name="connsiteY35" fmla="*/ 1167 h 10127"/>
                    <a:gd name="connsiteX36" fmla="*/ 5667 w 10000"/>
                    <a:gd name="connsiteY36" fmla="*/ 1167 h 10127"/>
                    <a:gd name="connsiteX37" fmla="*/ 5500 w 10000"/>
                    <a:gd name="connsiteY37" fmla="*/ 1230 h 10127"/>
                    <a:gd name="connsiteX38" fmla="*/ 5500 w 10000"/>
                    <a:gd name="connsiteY38" fmla="*/ 1230 h 10127"/>
                    <a:gd name="connsiteX39" fmla="*/ 4889 w 10000"/>
                    <a:gd name="connsiteY39" fmla="*/ 1726 h 10127"/>
                    <a:gd name="connsiteX40" fmla="*/ 4611 w 10000"/>
                    <a:gd name="connsiteY40" fmla="*/ 1866 h 10127"/>
                    <a:gd name="connsiteX41" fmla="*/ 4556 w 10000"/>
                    <a:gd name="connsiteY41" fmla="*/ 1943 h 10127"/>
                    <a:gd name="connsiteX42" fmla="*/ 4500 w 10000"/>
                    <a:gd name="connsiteY42" fmla="*/ 1866 h 10127"/>
                    <a:gd name="connsiteX43" fmla="*/ 4500 w 10000"/>
                    <a:gd name="connsiteY43" fmla="*/ 1866 h 10127"/>
                    <a:gd name="connsiteX44" fmla="*/ 4111 w 10000"/>
                    <a:gd name="connsiteY44" fmla="*/ 822 h 10127"/>
                    <a:gd name="connsiteX45" fmla="*/ 4111 w 10000"/>
                    <a:gd name="connsiteY45" fmla="*/ 404 h 10127"/>
                    <a:gd name="connsiteX46" fmla="*/ 4111 w 10000"/>
                    <a:gd name="connsiteY46" fmla="*/ 404 h 10127"/>
                    <a:gd name="connsiteX47" fmla="*/ 4195 w 10000"/>
                    <a:gd name="connsiteY47" fmla="*/ 119 h 10127"/>
                    <a:gd name="connsiteX48" fmla="*/ 4213 w 10000"/>
                    <a:gd name="connsiteY48" fmla="*/ 0 h 10127"/>
                    <a:gd name="connsiteX49" fmla="*/ 4000 w 10000"/>
                    <a:gd name="connsiteY49" fmla="*/ 127 h 10127"/>
                    <a:gd name="connsiteX50" fmla="*/ 3722 w 10000"/>
                    <a:gd name="connsiteY50" fmla="*/ 200 h 10127"/>
                    <a:gd name="connsiteX51" fmla="*/ 3611 w 10000"/>
                    <a:gd name="connsiteY51" fmla="*/ 273 h 10127"/>
                    <a:gd name="connsiteX52" fmla="*/ 3556 w 10000"/>
                    <a:gd name="connsiteY52" fmla="*/ 344 h 10127"/>
                    <a:gd name="connsiteX53" fmla="*/ 3556 w 10000"/>
                    <a:gd name="connsiteY53" fmla="*/ 344 h 10127"/>
                    <a:gd name="connsiteX54" fmla="*/ 3444 w 10000"/>
                    <a:gd name="connsiteY54" fmla="*/ 618 h 10127"/>
                    <a:gd name="connsiteX55" fmla="*/ 3278 w 10000"/>
                    <a:gd name="connsiteY55" fmla="*/ 1039 h 10127"/>
                    <a:gd name="connsiteX56" fmla="*/ 3000 w 10000"/>
                    <a:gd name="connsiteY56" fmla="*/ 1516 h 10127"/>
                    <a:gd name="connsiteX57" fmla="*/ 2667 w 10000"/>
                    <a:gd name="connsiteY57" fmla="*/ 1866 h 10127"/>
                    <a:gd name="connsiteX58" fmla="*/ 2667 w 10000"/>
                    <a:gd name="connsiteY58" fmla="*/ 1866 h 10127"/>
                    <a:gd name="connsiteX59" fmla="*/ 2333 w 10000"/>
                    <a:gd name="connsiteY59" fmla="*/ 2152 h 10127"/>
                    <a:gd name="connsiteX60" fmla="*/ 1833 w 10000"/>
                    <a:gd name="connsiteY60" fmla="*/ 2431 h 10127"/>
                    <a:gd name="connsiteX61" fmla="*/ 1389 w 10000"/>
                    <a:gd name="connsiteY61" fmla="*/ 2562 h 10127"/>
                    <a:gd name="connsiteX62" fmla="*/ 889 w 10000"/>
                    <a:gd name="connsiteY62" fmla="*/ 2633 h 10127"/>
                    <a:gd name="connsiteX63" fmla="*/ 889 w 10000"/>
                    <a:gd name="connsiteY63" fmla="*/ 2633 h 10127"/>
                    <a:gd name="connsiteX64" fmla="*/ 500 w 10000"/>
                    <a:gd name="connsiteY64" fmla="*/ 2717 h 10127"/>
                    <a:gd name="connsiteX65" fmla="*/ 222 w 10000"/>
                    <a:gd name="connsiteY65" fmla="*/ 2768 h 10127"/>
                    <a:gd name="connsiteX66" fmla="*/ 0 w 10000"/>
                    <a:gd name="connsiteY66" fmla="*/ 2836 h 10127"/>
                    <a:gd name="connsiteX67" fmla="*/ 0 w 10000"/>
                    <a:gd name="connsiteY67" fmla="*/ 2836 h 10127"/>
                    <a:gd name="connsiteX68" fmla="*/ 278 w 10000"/>
                    <a:gd name="connsiteY68" fmla="*/ 3955 h 10127"/>
                    <a:gd name="connsiteX69" fmla="*/ 500 w 10000"/>
                    <a:gd name="connsiteY69" fmla="*/ 4773 h 10127"/>
                    <a:gd name="connsiteX70" fmla="*/ 722 w 10000"/>
                    <a:gd name="connsiteY70" fmla="*/ 5476 h 10127"/>
                    <a:gd name="connsiteX71" fmla="*/ 722 w 10000"/>
                    <a:gd name="connsiteY71" fmla="*/ 5476 h 10127"/>
                    <a:gd name="connsiteX72" fmla="*/ 889 w 10000"/>
                    <a:gd name="connsiteY72" fmla="*/ 5891 h 10127"/>
                    <a:gd name="connsiteX73" fmla="*/ 944 w 10000"/>
                    <a:gd name="connsiteY73" fmla="*/ 6248 h 10127"/>
                    <a:gd name="connsiteX74" fmla="*/ 1111 w 10000"/>
                    <a:gd name="connsiteY74" fmla="*/ 6598 h 10127"/>
                    <a:gd name="connsiteX75" fmla="*/ 1333 w 10000"/>
                    <a:gd name="connsiteY75" fmla="*/ 7136 h 10127"/>
                    <a:gd name="connsiteX76" fmla="*/ 1333 w 10000"/>
                    <a:gd name="connsiteY76" fmla="*/ 7136 h 10127"/>
                    <a:gd name="connsiteX77" fmla="*/ 1444 w 10000"/>
                    <a:gd name="connsiteY77" fmla="*/ 7417 h 10127"/>
                    <a:gd name="connsiteX78" fmla="*/ 1500 w 10000"/>
                    <a:gd name="connsiteY78" fmla="*/ 7626 h 10127"/>
                    <a:gd name="connsiteX79" fmla="*/ 1500 w 10000"/>
                    <a:gd name="connsiteY79" fmla="*/ 7823 h 10127"/>
                    <a:gd name="connsiteX80" fmla="*/ 1556 w 10000"/>
                    <a:gd name="connsiteY80" fmla="*/ 7911 h 10127"/>
                    <a:gd name="connsiteX81" fmla="*/ 1722 w 10000"/>
                    <a:gd name="connsiteY81" fmla="*/ 7973 h 10127"/>
                    <a:gd name="connsiteX82" fmla="*/ 1944 w 10000"/>
                    <a:gd name="connsiteY82" fmla="*/ 8038 h 10127"/>
                    <a:gd name="connsiteX83" fmla="*/ 2944 w 10000"/>
                    <a:gd name="connsiteY83" fmla="*/ 8115 h 10127"/>
                    <a:gd name="connsiteX84" fmla="*/ 2944 w 10000"/>
                    <a:gd name="connsiteY84" fmla="*/ 8115 h 10127"/>
                    <a:gd name="connsiteX85" fmla="*/ 4167 w 10000"/>
                    <a:gd name="connsiteY85" fmla="*/ 8256 h 10127"/>
                    <a:gd name="connsiteX86" fmla="*/ 4889 w 10000"/>
                    <a:gd name="connsiteY86" fmla="*/ 8452 h 10127"/>
                    <a:gd name="connsiteX87" fmla="*/ 5278 w 10000"/>
                    <a:gd name="connsiteY87" fmla="*/ 8673 h 10127"/>
                    <a:gd name="connsiteX88" fmla="*/ 5444 w 10000"/>
                    <a:gd name="connsiteY88" fmla="*/ 8731 h 10127"/>
                    <a:gd name="connsiteX89" fmla="*/ 5444 w 10000"/>
                    <a:gd name="connsiteY89" fmla="*/ 8731 h 10127"/>
                    <a:gd name="connsiteX90" fmla="*/ 5722 w 10000"/>
                    <a:gd name="connsiteY90" fmla="*/ 8886 h 10127"/>
                    <a:gd name="connsiteX91" fmla="*/ 5833 w 10000"/>
                    <a:gd name="connsiteY91" fmla="*/ 8957 h 10127"/>
                    <a:gd name="connsiteX92" fmla="*/ 5833 w 10000"/>
                    <a:gd name="connsiteY92" fmla="*/ 8957 h 10127"/>
                    <a:gd name="connsiteX93" fmla="*/ 5833 w 10000"/>
                    <a:gd name="connsiteY93" fmla="*/ 8886 h 10127"/>
                    <a:gd name="connsiteX94" fmla="*/ 5889 w 10000"/>
                    <a:gd name="connsiteY94" fmla="*/ 8808 h 10127"/>
                    <a:gd name="connsiteX95" fmla="*/ 6000 w 10000"/>
                    <a:gd name="connsiteY95" fmla="*/ 8731 h 10127"/>
                    <a:gd name="connsiteX96" fmla="*/ 6167 w 10000"/>
                    <a:gd name="connsiteY96" fmla="*/ 8673 h 10127"/>
                    <a:gd name="connsiteX97" fmla="*/ 6444 w 10000"/>
                    <a:gd name="connsiteY97" fmla="*/ 8673 h 10127"/>
                    <a:gd name="connsiteX98" fmla="*/ 6833 w 10000"/>
                    <a:gd name="connsiteY98" fmla="*/ 8731 h 10127"/>
                    <a:gd name="connsiteX99" fmla="*/ 7278 w 10000"/>
                    <a:gd name="connsiteY99" fmla="*/ 8957 h 10127"/>
                    <a:gd name="connsiteX100" fmla="*/ 7278 w 10000"/>
                    <a:gd name="connsiteY100" fmla="*/ 8957 h 10127"/>
                    <a:gd name="connsiteX101" fmla="*/ 8722 w 10000"/>
                    <a:gd name="connsiteY101" fmla="*/ 9563 h 10127"/>
                    <a:gd name="connsiteX102" fmla="*/ 10000 w 10000"/>
                    <a:gd name="connsiteY102" fmla="*/ 10127 h 10127"/>
                    <a:gd name="connsiteX103" fmla="*/ 10000 w 10000"/>
                    <a:gd name="connsiteY103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889 w 10000"/>
                    <a:gd name="connsiteY33" fmla="*/ 1230 h 10127"/>
                    <a:gd name="connsiteX34" fmla="*/ 5778 w 10000"/>
                    <a:gd name="connsiteY34" fmla="*/ 1167 h 10127"/>
                    <a:gd name="connsiteX35" fmla="*/ 5667 w 10000"/>
                    <a:gd name="connsiteY35" fmla="*/ 1167 h 10127"/>
                    <a:gd name="connsiteX36" fmla="*/ 5500 w 10000"/>
                    <a:gd name="connsiteY36" fmla="*/ 1230 h 10127"/>
                    <a:gd name="connsiteX37" fmla="*/ 5500 w 10000"/>
                    <a:gd name="connsiteY37" fmla="*/ 1230 h 10127"/>
                    <a:gd name="connsiteX38" fmla="*/ 4889 w 10000"/>
                    <a:gd name="connsiteY38" fmla="*/ 1726 h 10127"/>
                    <a:gd name="connsiteX39" fmla="*/ 4611 w 10000"/>
                    <a:gd name="connsiteY39" fmla="*/ 1866 h 10127"/>
                    <a:gd name="connsiteX40" fmla="*/ 4556 w 10000"/>
                    <a:gd name="connsiteY40" fmla="*/ 1943 h 10127"/>
                    <a:gd name="connsiteX41" fmla="*/ 4500 w 10000"/>
                    <a:gd name="connsiteY41" fmla="*/ 1866 h 10127"/>
                    <a:gd name="connsiteX42" fmla="*/ 4500 w 10000"/>
                    <a:gd name="connsiteY42" fmla="*/ 1866 h 10127"/>
                    <a:gd name="connsiteX43" fmla="*/ 4111 w 10000"/>
                    <a:gd name="connsiteY43" fmla="*/ 822 h 10127"/>
                    <a:gd name="connsiteX44" fmla="*/ 4111 w 10000"/>
                    <a:gd name="connsiteY44" fmla="*/ 404 h 10127"/>
                    <a:gd name="connsiteX45" fmla="*/ 4111 w 10000"/>
                    <a:gd name="connsiteY45" fmla="*/ 404 h 10127"/>
                    <a:gd name="connsiteX46" fmla="*/ 4195 w 10000"/>
                    <a:gd name="connsiteY46" fmla="*/ 119 h 10127"/>
                    <a:gd name="connsiteX47" fmla="*/ 4213 w 10000"/>
                    <a:gd name="connsiteY47" fmla="*/ 0 h 10127"/>
                    <a:gd name="connsiteX48" fmla="*/ 4000 w 10000"/>
                    <a:gd name="connsiteY48" fmla="*/ 127 h 10127"/>
                    <a:gd name="connsiteX49" fmla="*/ 3722 w 10000"/>
                    <a:gd name="connsiteY49" fmla="*/ 200 h 10127"/>
                    <a:gd name="connsiteX50" fmla="*/ 3611 w 10000"/>
                    <a:gd name="connsiteY50" fmla="*/ 273 h 10127"/>
                    <a:gd name="connsiteX51" fmla="*/ 3556 w 10000"/>
                    <a:gd name="connsiteY51" fmla="*/ 344 h 10127"/>
                    <a:gd name="connsiteX52" fmla="*/ 3556 w 10000"/>
                    <a:gd name="connsiteY52" fmla="*/ 344 h 10127"/>
                    <a:gd name="connsiteX53" fmla="*/ 3444 w 10000"/>
                    <a:gd name="connsiteY53" fmla="*/ 618 h 10127"/>
                    <a:gd name="connsiteX54" fmla="*/ 3278 w 10000"/>
                    <a:gd name="connsiteY54" fmla="*/ 1039 h 10127"/>
                    <a:gd name="connsiteX55" fmla="*/ 3000 w 10000"/>
                    <a:gd name="connsiteY55" fmla="*/ 1516 h 10127"/>
                    <a:gd name="connsiteX56" fmla="*/ 2667 w 10000"/>
                    <a:gd name="connsiteY56" fmla="*/ 1866 h 10127"/>
                    <a:gd name="connsiteX57" fmla="*/ 2667 w 10000"/>
                    <a:gd name="connsiteY57" fmla="*/ 1866 h 10127"/>
                    <a:gd name="connsiteX58" fmla="*/ 2333 w 10000"/>
                    <a:gd name="connsiteY58" fmla="*/ 2152 h 10127"/>
                    <a:gd name="connsiteX59" fmla="*/ 1833 w 10000"/>
                    <a:gd name="connsiteY59" fmla="*/ 2431 h 10127"/>
                    <a:gd name="connsiteX60" fmla="*/ 1389 w 10000"/>
                    <a:gd name="connsiteY60" fmla="*/ 2562 h 10127"/>
                    <a:gd name="connsiteX61" fmla="*/ 889 w 10000"/>
                    <a:gd name="connsiteY61" fmla="*/ 2633 h 10127"/>
                    <a:gd name="connsiteX62" fmla="*/ 889 w 10000"/>
                    <a:gd name="connsiteY62" fmla="*/ 2633 h 10127"/>
                    <a:gd name="connsiteX63" fmla="*/ 500 w 10000"/>
                    <a:gd name="connsiteY63" fmla="*/ 2717 h 10127"/>
                    <a:gd name="connsiteX64" fmla="*/ 222 w 10000"/>
                    <a:gd name="connsiteY64" fmla="*/ 2768 h 10127"/>
                    <a:gd name="connsiteX65" fmla="*/ 0 w 10000"/>
                    <a:gd name="connsiteY65" fmla="*/ 2836 h 10127"/>
                    <a:gd name="connsiteX66" fmla="*/ 0 w 10000"/>
                    <a:gd name="connsiteY66" fmla="*/ 2836 h 10127"/>
                    <a:gd name="connsiteX67" fmla="*/ 278 w 10000"/>
                    <a:gd name="connsiteY67" fmla="*/ 3955 h 10127"/>
                    <a:gd name="connsiteX68" fmla="*/ 500 w 10000"/>
                    <a:gd name="connsiteY68" fmla="*/ 4773 h 10127"/>
                    <a:gd name="connsiteX69" fmla="*/ 722 w 10000"/>
                    <a:gd name="connsiteY69" fmla="*/ 5476 h 10127"/>
                    <a:gd name="connsiteX70" fmla="*/ 722 w 10000"/>
                    <a:gd name="connsiteY70" fmla="*/ 5476 h 10127"/>
                    <a:gd name="connsiteX71" fmla="*/ 889 w 10000"/>
                    <a:gd name="connsiteY71" fmla="*/ 5891 h 10127"/>
                    <a:gd name="connsiteX72" fmla="*/ 944 w 10000"/>
                    <a:gd name="connsiteY72" fmla="*/ 6248 h 10127"/>
                    <a:gd name="connsiteX73" fmla="*/ 1111 w 10000"/>
                    <a:gd name="connsiteY73" fmla="*/ 6598 h 10127"/>
                    <a:gd name="connsiteX74" fmla="*/ 1333 w 10000"/>
                    <a:gd name="connsiteY74" fmla="*/ 7136 h 10127"/>
                    <a:gd name="connsiteX75" fmla="*/ 1333 w 10000"/>
                    <a:gd name="connsiteY75" fmla="*/ 7136 h 10127"/>
                    <a:gd name="connsiteX76" fmla="*/ 1444 w 10000"/>
                    <a:gd name="connsiteY76" fmla="*/ 7417 h 10127"/>
                    <a:gd name="connsiteX77" fmla="*/ 1500 w 10000"/>
                    <a:gd name="connsiteY77" fmla="*/ 7626 h 10127"/>
                    <a:gd name="connsiteX78" fmla="*/ 1500 w 10000"/>
                    <a:gd name="connsiteY78" fmla="*/ 7823 h 10127"/>
                    <a:gd name="connsiteX79" fmla="*/ 1556 w 10000"/>
                    <a:gd name="connsiteY79" fmla="*/ 7911 h 10127"/>
                    <a:gd name="connsiteX80" fmla="*/ 1722 w 10000"/>
                    <a:gd name="connsiteY80" fmla="*/ 7973 h 10127"/>
                    <a:gd name="connsiteX81" fmla="*/ 1944 w 10000"/>
                    <a:gd name="connsiteY81" fmla="*/ 8038 h 10127"/>
                    <a:gd name="connsiteX82" fmla="*/ 2944 w 10000"/>
                    <a:gd name="connsiteY82" fmla="*/ 8115 h 10127"/>
                    <a:gd name="connsiteX83" fmla="*/ 2944 w 10000"/>
                    <a:gd name="connsiteY83" fmla="*/ 8115 h 10127"/>
                    <a:gd name="connsiteX84" fmla="*/ 4167 w 10000"/>
                    <a:gd name="connsiteY84" fmla="*/ 8256 h 10127"/>
                    <a:gd name="connsiteX85" fmla="*/ 4889 w 10000"/>
                    <a:gd name="connsiteY85" fmla="*/ 8452 h 10127"/>
                    <a:gd name="connsiteX86" fmla="*/ 5278 w 10000"/>
                    <a:gd name="connsiteY86" fmla="*/ 8673 h 10127"/>
                    <a:gd name="connsiteX87" fmla="*/ 5444 w 10000"/>
                    <a:gd name="connsiteY87" fmla="*/ 8731 h 10127"/>
                    <a:gd name="connsiteX88" fmla="*/ 5444 w 10000"/>
                    <a:gd name="connsiteY88" fmla="*/ 8731 h 10127"/>
                    <a:gd name="connsiteX89" fmla="*/ 5722 w 10000"/>
                    <a:gd name="connsiteY89" fmla="*/ 8886 h 10127"/>
                    <a:gd name="connsiteX90" fmla="*/ 5833 w 10000"/>
                    <a:gd name="connsiteY90" fmla="*/ 8957 h 10127"/>
                    <a:gd name="connsiteX91" fmla="*/ 5833 w 10000"/>
                    <a:gd name="connsiteY91" fmla="*/ 8957 h 10127"/>
                    <a:gd name="connsiteX92" fmla="*/ 5833 w 10000"/>
                    <a:gd name="connsiteY92" fmla="*/ 8886 h 10127"/>
                    <a:gd name="connsiteX93" fmla="*/ 5889 w 10000"/>
                    <a:gd name="connsiteY93" fmla="*/ 8808 h 10127"/>
                    <a:gd name="connsiteX94" fmla="*/ 6000 w 10000"/>
                    <a:gd name="connsiteY94" fmla="*/ 8731 h 10127"/>
                    <a:gd name="connsiteX95" fmla="*/ 6167 w 10000"/>
                    <a:gd name="connsiteY95" fmla="*/ 8673 h 10127"/>
                    <a:gd name="connsiteX96" fmla="*/ 6444 w 10000"/>
                    <a:gd name="connsiteY96" fmla="*/ 8673 h 10127"/>
                    <a:gd name="connsiteX97" fmla="*/ 6833 w 10000"/>
                    <a:gd name="connsiteY97" fmla="*/ 8731 h 10127"/>
                    <a:gd name="connsiteX98" fmla="*/ 7278 w 10000"/>
                    <a:gd name="connsiteY98" fmla="*/ 8957 h 10127"/>
                    <a:gd name="connsiteX99" fmla="*/ 7278 w 10000"/>
                    <a:gd name="connsiteY99" fmla="*/ 8957 h 10127"/>
                    <a:gd name="connsiteX100" fmla="*/ 8722 w 10000"/>
                    <a:gd name="connsiteY100" fmla="*/ 9563 h 10127"/>
                    <a:gd name="connsiteX101" fmla="*/ 10000 w 10000"/>
                    <a:gd name="connsiteY101" fmla="*/ 10127 h 10127"/>
                    <a:gd name="connsiteX102" fmla="*/ 10000 w 10000"/>
                    <a:gd name="connsiteY102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778 w 10000"/>
                    <a:gd name="connsiteY33" fmla="*/ 1167 h 10127"/>
                    <a:gd name="connsiteX34" fmla="*/ 5667 w 10000"/>
                    <a:gd name="connsiteY34" fmla="*/ 1167 h 10127"/>
                    <a:gd name="connsiteX35" fmla="*/ 5500 w 10000"/>
                    <a:gd name="connsiteY35" fmla="*/ 1230 h 10127"/>
                    <a:gd name="connsiteX36" fmla="*/ 5500 w 10000"/>
                    <a:gd name="connsiteY36" fmla="*/ 1230 h 10127"/>
                    <a:gd name="connsiteX37" fmla="*/ 4889 w 10000"/>
                    <a:gd name="connsiteY37" fmla="*/ 1726 h 10127"/>
                    <a:gd name="connsiteX38" fmla="*/ 4611 w 10000"/>
                    <a:gd name="connsiteY38" fmla="*/ 1866 h 10127"/>
                    <a:gd name="connsiteX39" fmla="*/ 4556 w 10000"/>
                    <a:gd name="connsiteY39" fmla="*/ 1943 h 10127"/>
                    <a:gd name="connsiteX40" fmla="*/ 4500 w 10000"/>
                    <a:gd name="connsiteY40" fmla="*/ 1866 h 10127"/>
                    <a:gd name="connsiteX41" fmla="*/ 4500 w 10000"/>
                    <a:gd name="connsiteY41" fmla="*/ 1866 h 10127"/>
                    <a:gd name="connsiteX42" fmla="*/ 4111 w 10000"/>
                    <a:gd name="connsiteY42" fmla="*/ 822 h 10127"/>
                    <a:gd name="connsiteX43" fmla="*/ 4111 w 10000"/>
                    <a:gd name="connsiteY43" fmla="*/ 404 h 10127"/>
                    <a:gd name="connsiteX44" fmla="*/ 4111 w 10000"/>
                    <a:gd name="connsiteY44" fmla="*/ 404 h 10127"/>
                    <a:gd name="connsiteX45" fmla="*/ 4195 w 10000"/>
                    <a:gd name="connsiteY45" fmla="*/ 119 h 10127"/>
                    <a:gd name="connsiteX46" fmla="*/ 4213 w 10000"/>
                    <a:gd name="connsiteY46" fmla="*/ 0 h 10127"/>
                    <a:gd name="connsiteX47" fmla="*/ 4000 w 10000"/>
                    <a:gd name="connsiteY47" fmla="*/ 127 h 10127"/>
                    <a:gd name="connsiteX48" fmla="*/ 3722 w 10000"/>
                    <a:gd name="connsiteY48" fmla="*/ 200 h 10127"/>
                    <a:gd name="connsiteX49" fmla="*/ 3611 w 10000"/>
                    <a:gd name="connsiteY49" fmla="*/ 273 h 10127"/>
                    <a:gd name="connsiteX50" fmla="*/ 3556 w 10000"/>
                    <a:gd name="connsiteY50" fmla="*/ 344 h 10127"/>
                    <a:gd name="connsiteX51" fmla="*/ 3556 w 10000"/>
                    <a:gd name="connsiteY51" fmla="*/ 344 h 10127"/>
                    <a:gd name="connsiteX52" fmla="*/ 3444 w 10000"/>
                    <a:gd name="connsiteY52" fmla="*/ 618 h 10127"/>
                    <a:gd name="connsiteX53" fmla="*/ 3278 w 10000"/>
                    <a:gd name="connsiteY53" fmla="*/ 1039 h 10127"/>
                    <a:gd name="connsiteX54" fmla="*/ 3000 w 10000"/>
                    <a:gd name="connsiteY54" fmla="*/ 1516 h 10127"/>
                    <a:gd name="connsiteX55" fmla="*/ 2667 w 10000"/>
                    <a:gd name="connsiteY55" fmla="*/ 1866 h 10127"/>
                    <a:gd name="connsiteX56" fmla="*/ 2667 w 10000"/>
                    <a:gd name="connsiteY56" fmla="*/ 1866 h 10127"/>
                    <a:gd name="connsiteX57" fmla="*/ 2333 w 10000"/>
                    <a:gd name="connsiteY57" fmla="*/ 2152 h 10127"/>
                    <a:gd name="connsiteX58" fmla="*/ 1833 w 10000"/>
                    <a:gd name="connsiteY58" fmla="*/ 2431 h 10127"/>
                    <a:gd name="connsiteX59" fmla="*/ 1389 w 10000"/>
                    <a:gd name="connsiteY59" fmla="*/ 2562 h 10127"/>
                    <a:gd name="connsiteX60" fmla="*/ 889 w 10000"/>
                    <a:gd name="connsiteY60" fmla="*/ 2633 h 10127"/>
                    <a:gd name="connsiteX61" fmla="*/ 889 w 10000"/>
                    <a:gd name="connsiteY61" fmla="*/ 2633 h 10127"/>
                    <a:gd name="connsiteX62" fmla="*/ 500 w 10000"/>
                    <a:gd name="connsiteY62" fmla="*/ 2717 h 10127"/>
                    <a:gd name="connsiteX63" fmla="*/ 222 w 10000"/>
                    <a:gd name="connsiteY63" fmla="*/ 2768 h 10127"/>
                    <a:gd name="connsiteX64" fmla="*/ 0 w 10000"/>
                    <a:gd name="connsiteY64" fmla="*/ 2836 h 10127"/>
                    <a:gd name="connsiteX65" fmla="*/ 0 w 10000"/>
                    <a:gd name="connsiteY65" fmla="*/ 2836 h 10127"/>
                    <a:gd name="connsiteX66" fmla="*/ 278 w 10000"/>
                    <a:gd name="connsiteY66" fmla="*/ 3955 h 10127"/>
                    <a:gd name="connsiteX67" fmla="*/ 500 w 10000"/>
                    <a:gd name="connsiteY67" fmla="*/ 4773 h 10127"/>
                    <a:gd name="connsiteX68" fmla="*/ 722 w 10000"/>
                    <a:gd name="connsiteY68" fmla="*/ 5476 h 10127"/>
                    <a:gd name="connsiteX69" fmla="*/ 722 w 10000"/>
                    <a:gd name="connsiteY69" fmla="*/ 5476 h 10127"/>
                    <a:gd name="connsiteX70" fmla="*/ 889 w 10000"/>
                    <a:gd name="connsiteY70" fmla="*/ 5891 h 10127"/>
                    <a:gd name="connsiteX71" fmla="*/ 944 w 10000"/>
                    <a:gd name="connsiteY71" fmla="*/ 6248 h 10127"/>
                    <a:gd name="connsiteX72" fmla="*/ 1111 w 10000"/>
                    <a:gd name="connsiteY72" fmla="*/ 6598 h 10127"/>
                    <a:gd name="connsiteX73" fmla="*/ 1333 w 10000"/>
                    <a:gd name="connsiteY73" fmla="*/ 7136 h 10127"/>
                    <a:gd name="connsiteX74" fmla="*/ 1333 w 10000"/>
                    <a:gd name="connsiteY74" fmla="*/ 7136 h 10127"/>
                    <a:gd name="connsiteX75" fmla="*/ 1444 w 10000"/>
                    <a:gd name="connsiteY75" fmla="*/ 7417 h 10127"/>
                    <a:gd name="connsiteX76" fmla="*/ 1500 w 10000"/>
                    <a:gd name="connsiteY76" fmla="*/ 7626 h 10127"/>
                    <a:gd name="connsiteX77" fmla="*/ 1500 w 10000"/>
                    <a:gd name="connsiteY77" fmla="*/ 7823 h 10127"/>
                    <a:gd name="connsiteX78" fmla="*/ 1556 w 10000"/>
                    <a:gd name="connsiteY78" fmla="*/ 7911 h 10127"/>
                    <a:gd name="connsiteX79" fmla="*/ 1722 w 10000"/>
                    <a:gd name="connsiteY79" fmla="*/ 7973 h 10127"/>
                    <a:gd name="connsiteX80" fmla="*/ 1944 w 10000"/>
                    <a:gd name="connsiteY80" fmla="*/ 8038 h 10127"/>
                    <a:gd name="connsiteX81" fmla="*/ 2944 w 10000"/>
                    <a:gd name="connsiteY81" fmla="*/ 8115 h 10127"/>
                    <a:gd name="connsiteX82" fmla="*/ 2944 w 10000"/>
                    <a:gd name="connsiteY82" fmla="*/ 8115 h 10127"/>
                    <a:gd name="connsiteX83" fmla="*/ 4167 w 10000"/>
                    <a:gd name="connsiteY83" fmla="*/ 8256 h 10127"/>
                    <a:gd name="connsiteX84" fmla="*/ 4889 w 10000"/>
                    <a:gd name="connsiteY84" fmla="*/ 8452 h 10127"/>
                    <a:gd name="connsiteX85" fmla="*/ 5278 w 10000"/>
                    <a:gd name="connsiteY85" fmla="*/ 8673 h 10127"/>
                    <a:gd name="connsiteX86" fmla="*/ 5444 w 10000"/>
                    <a:gd name="connsiteY86" fmla="*/ 8731 h 10127"/>
                    <a:gd name="connsiteX87" fmla="*/ 5444 w 10000"/>
                    <a:gd name="connsiteY87" fmla="*/ 8731 h 10127"/>
                    <a:gd name="connsiteX88" fmla="*/ 5722 w 10000"/>
                    <a:gd name="connsiteY88" fmla="*/ 8886 h 10127"/>
                    <a:gd name="connsiteX89" fmla="*/ 5833 w 10000"/>
                    <a:gd name="connsiteY89" fmla="*/ 8957 h 10127"/>
                    <a:gd name="connsiteX90" fmla="*/ 5833 w 10000"/>
                    <a:gd name="connsiteY90" fmla="*/ 8957 h 10127"/>
                    <a:gd name="connsiteX91" fmla="*/ 5833 w 10000"/>
                    <a:gd name="connsiteY91" fmla="*/ 8886 h 10127"/>
                    <a:gd name="connsiteX92" fmla="*/ 5889 w 10000"/>
                    <a:gd name="connsiteY92" fmla="*/ 8808 h 10127"/>
                    <a:gd name="connsiteX93" fmla="*/ 6000 w 10000"/>
                    <a:gd name="connsiteY93" fmla="*/ 8731 h 10127"/>
                    <a:gd name="connsiteX94" fmla="*/ 6167 w 10000"/>
                    <a:gd name="connsiteY94" fmla="*/ 8673 h 10127"/>
                    <a:gd name="connsiteX95" fmla="*/ 6444 w 10000"/>
                    <a:gd name="connsiteY95" fmla="*/ 8673 h 10127"/>
                    <a:gd name="connsiteX96" fmla="*/ 6833 w 10000"/>
                    <a:gd name="connsiteY96" fmla="*/ 8731 h 10127"/>
                    <a:gd name="connsiteX97" fmla="*/ 7278 w 10000"/>
                    <a:gd name="connsiteY97" fmla="*/ 8957 h 10127"/>
                    <a:gd name="connsiteX98" fmla="*/ 7278 w 10000"/>
                    <a:gd name="connsiteY98" fmla="*/ 8957 h 10127"/>
                    <a:gd name="connsiteX99" fmla="*/ 8722 w 10000"/>
                    <a:gd name="connsiteY99" fmla="*/ 9563 h 10127"/>
                    <a:gd name="connsiteX100" fmla="*/ 10000 w 10000"/>
                    <a:gd name="connsiteY100" fmla="*/ 10127 h 10127"/>
                    <a:gd name="connsiteX101" fmla="*/ 10000 w 10000"/>
                    <a:gd name="connsiteY101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667 w 10000"/>
                    <a:gd name="connsiteY33" fmla="*/ 1167 h 10127"/>
                    <a:gd name="connsiteX34" fmla="*/ 5500 w 10000"/>
                    <a:gd name="connsiteY34" fmla="*/ 1230 h 10127"/>
                    <a:gd name="connsiteX35" fmla="*/ 5500 w 10000"/>
                    <a:gd name="connsiteY35" fmla="*/ 1230 h 10127"/>
                    <a:gd name="connsiteX36" fmla="*/ 4889 w 10000"/>
                    <a:gd name="connsiteY36" fmla="*/ 1726 h 10127"/>
                    <a:gd name="connsiteX37" fmla="*/ 4611 w 10000"/>
                    <a:gd name="connsiteY37" fmla="*/ 1866 h 10127"/>
                    <a:gd name="connsiteX38" fmla="*/ 4556 w 10000"/>
                    <a:gd name="connsiteY38" fmla="*/ 1943 h 10127"/>
                    <a:gd name="connsiteX39" fmla="*/ 4500 w 10000"/>
                    <a:gd name="connsiteY39" fmla="*/ 1866 h 10127"/>
                    <a:gd name="connsiteX40" fmla="*/ 4500 w 10000"/>
                    <a:gd name="connsiteY40" fmla="*/ 1866 h 10127"/>
                    <a:gd name="connsiteX41" fmla="*/ 4111 w 10000"/>
                    <a:gd name="connsiteY41" fmla="*/ 822 h 10127"/>
                    <a:gd name="connsiteX42" fmla="*/ 4111 w 10000"/>
                    <a:gd name="connsiteY42" fmla="*/ 404 h 10127"/>
                    <a:gd name="connsiteX43" fmla="*/ 4111 w 10000"/>
                    <a:gd name="connsiteY43" fmla="*/ 404 h 10127"/>
                    <a:gd name="connsiteX44" fmla="*/ 4195 w 10000"/>
                    <a:gd name="connsiteY44" fmla="*/ 119 h 10127"/>
                    <a:gd name="connsiteX45" fmla="*/ 4213 w 10000"/>
                    <a:gd name="connsiteY45" fmla="*/ 0 h 10127"/>
                    <a:gd name="connsiteX46" fmla="*/ 4000 w 10000"/>
                    <a:gd name="connsiteY46" fmla="*/ 127 h 10127"/>
                    <a:gd name="connsiteX47" fmla="*/ 3722 w 10000"/>
                    <a:gd name="connsiteY47" fmla="*/ 200 h 10127"/>
                    <a:gd name="connsiteX48" fmla="*/ 3611 w 10000"/>
                    <a:gd name="connsiteY48" fmla="*/ 273 h 10127"/>
                    <a:gd name="connsiteX49" fmla="*/ 3556 w 10000"/>
                    <a:gd name="connsiteY49" fmla="*/ 344 h 10127"/>
                    <a:gd name="connsiteX50" fmla="*/ 3556 w 10000"/>
                    <a:gd name="connsiteY50" fmla="*/ 344 h 10127"/>
                    <a:gd name="connsiteX51" fmla="*/ 3444 w 10000"/>
                    <a:gd name="connsiteY51" fmla="*/ 618 h 10127"/>
                    <a:gd name="connsiteX52" fmla="*/ 3278 w 10000"/>
                    <a:gd name="connsiteY52" fmla="*/ 1039 h 10127"/>
                    <a:gd name="connsiteX53" fmla="*/ 3000 w 10000"/>
                    <a:gd name="connsiteY53" fmla="*/ 1516 h 10127"/>
                    <a:gd name="connsiteX54" fmla="*/ 2667 w 10000"/>
                    <a:gd name="connsiteY54" fmla="*/ 1866 h 10127"/>
                    <a:gd name="connsiteX55" fmla="*/ 2667 w 10000"/>
                    <a:gd name="connsiteY55" fmla="*/ 1866 h 10127"/>
                    <a:gd name="connsiteX56" fmla="*/ 2333 w 10000"/>
                    <a:gd name="connsiteY56" fmla="*/ 2152 h 10127"/>
                    <a:gd name="connsiteX57" fmla="*/ 1833 w 10000"/>
                    <a:gd name="connsiteY57" fmla="*/ 2431 h 10127"/>
                    <a:gd name="connsiteX58" fmla="*/ 1389 w 10000"/>
                    <a:gd name="connsiteY58" fmla="*/ 2562 h 10127"/>
                    <a:gd name="connsiteX59" fmla="*/ 889 w 10000"/>
                    <a:gd name="connsiteY59" fmla="*/ 2633 h 10127"/>
                    <a:gd name="connsiteX60" fmla="*/ 889 w 10000"/>
                    <a:gd name="connsiteY60" fmla="*/ 2633 h 10127"/>
                    <a:gd name="connsiteX61" fmla="*/ 500 w 10000"/>
                    <a:gd name="connsiteY61" fmla="*/ 2717 h 10127"/>
                    <a:gd name="connsiteX62" fmla="*/ 222 w 10000"/>
                    <a:gd name="connsiteY62" fmla="*/ 2768 h 10127"/>
                    <a:gd name="connsiteX63" fmla="*/ 0 w 10000"/>
                    <a:gd name="connsiteY63" fmla="*/ 2836 h 10127"/>
                    <a:gd name="connsiteX64" fmla="*/ 0 w 10000"/>
                    <a:gd name="connsiteY64" fmla="*/ 2836 h 10127"/>
                    <a:gd name="connsiteX65" fmla="*/ 278 w 10000"/>
                    <a:gd name="connsiteY65" fmla="*/ 3955 h 10127"/>
                    <a:gd name="connsiteX66" fmla="*/ 500 w 10000"/>
                    <a:gd name="connsiteY66" fmla="*/ 4773 h 10127"/>
                    <a:gd name="connsiteX67" fmla="*/ 722 w 10000"/>
                    <a:gd name="connsiteY67" fmla="*/ 5476 h 10127"/>
                    <a:gd name="connsiteX68" fmla="*/ 722 w 10000"/>
                    <a:gd name="connsiteY68" fmla="*/ 5476 h 10127"/>
                    <a:gd name="connsiteX69" fmla="*/ 889 w 10000"/>
                    <a:gd name="connsiteY69" fmla="*/ 5891 h 10127"/>
                    <a:gd name="connsiteX70" fmla="*/ 944 w 10000"/>
                    <a:gd name="connsiteY70" fmla="*/ 6248 h 10127"/>
                    <a:gd name="connsiteX71" fmla="*/ 1111 w 10000"/>
                    <a:gd name="connsiteY71" fmla="*/ 6598 h 10127"/>
                    <a:gd name="connsiteX72" fmla="*/ 1333 w 10000"/>
                    <a:gd name="connsiteY72" fmla="*/ 7136 h 10127"/>
                    <a:gd name="connsiteX73" fmla="*/ 1333 w 10000"/>
                    <a:gd name="connsiteY73" fmla="*/ 7136 h 10127"/>
                    <a:gd name="connsiteX74" fmla="*/ 1444 w 10000"/>
                    <a:gd name="connsiteY74" fmla="*/ 7417 h 10127"/>
                    <a:gd name="connsiteX75" fmla="*/ 1500 w 10000"/>
                    <a:gd name="connsiteY75" fmla="*/ 7626 h 10127"/>
                    <a:gd name="connsiteX76" fmla="*/ 1500 w 10000"/>
                    <a:gd name="connsiteY76" fmla="*/ 7823 h 10127"/>
                    <a:gd name="connsiteX77" fmla="*/ 1556 w 10000"/>
                    <a:gd name="connsiteY77" fmla="*/ 7911 h 10127"/>
                    <a:gd name="connsiteX78" fmla="*/ 1722 w 10000"/>
                    <a:gd name="connsiteY78" fmla="*/ 7973 h 10127"/>
                    <a:gd name="connsiteX79" fmla="*/ 1944 w 10000"/>
                    <a:gd name="connsiteY79" fmla="*/ 8038 h 10127"/>
                    <a:gd name="connsiteX80" fmla="*/ 2944 w 10000"/>
                    <a:gd name="connsiteY80" fmla="*/ 8115 h 10127"/>
                    <a:gd name="connsiteX81" fmla="*/ 2944 w 10000"/>
                    <a:gd name="connsiteY81" fmla="*/ 8115 h 10127"/>
                    <a:gd name="connsiteX82" fmla="*/ 4167 w 10000"/>
                    <a:gd name="connsiteY82" fmla="*/ 8256 h 10127"/>
                    <a:gd name="connsiteX83" fmla="*/ 4889 w 10000"/>
                    <a:gd name="connsiteY83" fmla="*/ 8452 h 10127"/>
                    <a:gd name="connsiteX84" fmla="*/ 5278 w 10000"/>
                    <a:gd name="connsiteY84" fmla="*/ 8673 h 10127"/>
                    <a:gd name="connsiteX85" fmla="*/ 5444 w 10000"/>
                    <a:gd name="connsiteY85" fmla="*/ 8731 h 10127"/>
                    <a:gd name="connsiteX86" fmla="*/ 5444 w 10000"/>
                    <a:gd name="connsiteY86" fmla="*/ 8731 h 10127"/>
                    <a:gd name="connsiteX87" fmla="*/ 5722 w 10000"/>
                    <a:gd name="connsiteY87" fmla="*/ 8886 h 10127"/>
                    <a:gd name="connsiteX88" fmla="*/ 5833 w 10000"/>
                    <a:gd name="connsiteY88" fmla="*/ 8957 h 10127"/>
                    <a:gd name="connsiteX89" fmla="*/ 5833 w 10000"/>
                    <a:gd name="connsiteY89" fmla="*/ 8957 h 10127"/>
                    <a:gd name="connsiteX90" fmla="*/ 5833 w 10000"/>
                    <a:gd name="connsiteY90" fmla="*/ 8886 h 10127"/>
                    <a:gd name="connsiteX91" fmla="*/ 5889 w 10000"/>
                    <a:gd name="connsiteY91" fmla="*/ 8808 h 10127"/>
                    <a:gd name="connsiteX92" fmla="*/ 6000 w 10000"/>
                    <a:gd name="connsiteY92" fmla="*/ 8731 h 10127"/>
                    <a:gd name="connsiteX93" fmla="*/ 6167 w 10000"/>
                    <a:gd name="connsiteY93" fmla="*/ 8673 h 10127"/>
                    <a:gd name="connsiteX94" fmla="*/ 6444 w 10000"/>
                    <a:gd name="connsiteY94" fmla="*/ 8673 h 10127"/>
                    <a:gd name="connsiteX95" fmla="*/ 6833 w 10000"/>
                    <a:gd name="connsiteY95" fmla="*/ 8731 h 10127"/>
                    <a:gd name="connsiteX96" fmla="*/ 7278 w 10000"/>
                    <a:gd name="connsiteY96" fmla="*/ 8957 h 10127"/>
                    <a:gd name="connsiteX97" fmla="*/ 7278 w 10000"/>
                    <a:gd name="connsiteY97" fmla="*/ 8957 h 10127"/>
                    <a:gd name="connsiteX98" fmla="*/ 8722 w 10000"/>
                    <a:gd name="connsiteY98" fmla="*/ 9563 h 10127"/>
                    <a:gd name="connsiteX99" fmla="*/ 10000 w 10000"/>
                    <a:gd name="connsiteY99" fmla="*/ 10127 h 10127"/>
                    <a:gd name="connsiteX100" fmla="*/ 10000 w 10000"/>
                    <a:gd name="connsiteY100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500 w 10000"/>
                    <a:gd name="connsiteY33" fmla="*/ 1230 h 10127"/>
                    <a:gd name="connsiteX34" fmla="*/ 5500 w 10000"/>
                    <a:gd name="connsiteY34" fmla="*/ 1230 h 10127"/>
                    <a:gd name="connsiteX35" fmla="*/ 4889 w 10000"/>
                    <a:gd name="connsiteY35" fmla="*/ 1726 h 10127"/>
                    <a:gd name="connsiteX36" fmla="*/ 4611 w 10000"/>
                    <a:gd name="connsiteY36" fmla="*/ 1866 h 10127"/>
                    <a:gd name="connsiteX37" fmla="*/ 4556 w 10000"/>
                    <a:gd name="connsiteY37" fmla="*/ 1943 h 10127"/>
                    <a:gd name="connsiteX38" fmla="*/ 4500 w 10000"/>
                    <a:gd name="connsiteY38" fmla="*/ 1866 h 10127"/>
                    <a:gd name="connsiteX39" fmla="*/ 4500 w 10000"/>
                    <a:gd name="connsiteY39" fmla="*/ 1866 h 10127"/>
                    <a:gd name="connsiteX40" fmla="*/ 4111 w 10000"/>
                    <a:gd name="connsiteY40" fmla="*/ 822 h 10127"/>
                    <a:gd name="connsiteX41" fmla="*/ 4111 w 10000"/>
                    <a:gd name="connsiteY41" fmla="*/ 404 h 10127"/>
                    <a:gd name="connsiteX42" fmla="*/ 4111 w 10000"/>
                    <a:gd name="connsiteY42" fmla="*/ 404 h 10127"/>
                    <a:gd name="connsiteX43" fmla="*/ 4195 w 10000"/>
                    <a:gd name="connsiteY43" fmla="*/ 119 h 10127"/>
                    <a:gd name="connsiteX44" fmla="*/ 4213 w 10000"/>
                    <a:gd name="connsiteY44" fmla="*/ 0 h 10127"/>
                    <a:gd name="connsiteX45" fmla="*/ 4000 w 10000"/>
                    <a:gd name="connsiteY45" fmla="*/ 127 h 10127"/>
                    <a:gd name="connsiteX46" fmla="*/ 3722 w 10000"/>
                    <a:gd name="connsiteY46" fmla="*/ 200 h 10127"/>
                    <a:gd name="connsiteX47" fmla="*/ 3611 w 10000"/>
                    <a:gd name="connsiteY47" fmla="*/ 273 h 10127"/>
                    <a:gd name="connsiteX48" fmla="*/ 3556 w 10000"/>
                    <a:gd name="connsiteY48" fmla="*/ 344 h 10127"/>
                    <a:gd name="connsiteX49" fmla="*/ 3556 w 10000"/>
                    <a:gd name="connsiteY49" fmla="*/ 344 h 10127"/>
                    <a:gd name="connsiteX50" fmla="*/ 3444 w 10000"/>
                    <a:gd name="connsiteY50" fmla="*/ 618 h 10127"/>
                    <a:gd name="connsiteX51" fmla="*/ 3278 w 10000"/>
                    <a:gd name="connsiteY51" fmla="*/ 1039 h 10127"/>
                    <a:gd name="connsiteX52" fmla="*/ 3000 w 10000"/>
                    <a:gd name="connsiteY52" fmla="*/ 1516 h 10127"/>
                    <a:gd name="connsiteX53" fmla="*/ 2667 w 10000"/>
                    <a:gd name="connsiteY53" fmla="*/ 1866 h 10127"/>
                    <a:gd name="connsiteX54" fmla="*/ 2667 w 10000"/>
                    <a:gd name="connsiteY54" fmla="*/ 1866 h 10127"/>
                    <a:gd name="connsiteX55" fmla="*/ 2333 w 10000"/>
                    <a:gd name="connsiteY55" fmla="*/ 2152 h 10127"/>
                    <a:gd name="connsiteX56" fmla="*/ 1833 w 10000"/>
                    <a:gd name="connsiteY56" fmla="*/ 2431 h 10127"/>
                    <a:gd name="connsiteX57" fmla="*/ 1389 w 10000"/>
                    <a:gd name="connsiteY57" fmla="*/ 2562 h 10127"/>
                    <a:gd name="connsiteX58" fmla="*/ 889 w 10000"/>
                    <a:gd name="connsiteY58" fmla="*/ 2633 h 10127"/>
                    <a:gd name="connsiteX59" fmla="*/ 889 w 10000"/>
                    <a:gd name="connsiteY59" fmla="*/ 2633 h 10127"/>
                    <a:gd name="connsiteX60" fmla="*/ 500 w 10000"/>
                    <a:gd name="connsiteY60" fmla="*/ 2717 h 10127"/>
                    <a:gd name="connsiteX61" fmla="*/ 222 w 10000"/>
                    <a:gd name="connsiteY61" fmla="*/ 2768 h 10127"/>
                    <a:gd name="connsiteX62" fmla="*/ 0 w 10000"/>
                    <a:gd name="connsiteY62" fmla="*/ 2836 h 10127"/>
                    <a:gd name="connsiteX63" fmla="*/ 0 w 10000"/>
                    <a:gd name="connsiteY63" fmla="*/ 2836 h 10127"/>
                    <a:gd name="connsiteX64" fmla="*/ 278 w 10000"/>
                    <a:gd name="connsiteY64" fmla="*/ 3955 h 10127"/>
                    <a:gd name="connsiteX65" fmla="*/ 500 w 10000"/>
                    <a:gd name="connsiteY65" fmla="*/ 4773 h 10127"/>
                    <a:gd name="connsiteX66" fmla="*/ 722 w 10000"/>
                    <a:gd name="connsiteY66" fmla="*/ 5476 h 10127"/>
                    <a:gd name="connsiteX67" fmla="*/ 722 w 10000"/>
                    <a:gd name="connsiteY67" fmla="*/ 5476 h 10127"/>
                    <a:gd name="connsiteX68" fmla="*/ 889 w 10000"/>
                    <a:gd name="connsiteY68" fmla="*/ 5891 h 10127"/>
                    <a:gd name="connsiteX69" fmla="*/ 944 w 10000"/>
                    <a:gd name="connsiteY69" fmla="*/ 6248 h 10127"/>
                    <a:gd name="connsiteX70" fmla="*/ 1111 w 10000"/>
                    <a:gd name="connsiteY70" fmla="*/ 6598 h 10127"/>
                    <a:gd name="connsiteX71" fmla="*/ 1333 w 10000"/>
                    <a:gd name="connsiteY71" fmla="*/ 7136 h 10127"/>
                    <a:gd name="connsiteX72" fmla="*/ 1333 w 10000"/>
                    <a:gd name="connsiteY72" fmla="*/ 7136 h 10127"/>
                    <a:gd name="connsiteX73" fmla="*/ 1444 w 10000"/>
                    <a:gd name="connsiteY73" fmla="*/ 7417 h 10127"/>
                    <a:gd name="connsiteX74" fmla="*/ 1500 w 10000"/>
                    <a:gd name="connsiteY74" fmla="*/ 7626 h 10127"/>
                    <a:gd name="connsiteX75" fmla="*/ 1500 w 10000"/>
                    <a:gd name="connsiteY75" fmla="*/ 7823 h 10127"/>
                    <a:gd name="connsiteX76" fmla="*/ 1556 w 10000"/>
                    <a:gd name="connsiteY76" fmla="*/ 7911 h 10127"/>
                    <a:gd name="connsiteX77" fmla="*/ 1722 w 10000"/>
                    <a:gd name="connsiteY77" fmla="*/ 7973 h 10127"/>
                    <a:gd name="connsiteX78" fmla="*/ 1944 w 10000"/>
                    <a:gd name="connsiteY78" fmla="*/ 8038 h 10127"/>
                    <a:gd name="connsiteX79" fmla="*/ 2944 w 10000"/>
                    <a:gd name="connsiteY79" fmla="*/ 8115 h 10127"/>
                    <a:gd name="connsiteX80" fmla="*/ 2944 w 10000"/>
                    <a:gd name="connsiteY80" fmla="*/ 8115 h 10127"/>
                    <a:gd name="connsiteX81" fmla="*/ 4167 w 10000"/>
                    <a:gd name="connsiteY81" fmla="*/ 8256 h 10127"/>
                    <a:gd name="connsiteX82" fmla="*/ 4889 w 10000"/>
                    <a:gd name="connsiteY82" fmla="*/ 8452 h 10127"/>
                    <a:gd name="connsiteX83" fmla="*/ 5278 w 10000"/>
                    <a:gd name="connsiteY83" fmla="*/ 8673 h 10127"/>
                    <a:gd name="connsiteX84" fmla="*/ 5444 w 10000"/>
                    <a:gd name="connsiteY84" fmla="*/ 8731 h 10127"/>
                    <a:gd name="connsiteX85" fmla="*/ 5444 w 10000"/>
                    <a:gd name="connsiteY85" fmla="*/ 8731 h 10127"/>
                    <a:gd name="connsiteX86" fmla="*/ 5722 w 10000"/>
                    <a:gd name="connsiteY86" fmla="*/ 8886 h 10127"/>
                    <a:gd name="connsiteX87" fmla="*/ 5833 w 10000"/>
                    <a:gd name="connsiteY87" fmla="*/ 8957 h 10127"/>
                    <a:gd name="connsiteX88" fmla="*/ 5833 w 10000"/>
                    <a:gd name="connsiteY88" fmla="*/ 8957 h 10127"/>
                    <a:gd name="connsiteX89" fmla="*/ 5833 w 10000"/>
                    <a:gd name="connsiteY89" fmla="*/ 8886 h 10127"/>
                    <a:gd name="connsiteX90" fmla="*/ 5889 w 10000"/>
                    <a:gd name="connsiteY90" fmla="*/ 8808 h 10127"/>
                    <a:gd name="connsiteX91" fmla="*/ 6000 w 10000"/>
                    <a:gd name="connsiteY91" fmla="*/ 8731 h 10127"/>
                    <a:gd name="connsiteX92" fmla="*/ 6167 w 10000"/>
                    <a:gd name="connsiteY92" fmla="*/ 8673 h 10127"/>
                    <a:gd name="connsiteX93" fmla="*/ 6444 w 10000"/>
                    <a:gd name="connsiteY93" fmla="*/ 8673 h 10127"/>
                    <a:gd name="connsiteX94" fmla="*/ 6833 w 10000"/>
                    <a:gd name="connsiteY94" fmla="*/ 8731 h 10127"/>
                    <a:gd name="connsiteX95" fmla="*/ 7278 w 10000"/>
                    <a:gd name="connsiteY95" fmla="*/ 8957 h 10127"/>
                    <a:gd name="connsiteX96" fmla="*/ 7278 w 10000"/>
                    <a:gd name="connsiteY96" fmla="*/ 8957 h 10127"/>
                    <a:gd name="connsiteX97" fmla="*/ 8722 w 10000"/>
                    <a:gd name="connsiteY97" fmla="*/ 9563 h 10127"/>
                    <a:gd name="connsiteX98" fmla="*/ 10000 w 10000"/>
                    <a:gd name="connsiteY98" fmla="*/ 10127 h 10127"/>
                    <a:gd name="connsiteX99" fmla="*/ 10000 w 10000"/>
                    <a:gd name="connsiteY99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5500 w 10000"/>
                    <a:gd name="connsiteY33" fmla="*/ 1230 h 10127"/>
                    <a:gd name="connsiteX34" fmla="*/ 4889 w 10000"/>
                    <a:gd name="connsiteY34" fmla="*/ 1726 h 10127"/>
                    <a:gd name="connsiteX35" fmla="*/ 4611 w 10000"/>
                    <a:gd name="connsiteY35" fmla="*/ 1866 h 10127"/>
                    <a:gd name="connsiteX36" fmla="*/ 4556 w 10000"/>
                    <a:gd name="connsiteY36" fmla="*/ 1943 h 10127"/>
                    <a:gd name="connsiteX37" fmla="*/ 4500 w 10000"/>
                    <a:gd name="connsiteY37" fmla="*/ 1866 h 10127"/>
                    <a:gd name="connsiteX38" fmla="*/ 4500 w 10000"/>
                    <a:gd name="connsiteY38" fmla="*/ 1866 h 10127"/>
                    <a:gd name="connsiteX39" fmla="*/ 4111 w 10000"/>
                    <a:gd name="connsiteY39" fmla="*/ 822 h 10127"/>
                    <a:gd name="connsiteX40" fmla="*/ 4111 w 10000"/>
                    <a:gd name="connsiteY40" fmla="*/ 404 h 10127"/>
                    <a:gd name="connsiteX41" fmla="*/ 4111 w 10000"/>
                    <a:gd name="connsiteY41" fmla="*/ 404 h 10127"/>
                    <a:gd name="connsiteX42" fmla="*/ 4195 w 10000"/>
                    <a:gd name="connsiteY42" fmla="*/ 119 h 10127"/>
                    <a:gd name="connsiteX43" fmla="*/ 4213 w 10000"/>
                    <a:gd name="connsiteY43" fmla="*/ 0 h 10127"/>
                    <a:gd name="connsiteX44" fmla="*/ 4000 w 10000"/>
                    <a:gd name="connsiteY44" fmla="*/ 127 h 10127"/>
                    <a:gd name="connsiteX45" fmla="*/ 3722 w 10000"/>
                    <a:gd name="connsiteY45" fmla="*/ 200 h 10127"/>
                    <a:gd name="connsiteX46" fmla="*/ 3611 w 10000"/>
                    <a:gd name="connsiteY46" fmla="*/ 273 h 10127"/>
                    <a:gd name="connsiteX47" fmla="*/ 3556 w 10000"/>
                    <a:gd name="connsiteY47" fmla="*/ 344 h 10127"/>
                    <a:gd name="connsiteX48" fmla="*/ 3556 w 10000"/>
                    <a:gd name="connsiteY48" fmla="*/ 344 h 10127"/>
                    <a:gd name="connsiteX49" fmla="*/ 3444 w 10000"/>
                    <a:gd name="connsiteY49" fmla="*/ 618 h 10127"/>
                    <a:gd name="connsiteX50" fmla="*/ 3278 w 10000"/>
                    <a:gd name="connsiteY50" fmla="*/ 1039 h 10127"/>
                    <a:gd name="connsiteX51" fmla="*/ 3000 w 10000"/>
                    <a:gd name="connsiteY51" fmla="*/ 1516 h 10127"/>
                    <a:gd name="connsiteX52" fmla="*/ 2667 w 10000"/>
                    <a:gd name="connsiteY52" fmla="*/ 1866 h 10127"/>
                    <a:gd name="connsiteX53" fmla="*/ 2667 w 10000"/>
                    <a:gd name="connsiteY53" fmla="*/ 1866 h 10127"/>
                    <a:gd name="connsiteX54" fmla="*/ 2333 w 10000"/>
                    <a:gd name="connsiteY54" fmla="*/ 2152 h 10127"/>
                    <a:gd name="connsiteX55" fmla="*/ 1833 w 10000"/>
                    <a:gd name="connsiteY55" fmla="*/ 2431 h 10127"/>
                    <a:gd name="connsiteX56" fmla="*/ 1389 w 10000"/>
                    <a:gd name="connsiteY56" fmla="*/ 2562 h 10127"/>
                    <a:gd name="connsiteX57" fmla="*/ 889 w 10000"/>
                    <a:gd name="connsiteY57" fmla="*/ 2633 h 10127"/>
                    <a:gd name="connsiteX58" fmla="*/ 889 w 10000"/>
                    <a:gd name="connsiteY58" fmla="*/ 2633 h 10127"/>
                    <a:gd name="connsiteX59" fmla="*/ 500 w 10000"/>
                    <a:gd name="connsiteY59" fmla="*/ 2717 h 10127"/>
                    <a:gd name="connsiteX60" fmla="*/ 222 w 10000"/>
                    <a:gd name="connsiteY60" fmla="*/ 2768 h 10127"/>
                    <a:gd name="connsiteX61" fmla="*/ 0 w 10000"/>
                    <a:gd name="connsiteY61" fmla="*/ 2836 h 10127"/>
                    <a:gd name="connsiteX62" fmla="*/ 0 w 10000"/>
                    <a:gd name="connsiteY62" fmla="*/ 2836 h 10127"/>
                    <a:gd name="connsiteX63" fmla="*/ 278 w 10000"/>
                    <a:gd name="connsiteY63" fmla="*/ 3955 h 10127"/>
                    <a:gd name="connsiteX64" fmla="*/ 500 w 10000"/>
                    <a:gd name="connsiteY64" fmla="*/ 4773 h 10127"/>
                    <a:gd name="connsiteX65" fmla="*/ 722 w 10000"/>
                    <a:gd name="connsiteY65" fmla="*/ 5476 h 10127"/>
                    <a:gd name="connsiteX66" fmla="*/ 722 w 10000"/>
                    <a:gd name="connsiteY66" fmla="*/ 5476 h 10127"/>
                    <a:gd name="connsiteX67" fmla="*/ 889 w 10000"/>
                    <a:gd name="connsiteY67" fmla="*/ 5891 h 10127"/>
                    <a:gd name="connsiteX68" fmla="*/ 944 w 10000"/>
                    <a:gd name="connsiteY68" fmla="*/ 6248 h 10127"/>
                    <a:gd name="connsiteX69" fmla="*/ 1111 w 10000"/>
                    <a:gd name="connsiteY69" fmla="*/ 6598 h 10127"/>
                    <a:gd name="connsiteX70" fmla="*/ 1333 w 10000"/>
                    <a:gd name="connsiteY70" fmla="*/ 7136 h 10127"/>
                    <a:gd name="connsiteX71" fmla="*/ 1333 w 10000"/>
                    <a:gd name="connsiteY71" fmla="*/ 7136 h 10127"/>
                    <a:gd name="connsiteX72" fmla="*/ 1444 w 10000"/>
                    <a:gd name="connsiteY72" fmla="*/ 7417 h 10127"/>
                    <a:gd name="connsiteX73" fmla="*/ 1500 w 10000"/>
                    <a:gd name="connsiteY73" fmla="*/ 7626 h 10127"/>
                    <a:gd name="connsiteX74" fmla="*/ 1500 w 10000"/>
                    <a:gd name="connsiteY74" fmla="*/ 7823 h 10127"/>
                    <a:gd name="connsiteX75" fmla="*/ 1556 w 10000"/>
                    <a:gd name="connsiteY75" fmla="*/ 7911 h 10127"/>
                    <a:gd name="connsiteX76" fmla="*/ 1722 w 10000"/>
                    <a:gd name="connsiteY76" fmla="*/ 7973 h 10127"/>
                    <a:gd name="connsiteX77" fmla="*/ 1944 w 10000"/>
                    <a:gd name="connsiteY77" fmla="*/ 8038 h 10127"/>
                    <a:gd name="connsiteX78" fmla="*/ 2944 w 10000"/>
                    <a:gd name="connsiteY78" fmla="*/ 8115 h 10127"/>
                    <a:gd name="connsiteX79" fmla="*/ 2944 w 10000"/>
                    <a:gd name="connsiteY79" fmla="*/ 8115 h 10127"/>
                    <a:gd name="connsiteX80" fmla="*/ 4167 w 10000"/>
                    <a:gd name="connsiteY80" fmla="*/ 8256 h 10127"/>
                    <a:gd name="connsiteX81" fmla="*/ 4889 w 10000"/>
                    <a:gd name="connsiteY81" fmla="*/ 8452 h 10127"/>
                    <a:gd name="connsiteX82" fmla="*/ 5278 w 10000"/>
                    <a:gd name="connsiteY82" fmla="*/ 8673 h 10127"/>
                    <a:gd name="connsiteX83" fmla="*/ 5444 w 10000"/>
                    <a:gd name="connsiteY83" fmla="*/ 8731 h 10127"/>
                    <a:gd name="connsiteX84" fmla="*/ 5444 w 10000"/>
                    <a:gd name="connsiteY84" fmla="*/ 8731 h 10127"/>
                    <a:gd name="connsiteX85" fmla="*/ 5722 w 10000"/>
                    <a:gd name="connsiteY85" fmla="*/ 8886 h 10127"/>
                    <a:gd name="connsiteX86" fmla="*/ 5833 w 10000"/>
                    <a:gd name="connsiteY86" fmla="*/ 8957 h 10127"/>
                    <a:gd name="connsiteX87" fmla="*/ 5833 w 10000"/>
                    <a:gd name="connsiteY87" fmla="*/ 8957 h 10127"/>
                    <a:gd name="connsiteX88" fmla="*/ 5833 w 10000"/>
                    <a:gd name="connsiteY88" fmla="*/ 8886 h 10127"/>
                    <a:gd name="connsiteX89" fmla="*/ 5889 w 10000"/>
                    <a:gd name="connsiteY89" fmla="*/ 8808 h 10127"/>
                    <a:gd name="connsiteX90" fmla="*/ 6000 w 10000"/>
                    <a:gd name="connsiteY90" fmla="*/ 8731 h 10127"/>
                    <a:gd name="connsiteX91" fmla="*/ 6167 w 10000"/>
                    <a:gd name="connsiteY91" fmla="*/ 8673 h 10127"/>
                    <a:gd name="connsiteX92" fmla="*/ 6444 w 10000"/>
                    <a:gd name="connsiteY92" fmla="*/ 8673 h 10127"/>
                    <a:gd name="connsiteX93" fmla="*/ 6833 w 10000"/>
                    <a:gd name="connsiteY93" fmla="*/ 8731 h 10127"/>
                    <a:gd name="connsiteX94" fmla="*/ 7278 w 10000"/>
                    <a:gd name="connsiteY94" fmla="*/ 8957 h 10127"/>
                    <a:gd name="connsiteX95" fmla="*/ 7278 w 10000"/>
                    <a:gd name="connsiteY95" fmla="*/ 8957 h 10127"/>
                    <a:gd name="connsiteX96" fmla="*/ 8722 w 10000"/>
                    <a:gd name="connsiteY96" fmla="*/ 9563 h 10127"/>
                    <a:gd name="connsiteX97" fmla="*/ 10000 w 10000"/>
                    <a:gd name="connsiteY97" fmla="*/ 10127 h 10127"/>
                    <a:gd name="connsiteX98" fmla="*/ 10000 w 10000"/>
                    <a:gd name="connsiteY98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889 w 10000"/>
                    <a:gd name="connsiteY33" fmla="*/ 1726 h 10127"/>
                    <a:gd name="connsiteX34" fmla="*/ 4611 w 10000"/>
                    <a:gd name="connsiteY34" fmla="*/ 1866 h 10127"/>
                    <a:gd name="connsiteX35" fmla="*/ 4556 w 10000"/>
                    <a:gd name="connsiteY35" fmla="*/ 1943 h 10127"/>
                    <a:gd name="connsiteX36" fmla="*/ 4500 w 10000"/>
                    <a:gd name="connsiteY36" fmla="*/ 1866 h 10127"/>
                    <a:gd name="connsiteX37" fmla="*/ 4500 w 10000"/>
                    <a:gd name="connsiteY37" fmla="*/ 1866 h 10127"/>
                    <a:gd name="connsiteX38" fmla="*/ 4111 w 10000"/>
                    <a:gd name="connsiteY38" fmla="*/ 822 h 10127"/>
                    <a:gd name="connsiteX39" fmla="*/ 4111 w 10000"/>
                    <a:gd name="connsiteY39" fmla="*/ 404 h 10127"/>
                    <a:gd name="connsiteX40" fmla="*/ 4111 w 10000"/>
                    <a:gd name="connsiteY40" fmla="*/ 404 h 10127"/>
                    <a:gd name="connsiteX41" fmla="*/ 4195 w 10000"/>
                    <a:gd name="connsiteY41" fmla="*/ 119 h 10127"/>
                    <a:gd name="connsiteX42" fmla="*/ 4213 w 10000"/>
                    <a:gd name="connsiteY42" fmla="*/ 0 h 10127"/>
                    <a:gd name="connsiteX43" fmla="*/ 4000 w 10000"/>
                    <a:gd name="connsiteY43" fmla="*/ 127 h 10127"/>
                    <a:gd name="connsiteX44" fmla="*/ 3722 w 10000"/>
                    <a:gd name="connsiteY44" fmla="*/ 200 h 10127"/>
                    <a:gd name="connsiteX45" fmla="*/ 3611 w 10000"/>
                    <a:gd name="connsiteY45" fmla="*/ 273 h 10127"/>
                    <a:gd name="connsiteX46" fmla="*/ 3556 w 10000"/>
                    <a:gd name="connsiteY46" fmla="*/ 344 h 10127"/>
                    <a:gd name="connsiteX47" fmla="*/ 3556 w 10000"/>
                    <a:gd name="connsiteY47" fmla="*/ 344 h 10127"/>
                    <a:gd name="connsiteX48" fmla="*/ 3444 w 10000"/>
                    <a:gd name="connsiteY48" fmla="*/ 618 h 10127"/>
                    <a:gd name="connsiteX49" fmla="*/ 3278 w 10000"/>
                    <a:gd name="connsiteY49" fmla="*/ 1039 h 10127"/>
                    <a:gd name="connsiteX50" fmla="*/ 3000 w 10000"/>
                    <a:gd name="connsiteY50" fmla="*/ 1516 h 10127"/>
                    <a:gd name="connsiteX51" fmla="*/ 2667 w 10000"/>
                    <a:gd name="connsiteY51" fmla="*/ 1866 h 10127"/>
                    <a:gd name="connsiteX52" fmla="*/ 2667 w 10000"/>
                    <a:gd name="connsiteY52" fmla="*/ 1866 h 10127"/>
                    <a:gd name="connsiteX53" fmla="*/ 2333 w 10000"/>
                    <a:gd name="connsiteY53" fmla="*/ 2152 h 10127"/>
                    <a:gd name="connsiteX54" fmla="*/ 1833 w 10000"/>
                    <a:gd name="connsiteY54" fmla="*/ 2431 h 10127"/>
                    <a:gd name="connsiteX55" fmla="*/ 1389 w 10000"/>
                    <a:gd name="connsiteY55" fmla="*/ 2562 h 10127"/>
                    <a:gd name="connsiteX56" fmla="*/ 889 w 10000"/>
                    <a:gd name="connsiteY56" fmla="*/ 2633 h 10127"/>
                    <a:gd name="connsiteX57" fmla="*/ 889 w 10000"/>
                    <a:gd name="connsiteY57" fmla="*/ 2633 h 10127"/>
                    <a:gd name="connsiteX58" fmla="*/ 500 w 10000"/>
                    <a:gd name="connsiteY58" fmla="*/ 2717 h 10127"/>
                    <a:gd name="connsiteX59" fmla="*/ 222 w 10000"/>
                    <a:gd name="connsiteY59" fmla="*/ 2768 h 10127"/>
                    <a:gd name="connsiteX60" fmla="*/ 0 w 10000"/>
                    <a:gd name="connsiteY60" fmla="*/ 2836 h 10127"/>
                    <a:gd name="connsiteX61" fmla="*/ 0 w 10000"/>
                    <a:gd name="connsiteY61" fmla="*/ 2836 h 10127"/>
                    <a:gd name="connsiteX62" fmla="*/ 278 w 10000"/>
                    <a:gd name="connsiteY62" fmla="*/ 3955 h 10127"/>
                    <a:gd name="connsiteX63" fmla="*/ 500 w 10000"/>
                    <a:gd name="connsiteY63" fmla="*/ 4773 h 10127"/>
                    <a:gd name="connsiteX64" fmla="*/ 722 w 10000"/>
                    <a:gd name="connsiteY64" fmla="*/ 5476 h 10127"/>
                    <a:gd name="connsiteX65" fmla="*/ 722 w 10000"/>
                    <a:gd name="connsiteY65" fmla="*/ 5476 h 10127"/>
                    <a:gd name="connsiteX66" fmla="*/ 889 w 10000"/>
                    <a:gd name="connsiteY66" fmla="*/ 5891 h 10127"/>
                    <a:gd name="connsiteX67" fmla="*/ 944 w 10000"/>
                    <a:gd name="connsiteY67" fmla="*/ 6248 h 10127"/>
                    <a:gd name="connsiteX68" fmla="*/ 1111 w 10000"/>
                    <a:gd name="connsiteY68" fmla="*/ 6598 h 10127"/>
                    <a:gd name="connsiteX69" fmla="*/ 1333 w 10000"/>
                    <a:gd name="connsiteY69" fmla="*/ 7136 h 10127"/>
                    <a:gd name="connsiteX70" fmla="*/ 1333 w 10000"/>
                    <a:gd name="connsiteY70" fmla="*/ 7136 h 10127"/>
                    <a:gd name="connsiteX71" fmla="*/ 1444 w 10000"/>
                    <a:gd name="connsiteY71" fmla="*/ 7417 h 10127"/>
                    <a:gd name="connsiteX72" fmla="*/ 1500 w 10000"/>
                    <a:gd name="connsiteY72" fmla="*/ 7626 h 10127"/>
                    <a:gd name="connsiteX73" fmla="*/ 1500 w 10000"/>
                    <a:gd name="connsiteY73" fmla="*/ 7823 h 10127"/>
                    <a:gd name="connsiteX74" fmla="*/ 1556 w 10000"/>
                    <a:gd name="connsiteY74" fmla="*/ 7911 h 10127"/>
                    <a:gd name="connsiteX75" fmla="*/ 1722 w 10000"/>
                    <a:gd name="connsiteY75" fmla="*/ 7973 h 10127"/>
                    <a:gd name="connsiteX76" fmla="*/ 1944 w 10000"/>
                    <a:gd name="connsiteY76" fmla="*/ 8038 h 10127"/>
                    <a:gd name="connsiteX77" fmla="*/ 2944 w 10000"/>
                    <a:gd name="connsiteY77" fmla="*/ 8115 h 10127"/>
                    <a:gd name="connsiteX78" fmla="*/ 2944 w 10000"/>
                    <a:gd name="connsiteY78" fmla="*/ 8115 h 10127"/>
                    <a:gd name="connsiteX79" fmla="*/ 4167 w 10000"/>
                    <a:gd name="connsiteY79" fmla="*/ 8256 h 10127"/>
                    <a:gd name="connsiteX80" fmla="*/ 4889 w 10000"/>
                    <a:gd name="connsiteY80" fmla="*/ 8452 h 10127"/>
                    <a:gd name="connsiteX81" fmla="*/ 5278 w 10000"/>
                    <a:gd name="connsiteY81" fmla="*/ 8673 h 10127"/>
                    <a:gd name="connsiteX82" fmla="*/ 5444 w 10000"/>
                    <a:gd name="connsiteY82" fmla="*/ 8731 h 10127"/>
                    <a:gd name="connsiteX83" fmla="*/ 5444 w 10000"/>
                    <a:gd name="connsiteY83" fmla="*/ 8731 h 10127"/>
                    <a:gd name="connsiteX84" fmla="*/ 5722 w 10000"/>
                    <a:gd name="connsiteY84" fmla="*/ 8886 h 10127"/>
                    <a:gd name="connsiteX85" fmla="*/ 5833 w 10000"/>
                    <a:gd name="connsiteY85" fmla="*/ 8957 h 10127"/>
                    <a:gd name="connsiteX86" fmla="*/ 5833 w 10000"/>
                    <a:gd name="connsiteY86" fmla="*/ 8957 h 10127"/>
                    <a:gd name="connsiteX87" fmla="*/ 5833 w 10000"/>
                    <a:gd name="connsiteY87" fmla="*/ 8886 h 10127"/>
                    <a:gd name="connsiteX88" fmla="*/ 5889 w 10000"/>
                    <a:gd name="connsiteY88" fmla="*/ 8808 h 10127"/>
                    <a:gd name="connsiteX89" fmla="*/ 6000 w 10000"/>
                    <a:gd name="connsiteY89" fmla="*/ 8731 h 10127"/>
                    <a:gd name="connsiteX90" fmla="*/ 6167 w 10000"/>
                    <a:gd name="connsiteY90" fmla="*/ 8673 h 10127"/>
                    <a:gd name="connsiteX91" fmla="*/ 6444 w 10000"/>
                    <a:gd name="connsiteY91" fmla="*/ 8673 h 10127"/>
                    <a:gd name="connsiteX92" fmla="*/ 6833 w 10000"/>
                    <a:gd name="connsiteY92" fmla="*/ 8731 h 10127"/>
                    <a:gd name="connsiteX93" fmla="*/ 7278 w 10000"/>
                    <a:gd name="connsiteY93" fmla="*/ 8957 h 10127"/>
                    <a:gd name="connsiteX94" fmla="*/ 7278 w 10000"/>
                    <a:gd name="connsiteY94" fmla="*/ 8957 h 10127"/>
                    <a:gd name="connsiteX95" fmla="*/ 8722 w 10000"/>
                    <a:gd name="connsiteY95" fmla="*/ 9563 h 10127"/>
                    <a:gd name="connsiteX96" fmla="*/ 10000 w 10000"/>
                    <a:gd name="connsiteY96" fmla="*/ 10127 h 10127"/>
                    <a:gd name="connsiteX97" fmla="*/ 10000 w 10000"/>
                    <a:gd name="connsiteY97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611 w 10000"/>
                    <a:gd name="connsiteY33" fmla="*/ 1866 h 10127"/>
                    <a:gd name="connsiteX34" fmla="*/ 4556 w 10000"/>
                    <a:gd name="connsiteY34" fmla="*/ 1943 h 10127"/>
                    <a:gd name="connsiteX35" fmla="*/ 4500 w 10000"/>
                    <a:gd name="connsiteY35" fmla="*/ 1866 h 10127"/>
                    <a:gd name="connsiteX36" fmla="*/ 4500 w 10000"/>
                    <a:gd name="connsiteY36" fmla="*/ 1866 h 10127"/>
                    <a:gd name="connsiteX37" fmla="*/ 4111 w 10000"/>
                    <a:gd name="connsiteY37" fmla="*/ 822 h 10127"/>
                    <a:gd name="connsiteX38" fmla="*/ 4111 w 10000"/>
                    <a:gd name="connsiteY38" fmla="*/ 404 h 10127"/>
                    <a:gd name="connsiteX39" fmla="*/ 4111 w 10000"/>
                    <a:gd name="connsiteY39" fmla="*/ 404 h 10127"/>
                    <a:gd name="connsiteX40" fmla="*/ 4195 w 10000"/>
                    <a:gd name="connsiteY40" fmla="*/ 119 h 10127"/>
                    <a:gd name="connsiteX41" fmla="*/ 4213 w 10000"/>
                    <a:gd name="connsiteY41" fmla="*/ 0 h 10127"/>
                    <a:gd name="connsiteX42" fmla="*/ 4000 w 10000"/>
                    <a:gd name="connsiteY42" fmla="*/ 127 h 10127"/>
                    <a:gd name="connsiteX43" fmla="*/ 3722 w 10000"/>
                    <a:gd name="connsiteY43" fmla="*/ 200 h 10127"/>
                    <a:gd name="connsiteX44" fmla="*/ 3611 w 10000"/>
                    <a:gd name="connsiteY44" fmla="*/ 273 h 10127"/>
                    <a:gd name="connsiteX45" fmla="*/ 3556 w 10000"/>
                    <a:gd name="connsiteY45" fmla="*/ 344 h 10127"/>
                    <a:gd name="connsiteX46" fmla="*/ 3556 w 10000"/>
                    <a:gd name="connsiteY46" fmla="*/ 344 h 10127"/>
                    <a:gd name="connsiteX47" fmla="*/ 3444 w 10000"/>
                    <a:gd name="connsiteY47" fmla="*/ 618 h 10127"/>
                    <a:gd name="connsiteX48" fmla="*/ 3278 w 10000"/>
                    <a:gd name="connsiteY48" fmla="*/ 1039 h 10127"/>
                    <a:gd name="connsiteX49" fmla="*/ 3000 w 10000"/>
                    <a:gd name="connsiteY49" fmla="*/ 1516 h 10127"/>
                    <a:gd name="connsiteX50" fmla="*/ 2667 w 10000"/>
                    <a:gd name="connsiteY50" fmla="*/ 1866 h 10127"/>
                    <a:gd name="connsiteX51" fmla="*/ 2667 w 10000"/>
                    <a:gd name="connsiteY51" fmla="*/ 1866 h 10127"/>
                    <a:gd name="connsiteX52" fmla="*/ 2333 w 10000"/>
                    <a:gd name="connsiteY52" fmla="*/ 2152 h 10127"/>
                    <a:gd name="connsiteX53" fmla="*/ 1833 w 10000"/>
                    <a:gd name="connsiteY53" fmla="*/ 2431 h 10127"/>
                    <a:gd name="connsiteX54" fmla="*/ 1389 w 10000"/>
                    <a:gd name="connsiteY54" fmla="*/ 2562 h 10127"/>
                    <a:gd name="connsiteX55" fmla="*/ 889 w 10000"/>
                    <a:gd name="connsiteY55" fmla="*/ 2633 h 10127"/>
                    <a:gd name="connsiteX56" fmla="*/ 889 w 10000"/>
                    <a:gd name="connsiteY56" fmla="*/ 2633 h 10127"/>
                    <a:gd name="connsiteX57" fmla="*/ 500 w 10000"/>
                    <a:gd name="connsiteY57" fmla="*/ 2717 h 10127"/>
                    <a:gd name="connsiteX58" fmla="*/ 222 w 10000"/>
                    <a:gd name="connsiteY58" fmla="*/ 2768 h 10127"/>
                    <a:gd name="connsiteX59" fmla="*/ 0 w 10000"/>
                    <a:gd name="connsiteY59" fmla="*/ 2836 h 10127"/>
                    <a:gd name="connsiteX60" fmla="*/ 0 w 10000"/>
                    <a:gd name="connsiteY60" fmla="*/ 2836 h 10127"/>
                    <a:gd name="connsiteX61" fmla="*/ 278 w 10000"/>
                    <a:gd name="connsiteY61" fmla="*/ 3955 h 10127"/>
                    <a:gd name="connsiteX62" fmla="*/ 500 w 10000"/>
                    <a:gd name="connsiteY62" fmla="*/ 4773 h 10127"/>
                    <a:gd name="connsiteX63" fmla="*/ 722 w 10000"/>
                    <a:gd name="connsiteY63" fmla="*/ 5476 h 10127"/>
                    <a:gd name="connsiteX64" fmla="*/ 722 w 10000"/>
                    <a:gd name="connsiteY64" fmla="*/ 5476 h 10127"/>
                    <a:gd name="connsiteX65" fmla="*/ 889 w 10000"/>
                    <a:gd name="connsiteY65" fmla="*/ 5891 h 10127"/>
                    <a:gd name="connsiteX66" fmla="*/ 944 w 10000"/>
                    <a:gd name="connsiteY66" fmla="*/ 6248 h 10127"/>
                    <a:gd name="connsiteX67" fmla="*/ 1111 w 10000"/>
                    <a:gd name="connsiteY67" fmla="*/ 6598 h 10127"/>
                    <a:gd name="connsiteX68" fmla="*/ 1333 w 10000"/>
                    <a:gd name="connsiteY68" fmla="*/ 7136 h 10127"/>
                    <a:gd name="connsiteX69" fmla="*/ 1333 w 10000"/>
                    <a:gd name="connsiteY69" fmla="*/ 7136 h 10127"/>
                    <a:gd name="connsiteX70" fmla="*/ 1444 w 10000"/>
                    <a:gd name="connsiteY70" fmla="*/ 7417 h 10127"/>
                    <a:gd name="connsiteX71" fmla="*/ 1500 w 10000"/>
                    <a:gd name="connsiteY71" fmla="*/ 7626 h 10127"/>
                    <a:gd name="connsiteX72" fmla="*/ 1500 w 10000"/>
                    <a:gd name="connsiteY72" fmla="*/ 7823 h 10127"/>
                    <a:gd name="connsiteX73" fmla="*/ 1556 w 10000"/>
                    <a:gd name="connsiteY73" fmla="*/ 7911 h 10127"/>
                    <a:gd name="connsiteX74" fmla="*/ 1722 w 10000"/>
                    <a:gd name="connsiteY74" fmla="*/ 7973 h 10127"/>
                    <a:gd name="connsiteX75" fmla="*/ 1944 w 10000"/>
                    <a:gd name="connsiteY75" fmla="*/ 8038 h 10127"/>
                    <a:gd name="connsiteX76" fmla="*/ 2944 w 10000"/>
                    <a:gd name="connsiteY76" fmla="*/ 8115 h 10127"/>
                    <a:gd name="connsiteX77" fmla="*/ 2944 w 10000"/>
                    <a:gd name="connsiteY77" fmla="*/ 8115 h 10127"/>
                    <a:gd name="connsiteX78" fmla="*/ 4167 w 10000"/>
                    <a:gd name="connsiteY78" fmla="*/ 8256 h 10127"/>
                    <a:gd name="connsiteX79" fmla="*/ 4889 w 10000"/>
                    <a:gd name="connsiteY79" fmla="*/ 8452 h 10127"/>
                    <a:gd name="connsiteX80" fmla="*/ 5278 w 10000"/>
                    <a:gd name="connsiteY80" fmla="*/ 8673 h 10127"/>
                    <a:gd name="connsiteX81" fmla="*/ 5444 w 10000"/>
                    <a:gd name="connsiteY81" fmla="*/ 8731 h 10127"/>
                    <a:gd name="connsiteX82" fmla="*/ 5444 w 10000"/>
                    <a:gd name="connsiteY82" fmla="*/ 8731 h 10127"/>
                    <a:gd name="connsiteX83" fmla="*/ 5722 w 10000"/>
                    <a:gd name="connsiteY83" fmla="*/ 8886 h 10127"/>
                    <a:gd name="connsiteX84" fmla="*/ 5833 w 10000"/>
                    <a:gd name="connsiteY84" fmla="*/ 8957 h 10127"/>
                    <a:gd name="connsiteX85" fmla="*/ 5833 w 10000"/>
                    <a:gd name="connsiteY85" fmla="*/ 8957 h 10127"/>
                    <a:gd name="connsiteX86" fmla="*/ 5833 w 10000"/>
                    <a:gd name="connsiteY86" fmla="*/ 8886 h 10127"/>
                    <a:gd name="connsiteX87" fmla="*/ 5889 w 10000"/>
                    <a:gd name="connsiteY87" fmla="*/ 8808 h 10127"/>
                    <a:gd name="connsiteX88" fmla="*/ 6000 w 10000"/>
                    <a:gd name="connsiteY88" fmla="*/ 8731 h 10127"/>
                    <a:gd name="connsiteX89" fmla="*/ 6167 w 10000"/>
                    <a:gd name="connsiteY89" fmla="*/ 8673 h 10127"/>
                    <a:gd name="connsiteX90" fmla="*/ 6444 w 10000"/>
                    <a:gd name="connsiteY90" fmla="*/ 8673 h 10127"/>
                    <a:gd name="connsiteX91" fmla="*/ 6833 w 10000"/>
                    <a:gd name="connsiteY91" fmla="*/ 8731 h 10127"/>
                    <a:gd name="connsiteX92" fmla="*/ 7278 w 10000"/>
                    <a:gd name="connsiteY92" fmla="*/ 8957 h 10127"/>
                    <a:gd name="connsiteX93" fmla="*/ 7278 w 10000"/>
                    <a:gd name="connsiteY93" fmla="*/ 8957 h 10127"/>
                    <a:gd name="connsiteX94" fmla="*/ 8722 w 10000"/>
                    <a:gd name="connsiteY94" fmla="*/ 9563 h 10127"/>
                    <a:gd name="connsiteX95" fmla="*/ 10000 w 10000"/>
                    <a:gd name="connsiteY95" fmla="*/ 10127 h 10127"/>
                    <a:gd name="connsiteX96" fmla="*/ 10000 w 10000"/>
                    <a:gd name="connsiteY96" fmla="*/ 5399 h 10127"/>
                    <a:gd name="connsiteX0" fmla="*/ 10000 w 10000"/>
                    <a:gd name="connsiteY0" fmla="*/ 5399 h 10127"/>
                    <a:gd name="connsiteX1" fmla="*/ 10000 w 10000"/>
                    <a:gd name="connsiteY1" fmla="*/ 5399 h 10127"/>
                    <a:gd name="connsiteX2" fmla="*/ 9222 w 10000"/>
                    <a:gd name="connsiteY2" fmla="*/ 5476 h 10127"/>
                    <a:gd name="connsiteX3" fmla="*/ 8944 w 10000"/>
                    <a:gd name="connsiteY3" fmla="*/ 5476 h 10127"/>
                    <a:gd name="connsiteX4" fmla="*/ 8833 w 10000"/>
                    <a:gd name="connsiteY4" fmla="*/ 5399 h 10127"/>
                    <a:gd name="connsiteX5" fmla="*/ 8778 w 10000"/>
                    <a:gd name="connsiteY5" fmla="*/ 5332 h 10127"/>
                    <a:gd name="connsiteX6" fmla="*/ 8778 w 10000"/>
                    <a:gd name="connsiteY6" fmla="*/ 5332 h 10127"/>
                    <a:gd name="connsiteX7" fmla="*/ 8444 w 10000"/>
                    <a:gd name="connsiteY7" fmla="*/ 4501 h 10127"/>
                    <a:gd name="connsiteX8" fmla="*/ 8167 w 10000"/>
                    <a:gd name="connsiteY8" fmla="*/ 3737 h 10127"/>
                    <a:gd name="connsiteX9" fmla="*/ 8167 w 10000"/>
                    <a:gd name="connsiteY9" fmla="*/ 3737 h 10127"/>
                    <a:gd name="connsiteX10" fmla="*/ 8056 w 10000"/>
                    <a:gd name="connsiteY10" fmla="*/ 3605 h 10127"/>
                    <a:gd name="connsiteX11" fmla="*/ 7889 w 10000"/>
                    <a:gd name="connsiteY11" fmla="*/ 3471 h 10127"/>
                    <a:gd name="connsiteX12" fmla="*/ 7444 w 10000"/>
                    <a:gd name="connsiteY12" fmla="*/ 3389 h 10127"/>
                    <a:gd name="connsiteX13" fmla="*/ 6889 w 10000"/>
                    <a:gd name="connsiteY13" fmla="*/ 3324 h 10127"/>
                    <a:gd name="connsiteX14" fmla="*/ 6389 w 10000"/>
                    <a:gd name="connsiteY14" fmla="*/ 3324 h 10127"/>
                    <a:gd name="connsiteX15" fmla="*/ 6389 w 10000"/>
                    <a:gd name="connsiteY15" fmla="*/ 3324 h 10127"/>
                    <a:gd name="connsiteX16" fmla="*/ 6167 w 10000"/>
                    <a:gd name="connsiteY16" fmla="*/ 3247 h 10127"/>
                    <a:gd name="connsiteX17" fmla="*/ 6056 w 10000"/>
                    <a:gd name="connsiteY17" fmla="*/ 3121 h 10127"/>
                    <a:gd name="connsiteX18" fmla="*/ 6000 w 10000"/>
                    <a:gd name="connsiteY18" fmla="*/ 2972 h 10127"/>
                    <a:gd name="connsiteX19" fmla="*/ 6000 w 10000"/>
                    <a:gd name="connsiteY19" fmla="*/ 2717 h 10127"/>
                    <a:gd name="connsiteX20" fmla="*/ 6056 w 10000"/>
                    <a:gd name="connsiteY20" fmla="*/ 2152 h 10127"/>
                    <a:gd name="connsiteX21" fmla="*/ 6111 w 10000"/>
                    <a:gd name="connsiteY21" fmla="*/ 1866 h 10127"/>
                    <a:gd name="connsiteX22" fmla="*/ 6056 w 10000"/>
                    <a:gd name="connsiteY22" fmla="*/ 1516 h 10127"/>
                    <a:gd name="connsiteX23" fmla="*/ 6056 w 10000"/>
                    <a:gd name="connsiteY23" fmla="*/ 1516 h 10127"/>
                    <a:gd name="connsiteX24" fmla="*/ 6000 w 10000"/>
                    <a:gd name="connsiteY24" fmla="*/ 1308 h 10127"/>
                    <a:gd name="connsiteX25" fmla="*/ 5944 w 10000"/>
                    <a:gd name="connsiteY25" fmla="*/ 1167 h 10127"/>
                    <a:gd name="connsiteX26" fmla="*/ 5833 w 10000"/>
                    <a:gd name="connsiteY26" fmla="*/ 1167 h 10127"/>
                    <a:gd name="connsiteX27" fmla="*/ 5667 w 10000"/>
                    <a:gd name="connsiteY27" fmla="*/ 1230 h 10127"/>
                    <a:gd name="connsiteX28" fmla="*/ 5333 w 10000"/>
                    <a:gd name="connsiteY28" fmla="*/ 1447 h 10127"/>
                    <a:gd name="connsiteX29" fmla="*/ 4889 w 10000"/>
                    <a:gd name="connsiteY29" fmla="*/ 1798 h 10127"/>
                    <a:gd name="connsiteX30" fmla="*/ 4889 w 10000"/>
                    <a:gd name="connsiteY30" fmla="*/ 1798 h 10127"/>
                    <a:gd name="connsiteX31" fmla="*/ 4611 w 10000"/>
                    <a:gd name="connsiteY31" fmla="*/ 1866 h 10127"/>
                    <a:gd name="connsiteX32" fmla="*/ 4500 w 10000"/>
                    <a:gd name="connsiteY32" fmla="*/ 1866 h 10127"/>
                    <a:gd name="connsiteX33" fmla="*/ 4611 w 10000"/>
                    <a:gd name="connsiteY33" fmla="*/ 1866 h 10127"/>
                    <a:gd name="connsiteX34" fmla="*/ 4500 w 10000"/>
                    <a:gd name="connsiteY34" fmla="*/ 1866 h 10127"/>
                    <a:gd name="connsiteX35" fmla="*/ 4500 w 10000"/>
                    <a:gd name="connsiteY35" fmla="*/ 1866 h 10127"/>
                    <a:gd name="connsiteX36" fmla="*/ 4111 w 10000"/>
                    <a:gd name="connsiteY36" fmla="*/ 822 h 10127"/>
                    <a:gd name="connsiteX37" fmla="*/ 4111 w 10000"/>
                    <a:gd name="connsiteY37" fmla="*/ 404 h 10127"/>
                    <a:gd name="connsiteX38" fmla="*/ 4111 w 10000"/>
                    <a:gd name="connsiteY38" fmla="*/ 404 h 10127"/>
                    <a:gd name="connsiteX39" fmla="*/ 4195 w 10000"/>
                    <a:gd name="connsiteY39" fmla="*/ 119 h 10127"/>
                    <a:gd name="connsiteX40" fmla="*/ 4213 w 10000"/>
                    <a:gd name="connsiteY40" fmla="*/ 0 h 10127"/>
                    <a:gd name="connsiteX41" fmla="*/ 4000 w 10000"/>
                    <a:gd name="connsiteY41" fmla="*/ 127 h 10127"/>
                    <a:gd name="connsiteX42" fmla="*/ 3722 w 10000"/>
                    <a:gd name="connsiteY42" fmla="*/ 200 h 10127"/>
                    <a:gd name="connsiteX43" fmla="*/ 3611 w 10000"/>
                    <a:gd name="connsiteY43" fmla="*/ 273 h 10127"/>
                    <a:gd name="connsiteX44" fmla="*/ 3556 w 10000"/>
                    <a:gd name="connsiteY44" fmla="*/ 344 h 10127"/>
                    <a:gd name="connsiteX45" fmla="*/ 3556 w 10000"/>
                    <a:gd name="connsiteY45" fmla="*/ 344 h 10127"/>
                    <a:gd name="connsiteX46" fmla="*/ 3444 w 10000"/>
                    <a:gd name="connsiteY46" fmla="*/ 618 h 10127"/>
                    <a:gd name="connsiteX47" fmla="*/ 3278 w 10000"/>
                    <a:gd name="connsiteY47" fmla="*/ 1039 h 10127"/>
                    <a:gd name="connsiteX48" fmla="*/ 3000 w 10000"/>
                    <a:gd name="connsiteY48" fmla="*/ 1516 h 10127"/>
                    <a:gd name="connsiteX49" fmla="*/ 2667 w 10000"/>
                    <a:gd name="connsiteY49" fmla="*/ 1866 h 10127"/>
                    <a:gd name="connsiteX50" fmla="*/ 2667 w 10000"/>
                    <a:gd name="connsiteY50" fmla="*/ 1866 h 10127"/>
                    <a:gd name="connsiteX51" fmla="*/ 2333 w 10000"/>
                    <a:gd name="connsiteY51" fmla="*/ 2152 h 10127"/>
                    <a:gd name="connsiteX52" fmla="*/ 1833 w 10000"/>
                    <a:gd name="connsiteY52" fmla="*/ 2431 h 10127"/>
                    <a:gd name="connsiteX53" fmla="*/ 1389 w 10000"/>
                    <a:gd name="connsiteY53" fmla="*/ 2562 h 10127"/>
                    <a:gd name="connsiteX54" fmla="*/ 889 w 10000"/>
                    <a:gd name="connsiteY54" fmla="*/ 2633 h 10127"/>
                    <a:gd name="connsiteX55" fmla="*/ 889 w 10000"/>
                    <a:gd name="connsiteY55" fmla="*/ 2633 h 10127"/>
                    <a:gd name="connsiteX56" fmla="*/ 500 w 10000"/>
                    <a:gd name="connsiteY56" fmla="*/ 2717 h 10127"/>
                    <a:gd name="connsiteX57" fmla="*/ 222 w 10000"/>
                    <a:gd name="connsiteY57" fmla="*/ 2768 h 10127"/>
                    <a:gd name="connsiteX58" fmla="*/ 0 w 10000"/>
                    <a:gd name="connsiteY58" fmla="*/ 2836 h 10127"/>
                    <a:gd name="connsiteX59" fmla="*/ 0 w 10000"/>
                    <a:gd name="connsiteY59" fmla="*/ 2836 h 10127"/>
                    <a:gd name="connsiteX60" fmla="*/ 278 w 10000"/>
                    <a:gd name="connsiteY60" fmla="*/ 3955 h 10127"/>
                    <a:gd name="connsiteX61" fmla="*/ 500 w 10000"/>
                    <a:gd name="connsiteY61" fmla="*/ 4773 h 10127"/>
                    <a:gd name="connsiteX62" fmla="*/ 722 w 10000"/>
                    <a:gd name="connsiteY62" fmla="*/ 5476 h 10127"/>
                    <a:gd name="connsiteX63" fmla="*/ 722 w 10000"/>
                    <a:gd name="connsiteY63" fmla="*/ 5476 h 10127"/>
                    <a:gd name="connsiteX64" fmla="*/ 889 w 10000"/>
                    <a:gd name="connsiteY64" fmla="*/ 5891 h 10127"/>
                    <a:gd name="connsiteX65" fmla="*/ 944 w 10000"/>
                    <a:gd name="connsiteY65" fmla="*/ 6248 h 10127"/>
                    <a:gd name="connsiteX66" fmla="*/ 1111 w 10000"/>
                    <a:gd name="connsiteY66" fmla="*/ 6598 h 10127"/>
                    <a:gd name="connsiteX67" fmla="*/ 1333 w 10000"/>
                    <a:gd name="connsiteY67" fmla="*/ 7136 h 10127"/>
                    <a:gd name="connsiteX68" fmla="*/ 1333 w 10000"/>
                    <a:gd name="connsiteY68" fmla="*/ 7136 h 10127"/>
                    <a:gd name="connsiteX69" fmla="*/ 1444 w 10000"/>
                    <a:gd name="connsiteY69" fmla="*/ 7417 h 10127"/>
                    <a:gd name="connsiteX70" fmla="*/ 1500 w 10000"/>
                    <a:gd name="connsiteY70" fmla="*/ 7626 h 10127"/>
                    <a:gd name="connsiteX71" fmla="*/ 1500 w 10000"/>
                    <a:gd name="connsiteY71" fmla="*/ 7823 h 10127"/>
                    <a:gd name="connsiteX72" fmla="*/ 1556 w 10000"/>
                    <a:gd name="connsiteY72" fmla="*/ 7911 h 10127"/>
                    <a:gd name="connsiteX73" fmla="*/ 1722 w 10000"/>
                    <a:gd name="connsiteY73" fmla="*/ 7973 h 10127"/>
                    <a:gd name="connsiteX74" fmla="*/ 1944 w 10000"/>
                    <a:gd name="connsiteY74" fmla="*/ 8038 h 10127"/>
                    <a:gd name="connsiteX75" fmla="*/ 2944 w 10000"/>
                    <a:gd name="connsiteY75" fmla="*/ 8115 h 10127"/>
                    <a:gd name="connsiteX76" fmla="*/ 2944 w 10000"/>
                    <a:gd name="connsiteY76" fmla="*/ 8115 h 10127"/>
                    <a:gd name="connsiteX77" fmla="*/ 4167 w 10000"/>
                    <a:gd name="connsiteY77" fmla="*/ 8256 h 10127"/>
                    <a:gd name="connsiteX78" fmla="*/ 4889 w 10000"/>
                    <a:gd name="connsiteY78" fmla="*/ 8452 h 10127"/>
                    <a:gd name="connsiteX79" fmla="*/ 5278 w 10000"/>
                    <a:gd name="connsiteY79" fmla="*/ 8673 h 10127"/>
                    <a:gd name="connsiteX80" fmla="*/ 5444 w 10000"/>
                    <a:gd name="connsiteY80" fmla="*/ 8731 h 10127"/>
                    <a:gd name="connsiteX81" fmla="*/ 5444 w 10000"/>
                    <a:gd name="connsiteY81" fmla="*/ 8731 h 10127"/>
                    <a:gd name="connsiteX82" fmla="*/ 5722 w 10000"/>
                    <a:gd name="connsiteY82" fmla="*/ 8886 h 10127"/>
                    <a:gd name="connsiteX83" fmla="*/ 5833 w 10000"/>
                    <a:gd name="connsiteY83" fmla="*/ 8957 h 10127"/>
                    <a:gd name="connsiteX84" fmla="*/ 5833 w 10000"/>
                    <a:gd name="connsiteY84" fmla="*/ 8957 h 10127"/>
                    <a:gd name="connsiteX85" fmla="*/ 5833 w 10000"/>
                    <a:gd name="connsiteY85" fmla="*/ 8886 h 10127"/>
                    <a:gd name="connsiteX86" fmla="*/ 5889 w 10000"/>
                    <a:gd name="connsiteY86" fmla="*/ 8808 h 10127"/>
                    <a:gd name="connsiteX87" fmla="*/ 6000 w 10000"/>
                    <a:gd name="connsiteY87" fmla="*/ 8731 h 10127"/>
                    <a:gd name="connsiteX88" fmla="*/ 6167 w 10000"/>
                    <a:gd name="connsiteY88" fmla="*/ 8673 h 10127"/>
                    <a:gd name="connsiteX89" fmla="*/ 6444 w 10000"/>
                    <a:gd name="connsiteY89" fmla="*/ 8673 h 10127"/>
                    <a:gd name="connsiteX90" fmla="*/ 6833 w 10000"/>
                    <a:gd name="connsiteY90" fmla="*/ 8731 h 10127"/>
                    <a:gd name="connsiteX91" fmla="*/ 7278 w 10000"/>
                    <a:gd name="connsiteY91" fmla="*/ 8957 h 10127"/>
                    <a:gd name="connsiteX92" fmla="*/ 7278 w 10000"/>
                    <a:gd name="connsiteY92" fmla="*/ 8957 h 10127"/>
                    <a:gd name="connsiteX93" fmla="*/ 8722 w 10000"/>
                    <a:gd name="connsiteY93" fmla="*/ 9563 h 10127"/>
                    <a:gd name="connsiteX94" fmla="*/ 10000 w 10000"/>
                    <a:gd name="connsiteY94" fmla="*/ 10127 h 10127"/>
                    <a:gd name="connsiteX95" fmla="*/ 10000 w 10000"/>
                    <a:gd name="connsiteY95" fmla="*/ 5399 h 101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10000" h="10127">
                      <a:moveTo>
                        <a:pt x="10000" y="5399"/>
                      </a:moveTo>
                      <a:lnTo>
                        <a:pt x="10000" y="5399"/>
                      </a:lnTo>
                      <a:lnTo>
                        <a:pt x="9222" y="5476"/>
                      </a:lnTo>
                      <a:lnTo>
                        <a:pt x="8944" y="5476"/>
                      </a:lnTo>
                      <a:lnTo>
                        <a:pt x="8833" y="5399"/>
                      </a:lnTo>
                      <a:cubicBezTo>
                        <a:pt x="8815" y="5379"/>
                        <a:pt x="8796" y="5360"/>
                        <a:pt x="8778" y="5332"/>
                      </a:cubicBezTo>
                      <a:lnTo>
                        <a:pt x="8778" y="5332"/>
                      </a:lnTo>
                      <a:lnTo>
                        <a:pt x="8444" y="4501"/>
                      </a:lnTo>
                      <a:cubicBezTo>
                        <a:pt x="8352" y="4246"/>
                        <a:pt x="8259" y="3992"/>
                        <a:pt x="8167" y="3737"/>
                      </a:cubicBezTo>
                      <a:lnTo>
                        <a:pt x="8167" y="3737"/>
                      </a:lnTo>
                      <a:lnTo>
                        <a:pt x="8056" y="3605"/>
                      </a:lnTo>
                      <a:cubicBezTo>
                        <a:pt x="8000" y="3561"/>
                        <a:pt x="7945" y="3517"/>
                        <a:pt x="7889" y="3471"/>
                      </a:cubicBezTo>
                      <a:lnTo>
                        <a:pt x="7444" y="3389"/>
                      </a:lnTo>
                      <a:lnTo>
                        <a:pt x="6889" y="3324"/>
                      </a:lnTo>
                      <a:lnTo>
                        <a:pt x="6389" y="3324"/>
                      </a:lnTo>
                      <a:lnTo>
                        <a:pt x="6389" y="3324"/>
                      </a:lnTo>
                      <a:lnTo>
                        <a:pt x="6167" y="3247"/>
                      </a:lnTo>
                      <a:lnTo>
                        <a:pt x="6056" y="3121"/>
                      </a:lnTo>
                      <a:cubicBezTo>
                        <a:pt x="6037" y="3076"/>
                        <a:pt x="6019" y="3022"/>
                        <a:pt x="6000" y="2972"/>
                      </a:cubicBezTo>
                      <a:lnTo>
                        <a:pt x="6000" y="2717"/>
                      </a:lnTo>
                      <a:cubicBezTo>
                        <a:pt x="6019" y="2526"/>
                        <a:pt x="6037" y="2332"/>
                        <a:pt x="6056" y="2152"/>
                      </a:cubicBezTo>
                      <a:cubicBezTo>
                        <a:pt x="6074" y="2051"/>
                        <a:pt x="6093" y="1963"/>
                        <a:pt x="6111" y="1866"/>
                      </a:cubicBezTo>
                      <a:cubicBezTo>
                        <a:pt x="6093" y="1740"/>
                        <a:pt x="6074" y="1634"/>
                        <a:pt x="6056" y="1516"/>
                      </a:cubicBezTo>
                      <a:lnTo>
                        <a:pt x="6056" y="1516"/>
                      </a:lnTo>
                      <a:cubicBezTo>
                        <a:pt x="6037" y="1447"/>
                        <a:pt x="6019" y="1371"/>
                        <a:pt x="6000" y="1308"/>
                      </a:cubicBezTo>
                      <a:cubicBezTo>
                        <a:pt x="5981" y="1255"/>
                        <a:pt x="5963" y="1213"/>
                        <a:pt x="5944" y="1167"/>
                      </a:cubicBezTo>
                      <a:lnTo>
                        <a:pt x="5833" y="1167"/>
                      </a:lnTo>
                      <a:lnTo>
                        <a:pt x="5667" y="1230"/>
                      </a:lnTo>
                      <a:lnTo>
                        <a:pt x="5333" y="1447"/>
                      </a:lnTo>
                      <a:lnTo>
                        <a:pt x="4889" y="1798"/>
                      </a:lnTo>
                      <a:lnTo>
                        <a:pt x="4889" y="1798"/>
                      </a:lnTo>
                      <a:lnTo>
                        <a:pt x="4611" y="1866"/>
                      </a:lnTo>
                      <a:lnTo>
                        <a:pt x="4500" y="1866"/>
                      </a:lnTo>
                      <a:lnTo>
                        <a:pt x="4611" y="1866"/>
                      </a:lnTo>
                      <a:lnTo>
                        <a:pt x="4500" y="1866"/>
                      </a:lnTo>
                      <a:lnTo>
                        <a:pt x="4500" y="1866"/>
                      </a:lnTo>
                      <a:cubicBezTo>
                        <a:pt x="4435" y="1692"/>
                        <a:pt x="4176" y="1066"/>
                        <a:pt x="4111" y="822"/>
                      </a:cubicBezTo>
                      <a:lnTo>
                        <a:pt x="4111" y="404"/>
                      </a:lnTo>
                      <a:lnTo>
                        <a:pt x="4111" y="404"/>
                      </a:lnTo>
                      <a:cubicBezTo>
                        <a:pt x="4167" y="336"/>
                        <a:pt x="4139" y="185"/>
                        <a:pt x="4195" y="119"/>
                      </a:cubicBezTo>
                      <a:cubicBezTo>
                        <a:pt x="4173" y="52"/>
                        <a:pt x="4235" y="67"/>
                        <a:pt x="4213" y="0"/>
                      </a:cubicBezTo>
                      <a:lnTo>
                        <a:pt x="4000" y="127"/>
                      </a:lnTo>
                      <a:lnTo>
                        <a:pt x="3722" y="200"/>
                      </a:lnTo>
                      <a:lnTo>
                        <a:pt x="3611" y="273"/>
                      </a:lnTo>
                      <a:cubicBezTo>
                        <a:pt x="3593" y="289"/>
                        <a:pt x="3574" y="316"/>
                        <a:pt x="3556" y="344"/>
                      </a:cubicBezTo>
                      <a:lnTo>
                        <a:pt x="3556" y="344"/>
                      </a:lnTo>
                      <a:cubicBezTo>
                        <a:pt x="3519" y="434"/>
                        <a:pt x="3481" y="523"/>
                        <a:pt x="3444" y="618"/>
                      </a:cubicBezTo>
                      <a:cubicBezTo>
                        <a:pt x="3389" y="758"/>
                        <a:pt x="3333" y="895"/>
                        <a:pt x="3278" y="1039"/>
                      </a:cubicBezTo>
                      <a:lnTo>
                        <a:pt x="3000" y="1516"/>
                      </a:lnTo>
                      <a:lnTo>
                        <a:pt x="2667" y="1866"/>
                      </a:lnTo>
                      <a:lnTo>
                        <a:pt x="2667" y="1866"/>
                      </a:lnTo>
                      <a:lnTo>
                        <a:pt x="2333" y="2152"/>
                      </a:lnTo>
                      <a:lnTo>
                        <a:pt x="1833" y="2431"/>
                      </a:lnTo>
                      <a:lnTo>
                        <a:pt x="1389" y="2562"/>
                      </a:lnTo>
                      <a:lnTo>
                        <a:pt x="889" y="2633"/>
                      </a:lnTo>
                      <a:lnTo>
                        <a:pt x="889" y="2633"/>
                      </a:lnTo>
                      <a:lnTo>
                        <a:pt x="500" y="2717"/>
                      </a:lnTo>
                      <a:lnTo>
                        <a:pt x="222" y="2768"/>
                      </a:lnTo>
                      <a:lnTo>
                        <a:pt x="0" y="2836"/>
                      </a:lnTo>
                      <a:lnTo>
                        <a:pt x="0" y="2836"/>
                      </a:lnTo>
                      <a:cubicBezTo>
                        <a:pt x="93" y="3207"/>
                        <a:pt x="185" y="3582"/>
                        <a:pt x="278" y="3955"/>
                      </a:cubicBezTo>
                      <a:lnTo>
                        <a:pt x="500" y="4773"/>
                      </a:lnTo>
                      <a:lnTo>
                        <a:pt x="722" y="5476"/>
                      </a:lnTo>
                      <a:lnTo>
                        <a:pt x="722" y="5476"/>
                      </a:lnTo>
                      <a:cubicBezTo>
                        <a:pt x="778" y="5610"/>
                        <a:pt x="833" y="5753"/>
                        <a:pt x="889" y="5891"/>
                      </a:cubicBezTo>
                      <a:cubicBezTo>
                        <a:pt x="907" y="6018"/>
                        <a:pt x="926" y="6121"/>
                        <a:pt x="944" y="6248"/>
                      </a:cubicBezTo>
                      <a:cubicBezTo>
                        <a:pt x="1000" y="6362"/>
                        <a:pt x="1055" y="6483"/>
                        <a:pt x="1111" y="6598"/>
                      </a:cubicBezTo>
                      <a:lnTo>
                        <a:pt x="1333" y="7136"/>
                      </a:lnTo>
                      <a:lnTo>
                        <a:pt x="1333" y="7136"/>
                      </a:lnTo>
                      <a:lnTo>
                        <a:pt x="1444" y="7417"/>
                      </a:lnTo>
                      <a:cubicBezTo>
                        <a:pt x="1463" y="7488"/>
                        <a:pt x="1481" y="7564"/>
                        <a:pt x="1500" y="7626"/>
                      </a:cubicBezTo>
                      <a:lnTo>
                        <a:pt x="1500" y="7823"/>
                      </a:lnTo>
                      <a:cubicBezTo>
                        <a:pt x="1519" y="7854"/>
                        <a:pt x="1537" y="7884"/>
                        <a:pt x="1556" y="7911"/>
                      </a:cubicBezTo>
                      <a:lnTo>
                        <a:pt x="1722" y="7973"/>
                      </a:lnTo>
                      <a:lnTo>
                        <a:pt x="1944" y="8038"/>
                      </a:lnTo>
                      <a:lnTo>
                        <a:pt x="2944" y="8115"/>
                      </a:lnTo>
                      <a:lnTo>
                        <a:pt x="2944" y="8115"/>
                      </a:lnTo>
                      <a:lnTo>
                        <a:pt x="4167" y="8256"/>
                      </a:lnTo>
                      <a:lnTo>
                        <a:pt x="4889" y="8452"/>
                      </a:lnTo>
                      <a:lnTo>
                        <a:pt x="5278" y="8673"/>
                      </a:lnTo>
                      <a:lnTo>
                        <a:pt x="5444" y="8731"/>
                      </a:lnTo>
                      <a:lnTo>
                        <a:pt x="5444" y="8731"/>
                      </a:lnTo>
                      <a:lnTo>
                        <a:pt x="5722" y="8886"/>
                      </a:lnTo>
                      <a:lnTo>
                        <a:pt x="5833" y="8957"/>
                      </a:lnTo>
                      <a:lnTo>
                        <a:pt x="5833" y="8957"/>
                      </a:lnTo>
                      <a:lnTo>
                        <a:pt x="5833" y="8886"/>
                      </a:lnTo>
                      <a:cubicBezTo>
                        <a:pt x="5852" y="8854"/>
                        <a:pt x="5870" y="8825"/>
                        <a:pt x="5889" y="8808"/>
                      </a:cubicBezTo>
                      <a:lnTo>
                        <a:pt x="6000" y="8731"/>
                      </a:lnTo>
                      <a:lnTo>
                        <a:pt x="6167" y="8673"/>
                      </a:lnTo>
                      <a:lnTo>
                        <a:pt x="6444" y="8673"/>
                      </a:lnTo>
                      <a:lnTo>
                        <a:pt x="6833" y="8731"/>
                      </a:lnTo>
                      <a:lnTo>
                        <a:pt x="7278" y="8957"/>
                      </a:lnTo>
                      <a:lnTo>
                        <a:pt x="7278" y="8957"/>
                      </a:lnTo>
                      <a:lnTo>
                        <a:pt x="8722" y="9563"/>
                      </a:lnTo>
                      <a:lnTo>
                        <a:pt x="10000" y="10127"/>
                      </a:lnTo>
                      <a:lnTo>
                        <a:pt x="10000" y="5399"/>
                      </a:lnTo>
                      <a:close/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82" name="Freeform 91">
                  <a:extLst>
                    <a:ext uri="{FF2B5EF4-FFF2-40B4-BE49-F238E27FC236}">
                      <a16:creationId xmlns:a16="http://schemas.microsoft.com/office/drawing/2014/main" id="{F160C7B7-FE9A-40FB-B381-DCC4A4CF9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20409" y="4916787"/>
                  <a:ext cx="165600" cy="201600"/>
                </a:xfrm>
                <a:custGeom>
                  <a:avLst/>
                  <a:gdLst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556 w 10000"/>
                    <a:gd name="connsiteY71" fmla="*/ 5302 h 10000"/>
                    <a:gd name="connsiteX72" fmla="*/ 6556 w 10000"/>
                    <a:gd name="connsiteY72" fmla="*/ 5302 h 10000"/>
                    <a:gd name="connsiteX73" fmla="*/ 6556 w 10000"/>
                    <a:gd name="connsiteY73" fmla="*/ 5287 h 10000"/>
                    <a:gd name="connsiteX74" fmla="*/ 6556 w 10000"/>
                    <a:gd name="connsiteY74" fmla="*/ 5199 h 10000"/>
                    <a:gd name="connsiteX75" fmla="*/ 6556 w 10000"/>
                    <a:gd name="connsiteY75" fmla="*/ 5199 h 10000"/>
                    <a:gd name="connsiteX76" fmla="*/ 6389 w 10000"/>
                    <a:gd name="connsiteY76" fmla="*/ 5096 h 10000"/>
                    <a:gd name="connsiteX77" fmla="*/ 6056 w 10000"/>
                    <a:gd name="connsiteY77" fmla="*/ 4934 h 10000"/>
                    <a:gd name="connsiteX78" fmla="*/ 5333 w 10000"/>
                    <a:gd name="connsiteY78" fmla="*/ 4624 h 10000"/>
                    <a:gd name="connsiteX79" fmla="*/ 5333 w 10000"/>
                    <a:gd name="connsiteY79" fmla="*/ 4624 h 10000"/>
                    <a:gd name="connsiteX80" fmla="*/ 5167 w 10000"/>
                    <a:gd name="connsiteY80" fmla="*/ 4580 h 10000"/>
                    <a:gd name="connsiteX81" fmla="*/ 4889 w 10000"/>
                    <a:gd name="connsiteY81" fmla="*/ 4521 h 10000"/>
                    <a:gd name="connsiteX82" fmla="*/ 4056 w 10000"/>
                    <a:gd name="connsiteY82" fmla="*/ 4389 h 10000"/>
                    <a:gd name="connsiteX83" fmla="*/ 2889 w 10000"/>
                    <a:gd name="connsiteY83" fmla="*/ 4227 h 10000"/>
                    <a:gd name="connsiteX84" fmla="*/ 2889 w 10000"/>
                    <a:gd name="connsiteY84" fmla="*/ 4227 h 10000"/>
                    <a:gd name="connsiteX85" fmla="*/ 2389 w 10000"/>
                    <a:gd name="connsiteY85" fmla="*/ 4212 h 10000"/>
                    <a:gd name="connsiteX86" fmla="*/ 2000 w 10000"/>
                    <a:gd name="connsiteY86" fmla="*/ 4197 h 10000"/>
                    <a:gd name="connsiteX87" fmla="*/ 1889 w 10000"/>
                    <a:gd name="connsiteY87" fmla="*/ 4183 h 10000"/>
                    <a:gd name="connsiteX88" fmla="*/ 1778 w 10000"/>
                    <a:gd name="connsiteY88" fmla="*/ 4168 h 10000"/>
                    <a:gd name="connsiteX89" fmla="*/ 1778 w 10000"/>
                    <a:gd name="connsiteY89" fmla="*/ 4168 h 10000"/>
                    <a:gd name="connsiteX90" fmla="*/ 1667 w 10000"/>
                    <a:gd name="connsiteY90" fmla="*/ 4109 h 10000"/>
                    <a:gd name="connsiteX91" fmla="*/ 1500 w 10000"/>
                    <a:gd name="connsiteY91" fmla="*/ 4006 h 10000"/>
                    <a:gd name="connsiteX92" fmla="*/ 1444 w 10000"/>
                    <a:gd name="connsiteY92" fmla="*/ 3947 h 10000"/>
                    <a:gd name="connsiteX93" fmla="*/ 1444 w 10000"/>
                    <a:gd name="connsiteY93" fmla="*/ 3888 h 10000"/>
                    <a:gd name="connsiteX94" fmla="*/ 1444 w 10000"/>
                    <a:gd name="connsiteY94" fmla="*/ 3844 h 10000"/>
                    <a:gd name="connsiteX95" fmla="*/ 1556 w 10000"/>
                    <a:gd name="connsiteY95" fmla="*/ 3800 h 10000"/>
                    <a:gd name="connsiteX96" fmla="*/ 1556 w 10000"/>
                    <a:gd name="connsiteY96" fmla="*/ 3800 h 10000"/>
                    <a:gd name="connsiteX97" fmla="*/ 1833 w 10000"/>
                    <a:gd name="connsiteY97" fmla="*/ 3726 h 10000"/>
                    <a:gd name="connsiteX98" fmla="*/ 2111 w 10000"/>
                    <a:gd name="connsiteY98" fmla="*/ 3652 h 10000"/>
                    <a:gd name="connsiteX99" fmla="*/ 2278 w 10000"/>
                    <a:gd name="connsiteY99" fmla="*/ 3608 h 10000"/>
                    <a:gd name="connsiteX100" fmla="*/ 2389 w 10000"/>
                    <a:gd name="connsiteY100" fmla="*/ 3564 h 10000"/>
                    <a:gd name="connsiteX101" fmla="*/ 2389 w 10000"/>
                    <a:gd name="connsiteY101" fmla="*/ 3505 h 10000"/>
                    <a:gd name="connsiteX102" fmla="*/ 2389 w 10000"/>
                    <a:gd name="connsiteY102" fmla="*/ 3432 h 10000"/>
                    <a:gd name="connsiteX103" fmla="*/ 2389 w 10000"/>
                    <a:gd name="connsiteY103" fmla="*/ 3432 h 10000"/>
                    <a:gd name="connsiteX104" fmla="*/ 2167 w 10000"/>
                    <a:gd name="connsiteY104" fmla="*/ 3225 h 10000"/>
                    <a:gd name="connsiteX105" fmla="*/ 1889 w 10000"/>
                    <a:gd name="connsiteY105" fmla="*/ 2946 h 10000"/>
                    <a:gd name="connsiteX106" fmla="*/ 1667 w 10000"/>
                    <a:gd name="connsiteY106" fmla="*/ 2695 h 10000"/>
                    <a:gd name="connsiteX107" fmla="*/ 1611 w 10000"/>
                    <a:gd name="connsiteY107" fmla="*/ 2622 h 10000"/>
                    <a:gd name="connsiteX108" fmla="*/ 1611 w 10000"/>
                    <a:gd name="connsiteY108" fmla="*/ 2592 h 10000"/>
                    <a:gd name="connsiteX109" fmla="*/ 1667 w 10000"/>
                    <a:gd name="connsiteY109" fmla="*/ 2577 h 10000"/>
                    <a:gd name="connsiteX110" fmla="*/ 1667 w 10000"/>
                    <a:gd name="connsiteY110" fmla="*/ 2577 h 10000"/>
                    <a:gd name="connsiteX111" fmla="*/ 2000 w 10000"/>
                    <a:gd name="connsiteY111" fmla="*/ 2563 h 10000"/>
                    <a:gd name="connsiteX112" fmla="*/ 2222 w 10000"/>
                    <a:gd name="connsiteY112" fmla="*/ 2563 h 10000"/>
                    <a:gd name="connsiteX113" fmla="*/ 2389 w 10000"/>
                    <a:gd name="connsiteY113" fmla="*/ 2577 h 10000"/>
                    <a:gd name="connsiteX114" fmla="*/ 2389 w 10000"/>
                    <a:gd name="connsiteY114" fmla="*/ 2577 h 10000"/>
                    <a:gd name="connsiteX115" fmla="*/ 2444 w 10000"/>
                    <a:gd name="connsiteY115" fmla="*/ 2577 h 10000"/>
                    <a:gd name="connsiteX116" fmla="*/ 2500 w 10000"/>
                    <a:gd name="connsiteY116" fmla="*/ 2548 h 10000"/>
                    <a:gd name="connsiteX117" fmla="*/ 2778 w 10000"/>
                    <a:gd name="connsiteY117" fmla="*/ 2459 h 10000"/>
                    <a:gd name="connsiteX118" fmla="*/ 3500 w 10000"/>
                    <a:gd name="connsiteY118" fmla="*/ 2165 h 10000"/>
                    <a:gd name="connsiteX119" fmla="*/ 4444 w 10000"/>
                    <a:gd name="connsiteY119" fmla="*/ 1738 h 10000"/>
                    <a:gd name="connsiteX120" fmla="*/ 4444 w 10000"/>
                    <a:gd name="connsiteY120" fmla="*/ 1738 h 10000"/>
                    <a:gd name="connsiteX121" fmla="*/ 4444 w 10000"/>
                    <a:gd name="connsiteY121" fmla="*/ 1679 h 10000"/>
                    <a:gd name="connsiteX122" fmla="*/ 4444 w 10000"/>
                    <a:gd name="connsiteY122" fmla="*/ 1546 h 10000"/>
                    <a:gd name="connsiteX123" fmla="*/ 4500 w 10000"/>
                    <a:gd name="connsiteY123" fmla="*/ 1458 h 10000"/>
                    <a:gd name="connsiteX124" fmla="*/ 4611 w 10000"/>
                    <a:gd name="connsiteY124" fmla="*/ 1384 h 10000"/>
                    <a:gd name="connsiteX125" fmla="*/ 4778 w 10000"/>
                    <a:gd name="connsiteY125" fmla="*/ 1296 h 10000"/>
                    <a:gd name="connsiteX126" fmla="*/ 5000 w 10000"/>
                    <a:gd name="connsiteY126" fmla="*/ 1222 h 10000"/>
                    <a:gd name="connsiteX127" fmla="*/ 5000 w 10000"/>
                    <a:gd name="connsiteY127" fmla="*/ 1222 h 10000"/>
                    <a:gd name="connsiteX128" fmla="*/ 5556 w 10000"/>
                    <a:gd name="connsiteY128" fmla="*/ 1075 h 10000"/>
                    <a:gd name="connsiteX129" fmla="*/ 6111 w 10000"/>
                    <a:gd name="connsiteY129" fmla="*/ 884 h 10000"/>
                    <a:gd name="connsiteX130" fmla="*/ 6667 w 10000"/>
                    <a:gd name="connsiteY130" fmla="*/ 707 h 10000"/>
                    <a:gd name="connsiteX131" fmla="*/ 7056 w 10000"/>
                    <a:gd name="connsiteY131" fmla="*/ 545 h 10000"/>
                    <a:gd name="connsiteX132" fmla="*/ 7056 w 10000"/>
                    <a:gd name="connsiteY132" fmla="*/ 545 h 10000"/>
                    <a:gd name="connsiteX133" fmla="*/ 7333 w 10000"/>
                    <a:gd name="connsiteY133" fmla="*/ 398 h 10000"/>
                    <a:gd name="connsiteX134" fmla="*/ 7667 w 10000"/>
                    <a:gd name="connsiteY134" fmla="*/ 221 h 10000"/>
                    <a:gd name="connsiteX135" fmla="*/ 8000 w 10000"/>
                    <a:gd name="connsiteY135" fmla="*/ 88 h 10000"/>
                    <a:gd name="connsiteX136" fmla="*/ 8167 w 10000"/>
                    <a:gd name="connsiteY136" fmla="*/ 29 h 10000"/>
                    <a:gd name="connsiteX137" fmla="*/ 8333 w 10000"/>
                    <a:gd name="connsiteY137" fmla="*/ 15 h 10000"/>
                    <a:gd name="connsiteX138" fmla="*/ 8333 w 10000"/>
                    <a:gd name="connsiteY138" fmla="*/ 15 h 10000"/>
                    <a:gd name="connsiteX139" fmla="*/ 8667 w 10000"/>
                    <a:gd name="connsiteY139" fmla="*/ 0 h 10000"/>
                    <a:gd name="connsiteX140" fmla="*/ 9111 w 10000"/>
                    <a:gd name="connsiteY140" fmla="*/ 0 h 10000"/>
                    <a:gd name="connsiteX141" fmla="*/ 10000 w 10000"/>
                    <a:gd name="connsiteY141" fmla="*/ 15 h 10000"/>
                    <a:gd name="connsiteX142" fmla="*/ 10000 w 10000"/>
                    <a:gd name="connsiteY142" fmla="*/ 9013 h 10000"/>
                    <a:gd name="connsiteX143" fmla="*/ 10000 w 10000"/>
                    <a:gd name="connsiteY143" fmla="*/ 9013 h 10000"/>
                    <a:gd name="connsiteX144" fmla="*/ 9722 w 10000"/>
                    <a:gd name="connsiteY144" fmla="*/ 8999 h 10000"/>
                    <a:gd name="connsiteX145" fmla="*/ 9389 w 10000"/>
                    <a:gd name="connsiteY145" fmla="*/ 9013 h 10000"/>
                    <a:gd name="connsiteX146" fmla="*/ 9389 w 10000"/>
                    <a:gd name="connsiteY146" fmla="*/ 9013 h 10000"/>
                    <a:gd name="connsiteX147" fmla="*/ 9278 w 10000"/>
                    <a:gd name="connsiteY147" fmla="*/ 9028 h 10000"/>
                    <a:gd name="connsiteX148" fmla="*/ 9056 w 10000"/>
                    <a:gd name="connsiteY148" fmla="*/ 9013 h 10000"/>
                    <a:gd name="connsiteX149" fmla="*/ 8889 w 10000"/>
                    <a:gd name="connsiteY149" fmla="*/ 8999 h 10000"/>
                    <a:gd name="connsiteX150" fmla="*/ 8722 w 10000"/>
                    <a:gd name="connsiteY150" fmla="*/ 8969 h 10000"/>
                    <a:gd name="connsiteX151" fmla="*/ 8611 w 10000"/>
                    <a:gd name="connsiteY151" fmla="*/ 8925 h 10000"/>
                    <a:gd name="connsiteX152" fmla="*/ 8444 w 10000"/>
                    <a:gd name="connsiteY152" fmla="*/ 8851 h 10000"/>
                    <a:gd name="connsiteX153" fmla="*/ 8444 w 10000"/>
                    <a:gd name="connsiteY153" fmla="*/ 8851 h 10000"/>
                    <a:gd name="connsiteX154" fmla="*/ 8222 w 10000"/>
                    <a:gd name="connsiteY154" fmla="*/ 8719 h 10000"/>
                    <a:gd name="connsiteX155" fmla="*/ 8111 w 10000"/>
                    <a:gd name="connsiteY155" fmla="*/ 8660 h 10000"/>
                    <a:gd name="connsiteX156" fmla="*/ 7944 w 10000"/>
                    <a:gd name="connsiteY156" fmla="*/ 8616 h 10000"/>
                    <a:gd name="connsiteX157" fmla="*/ 7778 w 10000"/>
                    <a:gd name="connsiteY157" fmla="*/ 8586 h 10000"/>
                    <a:gd name="connsiteX158" fmla="*/ 7556 w 10000"/>
                    <a:gd name="connsiteY158" fmla="*/ 8571 h 10000"/>
                    <a:gd name="connsiteX159" fmla="*/ 7333 w 10000"/>
                    <a:gd name="connsiteY159" fmla="*/ 8557 h 10000"/>
                    <a:gd name="connsiteX160" fmla="*/ 7000 w 10000"/>
                    <a:gd name="connsiteY160" fmla="*/ 8542 h 10000"/>
                    <a:gd name="connsiteX161" fmla="*/ 7000 w 10000"/>
                    <a:gd name="connsiteY161" fmla="*/ 8542 h 10000"/>
                    <a:gd name="connsiteX162" fmla="*/ 6556 w 10000"/>
                    <a:gd name="connsiteY162" fmla="*/ 8557 h 10000"/>
                    <a:gd name="connsiteX163" fmla="*/ 6222 w 10000"/>
                    <a:gd name="connsiteY163" fmla="*/ 8557 h 10000"/>
                    <a:gd name="connsiteX164" fmla="*/ 6111 w 10000"/>
                    <a:gd name="connsiteY164" fmla="*/ 8542 h 10000"/>
                    <a:gd name="connsiteX165" fmla="*/ 6056 w 10000"/>
                    <a:gd name="connsiteY165" fmla="*/ 8527 h 10000"/>
                    <a:gd name="connsiteX166" fmla="*/ 6056 w 10000"/>
                    <a:gd name="connsiteY166" fmla="*/ 8527 h 10000"/>
                    <a:gd name="connsiteX167" fmla="*/ 6056 w 10000"/>
                    <a:gd name="connsiteY167" fmla="*/ 8262 h 10000"/>
                    <a:gd name="connsiteX168" fmla="*/ 6056 w 10000"/>
                    <a:gd name="connsiteY168" fmla="*/ 8262 h 10000"/>
                    <a:gd name="connsiteX169" fmla="*/ 6056 w 10000"/>
                    <a:gd name="connsiteY169" fmla="*/ 8203 h 10000"/>
                    <a:gd name="connsiteX170" fmla="*/ 5944 w 10000"/>
                    <a:gd name="connsiteY170" fmla="*/ 8130 h 10000"/>
                    <a:gd name="connsiteX171" fmla="*/ 5889 w 10000"/>
                    <a:gd name="connsiteY171" fmla="*/ 8115 h 10000"/>
                    <a:gd name="connsiteX172" fmla="*/ 5778 w 10000"/>
                    <a:gd name="connsiteY172" fmla="*/ 8100 h 10000"/>
                    <a:gd name="connsiteX173" fmla="*/ 5667 w 10000"/>
                    <a:gd name="connsiteY173" fmla="*/ 8100 h 10000"/>
                    <a:gd name="connsiteX174" fmla="*/ 5500 w 10000"/>
                    <a:gd name="connsiteY174" fmla="*/ 8115 h 10000"/>
                    <a:gd name="connsiteX175" fmla="*/ 5500 w 10000"/>
                    <a:gd name="connsiteY175" fmla="*/ 8115 h 10000"/>
                    <a:gd name="connsiteX176" fmla="*/ 4889 w 10000"/>
                    <a:gd name="connsiteY176" fmla="*/ 8218 h 10000"/>
                    <a:gd name="connsiteX177" fmla="*/ 4611 w 10000"/>
                    <a:gd name="connsiteY177" fmla="*/ 8247 h 10000"/>
                    <a:gd name="connsiteX178" fmla="*/ 4556 w 10000"/>
                    <a:gd name="connsiteY178" fmla="*/ 8262 h 10000"/>
                    <a:gd name="connsiteX179" fmla="*/ 4500 w 10000"/>
                    <a:gd name="connsiteY179" fmla="*/ 8247 h 10000"/>
                    <a:gd name="connsiteX180" fmla="*/ 4500 w 10000"/>
                    <a:gd name="connsiteY180" fmla="*/ 8247 h 10000"/>
                    <a:gd name="connsiteX181" fmla="*/ 4222 w 10000"/>
                    <a:gd name="connsiteY181" fmla="*/ 8100 h 10000"/>
                    <a:gd name="connsiteX182" fmla="*/ 4222 w 10000"/>
                    <a:gd name="connsiteY182" fmla="*/ 8100 h 10000"/>
                    <a:gd name="connsiteX183" fmla="*/ 4111 w 10000"/>
                    <a:gd name="connsiteY183" fmla="*/ 8027 h 10000"/>
                    <a:gd name="connsiteX184" fmla="*/ 4111 w 10000"/>
                    <a:gd name="connsiteY184" fmla="*/ 7982 h 10000"/>
                    <a:gd name="connsiteX185" fmla="*/ 4111 w 10000"/>
                    <a:gd name="connsiteY185" fmla="*/ 7938 h 10000"/>
                    <a:gd name="connsiteX186" fmla="*/ 4111 w 10000"/>
                    <a:gd name="connsiteY186" fmla="*/ 7938 h 10000"/>
                    <a:gd name="connsiteX187" fmla="*/ 4278 w 10000"/>
                    <a:gd name="connsiteY187" fmla="*/ 7894 h 10000"/>
                    <a:gd name="connsiteX188" fmla="*/ 4389 w 10000"/>
                    <a:gd name="connsiteY188" fmla="*/ 7879 h 10000"/>
                    <a:gd name="connsiteX189" fmla="*/ 4389 w 10000"/>
                    <a:gd name="connsiteY189" fmla="*/ 7879 h 10000"/>
                    <a:gd name="connsiteX190" fmla="*/ 4000 w 10000"/>
                    <a:gd name="connsiteY190" fmla="*/ 7879 h 10000"/>
                    <a:gd name="connsiteX191" fmla="*/ 3722 w 10000"/>
                    <a:gd name="connsiteY191" fmla="*/ 7894 h 10000"/>
                    <a:gd name="connsiteX192" fmla="*/ 3611 w 10000"/>
                    <a:gd name="connsiteY192" fmla="*/ 7909 h 10000"/>
                    <a:gd name="connsiteX193" fmla="*/ 3556 w 10000"/>
                    <a:gd name="connsiteY193" fmla="*/ 7923 h 10000"/>
                    <a:gd name="connsiteX194" fmla="*/ 3556 w 10000"/>
                    <a:gd name="connsiteY194" fmla="*/ 7923 h 10000"/>
                    <a:gd name="connsiteX195" fmla="*/ 3444 w 10000"/>
                    <a:gd name="connsiteY195" fmla="*/ 7982 h 10000"/>
                    <a:gd name="connsiteX196" fmla="*/ 3278 w 10000"/>
                    <a:gd name="connsiteY196" fmla="*/ 8071 h 10000"/>
                    <a:gd name="connsiteX197" fmla="*/ 3000 w 10000"/>
                    <a:gd name="connsiteY197" fmla="*/ 8174 h 10000"/>
                    <a:gd name="connsiteX198" fmla="*/ 2667 w 10000"/>
                    <a:gd name="connsiteY198" fmla="*/ 8247 h 10000"/>
                    <a:gd name="connsiteX199" fmla="*/ 2667 w 10000"/>
                    <a:gd name="connsiteY199" fmla="*/ 8247 h 10000"/>
                    <a:gd name="connsiteX200" fmla="*/ 2333 w 10000"/>
                    <a:gd name="connsiteY200" fmla="*/ 8306 h 10000"/>
                    <a:gd name="connsiteX201" fmla="*/ 1833 w 10000"/>
                    <a:gd name="connsiteY201" fmla="*/ 8365 h 10000"/>
                    <a:gd name="connsiteX202" fmla="*/ 1389 w 10000"/>
                    <a:gd name="connsiteY202" fmla="*/ 8395 h 10000"/>
                    <a:gd name="connsiteX203" fmla="*/ 889 w 10000"/>
                    <a:gd name="connsiteY203" fmla="*/ 8409 h 10000"/>
                    <a:gd name="connsiteX204" fmla="*/ 889 w 10000"/>
                    <a:gd name="connsiteY204" fmla="*/ 8409 h 10000"/>
                    <a:gd name="connsiteX205" fmla="*/ 500 w 10000"/>
                    <a:gd name="connsiteY205" fmla="*/ 8424 h 10000"/>
                    <a:gd name="connsiteX206" fmla="*/ 222 w 10000"/>
                    <a:gd name="connsiteY206" fmla="*/ 8439 h 10000"/>
                    <a:gd name="connsiteX207" fmla="*/ 0 w 10000"/>
                    <a:gd name="connsiteY207" fmla="*/ 8454 h 10000"/>
                    <a:gd name="connsiteX208" fmla="*/ 0 w 10000"/>
                    <a:gd name="connsiteY208" fmla="*/ 8454 h 10000"/>
                    <a:gd name="connsiteX209" fmla="*/ 278 w 10000"/>
                    <a:gd name="connsiteY209" fmla="*/ 8689 h 10000"/>
                    <a:gd name="connsiteX210" fmla="*/ 500 w 10000"/>
                    <a:gd name="connsiteY210" fmla="*/ 8866 h 10000"/>
                    <a:gd name="connsiteX211" fmla="*/ 722 w 10000"/>
                    <a:gd name="connsiteY211" fmla="*/ 9013 h 10000"/>
                    <a:gd name="connsiteX212" fmla="*/ 722 w 10000"/>
                    <a:gd name="connsiteY212" fmla="*/ 9013 h 10000"/>
                    <a:gd name="connsiteX213" fmla="*/ 889 w 10000"/>
                    <a:gd name="connsiteY213" fmla="*/ 9102 h 10000"/>
                    <a:gd name="connsiteX214" fmla="*/ 944 w 10000"/>
                    <a:gd name="connsiteY214" fmla="*/ 9175 h 10000"/>
                    <a:gd name="connsiteX215" fmla="*/ 1111 w 10000"/>
                    <a:gd name="connsiteY215" fmla="*/ 9249 h 10000"/>
                    <a:gd name="connsiteX216" fmla="*/ 1333 w 10000"/>
                    <a:gd name="connsiteY216" fmla="*/ 9367 h 10000"/>
                    <a:gd name="connsiteX217" fmla="*/ 1333 w 10000"/>
                    <a:gd name="connsiteY217" fmla="*/ 9367 h 10000"/>
                    <a:gd name="connsiteX218" fmla="*/ 1444 w 10000"/>
                    <a:gd name="connsiteY218" fmla="*/ 9426 h 10000"/>
                    <a:gd name="connsiteX219" fmla="*/ 1500 w 10000"/>
                    <a:gd name="connsiteY219" fmla="*/ 9470 h 10000"/>
                    <a:gd name="connsiteX220" fmla="*/ 1500 w 10000"/>
                    <a:gd name="connsiteY220" fmla="*/ 9514 h 10000"/>
                    <a:gd name="connsiteX221" fmla="*/ 1556 w 10000"/>
                    <a:gd name="connsiteY221" fmla="*/ 9529 h 10000"/>
                    <a:gd name="connsiteX222" fmla="*/ 1722 w 10000"/>
                    <a:gd name="connsiteY222" fmla="*/ 9543 h 10000"/>
                    <a:gd name="connsiteX223" fmla="*/ 1944 w 10000"/>
                    <a:gd name="connsiteY223" fmla="*/ 9558 h 10000"/>
                    <a:gd name="connsiteX224" fmla="*/ 2944 w 10000"/>
                    <a:gd name="connsiteY224" fmla="*/ 9573 h 10000"/>
                    <a:gd name="connsiteX225" fmla="*/ 2944 w 10000"/>
                    <a:gd name="connsiteY225" fmla="*/ 9573 h 10000"/>
                    <a:gd name="connsiteX226" fmla="*/ 4167 w 10000"/>
                    <a:gd name="connsiteY226" fmla="*/ 9602 h 10000"/>
                    <a:gd name="connsiteX227" fmla="*/ 4889 w 10000"/>
                    <a:gd name="connsiteY227" fmla="*/ 9647 h 10000"/>
                    <a:gd name="connsiteX228" fmla="*/ 5278 w 10000"/>
                    <a:gd name="connsiteY228" fmla="*/ 9691 h 10000"/>
                    <a:gd name="connsiteX229" fmla="*/ 5444 w 10000"/>
                    <a:gd name="connsiteY229" fmla="*/ 9705 h 10000"/>
                    <a:gd name="connsiteX230" fmla="*/ 5444 w 10000"/>
                    <a:gd name="connsiteY230" fmla="*/ 9705 h 10000"/>
                    <a:gd name="connsiteX231" fmla="*/ 5722 w 10000"/>
                    <a:gd name="connsiteY231" fmla="*/ 9735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50 h 10000"/>
                    <a:gd name="connsiteX234" fmla="*/ 5833 w 10000"/>
                    <a:gd name="connsiteY234" fmla="*/ 9735 h 10000"/>
                    <a:gd name="connsiteX235" fmla="*/ 5889 w 10000"/>
                    <a:gd name="connsiteY235" fmla="*/ 9720 h 10000"/>
                    <a:gd name="connsiteX236" fmla="*/ 6000 w 10000"/>
                    <a:gd name="connsiteY236" fmla="*/ 9705 h 10000"/>
                    <a:gd name="connsiteX237" fmla="*/ 6167 w 10000"/>
                    <a:gd name="connsiteY237" fmla="*/ 9691 h 10000"/>
                    <a:gd name="connsiteX238" fmla="*/ 6444 w 10000"/>
                    <a:gd name="connsiteY238" fmla="*/ 9691 h 10000"/>
                    <a:gd name="connsiteX239" fmla="*/ 6833 w 10000"/>
                    <a:gd name="connsiteY239" fmla="*/ 9705 h 10000"/>
                    <a:gd name="connsiteX240" fmla="*/ 7278 w 10000"/>
                    <a:gd name="connsiteY240" fmla="*/ 9750 h 10000"/>
                    <a:gd name="connsiteX241" fmla="*/ 7278 w 10000"/>
                    <a:gd name="connsiteY241" fmla="*/ 9750 h 10000"/>
                    <a:gd name="connsiteX242" fmla="*/ 8722 w 10000"/>
                    <a:gd name="connsiteY242" fmla="*/ 9882 h 10000"/>
                    <a:gd name="connsiteX243" fmla="*/ 10000 w 10000"/>
                    <a:gd name="connsiteY24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556 w 10000"/>
                    <a:gd name="connsiteY71" fmla="*/ 5302 h 10000"/>
                    <a:gd name="connsiteX72" fmla="*/ 6556 w 10000"/>
                    <a:gd name="connsiteY72" fmla="*/ 5302 h 10000"/>
                    <a:gd name="connsiteX73" fmla="*/ 6556 w 10000"/>
                    <a:gd name="connsiteY73" fmla="*/ 5199 h 10000"/>
                    <a:gd name="connsiteX74" fmla="*/ 6556 w 10000"/>
                    <a:gd name="connsiteY74" fmla="*/ 5199 h 10000"/>
                    <a:gd name="connsiteX75" fmla="*/ 6389 w 10000"/>
                    <a:gd name="connsiteY75" fmla="*/ 5096 h 10000"/>
                    <a:gd name="connsiteX76" fmla="*/ 6056 w 10000"/>
                    <a:gd name="connsiteY76" fmla="*/ 4934 h 10000"/>
                    <a:gd name="connsiteX77" fmla="*/ 5333 w 10000"/>
                    <a:gd name="connsiteY77" fmla="*/ 4624 h 10000"/>
                    <a:gd name="connsiteX78" fmla="*/ 5333 w 10000"/>
                    <a:gd name="connsiteY78" fmla="*/ 4624 h 10000"/>
                    <a:gd name="connsiteX79" fmla="*/ 5167 w 10000"/>
                    <a:gd name="connsiteY79" fmla="*/ 4580 h 10000"/>
                    <a:gd name="connsiteX80" fmla="*/ 4889 w 10000"/>
                    <a:gd name="connsiteY80" fmla="*/ 4521 h 10000"/>
                    <a:gd name="connsiteX81" fmla="*/ 4056 w 10000"/>
                    <a:gd name="connsiteY81" fmla="*/ 4389 h 10000"/>
                    <a:gd name="connsiteX82" fmla="*/ 2889 w 10000"/>
                    <a:gd name="connsiteY82" fmla="*/ 4227 h 10000"/>
                    <a:gd name="connsiteX83" fmla="*/ 2889 w 10000"/>
                    <a:gd name="connsiteY83" fmla="*/ 4227 h 10000"/>
                    <a:gd name="connsiteX84" fmla="*/ 2389 w 10000"/>
                    <a:gd name="connsiteY84" fmla="*/ 4212 h 10000"/>
                    <a:gd name="connsiteX85" fmla="*/ 2000 w 10000"/>
                    <a:gd name="connsiteY85" fmla="*/ 4197 h 10000"/>
                    <a:gd name="connsiteX86" fmla="*/ 1889 w 10000"/>
                    <a:gd name="connsiteY86" fmla="*/ 4183 h 10000"/>
                    <a:gd name="connsiteX87" fmla="*/ 1778 w 10000"/>
                    <a:gd name="connsiteY87" fmla="*/ 4168 h 10000"/>
                    <a:gd name="connsiteX88" fmla="*/ 1778 w 10000"/>
                    <a:gd name="connsiteY88" fmla="*/ 4168 h 10000"/>
                    <a:gd name="connsiteX89" fmla="*/ 1667 w 10000"/>
                    <a:gd name="connsiteY89" fmla="*/ 4109 h 10000"/>
                    <a:gd name="connsiteX90" fmla="*/ 1500 w 10000"/>
                    <a:gd name="connsiteY90" fmla="*/ 4006 h 10000"/>
                    <a:gd name="connsiteX91" fmla="*/ 1444 w 10000"/>
                    <a:gd name="connsiteY91" fmla="*/ 3947 h 10000"/>
                    <a:gd name="connsiteX92" fmla="*/ 1444 w 10000"/>
                    <a:gd name="connsiteY92" fmla="*/ 3888 h 10000"/>
                    <a:gd name="connsiteX93" fmla="*/ 1444 w 10000"/>
                    <a:gd name="connsiteY93" fmla="*/ 3844 h 10000"/>
                    <a:gd name="connsiteX94" fmla="*/ 1556 w 10000"/>
                    <a:gd name="connsiteY94" fmla="*/ 3800 h 10000"/>
                    <a:gd name="connsiteX95" fmla="*/ 1556 w 10000"/>
                    <a:gd name="connsiteY95" fmla="*/ 3800 h 10000"/>
                    <a:gd name="connsiteX96" fmla="*/ 1833 w 10000"/>
                    <a:gd name="connsiteY96" fmla="*/ 3726 h 10000"/>
                    <a:gd name="connsiteX97" fmla="*/ 2111 w 10000"/>
                    <a:gd name="connsiteY97" fmla="*/ 3652 h 10000"/>
                    <a:gd name="connsiteX98" fmla="*/ 2278 w 10000"/>
                    <a:gd name="connsiteY98" fmla="*/ 3608 h 10000"/>
                    <a:gd name="connsiteX99" fmla="*/ 2389 w 10000"/>
                    <a:gd name="connsiteY99" fmla="*/ 3564 h 10000"/>
                    <a:gd name="connsiteX100" fmla="*/ 2389 w 10000"/>
                    <a:gd name="connsiteY100" fmla="*/ 3505 h 10000"/>
                    <a:gd name="connsiteX101" fmla="*/ 2389 w 10000"/>
                    <a:gd name="connsiteY101" fmla="*/ 3432 h 10000"/>
                    <a:gd name="connsiteX102" fmla="*/ 2389 w 10000"/>
                    <a:gd name="connsiteY102" fmla="*/ 3432 h 10000"/>
                    <a:gd name="connsiteX103" fmla="*/ 2167 w 10000"/>
                    <a:gd name="connsiteY103" fmla="*/ 3225 h 10000"/>
                    <a:gd name="connsiteX104" fmla="*/ 1889 w 10000"/>
                    <a:gd name="connsiteY104" fmla="*/ 2946 h 10000"/>
                    <a:gd name="connsiteX105" fmla="*/ 1667 w 10000"/>
                    <a:gd name="connsiteY105" fmla="*/ 2695 h 10000"/>
                    <a:gd name="connsiteX106" fmla="*/ 1611 w 10000"/>
                    <a:gd name="connsiteY106" fmla="*/ 2622 h 10000"/>
                    <a:gd name="connsiteX107" fmla="*/ 1611 w 10000"/>
                    <a:gd name="connsiteY107" fmla="*/ 2592 h 10000"/>
                    <a:gd name="connsiteX108" fmla="*/ 1667 w 10000"/>
                    <a:gd name="connsiteY108" fmla="*/ 2577 h 10000"/>
                    <a:gd name="connsiteX109" fmla="*/ 1667 w 10000"/>
                    <a:gd name="connsiteY109" fmla="*/ 2577 h 10000"/>
                    <a:gd name="connsiteX110" fmla="*/ 2000 w 10000"/>
                    <a:gd name="connsiteY110" fmla="*/ 2563 h 10000"/>
                    <a:gd name="connsiteX111" fmla="*/ 2222 w 10000"/>
                    <a:gd name="connsiteY111" fmla="*/ 2563 h 10000"/>
                    <a:gd name="connsiteX112" fmla="*/ 2389 w 10000"/>
                    <a:gd name="connsiteY112" fmla="*/ 2577 h 10000"/>
                    <a:gd name="connsiteX113" fmla="*/ 2389 w 10000"/>
                    <a:gd name="connsiteY113" fmla="*/ 2577 h 10000"/>
                    <a:gd name="connsiteX114" fmla="*/ 2444 w 10000"/>
                    <a:gd name="connsiteY114" fmla="*/ 2577 h 10000"/>
                    <a:gd name="connsiteX115" fmla="*/ 2500 w 10000"/>
                    <a:gd name="connsiteY115" fmla="*/ 2548 h 10000"/>
                    <a:gd name="connsiteX116" fmla="*/ 2778 w 10000"/>
                    <a:gd name="connsiteY116" fmla="*/ 2459 h 10000"/>
                    <a:gd name="connsiteX117" fmla="*/ 3500 w 10000"/>
                    <a:gd name="connsiteY117" fmla="*/ 2165 h 10000"/>
                    <a:gd name="connsiteX118" fmla="*/ 4444 w 10000"/>
                    <a:gd name="connsiteY118" fmla="*/ 1738 h 10000"/>
                    <a:gd name="connsiteX119" fmla="*/ 4444 w 10000"/>
                    <a:gd name="connsiteY119" fmla="*/ 1738 h 10000"/>
                    <a:gd name="connsiteX120" fmla="*/ 4444 w 10000"/>
                    <a:gd name="connsiteY120" fmla="*/ 1679 h 10000"/>
                    <a:gd name="connsiteX121" fmla="*/ 4444 w 10000"/>
                    <a:gd name="connsiteY121" fmla="*/ 1546 h 10000"/>
                    <a:gd name="connsiteX122" fmla="*/ 4500 w 10000"/>
                    <a:gd name="connsiteY122" fmla="*/ 1458 h 10000"/>
                    <a:gd name="connsiteX123" fmla="*/ 4611 w 10000"/>
                    <a:gd name="connsiteY123" fmla="*/ 1384 h 10000"/>
                    <a:gd name="connsiteX124" fmla="*/ 4778 w 10000"/>
                    <a:gd name="connsiteY124" fmla="*/ 1296 h 10000"/>
                    <a:gd name="connsiteX125" fmla="*/ 5000 w 10000"/>
                    <a:gd name="connsiteY125" fmla="*/ 1222 h 10000"/>
                    <a:gd name="connsiteX126" fmla="*/ 5000 w 10000"/>
                    <a:gd name="connsiteY126" fmla="*/ 1222 h 10000"/>
                    <a:gd name="connsiteX127" fmla="*/ 5556 w 10000"/>
                    <a:gd name="connsiteY127" fmla="*/ 1075 h 10000"/>
                    <a:gd name="connsiteX128" fmla="*/ 6111 w 10000"/>
                    <a:gd name="connsiteY128" fmla="*/ 884 h 10000"/>
                    <a:gd name="connsiteX129" fmla="*/ 6667 w 10000"/>
                    <a:gd name="connsiteY129" fmla="*/ 707 h 10000"/>
                    <a:gd name="connsiteX130" fmla="*/ 7056 w 10000"/>
                    <a:gd name="connsiteY130" fmla="*/ 545 h 10000"/>
                    <a:gd name="connsiteX131" fmla="*/ 7056 w 10000"/>
                    <a:gd name="connsiteY131" fmla="*/ 545 h 10000"/>
                    <a:gd name="connsiteX132" fmla="*/ 7333 w 10000"/>
                    <a:gd name="connsiteY132" fmla="*/ 398 h 10000"/>
                    <a:gd name="connsiteX133" fmla="*/ 7667 w 10000"/>
                    <a:gd name="connsiteY133" fmla="*/ 221 h 10000"/>
                    <a:gd name="connsiteX134" fmla="*/ 8000 w 10000"/>
                    <a:gd name="connsiteY134" fmla="*/ 88 h 10000"/>
                    <a:gd name="connsiteX135" fmla="*/ 8167 w 10000"/>
                    <a:gd name="connsiteY135" fmla="*/ 29 h 10000"/>
                    <a:gd name="connsiteX136" fmla="*/ 8333 w 10000"/>
                    <a:gd name="connsiteY136" fmla="*/ 15 h 10000"/>
                    <a:gd name="connsiteX137" fmla="*/ 8333 w 10000"/>
                    <a:gd name="connsiteY137" fmla="*/ 15 h 10000"/>
                    <a:gd name="connsiteX138" fmla="*/ 8667 w 10000"/>
                    <a:gd name="connsiteY138" fmla="*/ 0 h 10000"/>
                    <a:gd name="connsiteX139" fmla="*/ 9111 w 10000"/>
                    <a:gd name="connsiteY139" fmla="*/ 0 h 10000"/>
                    <a:gd name="connsiteX140" fmla="*/ 10000 w 10000"/>
                    <a:gd name="connsiteY140" fmla="*/ 15 h 10000"/>
                    <a:gd name="connsiteX141" fmla="*/ 10000 w 10000"/>
                    <a:gd name="connsiteY141" fmla="*/ 9013 h 10000"/>
                    <a:gd name="connsiteX142" fmla="*/ 10000 w 10000"/>
                    <a:gd name="connsiteY142" fmla="*/ 9013 h 10000"/>
                    <a:gd name="connsiteX143" fmla="*/ 9722 w 10000"/>
                    <a:gd name="connsiteY143" fmla="*/ 8999 h 10000"/>
                    <a:gd name="connsiteX144" fmla="*/ 9389 w 10000"/>
                    <a:gd name="connsiteY144" fmla="*/ 9013 h 10000"/>
                    <a:gd name="connsiteX145" fmla="*/ 9389 w 10000"/>
                    <a:gd name="connsiteY145" fmla="*/ 9013 h 10000"/>
                    <a:gd name="connsiteX146" fmla="*/ 9278 w 10000"/>
                    <a:gd name="connsiteY146" fmla="*/ 9028 h 10000"/>
                    <a:gd name="connsiteX147" fmla="*/ 9056 w 10000"/>
                    <a:gd name="connsiteY147" fmla="*/ 9013 h 10000"/>
                    <a:gd name="connsiteX148" fmla="*/ 8889 w 10000"/>
                    <a:gd name="connsiteY148" fmla="*/ 8999 h 10000"/>
                    <a:gd name="connsiteX149" fmla="*/ 8722 w 10000"/>
                    <a:gd name="connsiteY149" fmla="*/ 8969 h 10000"/>
                    <a:gd name="connsiteX150" fmla="*/ 8611 w 10000"/>
                    <a:gd name="connsiteY150" fmla="*/ 8925 h 10000"/>
                    <a:gd name="connsiteX151" fmla="*/ 8444 w 10000"/>
                    <a:gd name="connsiteY151" fmla="*/ 8851 h 10000"/>
                    <a:gd name="connsiteX152" fmla="*/ 8444 w 10000"/>
                    <a:gd name="connsiteY152" fmla="*/ 8851 h 10000"/>
                    <a:gd name="connsiteX153" fmla="*/ 8222 w 10000"/>
                    <a:gd name="connsiteY153" fmla="*/ 8719 h 10000"/>
                    <a:gd name="connsiteX154" fmla="*/ 8111 w 10000"/>
                    <a:gd name="connsiteY154" fmla="*/ 8660 h 10000"/>
                    <a:gd name="connsiteX155" fmla="*/ 7944 w 10000"/>
                    <a:gd name="connsiteY155" fmla="*/ 8616 h 10000"/>
                    <a:gd name="connsiteX156" fmla="*/ 7778 w 10000"/>
                    <a:gd name="connsiteY156" fmla="*/ 8586 h 10000"/>
                    <a:gd name="connsiteX157" fmla="*/ 7556 w 10000"/>
                    <a:gd name="connsiteY157" fmla="*/ 8571 h 10000"/>
                    <a:gd name="connsiteX158" fmla="*/ 7333 w 10000"/>
                    <a:gd name="connsiteY158" fmla="*/ 8557 h 10000"/>
                    <a:gd name="connsiteX159" fmla="*/ 7000 w 10000"/>
                    <a:gd name="connsiteY159" fmla="*/ 8542 h 10000"/>
                    <a:gd name="connsiteX160" fmla="*/ 7000 w 10000"/>
                    <a:gd name="connsiteY160" fmla="*/ 8542 h 10000"/>
                    <a:gd name="connsiteX161" fmla="*/ 6556 w 10000"/>
                    <a:gd name="connsiteY161" fmla="*/ 8557 h 10000"/>
                    <a:gd name="connsiteX162" fmla="*/ 6222 w 10000"/>
                    <a:gd name="connsiteY162" fmla="*/ 8557 h 10000"/>
                    <a:gd name="connsiteX163" fmla="*/ 6111 w 10000"/>
                    <a:gd name="connsiteY163" fmla="*/ 8542 h 10000"/>
                    <a:gd name="connsiteX164" fmla="*/ 6056 w 10000"/>
                    <a:gd name="connsiteY164" fmla="*/ 8527 h 10000"/>
                    <a:gd name="connsiteX165" fmla="*/ 6056 w 10000"/>
                    <a:gd name="connsiteY165" fmla="*/ 8527 h 10000"/>
                    <a:gd name="connsiteX166" fmla="*/ 6056 w 10000"/>
                    <a:gd name="connsiteY166" fmla="*/ 8262 h 10000"/>
                    <a:gd name="connsiteX167" fmla="*/ 6056 w 10000"/>
                    <a:gd name="connsiteY167" fmla="*/ 8262 h 10000"/>
                    <a:gd name="connsiteX168" fmla="*/ 6056 w 10000"/>
                    <a:gd name="connsiteY168" fmla="*/ 8203 h 10000"/>
                    <a:gd name="connsiteX169" fmla="*/ 5944 w 10000"/>
                    <a:gd name="connsiteY169" fmla="*/ 8130 h 10000"/>
                    <a:gd name="connsiteX170" fmla="*/ 5889 w 10000"/>
                    <a:gd name="connsiteY170" fmla="*/ 8115 h 10000"/>
                    <a:gd name="connsiteX171" fmla="*/ 5778 w 10000"/>
                    <a:gd name="connsiteY171" fmla="*/ 8100 h 10000"/>
                    <a:gd name="connsiteX172" fmla="*/ 5667 w 10000"/>
                    <a:gd name="connsiteY172" fmla="*/ 8100 h 10000"/>
                    <a:gd name="connsiteX173" fmla="*/ 5500 w 10000"/>
                    <a:gd name="connsiteY173" fmla="*/ 8115 h 10000"/>
                    <a:gd name="connsiteX174" fmla="*/ 5500 w 10000"/>
                    <a:gd name="connsiteY174" fmla="*/ 8115 h 10000"/>
                    <a:gd name="connsiteX175" fmla="*/ 4889 w 10000"/>
                    <a:gd name="connsiteY175" fmla="*/ 8218 h 10000"/>
                    <a:gd name="connsiteX176" fmla="*/ 4611 w 10000"/>
                    <a:gd name="connsiteY176" fmla="*/ 8247 h 10000"/>
                    <a:gd name="connsiteX177" fmla="*/ 4556 w 10000"/>
                    <a:gd name="connsiteY177" fmla="*/ 8262 h 10000"/>
                    <a:gd name="connsiteX178" fmla="*/ 4500 w 10000"/>
                    <a:gd name="connsiteY178" fmla="*/ 8247 h 10000"/>
                    <a:gd name="connsiteX179" fmla="*/ 4500 w 10000"/>
                    <a:gd name="connsiteY179" fmla="*/ 8247 h 10000"/>
                    <a:gd name="connsiteX180" fmla="*/ 4222 w 10000"/>
                    <a:gd name="connsiteY180" fmla="*/ 8100 h 10000"/>
                    <a:gd name="connsiteX181" fmla="*/ 4222 w 10000"/>
                    <a:gd name="connsiteY181" fmla="*/ 8100 h 10000"/>
                    <a:gd name="connsiteX182" fmla="*/ 4111 w 10000"/>
                    <a:gd name="connsiteY182" fmla="*/ 8027 h 10000"/>
                    <a:gd name="connsiteX183" fmla="*/ 4111 w 10000"/>
                    <a:gd name="connsiteY183" fmla="*/ 7982 h 10000"/>
                    <a:gd name="connsiteX184" fmla="*/ 4111 w 10000"/>
                    <a:gd name="connsiteY184" fmla="*/ 7938 h 10000"/>
                    <a:gd name="connsiteX185" fmla="*/ 4111 w 10000"/>
                    <a:gd name="connsiteY185" fmla="*/ 7938 h 10000"/>
                    <a:gd name="connsiteX186" fmla="*/ 4278 w 10000"/>
                    <a:gd name="connsiteY186" fmla="*/ 7894 h 10000"/>
                    <a:gd name="connsiteX187" fmla="*/ 4389 w 10000"/>
                    <a:gd name="connsiteY187" fmla="*/ 7879 h 10000"/>
                    <a:gd name="connsiteX188" fmla="*/ 4389 w 10000"/>
                    <a:gd name="connsiteY188" fmla="*/ 7879 h 10000"/>
                    <a:gd name="connsiteX189" fmla="*/ 4000 w 10000"/>
                    <a:gd name="connsiteY189" fmla="*/ 7879 h 10000"/>
                    <a:gd name="connsiteX190" fmla="*/ 3722 w 10000"/>
                    <a:gd name="connsiteY190" fmla="*/ 7894 h 10000"/>
                    <a:gd name="connsiteX191" fmla="*/ 3611 w 10000"/>
                    <a:gd name="connsiteY191" fmla="*/ 7909 h 10000"/>
                    <a:gd name="connsiteX192" fmla="*/ 3556 w 10000"/>
                    <a:gd name="connsiteY192" fmla="*/ 7923 h 10000"/>
                    <a:gd name="connsiteX193" fmla="*/ 3556 w 10000"/>
                    <a:gd name="connsiteY193" fmla="*/ 7923 h 10000"/>
                    <a:gd name="connsiteX194" fmla="*/ 3444 w 10000"/>
                    <a:gd name="connsiteY194" fmla="*/ 7982 h 10000"/>
                    <a:gd name="connsiteX195" fmla="*/ 3278 w 10000"/>
                    <a:gd name="connsiteY195" fmla="*/ 8071 h 10000"/>
                    <a:gd name="connsiteX196" fmla="*/ 3000 w 10000"/>
                    <a:gd name="connsiteY196" fmla="*/ 8174 h 10000"/>
                    <a:gd name="connsiteX197" fmla="*/ 2667 w 10000"/>
                    <a:gd name="connsiteY197" fmla="*/ 8247 h 10000"/>
                    <a:gd name="connsiteX198" fmla="*/ 2667 w 10000"/>
                    <a:gd name="connsiteY198" fmla="*/ 8247 h 10000"/>
                    <a:gd name="connsiteX199" fmla="*/ 2333 w 10000"/>
                    <a:gd name="connsiteY199" fmla="*/ 8306 h 10000"/>
                    <a:gd name="connsiteX200" fmla="*/ 1833 w 10000"/>
                    <a:gd name="connsiteY200" fmla="*/ 8365 h 10000"/>
                    <a:gd name="connsiteX201" fmla="*/ 1389 w 10000"/>
                    <a:gd name="connsiteY201" fmla="*/ 8395 h 10000"/>
                    <a:gd name="connsiteX202" fmla="*/ 889 w 10000"/>
                    <a:gd name="connsiteY202" fmla="*/ 8409 h 10000"/>
                    <a:gd name="connsiteX203" fmla="*/ 889 w 10000"/>
                    <a:gd name="connsiteY203" fmla="*/ 8409 h 10000"/>
                    <a:gd name="connsiteX204" fmla="*/ 500 w 10000"/>
                    <a:gd name="connsiteY204" fmla="*/ 8424 h 10000"/>
                    <a:gd name="connsiteX205" fmla="*/ 222 w 10000"/>
                    <a:gd name="connsiteY205" fmla="*/ 8439 h 10000"/>
                    <a:gd name="connsiteX206" fmla="*/ 0 w 10000"/>
                    <a:gd name="connsiteY206" fmla="*/ 8454 h 10000"/>
                    <a:gd name="connsiteX207" fmla="*/ 0 w 10000"/>
                    <a:gd name="connsiteY207" fmla="*/ 8454 h 10000"/>
                    <a:gd name="connsiteX208" fmla="*/ 278 w 10000"/>
                    <a:gd name="connsiteY208" fmla="*/ 8689 h 10000"/>
                    <a:gd name="connsiteX209" fmla="*/ 500 w 10000"/>
                    <a:gd name="connsiteY209" fmla="*/ 8866 h 10000"/>
                    <a:gd name="connsiteX210" fmla="*/ 722 w 10000"/>
                    <a:gd name="connsiteY210" fmla="*/ 9013 h 10000"/>
                    <a:gd name="connsiteX211" fmla="*/ 722 w 10000"/>
                    <a:gd name="connsiteY211" fmla="*/ 9013 h 10000"/>
                    <a:gd name="connsiteX212" fmla="*/ 889 w 10000"/>
                    <a:gd name="connsiteY212" fmla="*/ 9102 h 10000"/>
                    <a:gd name="connsiteX213" fmla="*/ 944 w 10000"/>
                    <a:gd name="connsiteY213" fmla="*/ 9175 h 10000"/>
                    <a:gd name="connsiteX214" fmla="*/ 1111 w 10000"/>
                    <a:gd name="connsiteY214" fmla="*/ 9249 h 10000"/>
                    <a:gd name="connsiteX215" fmla="*/ 1333 w 10000"/>
                    <a:gd name="connsiteY215" fmla="*/ 9367 h 10000"/>
                    <a:gd name="connsiteX216" fmla="*/ 1333 w 10000"/>
                    <a:gd name="connsiteY216" fmla="*/ 9367 h 10000"/>
                    <a:gd name="connsiteX217" fmla="*/ 1444 w 10000"/>
                    <a:gd name="connsiteY217" fmla="*/ 9426 h 10000"/>
                    <a:gd name="connsiteX218" fmla="*/ 1500 w 10000"/>
                    <a:gd name="connsiteY218" fmla="*/ 9470 h 10000"/>
                    <a:gd name="connsiteX219" fmla="*/ 1500 w 10000"/>
                    <a:gd name="connsiteY219" fmla="*/ 9514 h 10000"/>
                    <a:gd name="connsiteX220" fmla="*/ 1556 w 10000"/>
                    <a:gd name="connsiteY220" fmla="*/ 9529 h 10000"/>
                    <a:gd name="connsiteX221" fmla="*/ 1722 w 10000"/>
                    <a:gd name="connsiteY221" fmla="*/ 9543 h 10000"/>
                    <a:gd name="connsiteX222" fmla="*/ 1944 w 10000"/>
                    <a:gd name="connsiteY222" fmla="*/ 9558 h 10000"/>
                    <a:gd name="connsiteX223" fmla="*/ 2944 w 10000"/>
                    <a:gd name="connsiteY223" fmla="*/ 9573 h 10000"/>
                    <a:gd name="connsiteX224" fmla="*/ 2944 w 10000"/>
                    <a:gd name="connsiteY224" fmla="*/ 9573 h 10000"/>
                    <a:gd name="connsiteX225" fmla="*/ 4167 w 10000"/>
                    <a:gd name="connsiteY225" fmla="*/ 9602 h 10000"/>
                    <a:gd name="connsiteX226" fmla="*/ 4889 w 10000"/>
                    <a:gd name="connsiteY226" fmla="*/ 9647 h 10000"/>
                    <a:gd name="connsiteX227" fmla="*/ 5278 w 10000"/>
                    <a:gd name="connsiteY227" fmla="*/ 9691 h 10000"/>
                    <a:gd name="connsiteX228" fmla="*/ 5444 w 10000"/>
                    <a:gd name="connsiteY228" fmla="*/ 9705 h 10000"/>
                    <a:gd name="connsiteX229" fmla="*/ 5444 w 10000"/>
                    <a:gd name="connsiteY229" fmla="*/ 9705 h 10000"/>
                    <a:gd name="connsiteX230" fmla="*/ 5722 w 10000"/>
                    <a:gd name="connsiteY230" fmla="*/ 9735 h 10000"/>
                    <a:gd name="connsiteX231" fmla="*/ 5833 w 10000"/>
                    <a:gd name="connsiteY231" fmla="*/ 9750 h 10000"/>
                    <a:gd name="connsiteX232" fmla="*/ 5833 w 10000"/>
                    <a:gd name="connsiteY232" fmla="*/ 9750 h 10000"/>
                    <a:gd name="connsiteX233" fmla="*/ 5833 w 10000"/>
                    <a:gd name="connsiteY233" fmla="*/ 9735 h 10000"/>
                    <a:gd name="connsiteX234" fmla="*/ 5889 w 10000"/>
                    <a:gd name="connsiteY234" fmla="*/ 9720 h 10000"/>
                    <a:gd name="connsiteX235" fmla="*/ 6000 w 10000"/>
                    <a:gd name="connsiteY235" fmla="*/ 9705 h 10000"/>
                    <a:gd name="connsiteX236" fmla="*/ 6167 w 10000"/>
                    <a:gd name="connsiteY236" fmla="*/ 9691 h 10000"/>
                    <a:gd name="connsiteX237" fmla="*/ 6444 w 10000"/>
                    <a:gd name="connsiteY237" fmla="*/ 9691 h 10000"/>
                    <a:gd name="connsiteX238" fmla="*/ 6833 w 10000"/>
                    <a:gd name="connsiteY238" fmla="*/ 9705 h 10000"/>
                    <a:gd name="connsiteX239" fmla="*/ 7278 w 10000"/>
                    <a:gd name="connsiteY239" fmla="*/ 9750 h 10000"/>
                    <a:gd name="connsiteX240" fmla="*/ 7278 w 10000"/>
                    <a:gd name="connsiteY240" fmla="*/ 9750 h 10000"/>
                    <a:gd name="connsiteX241" fmla="*/ 8722 w 10000"/>
                    <a:gd name="connsiteY241" fmla="*/ 9882 h 10000"/>
                    <a:gd name="connsiteX242" fmla="*/ 10000 w 10000"/>
                    <a:gd name="connsiteY24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556 w 10000"/>
                    <a:gd name="connsiteY71" fmla="*/ 5302 h 10000"/>
                    <a:gd name="connsiteX72" fmla="*/ 6556 w 10000"/>
                    <a:gd name="connsiteY72" fmla="*/ 5302 h 10000"/>
                    <a:gd name="connsiteX73" fmla="*/ 6556 w 10000"/>
                    <a:gd name="connsiteY73" fmla="*/ 5199 h 10000"/>
                    <a:gd name="connsiteX74" fmla="*/ 6389 w 10000"/>
                    <a:gd name="connsiteY74" fmla="*/ 5096 h 10000"/>
                    <a:gd name="connsiteX75" fmla="*/ 6056 w 10000"/>
                    <a:gd name="connsiteY75" fmla="*/ 4934 h 10000"/>
                    <a:gd name="connsiteX76" fmla="*/ 5333 w 10000"/>
                    <a:gd name="connsiteY76" fmla="*/ 4624 h 10000"/>
                    <a:gd name="connsiteX77" fmla="*/ 5333 w 10000"/>
                    <a:gd name="connsiteY77" fmla="*/ 4624 h 10000"/>
                    <a:gd name="connsiteX78" fmla="*/ 5167 w 10000"/>
                    <a:gd name="connsiteY78" fmla="*/ 4580 h 10000"/>
                    <a:gd name="connsiteX79" fmla="*/ 4889 w 10000"/>
                    <a:gd name="connsiteY79" fmla="*/ 4521 h 10000"/>
                    <a:gd name="connsiteX80" fmla="*/ 4056 w 10000"/>
                    <a:gd name="connsiteY80" fmla="*/ 4389 h 10000"/>
                    <a:gd name="connsiteX81" fmla="*/ 2889 w 10000"/>
                    <a:gd name="connsiteY81" fmla="*/ 4227 h 10000"/>
                    <a:gd name="connsiteX82" fmla="*/ 2889 w 10000"/>
                    <a:gd name="connsiteY82" fmla="*/ 4227 h 10000"/>
                    <a:gd name="connsiteX83" fmla="*/ 2389 w 10000"/>
                    <a:gd name="connsiteY83" fmla="*/ 4212 h 10000"/>
                    <a:gd name="connsiteX84" fmla="*/ 2000 w 10000"/>
                    <a:gd name="connsiteY84" fmla="*/ 4197 h 10000"/>
                    <a:gd name="connsiteX85" fmla="*/ 1889 w 10000"/>
                    <a:gd name="connsiteY85" fmla="*/ 4183 h 10000"/>
                    <a:gd name="connsiteX86" fmla="*/ 1778 w 10000"/>
                    <a:gd name="connsiteY86" fmla="*/ 4168 h 10000"/>
                    <a:gd name="connsiteX87" fmla="*/ 1778 w 10000"/>
                    <a:gd name="connsiteY87" fmla="*/ 4168 h 10000"/>
                    <a:gd name="connsiteX88" fmla="*/ 1667 w 10000"/>
                    <a:gd name="connsiteY88" fmla="*/ 4109 h 10000"/>
                    <a:gd name="connsiteX89" fmla="*/ 1500 w 10000"/>
                    <a:gd name="connsiteY89" fmla="*/ 4006 h 10000"/>
                    <a:gd name="connsiteX90" fmla="*/ 1444 w 10000"/>
                    <a:gd name="connsiteY90" fmla="*/ 3947 h 10000"/>
                    <a:gd name="connsiteX91" fmla="*/ 1444 w 10000"/>
                    <a:gd name="connsiteY91" fmla="*/ 3888 h 10000"/>
                    <a:gd name="connsiteX92" fmla="*/ 1444 w 10000"/>
                    <a:gd name="connsiteY92" fmla="*/ 3844 h 10000"/>
                    <a:gd name="connsiteX93" fmla="*/ 1556 w 10000"/>
                    <a:gd name="connsiteY93" fmla="*/ 3800 h 10000"/>
                    <a:gd name="connsiteX94" fmla="*/ 1556 w 10000"/>
                    <a:gd name="connsiteY94" fmla="*/ 3800 h 10000"/>
                    <a:gd name="connsiteX95" fmla="*/ 1833 w 10000"/>
                    <a:gd name="connsiteY95" fmla="*/ 3726 h 10000"/>
                    <a:gd name="connsiteX96" fmla="*/ 2111 w 10000"/>
                    <a:gd name="connsiteY96" fmla="*/ 3652 h 10000"/>
                    <a:gd name="connsiteX97" fmla="*/ 2278 w 10000"/>
                    <a:gd name="connsiteY97" fmla="*/ 3608 h 10000"/>
                    <a:gd name="connsiteX98" fmla="*/ 2389 w 10000"/>
                    <a:gd name="connsiteY98" fmla="*/ 3564 h 10000"/>
                    <a:gd name="connsiteX99" fmla="*/ 2389 w 10000"/>
                    <a:gd name="connsiteY99" fmla="*/ 3505 h 10000"/>
                    <a:gd name="connsiteX100" fmla="*/ 2389 w 10000"/>
                    <a:gd name="connsiteY100" fmla="*/ 3432 h 10000"/>
                    <a:gd name="connsiteX101" fmla="*/ 2389 w 10000"/>
                    <a:gd name="connsiteY101" fmla="*/ 3432 h 10000"/>
                    <a:gd name="connsiteX102" fmla="*/ 2167 w 10000"/>
                    <a:gd name="connsiteY102" fmla="*/ 3225 h 10000"/>
                    <a:gd name="connsiteX103" fmla="*/ 1889 w 10000"/>
                    <a:gd name="connsiteY103" fmla="*/ 2946 h 10000"/>
                    <a:gd name="connsiteX104" fmla="*/ 1667 w 10000"/>
                    <a:gd name="connsiteY104" fmla="*/ 2695 h 10000"/>
                    <a:gd name="connsiteX105" fmla="*/ 1611 w 10000"/>
                    <a:gd name="connsiteY105" fmla="*/ 2622 h 10000"/>
                    <a:gd name="connsiteX106" fmla="*/ 1611 w 10000"/>
                    <a:gd name="connsiteY106" fmla="*/ 2592 h 10000"/>
                    <a:gd name="connsiteX107" fmla="*/ 1667 w 10000"/>
                    <a:gd name="connsiteY107" fmla="*/ 2577 h 10000"/>
                    <a:gd name="connsiteX108" fmla="*/ 1667 w 10000"/>
                    <a:gd name="connsiteY108" fmla="*/ 2577 h 10000"/>
                    <a:gd name="connsiteX109" fmla="*/ 2000 w 10000"/>
                    <a:gd name="connsiteY109" fmla="*/ 2563 h 10000"/>
                    <a:gd name="connsiteX110" fmla="*/ 2222 w 10000"/>
                    <a:gd name="connsiteY110" fmla="*/ 2563 h 10000"/>
                    <a:gd name="connsiteX111" fmla="*/ 2389 w 10000"/>
                    <a:gd name="connsiteY111" fmla="*/ 2577 h 10000"/>
                    <a:gd name="connsiteX112" fmla="*/ 2389 w 10000"/>
                    <a:gd name="connsiteY112" fmla="*/ 2577 h 10000"/>
                    <a:gd name="connsiteX113" fmla="*/ 2444 w 10000"/>
                    <a:gd name="connsiteY113" fmla="*/ 2577 h 10000"/>
                    <a:gd name="connsiteX114" fmla="*/ 2500 w 10000"/>
                    <a:gd name="connsiteY114" fmla="*/ 2548 h 10000"/>
                    <a:gd name="connsiteX115" fmla="*/ 2778 w 10000"/>
                    <a:gd name="connsiteY115" fmla="*/ 2459 h 10000"/>
                    <a:gd name="connsiteX116" fmla="*/ 3500 w 10000"/>
                    <a:gd name="connsiteY116" fmla="*/ 2165 h 10000"/>
                    <a:gd name="connsiteX117" fmla="*/ 4444 w 10000"/>
                    <a:gd name="connsiteY117" fmla="*/ 1738 h 10000"/>
                    <a:gd name="connsiteX118" fmla="*/ 4444 w 10000"/>
                    <a:gd name="connsiteY118" fmla="*/ 1738 h 10000"/>
                    <a:gd name="connsiteX119" fmla="*/ 4444 w 10000"/>
                    <a:gd name="connsiteY119" fmla="*/ 1679 h 10000"/>
                    <a:gd name="connsiteX120" fmla="*/ 4444 w 10000"/>
                    <a:gd name="connsiteY120" fmla="*/ 1546 h 10000"/>
                    <a:gd name="connsiteX121" fmla="*/ 4500 w 10000"/>
                    <a:gd name="connsiteY121" fmla="*/ 1458 h 10000"/>
                    <a:gd name="connsiteX122" fmla="*/ 4611 w 10000"/>
                    <a:gd name="connsiteY122" fmla="*/ 1384 h 10000"/>
                    <a:gd name="connsiteX123" fmla="*/ 4778 w 10000"/>
                    <a:gd name="connsiteY123" fmla="*/ 1296 h 10000"/>
                    <a:gd name="connsiteX124" fmla="*/ 5000 w 10000"/>
                    <a:gd name="connsiteY124" fmla="*/ 1222 h 10000"/>
                    <a:gd name="connsiteX125" fmla="*/ 5000 w 10000"/>
                    <a:gd name="connsiteY125" fmla="*/ 1222 h 10000"/>
                    <a:gd name="connsiteX126" fmla="*/ 5556 w 10000"/>
                    <a:gd name="connsiteY126" fmla="*/ 1075 h 10000"/>
                    <a:gd name="connsiteX127" fmla="*/ 6111 w 10000"/>
                    <a:gd name="connsiteY127" fmla="*/ 884 h 10000"/>
                    <a:gd name="connsiteX128" fmla="*/ 6667 w 10000"/>
                    <a:gd name="connsiteY128" fmla="*/ 707 h 10000"/>
                    <a:gd name="connsiteX129" fmla="*/ 7056 w 10000"/>
                    <a:gd name="connsiteY129" fmla="*/ 545 h 10000"/>
                    <a:gd name="connsiteX130" fmla="*/ 7056 w 10000"/>
                    <a:gd name="connsiteY130" fmla="*/ 545 h 10000"/>
                    <a:gd name="connsiteX131" fmla="*/ 7333 w 10000"/>
                    <a:gd name="connsiteY131" fmla="*/ 398 h 10000"/>
                    <a:gd name="connsiteX132" fmla="*/ 7667 w 10000"/>
                    <a:gd name="connsiteY132" fmla="*/ 221 h 10000"/>
                    <a:gd name="connsiteX133" fmla="*/ 8000 w 10000"/>
                    <a:gd name="connsiteY133" fmla="*/ 88 h 10000"/>
                    <a:gd name="connsiteX134" fmla="*/ 8167 w 10000"/>
                    <a:gd name="connsiteY134" fmla="*/ 29 h 10000"/>
                    <a:gd name="connsiteX135" fmla="*/ 8333 w 10000"/>
                    <a:gd name="connsiteY135" fmla="*/ 15 h 10000"/>
                    <a:gd name="connsiteX136" fmla="*/ 8333 w 10000"/>
                    <a:gd name="connsiteY136" fmla="*/ 15 h 10000"/>
                    <a:gd name="connsiteX137" fmla="*/ 8667 w 10000"/>
                    <a:gd name="connsiteY137" fmla="*/ 0 h 10000"/>
                    <a:gd name="connsiteX138" fmla="*/ 9111 w 10000"/>
                    <a:gd name="connsiteY138" fmla="*/ 0 h 10000"/>
                    <a:gd name="connsiteX139" fmla="*/ 10000 w 10000"/>
                    <a:gd name="connsiteY139" fmla="*/ 15 h 10000"/>
                    <a:gd name="connsiteX140" fmla="*/ 10000 w 10000"/>
                    <a:gd name="connsiteY140" fmla="*/ 9013 h 10000"/>
                    <a:gd name="connsiteX141" fmla="*/ 10000 w 10000"/>
                    <a:gd name="connsiteY141" fmla="*/ 9013 h 10000"/>
                    <a:gd name="connsiteX142" fmla="*/ 9722 w 10000"/>
                    <a:gd name="connsiteY142" fmla="*/ 8999 h 10000"/>
                    <a:gd name="connsiteX143" fmla="*/ 9389 w 10000"/>
                    <a:gd name="connsiteY143" fmla="*/ 9013 h 10000"/>
                    <a:gd name="connsiteX144" fmla="*/ 9389 w 10000"/>
                    <a:gd name="connsiteY144" fmla="*/ 9013 h 10000"/>
                    <a:gd name="connsiteX145" fmla="*/ 9278 w 10000"/>
                    <a:gd name="connsiteY145" fmla="*/ 9028 h 10000"/>
                    <a:gd name="connsiteX146" fmla="*/ 9056 w 10000"/>
                    <a:gd name="connsiteY146" fmla="*/ 9013 h 10000"/>
                    <a:gd name="connsiteX147" fmla="*/ 8889 w 10000"/>
                    <a:gd name="connsiteY147" fmla="*/ 8999 h 10000"/>
                    <a:gd name="connsiteX148" fmla="*/ 8722 w 10000"/>
                    <a:gd name="connsiteY148" fmla="*/ 8969 h 10000"/>
                    <a:gd name="connsiteX149" fmla="*/ 8611 w 10000"/>
                    <a:gd name="connsiteY149" fmla="*/ 8925 h 10000"/>
                    <a:gd name="connsiteX150" fmla="*/ 8444 w 10000"/>
                    <a:gd name="connsiteY150" fmla="*/ 8851 h 10000"/>
                    <a:gd name="connsiteX151" fmla="*/ 8444 w 10000"/>
                    <a:gd name="connsiteY151" fmla="*/ 8851 h 10000"/>
                    <a:gd name="connsiteX152" fmla="*/ 8222 w 10000"/>
                    <a:gd name="connsiteY152" fmla="*/ 8719 h 10000"/>
                    <a:gd name="connsiteX153" fmla="*/ 8111 w 10000"/>
                    <a:gd name="connsiteY153" fmla="*/ 8660 h 10000"/>
                    <a:gd name="connsiteX154" fmla="*/ 7944 w 10000"/>
                    <a:gd name="connsiteY154" fmla="*/ 8616 h 10000"/>
                    <a:gd name="connsiteX155" fmla="*/ 7778 w 10000"/>
                    <a:gd name="connsiteY155" fmla="*/ 8586 h 10000"/>
                    <a:gd name="connsiteX156" fmla="*/ 7556 w 10000"/>
                    <a:gd name="connsiteY156" fmla="*/ 8571 h 10000"/>
                    <a:gd name="connsiteX157" fmla="*/ 7333 w 10000"/>
                    <a:gd name="connsiteY157" fmla="*/ 8557 h 10000"/>
                    <a:gd name="connsiteX158" fmla="*/ 7000 w 10000"/>
                    <a:gd name="connsiteY158" fmla="*/ 8542 h 10000"/>
                    <a:gd name="connsiteX159" fmla="*/ 7000 w 10000"/>
                    <a:gd name="connsiteY159" fmla="*/ 8542 h 10000"/>
                    <a:gd name="connsiteX160" fmla="*/ 6556 w 10000"/>
                    <a:gd name="connsiteY160" fmla="*/ 8557 h 10000"/>
                    <a:gd name="connsiteX161" fmla="*/ 6222 w 10000"/>
                    <a:gd name="connsiteY161" fmla="*/ 8557 h 10000"/>
                    <a:gd name="connsiteX162" fmla="*/ 6111 w 10000"/>
                    <a:gd name="connsiteY162" fmla="*/ 8542 h 10000"/>
                    <a:gd name="connsiteX163" fmla="*/ 6056 w 10000"/>
                    <a:gd name="connsiteY163" fmla="*/ 8527 h 10000"/>
                    <a:gd name="connsiteX164" fmla="*/ 6056 w 10000"/>
                    <a:gd name="connsiteY164" fmla="*/ 8527 h 10000"/>
                    <a:gd name="connsiteX165" fmla="*/ 6056 w 10000"/>
                    <a:gd name="connsiteY165" fmla="*/ 8262 h 10000"/>
                    <a:gd name="connsiteX166" fmla="*/ 6056 w 10000"/>
                    <a:gd name="connsiteY166" fmla="*/ 8262 h 10000"/>
                    <a:gd name="connsiteX167" fmla="*/ 6056 w 10000"/>
                    <a:gd name="connsiteY167" fmla="*/ 8203 h 10000"/>
                    <a:gd name="connsiteX168" fmla="*/ 5944 w 10000"/>
                    <a:gd name="connsiteY168" fmla="*/ 8130 h 10000"/>
                    <a:gd name="connsiteX169" fmla="*/ 5889 w 10000"/>
                    <a:gd name="connsiteY169" fmla="*/ 8115 h 10000"/>
                    <a:gd name="connsiteX170" fmla="*/ 5778 w 10000"/>
                    <a:gd name="connsiteY170" fmla="*/ 8100 h 10000"/>
                    <a:gd name="connsiteX171" fmla="*/ 5667 w 10000"/>
                    <a:gd name="connsiteY171" fmla="*/ 8100 h 10000"/>
                    <a:gd name="connsiteX172" fmla="*/ 5500 w 10000"/>
                    <a:gd name="connsiteY172" fmla="*/ 8115 h 10000"/>
                    <a:gd name="connsiteX173" fmla="*/ 5500 w 10000"/>
                    <a:gd name="connsiteY173" fmla="*/ 8115 h 10000"/>
                    <a:gd name="connsiteX174" fmla="*/ 4889 w 10000"/>
                    <a:gd name="connsiteY174" fmla="*/ 8218 h 10000"/>
                    <a:gd name="connsiteX175" fmla="*/ 4611 w 10000"/>
                    <a:gd name="connsiteY175" fmla="*/ 8247 h 10000"/>
                    <a:gd name="connsiteX176" fmla="*/ 4556 w 10000"/>
                    <a:gd name="connsiteY176" fmla="*/ 8262 h 10000"/>
                    <a:gd name="connsiteX177" fmla="*/ 4500 w 10000"/>
                    <a:gd name="connsiteY177" fmla="*/ 8247 h 10000"/>
                    <a:gd name="connsiteX178" fmla="*/ 4500 w 10000"/>
                    <a:gd name="connsiteY178" fmla="*/ 8247 h 10000"/>
                    <a:gd name="connsiteX179" fmla="*/ 4222 w 10000"/>
                    <a:gd name="connsiteY179" fmla="*/ 8100 h 10000"/>
                    <a:gd name="connsiteX180" fmla="*/ 4222 w 10000"/>
                    <a:gd name="connsiteY180" fmla="*/ 8100 h 10000"/>
                    <a:gd name="connsiteX181" fmla="*/ 4111 w 10000"/>
                    <a:gd name="connsiteY181" fmla="*/ 8027 h 10000"/>
                    <a:gd name="connsiteX182" fmla="*/ 4111 w 10000"/>
                    <a:gd name="connsiteY182" fmla="*/ 7982 h 10000"/>
                    <a:gd name="connsiteX183" fmla="*/ 4111 w 10000"/>
                    <a:gd name="connsiteY183" fmla="*/ 7938 h 10000"/>
                    <a:gd name="connsiteX184" fmla="*/ 4111 w 10000"/>
                    <a:gd name="connsiteY184" fmla="*/ 7938 h 10000"/>
                    <a:gd name="connsiteX185" fmla="*/ 4278 w 10000"/>
                    <a:gd name="connsiteY185" fmla="*/ 7894 h 10000"/>
                    <a:gd name="connsiteX186" fmla="*/ 4389 w 10000"/>
                    <a:gd name="connsiteY186" fmla="*/ 7879 h 10000"/>
                    <a:gd name="connsiteX187" fmla="*/ 4389 w 10000"/>
                    <a:gd name="connsiteY187" fmla="*/ 7879 h 10000"/>
                    <a:gd name="connsiteX188" fmla="*/ 4000 w 10000"/>
                    <a:gd name="connsiteY188" fmla="*/ 7879 h 10000"/>
                    <a:gd name="connsiteX189" fmla="*/ 3722 w 10000"/>
                    <a:gd name="connsiteY189" fmla="*/ 7894 h 10000"/>
                    <a:gd name="connsiteX190" fmla="*/ 3611 w 10000"/>
                    <a:gd name="connsiteY190" fmla="*/ 7909 h 10000"/>
                    <a:gd name="connsiteX191" fmla="*/ 3556 w 10000"/>
                    <a:gd name="connsiteY191" fmla="*/ 7923 h 10000"/>
                    <a:gd name="connsiteX192" fmla="*/ 3556 w 10000"/>
                    <a:gd name="connsiteY192" fmla="*/ 7923 h 10000"/>
                    <a:gd name="connsiteX193" fmla="*/ 3444 w 10000"/>
                    <a:gd name="connsiteY193" fmla="*/ 7982 h 10000"/>
                    <a:gd name="connsiteX194" fmla="*/ 3278 w 10000"/>
                    <a:gd name="connsiteY194" fmla="*/ 8071 h 10000"/>
                    <a:gd name="connsiteX195" fmla="*/ 3000 w 10000"/>
                    <a:gd name="connsiteY195" fmla="*/ 8174 h 10000"/>
                    <a:gd name="connsiteX196" fmla="*/ 2667 w 10000"/>
                    <a:gd name="connsiteY196" fmla="*/ 8247 h 10000"/>
                    <a:gd name="connsiteX197" fmla="*/ 2667 w 10000"/>
                    <a:gd name="connsiteY197" fmla="*/ 8247 h 10000"/>
                    <a:gd name="connsiteX198" fmla="*/ 2333 w 10000"/>
                    <a:gd name="connsiteY198" fmla="*/ 8306 h 10000"/>
                    <a:gd name="connsiteX199" fmla="*/ 1833 w 10000"/>
                    <a:gd name="connsiteY199" fmla="*/ 8365 h 10000"/>
                    <a:gd name="connsiteX200" fmla="*/ 1389 w 10000"/>
                    <a:gd name="connsiteY200" fmla="*/ 8395 h 10000"/>
                    <a:gd name="connsiteX201" fmla="*/ 889 w 10000"/>
                    <a:gd name="connsiteY201" fmla="*/ 8409 h 10000"/>
                    <a:gd name="connsiteX202" fmla="*/ 889 w 10000"/>
                    <a:gd name="connsiteY202" fmla="*/ 8409 h 10000"/>
                    <a:gd name="connsiteX203" fmla="*/ 500 w 10000"/>
                    <a:gd name="connsiteY203" fmla="*/ 8424 h 10000"/>
                    <a:gd name="connsiteX204" fmla="*/ 222 w 10000"/>
                    <a:gd name="connsiteY204" fmla="*/ 8439 h 10000"/>
                    <a:gd name="connsiteX205" fmla="*/ 0 w 10000"/>
                    <a:gd name="connsiteY205" fmla="*/ 8454 h 10000"/>
                    <a:gd name="connsiteX206" fmla="*/ 0 w 10000"/>
                    <a:gd name="connsiteY206" fmla="*/ 8454 h 10000"/>
                    <a:gd name="connsiteX207" fmla="*/ 278 w 10000"/>
                    <a:gd name="connsiteY207" fmla="*/ 8689 h 10000"/>
                    <a:gd name="connsiteX208" fmla="*/ 500 w 10000"/>
                    <a:gd name="connsiteY208" fmla="*/ 8866 h 10000"/>
                    <a:gd name="connsiteX209" fmla="*/ 722 w 10000"/>
                    <a:gd name="connsiteY209" fmla="*/ 9013 h 10000"/>
                    <a:gd name="connsiteX210" fmla="*/ 722 w 10000"/>
                    <a:gd name="connsiteY210" fmla="*/ 9013 h 10000"/>
                    <a:gd name="connsiteX211" fmla="*/ 889 w 10000"/>
                    <a:gd name="connsiteY211" fmla="*/ 9102 h 10000"/>
                    <a:gd name="connsiteX212" fmla="*/ 944 w 10000"/>
                    <a:gd name="connsiteY212" fmla="*/ 9175 h 10000"/>
                    <a:gd name="connsiteX213" fmla="*/ 1111 w 10000"/>
                    <a:gd name="connsiteY213" fmla="*/ 9249 h 10000"/>
                    <a:gd name="connsiteX214" fmla="*/ 1333 w 10000"/>
                    <a:gd name="connsiteY214" fmla="*/ 9367 h 10000"/>
                    <a:gd name="connsiteX215" fmla="*/ 1333 w 10000"/>
                    <a:gd name="connsiteY215" fmla="*/ 9367 h 10000"/>
                    <a:gd name="connsiteX216" fmla="*/ 1444 w 10000"/>
                    <a:gd name="connsiteY216" fmla="*/ 9426 h 10000"/>
                    <a:gd name="connsiteX217" fmla="*/ 1500 w 10000"/>
                    <a:gd name="connsiteY217" fmla="*/ 9470 h 10000"/>
                    <a:gd name="connsiteX218" fmla="*/ 1500 w 10000"/>
                    <a:gd name="connsiteY218" fmla="*/ 9514 h 10000"/>
                    <a:gd name="connsiteX219" fmla="*/ 1556 w 10000"/>
                    <a:gd name="connsiteY219" fmla="*/ 9529 h 10000"/>
                    <a:gd name="connsiteX220" fmla="*/ 1722 w 10000"/>
                    <a:gd name="connsiteY220" fmla="*/ 9543 h 10000"/>
                    <a:gd name="connsiteX221" fmla="*/ 1944 w 10000"/>
                    <a:gd name="connsiteY221" fmla="*/ 9558 h 10000"/>
                    <a:gd name="connsiteX222" fmla="*/ 2944 w 10000"/>
                    <a:gd name="connsiteY222" fmla="*/ 9573 h 10000"/>
                    <a:gd name="connsiteX223" fmla="*/ 2944 w 10000"/>
                    <a:gd name="connsiteY223" fmla="*/ 9573 h 10000"/>
                    <a:gd name="connsiteX224" fmla="*/ 4167 w 10000"/>
                    <a:gd name="connsiteY224" fmla="*/ 9602 h 10000"/>
                    <a:gd name="connsiteX225" fmla="*/ 4889 w 10000"/>
                    <a:gd name="connsiteY225" fmla="*/ 9647 h 10000"/>
                    <a:gd name="connsiteX226" fmla="*/ 5278 w 10000"/>
                    <a:gd name="connsiteY226" fmla="*/ 9691 h 10000"/>
                    <a:gd name="connsiteX227" fmla="*/ 5444 w 10000"/>
                    <a:gd name="connsiteY227" fmla="*/ 9705 h 10000"/>
                    <a:gd name="connsiteX228" fmla="*/ 5444 w 10000"/>
                    <a:gd name="connsiteY228" fmla="*/ 9705 h 10000"/>
                    <a:gd name="connsiteX229" fmla="*/ 5722 w 10000"/>
                    <a:gd name="connsiteY229" fmla="*/ 9735 h 10000"/>
                    <a:gd name="connsiteX230" fmla="*/ 5833 w 10000"/>
                    <a:gd name="connsiteY230" fmla="*/ 9750 h 10000"/>
                    <a:gd name="connsiteX231" fmla="*/ 5833 w 10000"/>
                    <a:gd name="connsiteY231" fmla="*/ 9750 h 10000"/>
                    <a:gd name="connsiteX232" fmla="*/ 5833 w 10000"/>
                    <a:gd name="connsiteY232" fmla="*/ 9735 h 10000"/>
                    <a:gd name="connsiteX233" fmla="*/ 5889 w 10000"/>
                    <a:gd name="connsiteY233" fmla="*/ 9720 h 10000"/>
                    <a:gd name="connsiteX234" fmla="*/ 6000 w 10000"/>
                    <a:gd name="connsiteY234" fmla="*/ 9705 h 10000"/>
                    <a:gd name="connsiteX235" fmla="*/ 6167 w 10000"/>
                    <a:gd name="connsiteY235" fmla="*/ 9691 h 10000"/>
                    <a:gd name="connsiteX236" fmla="*/ 6444 w 10000"/>
                    <a:gd name="connsiteY236" fmla="*/ 9691 h 10000"/>
                    <a:gd name="connsiteX237" fmla="*/ 6833 w 10000"/>
                    <a:gd name="connsiteY237" fmla="*/ 9705 h 10000"/>
                    <a:gd name="connsiteX238" fmla="*/ 7278 w 10000"/>
                    <a:gd name="connsiteY238" fmla="*/ 9750 h 10000"/>
                    <a:gd name="connsiteX239" fmla="*/ 7278 w 10000"/>
                    <a:gd name="connsiteY239" fmla="*/ 9750 h 10000"/>
                    <a:gd name="connsiteX240" fmla="*/ 8722 w 10000"/>
                    <a:gd name="connsiteY240" fmla="*/ 9882 h 10000"/>
                    <a:gd name="connsiteX241" fmla="*/ 10000 w 10000"/>
                    <a:gd name="connsiteY24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556 w 10000"/>
                    <a:gd name="connsiteY71" fmla="*/ 5302 h 10000"/>
                    <a:gd name="connsiteX72" fmla="*/ 6556 w 10000"/>
                    <a:gd name="connsiteY72" fmla="*/ 5199 h 10000"/>
                    <a:gd name="connsiteX73" fmla="*/ 6389 w 10000"/>
                    <a:gd name="connsiteY73" fmla="*/ 5096 h 10000"/>
                    <a:gd name="connsiteX74" fmla="*/ 6056 w 10000"/>
                    <a:gd name="connsiteY74" fmla="*/ 4934 h 10000"/>
                    <a:gd name="connsiteX75" fmla="*/ 5333 w 10000"/>
                    <a:gd name="connsiteY75" fmla="*/ 4624 h 10000"/>
                    <a:gd name="connsiteX76" fmla="*/ 5333 w 10000"/>
                    <a:gd name="connsiteY76" fmla="*/ 4624 h 10000"/>
                    <a:gd name="connsiteX77" fmla="*/ 5167 w 10000"/>
                    <a:gd name="connsiteY77" fmla="*/ 4580 h 10000"/>
                    <a:gd name="connsiteX78" fmla="*/ 4889 w 10000"/>
                    <a:gd name="connsiteY78" fmla="*/ 4521 h 10000"/>
                    <a:gd name="connsiteX79" fmla="*/ 4056 w 10000"/>
                    <a:gd name="connsiteY79" fmla="*/ 4389 h 10000"/>
                    <a:gd name="connsiteX80" fmla="*/ 2889 w 10000"/>
                    <a:gd name="connsiteY80" fmla="*/ 4227 h 10000"/>
                    <a:gd name="connsiteX81" fmla="*/ 2889 w 10000"/>
                    <a:gd name="connsiteY81" fmla="*/ 4227 h 10000"/>
                    <a:gd name="connsiteX82" fmla="*/ 2389 w 10000"/>
                    <a:gd name="connsiteY82" fmla="*/ 4212 h 10000"/>
                    <a:gd name="connsiteX83" fmla="*/ 2000 w 10000"/>
                    <a:gd name="connsiteY83" fmla="*/ 4197 h 10000"/>
                    <a:gd name="connsiteX84" fmla="*/ 1889 w 10000"/>
                    <a:gd name="connsiteY84" fmla="*/ 4183 h 10000"/>
                    <a:gd name="connsiteX85" fmla="*/ 1778 w 10000"/>
                    <a:gd name="connsiteY85" fmla="*/ 4168 h 10000"/>
                    <a:gd name="connsiteX86" fmla="*/ 1778 w 10000"/>
                    <a:gd name="connsiteY86" fmla="*/ 4168 h 10000"/>
                    <a:gd name="connsiteX87" fmla="*/ 1667 w 10000"/>
                    <a:gd name="connsiteY87" fmla="*/ 4109 h 10000"/>
                    <a:gd name="connsiteX88" fmla="*/ 1500 w 10000"/>
                    <a:gd name="connsiteY88" fmla="*/ 4006 h 10000"/>
                    <a:gd name="connsiteX89" fmla="*/ 1444 w 10000"/>
                    <a:gd name="connsiteY89" fmla="*/ 3947 h 10000"/>
                    <a:gd name="connsiteX90" fmla="*/ 1444 w 10000"/>
                    <a:gd name="connsiteY90" fmla="*/ 3888 h 10000"/>
                    <a:gd name="connsiteX91" fmla="*/ 1444 w 10000"/>
                    <a:gd name="connsiteY91" fmla="*/ 3844 h 10000"/>
                    <a:gd name="connsiteX92" fmla="*/ 1556 w 10000"/>
                    <a:gd name="connsiteY92" fmla="*/ 3800 h 10000"/>
                    <a:gd name="connsiteX93" fmla="*/ 1556 w 10000"/>
                    <a:gd name="connsiteY93" fmla="*/ 3800 h 10000"/>
                    <a:gd name="connsiteX94" fmla="*/ 1833 w 10000"/>
                    <a:gd name="connsiteY94" fmla="*/ 3726 h 10000"/>
                    <a:gd name="connsiteX95" fmla="*/ 2111 w 10000"/>
                    <a:gd name="connsiteY95" fmla="*/ 3652 h 10000"/>
                    <a:gd name="connsiteX96" fmla="*/ 2278 w 10000"/>
                    <a:gd name="connsiteY96" fmla="*/ 3608 h 10000"/>
                    <a:gd name="connsiteX97" fmla="*/ 2389 w 10000"/>
                    <a:gd name="connsiteY97" fmla="*/ 3564 h 10000"/>
                    <a:gd name="connsiteX98" fmla="*/ 2389 w 10000"/>
                    <a:gd name="connsiteY98" fmla="*/ 3505 h 10000"/>
                    <a:gd name="connsiteX99" fmla="*/ 2389 w 10000"/>
                    <a:gd name="connsiteY99" fmla="*/ 3432 h 10000"/>
                    <a:gd name="connsiteX100" fmla="*/ 2389 w 10000"/>
                    <a:gd name="connsiteY100" fmla="*/ 3432 h 10000"/>
                    <a:gd name="connsiteX101" fmla="*/ 2167 w 10000"/>
                    <a:gd name="connsiteY101" fmla="*/ 3225 h 10000"/>
                    <a:gd name="connsiteX102" fmla="*/ 1889 w 10000"/>
                    <a:gd name="connsiteY102" fmla="*/ 2946 h 10000"/>
                    <a:gd name="connsiteX103" fmla="*/ 1667 w 10000"/>
                    <a:gd name="connsiteY103" fmla="*/ 2695 h 10000"/>
                    <a:gd name="connsiteX104" fmla="*/ 1611 w 10000"/>
                    <a:gd name="connsiteY104" fmla="*/ 2622 h 10000"/>
                    <a:gd name="connsiteX105" fmla="*/ 1611 w 10000"/>
                    <a:gd name="connsiteY105" fmla="*/ 2592 h 10000"/>
                    <a:gd name="connsiteX106" fmla="*/ 1667 w 10000"/>
                    <a:gd name="connsiteY106" fmla="*/ 2577 h 10000"/>
                    <a:gd name="connsiteX107" fmla="*/ 1667 w 10000"/>
                    <a:gd name="connsiteY107" fmla="*/ 2577 h 10000"/>
                    <a:gd name="connsiteX108" fmla="*/ 2000 w 10000"/>
                    <a:gd name="connsiteY108" fmla="*/ 2563 h 10000"/>
                    <a:gd name="connsiteX109" fmla="*/ 2222 w 10000"/>
                    <a:gd name="connsiteY109" fmla="*/ 2563 h 10000"/>
                    <a:gd name="connsiteX110" fmla="*/ 2389 w 10000"/>
                    <a:gd name="connsiteY110" fmla="*/ 2577 h 10000"/>
                    <a:gd name="connsiteX111" fmla="*/ 2389 w 10000"/>
                    <a:gd name="connsiteY111" fmla="*/ 2577 h 10000"/>
                    <a:gd name="connsiteX112" fmla="*/ 2444 w 10000"/>
                    <a:gd name="connsiteY112" fmla="*/ 2577 h 10000"/>
                    <a:gd name="connsiteX113" fmla="*/ 2500 w 10000"/>
                    <a:gd name="connsiteY113" fmla="*/ 2548 h 10000"/>
                    <a:gd name="connsiteX114" fmla="*/ 2778 w 10000"/>
                    <a:gd name="connsiteY114" fmla="*/ 2459 h 10000"/>
                    <a:gd name="connsiteX115" fmla="*/ 3500 w 10000"/>
                    <a:gd name="connsiteY115" fmla="*/ 2165 h 10000"/>
                    <a:gd name="connsiteX116" fmla="*/ 4444 w 10000"/>
                    <a:gd name="connsiteY116" fmla="*/ 1738 h 10000"/>
                    <a:gd name="connsiteX117" fmla="*/ 4444 w 10000"/>
                    <a:gd name="connsiteY117" fmla="*/ 1738 h 10000"/>
                    <a:gd name="connsiteX118" fmla="*/ 4444 w 10000"/>
                    <a:gd name="connsiteY118" fmla="*/ 1679 h 10000"/>
                    <a:gd name="connsiteX119" fmla="*/ 4444 w 10000"/>
                    <a:gd name="connsiteY119" fmla="*/ 1546 h 10000"/>
                    <a:gd name="connsiteX120" fmla="*/ 4500 w 10000"/>
                    <a:gd name="connsiteY120" fmla="*/ 1458 h 10000"/>
                    <a:gd name="connsiteX121" fmla="*/ 4611 w 10000"/>
                    <a:gd name="connsiteY121" fmla="*/ 1384 h 10000"/>
                    <a:gd name="connsiteX122" fmla="*/ 4778 w 10000"/>
                    <a:gd name="connsiteY122" fmla="*/ 1296 h 10000"/>
                    <a:gd name="connsiteX123" fmla="*/ 5000 w 10000"/>
                    <a:gd name="connsiteY123" fmla="*/ 1222 h 10000"/>
                    <a:gd name="connsiteX124" fmla="*/ 5000 w 10000"/>
                    <a:gd name="connsiteY124" fmla="*/ 1222 h 10000"/>
                    <a:gd name="connsiteX125" fmla="*/ 5556 w 10000"/>
                    <a:gd name="connsiteY125" fmla="*/ 1075 h 10000"/>
                    <a:gd name="connsiteX126" fmla="*/ 6111 w 10000"/>
                    <a:gd name="connsiteY126" fmla="*/ 884 h 10000"/>
                    <a:gd name="connsiteX127" fmla="*/ 6667 w 10000"/>
                    <a:gd name="connsiteY127" fmla="*/ 707 h 10000"/>
                    <a:gd name="connsiteX128" fmla="*/ 7056 w 10000"/>
                    <a:gd name="connsiteY128" fmla="*/ 545 h 10000"/>
                    <a:gd name="connsiteX129" fmla="*/ 7056 w 10000"/>
                    <a:gd name="connsiteY129" fmla="*/ 545 h 10000"/>
                    <a:gd name="connsiteX130" fmla="*/ 7333 w 10000"/>
                    <a:gd name="connsiteY130" fmla="*/ 398 h 10000"/>
                    <a:gd name="connsiteX131" fmla="*/ 7667 w 10000"/>
                    <a:gd name="connsiteY131" fmla="*/ 221 h 10000"/>
                    <a:gd name="connsiteX132" fmla="*/ 8000 w 10000"/>
                    <a:gd name="connsiteY132" fmla="*/ 88 h 10000"/>
                    <a:gd name="connsiteX133" fmla="*/ 8167 w 10000"/>
                    <a:gd name="connsiteY133" fmla="*/ 29 h 10000"/>
                    <a:gd name="connsiteX134" fmla="*/ 8333 w 10000"/>
                    <a:gd name="connsiteY134" fmla="*/ 15 h 10000"/>
                    <a:gd name="connsiteX135" fmla="*/ 8333 w 10000"/>
                    <a:gd name="connsiteY135" fmla="*/ 15 h 10000"/>
                    <a:gd name="connsiteX136" fmla="*/ 8667 w 10000"/>
                    <a:gd name="connsiteY136" fmla="*/ 0 h 10000"/>
                    <a:gd name="connsiteX137" fmla="*/ 9111 w 10000"/>
                    <a:gd name="connsiteY137" fmla="*/ 0 h 10000"/>
                    <a:gd name="connsiteX138" fmla="*/ 10000 w 10000"/>
                    <a:gd name="connsiteY138" fmla="*/ 15 h 10000"/>
                    <a:gd name="connsiteX139" fmla="*/ 10000 w 10000"/>
                    <a:gd name="connsiteY139" fmla="*/ 9013 h 10000"/>
                    <a:gd name="connsiteX140" fmla="*/ 10000 w 10000"/>
                    <a:gd name="connsiteY140" fmla="*/ 9013 h 10000"/>
                    <a:gd name="connsiteX141" fmla="*/ 9722 w 10000"/>
                    <a:gd name="connsiteY141" fmla="*/ 8999 h 10000"/>
                    <a:gd name="connsiteX142" fmla="*/ 9389 w 10000"/>
                    <a:gd name="connsiteY142" fmla="*/ 9013 h 10000"/>
                    <a:gd name="connsiteX143" fmla="*/ 9389 w 10000"/>
                    <a:gd name="connsiteY143" fmla="*/ 9013 h 10000"/>
                    <a:gd name="connsiteX144" fmla="*/ 9278 w 10000"/>
                    <a:gd name="connsiteY144" fmla="*/ 9028 h 10000"/>
                    <a:gd name="connsiteX145" fmla="*/ 9056 w 10000"/>
                    <a:gd name="connsiteY145" fmla="*/ 9013 h 10000"/>
                    <a:gd name="connsiteX146" fmla="*/ 8889 w 10000"/>
                    <a:gd name="connsiteY146" fmla="*/ 8999 h 10000"/>
                    <a:gd name="connsiteX147" fmla="*/ 8722 w 10000"/>
                    <a:gd name="connsiteY147" fmla="*/ 8969 h 10000"/>
                    <a:gd name="connsiteX148" fmla="*/ 8611 w 10000"/>
                    <a:gd name="connsiteY148" fmla="*/ 8925 h 10000"/>
                    <a:gd name="connsiteX149" fmla="*/ 8444 w 10000"/>
                    <a:gd name="connsiteY149" fmla="*/ 8851 h 10000"/>
                    <a:gd name="connsiteX150" fmla="*/ 8444 w 10000"/>
                    <a:gd name="connsiteY150" fmla="*/ 8851 h 10000"/>
                    <a:gd name="connsiteX151" fmla="*/ 8222 w 10000"/>
                    <a:gd name="connsiteY151" fmla="*/ 8719 h 10000"/>
                    <a:gd name="connsiteX152" fmla="*/ 8111 w 10000"/>
                    <a:gd name="connsiteY152" fmla="*/ 8660 h 10000"/>
                    <a:gd name="connsiteX153" fmla="*/ 7944 w 10000"/>
                    <a:gd name="connsiteY153" fmla="*/ 8616 h 10000"/>
                    <a:gd name="connsiteX154" fmla="*/ 7778 w 10000"/>
                    <a:gd name="connsiteY154" fmla="*/ 8586 h 10000"/>
                    <a:gd name="connsiteX155" fmla="*/ 7556 w 10000"/>
                    <a:gd name="connsiteY155" fmla="*/ 8571 h 10000"/>
                    <a:gd name="connsiteX156" fmla="*/ 7333 w 10000"/>
                    <a:gd name="connsiteY156" fmla="*/ 8557 h 10000"/>
                    <a:gd name="connsiteX157" fmla="*/ 7000 w 10000"/>
                    <a:gd name="connsiteY157" fmla="*/ 8542 h 10000"/>
                    <a:gd name="connsiteX158" fmla="*/ 7000 w 10000"/>
                    <a:gd name="connsiteY158" fmla="*/ 8542 h 10000"/>
                    <a:gd name="connsiteX159" fmla="*/ 6556 w 10000"/>
                    <a:gd name="connsiteY159" fmla="*/ 8557 h 10000"/>
                    <a:gd name="connsiteX160" fmla="*/ 6222 w 10000"/>
                    <a:gd name="connsiteY160" fmla="*/ 8557 h 10000"/>
                    <a:gd name="connsiteX161" fmla="*/ 6111 w 10000"/>
                    <a:gd name="connsiteY161" fmla="*/ 8542 h 10000"/>
                    <a:gd name="connsiteX162" fmla="*/ 6056 w 10000"/>
                    <a:gd name="connsiteY162" fmla="*/ 8527 h 10000"/>
                    <a:gd name="connsiteX163" fmla="*/ 6056 w 10000"/>
                    <a:gd name="connsiteY163" fmla="*/ 8527 h 10000"/>
                    <a:gd name="connsiteX164" fmla="*/ 6056 w 10000"/>
                    <a:gd name="connsiteY164" fmla="*/ 8262 h 10000"/>
                    <a:gd name="connsiteX165" fmla="*/ 6056 w 10000"/>
                    <a:gd name="connsiteY165" fmla="*/ 8262 h 10000"/>
                    <a:gd name="connsiteX166" fmla="*/ 6056 w 10000"/>
                    <a:gd name="connsiteY166" fmla="*/ 8203 h 10000"/>
                    <a:gd name="connsiteX167" fmla="*/ 5944 w 10000"/>
                    <a:gd name="connsiteY167" fmla="*/ 8130 h 10000"/>
                    <a:gd name="connsiteX168" fmla="*/ 5889 w 10000"/>
                    <a:gd name="connsiteY168" fmla="*/ 8115 h 10000"/>
                    <a:gd name="connsiteX169" fmla="*/ 5778 w 10000"/>
                    <a:gd name="connsiteY169" fmla="*/ 8100 h 10000"/>
                    <a:gd name="connsiteX170" fmla="*/ 5667 w 10000"/>
                    <a:gd name="connsiteY170" fmla="*/ 8100 h 10000"/>
                    <a:gd name="connsiteX171" fmla="*/ 5500 w 10000"/>
                    <a:gd name="connsiteY171" fmla="*/ 8115 h 10000"/>
                    <a:gd name="connsiteX172" fmla="*/ 5500 w 10000"/>
                    <a:gd name="connsiteY172" fmla="*/ 8115 h 10000"/>
                    <a:gd name="connsiteX173" fmla="*/ 4889 w 10000"/>
                    <a:gd name="connsiteY173" fmla="*/ 8218 h 10000"/>
                    <a:gd name="connsiteX174" fmla="*/ 4611 w 10000"/>
                    <a:gd name="connsiteY174" fmla="*/ 8247 h 10000"/>
                    <a:gd name="connsiteX175" fmla="*/ 4556 w 10000"/>
                    <a:gd name="connsiteY175" fmla="*/ 8262 h 10000"/>
                    <a:gd name="connsiteX176" fmla="*/ 4500 w 10000"/>
                    <a:gd name="connsiteY176" fmla="*/ 8247 h 10000"/>
                    <a:gd name="connsiteX177" fmla="*/ 4500 w 10000"/>
                    <a:gd name="connsiteY177" fmla="*/ 8247 h 10000"/>
                    <a:gd name="connsiteX178" fmla="*/ 4222 w 10000"/>
                    <a:gd name="connsiteY178" fmla="*/ 8100 h 10000"/>
                    <a:gd name="connsiteX179" fmla="*/ 4222 w 10000"/>
                    <a:gd name="connsiteY179" fmla="*/ 8100 h 10000"/>
                    <a:gd name="connsiteX180" fmla="*/ 4111 w 10000"/>
                    <a:gd name="connsiteY180" fmla="*/ 8027 h 10000"/>
                    <a:gd name="connsiteX181" fmla="*/ 4111 w 10000"/>
                    <a:gd name="connsiteY181" fmla="*/ 7982 h 10000"/>
                    <a:gd name="connsiteX182" fmla="*/ 4111 w 10000"/>
                    <a:gd name="connsiteY182" fmla="*/ 7938 h 10000"/>
                    <a:gd name="connsiteX183" fmla="*/ 4111 w 10000"/>
                    <a:gd name="connsiteY183" fmla="*/ 7938 h 10000"/>
                    <a:gd name="connsiteX184" fmla="*/ 4278 w 10000"/>
                    <a:gd name="connsiteY184" fmla="*/ 7894 h 10000"/>
                    <a:gd name="connsiteX185" fmla="*/ 4389 w 10000"/>
                    <a:gd name="connsiteY185" fmla="*/ 7879 h 10000"/>
                    <a:gd name="connsiteX186" fmla="*/ 4389 w 10000"/>
                    <a:gd name="connsiteY186" fmla="*/ 7879 h 10000"/>
                    <a:gd name="connsiteX187" fmla="*/ 4000 w 10000"/>
                    <a:gd name="connsiteY187" fmla="*/ 7879 h 10000"/>
                    <a:gd name="connsiteX188" fmla="*/ 3722 w 10000"/>
                    <a:gd name="connsiteY188" fmla="*/ 7894 h 10000"/>
                    <a:gd name="connsiteX189" fmla="*/ 3611 w 10000"/>
                    <a:gd name="connsiteY189" fmla="*/ 7909 h 10000"/>
                    <a:gd name="connsiteX190" fmla="*/ 3556 w 10000"/>
                    <a:gd name="connsiteY190" fmla="*/ 7923 h 10000"/>
                    <a:gd name="connsiteX191" fmla="*/ 3556 w 10000"/>
                    <a:gd name="connsiteY191" fmla="*/ 7923 h 10000"/>
                    <a:gd name="connsiteX192" fmla="*/ 3444 w 10000"/>
                    <a:gd name="connsiteY192" fmla="*/ 7982 h 10000"/>
                    <a:gd name="connsiteX193" fmla="*/ 3278 w 10000"/>
                    <a:gd name="connsiteY193" fmla="*/ 8071 h 10000"/>
                    <a:gd name="connsiteX194" fmla="*/ 3000 w 10000"/>
                    <a:gd name="connsiteY194" fmla="*/ 8174 h 10000"/>
                    <a:gd name="connsiteX195" fmla="*/ 2667 w 10000"/>
                    <a:gd name="connsiteY195" fmla="*/ 8247 h 10000"/>
                    <a:gd name="connsiteX196" fmla="*/ 2667 w 10000"/>
                    <a:gd name="connsiteY196" fmla="*/ 8247 h 10000"/>
                    <a:gd name="connsiteX197" fmla="*/ 2333 w 10000"/>
                    <a:gd name="connsiteY197" fmla="*/ 8306 h 10000"/>
                    <a:gd name="connsiteX198" fmla="*/ 1833 w 10000"/>
                    <a:gd name="connsiteY198" fmla="*/ 8365 h 10000"/>
                    <a:gd name="connsiteX199" fmla="*/ 1389 w 10000"/>
                    <a:gd name="connsiteY199" fmla="*/ 8395 h 10000"/>
                    <a:gd name="connsiteX200" fmla="*/ 889 w 10000"/>
                    <a:gd name="connsiteY200" fmla="*/ 8409 h 10000"/>
                    <a:gd name="connsiteX201" fmla="*/ 889 w 10000"/>
                    <a:gd name="connsiteY201" fmla="*/ 8409 h 10000"/>
                    <a:gd name="connsiteX202" fmla="*/ 500 w 10000"/>
                    <a:gd name="connsiteY202" fmla="*/ 8424 h 10000"/>
                    <a:gd name="connsiteX203" fmla="*/ 222 w 10000"/>
                    <a:gd name="connsiteY203" fmla="*/ 8439 h 10000"/>
                    <a:gd name="connsiteX204" fmla="*/ 0 w 10000"/>
                    <a:gd name="connsiteY204" fmla="*/ 8454 h 10000"/>
                    <a:gd name="connsiteX205" fmla="*/ 0 w 10000"/>
                    <a:gd name="connsiteY205" fmla="*/ 8454 h 10000"/>
                    <a:gd name="connsiteX206" fmla="*/ 278 w 10000"/>
                    <a:gd name="connsiteY206" fmla="*/ 8689 h 10000"/>
                    <a:gd name="connsiteX207" fmla="*/ 500 w 10000"/>
                    <a:gd name="connsiteY207" fmla="*/ 8866 h 10000"/>
                    <a:gd name="connsiteX208" fmla="*/ 722 w 10000"/>
                    <a:gd name="connsiteY208" fmla="*/ 9013 h 10000"/>
                    <a:gd name="connsiteX209" fmla="*/ 722 w 10000"/>
                    <a:gd name="connsiteY209" fmla="*/ 9013 h 10000"/>
                    <a:gd name="connsiteX210" fmla="*/ 889 w 10000"/>
                    <a:gd name="connsiteY210" fmla="*/ 9102 h 10000"/>
                    <a:gd name="connsiteX211" fmla="*/ 944 w 10000"/>
                    <a:gd name="connsiteY211" fmla="*/ 9175 h 10000"/>
                    <a:gd name="connsiteX212" fmla="*/ 1111 w 10000"/>
                    <a:gd name="connsiteY212" fmla="*/ 9249 h 10000"/>
                    <a:gd name="connsiteX213" fmla="*/ 1333 w 10000"/>
                    <a:gd name="connsiteY213" fmla="*/ 9367 h 10000"/>
                    <a:gd name="connsiteX214" fmla="*/ 1333 w 10000"/>
                    <a:gd name="connsiteY214" fmla="*/ 9367 h 10000"/>
                    <a:gd name="connsiteX215" fmla="*/ 1444 w 10000"/>
                    <a:gd name="connsiteY215" fmla="*/ 9426 h 10000"/>
                    <a:gd name="connsiteX216" fmla="*/ 1500 w 10000"/>
                    <a:gd name="connsiteY216" fmla="*/ 9470 h 10000"/>
                    <a:gd name="connsiteX217" fmla="*/ 1500 w 10000"/>
                    <a:gd name="connsiteY217" fmla="*/ 9514 h 10000"/>
                    <a:gd name="connsiteX218" fmla="*/ 1556 w 10000"/>
                    <a:gd name="connsiteY218" fmla="*/ 9529 h 10000"/>
                    <a:gd name="connsiteX219" fmla="*/ 1722 w 10000"/>
                    <a:gd name="connsiteY219" fmla="*/ 9543 h 10000"/>
                    <a:gd name="connsiteX220" fmla="*/ 1944 w 10000"/>
                    <a:gd name="connsiteY220" fmla="*/ 9558 h 10000"/>
                    <a:gd name="connsiteX221" fmla="*/ 2944 w 10000"/>
                    <a:gd name="connsiteY221" fmla="*/ 9573 h 10000"/>
                    <a:gd name="connsiteX222" fmla="*/ 2944 w 10000"/>
                    <a:gd name="connsiteY222" fmla="*/ 9573 h 10000"/>
                    <a:gd name="connsiteX223" fmla="*/ 4167 w 10000"/>
                    <a:gd name="connsiteY223" fmla="*/ 9602 h 10000"/>
                    <a:gd name="connsiteX224" fmla="*/ 4889 w 10000"/>
                    <a:gd name="connsiteY224" fmla="*/ 9647 h 10000"/>
                    <a:gd name="connsiteX225" fmla="*/ 5278 w 10000"/>
                    <a:gd name="connsiteY225" fmla="*/ 9691 h 10000"/>
                    <a:gd name="connsiteX226" fmla="*/ 5444 w 10000"/>
                    <a:gd name="connsiteY226" fmla="*/ 9705 h 10000"/>
                    <a:gd name="connsiteX227" fmla="*/ 5444 w 10000"/>
                    <a:gd name="connsiteY227" fmla="*/ 9705 h 10000"/>
                    <a:gd name="connsiteX228" fmla="*/ 5722 w 10000"/>
                    <a:gd name="connsiteY228" fmla="*/ 9735 h 10000"/>
                    <a:gd name="connsiteX229" fmla="*/ 5833 w 10000"/>
                    <a:gd name="connsiteY229" fmla="*/ 9750 h 10000"/>
                    <a:gd name="connsiteX230" fmla="*/ 5833 w 10000"/>
                    <a:gd name="connsiteY230" fmla="*/ 9750 h 10000"/>
                    <a:gd name="connsiteX231" fmla="*/ 5833 w 10000"/>
                    <a:gd name="connsiteY231" fmla="*/ 9735 h 10000"/>
                    <a:gd name="connsiteX232" fmla="*/ 5889 w 10000"/>
                    <a:gd name="connsiteY232" fmla="*/ 9720 h 10000"/>
                    <a:gd name="connsiteX233" fmla="*/ 6000 w 10000"/>
                    <a:gd name="connsiteY233" fmla="*/ 9705 h 10000"/>
                    <a:gd name="connsiteX234" fmla="*/ 6167 w 10000"/>
                    <a:gd name="connsiteY234" fmla="*/ 9691 h 10000"/>
                    <a:gd name="connsiteX235" fmla="*/ 6444 w 10000"/>
                    <a:gd name="connsiteY235" fmla="*/ 9691 h 10000"/>
                    <a:gd name="connsiteX236" fmla="*/ 6833 w 10000"/>
                    <a:gd name="connsiteY236" fmla="*/ 9705 h 10000"/>
                    <a:gd name="connsiteX237" fmla="*/ 7278 w 10000"/>
                    <a:gd name="connsiteY237" fmla="*/ 9750 h 10000"/>
                    <a:gd name="connsiteX238" fmla="*/ 7278 w 10000"/>
                    <a:gd name="connsiteY238" fmla="*/ 9750 h 10000"/>
                    <a:gd name="connsiteX239" fmla="*/ 8722 w 10000"/>
                    <a:gd name="connsiteY239" fmla="*/ 9882 h 10000"/>
                    <a:gd name="connsiteX240" fmla="*/ 10000 w 10000"/>
                    <a:gd name="connsiteY24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556 w 10000"/>
                    <a:gd name="connsiteY71" fmla="*/ 5199 h 10000"/>
                    <a:gd name="connsiteX72" fmla="*/ 6389 w 10000"/>
                    <a:gd name="connsiteY72" fmla="*/ 5096 h 10000"/>
                    <a:gd name="connsiteX73" fmla="*/ 6056 w 10000"/>
                    <a:gd name="connsiteY73" fmla="*/ 4934 h 10000"/>
                    <a:gd name="connsiteX74" fmla="*/ 5333 w 10000"/>
                    <a:gd name="connsiteY74" fmla="*/ 4624 h 10000"/>
                    <a:gd name="connsiteX75" fmla="*/ 5333 w 10000"/>
                    <a:gd name="connsiteY75" fmla="*/ 4624 h 10000"/>
                    <a:gd name="connsiteX76" fmla="*/ 5167 w 10000"/>
                    <a:gd name="connsiteY76" fmla="*/ 4580 h 10000"/>
                    <a:gd name="connsiteX77" fmla="*/ 4889 w 10000"/>
                    <a:gd name="connsiteY77" fmla="*/ 4521 h 10000"/>
                    <a:gd name="connsiteX78" fmla="*/ 4056 w 10000"/>
                    <a:gd name="connsiteY78" fmla="*/ 4389 h 10000"/>
                    <a:gd name="connsiteX79" fmla="*/ 2889 w 10000"/>
                    <a:gd name="connsiteY79" fmla="*/ 4227 h 10000"/>
                    <a:gd name="connsiteX80" fmla="*/ 2889 w 10000"/>
                    <a:gd name="connsiteY80" fmla="*/ 4227 h 10000"/>
                    <a:gd name="connsiteX81" fmla="*/ 2389 w 10000"/>
                    <a:gd name="connsiteY81" fmla="*/ 4212 h 10000"/>
                    <a:gd name="connsiteX82" fmla="*/ 2000 w 10000"/>
                    <a:gd name="connsiteY82" fmla="*/ 4197 h 10000"/>
                    <a:gd name="connsiteX83" fmla="*/ 1889 w 10000"/>
                    <a:gd name="connsiteY83" fmla="*/ 4183 h 10000"/>
                    <a:gd name="connsiteX84" fmla="*/ 1778 w 10000"/>
                    <a:gd name="connsiteY84" fmla="*/ 4168 h 10000"/>
                    <a:gd name="connsiteX85" fmla="*/ 1778 w 10000"/>
                    <a:gd name="connsiteY85" fmla="*/ 4168 h 10000"/>
                    <a:gd name="connsiteX86" fmla="*/ 1667 w 10000"/>
                    <a:gd name="connsiteY86" fmla="*/ 4109 h 10000"/>
                    <a:gd name="connsiteX87" fmla="*/ 1500 w 10000"/>
                    <a:gd name="connsiteY87" fmla="*/ 4006 h 10000"/>
                    <a:gd name="connsiteX88" fmla="*/ 1444 w 10000"/>
                    <a:gd name="connsiteY88" fmla="*/ 3947 h 10000"/>
                    <a:gd name="connsiteX89" fmla="*/ 1444 w 10000"/>
                    <a:gd name="connsiteY89" fmla="*/ 3888 h 10000"/>
                    <a:gd name="connsiteX90" fmla="*/ 1444 w 10000"/>
                    <a:gd name="connsiteY90" fmla="*/ 3844 h 10000"/>
                    <a:gd name="connsiteX91" fmla="*/ 1556 w 10000"/>
                    <a:gd name="connsiteY91" fmla="*/ 3800 h 10000"/>
                    <a:gd name="connsiteX92" fmla="*/ 1556 w 10000"/>
                    <a:gd name="connsiteY92" fmla="*/ 3800 h 10000"/>
                    <a:gd name="connsiteX93" fmla="*/ 1833 w 10000"/>
                    <a:gd name="connsiteY93" fmla="*/ 3726 h 10000"/>
                    <a:gd name="connsiteX94" fmla="*/ 2111 w 10000"/>
                    <a:gd name="connsiteY94" fmla="*/ 3652 h 10000"/>
                    <a:gd name="connsiteX95" fmla="*/ 2278 w 10000"/>
                    <a:gd name="connsiteY95" fmla="*/ 3608 h 10000"/>
                    <a:gd name="connsiteX96" fmla="*/ 2389 w 10000"/>
                    <a:gd name="connsiteY96" fmla="*/ 3564 h 10000"/>
                    <a:gd name="connsiteX97" fmla="*/ 2389 w 10000"/>
                    <a:gd name="connsiteY97" fmla="*/ 3505 h 10000"/>
                    <a:gd name="connsiteX98" fmla="*/ 2389 w 10000"/>
                    <a:gd name="connsiteY98" fmla="*/ 3432 h 10000"/>
                    <a:gd name="connsiteX99" fmla="*/ 2389 w 10000"/>
                    <a:gd name="connsiteY99" fmla="*/ 3432 h 10000"/>
                    <a:gd name="connsiteX100" fmla="*/ 2167 w 10000"/>
                    <a:gd name="connsiteY100" fmla="*/ 3225 h 10000"/>
                    <a:gd name="connsiteX101" fmla="*/ 1889 w 10000"/>
                    <a:gd name="connsiteY101" fmla="*/ 2946 h 10000"/>
                    <a:gd name="connsiteX102" fmla="*/ 1667 w 10000"/>
                    <a:gd name="connsiteY102" fmla="*/ 2695 h 10000"/>
                    <a:gd name="connsiteX103" fmla="*/ 1611 w 10000"/>
                    <a:gd name="connsiteY103" fmla="*/ 2622 h 10000"/>
                    <a:gd name="connsiteX104" fmla="*/ 1611 w 10000"/>
                    <a:gd name="connsiteY104" fmla="*/ 2592 h 10000"/>
                    <a:gd name="connsiteX105" fmla="*/ 1667 w 10000"/>
                    <a:gd name="connsiteY105" fmla="*/ 2577 h 10000"/>
                    <a:gd name="connsiteX106" fmla="*/ 1667 w 10000"/>
                    <a:gd name="connsiteY106" fmla="*/ 2577 h 10000"/>
                    <a:gd name="connsiteX107" fmla="*/ 2000 w 10000"/>
                    <a:gd name="connsiteY107" fmla="*/ 2563 h 10000"/>
                    <a:gd name="connsiteX108" fmla="*/ 2222 w 10000"/>
                    <a:gd name="connsiteY108" fmla="*/ 2563 h 10000"/>
                    <a:gd name="connsiteX109" fmla="*/ 2389 w 10000"/>
                    <a:gd name="connsiteY109" fmla="*/ 2577 h 10000"/>
                    <a:gd name="connsiteX110" fmla="*/ 2389 w 10000"/>
                    <a:gd name="connsiteY110" fmla="*/ 2577 h 10000"/>
                    <a:gd name="connsiteX111" fmla="*/ 2444 w 10000"/>
                    <a:gd name="connsiteY111" fmla="*/ 2577 h 10000"/>
                    <a:gd name="connsiteX112" fmla="*/ 2500 w 10000"/>
                    <a:gd name="connsiteY112" fmla="*/ 2548 h 10000"/>
                    <a:gd name="connsiteX113" fmla="*/ 2778 w 10000"/>
                    <a:gd name="connsiteY113" fmla="*/ 2459 h 10000"/>
                    <a:gd name="connsiteX114" fmla="*/ 3500 w 10000"/>
                    <a:gd name="connsiteY114" fmla="*/ 2165 h 10000"/>
                    <a:gd name="connsiteX115" fmla="*/ 4444 w 10000"/>
                    <a:gd name="connsiteY115" fmla="*/ 1738 h 10000"/>
                    <a:gd name="connsiteX116" fmla="*/ 4444 w 10000"/>
                    <a:gd name="connsiteY116" fmla="*/ 1738 h 10000"/>
                    <a:gd name="connsiteX117" fmla="*/ 4444 w 10000"/>
                    <a:gd name="connsiteY117" fmla="*/ 1679 h 10000"/>
                    <a:gd name="connsiteX118" fmla="*/ 4444 w 10000"/>
                    <a:gd name="connsiteY118" fmla="*/ 1546 h 10000"/>
                    <a:gd name="connsiteX119" fmla="*/ 4500 w 10000"/>
                    <a:gd name="connsiteY119" fmla="*/ 1458 h 10000"/>
                    <a:gd name="connsiteX120" fmla="*/ 4611 w 10000"/>
                    <a:gd name="connsiteY120" fmla="*/ 1384 h 10000"/>
                    <a:gd name="connsiteX121" fmla="*/ 4778 w 10000"/>
                    <a:gd name="connsiteY121" fmla="*/ 1296 h 10000"/>
                    <a:gd name="connsiteX122" fmla="*/ 5000 w 10000"/>
                    <a:gd name="connsiteY122" fmla="*/ 1222 h 10000"/>
                    <a:gd name="connsiteX123" fmla="*/ 5000 w 10000"/>
                    <a:gd name="connsiteY123" fmla="*/ 1222 h 10000"/>
                    <a:gd name="connsiteX124" fmla="*/ 5556 w 10000"/>
                    <a:gd name="connsiteY124" fmla="*/ 1075 h 10000"/>
                    <a:gd name="connsiteX125" fmla="*/ 6111 w 10000"/>
                    <a:gd name="connsiteY125" fmla="*/ 884 h 10000"/>
                    <a:gd name="connsiteX126" fmla="*/ 6667 w 10000"/>
                    <a:gd name="connsiteY126" fmla="*/ 707 h 10000"/>
                    <a:gd name="connsiteX127" fmla="*/ 7056 w 10000"/>
                    <a:gd name="connsiteY127" fmla="*/ 545 h 10000"/>
                    <a:gd name="connsiteX128" fmla="*/ 7056 w 10000"/>
                    <a:gd name="connsiteY128" fmla="*/ 545 h 10000"/>
                    <a:gd name="connsiteX129" fmla="*/ 7333 w 10000"/>
                    <a:gd name="connsiteY129" fmla="*/ 398 h 10000"/>
                    <a:gd name="connsiteX130" fmla="*/ 7667 w 10000"/>
                    <a:gd name="connsiteY130" fmla="*/ 221 h 10000"/>
                    <a:gd name="connsiteX131" fmla="*/ 8000 w 10000"/>
                    <a:gd name="connsiteY131" fmla="*/ 88 h 10000"/>
                    <a:gd name="connsiteX132" fmla="*/ 8167 w 10000"/>
                    <a:gd name="connsiteY132" fmla="*/ 29 h 10000"/>
                    <a:gd name="connsiteX133" fmla="*/ 8333 w 10000"/>
                    <a:gd name="connsiteY133" fmla="*/ 15 h 10000"/>
                    <a:gd name="connsiteX134" fmla="*/ 8333 w 10000"/>
                    <a:gd name="connsiteY134" fmla="*/ 15 h 10000"/>
                    <a:gd name="connsiteX135" fmla="*/ 8667 w 10000"/>
                    <a:gd name="connsiteY135" fmla="*/ 0 h 10000"/>
                    <a:gd name="connsiteX136" fmla="*/ 9111 w 10000"/>
                    <a:gd name="connsiteY136" fmla="*/ 0 h 10000"/>
                    <a:gd name="connsiteX137" fmla="*/ 10000 w 10000"/>
                    <a:gd name="connsiteY137" fmla="*/ 15 h 10000"/>
                    <a:gd name="connsiteX138" fmla="*/ 10000 w 10000"/>
                    <a:gd name="connsiteY138" fmla="*/ 9013 h 10000"/>
                    <a:gd name="connsiteX139" fmla="*/ 10000 w 10000"/>
                    <a:gd name="connsiteY139" fmla="*/ 9013 h 10000"/>
                    <a:gd name="connsiteX140" fmla="*/ 9722 w 10000"/>
                    <a:gd name="connsiteY140" fmla="*/ 8999 h 10000"/>
                    <a:gd name="connsiteX141" fmla="*/ 9389 w 10000"/>
                    <a:gd name="connsiteY141" fmla="*/ 9013 h 10000"/>
                    <a:gd name="connsiteX142" fmla="*/ 9389 w 10000"/>
                    <a:gd name="connsiteY142" fmla="*/ 9013 h 10000"/>
                    <a:gd name="connsiteX143" fmla="*/ 9278 w 10000"/>
                    <a:gd name="connsiteY143" fmla="*/ 9028 h 10000"/>
                    <a:gd name="connsiteX144" fmla="*/ 9056 w 10000"/>
                    <a:gd name="connsiteY144" fmla="*/ 9013 h 10000"/>
                    <a:gd name="connsiteX145" fmla="*/ 8889 w 10000"/>
                    <a:gd name="connsiteY145" fmla="*/ 8999 h 10000"/>
                    <a:gd name="connsiteX146" fmla="*/ 8722 w 10000"/>
                    <a:gd name="connsiteY146" fmla="*/ 8969 h 10000"/>
                    <a:gd name="connsiteX147" fmla="*/ 8611 w 10000"/>
                    <a:gd name="connsiteY147" fmla="*/ 8925 h 10000"/>
                    <a:gd name="connsiteX148" fmla="*/ 8444 w 10000"/>
                    <a:gd name="connsiteY148" fmla="*/ 8851 h 10000"/>
                    <a:gd name="connsiteX149" fmla="*/ 8444 w 10000"/>
                    <a:gd name="connsiteY149" fmla="*/ 8851 h 10000"/>
                    <a:gd name="connsiteX150" fmla="*/ 8222 w 10000"/>
                    <a:gd name="connsiteY150" fmla="*/ 8719 h 10000"/>
                    <a:gd name="connsiteX151" fmla="*/ 8111 w 10000"/>
                    <a:gd name="connsiteY151" fmla="*/ 8660 h 10000"/>
                    <a:gd name="connsiteX152" fmla="*/ 7944 w 10000"/>
                    <a:gd name="connsiteY152" fmla="*/ 8616 h 10000"/>
                    <a:gd name="connsiteX153" fmla="*/ 7778 w 10000"/>
                    <a:gd name="connsiteY153" fmla="*/ 8586 h 10000"/>
                    <a:gd name="connsiteX154" fmla="*/ 7556 w 10000"/>
                    <a:gd name="connsiteY154" fmla="*/ 8571 h 10000"/>
                    <a:gd name="connsiteX155" fmla="*/ 7333 w 10000"/>
                    <a:gd name="connsiteY155" fmla="*/ 8557 h 10000"/>
                    <a:gd name="connsiteX156" fmla="*/ 7000 w 10000"/>
                    <a:gd name="connsiteY156" fmla="*/ 8542 h 10000"/>
                    <a:gd name="connsiteX157" fmla="*/ 7000 w 10000"/>
                    <a:gd name="connsiteY157" fmla="*/ 8542 h 10000"/>
                    <a:gd name="connsiteX158" fmla="*/ 6556 w 10000"/>
                    <a:gd name="connsiteY158" fmla="*/ 8557 h 10000"/>
                    <a:gd name="connsiteX159" fmla="*/ 6222 w 10000"/>
                    <a:gd name="connsiteY159" fmla="*/ 8557 h 10000"/>
                    <a:gd name="connsiteX160" fmla="*/ 6111 w 10000"/>
                    <a:gd name="connsiteY160" fmla="*/ 8542 h 10000"/>
                    <a:gd name="connsiteX161" fmla="*/ 6056 w 10000"/>
                    <a:gd name="connsiteY161" fmla="*/ 8527 h 10000"/>
                    <a:gd name="connsiteX162" fmla="*/ 6056 w 10000"/>
                    <a:gd name="connsiteY162" fmla="*/ 8527 h 10000"/>
                    <a:gd name="connsiteX163" fmla="*/ 6056 w 10000"/>
                    <a:gd name="connsiteY163" fmla="*/ 8262 h 10000"/>
                    <a:gd name="connsiteX164" fmla="*/ 6056 w 10000"/>
                    <a:gd name="connsiteY164" fmla="*/ 8262 h 10000"/>
                    <a:gd name="connsiteX165" fmla="*/ 6056 w 10000"/>
                    <a:gd name="connsiteY165" fmla="*/ 8203 h 10000"/>
                    <a:gd name="connsiteX166" fmla="*/ 5944 w 10000"/>
                    <a:gd name="connsiteY166" fmla="*/ 8130 h 10000"/>
                    <a:gd name="connsiteX167" fmla="*/ 5889 w 10000"/>
                    <a:gd name="connsiteY167" fmla="*/ 8115 h 10000"/>
                    <a:gd name="connsiteX168" fmla="*/ 5778 w 10000"/>
                    <a:gd name="connsiteY168" fmla="*/ 8100 h 10000"/>
                    <a:gd name="connsiteX169" fmla="*/ 5667 w 10000"/>
                    <a:gd name="connsiteY169" fmla="*/ 8100 h 10000"/>
                    <a:gd name="connsiteX170" fmla="*/ 5500 w 10000"/>
                    <a:gd name="connsiteY170" fmla="*/ 8115 h 10000"/>
                    <a:gd name="connsiteX171" fmla="*/ 5500 w 10000"/>
                    <a:gd name="connsiteY171" fmla="*/ 8115 h 10000"/>
                    <a:gd name="connsiteX172" fmla="*/ 4889 w 10000"/>
                    <a:gd name="connsiteY172" fmla="*/ 8218 h 10000"/>
                    <a:gd name="connsiteX173" fmla="*/ 4611 w 10000"/>
                    <a:gd name="connsiteY173" fmla="*/ 8247 h 10000"/>
                    <a:gd name="connsiteX174" fmla="*/ 4556 w 10000"/>
                    <a:gd name="connsiteY174" fmla="*/ 8262 h 10000"/>
                    <a:gd name="connsiteX175" fmla="*/ 4500 w 10000"/>
                    <a:gd name="connsiteY175" fmla="*/ 8247 h 10000"/>
                    <a:gd name="connsiteX176" fmla="*/ 4500 w 10000"/>
                    <a:gd name="connsiteY176" fmla="*/ 8247 h 10000"/>
                    <a:gd name="connsiteX177" fmla="*/ 4222 w 10000"/>
                    <a:gd name="connsiteY177" fmla="*/ 8100 h 10000"/>
                    <a:gd name="connsiteX178" fmla="*/ 4222 w 10000"/>
                    <a:gd name="connsiteY178" fmla="*/ 8100 h 10000"/>
                    <a:gd name="connsiteX179" fmla="*/ 4111 w 10000"/>
                    <a:gd name="connsiteY179" fmla="*/ 8027 h 10000"/>
                    <a:gd name="connsiteX180" fmla="*/ 4111 w 10000"/>
                    <a:gd name="connsiteY180" fmla="*/ 7982 h 10000"/>
                    <a:gd name="connsiteX181" fmla="*/ 4111 w 10000"/>
                    <a:gd name="connsiteY181" fmla="*/ 7938 h 10000"/>
                    <a:gd name="connsiteX182" fmla="*/ 4111 w 10000"/>
                    <a:gd name="connsiteY182" fmla="*/ 7938 h 10000"/>
                    <a:gd name="connsiteX183" fmla="*/ 4278 w 10000"/>
                    <a:gd name="connsiteY183" fmla="*/ 7894 h 10000"/>
                    <a:gd name="connsiteX184" fmla="*/ 4389 w 10000"/>
                    <a:gd name="connsiteY184" fmla="*/ 7879 h 10000"/>
                    <a:gd name="connsiteX185" fmla="*/ 4389 w 10000"/>
                    <a:gd name="connsiteY185" fmla="*/ 7879 h 10000"/>
                    <a:gd name="connsiteX186" fmla="*/ 4000 w 10000"/>
                    <a:gd name="connsiteY186" fmla="*/ 7879 h 10000"/>
                    <a:gd name="connsiteX187" fmla="*/ 3722 w 10000"/>
                    <a:gd name="connsiteY187" fmla="*/ 7894 h 10000"/>
                    <a:gd name="connsiteX188" fmla="*/ 3611 w 10000"/>
                    <a:gd name="connsiteY188" fmla="*/ 7909 h 10000"/>
                    <a:gd name="connsiteX189" fmla="*/ 3556 w 10000"/>
                    <a:gd name="connsiteY189" fmla="*/ 7923 h 10000"/>
                    <a:gd name="connsiteX190" fmla="*/ 3556 w 10000"/>
                    <a:gd name="connsiteY190" fmla="*/ 7923 h 10000"/>
                    <a:gd name="connsiteX191" fmla="*/ 3444 w 10000"/>
                    <a:gd name="connsiteY191" fmla="*/ 7982 h 10000"/>
                    <a:gd name="connsiteX192" fmla="*/ 3278 w 10000"/>
                    <a:gd name="connsiteY192" fmla="*/ 8071 h 10000"/>
                    <a:gd name="connsiteX193" fmla="*/ 3000 w 10000"/>
                    <a:gd name="connsiteY193" fmla="*/ 8174 h 10000"/>
                    <a:gd name="connsiteX194" fmla="*/ 2667 w 10000"/>
                    <a:gd name="connsiteY194" fmla="*/ 8247 h 10000"/>
                    <a:gd name="connsiteX195" fmla="*/ 2667 w 10000"/>
                    <a:gd name="connsiteY195" fmla="*/ 8247 h 10000"/>
                    <a:gd name="connsiteX196" fmla="*/ 2333 w 10000"/>
                    <a:gd name="connsiteY196" fmla="*/ 8306 h 10000"/>
                    <a:gd name="connsiteX197" fmla="*/ 1833 w 10000"/>
                    <a:gd name="connsiteY197" fmla="*/ 8365 h 10000"/>
                    <a:gd name="connsiteX198" fmla="*/ 1389 w 10000"/>
                    <a:gd name="connsiteY198" fmla="*/ 8395 h 10000"/>
                    <a:gd name="connsiteX199" fmla="*/ 889 w 10000"/>
                    <a:gd name="connsiteY199" fmla="*/ 8409 h 10000"/>
                    <a:gd name="connsiteX200" fmla="*/ 889 w 10000"/>
                    <a:gd name="connsiteY200" fmla="*/ 8409 h 10000"/>
                    <a:gd name="connsiteX201" fmla="*/ 500 w 10000"/>
                    <a:gd name="connsiteY201" fmla="*/ 8424 h 10000"/>
                    <a:gd name="connsiteX202" fmla="*/ 222 w 10000"/>
                    <a:gd name="connsiteY202" fmla="*/ 8439 h 10000"/>
                    <a:gd name="connsiteX203" fmla="*/ 0 w 10000"/>
                    <a:gd name="connsiteY203" fmla="*/ 8454 h 10000"/>
                    <a:gd name="connsiteX204" fmla="*/ 0 w 10000"/>
                    <a:gd name="connsiteY204" fmla="*/ 8454 h 10000"/>
                    <a:gd name="connsiteX205" fmla="*/ 278 w 10000"/>
                    <a:gd name="connsiteY205" fmla="*/ 8689 h 10000"/>
                    <a:gd name="connsiteX206" fmla="*/ 500 w 10000"/>
                    <a:gd name="connsiteY206" fmla="*/ 8866 h 10000"/>
                    <a:gd name="connsiteX207" fmla="*/ 722 w 10000"/>
                    <a:gd name="connsiteY207" fmla="*/ 9013 h 10000"/>
                    <a:gd name="connsiteX208" fmla="*/ 722 w 10000"/>
                    <a:gd name="connsiteY208" fmla="*/ 9013 h 10000"/>
                    <a:gd name="connsiteX209" fmla="*/ 889 w 10000"/>
                    <a:gd name="connsiteY209" fmla="*/ 9102 h 10000"/>
                    <a:gd name="connsiteX210" fmla="*/ 944 w 10000"/>
                    <a:gd name="connsiteY210" fmla="*/ 9175 h 10000"/>
                    <a:gd name="connsiteX211" fmla="*/ 1111 w 10000"/>
                    <a:gd name="connsiteY211" fmla="*/ 9249 h 10000"/>
                    <a:gd name="connsiteX212" fmla="*/ 1333 w 10000"/>
                    <a:gd name="connsiteY212" fmla="*/ 9367 h 10000"/>
                    <a:gd name="connsiteX213" fmla="*/ 1333 w 10000"/>
                    <a:gd name="connsiteY213" fmla="*/ 9367 h 10000"/>
                    <a:gd name="connsiteX214" fmla="*/ 1444 w 10000"/>
                    <a:gd name="connsiteY214" fmla="*/ 9426 h 10000"/>
                    <a:gd name="connsiteX215" fmla="*/ 1500 w 10000"/>
                    <a:gd name="connsiteY215" fmla="*/ 9470 h 10000"/>
                    <a:gd name="connsiteX216" fmla="*/ 1500 w 10000"/>
                    <a:gd name="connsiteY216" fmla="*/ 9514 h 10000"/>
                    <a:gd name="connsiteX217" fmla="*/ 1556 w 10000"/>
                    <a:gd name="connsiteY217" fmla="*/ 9529 h 10000"/>
                    <a:gd name="connsiteX218" fmla="*/ 1722 w 10000"/>
                    <a:gd name="connsiteY218" fmla="*/ 9543 h 10000"/>
                    <a:gd name="connsiteX219" fmla="*/ 1944 w 10000"/>
                    <a:gd name="connsiteY219" fmla="*/ 9558 h 10000"/>
                    <a:gd name="connsiteX220" fmla="*/ 2944 w 10000"/>
                    <a:gd name="connsiteY220" fmla="*/ 9573 h 10000"/>
                    <a:gd name="connsiteX221" fmla="*/ 2944 w 10000"/>
                    <a:gd name="connsiteY221" fmla="*/ 9573 h 10000"/>
                    <a:gd name="connsiteX222" fmla="*/ 4167 w 10000"/>
                    <a:gd name="connsiteY222" fmla="*/ 9602 h 10000"/>
                    <a:gd name="connsiteX223" fmla="*/ 4889 w 10000"/>
                    <a:gd name="connsiteY223" fmla="*/ 9647 h 10000"/>
                    <a:gd name="connsiteX224" fmla="*/ 5278 w 10000"/>
                    <a:gd name="connsiteY224" fmla="*/ 9691 h 10000"/>
                    <a:gd name="connsiteX225" fmla="*/ 5444 w 10000"/>
                    <a:gd name="connsiteY225" fmla="*/ 9705 h 10000"/>
                    <a:gd name="connsiteX226" fmla="*/ 5444 w 10000"/>
                    <a:gd name="connsiteY226" fmla="*/ 9705 h 10000"/>
                    <a:gd name="connsiteX227" fmla="*/ 5722 w 10000"/>
                    <a:gd name="connsiteY227" fmla="*/ 9735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50 h 10000"/>
                    <a:gd name="connsiteX230" fmla="*/ 5833 w 10000"/>
                    <a:gd name="connsiteY230" fmla="*/ 9735 h 10000"/>
                    <a:gd name="connsiteX231" fmla="*/ 5889 w 10000"/>
                    <a:gd name="connsiteY231" fmla="*/ 9720 h 10000"/>
                    <a:gd name="connsiteX232" fmla="*/ 6000 w 10000"/>
                    <a:gd name="connsiteY232" fmla="*/ 9705 h 10000"/>
                    <a:gd name="connsiteX233" fmla="*/ 6167 w 10000"/>
                    <a:gd name="connsiteY233" fmla="*/ 9691 h 10000"/>
                    <a:gd name="connsiteX234" fmla="*/ 6444 w 10000"/>
                    <a:gd name="connsiteY234" fmla="*/ 9691 h 10000"/>
                    <a:gd name="connsiteX235" fmla="*/ 6833 w 10000"/>
                    <a:gd name="connsiteY235" fmla="*/ 9705 h 10000"/>
                    <a:gd name="connsiteX236" fmla="*/ 7278 w 10000"/>
                    <a:gd name="connsiteY236" fmla="*/ 9750 h 10000"/>
                    <a:gd name="connsiteX237" fmla="*/ 7278 w 10000"/>
                    <a:gd name="connsiteY237" fmla="*/ 9750 h 10000"/>
                    <a:gd name="connsiteX238" fmla="*/ 8722 w 10000"/>
                    <a:gd name="connsiteY238" fmla="*/ 9882 h 10000"/>
                    <a:gd name="connsiteX239" fmla="*/ 10000 w 10000"/>
                    <a:gd name="connsiteY23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389 w 10000"/>
                    <a:gd name="connsiteY71" fmla="*/ 5096 h 10000"/>
                    <a:gd name="connsiteX72" fmla="*/ 6056 w 10000"/>
                    <a:gd name="connsiteY72" fmla="*/ 4934 h 10000"/>
                    <a:gd name="connsiteX73" fmla="*/ 5333 w 10000"/>
                    <a:gd name="connsiteY73" fmla="*/ 4624 h 10000"/>
                    <a:gd name="connsiteX74" fmla="*/ 5333 w 10000"/>
                    <a:gd name="connsiteY74" fmla="*/ 4624 h 10000"/>
                    <a:gd name="connsiteX75" fmla="*/ 5167 w 10000"/>
                    <a:gd name="connsiteY75" fmla="*/ 4580 h 10000"/>
                    <a:gd name="connsiteX76" fmla="*/ 4889 w 10000"/>
                    <a:gd name="connsiteY76" fmla="*/ 4521 h 10000"/>
                    <a:gd name="connsiteX77" fmla="*/ 4056 w 10000"/>
                    <a:gd name="connsiteY77" fmla="*/ 4389 h 10000"/>
                    <a:gd name="connsiteX78" fmla="*/ 2889 w 10000"/>
                    <a:gd name="connsiteY78" fmla="*/ 4227 h 10000"/>
                    <a:gd name="connsiteX79" fmla="*/ 2889 w 10000"/>
                    <a:gd name="connsiteY79" fmla="*/ 4227 h 10000"/>
                    <a:gd name="connsiteX80" fmla="*/ 2389 w 10000"/>
                    <a:gd name="connsiteY80" fmla="*/ 4212 h 10000"/>
                    <a:gd name="connsiteX81" fmla="*/ 2000 w 10000"/>
                    <a:gd name="connsiteY81" fmla="*/ 4197 h 10000"/>
                    <a:gd name="connsiteX82" fmla="*/ 1889 w 10000"/>
                    <a:gd name="connsiteY82" fmla="*/ 4183 h 10000"/>
                    <a:gd name="connsiteX83" fmla="*/ 1778 w 10000"/>
                    <a:gd name="connsiteY83" fmla="*/ 4168 h 10000"/>
                    <a:gd name="connsiteX84" fmla="*/ 1778 w 10000"/>
                    <a:gd name="connsiteY84" fmla="*/ 4168 h 10000"/>
                    <a:gd name="connsiteX85" fmla="*/ 1667 w 10000"/>
                    <a:gd name="connsiteY85" fmla="*/ 4109 h 10000"/>
                    <a:gd name="connsiteX86" fmla="*/ 1500 w 10000"/>
                    <a:gd name="connsiteY86" fmla="*/ 4006 h 10000"/>
                    <a:gd name="connsiteX87" fmla="*/ 1444 w 10000"/>
                    <a:gd name="connsiteY87" fmla="*/ 3947 h 10000"/>
                    <a:gd name="connsiteX88" fmla="*/ 1444 w 10000"/>
                    <a:gd name="connsiteY88" fmla="*/ 3888 h 10000"/>
                    <a:gd name="connsiteX89" fmla="*/ 1444 w 10000"/>
                    <a:gd name="connsiteY89" fmla="*/ 3844 h 10000"/>
                    <a:gd name="connsiteX90" fmla="*/ 1556 w 10000"/>
                    <a:gd name="connsiteY90" fmla="*/ 3800 h 10000"/>
                    <a:gd name="connsiteX91" fmla="*/ 1556 w 10000"/>
                    <a:gd name="connsiteY91" fmla="*/ 3800 h 10000"/>
                    <a:gd name="connsiteX92" fmla="*/ 1833 w 10000"/>
                    <a:gd name="connsiteY92" fmla="*/ 3726 h 10000"/>
                    <a:gd name="connsiteX93" fmla="*/ 2111 w 10000"/>
                    <a:gd name="connsiteY93" fmla="*/ 3652 h 10000"/>
                    <a:gd name="connsiteX94" fmla="*/ 2278 w 10000"/>
                    <a:gd name="connsiteY94" fmla="*/ 3608 h 10000"/>
                    <a:gd name="connsiteX95" fmla="*/ 2389 w 10000"/>
                    <a:gd name="connsiteY95" fmla="*/ 3564 h 10000"/>
                    <a:gd name="connsiteX96" fmla="*/ 2389 w 10000"/>
                    <a:gd name="connsiteY96" fmla="*/ 3505 h 10000"/>
                    <a:gd name="connsiteX97" fmla="*/ 2389 w 10000"/>
                    <a:gd name="connsiteY97" fmla="*/ 3432 h 10000"/>
                    <a:gd name="connsiteX98" fmla="*/ 2389 w 10000"/>
                    <a:gd name="connsiteY98" fmla="*/ 3432 h 10000"/>
                    <a:gd name="connsiteX99" fmla="*/ 2167 w 10000"/>
                    <a:gd name="connsiteY99" fmla="*/ 3225 h 10000"/>
                    <a:gd name="connsiteX100" fmla="*/ 1889 w 10000"/>
                    <a:gd name="connsiteY100" fmla="*/ 2946 h 10000"/>
                    <a:gd name="connsiteX101" fmla="*/ 1667 w 10000"/>
                    <a:gd name="connsiteY101" fmla="*/ 2695 h 10000"/>
                    <a:gd name="connsiteX102" fmla="*/ 1611 w 10000"/>
                    <a:gd name="connsiteY102" fmla="*/ 2622 h 10000"/>
                    <a:gd name="connsiteX103" fmla="*/ 1611 w 10000"/>
                    <a:gd name="connsiteY103" fmla="*/ 2592 h 10000"/>
                    <a:gd name="connsiteX104" fmla="*/ 1667 w 10000"/>
                    <a:gd name="connsiteY104" fmla="*/ 2577 h 10000"/>
                    <a:gd name="connsiteX105" fmla="*/ 1667 w 10000"/>
                    <a:gd name="connsiteY105" fmla="*/ 2577 h 10000"/>
                    <a:gd name="connsiteX106" fmla="*/ 2000 w 10000"/>
                    <a:gd name="connsiteY106" fmla="*/ 2563 h 10000"/>
                    <a:gd name="connsiteX107" fmla="*/ 2222 w 10000"/>
                    <a:gd name="connsiteY107" fmla="*/ 2563 h 10000"/>
                    <a:gd name="connsiteX108" fmla="*/ 2389 w 10000"/>
                    <a:gd name="connsiteY108" fmla="*/ 2577 h 10000"/>
                    <a:gd name="connsiteX109" fmla="*/ 2389 w 10000"/>
                    <a:gd name="connsiteY109" fmla="*/ 2577 h 10000"/>
                    <a:gd name="connsiteX110" fmla="*/ 2444 w 10000"/>
                    <a:gd name="connsiteY110" fmla="*/ 2577 h 10000"/>
                    <a:gd name="connsiteX111" fmla="*/ 2500 w 10000"/>
                    <a:gd name="connsiteY111" fmla="*/ 2548 h 10000"/>
                    <a:gd name="connsiteX112" fmla="*/ 2778 w 10000"/>
                    <a:gd name="connsiteY112" fmla="*/ 2459 h 10000"/>
                    <a:gd name="connsiteX113" fmla="*/ 3500 w 10000"/>
                    <a:gd name="connsiteY113" fmla="*/ 2165 h 10000"/>
                    <a:gd name="connsiteX114" fmla="*/ 4444 w 10000"/>
                    <a:gd name="connsiteY114" fmla="*/ 1738 h 10000"/>
                    <a:gd name="connsiteX115" fmla="*/ 4444 w 10000"/>
                    <a:gd name="connsiteY115" fmla="*/ 1738 h 10000"/>
                    <a:gd name="connsiteX116" fmla="*/ 4444 w 10000"/>
                    <a:gd name="connsiteY116" fmla="*/ 1679 h 10000"/>
                    <a:gd name="connsiteX117" fmla="*/ 4444 w 10000"/>
                    <a:gd name="connsiteY117" fmla="*/ 1546 h 10000"/>
                    <a:gd name="connsiteX118" fmla="*/ 4500 w 10000"/>
                    <a:gd name="connsiteY118" fmla="*/ 1458 h 10000"/>
                    <a:gd name="connsiteX119" fmla="*/ 4611 w 10000"/>
                    <a:gd name="connsiteY119" fmla="*/ 1384 h 10000"/>
                    <a:gd name="connsiteX120" fmla="*/ 4778 w 10000"/>
                    <a:gd name="connsiteY120" fmla="*/ 1296 h 10000"/>
                    <a:gd name="connsiteX121" fmla="*/ 5000 w 10000"/>
                    <a:gd name="connsiteY121" fmla="*/ 1222 h 10000"/>
                    <a:gd name="connsiteX122" fmla="*/ 5000 w 10000"/>
                    <a:gd name="connsiteY122" fmla="*/ 1222 h 10000"/>
                    <a:gd name="connsiteX123" fmla="*/ 5556 w 10000"/>
                    <a:gd name="connsiteY123" fmla="*/ 1075 h 10000"/>
                    <a:gd name="connsiteX124" fmla="*/ 6111 w 10000"/>
                    <a:gd name="connsiteY124" fmla="*/ 884 h 10000"/>
                    <a:gd name="connsiteX125" fmla="*/ 6667 w 10000"/>
                    <a:gd name="connsiteY125" fmla="*/ 707 h 10000"/>
                    <a:gd name="connsiteX126" fmla="*/ 7056 w 10000"/>
                    <a:gd name="connsiteY126" fmla="*/ 545 h 10000"/>
                    <a:gd name="connsiteX127" fmla="*/ 7056 w 10000"/>
                    <a:gd name="connsiteY127" fmla="*/ 545 h 10000"/>
                    <a:gd name="connsiteX128" fmla="*/ 7333 w 10000"/>
                    <a:gd name="connsiteY128" fmla="*/ 398 h 10000"/>
                    <a:gd name="connsiteX129" fmla="*/ 7667 w 10000"/>
                    <a:gd name="connsiteY129" fmla="*/ 221 h 10000"/>
                    <a:gd name="connsiteX130" fmla="*/ 8000 w 10000"/>
                    <a:gd name="connsiteY130" fmla="*/ 88 h 10000"/>
                    <a:gd name="connsiteX131" fmla="*/ 8167 w 10000"/>
                    <a:gd name="connsiteY131" fmla="*/ 29 h 10000"/>
                    <a:gd name="connsiteX132" fmla="*/ 8333 w 10000"/>
                    <a:gd name="connsiteY132" fmla="*/ 15 h 10000"/>
                    <a:gd name="connsiteX133" fmla="*/ 8333 w 10000"/>
                    <a:gd name="connsiteY133" fmla="*/ 15 h 10000"/>
                    <a:gd name="connsiteX134" fmla="*/ 8667 w 10000"/>
                    <a:gd name="connsiteY134" fmla="*/ 0 h 10000"/>
                    <a:gd name="connsiteX135" fmla="*/ 9111 w 10000"/>
                    <a:gd name="connsiteY135" fmla="*/ 0 h 10000"/>
                    <a:gd name="connsiteX136" fmla="*/ 10000 w 10000"/>
                    <a:gd name="connsiteY136" fmla="*/ 15 h 10000"/>
                    <a:gd name="connsiteX137" fmla="*/ 10000 w 10000"/>
                    <a:gd name="connsiteY137" fmla="*/ 9013 h 10000"/>
                    <a:gd name="connsiteX138" fmla="*/ 10000 w 10000"/>
                    <a:gd name="connsiteY138" fmla="*/ 9013 h 10000"/>
                    <a:gd name="connsiteX139" fmla="*/ 9722 w 10000"/>
                    <a:gd name="connsiteY139" fmla="*/ 8999 h 10000"/>
                    <a:gd name="connsiteX140" fmla="*/ 9389 w 10000"/>
                    <a:gd name="connsiteY140" fmla="*/ 9013 h 10000"/>
                    <a:gd name="connsiteX141" fmla="*/ 9389 w 10000"/>
                    <a:gd name="connsiteY141" fmla="*/ 9013 h 10000"/>
                    <a:gd name="connsiteX142" fmla="*/ 9278 w 10000"/>
                    <a:gd name="connsiteY142" fmla="*/ 9028 h 10000"/>
                    <a:gd name="connsiteX143" fmla="*/ 9056 w 10000"/>
                    <a:gd name="connsiteY143" fmla="*/ 9013 h 10000"/>
                    <a:gd name="connsiteX144" fmla="*/ 8889 w 10000"/>
                    <a:gd name="connsiteY144" fmla="*/ 8999 h 10000"/>
                    <a:gd name="connsiteX145" fmla="*/ 8722 w 10000"/>
                    <a:gd name="connsiteY145" fmla="*/ 8969 h 10000"/>
                    <a:gd name="connsiteX146" fmla="*/ 8611 w 10000"/>
                    <a:gd name="connsiteY146" fmla="*/ 8925 h 10000"/>
                    <a:gd name="connsiteX147" fmla="*/ 8444 w 10000"/>
                    <a:gd name="connsiteY147" fmla="*/ 8851 h 10000"/>
                    <a:gd name="connsiteX148" fmla="*/ 8444 w 10000"/>
                    <a:gd name="connsiteY148" fmla="*/ 8851 h 10000"/>
                    <a:gd name="connsiteX149" fmla="*/ 8222 w 10000"/>
                    <a:gd name="connsiteY149" fmla="*/ 8719 h 10000"/>
                    <a:gd name="connsiteX150" fmla="*/ 8111 w 10000"/>
                    <a:gd name="connsiteY150" fmla="*/ 8660 h 10000"/>
                    <a:gd name="connsiteX151" fmla="*/ 7944 w 10000"/>
                    <a:gd name="connsiteY151" fmla="*/ 8616 h 10000"/>
                    <a:gd name="connsiteX152" fmla="*/ 7778 w 10000"/>
                    <a:gd name="connsiteY152" fmla="*/ 8586 h 10000"/>
                    <a:gd name="connsiteX153" fmla="*/ 7556 w 10000"/>
                    <a:gd name="connsiteY153" fmla="*/ 8571 h 10000"/>
                    <a:gd name="connsiteX154" fmla="*/ 7333 w 10000"/>
                    <a:gd name="connsiteY154" fmla="*/ 8557 h 10000"/>
                    <a:gd name="connsiteX155" fmla="*/ 7000 w 10000"/>
                    <a:gd name="connsiteY155" fmla="*/ 8542 h 10000"/>
                    <a:gd name="connsiteX156" fmla="*/ 7000 w 10000"/>
                    <a:gd name="connsiteY156" fmla="*/ 8542 h 10000"/>
                    <a:gd name="connsiteX157" fmla="*/ 6556 w 10000"/>
                    <a:gd name="connsiteY157" fmla="*/ 8557 h 10000"/>
                    <a:gd name="connsiteX158" fmla="*/ 6222 w 10000"/>
                    <a:gd name="connsiteY158" fmla="*/ 8557 h 10000"/>
                    <a:gd name="connsiteX159" fmla="*/ 6111 w 10000"/>
                    <a:gd name="connsiteY159" fmla="*/ 8542 h 10000"/>
                    <a:gd name="connsiteX160" fmla="*/ 6056 w 10000"/>
                    <a:gd name="connsiteY160" fmla="*/ 8527 h 10000"/>
                    <a:gd name="connsiteX161" fmla="*/ 6056 w 10000"/>
                    <a:gd name="connsiteY161" fmla="*/ 8527 h 10000"/>
                    <a:gd name="connsiteX162" fmla="*/ 6056 w 10000"/>
                    <a:gd name="connsiteY162" fmla="*/ 8262 h 10000"/>
                    <a:gd name="connsiteX163" fmla="*/ 6056 w 10000"/>
                    <a:gd name="connsiteY163" fmla="*/ 8262 h 10000"/>
                    <a:gd name="connsiteX164" fmla="*/ 6056 w 10000"/>
                    <a:gd name="connsiteY164" fmla="*/ 8203 h 10000"/>
                    <a:gd name="connsiteX165" fmla="*/ 5944 w 10000"/>
                    <a:gd name="connsiteY165" fmla="*/ 8130 h 10000"/>
                    <a:gd name="connsiteX166" fmla="*/ 5889 w 10000"/>
                    <a:gd name="connsiteY166" fmla="*/ 8115 h 10000"/>
                    <a:gd name="connsiteX167" fmla="*/ 5778 w 10000"/>
                    <a:gd name="connsiteY167" fmla="*/ 8100 h 10000"/>
                    <a:gd name="connsiteX168" fmla="*/ 5667 w 10000"/>
                    <a:gd name="connsiteY168" fmla="*/ 8100 h 10000"/>
                    <a:gd name="connsiteX169" fmla="*/ 5500 w 10000"/>
                    <a:gd name="connsiteY169" fmla="*/ 8115 h 10000"/>
                    <a:gd name="connsiteX170" fmla="*/ 5500 w 10000"/>
                    <a:gd name="connsiteY170" fmla="*/ 8115 h 10000"/>
                    <a:gd name="connsiteX171" fmla="*/ 4889 w 10000"/>
                    <a:gd name="connsiteY171" fmla="*/ 8218 h 10000"/>
                    <a:gd name="connsiteX172" fmla="*/ 4611 w 10000"/>
                    <a:gd name="connsiteY172" fmla="*/ 8247 h 10000"/>
                    <a:gd name="connsiteX173" fmla="*/ 4556 w 10000"/>
                    <a:gd name="connsiteY173" fmla="*/ 8262 h 10000"/>
                    <a:gd name="connsiteX174" fmla="*/ 4500 w 10000"/>
                    <a:gd name="connsiteY174" fmla="*/ 8247 h 10000"/>
                    <a:gd name="connsiteX175" fmla="*/ 4500 w 10000"/>
                    <a:gd name="connsiteY175" fmla="*/ 8247 h 10000"/>
                    <a:gd name="connsiteX176" fmla="*/ 4222 w 10000"/>
                    <a:gd name="connsiteY176" fmla="*/ 8100 h 10000"/>
                    <a:gd name="connsiteX177" fmla="*/ 4222 w 10000"/>
                    <a:gd name="connsiteY177" fmla="*/ 8100 h 10000"/>
                    <a:gd name="connsiteX178" fmla="*/ 4111 w 10000"/>
                    <a:gd name="connsiteY178" fmla="*/ 8027 h 10000"/>
                    <a:gd name="connsiteX179" fmla="*/ 4111 w 10000"/>
                    <a:gd name="connsiteY179" fmla="*/ 7982 h 10000"/>
                    <a:gd name="connsiteX180" fmla="*/ 4111 w 10000"/>
                    <a:gd name="connsiteY180" fmla="*/ 7938 h 10000"/>
                    <a:gd name="connsiteX181" fmla="*/ 4111 w 10000"/>
                    <a:gd name="connsiteY181" fmla="*/ 7938 h 10000"/>
                    <a:gd name="connsiteX182" fmla="*/ 4278 w 10000"/>
                    <a:gd name="connsiteY182" fmla="*/ 7894 h 10000"/>
                    <a:gd name="connsiteX183" fmla="*/ 4389 w 10000"/>
                    <a:gd name="connsiteY183" fmla="*/ 7879 h 10000"/>
                    <a:gd name="connsiteX184" fmla="*/ 4389 w 10000"/>
                    <a:gd name="connsiteY184" fmla="*/ 7879 h 10000"/>
                    <a:gd name="connsiteX185" fmla="*/ 4000 w 10000"/>
                    <a:gd name="connsiteY185" fmla="*/ 7879 h 10000"/>
                    <a:gd name="connsiteX186" fmla="*/ 3722 w 10000"/>
                    <a:gd name="connsiteY186" fmla="*/ 7894 h 10000"/>
                    <a:gd name="connsiteX187" fmla="*/ 3611 w 10000"/>
                    <a:gd name="connsiteY187" fmla="*/ 7909 h 10000"/>
                    <a:gd name="connsiteX188" fmla="*/ 3556 w 10000"/>
                    <a:gd name="connsiteY188" fmla="*/ 7923 h 10000"/>
                    <a:gd name="connsiteX189" fmla="*/ 3556 w 10000"/>
                    <a:gd name="connsiteY189" fmla="*/ 7923 h 10000"/>
                    <a:gd name="connsiteX190" fmla="*/ 3444 w 10000"/>
                    <a:gd name="connsiteY190" fmla="*/ 7982 h 10000"/>
                    <a:gd name="connsiteX191" fmla="*/ 3278 w 10000"/>
                    <a:gd name="connsiteY191" fmla="*/ 8071 h 10000"/>
                    <a:gd name="connsiteX192" fmla="*/ 3000 w 10000"/>
                    <a:gd name="connsiteY192" fmla="*/ 8174 h 10000"/>
                    <a:gd name="connsiteX193" fmla="*/ 2667 w 10000"/>
                    <a:gd name="connsiteY193" fmla="*/ 8247 h 10000"/>
                    <a:gd name="connsiteX194" fmla="*/ 2667 w 10000"/>
                    <a:gd name="connsiteY194" fmla="*/ 8247 h 10000"/>
                    <a:gd name="connsiteX195" fmla="*/ 2333 w 10000"/>
                    <a:gd name="connsiteY195" fmla="*/ 8306 h 10000"/>
                    <a:gd name="connsiteX196" fmla="*/ 1833 w 10000"/>
                    <a:gd name="connsiteY196" fmla="*/ 8365 h 10000"/>
                    <a:gd name="connsiteX197" fmla="*/ 1389 w 10000"/>
                    <a:gd name="connsiteY197" fmla="*/ 8395 h 10000"/>
                    <a:gd name="connsiteX198" fmla="*/ 889 w 10000"/>
                    <a:gd name="connsiteY198" fmla="*/ 8409 h 10000"/>
                    <a:gd name="connsiteX199" fmla="*/ 889 w 10000"/>
                    <a:gd name="connsiteY199" fmla="*/ 8409 h 10000"/>
                    <a:gd name="connsiteX200" fmla="*/ 500 w 10000"/>
                    <a:gd name="connsiteY200" fmla="*/ 8424 h 10000"/>
                    <a:gd name="connsiteX201" fmla="*/ 222 w 10000"/>
                    <a:gd name="connsiteY201" fmla="*/ 8439 h 10000"/>
                    <a:gd name="connsiteX202" fmla="*/ 0 w 10000"/>
                    <a:gd name="connsiteY202" fmla="*/ 8454 h 10000"/>
                    <a:gd name="connsiteX203" fmla="*/ 0 w 10000"/>
                    <a:gd name="connsiteY203" fmla="*/ 8454 h 10000"/>
                    <a:gd name="connsiteX204" fmla="*/ 278 w 10000"/>
                    <a:gd name="connsiteY204" fmla="*/ 8689 h 10000"/>
                    <a:gd name="connsiteX205" fmla="*/ 500 w 10000"/>
                    <a:gd name="connsiteY205" fmla="*/ 8866 h 10000"/>
                    <a:gd name="connsiteX206" fmla="*/ 722 w 10000"/>
                    <a:gd name="connsiteY206" fmla="*/ 9013 h 10000"/>
                    <a:gd name="connsiteX207" fmla="*/ 722 w 10000"/>
                    <a:gd name="connsiteY207" fmla="*/ 9013 h 10000"/>
                    <a:gd name="connsiteX208" fmla="*/ 889 w 10000"/>
                    <a:gd name="connsiteY208" fmla="*/ 9102 h 10000"/>
                    <a:gd name="connsiteX209" fmla="*/ 944 w 10000"/>
                    <a:gd name="connsiteY209" fmla="*/ 9175 h 10000"/>
                    <a:gd name="connsiteX210" fmla="*/ 1111 w 10000"/>
                    <a:gd name="connsiteY210" fmla="*/ 9249 h 10000"/>
                    <a:gd name="connsiteX211" fmla="*/ 1333 w 10000"/>
                    <a:gd name="connsiteY211" fmla="*/ 9367 h 10000"/>
                    <a:gd name="connsiteX212" fmla="*/ 1333 w 10000"/>
                    <a:gd name="connsiteY212" fmla="*/ 9367 h 10000"/>
                    <a:gd name="connsiteX213" fmla="*/ 1444 w 10000"/>
                    <a:gd name="connsiteY213" fmla="*/ 9426 h 10000"/>
                    <a:gd name="connsiteX214" fmla="*/ 1500 w 10000"/>
                    <a:gd name="connsiteY214" fmla="*/ 9470 h 10000"/>
                    <a:gd name="connsiteX215" fmla="*/ 1500 w 10000"/>
                    <a:gd name="connsiteY215" fmla="*/ 9514 h 10000"/>
                    <a:gd name="connsiteX216" fmla="*/ 1556 w 10000"/>
                    <a:gd name="connsiteY216" fmla="*/ 9529 h 10000"/>
                    <a:gd name="connsiteX217" fmla="*/ 1722 w 10000"/>
                    <a:gd name="connsiteY217" fmla="*/ 9543 h 10000"/>
                    <a:gd name="connsiteX218" fmla="*/ 1944 w 10000"/>
                    <a:gd name="connsiteY218" fmla="*/ 9558 h 10000"/>
                    <a:gd name="connsiteX219" fmla="*/ 2944 w 10000"/>
                    <a:gd name="connsiteY219" fmla="*/ 9573 h 10000"/>
                    <a:gd name="connsiteX220" fmla="*/ 2944 w 10000"/>
                    <a:gd name="connsiteY220" fmla="*/ 9573 h 10000"/>
                    <a:gd name="connsiteX221" fmla="*/ 4167 w 10000"/>
                    <a:gd name="connsiteY221" fmla="*/ 9602 h 10000"/>
                    <a:gd name="connsiteX222" fmla="*/ 4889 w 10000"/>
                    <a:gd name="connsiteY222" fmla="*/ 9647 h 10000"/>
                    <a:gd name="connsiteX223" fmla="*/ 5278 w 10000"/>
                    <a:gd name="connsiteY223" fmla="*/ 9691 h 10000"/>
                    <a:gd name="connsiteX224" fmla="*/ 5444 w 10000"/>
                    <a:gd name="connsiteY224" fmla="*/ 9705 h 10000"/>
                    <a:gd name="connsiteX225" fmla="*/ 5444 w 10000"/>
                    <a:gd name="connsiteY225" fmla="*/ 9705 h 10000"/>
                    <a:gd name="connsiteX226" fmla="*/ 5722 w 10000"/>
                    <a:gd name="connsiteY226" fmla="*/ 9735 h 10000"/>
                    <a:gd name="connsiteX227" fmla="*/ 5833 w 10000"/>
                    <a:gd name="connsiteY227" fmla="*/ 9750 h 10000"/>
                    <a:gd name="connsiteX228" fmla="*/ 5833 w 10000"/>
                    <a:gd name="connsiteY228" fmla="*/ 9750 h 10000"/>
                    <a:gd name="connsiteX229" fmla="*/ 5833 w 10000"/>
                    <a:gd name="connsiteY229" fmla="*/ 9735 h 10000"/>
                    <a:gd name="connsiteX230" fmla="*/ 5889 w 10000"/>
                    <a:gd name="connsiteY230" fmla="*/ 9720 h 10000"/>
                    <a:gd name="connsiteX231" fmla="*/ 6000 w 10000"/>
                    <a:gd name="connsiteY231" fmla="*/ 9705 h 10000"/>
                    <a:gd name="connsiteX232" fmla="*/ 6167 w 10000"/>
                    <a:gd name="connsiteY232" fmla="*/ 9691 h 10000"/>
                    <a:gd name="connsiteX233" fmla="*/ 6444 w 10000"/>
                    <a:gd name="connsiteY233" fmla="*/ 9691 h 10000"/>
                    <a:gd name="connsiteX234" fmla="*/ 6833 w 10000"/>
                    <a:gd name="connsiteY234" fmla="*/ 9705 h 10000"/>
                    <a:gd name="connsiteX235" fmla="*/ 7278 w 10000"/>
                    <a:gd name="connsiteY235" fmla="*/ 9750 h 10000"/>
                    <a:gd name="connsiteX236" fmla="*/ 7278 w 10000"/>
                    <a:gd name="connsiteY236" fmla="*/ 9750 h 10000"/>
                    <a:gd name="connsiteX237" fmla="*/ 8722 w 10000"/>
                    <a:gd name="connsiteY237" fmla="*/ 9882 h 10000"/>
                    <a:gd name="connsiteX238" fmla="*/ 10000 w 10000"/>
                    <a:gd name="connsiteY23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056 w 10000"/>
                    <a:gd name="connsiteY71" fmla="*/ 4934 h 10000"/>
                    <a:gd name="connsiteX72" fmla="*/ 5333 w 10000"/>
                    <a:gd name="connsiteY72" fmla="*/ 4624 h 10000"/>
                    <a:gd name="connsiteX73" fmla="*/ 5333 w 10000"/>
                    <a:gd name="connsiteY73" fmla="*/ 4624 h 10000"/>
                    <a:gd name="connsiteX74" fmla="*/ 5167 w 10000"/>
                    <a:gd name="connsiteY74" fmla="*/ 4580 h 10000"/>
                    <a:gd name="connsiteX75" fmla="*/ 4889 w 10000"/>
                    <a:gd name="connsiteY75" fmla="*/ 4521 h 10000"/>
                    <a:gd name="connsiteX76" fmla="*/ 4056 w 10000"/>
                    <a:gd name="connsiteY76" fmla="*/ 4389 h 10000"/>
                    <a:gd name="connsiteX77" fmla="*/ 2889 w 10000"/>
                    <a:gd name="connsiteY77" fmla="*/ 4227 h 10000"/>
                    <a:gd name="connsiteX78" fmla="*/ 2889 w 10000"/>
                    <a:gd name="connsiteY78" fmla="*/ 4227 h 10000"/>
                    <a:gd name="connsiteX79" fmla="*/ 2389 w 10000"/>
                    <a:gd name="connsiteY79" fmla="*/ 4212 h 10000"/>
                    <a:gd name="connsiteX80" fmla="*/ 2000 w 10000"/>
                    <a:gd name="connsiteY80" fmla="*/ 4197 h 10000"/>
                    <a:gd name="connsiteX81" fmla="*/ 1889 w 10000"/>
                    <a:gd name="connsiteY81" fmla="*/ 4183 h 10000"/>
                    <a:gd name="connsiteX82" fmla="*/ 1778 w 10000"/>
                    <a:gd name="connsiteY82" fmla="*/ 4168 h 10000"/>
                    <a:gd name="connsiteX83" fmla="*/ 1778 w 10000"/>
                    <a:gd name="connsiteY83" fmla="*/ 4168 h 10000"/>
                    <a:gd name="connsiteX84" fmla="*/ 1667 w 10000"/>
                    <a:gd name="connsiteY84" fmla="*/ 4109 h 10000"/>
                    <a:gd name="connsiteX85" fmla="*/ 1500 w 10000"/>
                    <a:gd name="connsiteY85" fmla="*/ 4006 h 10000"/>
                    <a:gd name="connsiteX86" fmla="*/ 1444 w 10000"/>
                    <a:gd name="connsiteY86" fmla="*/ 3947 h 10000"/>
                    <a:gd name="connsiteX87" fmla="*/ 1444 w 10000"/>
                    <a:gd name="connsiteY87" fmla="*/ 3888 h 10000"/>
                    <a:gd name="connsiteX88" fmla="*/ 1444 w 10000"/>
                    <a:gd name="connsiteY88" fmla="*/ 3844 h 10000"/>
                    <a:gd name="connsiteX89" fmla="*/ 1556 w 10000"/>
                    <a:gd name="connsiteY89" fmla="*/ 3800 h 10000"/>
                    <a:gd name="connsiteX90" fmla="*/ 1556 w 10000"/>
                    <a:gd name="connsiteY90" fmla="*/ 3800 h 10000"/>
                    <a:gd name="connsiteX91" fmla="*/ 1833 w 10000"/>
                    <a:gd name="connsiteY91" fmla="*/ 3726 h 10000"/>
                    <a:gd name="connsiteX92" fmla="*/ 2111 w 10000"/>
                    <a:gd name="connsiteY92" fmla="*/ 3652 h 10000"/>
                    <a:gd name="connsiteX93" fmla="*/ 2278 w 10000"/>
                    <a:gd name="connsiteY93" fmla="*/ 3608 h 10000"/>
                    <a:gd name="connsiteX94" fmla="*/ 2389 w 10000"/>
                    <a:gd name="connsiteY94" fmla="*/ 3564 h 10000"/>
                    <a:gd name="connsiteX95" fmla="*/ 2389 w 10000"/>
                    <a:gd name="connsiteY95" fmla="*/ 3505 h 10000"/>
                    <a:gd name="connsiteX96" fmla="*/ 2389 w 10000"/>
                    <a:gd name="connsiteY96" fmla="*/ 3432 h 10000"/>
                    <a:gd name="connsiteX97" fmla="*/ 2389 w 10000"/>
                    <a:gd name="connsiteY97" fmla="*/ 3432 h 10000"/>
                    <a:gd name="connsiteX98" fmla="*/ 2167 w 10000"/>
                    <a:gd name="connsiteY98" fmla="*/ 3225 h 10000"/>
                    <a:gd name="connsiteX99" fmla="*/ 1889 w 10000"/>
                    <a:gd name="connsiteY99" fmla="*/ 2946 h 10000"/>
                    <a:gd name="connsiteX100" fmla="*/ 1667 w 10000"/>
                    <a:gd name="connsiteY100" fmla="*/ 2695 h 10000"/>
                    <a:gd name="connsiteX101" fmla="*/ 1611 w 10000"/>
                    <a:gd name="connsiteY101" fmla="*/ 2622 h 10000"/>
                    <a:gd name="connsiteX102" fmla="*/ 1611 w 10000"/>
                    <a:gd name="connsiteY102" fmla="*/ 2592 h 10000"/>
                    <a:gd name="connsiteX103" fmla="*/ 1667 w 10000"/>
                    <a:gd name="connsiteY103" fmla="*/ 2577 h 10000"/>
                    <a:gd name="connsiteX104" fmla="*/ 1667 w 10000"/>
                    <a:gd name="connsiteY104" fmla="*/ 2577 h 10000"/>
                    <a:gd name="connsiteX105" fmla="*/ 2000 w 10000"/>
                    <a:gd name="connsiteY105" fmla="*/ 2563 h 10000"/>
                    <a:gd name="connsiteX106" fmla="*/ 2222 w 10000"/>
                    <a:gd name="connsiteY106" fmla="*/ 2563 h 10000"/>
                    <a:gd name="connsiteX107" fmla="*/ 2389 w 10000"/>
                    <a:gd name="connsiteY107" fmla="*/ 2577 h 10000"/>
                    <a:gd name="connsiteX108" fmla="*/ 2389 w 10000"/>
                    <a:gd name="connsiteY108" fmla="*/ 2577 h 10000"/>
                    <a:gd name="connsiteX109" fmla="*/ 2444 w 10000"/>
                    <a:gd name="connsiteY109" fmla="*/ 2577 h 10000"/>
                    <a:gd name="connsiteX110" fmla="*/ 2500 w 10000"/>
                    <a:gd name="connsiteY110" fmla="*/ 2548 h 10000"/>
                    <a:gd name="connsiteX111" fmla="*/ 2778 w 10000"/>
                    <a:gd name="connsiteY111" fmla="*/ 2459 h 10000"/>
                    <a:gd name="connsiteX112" fmla="*/ 3500 w 10000"/>
                    <a:gd name="connsiteY112" fmla="*/ 2165 h 10000"/>
                    <a:gd name="connsiteX113" fmla="*/ 4444 w 10000"/>
                    <a:gd name="connsiteY113" fmla="*/ 1738 h 10000"/>
                    <a:gd name="connsiteX114" fmla="*/ 4444 w 10000"/>
                    <a:gd name="connsiteY114" fmla="*/ 1738 h 10000"/>
                    <a:gd name="connsiteX115" fmla="*/ 4444 w 10000"/>
                    <a:gd name="connsiteY115" fmla="*/ 1679 h 10000"/>
                    <a:gd name="connsiteX116" fmla="*/ 4444 w 10000"/>
                    <a:gd name="connsiteY116" fmla="*/ 1546 h 10000"/>
                    <a:gd name="connsiteX117" fmla="*/ 4500 w 10000"/>
                    <a:gd name="connsiteY117" fmla="*/ 1458 h 10000"/>
                    <a:gd name="connsiteX118" fmla="*/ 4611 w 10000"/>
                    <a:gd name="connsiteY118" fmla="*/ 1384 h 10000"/>
                    <a:gd name="connsiteX119" fmla="*/ 4778 w 10000"/>
                    <a:gd name="connsiteY119" fmla="*/ 1296 h 10000"/>
                    <a:gd name="connsiteX120" fmla="*/ 5000 w 10000"/>
                    <a:gd name="connsiteY120" fmla="*/ 1222 h 10000"/>
                    <a:gd name="connsiteX121" fmla="*/ 5000 w 10000"/>
                    <a:gd name="connsiteY121" fmla="*/ 1222 h 10000"/>
                    <a:gd name="connsiteX122" fmla="*/ 5556 w 10000"/>
                    <a:gd name="connsiteY122" fmla="*/ 1075 h 10000"/>
                    <a:gd name="connsiteX123" fmla="*/ 6111 w 10000"/>
                    <a:gd name="connsiteY123" fmla="*/ 884 h 10000"/>
                    <a:gd name="connsiteX124" fmla="*/ 6667 w 10000"/>
                    <a:gd name="connsiteY124" fmla="*/ 707 h 10000"/>
                    <a:gd name="connsiteX125" fmla="*/ 7056 w 10000"/>
                    <a:gd name="connsiteY125" fmla="*/ 545 h 10000"/>
                    <a:gd name="connsiteX126" fmla="*/ 7056 w 10000"/>
                    <a:gd name="connsiteY126" fmla="*/ 545 h 10000"/>
                    <a:gd name="connsiteX127" fmla="*/ 7333 w 10000"/>
                    <a:gd name="connsiteY127" fmla="*/ 398 h 10000"/>
                    <a:gd name="connsiteX128" fmla="*/ 7667 w 10000"/>
                    <a:gd name="connsiteY128" fmla="*/ 221 h 10000"/>
                    <a:gd name="connsiteX129" fmla="*/ 8000 w 10000"/>
                    <a:gd name="connsiteY129" fmla="*/ 88 h 10000"/>
                    <a:gd name="connsiteX130" fmla="*/ 8167 w 10000"/>
                    <a:gd name="connsiteY130" fmla="*/ 29 h 10000"/>
                    <a:gd name="connsiteX131" fmla="*/ 8333 w 10000"/>
                    <a:gd name="connsiteY131" fmla="*/ 15 h 10000"/>
                    <a:gd name="connsiteX132" fmla="*/ 8333 w 10000"/>
                    <a:gd name="connsiteY132" fmla="*/ 15 h 10000"/>
                    <a:gd name="connsiteX133" fmla="*/ 8667 w 10000"/>
                    <a:gd name="connsiteY133" fmla="*/ 0 h 10000"/>
                    <a:gd name="connsiteX134" fmla="*/ 9111 w 10000"/>
                    <a:gd name="connsiteY134" fmla="*/ 0 h 10000"/>
                    <a:gd name="connsiteX135" fmla="*/ 10000 w 10000"/>
                    <a:gd name="connsiteY135" fmla="*/ 15 h 10000"/>
                    <a:gd name="connsiteX136" fmla="*/ 10000 w 10000"/>
                    <a:gd name="connsiteY136" fmla="*/ 9013 h 10000"/>
                    <a:gd name="connsiteX137" fmla="*/ 10000 w 10000"/>
                    <a:gd name="connsiteY137" fmla="*/ 9013 h 10000"/>
                    <a:gd name="connsiteX138" fmla="*/ 9722 w 10000"/>
                    <a:gd name="connsiteY138" fmla="*/ 8999 h 10000"/>
                    <a:gd name="connsiteX139" fmla="*/ 9389 w 10000"/>
                    <a:gd name="connsiteY139" fmla="*/ 9013 h 10000"/>
                    <a:gd name="connsiteX140" fmla="*/ 9389 w 10000"/>
                    <a:gd name="connsiteY140" fmla="*/ 9013 h 10000"/>
                    <a:gd name="connsiteX141" fmla="*/ 9278 w 10000"/>
                    <a:gd name="connsiteY141" fmla="*/ 9028 h 10000"/>
                    <a:gd name="connsiteX142" fmla="*/ 9056 w 10000"/>
                    <a:gd name="connsiteY142" fmla="*/ 9013 h 10000"/>
                    <a:gd name="connsiteX143" fmla="*/ 8889 w 10000"/>
                    <a:gd name="connsiteY143" fmla="*/ 8999 h 10000"/>
                    <a:gd name="connsiteX144" fmla="*/ 8722 w 10000"/>
                    <a:gd name="connsiteY144" fmla="*/ 8969 h 10000"/>
                    <a:gd name="connsiteX145" fmla="*/ 8611 w 10000"/>
                    <a:gd name="connsiteY145" fmla="*/ 8925 h 10000"/>
                    <a:gd name="connsiteX146" fmla="*/ 8444 w 10000"/>
                    <a:gd name="connsiteY146" fmla="*/ 8851 h 10000"/>
                    <a:gd name="connsiteX147" fmla="*/ 8444 w 10000"/>
                    <a:gd name="connsiteY147" fmla="*/ 8851 h 10000"/>
                    <a:gd name="connsiteX148" fmla="*/ 8222 w 10000"/>
                    <a:gd name="connsiteY148" fmla="*/ 8719 h 10000"/>
                    <a:gd name="connsiteX149" fmla="*/ 8111 w 10000"/>
                    <a:gd name="connsiteY149" fmla="*/ 8660 h 10000"/>
                    <a:gd name="connsiteX150" fmla="*/ 7944 w 10000"/>
                    <a:gd name="connsiteY150" fmla="*/ 8616 h 10000"/>
                    <a:gd name="connsiteX151" fmla="*/ 7778 w 10000"/>
                    <a:gd name="connsiteY151" fmla="*/ 8586 h 10000"/>
                    <a:gd name="connsiteX152" fmla="*/ 7556 w 10000"/>
                    <a:gd name="connsiteY152" fmla="*/ 8571 h 10000"/>
                    <a:gd name="connsiteX153" fmla="*/ 7333 w 10000"/>
                    <a:gd name="connsiteY153" fmla="*/ 8557 h 10000"/>
                    <a:gd name="connsiteX154" fmla="*/ 7000 w 10000"/>
                    <a:gd name="connsiteY154" fmla="*/ 8542 h 10000"/>
                    <a:gd name="connsiteX155" fmla="*/ 7000 w 10000"/>
                    <a:gd name="connsiteY155" fmla="*/ 8542 h 10000"/>
                    <a:gd name="connsiteX156" fmla="*/ 6556 w 10000"/>
                    <a:gd name="connsiteY156" fmla="*/ 8557 h 10000"/>
                    <a:gd name="connsiteX157" fmla="*/ 6222 w 10000"/>
                    <a:gd name="connsiteY157" fmla="*/ 8557 h 10000"/>
                    <a:gd name="connsiteX158" fmla="*/ 6111 w 10000"/>
                    <a:gd name="connsiteY158" fmla="*/ 8542 h 10000"/>
                    <a:gd name="connsiteX159" fmla="*/ 6056 w 10000"/>
                    <a:gd name="connsiteY159" fmla="*/ 8527 h 10000"/>
                    <a:gd name="connsiteX160" fmla="*/ 6056 w 10000"/>
                    <a:gd name="connsiteY160" fmla="*/ 8527 h 10000"/>
                    <a:gd name="connsiteX161" fmla="*/ 6056 w 10000"/>
                    <a:gd name="connsiteY161" fmla="*/ 8262 h 10000"/>
                    <a:gd name="connsiteX162" fmla="*/ 6056 w 10000"/>
                    <a:gd name="connsiteY162" fmla="*/ 8262 h 10000"/>
                    <a:gd name="connsiteX163" fmla="*/ 6056 w 10000"/>
                    <a:gd name="connsiteY163" fmla="*/ 8203 h 10000"/>
                    <a:gd name="connsiteX164" fmla="*/ 5944 w 10000"/>
                    <a:gd name="connsiteY164" fmla="*/ 8130 h 10000"/>
                    <a:gd name="connsiteX165" fmla="*/ 5889 w 10000"/>
                    <a:gd name="connsiteY165" fmla="*/ 8115 h 10000"/>
                    <a:gd name="connsiteX166" fmla="*/ 5778 w 10000"/>
                    <a:gd name="connsiteY166" fmla="*/ 8100 h 10000"/>
                    <a:gd name="connsiteX167" fmla="*/ 5667 w 10000"/>
                    <a:gd name="connsiteY167" fmla="*/ 8100 h 10000"/>
                    <a:gd name="connsiteX168" fmla="*/ 5500 w 10000"/>
                    <a:gd name="connsiteY168" fmla="*/ 8115 h 10000"/>
                    <a:gd name="connsiteX169" fmla="*/ 5500 w 10000"/>
                    <a:gd name="connsiteY169" fmla="*/ 8115 h 10000"/>
                    <a:gd name="connsiteX170" fmla="*/ 4889 w 10000"/>
                    <a:gd name="connsiteY170" fmla="*/ 8218 h 10000"/>
                    <a:gd name="connsiteX171" fmla="*/ 4611 w 10000"/>
                    <a:gd name="connsiteY171" fmla="*/ 8247 h 10000"/>
                    <a:gd name="connsiteX172" fmla="*/ 4556 w 10000"/>
                    <a:gd name="connsiteY172" fmla="*/ 8262 h 10000"/>
                    <a:gd name="connsiteX173" fmla="*/ 4500 w 10000"/>
                    <a:gd name="connsiteY173" fmla="*/ 8247 h 10000"/>
                    <a:gd name="connsiteX174" fmla="*/ 4500 w 10000"/>
                    <a:gd name="connsiteY174" fmla="*/ 8247 h 10000"/>
                    <a:gd name="connsiteX175" fmla="*/ 4222 w 10000"/>
                    <a:gd name="connsiteY175" fmla="*/ 8100 h 10000"/>
                    <a:gd name="connsiteX176" fmla="*/ 4222 w 10000"/>
                    <a:gd name="connsiteY176" fmla="*/ 8100 h 10000"/>
                    <a:gd name="connsiteX177" fmla="*/ 4111 w 10000"/>
                    <a:gd name="connsiteY177" fmla="*/ 8027 h 10000"/>
                    <a:gd name="connsiteX178" fmla="*/ 4111 w 10000"/>
                    <a:gd name="connsiteY178" fmla="*/ 7982 h 10000"/>
                    <a:gd name="connsiteX179" fmla="*/ 4111 w 10000"/>
                    <a:gd name="connsiteY179" fmla="*/ 7938 h 10000"/>
                    <a:gd name="connsiteX180" fmla="*/ 4111 w 10000"/>
                    <a:gd name="connsiteY180" fmla="*/ 7938 h 10000"/>
                    <a:gd name="connsiteX181" fmla="*/ 4278 w 10000"/>
                    <a:gd name="connsiteY181" fmla="*/ 7894 h 10000"/>
                    <a:gd name="connsiteX182" fmla="*/ 4389 w 10000"/>
                    <a:gd name="connsiteY182" fmla="*/ 7879 h 10000"/>
                    <a:gd name="connsiteX183" fmla="*/ 4389 w 10000"/>
                    <a:gd name="connsiteY183" fmla="*/ 7879 h 10000"/>
                    <a:gd name="connsiteX184" fmla="*/ 4000 w 10000"/>
                    <a:gd name="connsiteY184" fmla="*/ 7879 h 10000"/>
                    <a:gd name="connsiteX185" fmla="*/ 3722 w 10000"/>
                    <a:gd name="connsiteY185" fmla="*/ 7894 h 10000"/>
                    <a:gd name="connsiteX186" fmla="*/ 3611 w 10000"/>
                    <a:gd name="connsiteY186" fmla="*/ 7909 h 10000"/>
                    <a:gd name="connsiteX187" fmla="*/ 3556 w 10000"/>
                    <a:gd name="connsiteY187" fmla="*/ 7923 h 10000"/>
                    <a:gd name="connsiteX188" fmla="*/ 3556 w 10000"/>
                    <a:gd name="connsiteY188" fmla="*/ 7923 h 10000"/>
                    <a:gd name="connsiteX189" fmla="*/ 3444 w 10000"/>
                    <a:gd name="connsiteY189" fmla="*/ 7982 h 10000"/>
                    <a:gd name="connsiteX190" fmla="*/ 3278 w 10000"/>
                    <a:gd name="connsiteY190" fmla="*/ 8071 h 10000"/>
                    <a:gd name="connsiteX191" fmla="*/ 3000 w 10000"/>
                    <a:gd name="connsiteY191" fmla="*/ 8174 h 10000"/>
                    <a:gd name="connsiteX192" fmla="*/ 2667 w 10000"/>
                    <a:gd name="connsiteY192" fmla="*/ 8247 h 10000"/>
                    <a:gd name="connsiteX193" fmla="*/ 2667 w 10000"/>
                    <a:gd name="connsiteY193" fmla="*/ 8247 h 10000"/>
                    <a:gd name="connsiteX194" fmla="*/ 2333 w 10000"/>
                    <a:gd name="connsiteY194" fmla="*/ 8306 h 10000"/>
                    <a:gd name="connsiteX195" fmla="*/ 1833 w 10000"/>
                    <a:gd name="connsiteY195" fmla="*/ 8365 h 10000"/>
                    <a:gd name="connsiteX196" fmla="*/ 1389 w 10000"/>
                    <a:gd name="connsiteY196" fmla="*/ 8395 h 10000"/>
                    <a:gd name="connsiteX197" fmla="*/ 889 w 10000"/>
                    <a:gd name="connsiteY197" fmla="*/ 8409 h 10000"/>
                    <a:gd name="connsiteX198" fmla="*/ 889 w 10000"/>
                    <a:gd name="connsiteY198" fmla="*/ 8409 h 10000"/>
                    <a:gd name="connsiteX199" fmla="*/ 500 w 10000"/>
                    <a:gd name="connsiteY199" fmla="*/ 8424 h 10000"/>
                    <a:gd name="connsiteX200" fmla="*/ 222 w 10000"/>
                    <a:gd name="connsiteY200" fmla="*/ 8439 h 10000"/>
                    <a:gd name="connsiteX201" fmla="*/ 0 w 10000"/>
                    <a:gd name="connsiteY201" fmla="*/ 8454 h 10000"/>
                    <a:gd name="connsiteX202" fmla="*/ 0 w 10000"/>
                    <a:gd name="connsiteY202" fmla="*/ 8454 h 10000"/>
                    <a:gd name="connsiteX203" fmla="*/ 278 w 10000"/>
                    <a:gd name="connsiteY203" fmla="*/ 8689 h 10000"/>
                    <a:gd name="connsiteX204" fmla="*/ 500 w 10000"/>
                    <a:gd name="connsiteY204" fmla="*/ 8866 h 10000"/>
                    <a:gd name="connsiteX205" fmla="*/ 722 w 10000"/>
                    <a:gd name="connsiteY205" fmla="*/ 9013 h 10000"/>
                    <a:gd name="connsiteX206" fmla="*/ 722 w 10000"/>
                    <a:gd name="connsiteY206" fmla="*/ 9013 h 10000"/>
                    <a:gd name="connsiteX207" fmla="*/ 889 w 10000"/>
                    <a:gd name="connsiteY207" fmla="*/ 9102 h 10000"/>
                    <a:gd name="connsiteX208" fmla="*/ 944 w 10000"/>
                    <a:gd name="connsiteY208" fmla="*/ 9175 h 10000"/>
                    <a:gd name="connsiteX209" fmla="*/ 1111 w 10000"/>
                    <a:gd name="connsiteY209" fmla="*/ 9249 h 10000"/>
                    <a:gd name="connsiteX210" fmla="*/ 1333 w 10000"/>
                    <a:gd name="connsiteY210" fmla="*/ 9367 h 10000"/>
                    <a:gd name="connsiteX211" fmla="*/ 1333 w 10000"/>
                    <a:gd name="connsiteY211" fmla="*/ 9367 h 10000"/>
                    <a:gd name="connsiteX212" fmla="*/ 1444 w 10000"/>
                    <a:gd name="connsiteY212" fmla="*/ 9426 h 10000"/>
                    <a:gd name="connsiteX213" fmla="*/ 1500 w 10000"/>
                    <a:gd name="connsiteY213" fmla="*/ 9470 h 10000"/>
                    <a:gd name="connsiteX214" fmla="*/ 1500 w 10000"/>
                    <a:gd name="connsiteY214" fmla="*/ 9514 h 10000"/>
                    <a:gd name="connsiteX215" fmla="*/ 1556 w 10000"/>
                    <a:gd name="connsiteY215" fmla="*/ 9529 h 10000"/>
                    <a:gd name="connsiteX216" fmla="*/ 1722 w 10000"/>
                    <a:gd name="connsiteY216" fmla="*/ 9543 h 10000"/>
                    <a:gd name="connsiteX217" fmla="*/ 1944 w 10000"/>
                    <a:gd name="connsiteY217" fmla="*/ 9558 h 10000"/>
                    <a:gd name="connsiteX218" fmla="*/ 2944 w 10000"/>
                    <a:gd name="connsiteY218" fmla="*/ 9573 h 10000"/>
                    <a:gd name="connsiteX219" fmla="*/ 2944 w 10000"/>
                    <a:gd name="connsiteY219" fmla="*/ 9573 h 10000"/>
                    <a:gd name="connsiteX220" fmla="*/ 4167 w 10000"/>
                    <a:gd name="connsiteY220" fmla="*/ 9602 h 10000"/>
                    <a:gd name="connsiteX221" fmla="*/ 4889 w 10000"/>
                    <a:gd name="connsiteY221" fmla="*/ 9647 h 10000"/>
                    <a:gd name="connsiteX222" fmla="*/ 5278 w 10000"/>
                    <a:gd name="connsiteY222" fmla="*/ 9691 h 10000"/>
                    <a:gd name="connsiteX223" fmla="*/ 5444 w 10000"/>
                    <a:gd name="connsiteY223" fmla="*/ 9705 h 10000"/>
                    <a:gd name="connsiteX224" fmla="*/ 5444 w 10000"/>
                    <a:gd name="connsiteY224" fmla="*/ 9705 h 10000"/>
                    <a:gd name="connsiteX225" fmla="*/ 5722 w 10000"/>
                    <a:gd name="connsiteY225" fmla="*/ 9735 h 10000"/>
                    <a:gd name="connsiteX226" fmla="*/ 5833 w 10000"/>
                    <a:gd name="connsiteY226" fmla="*/ 9750 h 10000"/>
                    <a:gd name="connsiteX227" fmla="*/ 5833 w 10000"/>
                    <a:gd name="connsiteY227" fmla="*/ 9750 h 10000"/>
                    <a:gd name="connsiteX228" fmla="*/ 5833 w 10000"/>
                    <a:gd name="connsiteY228" fmla="*/ 9735 h 10000"/>
                    <a:gd name="connsiteX229" fmla="*/ 5889 w 10000"/>
                    <a:gd name="connsiteY229" fmla="*/ 9720 h 10000"/>
                    <a:gd name="connsiteX230" fmla="*/ 6000 w 10000"/>
                    <a:gd name="connsiteY230" fmla="*/ 9705 h 10000"/>
                    <a:gd name="connsiteX231" fmla="*/ 6167 w 10000"/>
                    <a:gd name="connsiteY231" fmla="*/ 9691 h 10000"/>
                    <a:gd name="connsiteX232" fmla="*/ 6444 w 10000"/>
                    <a:gd name="connsiteY232" fmla="*/ 9691 h 10000"/>
                    <a:gd name="connsiteX233" fmla="*/ 6833 w 10000"/>
                    <a:gd name="connsiteY233" fmla="*/ 9705 h 10000"/>
                    <a:gd name="connsiteX234" fmla="*/ 7278 w 10000"/>
                    <a:gd name="connsiteY234" fmla="*/ 9750 h 10000"/>
                    <a:gd name="connsiteX235" fmla="*/ 7278 w 10000"/>
                    <a:gd name="connsiteY235" fmla="*/ 9750 h 10000"/>
                    <a:gd name="connsiteX236" fmla="*/ 8722 w 10000"/>
                    <a:gd name="connsiteY236" fmla="*/ 9882 h 10000"/>
                    <a:gd name="connsiteX237" fmla="*/ 10000 w 10000"/>
                    <a:gd name="connsiteY23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333 w 10000"/>
                    <a:gd name="connsiteY71" fmla="*/ 4624 h 10000"/>
                    <a:gd name="connsiteX72" fmla="*/ 5333 w 10000"/>
                    <a:gd name="connsiteY72" fmla="*/ 4624 h 10000"/>
                    <a:gd name="connsiteX73" fmla="*/ 5167 w 10000"/>
                    <a:gd name="connsiteY73" fmla="*/ 4580 h 10000"/>
                    <a:gd name="connsiteX74" fmla="*/ 4889 w 10000"/>
                    <a:gd name="connsiteY74" fmla="*/ 4521 h 10000"/>
                    <a:gd name="connsiteX75" fmla="*/ 4056 w 10000"/>
                    <a:gd name="connsiteY75" fmla="*/ 4389 h 10000"/>
                    <a:gd name="connsiteX76" fmla="*/ 2889 w 10000"/>
                    <a:gd name="connsiteY76" fmla="*/ 4227 h 10000"/>
                    <a:gd name="connsiteX77" fmla="*/ 2889 w 10000"/>
                    <a:gd name="connsiteY77" fmla="*/ 4227 h 10000"/>
                    <a:gd name="connsiteX78" fmla="*/ 2389 w 10000"/>
                    <a:gd name="connsiteY78" fmla="*/ 4212 h 10000"/>
                    <a:gd name="connsiteX79" fmla="*/ 2000 w 10000"/>
                    <a:gd name="connsiteY79" fmla="*/ 4197 h 10000"/>
                    <a:gd name="connsiteX80" fmla="*/ 1889 w 10000"/>
                    <a:gd name="connsiteY80" fmla="*/ 4183 h 10000"/>
                    <a:gd name="connsiteX81" fmla="*/ 1778 w 10000"/>
                    <a:gd name="connsiteY81" fmla="*/ 4168 h 10000"/>
                    <a:gd name="connsiteX82" fmla="*/ 1778 w 10000"/>
                    <a:gd name="connsiteY82" fmla="*/ 4168 h 10000"/>
                    <a:gd name="connsiteX83" fmla="*/ 1667 w 10000"/>
                    <a:gd name="connsiteY83" fmla="*/ 4109 h 10000"/>
                    <a:gd name="connsiteX84" fmla="*/ 1500 w 10000"/>
                    <a:gd name="connsiteY84" fmla="*/ 4006 h 10000"/>
                    <a:gd name="connsiteX85" fmla="*/ 1444 w 10000"/>
                    <a:gd name="connsiteY85" fmla="*/ 3947 h 10000"/>
                    <a:gd name="connsiteX86" fmla="*/ 1444 w 10000"/>
                    <a:gd name="connsiteY86" fmla="*/ 3888 h 10000"/>
                    <a:gd name="connsiteX87" fmla="*/ 1444 w 10000"/>
                    <a:gd name="connsiteY87" fmla="*/ 3844 h 10000"/>
                    <a:gd name="connsiteX88" fmla="*/ 1556 w 10000"/>
                    <a:gd name="connsiteY88" fmla="*/ 3800 h 10000"/>
                    <a:gd name="connsiteX89" fmla="*/ 1556 w 10000"/>
                    <a:gd name="connsiteY89" fmla="*/ 3800 h 10000"/>
                    <a:gd name="connsiteX90" fmla="*/ 1833 w 10000"/>
                    <a:gd name="connsiteY90" fmla="*/ 3726 h 10000"/>
                    <a:gd name="connsiteX91" fmla="*/ 2111 w 10000"/>
                    <a:gd name="connsiteY91" fmla="*/ 3652 h 10000"/>
                    <a:gd name="connsiteX92" fmla="*/ 2278 w 10000"/>
                    <a:gd name="connsiteY92" fmla="*/ 3608 h 10000"/>
                    <a:gd name="connsiteX93" fmla="*/ 2389 w 10000"/>
                    <a:gd name="connsiteY93" fmla="*/ 3564 h 10000"/>
                    <a:gd name="connsiteX94" fmla="*/ 2389 w 10000"/>
                    <a:gd name="connsiteY94" fmla="*/ 3505 h 10000"/>
                    <a:gd name="connsiteX95" fmla="*/ 2389 w 10000"/>
                    <a:gd name="connsiteY95" fmla="*/ 3432 h 10000"/>
                    <a:gd name="connsiteX96" fmla="*/ 2389 w 10000"/>
                    <a:gd name="connsiteY96" fmla="*/ 3432 h 10000"/>
                    <a:gd name="connsiteX97" fmla="*/ 2167 w 10000"/>
                    <a:gd name="connsiteY97" fmla="*/ 3225 h 10000"/>
                    <a:gd name="connsiteX98" fmla="*/ 1889 w 10000"/>
                    <a:gd name="connsiteY98" fmla="*/ 2946 h 10000"/>
                    <a:gd name="connsiteX99" fmla="*/ 1667 w 10000"/>
                    <a:gd name="connsiteY99" fmla="*/ 2695 h 10000"/>
                    <a:gd name="connsiteX100" fmla="*/ 1611 w 10000"/>
                    <a:gd name="connsiteY100" fmla="*/ 2622 h 10000"/>
                    <a:gd name="connsiteX101" fmla="*/ 1611 w 10000"/>
                    <a:gd name="connsiteY101" fmla="*/ 2592 h 10000"/>
                    <a:gd name="connsiteX102" fmla="*/ 1667 w 10000"/>
                    <a:gd name="connsiteY102" fmla="*/ 2577 h 10000"/>
                    <a:gd name="connsiteX103" fmla="*/ 1667 w 10000"/>
                    <a:gd name="connsiteY103" fmla="*/ 2577 h 10000"/>
                    <a:gd name="connsiteX104" fmla="*/ 2000 w 10000"/>
                    <a:gd name="connsiteY104" fmla="*/ 2563 h 10000"/>
                    <a:gd name="connsiteX105" fmla="*/ 2222 w 10000"/>
                    <a:gd name="connsiteY105" fmla="*/ 2563 h 10000"/>
                    <a:gd name="connsiteX106" fmla="*/ 2389 w 10000"/>
                    <a:gd name="connsiteY106" fmla="*/ 2577 h 10000"/>
                    <a:gd name="connsiteX107" fmla="*/ 2389 w 10000"/>
                    <a:gd name="connsiteY107" fmla="*/ 2577 h 10000"/>
                    <a:gd name="connsiteX108" fmla="*/ 2444 w 10000"/>
                    <a:gd name="connsiteY108" fmla="*/ 2577 h 10000"/>
                    <a:gd name="connsiteX109" fmla="*/ 2500 w 10000"/>
                    <a:gd name="connsiteY109" fmla="*/ 2548 h 10000"/>
                    <a:gd name="connsiteX110" fmla="*/ 2778 w 10000"/>
                    <a:gd name="connsiteY110" fmla="*/ 2459 h 10000"/>
                    <a:gd name="connsiteX111" fmla="*/ 3500 w 10000"/>
                    <a:gd name="connsiteY111" fmla="*/ 2165 h 10000"/>
                    <a:gd name="connsiteX112" fmla="*/ 4444 w 10000"/>
                    <a:gd name="connsiteY112" fmla="*/ 1738 h 10000"/>
                    <a:gd name="connsiteX113" fmla="*/ 4444 w 10000"/>
                    <a:gd name="connsiteY113" fmla="*/ 1738 h 10000"/>
                    <a:gd name="connsiteX114" fmla="*/ 4444 w 10000"/>
                    <a:gd name="connsiteY114" fmla="*/ 1679 h 10000"/>
                    <a:gd name="connsiteX115" fmla="*/ 4444 w 10000"/>
                    <a:gd name="connsiteY115" fmla="*/ 1546 h 10000"/>
                    <a:gd name="connsiteX116" fmla="*/ 4500 w 10000"/>
                    <a:gd name="connsiteY116" fmla="*/ 1458 h 10000"/>
                    <a:gd name="connsiteX117" fmla="*/ 4611 w 10000"/>
                    <a:gd name="connsiteY117" fmla="*/ 1384 h 10000"/>
                    <a:gd name="connsiteX118" fmla="*/ 4778 w 10000"/>
                    <a:gd name="connsiteY118" fmla="*/ 1296 h 10000"/>
                    <a:gd name="connsiteX119" fmla="*/ 5000 w 10000"/>
                    <a:gd name="connsiteY119" fmla="*/ 1222 h 10000"/>
                    <a:gd name="connsiteX120" fmla="*/ 5000 w 10000"/>
                    <a:gd name="connsiteY120" fmla="*/ 1222 h 10000"/>
                    <a:gd name="connsiteX121" fmla="*/ 5556 w 10000"/>
                    <a:gd name="connsiteY121" fmla="*/ 1075 h 10000"/>
                    <a:gd name="connsiteX122" fmla="*/ 6111 w 10000"/>
                    <a:gd name="connsiteY122" fmla="*/ 884 h 10000"/>
                    <a:gd name="connsiteX123" fmla="*/ 6667 w 10000"/>
                    <a:gd name="connsiteY123" fmla="*/ 707 h 10000"/>
                    <a:gd name="connsiteX124" fmla="*/ 7056 w 10000"/>
                    <a:gd name="connsiteY124" fmla="*/ 545 h 10000"/>
                    <a:gd name="connsiteX125" fmla="*/ 7056 w 10000"/>
                    <a:gd name="connsiteY125" fmla="*/ 545 h 10000"/>
                    <a:gd name="connsiteX126" fmla="*/ 7333 w 10000"/>
                    <a:gd name="connsiteY126" fmla="*/ 398 h 10000"/>
                    <a:gd name="connsiteX127" fmla="*/ 7667 w 10000"/>
                    <a:gd name="connsiteY127" fmla="*/ 221 h 10000"/>
                    <a:gd name="connsiteX128" fmla="*/ 8000 w 10000"/>
                    <a:gd name="connsiteY128" fmla="*/ 88 h 10000"/>
                    <a:gd name="connsiteX129" fmla="*/ 8167 w 10000"/>
                    <a:gd name="connsiteY129" fmla="*/ 29 h 10000"/>
                    <a:gd name="connsiteX130" fmla="*/ 8333 w 10000"/>
                    <a:gd name="connsiteY130" fmla="*/ 15 h 10000"/>
                    <a:gd name="connsiteX131" fmla="*/ 8333 w 10000"/>
                    <a:gd name="connsiteY131" fmla="*/ 15 h 10000"/>
                    <a:gd name="connsiteX132" fmla="*/ 8667 w 10000"/>
                    <a:gd name="connsiteY132" fmla="*/ 0 h 10000"/>
                    <a:gd name="connsiteX133" fmla="*/ 9111 w 10000"/>
                    <a:gd name="connsiteY133" fmla="*/ 0 h 10000"/>
                    <a:gd name="connsiteX134" fmla="*/ 10000 w 10000"/>
                    <a:gd name="connsiteY134" fmla="*/ 15 h 10000"/>
                    <a:gd name="connsiteX135" fmla="*/ 10000 w 10000"/>
                    <a:gd name="connsiteY135" fmla="*/ 9013 h 10000"/>
                    <a:gd name="connsiteX136" fmla="*/ 10000 w 10000"/>
                    <a:gd name="connsiteY136" fmla="*/ 9013 h 10000"/>
                    <a:gd name="connsiteX137" fmla="*/ 9722 w 10000"/>
                    <a:gd name="connsiteY137" fmla="*/ 8999 h 10000"/>
                    <a:gd name="connsiteX138" fmla="*/ 9389 w 10000"/>
                    <a:gd name="connsiteY138" fmla="*/ 9013 h 10000"/>
                    <a:gd name="connsiteX139" fmla="*/ 9389 w 10000"/>
                    <a:gd name="connsiteY139" fmla="*/ 9013 h 10000"/>
                    <a:gd name="connsiteX140" fmla="*/ 9278 w 10000"/>
                    <a:gd name="connsiteY140" fmla="*/ 9028 h 10000"/>
                    <a:gd name="connsiteX141" fmla="*/ 9056 w 10000"/>
                    <a:gd name="connsiteY141" fmla="*/ 9013 h 10000"/>
                    <a:gd name="connsiteX142" fmla="*/ 8889 w 10000"/>
                    <a:gd name="connsiteY142" fmla="*/ 8999 h 10000"/>
                    <a:gd name="connsiteX143" fmla="*/ 8722 w 10000"/>
                    <a:gd name="connsiteY143" fmla="*/ 8969 h 10000"/>
                    <a:gd name="connsiteX144" fmla="*/ 8611 w 10000"/>
                    <a:gd name="connsiteY144" fmla="*/ 8925 h 10000"/>
                    <a:gd name="connsiteX145" fmla="*/ 8444 w 10000"/>
                    <a:gd name="connsiteY145" fmla="*/ 8851 h 10000"/>
                    <a:gd name="connsiteX146" fmla="*/ 8444 w 10000"/>
                    <a:gd name="connsiteY146" fmla="*/ 8851 h 10000"/>
                    <a:gd name="connsiteX147" fmla="*/ 8222 w 10000"/>
                    <a:gd name="connsiteY147" fmla="*/ 8719 h 10000"/>
                    <a:gd name="connsiteX148" fmla="*/ 8111 w 10000"/>
                    <a:gd name="connsiteY148" fmla="*/ 8660 h 10000"/>
                    <a:gd name="connsiteX149" fmla="*/ 7944 w 10000"/>
                    <a:gd name="connsiteY149" fmla="*/ 8616 h 10000"/>
                    <a:gd name="connsiteX150" fmla="*/ 7778 w 10000"/>
                    <a:gd name="connsiteY150" fmla="*/ 8586 h 10000"/>
                    <a:gd name="connsiteX151" fmla="*/ 7556 w 10000"/>
                    <a:gd name="connsiteY151" fmla="*/ 8571 h 10000"/>
                    <a:gd name="connsiteX152" fmla="*/ 7333 w 10000"/>
                    <a:gd name="connsiteY152" fmla="*/ 8557 h 10000"/>
                    <a:gd name="connsiteX153" fmla="*/ 7000 w 10000"/>
                    <a:gd name="connsiteY153" fmla="*/ 8542 h 10000"/>
                    <a:gd name="connsiteX154" fmla="*/ 7000 w 10000"/>
                    <a:gd name="connsiteY154" fmla="*/ 8542 h 10000"/>
                    <a:gd name="connsiteX155" fmla="*/ 6556 w 10000"/>
                    <a:gd name="connsiteY155" fmla="*/ 8557 h 10000"/>
                    <a:gd name="connsiteX156" fmla="*/ 6222 w 10000"/>
                    <a:gd name="connsiteY156" fmla="*/ 8557 h 10000"/>
                    <a:gd name="connsiteX157" fmla="*/ 6111 w 10000"/>
                    <a:gd name="connsiteY157" fmla="*/ 8542 h 10000"/>
                    <a:gd name="connsiteX158" fmla="*/ 6056 w 10000"/>
                    <a:gd name="connsiteY158" fmla="*/ 8527 h 10000"/>
                    <a:gd name="connsiteX159" fmla="*/ 6056 w 10000"/>
                    <a:gd name="connsiteY159" fmla="*/ 8527 h 10000"/>
                    <a:gd name="connsiteX160" fmla="*/ 6056 w 10000"/>
                    <a:gd name="connsiteY160" fmla="*/ 8262 h 10000"/>
                    <a:gd name="connsiteX161" fmla="*/ 6056 w 10000"/>
                    <a:gd name="connsiteY161" fmla="*/ 8262 h 10000"/>
                    <a:gd name="connsiteX162" fmla="*/ 6056 w 10000"/>
                    <a:gd name="connsiteY162" fmla="*/ 8203 h 10000"/>
                    <a:gd name="connsiteX163" fmla="*/ 5944 w 10000"/>
                    <a:gd name="connsiteY163" fmla="*/ 8130 h 10000"/>
                    <a:gd name="connsiteX164" fmla="*/ 5889 w 10000"/>
                    <a:gd name="connsiteY164" fmla="*/ 8115 h 10000"/>
                    <a:gd name="connsiteX165" fmla="*/ 5778 w 10000"/>
                    <a:gd name="connsiteY165" fmla="*/ 8100 h 10000"/>
                    <a:gd name="connsiteX166" fmla="*/ 5667 w 10000"/>
                    <a:gd name="connsiteY166" fmla="*/ 8100 h 10000"/>
                    <a:gd name="connsiteX167" fmla="*/ 5500 w 10000"/>
                    <a:gd name="connsiteY167" fmla="*/ 8115 h 10000"/>
                    <a:gd name="connsiteX168" fmla="*/ 5500 w 10000"/>
                    <a:gd name="connsiteY168" fmla="*/ 8115 h 10000"/>
                    <a:gd name="connsiteX169" fmla="*/ 4889 w 10000"/>
                    <a:gd name="connsiteY169" fmla="*/ 8218 h 10000"/>
                    <a:gd name="connsiteX170" fmla="*/ 4611 w 10000"/>
                    <a:gd name="connsiteY170" fmla="*/ 8247 h 10000"/>
                    <a:gd name="connsiteX171" fmla="*/ 4556 w 10000"/>
                    <a:gd name="connsiteY171" fmla="*/ 8262 h 10000"/>
                    <a:gd name="connsiteX172" fmla="*/ 4500 w 10000"/>
                    <a:gd name="connsiteY172" fmla="*/ 8247 h 10000"/>
                    <a:gd name="connsiteX173" fmla="*/ 4500 w 10000"/>
                    <a:gd name="connsiteY173" fmla="*/ 8247 h 10000"/>
                    <a:gd name="connsiteX174" fmla="*/ 4222 w 10000"/>
                    <a:gd name="connsiteY174" fmla="*/ 8100 h 10000"/>
                    <a:gd name="connsiteX175" fmla="*/ 4222 w 10000"/>
                    <a:gd name="connsiteY175" fmla="*/ 8100 h 10000"/>
                    <a:gd name="connsiteX176" fmla="*/ 4111 w 10000"/>
                    <a:gd name="connsiteY176" fmla="*/ 8027 h 10000"/>
                    <a:gd name="connsiteX177" fmla="*/ 4111 w 10000"/>
                    <a:gd name="connsiteY177" fmla="*/ 7982 h 10000"/>
                    <a:gd name="connsiteX178" fmla="*/ 4111 w 10000"/>
                    <a:gd name="connsiteY178" fmla="*/ 7938 h 10000"/>
                    <a:gd name="connsiteX179" fmla="*/ 4111 w 10000"/>
                    <a:gd name="connsiteY179" fmla="*/ 7938 h 10000"/>
                    <a:gd name="connsiteX180" fmla="*/ 4278 w 10000"/>
                    <a:gd name="connsiteY180" fmla="*/ 7894 h 10000"/>
                    <a:gd name="connsiteX181" fmla="*/ 4389 w 10000"/>
                    <a:gd name="connsiteY181" fmla="*/ 7879 h 10000"/>
                    <a:gd name="connsiteX182" fmla="*/ 4389 w 10000"/>
                    <a:gd name="connsiteY182" fmla="*/ 7879 h 10000"/>
                    <a:gd name="connsiteX183" fmla="*/ 4000 w 10000"/>
                    <a:gd name="connsiteY183" fmla="*/ 7879 h 10000"/>
                    <a:gd name="connsiteX184" fmla="*/ 3722 w 10000"/>
                    <a:gd name="connsiteY184" fmla="*/ 7894 h 10000"/>
                    <a:gd name="connsiteX185" fmla="*/ 3611 w 10000"/>
                    <a:gd name="connsiteY185" fmla="*/ 7909 h 10000"/>
                    <a:gd name="connsiteX186" fmla="*/ 3556 w 10000"/>
                    <a:gd name="connsiteY186" fmla="*/ 7923 h 10000"/>
                    <a:gd name="connsiteX187" fmla="*/ 3556 w 10000"/>
                    <a:gd name="connsiteY187" fmla="*/ 7923 h 10000"/>
                    <a:gd name="connsiteX188" fmla="*/ 3444 w 10000"/>
                    <a:gd name="connsiteY188" fmla="*/ 7982 h 10000"/>
                    <a:gd name="connsiteX189" fmla="*/ 3278 w 10000"/>
                    <a:gd name="connsiteY189" fmla="*/ 8071 h 10000"/>
                    <a:gd name="connsiteX190" fmla="*/ 3000 w 10000"/>
                    <a:gd name="connsiteY190" fmla="*/ 8174 h 10000"/>
                    <a:gd name="connsiteX191" fmla="*/ 2667 w 10000"/>
                    <a:gd name="connsiteY191" fmla="*/ 8247 h 10000"/>
                    <a:gd name="connsiteX192" fmla="*/ 2667 w 10000"/>
                    <a:gd name="connsiteY192" fmla="*/ 8247 h 10000"/>
                    <a:gd name="connsiteX193" fmla="*/ 2333 w 10000"/>
                    <a:gd name="connsiteY193" fmla="*/ 8306 h 10000"/>
                    <a:gd name="connsiteX194" fmla="*/ 1833 w 10000"/>
                    <a:gd name="connsiteY194" fmla="*/ 8365 h 10000"/>
                    <a:gd name="connsiteX195" fmla="*/ 1389 w 10000"/>
                    <a:gd name="connsiteY195" fmla="*/ 8395 h 10000"/>
                    <a:gd name="connsiteX196" fmla="*/ 889 w 10000"/>
                    <a:gd name="connsiteY196" fmla="*/ 8409 h 10000"/>
                    <a:gd name="connsiteX197" fmla="*/ 889 w 10000"/>
                    <a:gd name="connsiteY197" fmla="*/ 8409 h 10000"/>
                    <a:gd name="connsiteX198" fmla="*/ 500 w 10000"/>
                    <a:gd name="connsiteY198" fmla="*/ 8424 h 10000"/>
                    <a:gd name="connsiteX199" fmla="*/ 222 w 10000"/>
                    <a:gd name="connsiteY199" fmla="*/ 8439 h 10000"/>
                    <a:gd name="connsiteX200" fmla="*/ 0 w 10000"/>
                    <a:gd name="connsiteY200" fmla="*/ 8454 h 10000"/>
                    <a:gd name="connsiteX201" fmla="*/ 0 w 10000"/>
                    <a:gd name="connsiteY201" fmla="*/ 8454 h 10000"/>
                    <a:gd name="connsiteX202" fmla="*/ 278 w 10000"/>
                    <a:gd name="connsiteY202" fmla="*/ 8689 h 10000"/>
                    <a:gd name="connsiteX203" fmla="*/ 500 w 10000"/>
                    <a:gd name="connsiteY203" fmla="*/ 8866 h 10000"/>
                    <a:gd name="connsiteX204" fmla="*/ 722 w 10000"/>
                    <a:gd name="connsiteY204" fmla="*/ 9013 h 10000"/>
                    <a:gd name="connsiteX205" fmla="*/ 722 w 10000"/>
                    <a:gd name="connsiteY205" fmla="*/ 9013 h 10000"/>
                    <a:gd name="connsiteX206" fmla="*/ 889 w 10000"/>
                    <a:gd name="connsiteY206" fmla="*/ 9102 h 10000"/>
                    <a:gd name="connsiteX207" fmla="*/ 944 w 10000"/>
                    <a:gd name="connsiteY207" fmla="*/ 9175 h 10000"/>
                    <a:gd name="connsiteX208" fmla="*/ 1111 w 10000"/>
                    <a:gd name="connsiteY208" fmla="*/ 9249 h 10000"/>
                    <a:gd name="connsiteX209" fmla="*/ 1333 w 10000"/>
                    <a:gd name="connsiteY209" fmla="*/ 9367 h 10000"/>
                    <a:gd name="connsiteX210" fmla="*/ 1333 w 10000"/>
                    <a:gd name="connsiteY210" fmla="*/ 9367 h 10000"/>
                    <a:gd name="connsiteX211" fmla="*/ 1444 w 10000"/>
                    <a:gd name="connsiteY211" fmla="*/ 9426 h 10000"/>
                    <a:gd name="connsiteX212" fmla="*/ 1500 w 10000"/>
                    <a:gd name="connsiteY212" fmla="*/ 9470 h 10000"/>
                    <a:gd name="connsiteX213" fmla="*/ 1500 w 10000"/>
                    <a:gd name="connsiteY213" fmla="*/ 9514 h 10000"/>
                    <a:gd name="connsiteX214" fmla="*/ 1556 w 10000"/>
                    <a:gd name="connsiteY214" fmla="*/ 9529 h 10000"/>
                    <a:gd name="connsiteX215" fmla="*/ 1722 w 10000"/>
                    <a:gd name="connsiteY215" fmla="*/ 9543 h 10000"/>
                    <a:gd name="connsiteX216" fmla="*/ 1944 w 10000"/>
                    <a:gd name="connsiteY216" fmla="*/ 9558 h 10000"/>
                    <a:gd name="connsiteX217" fmla="*/ 2944 w 10000"/>
                    <a:gd name="connsiteY217" fmla="*/ 9573 h 10000"/>
                    <a:gd name="connsiteX218" fmla="*/ 2944 w 10000"/>
                    <a:gd name="connsiteY218" fmla="*/ 9573 h 10000"/>
                    <a:gd name="connsiteX219" fmla="*/ 4167 w 10000"/>
                    <a:gd name="connsiteY219" fmla="*/ 9602 h 10000"/>
                    <a:gd name="connsiteX220" fmla="*/ 4889 w 10000"/>
                    <a:gd name="connsiteY220" fmla="*/ 9647 h 10000"/>
                    <a:gd name="connsiteX221" fmla="*/ 5278 w 10000"/>
                    <a:gd name="connsiteY221" fmla="*/ 9691 h 10000"/>
                    <a:gd name="connsiteX222" fmla="*/ 5444 w 10000"/>
                    <a:gd name="connsiteY222" fmla="*/ 9705 h 10000"/>
                    <a:gd name="connsiteX223" fmla="*/ 5444 w 10000"/>
                    <a:gd name="connsiteY223" fmla="*/ 9705 h 10000"/>
                    <a:gd name="connsiteX224" fmla="*/ 5722 w 10000"/>
                    <a:gd name="connsiteY224" fmla="*/ 9735 h 10000"/>
                    <a:gd name="connsiteX225" fmla="*/ 5833 w 10000"/>
                    <a:gd name="connsiteY225" fmla="*/ 9750 h 10000"/>
                    <a:gd name="connsiteX226" fmla="*/ 5833 w 10000"/>
                    <a:gd name="connsiteY226" fmla="*/ 9750 h 10000"/>
                    <a:gd name="connsiteX227" fmla="*/ 5833 w 10000"/>
                    <a:gd name="connsiteY227" fmla="*/ 9735 h 10000"/>
                    <a:gd name="connsiteX228" fmla="*/ 5889 w 10000"/>
                    <a:gd name="connsiteY228" fmla="*/ 9720 h 10000"/>
                    <a:gd name="connsiteX229" fmla="*/ 6000 w 10000"/>
                    <a:gd name="connsiteY229" fmla="*/ 9705 h 10000"/>
                    <a:gd name="connsiteX230" fmla="*/ 6167 w 10000"/>
                    <a:gd name="connsiteY230" fmla="*/ 9691 h 10000"/>
                    <a:gd name="connsiteX231" fmla="*/ 6444 w 10000"/>
                    <a:gd name="connsiteY231" fmla="*/ 9691 h 10000"/>
                    <a:gd name="connsiteX232" fmla="*/ 6833 w 10000"/>
                    <a:gd name="connsiteY232" fmla="*/ 9705 h 10000"/>
                    <a:gd name="connsiteX233" fmla="*/ 7278 w 10000"/>
                    <a:gd name="connsiteY233" fmla="*/ 9750 h 10000"/>
                    <a:gd name="connsiteX234" fmla="*/ 7278 w 10000"/>
                    <a:gd name="connsiteY234" fmla="*/ 9750 h 10000"/>
                    <a:gd name="connsiteX235" fmla="*/ 8722 w 10000"/>
                    <a:gd name="connsiteY235" fmla="*/ 9882 h 10000"/>
                    <a:gd name="connsiteX236" fmla="*/ 10000 w 10000"/>
                    <a:gd name="connsiteY23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333 w 10000"/>
                    <a:gd name="connsiteY71" fmla="*/ 4624 h 10000"/>
                    <a:gd name="connsiteX72" fmla="*/ 5333 w 10000"/>
                    <a:gd name="connsiteY72" fmla="*/ 4624 h 10000"/>
                    <a:gd name="connsiteX73" fmla="*/ 4889 w 10000"/>
                    <a:gd name="connsiteY73" fmla="*/ 4521 h 10000"/>
                    <a:gd name="connsiteX74" fmla="*/ 4056 w 10000"/>
                    <a:gd name="connsiteY74" fmla="*/ 4389 h 10000"/>
                    <a:gd name="connsiteX75" fmla="*/ 2889 w 10000"/>
                    <a:gd name="connsiteY75" fmla="*/ 4227 h 10000"/>
                    <a:gd name="connsiteX76" fmla="*/ 2889 w 10000"/>
                    <a:gd name="connsiteY76" fmla="*/ 4227 h 10000"/>
                    <a:gd name="connsiteX77" fmla="*/ 2389 w 10000"/>
                    <a:gd name="connsiteY77" fmla="*/ 4212 h 10000"/>
                    <a:gd name="connsiteX78" fmla="*/ 2000 w 10000"/>
                    <a:gd name="connsiteY78" fmla="*/ 4197 h 10000"/>
                    <a:gd name="connsiteX79" fmla="*/ 1889 w 10000"/>
                    <a:gd name="connsiteY79" fmla="*/ 4183 h 10000"/>
                    <a:gd name="connsiteX80" fmla="*/ 1778 w 10000"/>
                    <a:gd name="connsiteY80" fmla="*/ 4168 h 10000"/>
                    <a:gd name="connsiteX81" fmla="*/ 1778 w 10000"/>
                    <a:gd name="connsiteY81" fmla="*/ 4168 h 10000"/>
                    <a:gd name="connsiteX82" fmla="*/ 1667 w 10000"/>
                    <a:gd name="connsiteY82" fmla="*/ 4109 h 10000"/>
                    <a:gd name="connsiteX83" fmla="*/ 1500 w 10000"/>
                    <a:gd name="connsiteY83" fmla="*/ 4006 h 10000"/>
                    <a:gd name="connsiteX84" fmla="*/ 1444 w 10000"/>
                    <a:gd name="connsiteY84" fmla="*/ 3947 h 10000"/>
                    <a:gd name="connsiteX85" fmla="*/ 1444 w 10000"/>
                    <a:gd name="connsiteY85" fmla="*/ 3888 h 10000"/>
                    <a:gd name="connsiteX86" fmla="*/ 1444 w 10000"/>
                    <a:gd name="connsiteY86" fmla="*/ 3844 h 10000"/>
                    <a:gd name="connsiteX87" fmla="*/ 1556 w 10000"/>
                    <a:gd name="connsiteY87" fmla="*/ 3800 h 10000"/>
                    <a:gd name="connsiteX88" fmla="*/ 1556 w 10000"/>
                    <a:gd name="connsiteY88" fmla="*/ 3800 h 10000"/>
                    <a:gd name="connsiteX89" fmla="*/ 1833 w 10000"/>
                    <a:gd name="connsiteY89" fmla="*/ 3726 h 10000"/>
                    <a:gd name="connsiteX90" fmla="*/ 2111 w 10000"/>
                    <a:gd name="connsiteY90" fmla="*/ 3652 h 10000"/>
                    <a:gd name="connsiteX91" fmla="*/ 2278 w 10000"/>
                    <a:gd name="connsiteY91" fmla="*/ 3608 h 10000"/>
                    <a:gd name="connsiteX92" fmla="*/ 2389 w 10000"/>
                    <a:gd name="connsiteY92" fmla="*/ 3564 h 10000"/>
                    <a:gd name="connsiteX93" fmla="*/ 2389 w 10000"/>
                    <a:gd name="connsiteY93" fmla="*/ 3505 h 10000"/>
                    <a:gd name="connsiteX94" fmla="*/ 2389 w 10000"/>
                    <a:gd name="connsiteY94" fmla="*/ 3432 h 10000"/>
                    <a:gd name="connsiteX95" fmla="*/ 2389 w 10000"/>
                    <a:gd name="connsiteY95" fmla="*/ 3432 h 10000"/>
                    <a:gd name="connsiteX96" fmla="*/ 2167 w 10000"/>
                    <a:gd name="connsiteY96" fmla="*/ 3225 h 10000"/>
                    <a:gd name="connsiteX97" fmla="*/ 1889 w 10000"/>
                    <a:gd name="connsiteY97" fmla="*/ 2946 h 10000"/>
                    <a:gd name="connsiteX98" fmla="*/ 1667 w 10000"/>
                    <a:gd name="connsiteY98" fmla="*/ 2695 h 10000"/>
                    <a:gd name="connsiteX99" fmla="*/ 1611 w 10000"/>
                    <a:gd name="connsiteY99" fmla="*/ 2622 h 10000"/>
                    <a:gd name="connsiteX100" fmla="*/ 1611 w 10000"/>
                    <a:gd name="connsiteY100" fmla="*/ 2592 h 10000"/>
                    <a:gd name="connsiteX101" fmla="*/ 1667 w 10000"/>
                    <a:gd name="connsiteY101" fmla="*/ 2577 h 10000"/>
                    <a:gd name="connsiteX102" fmla="*/ 1667 w 10000"/>
                    <a:gd name="connsiteY102" fmla="*/ 2577 h 10000"/>
                    <a:gd name="connsiteX103" fmla="*/ 2000 w 10000"/>
                    <a:gd name="connsiteY103" fmla="*/ 2563 h 10000"/>
                    <a:gd name="connsiteX104" fmla="*/ 2222 w 10000"/>
                    <a:gd name="connsiteY104" fmla="*/ 2563 h 10000"/>
                    <a:gd name="connsiteX105" fmla="*/ 2389 w 10000"/>
                    <a:gd name="connsiteY105" fmla="*/ 2577 h 10000"/>
                    <a:gd name="connsiteX106" fmla="*/ 2389 w 10000"/>
                    <a:gd name="connsiteY106" fmla="*/ 2577 h 10000"/>
                    <a:gd name="connsiteX107" fmla="*/ 2444 w 10000"/>
                    <a:gd name="connsiteY107" fmla="*/ 2577 h 10000"/>
                    <a:gd name="connsiteX108" fmla="*/ 2500 w 10000"/>
                    <a:gd name="connsiteY108" fmla="*/ 2548 h 10000"/>
                    <a:gd name="connsiteX109" fmla="*/ 2778 w 10000"/>
                    <a:gd name="connsiteY109" fmla="*/ 2459 h 10000"/>
                    <a:gd name="connsiteX110" fmla="*/ 3500 w 10000"/>
                    <a:gd name="connsiteY110" fmla="*/ 2165 h 10000"/>
                    <a:gd name="connsiteX111" fmla="*/ 4444 w 10000"/>
                    <a:gd name="connsiteY111" fmla="*/ 1738 h 10000"/>
                    <a:gd name="connsiteX112" fmla="*/ 4444 w 10000"/>
                    <a:gd name="connsiteY112" fmla="*/ 1738 h 10000"/>
                    <a:gd name="connsiteX113" fmla="*/ 4444 w 10000"/>
                    <a:gd name="connsiteY113" fmla="*/ 1679 h 10000"/>
                    <a:gd name="connsiteX114" fmla="*/ 4444 w 10000"/>
                    <a:gd name="connsiteY114" fmla="*/ 1546 h 10000"/>
                    <a:gd name="connsiteX115" fmla="*/ 4500 w 10000"/>
                    <a:gd name="connsiteY115" fmla="*/ 1458 h 10000"/>
                    <a:gd name="connsiteX116" fmla="*/ 4611 w 10000"/>
                    <a:gd name="connsiteY116" fmla="*/ 1384 h 10000"/>
                    <a:gd name="connsiteX117" fmla="*/ 4778 w 10000"/>
                    <a:gd name="connsiteY117" fmla="*/ 1296 h 10000"/>
                    <a:gd name="connsiteX118" fmla="*/ 5000 w 10000"/>
                    <a:gd name="connsiteY118" fmla="*/ 1222 h 10000"/>
                    <a:gd name="connsiteX119" fmla="*/ 5000 w 10000"/>
                    <a:gd name="connsiteY119" fmla="*/ 1222 h 10000"/>
                    <a:gd name="connsiteX120" fmla="*/ 5556 w 10000"/>
                    <a:gd name="connsiteY120" fmla="*/ 1075 h 10000"/>
                    <a:gd name="connsiteX121" fmla="*/ 6111 w 10000"/>
                    <a:gd name="connsiteY121" fmla="*/ 884 h 10000"/>
                    <a:gd name="connsiteX122" fmla="*/ 6667 w 10000"/>
                    <a:gd name="connsiteY122" fmla="*/ 707 h 10000"/>
                    <a:gd name="connsiteX123" fmla="*/ 7056 w 10000"/>
                    <a:gd name="connsiteY123" fmla="*/ 545 h 10000"/>
                    <a:gd name="connsiteX124" fmla="*/ 7056 w 10000"/>
                    <a:gd name="connsiteY124" fmla="*/ 545 h 10000"/>
                    <a:gd name="connsiteX125" fmla="*/ 7333 w 10000"/>
                    <a:gd name="connsiteY125" fmla="*/ 398 h 10000"/>
                    <a:gd name="connsiteX126" fmla="*/ 7667 w 10000"/>
                    <a:gd name="connsiteY126" fmla="*/ 221 h 10000"/>
                    <a:gd name="connsiteX127" fmla="*/ 8000 w 10000"/>
                    <a:gd name="connsiteY127" fmla="*/ 88 h 10000"/>
                    <a:gd name="connsiteX128" fmla="*/ 8167 w 10000"/>
                    <a:gd name="connsiteY128" fmla="*/ 29 h 10000"/>
                    <a:gd name="connsiteX129" fmla="*/ 8333 w 10000"/>
                    <a:gd name="connsiteY129" fmla="*/ 15 h 10000"/>
                    <a:gd name="connsiteX130" fmla="*/ 8333 w 10000"/>
                    <a:gd name="connsiteY130" fmla="*/ 15 h 10000"/>
                    <a:gd name="connsiteX131" fmla="*/ 8667 w 10000"/>
                    <a:gd name="connsiteY131" fmla="*/ 0 h 10000"/>
                    <a:gd name="connsiteX132" fmla="*/ 9111 w 10000"/>
                    <a:gd name="connsiteY132" fmla="*/ 0 h 10000"/>
                    <a:gd name="connsiteX133" fmla="*/ 10000 w 10000"/>
                    <a:gd name="connsiteY133" fmla="*/ 15 h 10000"/>
                    <a:gd name="connsiteX134" fmla="*/ 10000 w 10000"/>
                    <a:gd name="connsiteY134" fmla="*/ 9013 h 10000"/>
                    <a:gd name="connsiteX135" fmla="*/ 10000 w 10000"/>
                    <a:gd name="connsiteY135" fmla="*/ 9013 h 10000"/>
                    <a:gd name="connsiteX136" fmla="*/ 9722 w 10000"/>
                    <a:gd name="connsiteY136" fmla="*/ 8999 h 10000"/>
                    <a:gd name="connsiteX137" fmla="*/ 9389 w 10000"/>
                    <a:gd name="connsiteY137" fmla="*/ 9013 h 10000"/>
                    <a:gd name="connsiteX138" fmla="*/ 9389 w 10000"/>
                    <a:gd name="connsiteY138" fmla="*/ 9013 h 10000"/>
                    <a:gd name="connsiteX139" fmla="*/ 9278 w 10000"/>
                    <a:gd name="connsiteY139" fmla="*/ 9028 h 10000"/>
                    <a:gd name="connsiteX140" fmla="*/ 9056 w 10000"/>
                    <a:gd name="connsiteY140" fmla="*/ 9013 h 10000"/>
                    <a:gd name="connsiteX141" fmla="*/ 8889 w 10000"/>
                    <a:gd name="connsiteY141" fmla="*/ 8999 h 10000"/>
                    <a:gd name="connsiteX142" fmla="*/ 8722 w 10000"/>
                    <a:gd name="connsiteY142" fmla="*/ 8969 h 10000"/>
                    <a:gd name="connsiteX143" fmla="*/ 8611 w 10000"/>
                    <a:gd name="connsiteY143" fmla="*/ 8925 h 10000"/>
                    <a:gd name="connsiteX144" fmla="*/ 8444 w 10000"/>
                    <a:gd name="connsiteY144" fmla="*/ 8851 h 10000"/>
                    <a:gd name="connsiteX145" fmla="*/ 8444 w 10000"/>
                    <a:gd name="connsiteY145" fmla="*/ 8851 h 10000"/>
                    <a:gd name="connsiteX146" fmla="*/ 8222 w 10000"/>
                    <a:gd name="connsiteY146" fmla="*/ 8719 h 10000"/>
                    <a:gd name="connsiteX147" fmla="*/ 8111 w 10000"/>
                    <a:gd name="connsiteY147" fmla="*/ 8660 h 10000"/>
                    <a:gd name="connsiteX148" fmla="*/ 7944 w 10000"/>
                    <a:gd name="connsiteY148" fmla="*/ 8616 h 10000"/>
                    <a:gd name="connsiteX149" fmla="*/ 7778 w 10000"/>
                    <a:gd name="connsiteY149" fmla="*/ 8586 h 10000"/>
                    <a:gd name="connsiteX150" fmla="*/ 7556 w 10000"/>
                    <a:gd name="connsiteY150" fmla="*/ 8571 h 10000"/>
                    <a:gd name="connsiteX151" fmla="*/ 7333 w 10000"/>
                    <a:gd name="connsiteY151" fmla="*/ 8557 h 10000"/>
                    <a:gd name="connsiteX152" fmla="*/ 7000 w 10000"/>
                    <a:gd name="connsiteY152" fmla="*/ 8542 h 10000"/>
                    <a:gd name="connsiteX153" fmla="*/ 7000 w 10000"/>
                    <a:gd name="connsiteY153" fmla="*/ 8542 h 10000"/>
                    <a:gd name="connsiteX154" fmla="*/ 6556 w 10000"/>
                    <a:gd name="connsiteY154" fmla="*/ 8557 h 10000"/>
                    <a:gd name="connsiteX155" fmla="*/ 6222 w 10000"/>
                    <a:gd name="connsiteY155" fmla="*/ 8557 h 10000"/>
                    <a:gd name="connsiteX156" fmla="*/ 6111 w 10000"/>
                    <a:gd name="connsiteY156" fmla="*/ 8542 h 10000"/>
                    <a:gd name="connsiteX157" fmla="*/ 6056 w 10000"/>
                    <a:gd name="connsiteY157" fmla="*/ 8527 h 10000"/>
                    <a:gd name="connsiteX158" fmla="*/ 6056 w 10000"/>
                    <a:gd name="connsiteY158" fmla="*/ 8527 h 10000"/>
                    <a:gd name="connsiteX159" fmla="*/ 6056 w 10000"/>
                    <a:gd name="connsiteY159" fmla="*/ 8262 h 10000"/>
                    <a:gd name="connsiteX160" fmla="*/ 6056 w 10000"/>
                    <a:gd name="connsiteY160" fmla="*/ 8262 h 10000"/>
                    <a:gd name="connsiteX161" fmla="*/ 6056 w 10000"/>
                    <a:gd name="connsiteY161" fmla="*/ 8203 h 10000"/>
                    <a:gd name="connsiteX162" fmla="*/ 5944 w 10000"/>
                    <a:gd name="connsiteY162" fmla="*/ 8130 h 10000"/>
                    <a:gd name="connsiteX163" fmla="*/ 5889 w 10000"/>
                    <a:gd name="connsiteY163" fmla="*/ 8115 h 10000"/>
                    <a:gd name="connsiteX164" fmla="*/ 5778 w 10000"/>
                    <a:gd name="connsiteY164" fmla="*/ 8100 h 10000"/>
                    <a:gd name="connsiteX165" fmla="*/ 5667 w 10000"/>
                    <a:gd name="connsiteY165" fmla="*/ 8100 h 10000"/>
                    <a:gd name="connsiteX166" fmla="*/ 5500 w 10000"/>
                    <a:gd name="connsiteY166" fmla="*/ 8115 h 10000"/>
                    <a:gd name="connsiteX167" fmla="*/ 5500 w 10000"/>
                    <a:gd name="connsiteY167" fmla="*/ 8115 h 10000"/>
                    <a:gd name="connsiteX168" fmla="*/ 4889 w 10000"/>
                    <a:gd name="connsiteY168" fmla="*/ 8218 h 10000"/>
                    <a:gd name="connsiteX169" fmla="*/ 4611 w 10000"/>
                    <a:gd name="connsiteY169" fmla="*/ 8247 h 10000"/>
                    <a:gd name="connsiteX170" fmla="*/ 4556 w 10000"/>
                    <a:gd name="connsiteY170" fmla="*/ 8262 h 10000"/>
                    <a:gd name="connsiteX171" fmla="*/ 4500 w 10000"/>
                    <a:gd name="connsiteY171" fmla="*/ 8247 h 10000"/>
                    <a:gd name="connsiteX172" fmla="*/ 4500 w 10000"/>
                    <a:gd name="connsiteY172" fmla="*/ 8247 h 10000"/>
                    <a:gd name="connsiteX173" fmla="*/ 4222 w 10000"/>
                    <a:gd name="connsiteY173" fmla="*/ 8100 h 10000"/>
                    <a:gd name="connsiteX174" fmla="*/ 4222 w 10000"/>
                    <a:gd name="connsiteY174" fmla="*/ 8100 h 10000"/>
                    <a:gd name="connsiteX175" fmla="*/ 4111 w 10000"/>
                    <a:gd name="connsiteY175" fmla="*/ 8027 h 10000"/>
                    <a:gd name="connsiteX176" fmla="*/ 4111 w 10000"/>
                    <a:gd name="connsiteY176" fmla="*/ 7982 h 10000"/>
                    <a:gd name="connsiteX177" fmla="*/ 4111 w 10000"/>
                    <a:gd name="connsiteY177" fmla="*/ 7938 h 10000"/>
                    <a:gd name="connsiteX178" fmla="*/ 4111 w 10000"/>
                    <a:gd name="connsiteY178" fmla="*/ 7938 h 10000"/>
                    <a:gd name="connsiteX179" fmla="*/ 4278 w 10000"/>
                    <a:gd name="connsiteY179" fmla="*/ 7894 h 10000"/>
                    <a:gd name="connsiteX180" fmla="*/ 4389 w 10000"/>
                    <a:gd name="connsiteY180" fmla="*/ 7879 h 10000"/>
                    <a:gd name="connsiteX181" fmla="*/ 4389 w 10000"/>
                    <a:gd name="connsiteY181" fmla="*/ 7879 h 10000"/>
                    <a:gd name="connsiteX182" fmla="*/ 4000 w 10000"/>
                    <a:gd name="connsiteY182" fmla="*/ 7879 h 10000"/>
                    <a:gd name="connsiteX183" fmla="*/ 3722 w 10000"/>
                    <a:gd name="connsiteY183" fmla="*/ 7894 h 10000"/>
                    <a:gd name="connsiteX184" fmla="*/ 3611 w 10000"/>
                    <a:gd name="connsiteY184" fmla="*/ 7909 h 10000"/>
                    <a:gd name="connsiteX185" fmla="*/ 3556 w 10000"/>
                    <a:gd name="connsiteY185" fmla="*/ 7923 h 10000"/>
                    <a:gd name="connsiteX186" fmla="*/ 3556 w 10000"/>
                    <a:gd name="connsiteY186" fmla="*/ 7923 h 10000"/>
                    <a:gd name="connsiteX187" fmla="*/ 3444 w 10000"/>
                    <a:gd name="connsiteY187" fmla="*/ 7982 h 10000"/>
                    <a:gd name="connsiteX188" fmla="*/ 3278 w 10000"/>
                    <a:gd name="connsiteY188" fmla="*/ 8071 h 10000"/>
                    <a:gd name="connsiteX189" fmla="*/ 3000 w 10000"/>
                    <a:gd name="connsiteY189" fmla="*/ 8174 h 10000"/>
                    <a:gd name="connsiteX190" fmla="*/ 2667 w 10000"/>
                    <a:gd name="connsiteY190" fmla="*/ 8247 h 10000"/>
                    <a:gd name="connsiteX191" fmla="*/ 2667 w 10000"/>
                    <a:gd name="connsiteY191" fmla="*/ 8247 h 10000"/>
                    <a:gd name="connsiteX192" fmla="*/ 2333 w 10000"/>
                    <a:gd name="connsiteY192" fmla="*/ 8306 h 10000"/>
                    <a:gd name="connsiteX193" fmla="*/ 1833 w 10000"/>
                    <a:gd name="connsiteY193" fmla="*/ 8365 h 10000"/>
                    <a:gd name="connsiteX194" fmla="*/ 1389 w 10000"/>
                    <a:gd name="connsiteY194" fmla="*/ 8395 h 10000"/>
                    <a:gd name="connsiteX195" fmla="*/ 889 w 10000"/>
                    <a:gd name="connsiteY195" fmla="*/ 8409 h 10000"/>
                    <a:gd name="connsiteX196" fmla="*/ 889 w 10000"/>
                    <a:gd name="connsiteY196" fmla="*/ 8409 h 10000"/>
                    <a:gd name="connsiteX197" fmla="*/ 500 w 10000"/>
                    <a:gd name="connsiteY197" fmla="*/ 8424 h 10000"/>
                    <a:gd name="connsiteX198" fmla="*/ 222 w 10000"/>
                    <a:gd name="connsiteY198" fmla="*/ 8439 h 10000"/>
                    <a:gd name="connsiteX199" fmla="*/ 0 w 10000"/>
                    <a:gd name="connsiteY199" fmla="*/ 8454 h 10000"/>
                    <a:gd name="connsiteX200" fmla="*/ 0 w 10000"/>
                    <a:gd name="connsiteY200" fmla="*/ 8454 h 10000"/>
                    <a:gd name="connsiteX201" fmla="*/ 278 w 10000"/>
                    <a:gd name="connsiteY201" fmla="*/ 8689 h 10000"/>
                    <a:gd name="connsiteX202" fmla="*/ 500 w 10000"/>
                    <a:gd name="connsiteY202" fmla="*/ 8866 h 10000"/>
                    <a:gd name="connsiteX203" fmla="*/ 722 w 10000"/>
                    <a:gd name="connsiteY203" fmla="*/ 9013 h 10000"/>
                    <a:gd name="connsiteX204" fmla="*/ 722 w 10000"/>
                    <a:gd name="connsiteY204" fmla="*/ 9013 h 10000"/>
                    <a:gd name="connsiteX205" fmla="*/ 889 w 10000"/>
                    <a:gd name="connsiteY205" fmla="*/ 9102 h 10000"/>
                    <a:gd name="connsiteX206" fmla="*/ 944 w 10000"/>
                    <a:gd name="connsiteY206" fmla="*/ 9175 h 10000"/>
                    <a:gd name="connsiteX207" fmla="*/ 1111 w 10000"/>
                    <a:gd name="connsiteY207" fmla="*/ 9249 h 10000"/>
                    <a:gd name="connsiteX208" fmla="*/ 1333 w 10000"/>
                    <a:gd name="connsiteY208" fmla="*/ 9367 h 10000"/>
                    <a:gd name="connsiteX209" fmla="*/ 1333 w 10000"/>
                    <a:gd name="connsiteY209" fmla="*/ 9367 h 10000"/>
                    <a:gd name="connsiteX210" fmla="*/ 1444 w 10000"/>
                    <a:gd name="connsiteY210" fmla="*/ 9426 h 10000"/>
                    <a:gd name="connsiteX211" fmla="*/ 1500 w 10000"/>
                    <a:gd name="connsiteY211" fmla="*/ 9470 h 10000"/>
                    <a:gd name="connsiteX212" fmla="*/ 1500 w 10000"/>
                    <a:gd name="connsiteY212" fmla="*/ 9514 h 10000"/>
                    <a:gd name="connsiteX213" fmla="*/ 1556 w 10000"/>
                    <a:gd name="connsiteY213" fmla="*/ 9529 h 10000"/>
                    <a:gd name="connsiteX214" fmla="*/ 1722 w 10000"/>
                    <a:gd name="connsiteY214" fmla="*/ 9543 h 10000"/>
                    <a:gd name="connsiteX215" fmla="*/ 1944 w 10000"/>
                    <a:gd name="connsiteY215" fmla="*/ 9558 h 10000"/>
                    <a:gd name="connsiteX216" fmla="*/ 2944 w 10000"/>
                    <a:gd name="connsiteY216" fmla="*/ 9573 h 10000"/>
                    <a:gd name="connsiteX217" fmla="*/ 2944 w 10000"/>
                    <a:gd name="connsiteY217" fmla="*/ 9573 h 10000"/>
                    <a:gd name="connsiteX218" fmla="*/ 4167 w 10000"/>
                    <a:gd name="connsiteY218" fmla="*/ 9602 h 10000"/>
                    <a:gd name="connsiteX219" fmla="*/ 4889 w 10000"/>
                    <a:gd name="connsiteY219" fmla="*/ 9647 h 10000"/>
                    <a:gd name="connsiteX220" fmla="*/ 5278 w 10000"/>
                    <a:gd name="connsiteY220" fmla="*/ 9691 h 10000"/>
                    <a:gd name="connsiteX221" fmla="*/ 5444 w 10000"/>
                    <a:gd name="connsiteY221" fmla="*/ 9705 h 10000"/>
                    <a:gd name="connsiteX222" fmla="*/ 5444 w 10000"/>
                    <a:gd name="connsiteY222" fmla="*/ 9705 h 10000"/>
                    <a:gd name="connsiteX223" fmla="*/ 5722 w 10000"/>
                    <a:gd name="connsiteY223" fmla="*/ 9735 h 10000"/>
                    <a:gd name="connsiteX224" fmla="*/ 5833 w 10000"/>
                    <a:gd name="connsiteY224" fmla="*/ 9750 h 10000"/>
                    <a:gd name="connsiteX225" fmla="*/ 5833 w 10000"/>
                    <a:gd name="connsiteY225" fmla="*/ 9750 h 10000"/>
                    <a:gd name="connsiteX226" fmla="*/ 5833 w 10000"/>
                    <a:gd name="connsiteY226" fmla="*/ 9735 h 10000"/>
                    <a:gd name="connsiteX227" fmla="*/ 5889 w 10000"/>
                    <a:gd name="connsiteY227" fmla="*/ 9720 h 10000"/>
                    <a:gd name="connsiteX228" fmla="*/ 6000 w 10000"/>
                    <a:gd name="connsiteY228" fmla="*/ 9705 h 10000"/>
                    <a:gd name="connsiteX229" fmla="*/ 6167 w 10000"/>
                    <a:gd name="connsiteY229" fmla="*/ 9691 h 10000"/>
                    <a:gd name="connsiteX230" fmla="*/ 6444 w 10000"/>
                    <a:gd name="connsiteY230" fmla="*/ 9691 h 10000"/>
                    <a:gd name="connsiteX231" fmla="*/ 6833 w 10000"/>
                    <a:gd name="connsiteY231" fmla="*/ 9705 h 10000"/>
                    <a:gd name="connsiteX232" fmla="*/ 7278 w 10000"/>
                    <a:gd name="connsiteY232" fmla="*/ 9750 h 10000"/>
                    <a:gd name="connsiteX233" fmla="*/ 7278 w 10000"/>
                    <a:gd name="connsiteY233" fmla="*/ 9750 h 10000"/>
                    <a:gd name="connsiteX234" fmla="*/ 8722 w 10000"/>
                    <a:gd name="connsiteY234" fmla="*/ 9882 h 10000"/>
                    <a:gd name="connsiteX235" fmla="*/ 10000 w 10000"/>
                    <a:gd name="connsiteY23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333 w 10000"/>
                    <a:gd name="connsiteY71" fmla="*/ 4624 h 10000"/>
                    <a:gd name="connsiteX72" fmla="*/ 4889 w 10000"/>
                    <a:gd name="connsiteY72" fmla="*/ 4521 h 10000"/>
                    <a:gd name="connsiteX73" fmla="*/ 4056 w 10000"/>
                    <a:gd name="connsiteY73" fmla="*/ 4389 h 10000"/>
                    <a:gd name="connsiteX74" fmla="*/ 2889 w 10000"/>
                    <a:gd name="connsiteY74" fmla="*/ 4227 h 10000"/>
                    <a:gd name="connsiteX75" fmla="*/ 2889 w 10000"/>
                    <a:gd name="connsiteY75" fmla="*/ 4227 h 10000"/>
                    <a:gd name="connsiteX76" fmla="*/ 2389 w 10000"/>
                    <a:gd name="connsiteY76" fmla="*/ 4212 h 10000"/>
                    <a:gd name="connsiteX77" fmla="*/ 2000 w 10000"/>
                    <a:gd name="connsiteY77" fmla="*/ 4197 h 10000"/>
                    <a:gd name="connsiteX78" fmla="*/ 1889 w 10000"/>
                    <a:gd name="connsiteY78" fmla="*/ 4183 h 10000"/>
                    <a:gd name="connsiteX79" fmla="*/ 1778 w 10000"/>
                    <a:gd name="connsiteY79" fmla="*/ 4168 h 10000"/>
                    <a:gd name="connsiteX80" fmla="*/ 1778 w 10000"/>
                    <a:gd name="connsiteY80" fmla="*/ 4168 h 10000"/>
                    <a:gd name="connsiteX81" fmla="*/ 1667 w 10000"/>
                    <a:gd name="connsiteY81" fmla="*/ 4109 h 10000"/>
                    <a:gd name="connsiteX82" fmla="*/ 1500 w 10000"/>
                    <a:gd name="connsiteY82" fmla="*/ 4006 h 10000"/>
                    <a:gd name="connsiteX83" fmla="*/ 1444 w 10000"/>
                    <a:gd name="connsiteY83" fmla="*/ 3947 h 10000"/>
                    <a:gd name="connsiteX84" fmla="*/ 1444 w 10000"/>
                    <a:gd name="connsiteY84" fmla="*/ 3888 h 10000"/>
                    <a:gd name="connsiteX85" fmla="*/ 1444 w 10000"/>
                    <a:gd name="connsiteY85" fmla="*/ 3844 h 10000"/>
                    <a:gd name="connsiteX86" fmla="*/ 1556 w 10000"/>
                    <a:gd name="connsiteY86" fmla="*/ 3800 h 10000"/>
                    <a:gd name="connsiteX87" fmla="*/ 1556 w 10000"/>
                    <a:gd name="connsiteY87" fmla="*/ 3800 h 10000"/>
                    <a:gd name="connsiteX88" fmla="*/ 1833 w 10000"/>
                    <a:gd name="connsiteY88" fmla="*/ 3726 h 10000"/>
                    <a:gd name="connsiteX89" fmla="*/ 2111 w 10000"/>
                    <a:gd name="connsiteY89" fmla="*/ 3652 h 10000"/>
                    <a:gd name="connsiteX90" fmla="*/ 2278 w 10000"/>
                    <a:gd name="connsiteY90" fmla="*/ 3608 h 10000"/>
                    <a:gd name="connsiteX91" fmla="*/ 2389 w 10000"/>
                    <a:gd name="connsiteY91" fmla="*/ 3564 h 10000"/>
                    <a:gd name="connsiteX92" fmla="*/ 2389 w 10000"/>
                    <a:gd name="connsiteY92" fmla="*/ 3505 h 10000"/>
                    <a:gd name="connsiteX93" fmla="*/ 2389 w 10000"/>
                    <a:gd name="connsiteY93" fmla="*/ 3432 h 10000"/>
                    <a:gd name="connsiteX94" fmla="*/ 2389 w 10000"/>
                    <a:gd name="connsiteY94" fmla="*/ 3432 h 10000"/>
                    <a:gd name="connsiteX95" fmla="*/ 2167 w 10000"/>
                    <a:gd name="connsiteY95" fmla="*/ 3225 h 10000"/>
                    <a:gd name="connsiteX96" fmla="*/ 1889 w 10000"/>
                    <a:gd name="connsiteY96" fmla="*/ 2946 h 10000"/>
                    <a:gd name="connsiteX97" fmla="*/ 1667 w 10000"/>
                    <a:gd name="connsiteY97" fmla="*/ 2695 h 10000"/>
                    <a:gd name="connsiteX98" fmla="*/ 1611 w 10000"/>
                    <a:gd name="connsiteY98" fmla="*/ 2622 h 10000"/>
                    <a:gd name="connsiteX99" fmla="*/ 1611 w 10000"/>
                    <a:gd name="connsiteY99" fmla="*/ 2592 h 10000"/>
                    <a:gd name="connsiteX100" fmla="*/ 1667 w 10000"/>
                    <a:gd name="connsiteY100" fmla="*/ 2577 h 10000"/>
                    <a:gd name="connsiteX101" fmla="*/ 1667 w 10000"/>
                    <a:gd name="connsiteY101" fmla="*/ 2577 h 10000"/>
                    <a:gd name="connsiteX102" fmla="*/ 2000 w 10000"/>
                    <a:gd name="connsiteY102" fmla="*/ 2563 h 10000"/>
                    <a:gd name="connsiteX103" fmla="*/ 2222 w 10000"/>
                    <a:gd name="connsiteY103" fmla="*/ 2563 h 10000"/>
                    <a:gd name="connsiteX104" fmla="*/ 2389 w 10000"/>
                    <a:gd name="connsiteY104" fmla="*/ 2577 h 10000"/>
                    <a:gd name="connsiteX105" fmla="*/ 2389 w 10000"/>
                    <a:gd name="connsiteY105" fmla="*/ 2577 h 10000"/>
                    <a:gd name="connsiteX106" fmla="*/ 2444 w 10000"/>
                    <a:gd name="connsiteY106" fmla="*/ 2577 h 10000"/>
                    <a:gd name="connsiteX107" fmla="*/ 2500 w 10000"/>
                    <a:gd name="connsiteY107" fmla="*/ 2548 h 10000"/>
                    <a:gd name="connsiteX108" fmla="*/ 2778 w 10000"/>
                    <a:gd name="connsiteY108" fmla="*/ 2459 h 10000"/>
                    <a:gd name="connsiteX109" fmla="*/ 3500 w 10000"/>
                    <a:gd name="connsiteY109" fmla="*/ 2165 h 10000"/>
                    <a:gd name="connsiteX110" fmla="*/ 4444 w 10000"/>
                    <a:gd name="connsiteY110" fmla="*/ 1738 h 10000"/>
                    <a:gd name="connsiteX111" fmla="*/ 4444 w 10000"/>
                    <a:gd name="connsiteY111" fmla="*/ 1738 h 10000"/>
                    <a:gd name="connsiteX112" fmla="*/ 4444 w 10000"/>
                    <a:gd name="connsiteY112" fmla="*/ 1679 h 10000"/>
                    <a:gd name="connsiteX113" fmla="*/ 4444 w 10000"/>
                    <a:gd name="connsiteY113" fmla="*/ 1546 h 10000"/>
                    <a:gd name="connsiteX114" fmla="*/ 4500 w 10000"/>
                    <a:gd name="connsiteY114" fmla="*/ 1458 h 10000"/>
                    <a:gd name="connsiteX115" fmla="*/ 4611 w 10000"/>
                    <a:gd name="connsiteY115" fmla="*/ 1384 h 10000"/>
                    <a:gd name="connsiteX116" fmla="*/ 4778 w 10000"/>
                    <a:gd name="connsiteY116" fmla="*/ 1296 h 10000"/>
                    <a:gd name="connsiteX117" fmla="*/ 5000 w 10000"/>
                    <a:gd name="connsiteY117" fmla="*/ 1222 h 10000"/>
                    <a:gd name="connsiteX118" fmla="*/ 5000 w 10000"/>
                    <a:gd name="connsiteY118" fmla="*/ 1222 h 10000"/>
                    <a:gd name="connsiteX119" fmla="*/ 5556 w 10000"/>
                    <a:gd name="connsiteY119" fmla="*/ 1075 h 10000"/>
                    <a:gd name="connsiteX120" fmla="*/ 6111 w 10000"/>
                    <a:gd name="connsiteY120" fmla="*/ 884 h 10000"/>
                    <a:gd name="connsiteX121" fmla="*/ 6667 w 10000"/>
                    <a:gd name="connsiteY121" fmla="*/ 707 h 10000"/>
                    <a:gd name="connsiteX122" fmla="*/ 7056 w 10000"/>
                    <a:gd name="connsiteY122" fmla="*/ 545 h 10000"/>
                    <a:gd name="connsiteX123" fmla="*/ 7056 w 10000"/>
                    <a:gd name="connsiteY123" fmla="*/ 545 h 10000"/>
                    <a:gd name="connsiteX124" fmla="*/ 7333 w 10000"/>
                    <a:gd name="connsiteY124" fmla="*/ 398 h 10000"/>
                    <a:gd name="connsiteX125" fmla="*/ 7667 w 10000"/>
                    <a:gd name="connsiteY125" fmla="*/ 221 h 10000"/>
                    <a:gd name="connsiteX126" fmla="*/ 8000 w 10000"/>
                    <a:gd name="connsiteY126" fmla="*/ 88 h 10000"/>
                    <a:gd name="connsiteX127" fmla="*/ 8167 w 10000"/>
                    <a:gd name="connsiteY127" fmla="*/ 29 h 10000"/>
                    <a:gd name="connsiteX128" fmla="*/ 8333 w 10000"/>
                    <a:gd name="connsiteY128" fmla="*/ 15 h 10000"/>
                    <a:gd name="connsiteX129" fmla="*/ 8333 w 10000"/>
                    <a:gd name="connsiteY129" fmla="*/ 15 h 10000"/>
                    <a:gd name="connsiteX130" fmla="*/ 8667 w 10000"/>
                    <a:gd name="connsiteY130" fmla="*/ 0 h 10000"/>
                    <a:gd name="connsiteX131" fmla="*/ 9111 w 10000"/>
                    <a:gd name="connsiteY131" fmla="*/ 0 h 10000"/>
                    <a:gd name="connsiteX132" fmla="*/ 10000 w 10000"/>
                    <a:gd name="connsiteY132" fmla="*/ 15 h 10000"/>
                    <a:gd name="connsiteX133" fmla="*/ 10000 w 10000"/>
                    <a:gd name="connsiteY133" fmla="*/ 9013 h 10000"/>
                    <a:gd name="connsiteX134" fmla="*/ 10000 w 10000"/>
                    <a:gd name="connsiteY134" fmla="*/ 9013 h 10000"/>
                    <a:gd name="connsiteX135" fmla="*/ 9722 w 10000"/>
                    <a:gd name="connsiteY135" fmla="*/ 8999 h 10000"/>
                    <a:gd name="connsiteX136" fmla="*/ 9389 w 10000"/>
                    <a:gd name="connsiteY136" fmla="*/ 9013 h 10000"/>
                    <a:gd name="connsiteX137" fmla="*/ 9389 w 10000"/>
                    <a:gd name="connsiteY137" fmla="*/ 9013 h 10000"/>
                    <a:gd name="connsiteX138" fmla="*/ 9278 w 10000"/>
                    <a:gd name="connsiteY138" fmla="*/ 9028 h 10000"/>
                    <a:gd name="connsiteX139" fmla="*/ 9056 w 10000"/>
                    <a:gd name="connsiteY139" fmla="*/ 9013 h 10000"/>
                    <a:gd name="connsiteX140" fmla="*/ 8889 w 10000"/>
                    <a:gd name="connsiteY140" fmla="*/ 8999 h 10000"/>
                    <a:gd name="connsiteX141" fmla="*/ 8722 w 10000"/>
                    <a:gd name="connsiteY141" fmla="*/ 8969 h 10000"/>
                    <a:gd name="connsiteX142" fmla="*/ 8611 w 10000"/>
                    <a:gd name="connsiteY142" fmla="*/ 8925 h 10000"/>
                    <a:gd name="connsiteX143" fmla="*/ 8444 w 10000"/>
                    <a:gd name="connsiteY143" fmla="*/ 8851 h 10000"/>
                    <a:gd name="connsiteX144" fmla="*/ 8444 w 10000"/>
                    <a:gd name="connsiteY144" fmla="*/ 8851 h 10000"/>
                    <a:gd name="connsiteX145" fmla="*/ 8222 w 10000"/>
                    <a:gd name="connsiteY145" fmla="*/ 8719 h 10000"/>
                    <a:gd name="connsiteX146" fmla="*/ 8111 w 10000"/>
                    <a:gd name="connsiteY146" fmla="*/ 8660 h 10000"/>
                    <a:gd name="connsiteX147" fmla="*/ 7944 w 10000"/>
                    <a:gd name="connsiteY147" fmla="*/ 8616 h 10000"/>
                    <a:gd name="connsiteX148" fmla="*/ 7778 w 10000"/>
                    <a:gd name="connsiteY148" fmla="*/ 8586 h 10000"/>
                    <a:gd name="connsiteX149" fmla="*/ 7556 w 10000"/>
                    <a:gd name="connsiteY149" fmla="*/ 8571 h 10000"/>
                    <a:gd name="connsiteX150" fmla="*/ 7333 w 10000"/>
                    <a:gd name="connsiteY150" fmla="*/ 8557 h 10000"/>
                    <a:gd name="connsiteX151" fmla="*/ 7000 w 10000"/>
                    <a:gd name="connsiteY151" fmla="*/ 8542 h 10000"/>
                    <a:gd name="connsiteX152" fmla="*/ 7000 w 10000"/>
                    <a:gd name="connsiteY152" fmla="*/ 8542 h 10000"/>
                    <a:gd name="connsiteX153" fmla="*/ 6556 w 10000"/>
                    <a:gd name="connsiteY153" fmla="*/ 8557 h 10000"/>
                    <a:gd name="connsiteX154" fmla="*/ 6222 w 10000"/>
                    <a:gd name="connsiteY154" fmla="*/ 8557 h 10000"/>
                    <a:gd name="connsiteX155" fmla="*/ 6111 w 10000"/>
                    <a:gd name="connsiteY155" fmla="*/ 8542 h 10000"/>
                    <a:gd name="connsiteX156" fmla="*/ 6056 w 10000"/>
                    <a:gd name="connsiteY156" fmla="*/ 8527 h 10000"/>
                    <a:gd name="connsiteX157" fmla="*/ 6056 w 10000"/>
                    <a:gd name="connsiteY157" fmla="*/ 8527 h 10000"/>
                    <a:gd name="connsiteX158" fmla="*/ 6056 w 10000"/>
                    <a:gd name="connsiteY158" fmla="*/ 8262 h 10000"/>
                    <a:gd name="connsiteX159" fmla="*/ 6056 w 10000"/>
                    <a:gd name="connsiteY159" fmla="*/ 8262 h 10000"/>
                    <a:gd name="connsiteX160" fmla="*/ 6056 w 10000"/>
                    <a:gd name="connsiteY160" fmla="*/ 8203 h 10000"/>
                    <a:gd name="connsiteX161" fmla="*/ 5944 w 10000"/>
                    <a:gd name="connsiteY161" fmla="*/ 8130 h 10000"/>
                    <a:gd name="connsiteX162" fmla="*/ 5889 w 10000"/>
                    <a:gd name="connsiteY162" fmla="*/ 8115 h 10000"/>
                    <a:gd name="connsiteX163" fmla="*/ 5778 w 10000"/>
                    <a:gd name="connsiteY163" fmla="*/ 8100 h 10000"/>
                    <a:gd name="connsiteX164" fmla="*/ 5667 w 10000"/>
                    <a:gd name="connsiteY164" fmla="*/ 8100 h 10000"/>
                    <a:gd name="connsiteX165" fmla="*/ 5500 w 10000"/>
                    <a:gd name="connsiteY165" fmla="*/ 8115 h 10000"/>
                    <a:gd name="connsiteX166" fmla="*/ 5500 w 10000"/>
                    <a:gd name="connsiteY166" fmla="*/ 8115 h 10000"/>
                    <a:gd name="connsiteX167" fmla="*/ 4889 w 10000"/>
                    <a:gd name="connsiteY167" fmla="*/ 8218 h 10000"/>
                    <a:gd name="connsiteX168" fmla="*/ 4611 w 10000"/>
                    <a:gd name="connsiteY168" fmla="*/ 8247 h 10000"/>
                    <a:gd name="connsiteX169" fmla="*/ 4556 w 10000"/>
                    <a:gd name="connsiteY169" fmla="*/ 8262 h 10000"/>
                    <a:gd name="connsiteX170" fmla="*/ 4500 w 10000"/>
                    <a:gd name="connsiteY170" fmla="*/ 8247 h 10000"/>
                    <a:gd name="connsiteX171" fmla="*/ 4500 w 10000"/>
                    <a:gd name="connsiteY171" fmla="*/ 8247 h 10000"/>
                    <a:gd name="connsiteX172" fmla="*/ 4222 w 10000"/>
                    <a:gd name="connsiteY172" fmla="*/ 8100 h 10000"/>
                    <a:gd name="connsiteX173" fmla="*/ 4222 w 10000"/>
                    <a:gd name="connsiteY173" fmla="*/ 8100 h 10000"/>
                    <a:gd name="connsiteX174" fmla="*/ 4111 w 10000"/>
                    <a:gd name="connsiteY174" fmla="*/ 8027 h 10000"/>
                    <a:gd name="connsiteX175" fmla="*/ 4111 w 10000"/>
                    <a:gd name="connsiteY175" fmla="*/ 7982 h 10000"/>
                    <a:gd name="connsiteX176" fmla="*/ 4111 w 10000"/>
                    <a:gd name="connsiteY176" fmla="*/ 7938 h 10000"/>
                    <a:gd name="connsiteX177" fmla="*/ 4111 w 10000"/>
                    <a:gd name="connsiteY177" fmla="*/ 7938 h 10000"/>
                    <a:gd name="connsiteX178" fmla="*/ 4278 w 10000"/>
                    <a:gd name="connsiteY178" fmla="*/ 7894 h 10000"/>
                    <a:gd name="connsiteX179" fmla="*/ 4389 w 10000"/>
                    <a:gd name="connsiteY179" fmla="*/ 7879 h 10000"/>
                    <a:gd name="connsiteX180" fmla="*/ 4389 w 10000"/>
                    <a:gd name="connsiteY180" fmla="*/ 7879 h 10000"/>
                    <a:gd name="connsiteX181" fmla="*/ 4000 w 10000"/>
                    <a:gd name="connsiteY181" fmla="*/ 7879 h 10000"/>
                    <a:gd name="connsiteX182" fmla="*/ 3722 w 10000"/>
                    <a:gd name="connsiteY182" fmla="*/ 7894 h 10000"/>
                    <a:gd name="connsiteX183" fmla="*/ 3611 w 10000"/>
                    <a:gd name="connsiteY183" fmla="*/ 7909 h 10000"/>
                    <a:gd name="connsiteX184" fmla="*/ 3556 w 10000"/>
                    <a:gd name="connsiteY184" fmla="*/ 7923 h 10000"/>
                    <a:gd name="connsiteX185" fmla="*/ 3556 w 10000"/>
                    <a:gd name="connsiteY185" fmla="*/ 7923 h 10000"/>
                    <a:gd name="connsiteX186" fmla="*/ 3444 w 10000"/>
                    <a:gd name="connsiteY186" fmla="*/ 7982 h 10000"/>
                    <a:gd name="connsiteX187" fmla="*/ 3278 w 10000"/>
                    <a:gd name="connsiteY187" fmla="*/ 8071 h 10000"/>
                    <a:gd name="connsiteX188" fmla="*/ 3000 w 10000"/>
                    <a:gd name="connsiteY188" fmla="*/ 8174 h 10000"/>
                    <a:gd name="connsiteX189" fmla="*/ 2667 w 10000"/>
                    <a:gd name="connsiteY189" fmla="*/ 8247 h 10000"/>
                    <a:gd name="connsiteX190" fmla="*/ 2667 w 10000"/>
                    <a:gd name="connsiteY190" fmla="*/ 8247 h 10000"/>
                    <a:gd name="connsiteX191" fmla="*/ 2333 w 10000"/>
                    <a:gd name="connsiteY191" fmla="*/ 8306 h 10000"/>
                    <a:gd name="connsiteX192" fmla="*/ 1833 w 10000"/>
                    <a:gd name="connsiteY192" fmla="*/ 8365 h 10000"/>
                    <a:gd name="connsiteX193" fmla="*/ 1389 w 10000"/>
                    <a:gd name="connsiteY193" fmla="*/ 8395 h 10000"/>
                    <a:gd name="connsiteX194" fmla="*/ 889 w 10000"/>
                    <a:gd name="connsiteY194" fmla="*/ 8409 h 10000"/>
                    <a:gd name="connsiteX195" fmla="*/ 889 w 10000"/>
                    <a:gd name="connsiteY195" fmla="*/ 8409 h 10000"/>
                    <a:gd name="connsiteX196" fmla="*/ 500 w 10000"/>
                    <a:gd name="connsiteY196" fmla="*/ 8424 h 10000"/>
                    <a:gd name="connsiteX197" fmla="*/ 222 w 10000"/>
                    <a:gd name="connsiteY197" fmla="*/ 8439 h 10000"/>
                    <a:gd name="connsiteX198" fmla="*/ 0 w 10000"/>
                    <a:gd name="connsiteY198" fmla="*/ 8454 h 10000"/>
                    <a:gd name="connsiteX199" fmla="*/ 0 w 10000"/>
                    <a:gd name="connsiteY199" fmla="*/ 8454 h 10000"/>
                    <a:gd name="connsiteX200" fmla="*/ 278 w 10000"/>
                    <a:gd name="connsiteY200" fmla="*/ 8689 h 10000"/>
                    <a:gd name="connsiteX201" fmla="*/ 500 w 10000"/>
                    <a:gd name="connsiteY201" fmla="*/ 8866 h 10000"/>
                    <a:gd name="connsiteX202" fmla="*/ 722 w 10000"/>
                    <a:gd name="connsiteY202" fmla="*/ 9013 h 10000"/>
                    <a:gd name="connsiteX203" fmla="*/ 722 w 10000"/>
                    <a:gd name="connsiteY203" fmla="*/ 9013 h 10000"/>
                    <a:gd name="connsiteX204" fmla="*/ 889 w 10000"/>
                    <a:gd name="connsiteY204" fmla="*/ 9102 h 10000"/>
                    <a:gd name="connsiteX205" fmla="*/ 944 w 10000"/>
                    <a:gd name="connsiteY205" fmla="*/ 9175 h 10000"/>
                    <a:gd name="connsiteX206" fmla="*/ 1111 w 10000"/>
                    <a:gd name="connsiteY206" fmla="*/ 9249 h 10000"/>
                    <a:gd name="connsiteX207" fmla="*/ 1333 w 10000"/>
                    <a:gd name="connsiteY207" fmla="*/ 9367 h 10000"/>
                    <a:gd name="connsiteX208" fmla="*/ 1333 w 10000"/>
                    <a:gd name="connsiteY208" fmla="*/ 9367 h 10000"/>
                    <a:gd name="connsiteX209" fmla="*/ 1444 w 10000"/>
                    <a:gd name="connsiteY209" fmla="*/ 9426 h 10000"/>
                    <a:gd name="connsiteX210" fmla="*/ 1500 w 10000"/>
                    <a:gd name="connsiteY210" fmla="*/ 9470 h 10000"/>
                    <a:gd name="connsiteX211" fmla="*/ 1500 w 10000"/>
                    <a:gd name="connsiteY211" fmla="*/ 9514 h 10000"/>
                    <a:gd name="connsiteX212" fmla="*/ 1556 w 10000"/>
                    <a:gd name="connsiteY212" fmla="*/ 9529 h 10000"/>
                    <a:gd name="connsiteX213" fmla="*/ 1722 w 10000"/>
                    <a:gd name="connsiteY213" fmla="*/ 9543 h 10000"/>
                    <a:gd name="connsiteX214" fmla="*/ 1944 w 10000"/>
                    <a:gd name="connsiteY214" fmla="*/ 9558 h 10000"/>
                    <a:gd name="connsiteX215" fmla="*/ 2944 w 10000"/>
                    <a:gd name="connsiteY215" fmla="*/ 9573 h 10000"/>
                    <a:gd name="connsiteX216" fmla="*/ 2944 w 10000"/>
                    <a:gd name="connsiteY216" fmla="*/ 9573 h 10000"/>
                    <a:gd name="connsiteX217" fmla="*/ 4167 w 10000"/>
                    <a:gd name="connsiteY217" fmla="*/ 9602 h 10000"/>
                    <a:gd name="connsiteX218" fmla="*/ 4889 w 10000"/>
                    <a:gd name="connsiteY218" fmla="*/ 9647 h 10000"/>
                    <a:gd name="connsiteX219" fmla="*/ 5278 w 10000"/>
                    <a:gd name="connsiteY219" fmla="*/ 9691 h 10000"/>
                    <a:gd name="connsiteX220" fmla="*/ 5444 w 10000"/>
                    <a:gd name="connsiteY220" fmla="*/ 9705 h 10000"/>
                    <a:gd name="connsiteX221" fmla="*/ 5444 w 10000"/>
                    <a:gd name="connsiteY221" fmla="*/ 9705 h 10000"/>
                    <a:gd name="connsiteX222" fmla="*/ 5722 w 10000"/>
                    <a:gd name="connsiteY222" fmla="*/ 9735 h 10000"/>
                    <a:gd name="connsiteX223" fmla="*/ 5833 w 10000"/>
                    <a:gd name="connsiteY223" fmla="*/ 9750 h 10000"/>
                    <a:gd name="connsiteX224" fmla="*/ 5833 w 10000"/>
                    <a:gd name="connsiteY224" fmla="*/ 9750 h 10000"/>
                    <a:gd name="connsiteX225" fmla="*/ 5833 w 10000"/>
                    <a:gd name="connsiteY225" fmla="*/ 9735 h 10000"/>
                    <a:gd name="connsiteX226" fmla="*/ 5889 w 10000"/>
                    <a:gd name="connsiteY226" fmla="*/ 9720 h 10000"/>
                    <a:gd name="connsiteX227" fmla="*/ 6000 w 10000"/>
                    <a:gd name="connsiteY227" fmla="*/ 9705 h 10000"/>
                    <a:gd name="connsiteX228" fmla="*/ 6167 w 10000"/>
                    <a:gd name="connsiteY228" fmla="*/ 9691 h 10000"/>
                    <a:gd name="connsiteX229" fmla="*/ 6444 w 10000"/>
                    <a:gd name="connsiteY229" fmla="*/ 9691 h 10000"/>
                    <a:gd name="connsiteX230" fmla="*/ 6833 w 10000"/>
                    <a:gd name="connsiteY230" fmla="*/ 9705 h 10000"/>
                    <a:gd name="connsiteX231" fmla="*/ 7278 w 10000"/>
                    <a:gd name="connsiteY231" fmla="*/ 9750 h 10000"/>
                    <a:gd name="connsiteX232" fmla="*/ 7278 w 10000"/>
                    <a:gd name="connsiteY232" fmla="*/ 9750 h 10000"/>
                    <a:gd name="connsiteX233" fmla="*/ 8722 w 10000"/>
                    <a:gd name="connsiteY233" fmla="*/ 9882 h 10000"/>
                    <a:gd name="connsiteX234" fmla="*/ 10000 w 10000"/>
                    <a:gd name="connsiteY23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333 w 10000"/>
                    <a:gd name="connsiteY71" fmla="*/ 4624 h 10000"/>
                    <a:gd name="connsiteX72" fmla="*/ 4056 w 10000"/>
                    <a:gd name="connsiteY72" fmla="*/ 4389 h 10000"/>
                    <a:gd name="connsiteX73" fmla="*/ 2889 w 10000"/>
                    <a:gd name="connsiteY73" fmla="*/ 4227 h 10000"/>
                    <a:gd name="connsiteX74" fmla="*/ 2889 w 10000"/>
                    <a:gd name="connsiteY74" fmla="*/ 4227 h 10000"/>
                    <a:gd name="connsiteX75" fmla="*/ 2389 w 10000"/>
                    <a:gd name="connsiteY75" fmla="*/ 4212 h 10000"/>
                    <a:gd name="connsiteX76" fmla="*/ 2000 w 10000"/>
                    <a:gd name="connsiteY76" fmla="*/ 4197 h 10000"/>
                    <a:gd name="connsiteX77" fmla="*/ 1889 w 10000"/>
                    <a:gd name="connsiteY77" fmla="*/ 4183 h 10000"/>
                    <a:gd name="connsiteX78" fmla="*/ 1778 w 10000"/>
                    <a:gd name="connsiteY78" fmla="*/ 4168 h 10000"/>
                    <a:gd name="connsiteX79" fmla="*/ 1778 w 10000"/>
                    <a:gd name="connsiteY79" fmla="*/ 4168 h 10000"/>
                    <a:gd name="connsiteX80" fmla="*/ 1667 w 10000"/>
                    <a:gd name="connsiteY80" fmla="*/ 4109 h 10000"/>
                    <a:gd name="connsiteX81" fmla="*/ 1500 w 10000"/>
                    <a:gd name="connsiteY81" fmla="*/ 4006 h 10000"/>
                    <a:gd name="connsiteX82" fmla="*/ 1444 w 10000"/>
                    <a:gd name="connsiteY82" fmla="*/ 3947 h 10000"/>
                    <a:gd name="connsiteX83" fmla="*/ 1444 w 10000"/>
                    <a:gd name="connsiteY83" fmla="*/ 3888 h 10000"/>
                    <a:gd name="connsiteX84" fmla="*/ 1444 w 10000"/>
                    <a:gd name="connsiteY84" fmla="*/ 3844 h 10000"/>
                    <a:gd name="connsiteX85" fmla="*/ 1556 w 10000"/>
                    <a:gd name="connsiteY85" fmla="*/ 3800 h 10000"/>
                    <a:gd name="connsiteX86" fmla="*/ 1556 w 10000"/>
                    <a:gd name="connsiteY86" fmla="*/ 3800 h 10000"/>
                    <a:gd name="connsiteX87" fmla="*/ 1833 w 10000"/>
                    <a:gd name="connsiteY87" fmla="*/ 3726 h 10000"/>
                    <a:gd name="connsiteX88" fmla="*/ 2111 w 10000"/>
                    <a:gd name="connsiteY88" fmla="*/ 3652 h 10000"/>
                    <a:gd name="connsiteX89" fmla="*/ 2278 w 10000"/>
                    <a:gd name="connsiteY89" fmla="*/ 3608 h 10000"/>
                    <a:gd name="connsiteX90" fmla="*/ 2389 w 10000"/>
                    <a:gd name="connsiteY90" fmla="*/ 3564 h 10000"/>
                    <a:gd name="connsiteX91" fmla="*/ 2389 w 10000"/>
                    <a:gd name="connsiteY91" fmla="*/ 3505 h 10000"/>
                    <a:gd name="connsiteX92" fmla="*/ 2389 w 10000"/>
                    <a:gd name="connsiteY92" fmla="*/ 3432 h 10000"/>
                    <a:gd name="connsiteX93" fmla="*/ 2389 w 10000"/>
                    <a:gd name="connsiteY93" fmla="*/ 3432 h 10000"/>
                    <a:gd name="connsiteX94" fmla="*/ 2167 w 10000"/>
                    <a:gd name="connsiteY94" fmla="*/ 3225 h 10000"/>
                    <a:gd name="connsiteX95" fmla="*/ 1889 w 10000"/>
                    <a:gd name="connsiteY95" fmla="*/ 2946 h 10000"/>
                    <a:gd name="connsiteX96" fmla="*/ 1667 w 10000"/>
                    <a:gd name="connsiteY96" fmla="*/ 2695 h 10000"/>
                    <a:gd name="connsiteX97" fmla="*/ 1611 w 10000"/>
                    <a:gd name="connsiteY97" fmla="*/ 2622 h 10000"/>
                    <a:gd name="connsiteX98" fmla="*/ 1611 w 10000"/>
                    <a:gd name="connsiteY98" fmla="*/ 2592 h 10000"/>
                    <a:gd name="connsiteX99" fmla="*/ 1667 w 10000"/>
                    <a:gd name="connsiteY99" fmla="*/ 2577 h 10000"/>
                    <a:gd name="connsiteX100" fmla="*/ 1667 w 10000"/>
                    <a:gd name="connsiteY100" fmla="*/ 2577 h 10000"/>
                    <a:gd name="connsiteX101" fmla="*/ 2000 w 10000"/>
                    <a:gd name="connsiteY101" fmla="*/ 2563 h 10000"/>
                    <a:gd name="connsiteX102" fmla="*/ 2222 w 10000"/>
                    <a:gd name="connsiteY102" fmla="*/ 2563 h 10000"/>
                    <a:gd name="connsiteX103" fmla="*/ 2389 w 10000"/>
                    <a:gd name="connsiteY103" fmla="*/ 2577 h 10000"/>
                    <a:gd name="connsiteX104" fmla="*/ 2389 w 10000"/>
                    <a:gd name="connsiteY104" fmla="*/ 2577 h 10000"/>
                    <a:gd name="connsiteX105" fmla="*/ 2444 w 10000"/>
                    <a:gd name="connsiteY105" fmla="*/ 2577 h 10000"/>
                    <a:gd name="connsiteX106" fmla="*/ 2500 w 10000"/>
                    <a:gd name="connsiteY106" fmla="*/ 2548 h 10000"/>
                    <a:gd name="connsiteX107" fmla="*/ 2778 w 10000"/>
                    <a:gd name="connsiteY107" fmla="*/ 2459 h 10000"/>
                    <a:gd name="connsiteX108" fmla="*/ 3500 w 10000"/>
                    <a:gd name="connsiteY108" fmla="*/ 2165 h 10000"/>
                    <a:gd name="connsiteX109" fmla="*/ 4444 w 10000"/>
                    <a:gd name="connsiteY109" fmla="*/ 1738 h 10000"/>
                    <a:gd name="connsiteX110" fmla="*/ 4444 w 10000"/>
                    <a:gd name="connsiteY110" fmla="*/ 1738 h 10000"/>
                    <a:gd name="connsiteX111" fmla="*/ 4444 w 10000"/>
                    <a:gd name="connsiteY111" fmla="*/ 1679 h 10000"/>
                    <a:gd name="connsiteX112" fmla="*/ 4444 w 10000"/>
                    <a:gd name="connsiteY112" fmla="*/ 1546 h 10000"/>
                    <a:gd name="connsiteX113" fmla="*/ 4500 w 10000"/>
                    <a:gd name="connsiteY113" fmla="*/ 1458 h 10000"/>
                    <a:gd name="connsiteX114" fmla="*/ 4611 w 10000"/>
                    <a:gd name="connsiteY114" fmla="*/ 1384 h 10000"/>
                    <a:gd name="connsiteX115" fmla="*/ 4778 w 10000"/>
                    <a:gd name="connsiteY115" fmla="*/ 1296 h 10000"/>
                    <a:gd name="connsiteX116" fmla="*/ 5000 w 10000"/>
                    <a:gd name="connsiteY116" fmla="*/ 1222 h 10000"/>
                    <a:gd name="connsiteX117" fmla="*/ 5000 w 10000"/>
                    <a:gd name="connsiteY117" fmla="*/ 1222 h 10000"/>
                    <a:gd name="connsiteX118" fmla="*/ 5556 w 10000"/>
                    <a:gd name="connsiteY118" fmla="*/ 1075 h 10000"/>
                    <a:gd name="connsiteX119" fmla="*/ 6111 w 10000"/>
                    <a:gd name="connsiteY119" fmla="*/ 884 h 10000"/>
                    <a:gd name="connsiteX120" fmla="*/ 6667 w 10000"/>
                    <a:gd name="connsiteY120" fmla="*/ 707 h 10000"/>
                    <a:gd name="connsiteX121" fmla="*/ 7056 w 10000"/>
                    <a:gd name="connsiteY121" fmla="*/ 545 h 10000"/>
                    <a:gd name="connsiteX122" fmla="*/ 7056 w 10000"/>
                    <a:gd name="connsiteY122" fmla="*/ 545 h 10000"/>
                    <a:gd name="connsiteX123" fmla="*/ 7333 w 10000"/>
                    <a:gd name="connsiteY123" fmla="*/ 398 h 10000"/>
                    <a:gd name="connsiteX124" fmla="*/ 7667 w 10000"/>
                    <a:gd name="connsiteY124" fmla="*/ 221 h 10000"/>
                    <a:gd name="connsiteX125" fmla="*/ 8000 w 10000"/>
                    <a:gd name="connsiteY125" fmla="*/ 88 h 10000"/>
                    <a:gd name="connsiteX126" fmla="*/ 8167 w 10000"/>
                    <a:gd name="connsiteY126" fmla="*/ 29 h 10000"/>
                    <a:gd name="connsiteX127" fmla="*/ 8333 w 10000"/>
                    <a:gd name="connsiteY127" fmla="*/ 15 h 10000"/>
                    <a:gd name="connsiteX128" fmla="*/ 8333 w 10000"/>
                    <a:gd name="connsiteY128" fmla="*/ 15 h 10000"/>
                    <a:gd name="connsiteX129" fmla="*/ 8667 w 10000"/>
                    <a:gd name="connsiteY129" fmla="*/ 0 h 10000"/>
                    <a:gd name="connsiteX130" fmla="*/ 9111 w 10000"/>
                    <a:gd name="connsiteY130" fmla="*/ 0 h 10000"/>
                    <a:gd name="connsiteX131" fmla="*/ 10000 w 10000"/>
                    <a:gd name="connsiteY131" fmla="*/ 15 h 10000"/>
                    <a:gd name="connsiteX132" fmla="*/ 10000 w 10000"/>
                    <a:gd name="connsiteY132" fmla="*/ 9013 h 10000"/>
                    <a:gd name="connsiteX133" fmla="*/ 10000 w 10000"/>
                    <a:gd name="connsiteY133" fmla="*/ 9013 h 10000"/>
                    <a:gd name="connsiteX134" fmla="*/ 9722 w 10000"/>
                    <a:gd name="connsiteY134" fmla="*/ 8999 h 10000"/>
                    <a:gd name="connsiteX135" fmla="*/ 9389 w 10000"/>
                    <a:gd name="connsiteY135" fmla="*/ 9013 h 10000"/>
                    <a:gd name="connsiteX136" fmla="*/ 9389 w 10000"/>
                    <a:gd name="connsiteY136" fmla="*/ 9013 h 10000"/>
                    <a:gd name="connsiteX137" fmla="*/ 9278 w 10000"/>
                    <a:gd name="connsiteY137" fmla="*/ 9028 h 10000"/>
                    <a:gd name="connsiteX138" fmla="*/ 9056 w 10000"/>
                    <a:gd name="connsiteY138" fmla="*/ 9013 h 10000"/>
                    <a:gd name="connsiteX139" fmla="*/ 8889 w 10000"/>
                    <a:gd name="connsiteY139" fmla="*/ 8999 h 10000"/>
                    <a:gd name="connsiteX140" fmla="*/ 8722 w 10000"/>
                    <a:gd name="connsiteY140" fmla="*/ 8969 h 10000"/>
                    <a:gd name="connsiteX141" fmla="*/ 8611 w 10000"/>
                    <a:gd name="connsiteY141" fmla="*/ 8925 h 10000"/>
                    <a:gd name="connsiteX142" fmla="*/ 8444 w 10000"/>
                    <a:gd name="connsiteY142" fmla="*/ 8851 h 10000"/>
                    <a:gd name="connsiteX143" fmla="*/ 8444 w 10000"/>
                    <a:gd name="connsiteY143" fmla="*/ 8851 h 10000"/>
                    <a:gd name="connsiteX144" fmla="*/ 8222 w 10000"/>
                    <a:gd name="connsiteY144" fmla="*/ 8719 h 10000"/>
                    <a:gd name="connsiteX145" fmla="*/ 8111 w 10000"/>
                    <a:gd name="connsiteY145" fmla="*/ 8660 h 10000"/>
                    <a:gd name="connsiteX146" fmla="*/ 7944 w 10000"/>
                    <a:gd name="connsiteY146" fmla="*/ 8616 h 10000"/>
                    <a:gd name="connsiteX147" fmla="*/ 7778 w 10000"/>
                    <a:gd name="connsiteY147" fmla="*/ 8586 h 10000"/>
                    <a:gd name="connsiteX148" fmla="*/ 7556 w 10000"/>
                    <a:gd name="connsiteY148" fmla="*/ 8571 h 10000"/>
                    <a:gd name="connsiteX149" fmla="*/ 7333 w 10000"/>
                    <a:gd name="connsiteY149" fmla="*/ 8557 h 10000"/>
                    <a:gd name="connsiteX150" fmla="*/ 7000 w 10000"/>
                    <a:gd name="connsiteY150" fmla="*/ 8542 h 10000"/>
                    <a:gd name="connsiteX151" fmla="*/ 7000 w 10000"/>
                    <a:gd name="connsiteY151" fmla="*/ 8542 h 10000"/>
                    <a:gd name="connsiteX152" fmla="*/ 6556 w 10000"/>
                    <a:gd name="connsiteY152" fmla="*/ 8557 h 10000"/>
                    <a:gd name="connsiteX153" fmla="*/ 6222 w 10000"/>
                    <a:gd name="connsiteY153" fmla="*/ 8557 h 10000"/>
                    <a:gd name="connsiteX154" fmla="*/ 6111 w 10000"/>
                    <a:gd name="connsiteY154" fmla="*/ 8542 h 10000"/>
                    <a:gd name="connsiteX155" fmla="*/ 6056 w 10000"/>
                    <a:gd name="connsiteY155" fmla="*/ 8527 h 10000"/>
                    <a:gd name="connsiteX156" fmla="*/ 6056 w 10000"/>
                    <a:gd name="connsiteY156" fmla="*/ 8527 h 10000"/>
                    <a:gd name="connsiteX157" fmla="*/ 6056 w 10000"/>
                    <a:gd name="connsiteY157" fmla="*/ 8262 h 10000"/>
                    <a:gd name="connsiteX158" fmla="*/ 6056 w 10000"/>
                    <a:gd name="connsiteY158" fmla="*/ 8262 h 10000"/>
                    <a:gd name="connsiteX159" fmla="*/ 6056 w 10000"/>
                    <a:gd name="connsiteY159" fmla="*/ 8203 h 10000"/>
                    <a:gd name="connsiteX160" fmla="*/ 5944 w 10000"/>
                    <a:gd name="connsiteY160" fmla="*/ 8130 h 10000"/>
                    <a:gd name="connsiteX161" fmla="*/ 5889 w 10000"/>
                    <a:gd name="connsiteY161" fmla="*/ 8115 h 10000"/>
                    <a:gd name="connsiteX162" fmla="*/ 5778 w 10000"/>
                    <a:gd name="connsiteY162" fmla="*/ 8100 h 10000"/>
                    <a:gd name="connsiteX163" fmla="*/ 5667 w 10000"/>
                    <a:gd name="connsiteY163" fmla="*/ 8100 h 10000"/>
                    <a:gd name="connsiteX164" fmla="*/ 5500 w 10000"/>
                    <a:gd name="connsiteY164" fmla="*/ 8115 h 10000"/>
                    <a:gd name="connsiteX165" fmla="*/ 5500 w 10000"/>
                    <a:gd name="connsiteY165" fmla="*/ 8115 h 10000"/>
                    <a:gd name="connsiteX166" fmla="*/ 4889 w 10000"/>
                    <a:gd name="connsiteY166" fmla="*/ 8218 h 10000"/>
                    <a:gd name="connsiteX167" fmla="*/ 4611 w 10000"/>
                    <a:gd name="connsiteY167" fmla="*/ 8247 h 10000"/>
                    <a:gd name="connsiteX168" fmla="*/ 4556 w 10000"/>
                    <a:gd name="connsiteY168" fmla="*/ 8262 h 10000"/>
                    <a:gd name="connsiteX169" fmla="*/ 4500 w 10000"/>
                    <a:gd name="connsiteY169" fmla="*/ 8247 h 10000"/>
                    <a:gd name="connsiteX170" fmla="*/ 4500 w 10000"/>
                    <a:gd name="connsiteY170" fmla="*/ 8247 h 10000"/>
                    <a:gd name="connsiteX171" fmla="*/ 4222 w 10000"/>
                    <a:gd name="connsiteY171" fmla="*/ 8100 h 10000"/>
                    <a:gd name="connsiteX172" fmla="*/ 4222 w 10000"/>
                    <a:gd name="connsiteY172" fmla="*/ 8100 h 10000"/>
                    <a:gd name="connsiteX173" fmla="*/ 4111 w 10000"/>
                    <a:gd name="connsiteY173" fmla="*/ 8027 h 10000"/>
                    <a:gd name="connsiteX174" fmla="*/ 4111 w 10000"/>
                    <a:gd name="connsiteY174" fmla="*/ 7982 h 10000"/>
                    <a:gd name="connsiteX175" fmla="*/ 4111 w 10000"/>
                    <a:gd name="connsiteY175" fmla="*/ 7938 h 10000"/>
                    <a:gd name="connsiteX176" fmla="*/ 4111 w 10000"/>
                    <a:gd name="connsiteY176" fmla="*/ 7938 h 10000"/>
                    <a:gd name="connsiteX177" fmla="*/ 4278 w 10000"/>
                    <a:gd name="connsiteY177" fmla="*/ 7894 h 10000"/>
                    <a:gd name="connsiteX178" fmla="*/ 4389 w 10000"/>
                    <a:gd name="connsiteY178" fmla="*/ 7879 h 10000"/>
                    <a:gd name="connsiteX179" fmla="*/ 4389 w 10000"/>
                    <a:gd name="connsiteY179" fmla="*/ 7879 h 10000"/>
                    <a:gd name="connsiteX180" fmla="*/ 4000 w 10000"/>
                    <a:gd name="connsiteY180" fmla="*/ 7879 h 10000"/>
                    <a:gd name="connsiteX181" fmla="*/ 3722 w 10000"/>
                    <a:gd name="connsiteY181" fmla="*/ 7894 h 10000"/>
                    <a:gd name="connsiteX182" fmla="*/ 3611 w 10000"/>
                    <a:gd name="connsiteY182" fmla="*/ 7909 h 10000"/>
                    <a:gd name="connsiteX183" fmla="*/ 3556 w 10000"/>
                    <a:gd name="connsiteY183" fmla="*/ 7923 h 10000"/>
                    <a:gd name="connsiteX184" fmla="*/ 3556 w 10000"/>
                    <a:gd name="connsiteY184" fmla="*/ 7923 h 10000"/>
                    <a:gd name="connsiteX185" fmla="*/ 3444 w 10000"/>
                    <a:gd name="connsiteY185" fmla="*/ 7982 h 10000"/>
                    <a:gd name="connsiteX186" fmla="*/ 3278 w 10000"/>
                    <a:gd name="connsiteY186" fmla="*/ 8071 h 10000"/>
                    <a:gd name="connsiteX187" fmla="*/ 3000 w 10000"/>
                    <a:gd name="connsiteY187" fmla="*/ 8174 h 10000"/>
                    <a:gd name="connsiteX188" fmla="*/ 2667 w 10000"/>
                    <a:gd name="connsiteY188" fmla="*/ 8247 h 10000"/>
                    <a:gd name="connsiteX189" fmla="*/ 2667 w 10000"/>
                    <a:gd name="connsiteY189" fmla="*/ 8247 h 10000"/>
                    <a:gd name="connsiteX190" fmla="*/ 2333 w 10000"/>
                    <a:gd name="connsiteY190" fmla="*/ 8306 h 10000"/>
                    <a:gd name="connsiteX191" fmla="*/ 1833 w 10000"/>
                    <a:gd name="connsiteY191" fmla="*/ 8365 h 10000"/>
                    <a:gd name="connsiteX192" fmla="*/ 1389 w 10000"/>
                    <a:gd name="connsiteY192" fmla="*/ 8395 h 10000"/>
                    <a:gd name="connsiteX193" fmla="*/ 889 w 10000"/>
                    <a:gd name="connsiteY193" fmla="*/ 8409 h 10000"/>
                    <a:gd name="connsiteX194" fmla="*/ 889 w 10000"/>
                    <a:gd name="connsiteY194" fmla="*/ 8409 h 10000"/>
                    <a:gd name="connsiteX195" fmla="*/ 500 w 10000"/>
                    <a:gd name="connsiteY195" fmla="*/ 8424 h 10000"/>
                    <a:gd name="connsiteX196" fmla="*/ 222 w 10000"/>
                    <a:gd name="connsiteY196" fmla="*/ 8439 h 10000"/>
                    <a:gd name="connsiteX197" fmla="*/ 0 w 10000"/>
                    <a:gd name="connsiteY197" fmla="*/ 8454 h 10000"/>
                    <a:gd name="connsiteX198" fmla="*/ 0 w 10000"/>
                    <a:gd name="connsiteY198" fmla="*/ 8454 h 10000"/>
                    <a:gd name="connsiteX199" fmla="*/ 278 w 10000"/>
                    <a:gd name="connsiteY199" fmla="*/ 8689 h 10000"/>
                    <a:gd name="connsiteX200" fmla="*/ 500 w 10000"/>
                    <a:gd name="connsiteY200" fmla="*/ 8866 h 10000"/>
                    <a:gd name="connsiteX201" fmla="*/ 722 w 10000"/>
                    <a:gd name="connsiteY201" fmla="*/ 9013 h 10000"/>
                    <a:gd name="connsiteX202" fmla="*/ 722 w 10000"/>
                    <a:gd name="connsiteY202" fmla="*/ 9013 h 10000"/>
                    <a:gd name="connsiteX203" fmla="*/ 889 w 10000"/>
                    <a:gd name="connsiteY203" fmla="*/ 9102 h 10000"/>
                    <a:gd name="connsiteX204" fmla="*/ 944 w 10000"/>
                    <a:gd name="connsiteY204" fmla="*/ 9175 h 10000"/>
                    <a:gd name="connsiteX205" fmla="*/ 1111 w 10000"/>
                    <a:gd name="connsiteY205" fmla="*/ 9249 h 10000"/>
                    <a:gd name="connsiteX206" fmla="*/ 1333 w 10000"/>
                    <a:gd name="connsiteY206" fmla="*/ 9367 h 10000"/>
                    <a:gd name="connsiteX207" fmla="*/ 1333 w 10000"/>
                    <a:gd name="connsiteY207" fmla="*/ 9367 h 10000"/>
                    <a:gd name="connsiteX208" fmla="*/ 1444 w 10000"/>
                    <a:gd name="connsiteY208" fmla="*/ 9426 h 10000"/>
                    <a:gd name="connsiteX209" fmla="*/ 1500 w 10000"/>
                    <a:gd name="connsiteY209" fmla="*/ 9470 h 10000"/>
                    <a:gd name="connsiteX210" fmla="*/ 1500 w 10000"/>
                    <a:gd name="connsiteY210" fmla="*/ 9514 h 10000"/>
                    <a:gd name="connsiteX211" fmla="*/ 1556 w 10000"/>
                    <a:gd name="connsiteY211" fmla="*/ 9529 h 10000"/>
                    <a:gd name="connsiteX212" fmla="*/ 1722 w 10000"/>
                    <a:gd name="connsiteY212" fmla="*/ 9543 h 10000"/>
                    <a:gd name="connsiteX213" fmla="*/ 1944 w 10000"/>
                    <a:gd name="connsiteY213" fmla="*/ 9558 h 10000"/>
                    <a:gd name="connsiteX214" fmla="*/ 2944 w 10000"/>
                    <a:gd name="connsiteY214" fmla="*/ 9573 h 10000"/>
                    <a:gd name="connsiteX215" fmla="*/ 2944 w 10000"/>
                    <a:gd name="connsiteY215" fmla="*/ 9573 h 10000"/>
                    <a:gd name="connsiteX216" fmla="*/ 4167 w 10000"/>
                    <a:gd name="connsiteY216" fmla="*/ 9602 h 10000"/>
                    <a:gd name="connsiteX217" fmla="*/ 4889 w 10000"/>
                    <a:gd name="connsiteY217" fmla="*/ 9647 h 10000"/>
                    <a:gd name="connsiteX218" fmla="*/ 5278 w 10000"/>
                    <a:gd name="connsiteY218" fmla="*/ 9691 h 10000"/>
                    <a:gd name="connsiteX219" fmla="*/ 5444 w 10000"/>
                    <a:gd name="connsiteY219" fmla="*/ 9705 h 10000"/>
                    <a:gd name="connsiteX220" fmla="*/ 5444 w 10000"/>
                    <a:gd name="connsiteY220" fmla="*/ 9705 h 10000"/>
                    <a:gd name="connsiteX221" fmla="*/ 5722 w 10000"/>
                    <a:gd name="connsiteY221" fmla="*/ 9735 h 10000"/>
                    <a:gd name="connsiteX222" fmla="*/ 5833 w 10000"/>
                    <a:gd name="connsiteY222" fmla="*/ 9750 h 10000"/>
                    <a:gd name="connsiteX223" fmla="*/ 5833 w 10000"/>
                    <a:gd name="connsiteY223" fmla="*/ 9750 h 10000"/>
                    <a:gd name="connsiteX224" fmla="*/ 5833 w 10000"/>
                    <a:gd name="connsiteY224" fmla="*/ 9735 h 10000"/>
                    <a:gd name="connsiteX225" fmla="*/ 5889 w 10000"/>
                    <a:gd name="connsiteY225" fmla="*/ 9720 h 10000"/>
                    <a:gd name="connsiteX226" fmla="*/ 6000 w 10000"/>
                    <a:gd name="connsiteY226" fmla="*/ 9705 h 10000"/>
                    <a:gd name="connsiteX227" fmla="*/ 6167 w 10000"/>
                    <a:gd name="connsiteY227" fmla="*/ 9691 h 10000"/>
                    <a:gd name="connsiteX228" fmla="*/ 6444 w 10000"/>
                    <a:gd name="connsiteY228" fmla="*/ 9691 h 10000"/>
                    <a:gd name="connsiteX229" fmla="*/ 6833 w 10000"/>
                    <a:gd name="connsiteY229" fmla="*/ 9705 h 10000"/>
                    <a:gd name="connsiteX230" fmla="*/ 7278 w 10000"/>
                    <a:gd name="connsiteY230" fmla="*/ 9750 h 10000"/>
                    <a:gd name="connsiteX231" fmla="*/ 7278 w 10000"/>
                    <a:gd name="connsiteY231" fmla="*/ 9750 h 10000"/>
                    <a:gd name="connsiteX232" fmla="*/ 8722 w 10000"/>
                    <a:gd name="connsiteY232" fmla="*/ 9882 h 10000"/>
                    <a:gd name="connsiteX233" fmla="*/ 10000 w 10000"/>
                    <a:gd name="connsiteY23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056 w 10000"/>
                    <a:gd name="connsiteY71" fmla="*/ 4389 h 10000"/>
                    <a:gd name="connsiteX72" fmla="*/ 2889 w 10000"/>
                    <a:gd name="connsiteY72" fmla="*/ 4227 h 10000"/>
                    <a:gd name="connsiteX73" fmla="*/ 2889 w 10000"/>
                    <a:gd name="connsiteY73" fmla="*/ 4227 h 10000"/>
                    <a:gd name="connsiteX74" fmla="*/ 2389 w 10000"/>
                    <a:gd name="connsiteY74" fmla="*/ 4212 h 10000"/>
                    <a:gd name="connsiteX75" fmla="*/ 2000 w 10000"/>
                    <a:gd name="connsiteY75" fmla="*/ 4197 h 10000"/>
                    <a:gd name="connsiteX76" fmla="*/ 1889 w 10000"/>
                    <a:gd name="connsiteY76" fmla="*/ 4183 h 10000"/>
                    <a:gd name="connsiteX77" fmla="*/ 1778 w 10000"/>
                    <a:gd name="connsiteY77" fmla="*/ 4168 h 10000"/>
                    <a:gd name="connsiteX78" fmla="*/ 1778 w 10000"/>
                    <a:gd name="connsiteY78" fmla="*/ 4168 h 10000"/>
                    <a:gd name="connsiteX79" fmla="*/ 1667 w 10000"/>
                    <a:gd name="connsiteY79" fmla="*/ 4109 h 10000"/>
                    <a:gd name="connsiteX80" fmla="*/ 1500 w 10000"/>
                    <a:gd name="connsiteY80" fmla="*/ 4006 h 10000"/>
                    <a:gd name="connsiteX81" fmla="*/ 1444 w 10000"/>
                    <a:gd name="connsiteY81" fmla="*/ 3947 h 10000"/>
                    <a:gd name="connsiteX82" fmla="*/ 1444 w 10000"/>
                    <a:gd name="connsiteY82" fmla="*/ 3888 h 10000"/>
                    <a:gd name="connsiteX83" fmla="*/ 1444 w 10000"/>
                    <a:gd name="connsiteY83" fmla="*/ 3844 h 10000"/>
                    <a:gd name="connsiteX84" fmla="*/ 1556 w 10000"/>
                    <a:gd name="connsiteY84" fmla="*/ 3800 h 10000"/>
                    <a:gd name="connsiteX85" fmla="*/ 1556 w 10000"/>
                    <a:gd name="connsiteY85" fmla="*/ 3800 h 10000"/>
                    <a:gd name="connsiteX86" fmla="*/ 1833 w 10000"/>
                    <a:gd name="connsiteY86" fmla="*/ 3726 h 10000"/>
                    <a:gd name="connsiteX87" fmla="*/ 2111 w 10000"/>
                    <a:gd name="connsiteY87" fmla="*/ 3652 h 10000"/>
                    <a:gd name="connsiteX88" fmla="*/ 2278 w 10000"/>
                    <a:gd name="connsiteY88" fmla="*/ 3608 h 10000"/>
                    <a:gd name="connsiteX89" fmla="*/ 2389 w 10000"/>
                    <a:gd name="connsiteY89" fmla="*/ 3564 h 10000"/>
                    <a:gd name="connsiteX90" fmla="*/ 2389 w 10000"/>
                    <a:gd name="connsiteY90" fmla="*/ 3505 h 10000"/>
                    <a:gd name="connsiteX91" fmla="*/ 2389 w 10000"/>
                    <a:gd name="connsiteY91" fmla="*/ 3432 h 10000"/>
                    <a:gd name="connsiteX92" fmla="*/ 2389 w 10000"/>
                    <a:gd name="connsiteY92" fmla="*/ 3432 h 10000"/>
                    <a:gd name="connsiteX93" fmla="*/ 2167 w 10000"/>
                    <a:gd name="connsiteY93" fmla="*/ 3225 h 10000"/>
                    <a:gd name="connsiteX94" fmla="*/ 1889 w 10000"/>
                    <a:gd name="connsiteY94" fmla="*/ 2946 h 10000"/>
                    <a:gd name="connsiteX95" fmla="*/ 1667 w 10000"/>
                    <a:gd name="connsiteY95" fmla="*/ 2695 h 10000"/>
                    <a:gd name="connsiteX96" fmla="*/ 1611 w 10000"/>
                    <a:gd name="connsiteY96" fmla="*/ 2622 h 10000"/>
                    <a:gd name="connsiteX97" fmla="*/ 1611 w 10000"/>
                    <a:gd name="connsiteY97" fmla="*/ 2592 h 10000"/>
                    <a:gd name="connsiteX98" fmla="*/ 1667 w 10000"/>
                    <a:gd name="connsiteY98" fmla="*/ 2577 h 10000"/>
                    <a:gd name="connsiteX99" fmla="*/ 1667 w 10000"/>
                    <a:gd name="connsiteY99" fmla="*/ 2577 h 10000"/>
                    <a:gd name="connsiteX100" fmla="*/ 2000 w 10000"/>
                    <a:gd name="connsiteY100" fmla="*/ 2563 h 10000"/>
                    <a:gd name="connsiteX101" fmla="*/ 2222 w 10000"/>
                    <a:gd name="connsiteY101" fmla="*/ 2563 h 10000"/>
                    <a:gd name="connsiteX102" fmla="*/ 2389 w 10000"/>
                    <a:gd name="connsiteY102" fmla="*/ 2577 h 10000"/>
                    <a:gd name="connsiteX103" fmla="*/ 2389 w 10000"/>
                    <a:gd name="connsiteY103" fmla="*/ 2577 h 10000"/>
                    <a:gd name="connsiteX104" fmla="*/ 2444 w 10000"/>
                    <a:gd name="connsiteY104" fmla="*/ 2577 h 10000"/>
                    <a:gd name="connsiteX105" fmla="*/ 2500 w 10000"/>
                    <a:gd name="connsiteY105" fmla="*/ 2548 h 10000"/>
                    <a:gd name="connsiteX106" fmla="*/ 2778 w 10000"/>
                    <a:gd name="connsiteY106" fmla="*/ 2459 h 10000"/>
                    <a:gd name="connsiteX107" fmla="*/ 3500 w 10000"/>
                    <a:gd name="connsiteY107" fmla="*/ 2165 h 10000"/>
                    <a:gd name="connsiteX108" fmla="*/ 4444 w 10000"/>
                    <a:gd name="connsiteY108" fmla="*/ 1738 h 10000"/>
                    <a:gd name="connsiteX109" fmla="*/ 4444 w 10000"/>
                    <a:gd name="connsiteY109" fmla="*/ 1738 h 10000"/>
                    <a:gd name="connsiteX110" fmla="*/ 4444 w 10000"/>
                    <a:gd name="connsiteY110" fmla="*/ 1679 h 10000"/>
                    <a:gd name="connsiteX111" fmla="*/ 4444 w 10000"/>
                    <a:gd name="connsiteY111" fmla="*/ 1546 h 10000"/>
                    <a:gd name="connsiteX112" fmla="*/ 4500 w 10000"/>
                    <a:gd name="connsiteY112" fmla="*/ 1458 h 10000"/>
                    <a:gd name="connsiteX113" fmla="*/ 4611 w 10000"/>
                    <a:gd name="connsiteY113" fmla="*/ 1384 h 10000"/>
                    <a:gd name="connsiteX114" fmla="*/ 4778 w 10000"/>
                    <a:gd name="connsiteY114" fmla="*/ 1296 h 10000"/>
                    <a:gd name="connsiteX115" fmla="*/ 5000 w 10000"/>
                    <a:gd name="connsiteY115" fmla="*/ 1222 h 10000"/>
                    <a:gd name="connsiteX116" fmla="*/ 5000 w 10000"/>
                    <a:gd name="connsiteY116" fmla="*/ 1222 h 10000"/>
                    <a:gd name="connsiteX117" fmla="*/ 5556 w 10000"/>
                    <a:gd name="connsiteY117" fmla="*/ 1075 h 10000"/>
                    <a:gd name="connsiteX118" fmla="*/ 6111 w 10000"/>
                    <a:gd name="connsiteY118" fmla="*/ 884 h 10000"/>
                    <a:gd name="connsiteX119" fmla="*/ 6667 w 10000"/>
                    <a:gd name="connsiteY119" fmla="*/ 707 h 10000"/>
                    <a:gd name="connsiteX120" fmla="*/ 7056 w 10000"/>
                    <a:gd name="connsiteY120" fmla="*/ 545 h 10000"/>
                    <a:gd name="connsiteX121" fmla="*/ 7056 w 10000"/>
                    <a:gd name="connsiteY121" fmla="*/ 545 h 10000"/>
                    <a:gd name="connsiteX122" fmla="*/ 7333 w 10000"/>
                    <a:gd name="connsiteY122" fmla="*/ 398 h 10000"/>
                    <a:gd name="connsiteX123" fmla="*/ 7667 w 10000"/>
                    <a:gd name="connsiteY123" fmla="*/ 221 h 10000"/>
                    <a:gd name="connsiteX124" fmla="*/ 8000 w 10000"/>
                    <a:gd name="connsiteY124" fmla="*/ 88 h 10000"/>
                    <a:gd name="connsiteX125" fmla="*/ 8167 w 10000"/>
                    <a:gd name="connsiteY125" fmla="*/ 29 h 10000"/>
                    <a:gd name="connsiteX126" fmla="*/ 8333 w 10000"/>
                    <a:gd name="connsiteY126" fmla="*/ 15 h 10000"/>
                    <a:gd name="connsiteX127" fmla="*/ 8333 w 10000"/>
                    <a:gd name="connsiteY127" fmla="*/ 15 h 10000"/>
                    <a:gd name="connsiteX128" fmla="*/ 8667 w 10000"/>
                    <a:gd name="connsiteY128" fmla="*/ 0 h 10000"/>
                    <a:gd name="connsiteX129" fmla="*/ 9111 w 10000"/>
                    <a:gd name="connsiteY129" fmla="*/ 0 h 10000"/>
                    <a:gd name="connsiteX130" fmla="*/ 10000 w 10000"/>
                    <a:gd name="connsiteY130" fmla="*/ 15 h 10000"/>
                    <a:gd name="connsiteX131" fmla="*/ 10000 w 10000"/>
                    <a:gd name="connsiteY131" fmla="*/ 9013 h 10000"/>
                    <a:gd name="connsiteX132" fmla="*/ 10000 w 10000"/>
                    <a:gd name="connsiteY132" fmla="*/ 9013 h 10000"/>
                    <a:gd name="connsiteX133" fmla="*/ 9722 w 10000"/>
                    <a:gd name="connsiteY133" fmla="*/ 8999 h 10000"/>
                    <a:gd name="connsiteX134" fmla="*/ 9389 w 10000"/>
                    <a:gd name="connsiteY134" fmla="*/ 9013 h 10000"/>
                    <a:gd name="connsiteX135" fmla="*/ 9389 w 10000"/>
                    <a:gd name="connsiteY135" fmla="*/ 9013 h 10000"/>
                    <a:gd name="connsiteX136" fmla="*/ 9278 w 10000"/>
                    <a:gd name="connsiteY136" fmla="*/ 9028 h 10000"/>
                    <a:gd name="connsiteX137" fmla="*/ 9056 w 10000"/>
                    <a:gd name="connsiteY137" fmla="*/ 9013 h 10000"/>
                    <a:gd name="connsiteX138" fmla="*/ 8889 w 10000"/>
                    <a:gd name="connsiteY138" fmla="*/ 8999 h 10000"/>
                    <a:gd name="connsiteX139" fmla="*/ 8722 w 10000"/>
                    <a:gd name="connsiteY139" fmla="*/ 8969 h 10000"/>
                    <a:gd name="connsiteX140" fmla="*/ 8611 w 10000"/>
                    <a:gd name="connsiteY140" fmla="*/ 8925 h 10000"/>
                    <a:gd name="connsiteX141" fmla="*/ 8444 w 10000"/>
                    <a:gd name="connsiteY141" fmla="*/ 8851 h 10000"/>
                    <a:gd name="connsiteX142" fmla="*/ 8444 w 10000"/>
                    <a:gd name="connsiteY142" fmla="*/ 8851 h 10000"/>
                    <a:gd name="connsiteX143" fmla="*/ 8222 w 10000"/>
                    <a:gd name="connsiteY143" fmla="*/ 8719 h 10000"/>
                    <a:gd name="connsiteX144" fmla="*/ 8111 w 10000"/>
                    <a:gd name="connsiteY144" fmla="*/ 8660 h 10000"/>
                    <a:gd name="connsiteX145" fmla="*/ 7944 w 10000"/>
                    <a:gd name="connsiteY145" fmla="*/ 8616 h 10000"/>
                    <a:gd name="connsiteX146" fmla="*/ 7778 w 10000"/>
                    <a:gd name="connsiteY146" fmla="*/ 8586 h 10000"/>
                    <a:gd name="connsiteX147" fmla="*/ 7556 w 10000"/>
                    <a:gd name="connsiteY147" fmla="*/ 8571 h 10000"/>
                    <a:gd name="connsiteX148" fmla="*/ 7333 w 10000"/>
                    <a:gd name="connsiteY148" fmla="*/ 8557 h 10000"/>
                    <a:gd name="connsiteX149" fmla="*/ 7000 w 10000"/>
                    <a:gd name="connsiteY149" fmla="*/ 8542 h 10000"/>
                    <a:gd name="connsiteX150" fmla="*/ 7000 w 10000"/>
                    <a:gd name="connsiteY150" fmla="*/ 8542 h 10000"/>
                    <a:gd name="connsiteX151" fmla="*/ 6556 w 10000"/>
                    <a:gd name="connsiteY151" fmla="*/ 8557 h 10000"/>
                    <a:gd name="connsiteX152" fmla="*/ 6222 w 10000"/>
                    <a:gd name="connsiteY152" fmla="*/ 8557 h 10000"/>
                    <a:gd name="connsiteX153" fmla="*/ 6111 w 10000"/>
                    <a:gd name="connsiteY153" fmla="*/ 8542 h 10000"/>
                    <a:gd name="connsiteX154" fmla="*/ 6056 w 10000"/>
                    <a:gd name="connsiteY154" fmla="*/ 8527 h 10000"/>
                    <a:gd name="connsiteX155" fmla="*/ 6056 w 10000"/>
                    <a:gd name="connsiteY155" fmla="*/ 8527 h 10000"/>
                    <a:gd name="connsiteX156" fmla="*/ 6056 w 10000"/>
                    <a:gd name="connsiteY156" fmla="*/ 8262 h 10000"/>
                    <a:gd name="connsiteX157" fmla="*/ 6056 w 10000"/>
                    <a:gd name="connsiteY157" fmla="*/ 8262 h 10000"/>
                    <a:gd name="connsiteX158" fmla="*/ 6056 w 10000"/>
                    <a:gd name="connsiteY158" fmla="*/ 8203 h 10000"/>
                    <a:gd name="connsiteX159" fmla="*/ 5944 w 10000"/>
                    <a:gd name="connsiteY159" fmla="*/ 8130 h 10000"/>
                    <a:gd name="connsiteX160" fmla="*/ 5889 w 10000"/>
                    <a:gd name="connsiteY160" fmla="*/ 8115 h 10000"/>
                    <a:gd name="connsiteX161" fmla="*/ 5778 w 10000"/>
                    <a:gd name="connsiteY161" fmla="*/ 8100 h 10000"/>
                    <a:gd name="connsiteX162" fmla="*/ 5667 w 10000"/>
                    <a:gd name="connsiteY162" fmla="*/ 8100 h 10000"/>
                    <a:gd name="connsiteX163" fmla="*/ 5500 w 10000"/>
                    <a:gd name="connsiteY163" fmla="*/ 8115 h 10000"/>
                    <a:gd name="connsiteX164" fmla="*/ 5500 w 10000"/>
                    <a:gd name="connsiteY164" fmla="*/ 8115 h 10000"/>
                    <a:gd name="connsiteX165" fmla="*/ 4889 w 10000"/>
                    <a:gd name="connsiteY165" fmla="*/ 8218 h 10000"/>
                    <a:gd name="connsiteX166" fmla="*/ 4611 w 10000"/>
                    <a:gd name="connsiteY166" fmla="*/ 8247 h 10000"/>
                    <a:gd name="connsiteX167" fmla="*/ 4556 w 10000"/>
                    <a:gd name="connsiteY167" fmla="*/ 8262 h 10000"/>
                    <a:gd name="connsiteX168" fmla="*/ 4500 w 10000"/>
                    <a:gd name="connsiteY168" fmla="*/ 8247 h 10000"/>
                    <a:gd name="connsiteX169" fmla="*/ 4500 w 10000"/>
                    <a:gd name="connsiteY169" fmla="*/ 8247 h 10000"/>
                    <a:gd name="connsiteX170" fmla="*/ 4222 w 10000"/>
                    <a:gd name="connsiteY170" fmla="*/ 8100 h 10000"/>
                    <a:gd name="connsiteX171" fmla="*/ 4222 w 10000"/>
                    <a:gd name="connsiteY171" fmla="*/ 8100 h 10000"/>
                    <a:gd name="connsiteX172" fmla="*/ 4111 w 10000"/>
                    <a:gd name="connsiteY172" fmla="*/ 8027 h 10000"/>
                    <a:gd name="connsiteX173" fmla="*/ 4111 w 10000"/>
                    <a:gd name="connsiteY173" fmla="*/ 7982 h 10000"/>
                    <a:gd name="connsiteX174" fmla="*/ 4111 w 10000"/>
                    <a:gd name="connsiteY174" fmla="*/ 7938 h 10000"/>
                    <a:gd name="connsiteX175" fmla="*/ 4111 w 10000"/>
                    <a:gd name="connsiteY175" fmla="*/ 7938 h 10000"/>
                    <a:gd name="connsiteX176" fmla="*/ 4278 w 10000"/>
                    <a:gd name="connsiteY176" fmla="*/ 7894 h 10000"/>
                    <a:gd name="connsiteX177" fmla="*/ 4389 w 10000"/>
                    <a:gd name="connsiteY177" fmla="*/ 7879 h 10000"/>
                    <a:gd name="connsiteX178" fmla="*/ 4389 w 10000"/>
                    <a:gd name="connsiteY178" fmla="*/ 7879 h 10000"/>
                    <a:gd name="connsiteX179" fmla="*/ 4000 w 10000"/>
                    <a:gd name="connsiteY179" fmla="*/ 7879 h 10000"/>
                    <a:gd name="connsiteX180" fmla="*/ 3722 w 10000"/>
                    <a:gd name="connsiteY180" fmla="*/ 7894 h 10000"/>
                    <a:gd name="connsiteX181" fmla="*/ 3611 w 10000"/>
                    <a:gd name="connsiteY181" fmla="*/ 7909 h 10000"/>
                    <a:gd name="connsiteX182" fmla="*/ 3556 w 10000"/>
                    <a:gd name="connsiteY182" fmla="*/ 7923 h 10000"/>
                    <a:gd name="connsiteX183" fmla="*/ 3556 w 10000"/>
                    <a:gd name="connsiteY183" fmla="*/ 7923 h 10000"/>
                    <a:gd name="connsiteX184" fmla="*/ 3444 w 10000"/>
                    <a:gd name="connsiteY184" fmla="*/ 7982 h 10000"/>
                    <a:gd name="connsiteX185" fmla="*/ 3278 w 10000"/>
                    <a:gd name="connsiteY185" fmla="*/ 8071 h 10000"/>
                    <a:gd name="connsiteX186" fmla="*/ 3000 w 10000"/>
                    <a:gd name="connsiteY186" fmla="*/ 8174 h 10000"/>
                    <a:gd name="connsiteX187" fmla="*/ 2667 w 10000"/>
                    <a:gd name="connsiteY187" fmla="*/ 8247 h 10000"/>
                    <a:gd name="connsiteX188" fmla="*/ 2667 w 10000"/>
                    <a:gd name="connsiteY188" fmla="*/ 8247 h 10000"/>
                    <a:gd name="connsiteX189" fmla="*/ 2333 w 10000"/>
                    <a:gd name="connsiteY189" fmla="*/ 8306 h 10000"/>
                    <a:gd name="connsiteX190" fmla="*/ 1833 w 10000"/>
                    <a:gd name="connsiteY190" fmla="*/ 8365 h 10000"/>
                    <a:gd name="connsiteX191" fmla="*/ 1389 w 10000"/>
                    <a:gd name="connsiteY191" fmla="*/ 8395 h 10000"/>
                    <a:gd name="connsiteX192" fmla="*/ 889 w 10000"/>
                    <a:gd name="connsiteY192" fmla="*/ 8409 h 10000"/>
                    <a:gd name="connsiteX193" fmla="*/ 889 w 10000"/>
                    <a:gd name="connsiteY193" fmla="*/ 8409 h 10000"/>
                    <a:gd name="connsiteX194" fmla="*/ 500 w 10000"/>
                    <a:gd name="connsiteY194" fmla="*/ 8424 h 10000"/>
                    <a:gd name="connsiteX195" fmla="*/ 222 w 10000"/>
                    <a:gd name="connsiteY195" fmla="*/ 8439 h 10000"/>
                    <a:gd name="connsiteX196" fmla="*/ 0 w 10000"/>
                    <a:gd name="connsiteY196" fmla="*/ 8454 h 10000"/>
                    <a:gd name="connsiteX197" fmla="*/ 0 w 10000"/>
                    <a:gd name="connsiteY197" fmla="*/ 8454 h 10000"/>
                    <a:gd name="connsiteX198" fmla="*/ 278 w 10000"/>
                    <a:gd name="connsiteY198" fmla="*/ 8689 h 10000"/>
                    <a:gd name="connsiteX199" fmla="*/ 500 w 10000"/>
                    <a:gd name="connsiteY199" fmla="*/ 8866 h 10000"/>
                    <a:gd name="connsiteX200" fmla="*/ 722 w 10000"/>
                    <a:gd name="connsiteY200" fmla="*/ 9013 h 10000"/>
                    <a:gd name="connsiteX201" fmla="*/ 722 w 10000"/>
                    <a:gd name="connsiteY201" fmla="*/ 9013 h 10000"/>
                    <a:gd name="connsiteX202" fmla="*/ 889 w 10000"/>
                    <a:gd name="connsiteY202" fmla="*/ 9102 h 10000"/>
                    <a:gd name="connsiteX203" fmla="*/ 944 w 10000"/>
                    <a:gd name="connsiteY203" fmla="*/ 9175 h 10000"/>
                    <a:gd name="connsiteX204" fmla="*/ 1111 w 10000"/>
                    <a:gd name="connsiteY204" fmla="*/ 9249 h 10000"/>
                    <a:gd name="connsiteX205" fmla="*/ 1333 w 10000"/>
                    <a:gd name="connsiteY205" fmla="*/ 9367 h 10000"/>
                    <a:gd name="connsiteX206" fmla="*/ 1333 w 10000"/>
                    <a:gd name="connsiteY206" fmla="*/ 9367 h 10000"/>
                    <a:gd name="connsiteX207" fmla="*/ 1444 w 10000"/>
                    <a:gd name="connsiteY207" fmla="*/ 9426 h 10000"/>
                    <a:gd name="connsiteX208" fmla="*/ 1500 w 10000"/>
                    <a:gd name="connsiteY208" fmla="*/ 9470 h 10000"/>
                    <a:gd name="connsiteX209" fmla="*/ 1500 w 10000"/>
                    <a:gd name="connsiteY209" fmla="*/ 9514 h 10000"/>
                    <a:gd name="connsiteX210" fmla="*/ 1556 w 10000"/>
                    <a:gd name="connsiteY210" fmla="*/ 9529 h 10000"/>
                    <a:gd name="connsiteX211" fmla="*/ 1722 w 10000"/>
                    <a:gd name="connsiteY211" fmla="*/ 9543 h 10000"/>
                    <a:gd name="connsiteX212" fmla="*/ 1944 w 10000"/>
                    <a:gd name="connsiteY212" fmla="*/ 9558 h 10000"/>
                    <a:gd name="connsiteX213" fmla="*/ 2944 w 10000"/>
                    <a:gd name="connsiteY213" fmla="*/ 9573 h 10000"/>
                    <a:gd name="connsiteX214" fmla="*/ 2944 w 10000"/>
                    <a:gd name="connsiteY214" fmla="*/ 9573 h 10000"/>
                    <a:gd name="connsiteX215" fmla="*/ 4167 w 10000"/>
                    <a:gd name="connsiteY215" fmla="*/ 9602 h 10000"/>
                    <a:gd name="connsiteX216" fmla="*/ 4889 w 10000"/>
                    <a:gd name="connsiteY216" fmla="*/ 9647 h 10000"/>
                    <a:gd name="connsiteX217" fmla="*/ 5278 w 10000"/>
                    <a:gd name="connsiteY217" fmla="*/ 9691 h 10000"/>
                    <a:gd name="connsiteX218" fmla="*/ 5444 w 10000"/>
                    <a:gd name="connsiteY218" fmla="*/ 9705 h 10000"/>
                    <a:gd name="connsiteX219" fmla="*/ 5444 w 10000"/>
                    <a:gd name="connsiteY219" fmla="*/ 9705 h 10000"/>
                    <a:gd name="connsiteX220" fmla="*/ 5722 w 10000"/>
                    <a:gd name="connsiteY220" fmla="*/ 9735 h 10000"/>
                    <a:gd name="connsiteX221" fmla="*/ 5833 w 10000"/>
                    <a:gd name="connsiteY221" fmla="*/ 9750 h 10000"/>
                    <a:gd name="connsiteX222" fmla="*/ 5833 w 10000"/>
                    <a:gd name="connsiteY222" fmla="*/ 9750 h 10000"/>
                    <a:gd name="connsiteX223" fmla="*/ 5833 w 10000"/>
                    <a:gd name="connsiteY223" fmla="*/ 9735 h 10000"/>
                    <a:gd name="connsiteX224" fmla="*/ 5889 w 10000"/>
                    <a:gd name="connsiteY224" fmla="*/ 9720 h 10000"/>
                    <a:gd name="connsiteX225" fmla="*/ 6000 w 10000"/>
                    <a:gd name="connsiteY225" fmla="*/ 9705 h 10000"/>
                    <a:gd name="connsiteX226" fmla="*/ 6167 w 10000"/>
                    <a:gd name="connsiteY226" fmla="*/ 9691 h 10000"/>
                    <a:gd name="connsiteX227" fmla="*/ 6444 w 10000"/>
                    <a:gd name="connsiteY227" fmla="*/ 9691 h 10000"/>
                    <a:gd name="connsiteX228" fmla="*/ 6833 w 10000"/>
                    <a:gd name="connsiteY228" fmla="*/ 9705 h 10000"/>
                    <a:gd name="connsiteX229" fmla="*/ 7278 w 10000"/>
                    <a:gd name="connsiteY229" fmla="*/ 9750 h 10000"/>
                    <a:gd name="connsiteX230" fmla="*/ 7278 w 10000"/>
                    <a:gd name="connsiteY230" fmla="*/ 9750 h 10000"/>
                    <a:gd name="connsiteX231" fmla="*/ 8722 w 10000"/>
                    <a:gd name="connsiteY231" fmla="*/ 9882 h 10000"/>
                    <a:gd name="connsiteX232" fmla="*/ 10000 w 10000"/>
                    <a:gd name="connsiteY23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889 w 10000"/>
                    <a:gd name="connsiteY71" fmla="*/ 4227 h 10000"/>
                    <a:gd name="connsiteX72" fmla="*/ 2889 w 10000"/>
                    <a:gd name="connsiteY72" fmla="*/ 4227 h 10000"/>
                    <a:gd name="connsiteX73" fmla="*/ 2389 w 10000"/>
                    <a:gd name="connsiteY73" fmla="*/ 4212 h 10000"/>
                    <a:gd name="connsiteX74" fmla="*/ 2000 w 10000"/>
                    <a:gd name="connsiteY74" fmla="*/ 4197 h 10000"/>
                    <a:gd name="connsiteX75" fmla="*/ 1889 w 10000"/>
                    <a:gd name="connsiteY75" fmla="*/ 4183 h 10000"/>
                    <a:gd name="connsiteX76" fmla="*/ 1778 w 10000"/>
                    <a:gd name="connsiteY76" fmla="*/ 4168 h 10000"/>
                    <a:gd name="connsiteX77" fmla="*/ 1778 w 10000"/>
                    <a:gd name="connsiteY77" fmla="*/ 4168 h 10000"/>
                    <a:gd name="connsiteX78" fmla="*/ 1667 w 10000"/>
                    <a:gd name="connsiteY78" fmla="*/ 4109 h 10000"/>
                    <a:gd name="connsiteX79" fmla="*/ 1500 w 10000"/>
                    <a:gd name="connsiteY79" fmla="*/ 4006 h 10000"/>
                    <a:gd name="connsiteX80" fmla="*/ 1444 w 10000"/>
                    <a:gd name="connsiteY80" fmla="*/ 3947 h 10000"/>
                    <a:gd name="connsiteX81" fmla="*/ 1444 w 10000"/>
                    <a:gd name="connsiteY81" fmla="*/ 3888 h 10000"/>
                    <a:gd name="connsiteX82" fmla="*/ 1444 w 10000"/>
                    <a:gd name="connsiteY82" fmla="*/ 3844 h 10000"/>
                    <a:gd name="connsiteX83" fmla="*/ 1556 w 10000"/>
                    <a:gd name="connsiteY83" fmla="*/ 3800 h 10000"/>
                    <a:gd name="connsiteX84" fmla="*/ 1556 w 10000"/>
                    <a:gd name="connsiteY84" fmla="*/ 3800 h 10000"/>
                    <a:gd name="connsiteX85" fmla="*/ 1833 w 10000"/>
                    <a:gd name="connsiteY85" fmla="*/ 3726 h 10000"/>
                    <a:gd name="connsiteX86" fmla="*/ 2111 w 10000"/>
                    <a:gd name="connsiteY86" fmla="*/ 3652 h 10000"/>
                    <a:gd name="connsiteX87" fmla="*/ 2278 w 10000"/>
                    <a:gd name="connsiteY87" fmla="*/ 3608 h 10000"/>
                    <a:gd name="connsiteX88" fmla="*/ 2389 w 10000"/>
                    <a:gd name="connsiteY88" fmla="*/ 3564 h 10000"/>
                    <a:gd name="connsiteX89" fmla="*/ 2389 w 10000"/>
                    <a:gd name="connsiteY89" fmla="*/ 3505 h 10000"/>
                    <a:gd name="connsiteX90" fmla="*/ 2389 w 10000"/>
                    <a:gd name="connsiteY90" fmla="*/ 3432 h 10000"/>
                    <a:gd name="connsiteX91" fmla="*/ 2389 w 10000"/>
                    <a:gd name="connsiteY91" fmla="*/ 3432 h 10000"/>
                    <a:gd name="connsiteX92" fmla="*/ 2167 w 10000"/>
                    <a:gd name="connsiteY92" fmla="*/ 3225 h 10000"/>
                    <a:gd name="connsiteX93" fmla="*/ 1889 w 10000"/>
                    <a:gd name="connsiteY93" fmla="*/ 2946 h 10000"/>
                    <a:gd name="connsiteX94" fmla="*/ 1667 w 10000"/>
                    <a:gd name="connsiteY94" fmla="*/ 2695 h 10000"/>
                    <a:gd name="connsiteX95" fmla="*/ 1611 w 10000"/>
                    <a:gd name="connsiteY95" fmla="*/ 2622 h 10000"/>
                    <a:gd name="connsiteX96" fmla="*/ 1611 w 10000"/>
                    <a:gd name="connsiteY96" fmla="*/ 2592 h 10000"/>
                    <a:gd name="connsiteX97" fmla="*/ 1667 w 10000"/>
                    <a:gd name="connsiteY97" fmla="*/ 2577 h 10000"/>
                    <a:gd name="connsiteX98" fmla="*/ 1667 w 10000"/>
                    <a:gd name="connsiteY98" fmla="*/ 2577 h 10000"/>
                    <a:gd name="connsiteX99" fmla="*/ 2000 w 10000"/>
                    <a:gd name="connsiteY99" fmla="*/ 2563 h 10000"/>
                    <a:gd name="connsiteX100" fmla="*/ 2222 w 10000"/>
                    <a:gd name="connsiteY100" fmla="*/ 2563 h 10000"/>
                    <a:gd name="connsiteX101" fmla="*/ 2389 w 10000"/>
                    <a:gd name="connsiteY101" fmla="*/ 2577 h 10000"/>
                    <a:gd name="connsiteX102" fmla="*/ 2389 w 10000"/>
                    <a:gd name="connsiteY102" fmla="*/ 2577 h 10000"/>
                    <a:gd name="connsiteX103" fmla="*/ 2444 w 10000"/>
                    <a:gd name="connsiteY103" fmla="*/ 2577 h 10000"/>
                    <a:gd name="connsiteX104" fmla="*/ 2500 w 10000"/>
                    <a:gd name="connsiteY104" fmla="*/ 2548 h 10000"/>
                    <a:gd name="connsiteX105" fmla="*/ 2778 w 10000"/>
                    <a:gd name="connsiteY105" fmla="*/ 2459 h 10000"/>
                    <a:gd name="connsiteX106" fmla="*/ 3500 w 10000"/>
                    <a:gd name="connsiteY106" fmla="*/ 2165 h 10000"/>
                    <a:gd name="connsiteX107" fmla="*/ 4444 w 10000"/>
                    <a:gd name="connsiteY107" fmla="*/ 1738 h 10000"/>
                    <a:gd name="connsiteX108" fmla="*/ 4444 w 10000"/>
                    <a:gd name="connsiteY108" fmla="*/ 1738 h 10000"/>
                    <a:gd name="connsiteX109" fmla="*/ 4444 w 10000"/>
                    <a:gd name="connsiteY109" fmla="*/ 1679 h 10000"/>
                    <a:gd name="connsiteX110" fmla="*/ 4444 w 10000"/>
                    <a:gd name="connsiteY110" fmla="*/ 1546 h 10000"/>
                    <a:gd name="connsiteX111" fmla="*/ 4500 w 10000"/>
                    <a:gd name="connsiteY111" fmla="*/ 1458 h 10000"/>
                    <a:gd name="connsiteX112" fmla="*/ 4611 w 10000"/>
                    <a:gd name="connsiteY112" fmla="*/ 1384 h 10000"/>
                    <a:gd name="connsiteX113" fmla="*/ 4778 w 10000"/>
                    <a:gd name="connsiteY113" fmla="*/ 1296 h 10000"/>
                    <a:gd name="connsiteX114" fmla="*/ 5000 w 10000"/>
                    <a:gd name="connsiteY114" fmla="*/ 1222 h 10000"/>
                    <a:gd name="connsiteX115" fmla="*/ 5000 w 10000"/>
                    <a:gd name="connsiteY115" fmla="*/ 1222 h 10000"/>
                    <a:gd name="connsiteX116" fmla="*/ 5556 w 10000"/>
                    <a:gd name="connsiteY116" fmla="*/ 1075 h 10000"/>
                    <a:gd name="connsiteX117" fmla="*/ 6111 w 10000"/>
                    <a:gd name="connsiteY117" fmla="*/ 884 h 10000"/>
                    <a:gd name="connsiteX118" fmla="*/ 6667 w 10000"/>
                    <a:gd name="connsiteY118" fmla="*/ 707 h 10000"/>
                    <a:gd name="connsiteX119" fmla="*/ 7056 w 10000"/>
                    <a:gd name="connsiteY119" fmla="*/ 545 h 10000"/>
                    <a:gd name="connsiteX120" fmla="*/ 7056 w 10000"/>
                    <a:gd name="connsiteY120" fmla="*/ 545 h 10000"/>
                    <a:gd name="connsiteX121" fmla="*/ 7333 w 10000"/>
                    <a:gd name="connsiteY121" fmla="*/ 398 h 10000"/>
                    <a:gd name="connsiteX122" fmla="*/ 7667 w 10000"/>
                    <a:gd name="connsiteY122" fmla="*/ 221 h 10000"/>
                    <a:gd name="connsiteX123" fmla="*/ 8000 w 10000"/>
                    <a:gd name="connsiteY123" fmla="*/ 88 h 10000"/>
                    <a:gd name="connsiteX124" fmla="*/ 8167 w 10000"/>
                    <a:gd name="connsiteY124" fmla="*/ 29 h 10000"/>
                    <a:gd name="connsiteX125" fmla="*/ 8333 w 10000"/>
                    <a:gd name="connsiteY125" fmla="*/ 15 h 10000"/>
                    <a:gd name="connsiteX126" fmla="*/ 8333 w 10000"/>
                    <a:gd name="connsiteY126" fmla="*/ 15 h 10000"/>
                    <a:gd name="connsiteX127" fmla="*/ 8667 w 10000"/>
                    <a:gd name="connsiteY127" fmla="*/ 0 h 10000"/>
                    <a:gd name="connsiteX128" fmla="*/ 9111 w 10000"/>
                    <a:gd name="connsiteY128" fmla="*/ 0 h 10000"/>
                    <a:gd name="connsiteX129" fmla="*/ 10000 w 10000"/>
                    <a:gd name="connsiteY129" fmla="*/ 15 h 10000"/>
                    <a:gd name="connsiteX130" fmla="*/ 10000 w 10000"/>
                    <a:gd name="connsiteY130" fmla="*/ 9013 h 10000"/>
                    <a:gd name="connsiteX131" fmla="*/ 10000 w 10000"/>
                    <a:gd name="connsiteY131" fmla="*/ 9013 h 10000"/>
                    <a:gd name="connsiteX132" fmla="*/ 9722 w 10000"/>
                    <a:gd name="connsiteY132" fmla="*/ 8999 h 10000"/>
                    <a:gd name="connsiteX133" fmla="*/ 9389 w 10000"/>
                    <a:gd name="connsiteY133" fmla="*/ 9013 h 10000"/>
                    <a:gd name="connsiteX134" fmla="*/ 9389 w 10000"/>
                    <a:gd name="connsiteY134" fmla="*/ 9013 h 10000"/>
                    <a:gd name="connsiteX135" fmla="*/ 9278 w 10000"/>
                    <a:gd name="connsiteY135" fmla="*/ 9028 h 10000"/>
                    <a:gd name="connsiteX136" fmla="*/ 9056 w 10000"/>
                    <a:gd name="connsiteY136" fmla="*/ 9013 h 10000"/>
                    <a:gd name="connsiteX137" fmla="*/ 8889 w 10000"/>
                    <a:gd name="connsiteY137" fmla="*/ 8999 h 10000"/>
                    <a:gd name="connsiteX138" fmla="*/ 8722 w 10000"/>
                    <a:gd name="connsiteY138" fmla="*/ 8969 h 10000"/>
                    <a:gd name="connsiteX139" fmla="*/ 8611 w 10000"/>
                    <a:gd name="connsiteY139" fmla="*/ 8925 h 10000"/>
                    <a:gd name="connsiteX140" fmla="*/ 8444 w 10000"/>
                    <a:gd name="connsiteY140" fmla="*/ 8851 h 10000"/>
                    <a:gd name="connsiteX141" fmla="*/ 8444 w 10000"/>
                    <a:gd name="connsiteY141" fmla="*/ 8851 h 10000"/>
                    <a:gd name="connsiteX142" fmla="*/ 8222 w 10000"/>
                    <a:gd name="connsiteY142" fmla="*/ 8719 h 10000"/>
                    <a:gd name="connsiteX143" fmla="*/ 8111 w 10000"/>
                    <a:gd name="connsiteY143" fmla="*/ 8660 h 10000"/>
                    <a:gd name="connsiteX144" fmla="*/ 7944 w 10000"/>
                    <a:gd name="connsiteY144" fmla="*/ 8616 h 10000"/>
                    <a:gd name="connsiteX145" fmla="*/ 7778 w 10000"/>
                    <a:gd name="connsiteY145" fmla="*/ 8586 h 10000"/>
                    <a:gd name="connsiteX146" fmla="*/ 7556 w 10000"/>
                    <a:gd name="connsiteY146" fmla="*/ 8571 h 10000"/>
                    <a:gd name="connsiteX147" fmla="*/ 7333 w 10000"/>
                    <a:gd name="connsiteY147" fmla="*/ 8557 h 10000"/>
                    <a:gd name="connsiteX148" fmla="*/ 7000 w 10000"/>
                    <a:gd name="connsiteY148" fmla="*/ 8542 h 10000"/>
                    <a:gd name="connsiteX149" fmla="*/ 7000 w 10000"/>
                    <a:gd name="connsiteY149" fmla="*/ 8542 h 10000"/>
                    <a:gd name="connsiteX150" fmla="*/ 6556 w 10000"/>
                    <a:gd name="connsiteY150" fmla="*/ 8557 h 10000"/>
                    <a:gd name="connsiteX151" fmla="*/ 6222 w 10000"/>
                    <a:gd name="connsiteY151" fmla="*/ 8557 h 10000"/>
                    <a:gd name="connsiteX152" fmla="*/ 6111 w 10000"/>
                    <a:gd name="connsiteY152" fmla="*/ 8542 h 10000"/>
                    <a:gd name="connsiteX153" fmla="*/ 6056 w 10000"/>
                    <a:gd name="connsiteY153" fmla="*/ 8527 h 10000"/>
                    <a:gd name="connsiteX154" fmla="*/ 6056 w 10000"/>
                    <a:gd name="connsiteY154" fmla="*/ 8527 h 10000"/>
                    <a:gd name="connsiteX155" fmla="*/ 6056 w 10000"/>
                    <a:gd name="connsiteY155" fmla="*/ 8262 h 10000"/>
                    <a:gd name="connsiteX156" fmla="*/ 6056 w 10000"/>
                    <a:gd name="connsiteY156" fmla="*/ 8262 h 10000"/>
                    <a:gd name="connsiteX157" fmla="*/ 6056 w 10000"/>
                    <a:gd name="connsiteY157" fmla="*/ 8203 h 10000"/>
                    <a:gd name="connsiteX158" fmla="*/ 5944 w 10000"/>
                    <a:gd name="connsiteY158" fmla="*/ 8130 h 10000"/>
                    <a:gd name="connsiteX159" fmla="*/ 5889 w 10000"/>
                    <a:gd name="connsiteY159" fmla="*/ 8115 h 10000"/>
                    <a:gd name="connsiteX160" fmla="*/ 5778 w 10000"/>
                    <a:gd name="connsiteY160" fmla="*/ 8100 h 10000"/>
                    <a:gd name="connsiteX161" fmla="*/ 5667 w 10000"/>
                    <a:gd name="connsiteY161" fmla="*/ 8100 h 10000"/>
                    <a:gd name="connsiteX162" fmla="*/ 5500 w 10000"/>
                    <a:gd name="connsiteY162" fmla="*/ 8115 h 10000"/>
                    <a:gd name="connsiteX163" fmla="*/ 5500 w 10000"/>
                    <a:gd name="connsiteY163" fmla="*/ 8115 h 10000"/>
                    <a:gd name="connsiteX164" fmla="*/ 4889 w 10000"/>
                    <a:gd name="connsiteY164" fmla="*/ 8218 h 10000"/>
                    <a:gd name="connsiteX165" fmla="*/ 4611 w 10000"/>
                    <a:gd name="connsiteY165" fmla="*/ 8247 h 10000"/>
                    <a:gd name="connsiteX166" fmla="*/ 4556 w 10000"/>
                    <a:gd name="connsiteY166" fmla="*/ 8262 h 10000"/>
                    <a:gd name="connsiteX167" fmla="*/ 4500 w 10000"/>
                    <a:gd name="connsiteY167" fmla="*/ 8247 h 10000"/>
                    <a:gd name="connsiteX168" fmla="*/ 4500 w 10000"/>
                    <a:gd name="connsiteY168" fmla="*/ 8247 h 10000"/>
                    <a:gd name="connsiteX169" fmla="*/ 4222 w 10000"/>
                    <a:gd name="connsiteY169" fmla="*/ 8100 h 10000"/>
                    <a:gd name="connsiteX170" fmla="*/ 4222 w 10000"/>
                    <a:gd name="connsiteY170" fmla="*/ 8100 h 10000"/>
                    <a:gd name="connsiteX171" fmla="*/ 4111 w 10000"/>
                    <a:gd name="connsiteY171" fmla="*/ 8027 h 10000"/>
                    <a:gd name="connsiteX172" fmla="*/ 4111 w 10000"/>
                    <a:gd name="connsiteY172" fmla="*/ 7982 h 10000"/>
                    <a:gd name="connsiteX173" fmla="*/ 4111 w 10000"/>
                    <a:gd name="connsiteY173" fmla="*/ 7938 h 10000"/>
                    <a:gd name="connsiteX174" fmla="*/ 4111 w 10000"/>
                    <a:gd name="connsiteY174" fmla="*/ 7938 h 10000"/>
                    <a:gd name="connsiteX175" fmla="*/ 4278 w 10000"/>
                    <a:gd name="connsiteY175" fmla="*/ 7894 h 10000"/>
                    <a:gd name="connsiteX176" fmla="*/ 4389 w 10000"/>
                    <a:gd name="connsiteY176" fmla="*/ 7879 h 10000"/>
                    <a:gd name="connsiteX177" fmla="*/ 4389 w 10000"/>
                    <a:gd name="connsiteY177" fmla="*/ 7879 h 10000"/>
                    <a:gd name="connsiteX178" fmla="*/ 4000 w 10000"/>
                    <a:gd name="connsiteY178" fmla="*/ 7879 h 10000"/>
                    <a:gd name="connsiteX179" fmla="*/ 3722 w 10000"/>
                    <a:gd name="connsiteY179" fmla="*/ 7894 h 10000"/>
                    <a:gd name="connsiteX180" fmla="*/ 3611 w 10000"/>
                    <a:gd name="connsiteY180" fmla="*/ 7909 h 10000"/>
                    <a:gd name="connsiteX181" fmla="*/ 3556 w 10000"/>
                    <a:gd name="connsiteY181" fmla="*/ 7923 h 10000"/>
                    <a:gd name="connsiteX182" fmla="*/ 3556 w 10000"/>
                    <a:gd name="connsiteY182" fmla="*/ 7923 h 10000"/>
                    <a:gd name="connsiteX183" fmla="*/ 3444 w 10000"/>
                    <a:gd name="connsiteY183" fmla="*/ 7982 h 10000"/>
                    <a:gd name="connsiteX184" fmla="*/ 3278 w 10000"/>
                    <a:gd name="connsiteY184" fmla="*/ 8071 h 10000"/>
                    <a:gd name="connsiteX185" fmla="*/ 3000 w 10000"/>
                    <a:gd name="connsiteY185" fmla="*/ 8174 h 10000"/>
                    <a:gd name="connsiteX186" fmla="*/ 2667 w 10000"/>
                    <a:gd name="connsiteY186" fmla="*/ 8247 h 10000"/>
                    <a:gd name="connsiteX187" fmla="*/ 2667 w 10000"/>
                    <a:gd name="connsiteY187" fmla="*/ 8247 h 10000"/>
                    <a:gd name="connsiteX188" fmla="*/ 2333 w 10000"/>
                    <a:gd name="connsiteY188" fmla="*/ 8306 h 10000"/>
                    <a:gd name="connsiteX189" fmla="*/ 1833 w 10000"/>
                    <a:gd name="connsiteY189" fmla="*/ 8365 h 10000"/>
                    <a:gd name="connsiteX190" fmla="*/ 1389 w 10000"/>
                    <a:gd name="connsiteY190" fmla="*/ 8395 h 10000"/>
                    <a:gd name="connsiteX191" fmla="*/ 889 w 10000"/>
                    <a:gd name="connsiteY191" fmla="*/ 8409 h 10000"/>
                    <a:gd name="connsiteX192" fmla="*/ 889 w 10000"/>
                    <a:gd name="connsiteY192" fmla="*/ 8409 h 10000"/>
                    <a:gd name="connsiteX193" fmla="*/ 500 w 10000"/>
                    <a:gd name="connsiteY193" fmla="*/ 8424 h 10000"/>
                    <a:gd name="connsiteX194" fmla="*/ 222 w 10000"/>
                    <a:gd name="connsiteY194" fmla="*/ 8439 h 10000"/>
                    <a:gd name="connsiteX195" fmla="*/ 0 w 10000"/>
                    <a:gd name="connsiteY195" fmla="*/ 8454 h 10000"/>
                    <a:gd name="connsiteX196" fmla="*/ 0 w 10000"/>
                    <a:gd name="connsiteY196" fmla="*/ 8454 h 10000"/>
                    <a:gd name="connsiteX197" fmla="*/ 278 w 10000"/>
                    <a:gd name="connsiteY197" fmla="*/ 8689 h 10000"/>
                    <a:gd name="connsiteX198" fmla="*/ 500 w 10000"/>
                    <a:gd name="connsiteY198" fmla="*/ 8866 h 10000"/>
                    <a:gd name="connsiteX199" fmla="*/ 722 w 10000"/>
                    <a:gd name="connsiteY199" fmla="*/ 9013 h 10000"/>
                    <a:gd name="connsiteX200" fmla="*/ 722 w 10000"/>
                    <a:gd name="connsiteY200" fmla="*/ 9013 h 10000"/>
                    <a:gd name="connsiteX201" fmla="*/ 889 w 10000"/>
                    <a:gd name="connsiteY201" fmla="*/ 9102 h 10000"/>
                    <a:gd name="connsiteX202" fmla="*/ 944 w 10000"/>
                    <a:gd name="connsiteY202" fmla="*/ 9175 h 10000"/>
                    <a:gd name="connsiteX203" fmla="*/ 1111 w 10000"/>
                    <a:gd name="connsiteY203" fmla="*/ 9249 h 10000"/>
                    <a:gd name="connsiteX204" fmla="*/ 1333 w 10000"/>
                    <a:gd name="connsiteY204" fmla="*/ 9367 h 10000"/>
                    <a:gd name="connsiteX205" fmla="*/ 1333 w 10000"/>
                    <a:gd name="connsiteY205" fmla="*/ 9367 h 10000"/>
                    <a:gd name="connsiteX206" fmla="*/ 1444 w 10000"/>
                    <a:gd name="connsiteY206" fmla="*/ 9426 h 10000"/>
                    <a:gd name="connsiteX207" fmla="*/ 1500 w 10000"/>
                    <a:gd name="connsiteY207" fmla="*/ 9470 h 10000"/>
                    <a:gd name="connsiteX208" fmla="*/ 1500 w 10000"/>
                    <a:gd name="connsiteY208" fmla="*/ 9514 h 10000"/>
                    <a:gd name="connsiteX209" fmla="*/ 1556 w 10000"/>
                    <a:gd name="connsiteY209" fmla="*/ 9529 h 10000"/>
                    <a:gd name="connsiteX210" fmla="*/ 1722 w 10000"/>
                    <a:gd name="connsiteY210" fmla="*/ 9543 h 10000"/>
                    <a:gd name="connsiteX211" fmla="*/ 1944 w 10000"/>
                    <a:gd name="connsiteY211" fmla="*/ 9558 h 10000"/>
                    <a:gd name="connsiteX212" fmla="*/ 2944 w 10000"/>
                    <a:gd name="connsiteY212" fmla="*/ 9573 h 10000"/>
                    <a:gd name="connsiteX213" fmla="*/ 2944 w 10000"/>
                    <a:gd name="connsiteY213" fmla="*/ 9573 h 10000"/>
                    <a:gd name="connsiteX214" fmla="*/ 4167 w 10000"/>
                    <a:gd name="connsiteY214" fmla="*/ 9602 h 10000"/>
                    <a:gd name="connsiteX215" fmla="*/ 4889 w 10000"/>
                    <a:gd name="connsiteY215" fmla="*/ 9647 h 10000"/>
                    <a:gd name="connsiteX216" fmla="*/ 5278 w 10000"/>
                    <a:gd name="connsiteY216" fmla="*/ 9691 h 10000"/>
                    <a:gd name="connsiteX217" fmla="*/ 5444 w 10000"/>
                    <a:gd name="connsiteY217" fmla="*/ 9705 h 10000"/>
                    <a:gd name="connsiteX218" fmla="*/ 5444 w 10000"/>
                    <a:gd name="connsiteY218" fmla="*/ 9705 h 10000"/>
                    <a:gd name="connsiteX219" fmla="*/ 5722 w 10000"/>
                    <a:gd name="connsiteY219" fmla="*/ 9735 h 10000"/>
                    <a:gd name="connsiteX220" fmla="*/ 5833 w 10000"/>
                    <a:gd name="connsiteY220" fmla="*/ 9750 h 10000"/>
                    <a:gd name="connsiteX221" fmla="*/ 5833 w 10000"/>
                    <a:gd name="connsiteY221" fmla="*/ 9750 h 10000"/>
                    <a:gd name="connsiteX222" fmla="*/ 5833 w 10000"/>
                    <a:gd name="connsiteY222" fmla="*/ 9735 h 10000"/>
                    <a:gd name="connsiteX223" fmla="*/ 5889 w 10000"/>
                    <a:gd name="connsiteY223" fmla="*/ 9720 h 10000"/>
                    <a:gd name="connsiteX224" fmla="*/ 6000 w 10000"/>
                    <a:gd name="connsiteY224" fmla="*/ 9705 h 10000"/>
                    <a:gd name="connsiteX225" fmla="*/ 6167 w 10000"/>
                    <a:gd name="connsiteY225" fmla="*/ 9691 h 10000"/>
                    <a:gd name="connsiteX226" fmla="*/ 6444 w 10000"/>
                    <a:gd name="connsiteY226" fmla="*/ 9691 h 10000"/>
                    <a:gd name="connsiteX227" fmla="*/ 6833 w 10000"/>
                    <a:gd name="connsiteY227" fmla="*/ 9705 h 10000"/>
                    <a:gd name="connsiteX228" fmla="*/ 7278 w 10000"/>
                    <a:gd name="connsiteY228" fmla="*/ 9750 h 10000"/>
                    <a:gd name="connsiteX229" fmla="*/ 7278 w 10000"/>
                    <a:gd name="connsiteY229" fmla="*/ 9750 h 10000"/>
                    <a:gd name="connsiteX230" fmla="*/ 8722 w 10000"/>
                    <a:gd name="connsiteY230" fmla="*/ 9882 h 10000"/>
                    <a:gd name="connsiteX231" fmla="*/ 10000 w 10000"/>
                    <a:gd name="connsiteY23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889 w 10000"/>
                    <a:gd name="connsiteY71" fmla="*/ 4227 h 10000"/>
                    <a:gd name="connsiteX72" fmla="*/ 2389 w 10000"/>
                    <a:gd name="connsiteY72" fmla="*/ 4212 h 10000"/>
                    <a:gd name="connsiteX73" fmla="*/ 2000 w 10000"/>
                    <a:gd name="connsiteY73" fmla="*/ 4197 h 10000"/>
                    <a:gd name="connsiteX74" fmla="*/ 1889 w 10000"/>
                    <a:gd name="connsiteY74" fmla="*/ 4183 h 10000"/>
                    <a:gd name="connsiteX75" fmla="*/ 1778 w 10000"/>
                    <a:gd name="connsiteY75" fmla="*/ 4168 h 10000"/>
                    <a:gd name="connsiteX76" fmla="*/ 1778 w 10000"/>
                    <a:gd name="connsiteY76" fmla="*/ 4168 h 10000"/>
                    <a:gd name="connsiteX77" fmla="*/ 1667 w 10000"/>
                    <a:gd name="connsiteY77" fmla="*/ 4109 h 10000"/>
                    <a:gd name="connsiteX78" fmla="*/ 1500 w 10000"/>
                    <a:gd name="connsiteY78" fmla="*/ 4006 h 10000"/>
                    <a:gd name="connsiteX79" fmla="*/ 1444 w 10000"/>
                    <a:gd name="connsiteY79" fmla="*/ 3947 h 10000"/>
                    <a:gd name="connsiteX80" fmla="*/ 1444 w 10000"/>
                    <a:gd name="connsiteY80" fmla="*/ 3888 h 10000"/>
                    <a:gd name="connsiteX81" fmla="*/ 1444 w 10000"/>
                    <a:gd name="connsiteY81" fmla="*/ 3844 h 10000"/>
                    <a:gd name="connsiteX82" fmla="*/ 1556 w 10000"/>
                    <a:gd name="connsiteY82" fmla="*/ 3800 h 10000"/>
                    <a:gd name="connsiteX83" fmla="*/ 1556 w 10000"/>
                    <a:gd name="connsiteY83" fmla="*/ 3800 h 10000"/>
                    <a:gd name="connsiteX84" fmla="*/ 1833 w 10000"/>
                    <a:gd name="connsiteY84" fmla="*/ 3726 h 10000"/>
                    <a:gd name="connsiteX85" fmla="*/ 2111 w 10000"/>
                    <a:gd name="connsiteY85" fmla="*/ 3652 h 10000"/>
                    <a:gd name="connsiteX86" fmla="*/ 2278 w 10000"/>
                    <a:gd name="connsiteY86" fmla="*/ 3608 h 10000"/>
                    <a:gd name="connsiteX87" fmla="*/ 2389 w 10000"/>
                    <a:gd name="connsiteY87" fmla="*/ 3564 h 10000"/>
                    <a:gd name="connsiteX88" fmla="*/ 2389 w 10000"/>
                    <a:gd name="connsiteY88" fmla="*/ 3505 h 10000"/>
                    <a:gd name="connsiteX89" fmla="*/ 2389 w 10000"/>
                    <a:gd name="connsiteY89" fmla="*/ 3432 h 10000"/>
                    <a:gd name="connsiteX90" fmla="*/ 2389 w 10000"/>
                    <a:gd name="connsiteY90" fmla="*/ 3432 h 10000"/>
                    <a:gd name="connsiteX91" fmla="*/ 2167 w 10000"/>
                    <a:gd name="connsiteY91" fmla="*/ 3225 h 10000"/>
                    <a:gd name="connsiteX92" fmla="*/ 1889 w 10000"/>
                    <a:gd name="connsiteY92" fmla="*/ 2946 h 10000"/>
                    <a:gd name="connsiteX93" fmla="*/ 1667 w 10000"/>
                    <a:gd name="connsiteY93" fmla="*/ 2695 h 10000"/>
                    <a:gd name="connsiteX94" fmla="*/ 1611 w 10000"/>
                    <a:gd name="connsiteY94" fmla="*/ 2622 h 10000"/>
                    <a:gd name="connsiteX95" fmla="*/ 1611 w 10000"/>
                    <a:gd name="connsiteY95" fmla="*/ 2592 h 10000"/>
                    <a:gd name="connsiteX96" fmla="*/ 1667 w 10000"/>
                    <a:gd name="connsiteY96" fmla="*/ 2577 h 10000"/>
                    <a:gd name="connsiteX97" fmla="*/ 1667 w 10000"/>
                    <a:gd name="connsiteY97" fmla="*/ 2577 h 10000"/>
                    <a:gd name="connsiteX98" fmla="*/ 2000 w 10000"/>
                    <a:gd name="connsiteY98" fmla="*/ 2563 h 10000"/>
                    <a:gd name="connsiteX99" fmla="*/ 2222 w 10000"/>
                    <a:gd name="connsiteY99" fmla="*/ 2563 h 10000"/>
                    <a:gd name="connsiteX100" fmla="*/ 2389 w 10000"/>
                    <a:gd name="connsiteY100" fmla="*/ 2577 h 10000"/>
                    <a:gd name="connsiteX101" fmla="*/ 2389 w 10000"/>
                    <a:gd name="connsiteY101" fmla="*/ 2577 h 10000"/>
                    <a:gd name="connsiteX102" fmla="*/ 2444 w 10000"/>
                    <a:gd name="connsiteY102" fmla="*/ 2577 h 10000"/>
                    <a:gd name="connsiteX103" fmla="*/ 2500 w 10000"/>
                    <a:gd name="connsiteY103" fmla="*/ 2548 h 10000"/>
                    <a:gd name="connsiteX104" fmla="*/ 2778 w 10000"/>
                    <a:gd name="connsiteY104" fmla="*/ 2459 h 10000"/>
                    <a:gd name="connsiteX105" fmla="*/ 3500 w 10000"/>
                    <a:gd name="connsiteY105" fmla="*/ 2165 h 10000"/>
                    <a:gd name="connsiteX106" fmla="*/ 4444 w 10000"/>
                    <a:gd name="connsiteY106" fmla="*/ 1738 h 10000"/>
                    <a:gd name="connsiteX107" fmla="*/ 4444 w 10000"/>
                    <a:gd name="connsiteY107" fmla="*/ 1738 h 10000"/>
                    <a:gd name="connsiteX108" fmla="*/ 4444 w 10000"/>
                    <a:gd name="connsiteY108" fmla="*/ 1679 h 10000"/>
                    <a:gd name="connsiteX109" fmla="*/ 4444 w 10000"/>
                    <a:gd name="connsiteY109" fmla="*/ 1546 h 10000"/>
                    <a:gd name="connsiteX110" fmla="*/ 4500 w 10000"/>
                    <a:gd name="connsiteY110" fmla="*/ 1458 h 10000"/>
                    <a:gd name="connsiteX111" fmla="*/ 4611 w 10000"/>
                    <a:gd name="connsiteY111" fmla="*/ 1384 h 10000"/>
                    <a:gd name="connsiteX112" fmla="*/ 4778 w 10000"/>
                    <a:gd name="connsiteY112" fmla="*/ 1296 h 10000"/>
                    <a:gd name="connsiteX113" fmla="*/ 5000 w 10000"/>
                    <a:gd name="connsiteY113" fmla="*/ 1222 h 10000"/>
                    <a:gd name="connsiteX114" fmla="*/ 5000 w 10000"/>
                    <a:gd name="connsiteY114" fmla="*/ 1222 h 10000"/>
                    <a:gd name="connsiteX115" fmla="*/ 5556 w 10000"/>
                    <a:gd name="connsiteY115" fmla="*/ 1075 h 10000"/>
                    <a:gd name="connsiteX116" fmla="*/ 6111 w 10000"/>
                    <a:gd name="connsiteY116" fmla="*/ 884 h 10000"/>
                    <a:gd name="connsiteX117" fmla="*/ 6667 w 10000"/>
                    <a:gd name="connsiteY117" fmla="*/ 707 h 10000"/>
                    <a:gd name="connsiteX118" fmla="*/ 7056 w 10000"/>
                    <a:gd name="connsiteY118" fmla="*/ 545 h 10000"/>
                    <a:gd name="connsiteX119" fmla="*/ 7056 w 10000"/>
                    <a:gd name="connsiteY119" fmla="*/ 545 h 10000"/>
                    <a:gd name="connsiteX120" fmla="*/ 7333 w 10000"/>
                    <a:gd name="connsiteY120" fmla="*/ 398 h 10000"/>
                    <a:gd name="connsiteX121" fmla="*/ 7667 w 10000"/>
                    <a:gd name="connsiteY121" fmla="*/ 221 h 10000"/>
                    <a:gd name="connsiteX122" fmla="*/ 8000 w 10000"/>
                    <a:gd name="connsiteY122" fmla="*/ 88 h 10000"/>
                    <a:gd name="connsiteX123" fmla="*/ 8167 w 10000"/>
                    <a:gd name="connsiteY123" fmla="*/ 29 h 10000"/>
                    <a:gd name="connsiteX124" fmla="*/ 8333 w 10000"/>
                    <a:gd name="connsiteY124" fmla="*/ 15 h 10000"/>
                    <a:gd name="connsiteX125" fmla="*/ 8333 w 10000"/>
                    <a:gd name="connsiteY125" fmla="*/ 15 h 10000"/>
                    <a:gd name="connsiteX126" fmla="*/ 8667 w 10000"/>
                    <a:gd name="connsiteY126" fmla="*/ 0 h 10000"/>
                    <a:gd name="connsiteX127" fmla="*/ 9111 w 10000"/>
                    <a:gd name="connsiteY127" fmla="*/ 0 h 10000"/>
                    <a:gd name="connsiteX128" fmla="*/ 10000 w 10000"/>
                    <a:gd name="connsiteY128" fmla="*/ 15 h 10000"/>
                    <a:gd name="connsiteX129" fmla="*/ 10000 w 10000"/>
                    <a:gd name="connsiteY129" fmla="*/ 9013 h 10000"/>
                    <a:gd name="connsiteX130" fmla="*/ 10000 w 10000"/>
                    <a:gd name="connsiteY130" fmla="*/ 9013 h 10000"/>
                    <a:gd name="connsiteX131" fmla="*/ 9722 w 10000"/>
                    <a:gd name="connsiteY131" fmla="*/ 8999 h 10000"/>
                    <a:gd name="connsiteX132" fmla="*/ 9389 w 10000"/>
                    <a:gd name="connsiteY132" fmla="*/ 9013 h 10000"/>
                    <a:gd name="connsiteX133" fmla="*/ 9389 w 10000"/>
                    <a:gd name="connsiteY133" fmla="*/ 9013 h 10000"/>
                    <a:gd name="connsiteX134" fmla="*/ 9278 w 10000"/>
                    <a:gd name="connsiteY134" fmla="*/ 9028 h 10000"/>
                    <a:gd name="connsiteX135" fmla="*/ 9056 w 10000"/>
                    <a:gd name="connsiteY135" fmla="*/ 9013 h 10000"/>
                    <a:gd name="connsiteX136" fmla="*/ 8889 w 10000"/>
                    <a:gd name="connsiteY136" fmla="*/ 8999 h 10000"/>
                    <a:gd name="connsiteX137" fmla="*/ 8722 w 10000"/>
                    <a:gd name="connsiteY137" fmla="*/ 8969 h 10000"/>
                    <a:gd name="connsiteX138" fmla="*/ 8611 w 10000"/>
                    <a:gd name="connsiteY138" fmla="*/ 8925 h 10000"/>
                    <a:gd name="connsiteX139" fmla="*/ 8444 w 10000"/>
                    <a:gd name="connsiteY139" fmla="*/ 8851 h 10000"/>
                    <a:gd name="connsiteX140" fmla="*/ 8444 w 10000"/>
                    <a:gd name="connsiteY140" fmla="*/ 8851 h 10000"/>
                    <a:gd name="connsiteX141" fmla="*/ 8222 w 10000"/>
                    <a:gd name="connsiteY141" fmla="*/ 8719 h 10000"/>
                    <a:gd name="connsiteX142" fmla="*/ 8111 w 10000"/>
                    <a:gd name="connsiteY142" fmla="*/ 8660 h 10000"/>
                    <a:gd name="connsiteX143" fmla="*/ 7944 w 10000"/>
                    <a:gd name="connsiteY143" fmla="*/ 8616 h 10000"/>
                    <a:gd name="connsiteX144" fmla="*/ 7778 w 10000"/>
                    <a:gd name="connsiteY144" fmla="*/ 8586 h 10000"/>
                    <a:gd name="connsiteX145" fmla="*/ 7556 w 10000"/>
                    <a:gd name="connsiteY145" fmla="*/ 8571 h 10000"/>
                    <a:gd name="connsiteX146" fmla="*/ 7333 w 10000"/>
                    <a:gd name="connsiteY146" fmla="*/ 8557 h 10000"/>
                    <a:gd name="connsiteX147" fmla="*/ 7000 w 10000"/>
                    <a:gd name="connsiteY147" fmla="*/ 8542 h 10000"/>
                    <a:gd name="connsiteX148" fmla="*/ 7000 w 10000"/>
                    <a:gd name="connsiteY148" fmla="*/ 8542 h 10000"/>
                    <a:gd name="connsiteX149" fmla="*/ 6556 w 10000"/>
                    <a:gd name="connsiteY149" fmla="*/ 8557 h 10000"/>
                    <a:gd name="connsiteX150" fmla="*/ 6222 w 10000"/>
                    <a:gd name="connsiteY150" fmla="*/ 8557 h 10000"/>
                    <a:gd name="connsiteX151" fmla="*/ 6111 w 10000"/>
                    <a:gd name="connsiteY151" fmla="*/ 8542 h 10000"/>
                    <a:gd name="connsiteX152" fmla="*/ 6056 w 10000"/>
                    <a:gd name="connsiteY152" fmla="*/ 8527 h 10000"/>
                    <a:gd name="connsiteX153" fmla="*/ 6056 w 10000"/>
                    <a:gd name="connsiteY153" fmla="*/ 8527 h 10000"/>
                    <a:gd name="connsiteX154" fmla="*/ 6056 w 10000"/>
                    <a:gd name="connsiteY154" fmla="*/ 8262 h 10000"/>
                    <a:gd name="connsiteX155" fmla="*/ 6056 w 10000"/>
                    <a:gd name="connsiteY155" fmla="*/ 8262 h 10000"/>
                    <a:gd name="connsiteX156" fmla="*/ 6056 w 10000"/>
                    <a:gd name="connsiteY156" fmla="*/ 8203 h 10000"/>
                    <a:gd name="connsiteX157" fmla="*/ 5944 w 10000"/>
                    <a:gd name="connsiteY157" fmla="*/ 8130 h 10000"/>
                    <a:gd name="connsiteX158" fmla="*/ 5889 w 10000"/>
                    <a:gd name="connsiteY158" fmla="*/ 8115 h 10000"/>
                    <a:gd name="connsiteX159" fmla="*/ 5778 w 10000"/>
                    <a:gd name="connsiteY159" fmla="*/ 8100 h 10000"/>
                    <a:gd name="connsiteX160" fmla="*/ 5667 w 10000"/>
                    <a:gd name="connsiteY160" fmla="*/ 8100 h 10000"/>
                    <a:gd name="connsiteX161" fmla="*/ 5500 w 10000"/>
                    <a:gd name="connsiteY161" fmla="*/ 8115 h 10000"/>
                    <a:gd name="connsiteX162" fmla="*/ 5500 w 10000"/>
                    <a:gd name="connsiteY162" fmla="*/ 8115 h 10000"/>
                    <a:gd name="connsiteX163" fmla="*/ 4889 w 10000"/>
                    <a:gd name="connsiteY163" fmla="*/ 8218 h 10000"/>
                    <a:gd name="connsiteX164" fmla="*/ 4611 w 10000"/>
                    <a:gd name="connsiteY164" fmla="*/ 8247 h 10000"/>
                    <a:gd name="connsiteX165" fmla="*/ 4556 w 10000"/>
                    <a:gd name="connsiteY165" fmla="*/ 8262 h 10000"/>
                    <a:gd name="connsiteX166" fmla="*/ 4500 w 10000"/>
                    <a:gd name="connsiteY166" fmla="*/ 8247 h 10000"/>
                    <a:gd name="connsiteX167" fmla="*/ 4500 w 10000"/>
                    <a:gd name="connsiteY167" fmla="*/ 8247 h 10000"/>
                    <a:gd name="connsiteX168" fmla="*/ 4222 w 10000"/>
                    <a:gd name="connsiteY168" fmla="*/ 8100 h 10000"/>
                    <a:gd name="connsiteX169" fmla="*/ 4222 w 10000"/>
                    <a:gd name="connsiteY169" fmla="*/ 8100 h 10000"/>
                    <a:gd name="connsiteX170" fmla="*/ 4111 w 10000"/>
                    <a:gd name="connsiteY170" fmla="*/ 8027 h 10000"/>
                    <a:gd name="connsiteX171" fmla="*/ 4111 w 10000"/>
                    <a:gd name="connsiteY171" fmla="*/ 7982 h 10000"/>
                    <a:gd name="connsiteX172" fmla="*/ 4111 w 10000"/>
                    <a:gd name="connsiteY172" fmla="*/ 7938 h 10000"/>
                    <a:gd name="connsiteX173" fmla="*/ 4111 w 10000"/>
                    <a:gd name="connsiteY173" fmla="*/ 7938 h 10000"/>
                    <a:gd name="connsiteX174" fmla="*/ 4278 w 10000"/>
                    <a:gd name="connsiteY174" fmla="*/ 7894 h 10000"/>
                    <a:gd name="connsiteX175" fmla="*/ 4389 w 10000"/>
                    <a:gd name="connsiteY175" fmla="*/ 7879 h 10000"/>
                    <a:gd name="connsiteX176" fmla="*/ 4389 w 10000"/>
                    <a:gd name="connsiteY176" fmla="*/ 7879 h 10000"/>
                    <a:gd name="connsiteX177" fmla="*/ 4000 w 10000"/>
                    <a:gd name="connsiteY177" fmla="*/ 7879 h 10000"/>
                    <a:gd name="connsiteX178" fmla="*/ 3722 w 10000"/>
                    <a:gd name="connsiteY178" fmla="*/ 7894 h 10000"/>
                    <a:gd name="connsiteX179" fmla="*/ 3611 w 10000"/>
                    <a:gd name="connsiteY179" fmla="*/ 7909 h 10000"/>
                    <a:gd name="connsiteX180" fmla="*/ 3556 w 10000"/>
                    <a:gd name="connsiteY180" fmla="*/ 7923 h 10000"/>
                    <a:gd name="connsiteX181" fmla="*/ 3556 w 10000"/>
                    <a:gd name="connsiteY181" fmla="*/ 7923 h 10000"/>
                    <a:gd name="connsiteX182" fmla="*/ 3444 w 10000"/>
                    <a:gd name="connsiteY182" fmla="*/ 7982 h 10000"/>
                    <a:gd name="connsiteX183" fmla="*/ 3278 w 10000"/>
                    <a:gd name="connsiteY183" fmla="*/ 8071 h 10000"/>
                    <a:gd name="connsiteX184" fmla="*/ 3000 w 10000"/>
                    <a:gd name="connsiteY184" fmla="*/ 8174 h 10000"/>
                    <a:gd name="connsiteX185" fmla="*/ 2667 w 10000"/>
                    <a:gd name="connsiteY185" fmla="*/ 8247 h 10000"/>
                    <a:gd name="connsiteX186" fmla="*/ 2667 w 10000"/>
                    <a:gd name="connsiteY186" fmla="*/ 8247 h 10000"/>
                    <a:gd name="connsiteX187" fmla="*/ 2333 w 10000"/>
                    <a:gd name="connsiteY187" fmla="*/ 8306 h 10000"/>
                    <a:gd name="connsiteX188" fmla="*/ 1833 w 10000"/>
                    <a:gd name="connsiteY188" fmla="*/ 8365 h 10000"/>
                    <a:gd name="connsiteX189" fmla="*/ 1389 w 10000"/>
                    <a:gd name="connsiteY189" fmla="*/ 8395 h 10000"/>
                    <a:gd name="connsiteX190" fmla="*/ 889 w 10000"/>
                    <a:gd name="connsiteY190" fmla="*/ 8409 h 10000"/>
                    <a:gd name="connsiteX191" fmla="*/ 889 w 10000"/>
                    <a:gd name="connsiteY191" fmla="*/ 8409 h 10000"/>
                    <a:gd name="connsiteX192" fmla="*/ 500 w 10000"/>
                    <a:gd name="connsiteY192" fmla="*/ 8424 h 10000"/>
                    <a:gd name="connsiteX193" fmla="*/ 222 w 10000"/>
                    <a:gd name="connsiteY193" fmla="*/ 8439 h 10000"/>
                    <a:gd name="connsiteX194" fmla="*/ 0 w 10000"/>
                    <a:gd name="connsiteY194" fmla="*/ 8454 h 10000"/>
                    <a:gd name="connsiteX195" fmla="*/ 0 w 10000"/>
                    <a:gd name="connsiteY195" fmla="*/ 8454 h 10000"/>
                    <a:gd name="connsiteX196" fmla="*/ 278 w 10000"/>
                    <a:gd name="connsiteY196" fmla="*/ 8689 h 10000"/>
                    <a:gd name="connsiteX197" fmla="*/ 500 w 10000"/>
                    <a:gd name="connsiteY197" fmla="*/ 8866 h 10000"/>
                    <a:gd name="connsiteX198" fmla="*/ 722 w 10000"/>
                    <a:gd name="connsiteY198" fmla="*/ 9013 h 10000"/>
                    <a:gd name="connsiteX199" fmla="*/ 722 w 10000"/>
                    <a:gd name="connsiteY199" fmla="*/ 9013 h 10000"/>
                    <a:gd name="connsiteX200" fmla="*/ 889 w 10000"/>
                    <a:gd name="connsiteY200" fmla="*/ 9102 h 10000"/>
                    <a:gd name="connsiteX201" fmla="*/ 944 w 10000"/>
                    <a:gd name="connsiteY201" fmla="*/ 9175 h 10000"/>
                    <a:gd name="connsiteX202" fmla="*/ 1111 w 10000"/>
                    <a:gd name="connsiteY202" fmla="*/ 9249 h 10000"/>
                    <a:gd name="connsiteX203" fmla="*/ 1333 w 10000"/>
                    <a:gd name="connsiteY203" fmla="*/ 9367 h 10000"/>
                    <a:gd name="connsiteX204" fmla="*/ 1333 w 10000"/>
                    <a:gd name="connsiteY204" fmla="*/ 9367 h 10000"/>
                    <a:gd name="connsiteX205" fmla="*/ 1444 w 10000"/>
                    <a:gd name="connsiteY205" fmla="*/ 9426 h 10000"/>
                    <a:gd name="connsiteX206" fmla="*/ 1500 w 10000"/>
                    <a:gd name="connsiteY206" fmla="*/ 9470 h 10000"/>
                    <a:gd name="connsiteX207" fmla="*/ 1500 w 10000"/>
                    <a:gd name="connsiteY207" fmla="*/ 9514 h 10000"/>
                    <a:gd name="connsiteX208" fmla="*/ 1556 w 10000"/>
                    <a:gd name="connsiteY208" fmla="*/ 9529 h 10000"/>
                    <a:gd name="connsiteX209" fmla="*/ 1722 w 10000"/>
                    <a:gd name="connsiteY209" fmla="*/ 9543 h 10000"/>
                    <a:gd name="connsiteX210" fmla="*/ 1944 w 10000"/>
                    <a:gd name="connsiteY210" fmla="*/ 9558 h 10000"/>
                    <a:gd name="connsiteX211" fmla="*/ 2944 w 10000"/>
                    <a:gd name="connsiteY211" fmla="*/ 9573 h 10000"/>
                    <a:gd name="connsiteX212" fmla="*/ 2944 w 10000"/>
                    <a:gd name="connsiteY212" fmla="*/ 9573 h 10000"/>
                    <a:gd name="connsiteX213" fmla="*/ 4167 w 10000"/>
                    <a:gd name="connsiteY213" fmla="*/ 9602 h 10000"/>
                    <a:gd name="connsiteX214" fmla="*/ 4889 w 10000"/>
                    <a:gd name="connsiteY214" fmla="*/ 9647 h 10000"/>
                    <a:gd name="connsiteX215" fmla="*/ 5278 w 10000"/>
                    <a:gd name="connsiteY215" fmla="*/ 9691 h 10000"/>
                    <a:gd name="connsiteX216" fmla="*/ 5444 w 10000"/>
                    <a:gd name="connsiteY216" fmla="*/ 9705 h 10000"/>
                    <a:gd name="connsiteX217" fmla="*/ 5444 w 10000"/>
                    <a:gd name="connsiteY217" fmla="*/ 9705 h 10000"/>
                    <a:gd name="connsiteX218" fmla="*/ 5722 w 10000"/>
                    <a:gd name="connsiteY218" fmla="*/ 9735 h 10000"/>
                    <a:gd name="connsiteX219" fmla="*/ 5833 w 10000"/>
                    <a:gd name="connsiteY219" fmla="*/ 9750 h 10000"/>
                    <a:gd name="connsiteX220" fmla="*/ 5833 w 10000"/>
                    <a:gd name="connsiteY220" fmla="*/ 9750 h 10000"/>
                    <a:gd name="connsiteX221" fmla="*/ 5833 w 10000"/>
                    <a:gd name="connsiteY221" fmla="*/ 9735 h 10000"/>
                    <a:gd name="connsiteX222" fmla="*/ 5889 w 10000"/>
                    <a:gd name="connsiteY222" fmla="*/ 9720 h 10000"/>
                    <a:gd name="connsiteX223" fmla="*/ 6000 w 10000"/>
                    <a:gd name="connsiteY223" fmla="*/ 9705 h 10000"/>
                    <a:gd name="connsiteX224" fmla="*/ 6167 w 10000"/>
                    <a:gd name="connsiteY224" fmla="*/ 9691 h 10000"/>
                    <a:gd name="connsiteX225" fmla="*/ 6444 w 10000"/>
                    <a:gd name="connsiteY225" fmla="*/ 9691 h 10000"/>
                    <a:gd name="connsiteX226" fmla="*/ 6833 w 10000"/>
                    <a:gd name="connsiteY226" fmla="*/ 9705 h 10000"/>
                    <a:gd name="connsiteX227" fmla="*/ 7278 w 10000"/>
                    <a:gd name="connsiteY227" fmla="*/ 9750 h 10000"/>
                    <a:gd name="connsiteX228" fmla="*/ 7278 w 10000"/>
                    <a:gd name="connsiteY228" fmla="*/ 9750 h 10000"/>
                    <a:gd name="connsiteX229" fmla="*/ 8722 w 10000"/>
                    <a:gd name="connsiteY229" fmla="*/ 9882 h 10000"/>
                    <a:gd name="connsiteX230" fmla="*/ 10000 w 10000"/>
                    <a:gd name="connsiteY23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889 w 10000"/>
                    <a:gd name="connsiteY71" fmla="*/ 4227 h 10000"/>
                    <a:gd name="connsiteX72" fmla="*/ 2000 w 10000"/>
                    <a:gd name="connsiteY72" fmla="*/ 4197 h 10000"/>
                    <a:gd name="connsiteX73" fmla="*/ 1889 w 10000"/>
                    <a:gd name="connsiteY73" fmla="*/ 4183 h 10000"/>
                    <a:gd name="connsiteX74" fmla="*/ 1778 w 10000"/>
                    <a:gd name="connsiteY74" fmla="*/ 4168 h 10000"/>
                    <a:gd name="connsiteX75" fmla="*/ 1778 w 10000"/>
                    <a:gd name="connsiteY75" fmla="*/ 4168 h 10000"/>
                    <a:gd name="connsiteX76" fmla="*/ 1667 w 10000"/>
                    <a:gd name="connsiteY76" fmla="*/ 4109 h 10000"/>
                    <a:gd name="connsiteX77" fmla="*/ 1500 w 10000"/>
                    <a:gd name="connsiteY77" fmla="*/ 4006 h 10000"/>
                    <a:gd name="connsiteX78" fmla="*/ 1444 w 10000"/>
                    <a:gd name="connsiteY78" fmla="*/ 3947 h 10000"/>
                    <a:gd name="connsiteX79" fmla="*/ 1444 w 10000"/>
                    <a:gd name="connsiteY79" fmla="*/ 3888 h 10000"/>
                    <a:gd name="connsiteX80" fmla="*/ 1444 w 10000"/>
                    <a:gd name="connsiteY80" fmla="*/ 3844 h 10000"/>
                    <a:gd name="connsiteX81" fmla="*/ 1556 w 10000"/>
                    <a:gd name="connsiteY81" fmla="*/ 3800 h 10000"/>
                    <a:gd name="connsiteX82" fmla="*/ 1556 w 10000"/>
                    <a:gd name="connsiteY82" fmla="*/ 3800 h 10000"/>
                    <a:gd name="connsiteX83" fmla="*/ 1833 w 10000"/>
                    <a:gd name="connsiteY83" fmla="*/ 3726 h 10000"/>
                    <a:gd name="connsiteX84" fmla="*/ 2111 w 10000"/>
                    <a:gd name="connsiteY84" fmla="*/ 3652 h 10000"/>
                    <a:gd name="connsiteX85" fmla="*/ 2278 w 10000"/>
                    <a:gd name="connsiteY85" fmla="*/ 3608 h 10000"/>
                    <a:gd name="connsiteX86" fmla="*/ 2389 w 10000"/>
                    <a:gd name="connsiteY86" fmla="*/ 3564 h 10000"/>
                    <a:gd name="connsiteX87" fmla="*/ 2389 w 10000"/>
                    <a:gd name="connsiteY87" fmla="*/ 3505 h 10000"/>
                    <a:gd name="connsiteX88" fmla="*/ 2389 w 10000"/>
                    <a:gd name="connsiteY88" fmla="*/ 3432 h 10000"/>
                    <a:gd name="connsiteX89" fmla="*/ 2389 w 10000"/>
                    <a:gd name="connsiteY89" fmla="*/ 3432 h 10000"/>
                    <a:gd name="connsiteX90" fmla="*/ 2167 w 10000"/>
                    <a:gd name="connsiteY90" fmla="*/ 3225 h 10000"/>
                    <a:gd name="connsiteX91" fmla="*/ 1889 w 10000"/>
                    <a:gd name="connsiteY91" fmla="*/ 2946 h 10000"/>
                    <a:gd name="connsiteX92" fmla="*/ 1667 w 10000"/>
                    <a:gd name="connsiteY92" fmla="*/ 2695 h 10000"/>
                    <a:gd name="connsiteX93" fmla="*/ 1611 w 10000"/>
                    <a:gd name="connsiteY93" fmla="*/ 2622 h 10000"/>
                    <a:gd name="connsiteX94" fmla="*/ 1611 w 10000"/>
                    <a:gd name="connsiteY94" fmla="*/ 2592 h 10000"/>
                    <a:gd name="connsiteX95" fmla="*/ 1667 w 10000"/>
                    <a:gd name="connsiteY95" fmla="*/ 2577 h 10000"/>
                    <a:gd name="connsiteX96" fmla="*/ 1667 w 10000"/>
                    <a:gd name="connsiteY96" fmla="*/ 2577 h 10000"/>
                    <a:gd name="connsiteX97" fmla="*/ 2000 w 10000"/>
                    <a:gd name="connsiteY97" fmla="*/ 2563 h 10000"/>
                    <a:gd name="connsiteX98" fmla="*/ 2222 w 10000"/>
                    <a:gd name="connsiteY98" fmla="*/ 2563 h 10000"/>
                    <a:gd name="connsiteX99" fmla="*/ 2389 w 10000"/>
                    <a:gd name="connsiteY99" fmla="*/ 2577 h 10000"/>
                    <a:gd name="connsiteX100" fmla="*/ 2389 w 10000"/>
                    <a:gd name="connsiteY100" fmla="*/ 2577 h 10000"/>
                    <a:gd name="connsiteX101" fmla="*/ 2444 w 10000"/>
                    <a:gd name="connsiteY101" fmla="*/ 2577 h 10000"/>
                    <a:gd name="connsiteX102" fmla="*/ 2500 w 10000"/>
                    <a:gd name="connsiteY102" fmla="*/ 2548 h 10000"/>
                    <a:gd name="connsiteX103" fmla="*/ 2778 w 10000"/>
                    <a:gd name="connsiteY103" fmla="*/ 2459 h 10000"/>
                    <a:gd name="connsiteX104" fmla="*/ 3500 w 10000"/>
                    <a:gd name="connsiteY104" fmla="*/ 2165 h 10000"/>
                    <a:gd name="connsiteX105" fmla="*/ 4444 w 10000"/>
                    <a:gd name="connsiteY105" fmla="*/ 1738 h 10000"/>
                    <a:gd name="connsiteX106" fmla="*/ 4444 w 10000"/>
                    <a:gd name="connsiteY106" fmla="*/ 1738 h 10000"/>
                    <a:gd name="connsiteX107" fmla="*/ 4444 w 10000"/>
                    <a:gd name="connsiteY107" fmla="*/ 1679 h 10000"/>
                    <a:gd name="connsiteX108" fmla="*/ 4444 w 10000"/>
                    <a:gd name="connsiteY108" fmla="*/ 1546 h 10000"/>
                    <a:gd name="connsiteX109" fmla="*/ 4500 w 10000"/>
                    <a:gd name="connsiteY109" fmla="*/ 1458 h 10000"/>
                    <a:gd name="connsiteX110" fmla="*/ 4611 w 10000"/>
                    <a:gd name="connsiteY110" fmla="*/ 1384 h 10000"/>
                    <a:gd name="connsiteX111" fmla="*/ 4778 w 10000"/>
                    <a:gd name="connsiteY111" fmla="*/ 1296 h 10000"/>
                    <a:gd name="connsiteX112" fmla="*/ 5000 w 10000"/>
                    <a:gd name="connsiteY112" fmla="*/ 1222 h 10000"/>
                    <a:gd name="connsiteX113" fmla="*/ 5000 w 10000"/>
                    <a:gd name="connsiteY113" fmla="*/ 1222 h 10000"/>
                    <a:gd name="connsiteX114" fmla="*/ 5556 w 10000"/>
                    <a:gd name="connsiteY114" fmla="*/ 1075 h 10000"/>
                    <a:gd name="connsiteX115" fmla="*/ 6111 w 10000"/>
                    <a:gd name="connsiteY115" fmla="*/ 884 h 10000"/>
                    <a:gd name="connsiteX116" fmla="*/ 6667 w 10000"/>
                    <a:gd name="connsiteY116" fmla="*/ 707 h 10000"/>
                    <a:gd name="connsiteX117" fmla="*/ 7056 w 10000"/>
                    <a:gd name="connsiteY117" fmla="*/ 545 h 10000"/>
                    <a:gd name="connsiteX118" fmla="*/ 7056 w 10000"/>
                    <a:gd name="connsiteY118" fmla="*/ 545 h 10000"/>
                    <a:gd name="connsiteX119" fmla="*/ 7333 w 10000"/>
                    <a:gd name="connsiteY119" fmla="*/ 398 h 10000"/>
                    <a:gd name="connsiteX120" fmla="*/ 7667 w 10000"/>
                    <a:gd name="connsiteY120" fmla="*/ 221 h 10000"/>
                    <a:gd name="connsiteX121" fmla="*/ 8000 w 10000"/>
                    <a:gd name="connsiteY121" fmla="*/ 88 h 10000"/>
                    <a:gd name="connsiteX122" fmla="*/ 8167 w 10000"/>
                    <a:gd name="connsiteY122" fmla="*/ 29 h 10000"/>
                    <a:gd name="connsiteX123" fmla="*/ 8333 w 10000"/>
                    <a:gd name="connsiteY123" fmla="*/ 15 h 10000"/>
                    <a:gd name="connsiteX124" fmla="*/ 8333 w 10000"/>
                    <a:gd name="connsiteY124" fmla="*/ 15 h 10000"/>
                    <a:gd name="connsiteX125" fmla="*/ 8667 w 10000"/>
                    <a:gd name="connsiteY125" fmla="*/ 0 h 10000"/>
                    <a:gd name="connsiteX126" fmla="*/ 9111 w 10000"/>
                    <a:gd name="connsiteY126" fmla="*/ 0 h 10000"/>
                    <a:gd name="connsiteX127" fmla="*/ 10000 w 10000"/>
                    <a:gd name="connsiteY127" fmla="*/ 15 h 10000"/>
                    <a:gd name="connsiteX128" fmla="*/ 10000 w 10000"/>
                    <a:gd name="connsiteY128" fmla="*/ 9013 h 10000"/>
                    <a:gd name="connsiteX129" fmla="*/ 10000 w 10000"/>
                    <a:gd name="connsiteY129" fmla="*/ 9013 h 10000"/>
                    <a:gd name="connsiteX130" fmla="*/ 9722 w 10000"/>
                    <a:gd name="connsiteY130" fmla="*/ 8999 h 10000"/>
                    <a:gd name="connsiteX131" fmla="*/ 9389 w 10000"/>
                    <a:gd name="connsiteY131" fmla="*/ 9013 h 10000"/>
                    <a:gd name="connsiteX132" fmla="*/ 9389 w 10000"/>
                    <a:gd name="connsiteY132" fmla="*/ 9013 h 10000"/>
                    <a:gd name="connsiteX133" fmla="*/ 9278 w 10000"/>
                    <a:gd name="connsiteY133" fmla="*/ 9028 h 10000"/>
                    <a:gd name="connsiteX134" fmla="*/ 9056 w 10000"/>
                    <a:gd name="connsiteY134" fmla="*/ 9013 h 10000"/>
                    <a:gd name="connsiteX135" fmla="*/ 8889 w 10000"/>
                    <a:gd name="connsiteY135" fmla="*/ 8999 h 10000"/>
                    <a:gd name="connsiteX136" fmla="*/ 8722 w 10000"/>
                    <a:gd name="connsiteY136" fmla="*/ 8969 h 10000"/>
                    <a:gd name="connsiteX137" fmla="*/ 8611 w 10000"/>
                    <a:gd name="connsiteY137" fmla="*/ 8925 h 10000"/>
                    <a:gd name="connsiteX138" fmla="*/ 8444 w 10000"/>
                    <a:gd name="connsiteY138" fmla="*/ 8851 h 10000"/>
                    <a:gd name="connsiteX139" fmla="*/ 8444 w 10000"/>
                    <a:gd name="connsiteY139" fmla="*/ 8851 h 10000"/>
                    <a:gd name="connsiteX140" fmla="*/ 8222 w 10000"/>
                    <a:gd name="connsiteY140" fmla="*/ 8719 h 10000"/>
                    <a:gd name="connsiteX141" fmla="*/ 8111 w 10000"/>
                    <a:gd name="connsiteY141" fmla="*/ 8660 h 10000"/>
                    <a:gd name="connsiteX142" fmla="*/ 7944 w 10000"/>
                    <a:gd name="connsiteY142" fmla="*/ 8616 h 10000"/>
                    <a:gd name="connsiteX143" fmla="*/ 7778 w 10000"/>
                    <a:gd name="connsiteY143" fmla="*/ 8586 h 10000"/>
                    <a:gd name="connsiteX144" fmla="*/ 7556 w 10000"/>
                    <a:gd name="connsiteY144" fmla="*/ 8571 h 10000"/>
                    <a:gd name="connsiteX145" fmla="*/ 7333 w 10000"/>
                    <a:gd name="connsiteY145" fmla="*/ 8557 h 10000"/>
                    <a:gd name="connsiteX146" fmla="*/ 7000 w 10000"/>
                    <a:gd name="connsiteY146" fmla="*/ 8542 h 10000"/>
                    <a:gd name="connsiteX147" fmla="*/ 7000 w 10000"/>
                    <a:gd name="connsiteY147" fmla="*/ 8542 h 10000"/>
                    <a:gd name="connsiteX148" fmla="*/ 6556 w 10000"/>
                    <a:gd name="connsiteY148" fmla="*/ 8557 h 10000"/>
                    <a:gd name="connsiteX149" fmla="*/ 6222 w 10000"/>
                    <a:gd name="connsiteY149" fmla="*/ 8557 h 10000"/>
                    <a:gd name="connsiteX150" fmla="*/ 6111 w 10000"/>
                    <a:gd name="connsiteY150" fmla="*/ 8542 h 10000"/>
                    <a:gd name="connsiteX151" fmla="*/ 6056 w 10000"/>
                    <a:gd name="connsiteY151" fmla="*/ 8527 h 10000"/>
                    <a:gd name="connsiteX152" fmla="*/ 6056 w 10000"/>
                    <a:gd name="connsiteY152" fmla="*/ 8527 h 10000"/>
                    <a:gd name="connsiteX153" fmla="*/ 6056 w 10000"/>
                    <a:gd name="connsiteY153" fmla="*/ 8262 h 10000"/>
                    <a:gd name="connsiteX154" fmla="*/ 6056 w 10000"/>
                    <a:gd name="connsiteY154" fmla="*/ 8262 h 10000"/>
                    <a:gd name="connsiteX155" fmla="*/ 6056 w 10000"/>
                    <a:gd name="connsiteY155" fmla="*/ 8203 h 10000"/>
                    <a:gd name="connsiteX156" fmla="*/ 5944 w 10000"/>
                    <a:gd name="connsiteY156" fmla="*/ 8130 h 10000"/>
                    <a:gd name="connsiteX157" fmla="*/ 5889 w 10000"/>
                    <a:gd name="connsiteY157" fmla="*/ 8115 h 10000"/>
                    <a:gd name="connsiteX158" fmla="*/ 5778 w 10000"/>
                    <a:gd name="connsiteY158" fmla="*/ 8100 h 10000"/>
                    <a:gd name="connsiteX159" fmla="*/ 5667 w 10000"/>
                    <a:gd name="connsiteY159" fmla="*/ 8100 h 10000"/>
                    <a:gd name="connsiteX160" fmla="*/ 5500 w 10000"/>
                    <a:gd name="connsiteY160" fmla="*/ 8115 h 10000"/>
                    <a:gd name="connsiteX161" fmla="*/ 5500 w 10000"/>
                    <a:gd name="connsiteY161" fmla="*/ 8115 h 10000"/>
                    <a:gd name="connsiteX162" fmla="*/ 4889 w 10000"/>
                    <a:gd name="connsiteY162" fmla="*/ 8218 h 10000"/>
                    <a:gd name="connsiteX163" fmla="*/ 4611 w 10000"/>
                    <a:gd name="connsiteY163" fmla="*/ 8247 h 10000"/>
                    <a:gd name="connsiteX164" fmla="*/ 4556 w 10000"/>
                    <a:gd name="connsiteY164" fmla="*/ 8262 h 10000"/>
                    <a:gd name="connsiteX165" fmla="*/ 4500 w 10000"/>
                    <a:gd name="connsiteY165" fmla="*/ 8247 h 10000"/>
                    <a:gd name="connsiteX166" fmla="*/ 4500 w 10000"/>
                    <a:gd name="connsiteY166" fmla="*/ 8247 h 10000"/>
                    <a:gd name="connsiteX167" fmla="*/ 4222 w 10000"/>
                    <a:gd name="connsiteY167" fmla="*/ 8100 h 10000"/>
                    <a:gd name="connsiteX168" fmla="*/ 4222 w 10000"/>
                    <a:gd name="connsiteY168" fmla="*/ 8100 h 10000"/>
                    <a:gd name="connsiteX169" fmla="*/ 4111 w 10000"/>
                    <a:gd name="connsiteY169" fmla="*/ 8027 h 10000"/>
                    <a:gd name="connsiteX170" fmla="*/ 4111 w 10000"/>
                    <a:gd name="connsiteY170" fmla="*/ 7982 h 10000"/>
                    <a:gd name="connsiteX171" fmla="*/ 4111 w 10000"/>
                    <a:gd name="connsiteY171" fmla="*/ 7938 h 10000"/>
                    <a:gd name="connsiteX172" fmla="*/ 4111 w 10000"/>
                    <a:gd name="connsiteY172" fmla="*/ 7938 h 10000"/>
                    <a:gd name="connsiteX173" fmla="*/ 4278 w 10000"/>
                    <a:gd name="connsiteY173" fmla="*/ 7894 h 10000"/>
                    <a:gd name="connsiteX174" fmla="*/ 4389 w 10000"/>
                    <a:gd name="connsiteY174" fmla="*/ 7879 h 10000"/>
                    <a:gd name="connsiteX175" fmla="*/ 4389 w 10000"/>
                    <a:gd name="connsiteY175" fmla="*/ 7879 h 10000"/>
                    <a:gd name="connsiteX176" fmla="*/ 4000 w 10000"/>
                    <a:gd name="connsiteY176" fmla="*/ 7879 h 10000"/>
                    <a:gd name="connsiteX177" fmla="*/ 3722 w 10000"/>
                    <a:gd name="connsiteY177" fmla="*/ 7894 h 10000"/>
                    <a:gd name="connsiteX178" fmla="*/ 3611 w 10000"/>
                    <a:gd name="connsiteY178" fmla="*/ 7909 h 10000"/>
                    <a:gd name="connsiteX179" fmla="*/ 3556 w 10000"/>
                    <a:gd name="connsiteY179" fmla="*/ 7923 h 10000"/>
                    <a:gd name="connsiteX180" fmla="*/ 3556 w 10000"/>
                    <a:gd name="connsiteY180" fmla="*/ 7923 h 10000"/>
                    <a:gd name="connsiteX181" fmla="*/ 3444 w 10000"/>
                    <a:gd name="connsiteY181" fmla="*/ 7982 h 10000"/>
                    <a:gd name="connsiteX182" fmla="*/ 3278 w 10000"/>
                    <a:gd name="connsiteY182" fmla="*/ 8071 h 10000"/>
                    <a:gd name="connsiteX183" fmla="*/ 3000 w 10000"/>
                    <a:gd name="connsiteY183" fmla="*/ 8174 h 10000"/>
                    <a:gd name="connsiteX184" fmla="*/ 2667 w 10000"/>
                    <a:gd name="connsiteY184" fmla="*/ 8247 h 10000"/>
                    <a:gd name="connsiteX185" fmla="*/ 2667 w 10000"/>
                    <a:gd name="connsiteY185" fmla="*/ 8247 h 10000"/>
                    <a:gd name="connsiteX186" fmla="*/ 2333 w 10000"/>
                    <a:gd name="connsiteY186" fmla="*/ 8306 h 10000"/>
                    <a:gd name="connsiteX187" fmla="*/ 1833 w 10000"/>
                    <a:gd name="connsiteY187" fmla="*/ 8365 h 10000"/>
                    <a:gd name="connsiteX188" fmla="*/ 1389 w 10000"/>
                    <a:gd name="connsiteY188" fmla="*/ 8395 h 10000"/>
                    <a:gd name="connsiteX189" fmla="*/ 889 w 10000"/>
                    <a:gd name="connsiteY189" fmla="*/ 8409 h 10000"/>
                    <a:gd name="connsiteX190" fmla="*/ 889 w 10000"/>
                    <a:gd name="connsiteY190" fmla="*/ 8409 h 10000"/>
                    <a:gd name="connsiteX191" fmla="*/ 500 w 10000"/>
                    <a:gd name="connsiteY191" fmla="*/ 8424 h 10000"/>
                    <a:gd name="connsiteX192" fmla="*/ 222 w 10000"/>
                    <a:gd name="connsiteY192" fmla="*/ 8439 h 10000"/>
                    <a:gd name="connsiteX193" fmla="*/ 0 w 10000"/>
                    <a:gd name="connsiteY193" fmla="*/ 8454 h 10000"/>
                    <a:gd name="connsiteX194" fmla="*/ 0 w 10000"/>
                    <a:gd name="connsiteY194" fmla="*/ 8454 h 10000"/>
                    <a:gd name="connsiteX195" fmla="*/ 278 w 10000"/>
                    <a:gd name="connsiteY195" fmla="*/ 8689 h 10000"/>
                    <a:gd name="connsiteX196" fmla="*/ 500 w 10000"/>
                    <a:gd name="connsiteY196" fmla="*/ 8866 h 10000"/>
                    <a:gd name="connsiteX197" fmla="*/ 722 w 10000"/>
                    <a:gd name="connsiteY197" fmla="*/ 9013 h 10000"/>
                    <a:gd name="connsiteX198" fmla="*/ 722 w 10000"/>
                    <a:gd name="connsiteY198" fmla="*/ 9013 h 10000"/>
                    <a:gd name="connsiteX199" fmla="*/ 889 w 10000"/>
                    <a:gd name="connsiteY199" fmla="*/ 9102 h 10000"/>
                    <a:gd name="connsiteX200" fmla="*/ 944 w 10000"/>
                    <a:gd name="connsiteY200" fmla="*/ 9175 h 10000"/>
                    <a:gd name="connsiteX201" fmla="*/ 1111 w 10000"/>
                    <a:gd name="connsiteY201" fmla="*/ 9249 h 10000"/>
                    <a:gd name="connsiteX202" fmla="*/ 1333 w 10000"/>
                    <a:gd name="connsiteY202" fmla="*/ 9367 h 10000"/>
                    <a:gd name="connsiteX203" fmla="*/ 1333 w 10000"/>
                    <a:gd name="connsiteY203" fmla="*/ 9367 h 10000"/>
                    <a:gd name="connsiteX204" fmla="*/ 1444 w 10000"/>
                    <a:gd name="connsiteY204" fmla="*/ 9426 h 10000"/>
                    <a:gd name="connsiteX205" fmla="*/ 1500 w 10000"/>
                    <a:gd name="connsiteY205" fmla="*/ 9470 h 10000"/>
                    <a:gd name="connsiteX206" fmla="*/ 1500 w 10000"/>
                    <a:gd name="connsiteY206" fmla="*/ 9514 h 10000"/>
                    <a:gd name="connsiteX207" fmla="*/ 1556 w 10000"/>
                    <a:gd name="connsiteY207" fmla="*/ 9529 h 10000"/>
                    <a:gd name="connsiteX208" fmla="*/ 1722 w 10000"/>
                    <a:gd name="connsiteY208" fmla="*/ 9543 h 10000"/>
                    <a:gd name="connsiteX209" fmla="*/ 1944 w 10000"/>
                    <a:gd name="connsiteY209" fmla="*/ 9558 h 10000"/>
                    <a:gd name="connsiteX210" fmla="*/ 2944 w 10000"/>
                    <a:gd name="connsiteY210" fmla="*/ 9573 h 10000"/>
                    <a:gd name="connsiteX211" fmla="*/ 2944 w 10000"/>
                    <a:gd name="connsiteY211" fmla="*/ 9573 h 10000"/>
                    <a:gd name="connsiteX212" fmla="*/ 4167 w 10000"/>
                    <a:gd name="connsiteY212" fmla="*/ 9602 h 10000"/>
                    <a:gd name="connsiteX213" fmla="*/ 4889 w 10000"/>
                    <a:gd name="connsiteY213" fmla="*/ 9647 h 10000"/>
                    <a:gd name="connsiteX214" fmla="*/ 5278 w 10000"/>
                    <a:gd name="connsiteY214" fmla="*/ 9691 h 10000"/>
                    <a:gd name="connsiteX215" fmla="*/ 5444 w 10000"/>
                    <a:gd name="connsiteY215" fmla="*/ 9705 h 10000"/>
                    <a:gd name="connsiteX216" fmla="*/ 5444 w 10000"/>
                    <a:gd name="connsiteY216" fmla="*/ 9705 h 10000"/>
                    <a:gd name="connsiteX217" fmla="*/ 5722 w 10000"/>
                    <a:gd name="connsiteY217" fmla="*/ 9735 h 10000"/>
                    <a:gd name="connsiteX218" fmla="*/ 5833 w 10000"/>
                    <a:gd name="connsiteY218" fmla="*/ 9750 h 10000"/>
                    <a:gd name="connsiteX219" fmla="*/ 5833 w 10000"/>
                    <a:gd name="connsiteY219" fmla="*/ 9750 h 10000"/>
                    <a:gd name="connsiteX220" fmla="*/ 5833 w 10000"/>
                    <a:gd name="connsiteY220" fmla="*/ 9735 h 10000"/>
                    <a:gd name="connsiteX221" fmla="*/ 5889 w 10000"/>
                    <a:gd name="connsiteY221" fmla="*/ 9720 h 10000"/>
                    <a:gd name="connsiteX222" fmla="*/ 6000 w 10000"/>
                    <a:gd name="connsiteY222" fmla="*/ 9705 h 10000"/>
                    <a:gd name="connsiteX223" fmla="*/ 6167 w 10000"/>
                    <a:gd name="connsiteY223" fmla="*/ 9691 h 10000"/>
                    <a:gd name="connsiteX224" fmla="*/ 6444 w 10000"/>
                    <a:gd name="connsiteY224" fmla="*/ 9691 h 10000"/>
                    <a:gd name="connsiteX225" fmla="*/ 6833 w 10000"/>
                    <a:gd name="connsiteY225" fmla="*/ 9705 h 10000"/>
                    <a:gd name="connsiteX226" fmla="*/ 7278 w 10000"/>
                    <a:gd name="connsiteY226" fmla="*/ 9750 h 10000"/>
                    <a:gd name="connsiteX227" fmla="*/ 7278 w 10000"/>
                    <a:gd name="connsiteY227" fmla="*/ 9750 h 10000"/>
                    <a:gd name="connsiteX228" fmla="*/ 8722 w 10000"/>
                    <a:gd name="connsiteY228" fmla="*/ 9882 h 10000"/>
                    <a:gd name="connsiteX229" fmla="*/ 10000 w 10000"/>
                    <a:gd name="connsiteY22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778 w 10000"/>
                    <a:gd name="connsiteY73" fmla="*/ 4168 h 10000"/>
                    <a:gd name="connsiteX74" fmla="*/ 1778 w 10000"/>
                    <a:gd name="connsiteY74" fmla="*/ 4168 h 10000"/>
                    <a:gd name="connsiteX75" fmla="*/ 1667 w 10000"/>
                    <a:gd name="connsiteY75" fmla="*/ 4109 h 10000"/>
                    <a:gd name="connsiteX76" fmla="*/ 1500 w 10000"/>
                    <a:gd name="connsiteY76" fmla="*/ 4006 h 10000"/>
                    <a:gd name="connsiteX77" fmla="*/ 1444 w 10000"/>
                    <a:gd name="connsiteY77" fmla="*/ 3947 h 10000"/>
                    <a:gd name="connsiteX78" fmla="*/ 1444 w 10000"/>
                    <a:gd name="connsiteY78" fmla="*/ 3888 h 10000"/>
                    <a:gd name="connsiteX79" fmla="*/ 1444 w 10000"/>
                    <a:gd name="connsiteY79" fmla="*/ 3844 h 10000"/>
                    <a:gd name="connsiteX80" fmla="*/ 1556 w 10000"/>
                    <a:gd name="connsiteY80" fmla="*/ 3800 h 10000"/>
                    <a:gd name="connsiteX81" fmla="*/ 1556 w 10000"/>
                    <a:gd name="connsiteY81" fmla="*/ 3800 h 10000"/>
                    <a:gd name="connsiteX82" fmla="*/ 1833 w 10000"/>
                    <a:gd name="connsiteY82" fmla="*/ 3726 h 10000"/>
                    <a:gd name="connsiteX83" fmla="*/ 2111 w 10000"/>
                    <a:gd name="connsiteY83" fmla="*/ 3652 h 10000"/>
                    <a:gd name="connsiteX84" fmla="*/ 2278 w 10000"/>
                    <a:gd name="connsiteY84" fmla="*/ 3608 h 10000"/>
                    <a:gd name="connsiteX85" fmla="*/ 2389 w 10000"/>
                    <a:gd name="connsiteY85" fmla="*/ 3564 h 10000"/>
                    <a:gd name="connsiteX86" fmla="*/ 2389 w 10000"/>
                    <a:gd name="connsiteY86" fmla="*/ 3505 h 10000"/>
                    <a:gd name="connsiteX87" fmla="*/ 2389 w 10000"/>
                    <a:gd name="connsiteY87" fmla="*/ 3432 h 10000"/>
                    <a:gd name="connsiteX88" fmla="*/ 2389 w 10000"/>
                    <a:gd name="connsiteY88" fmla="*/ 3432 h 10000"/>
                    <a:gd name="connsiteX89" fmla="*/ 2167 w 10000"/>
                    <a:gd name="connsiteY89" fmla="*/ 3225 h 10000"/>
                    <a:gd name="connsiteX90" fmla="*/ 1889 w 10000"/>
                    <a:gd name="connsiteY90" fmla="*/ 2946 h 10000"/>
                    <a:gd name="connsiteX91" fmla="*/ 1667 w 10000"/>
                    <a:gd name="connsiteY91" fmla="*/ 2695 h 10000"/>
                    <a:gd name="connsiteX92" fmla="*/ 1611 w 10000"/>
                    <a:gd name="connsiteY92" fmla="*/ 2622 h 10000"/>
                    <a:gd name="connsiteX93" fmla="*/ 1611 w 10000"/>
                    <a:gd name="connsiteY93" fmla="*/ 2592 h 10000"/>
                    <a:gd name="connsiteX94" fmla="*/ 1667 w 10000"/>
                    <a:gd name="connsiteY94" fmla="*/ 2577 h 10000"/>
                    <a:gd name="connsiteX95" fmla="*/ 1667 w 10000"/>
                    <a:gd name="connsiteY95" fmla="*/ 2577 h 10000"/>
                    <a:gd name="connsiteX96" fmla="*/ 2000 w 10000"/>
                    <a:gd name="connsiteY96" fmla="*/ 2563 h 10000"/>
                    <a:gd name="connsiteX97" fmla="*/ 2222 w 10000"/>
                    <a:gd name="connsiteY97" fmla="*/ 2563 h 10000"/>
                    <a:gd name="connsiteX98" fmla="*/ 2389 w 10000"/>
                    <a:gd name="connsiteY98" fmla="*/ 2577 h 10000"/>
                    <a:gd name="connsiteX99" fmla="*/ 2389 w 10000"/>
                    <a:gd name="connsiteY99" fmla="*/ 2577 h 10000"/>
                    <a:gd name="connsiteX100" fmla="*/ 2444 w 10000"/>
                    <a:gd name="connsiteY100" fmla="*/ 2577 h 10000"/>
                    <a:gd name="connsiteX101" fmla="*/ 2500 w 10000"/>
                    <a:gd name="connsiteY101" fmla="*/ 2548 h 10000"/>
                    <a:gd name="connsiteX102" fmla="*/ 2778 w 10000"/>
                    <a:gd name="connsiteY102" fmla="*/ 2459 h 10000"/>
                    <a:gd name="connsiteX103" fmla="*/ 3500 w 10000"/>
                    <a:gd name="connsiteY103" fmla="*/ 2165 h 10000"/>
                    <a:gd name="connsiteX104" fmla="*/ 4444 w 10000"/>
                    <a:gd name="connsiteY104" fmla="*/ 1738 h 10000"/>
                    <a:gd name="connsiteX105" fmla="*/ 4444 w 10000"/>
                    <a:gd name="connsiteY105" fmla="*/ 1738 h 10000"/>
                    <a:gd name="connsiteX106" fmla="*/ 4444 w 10000"/>
                    <a:gd name="connsiteY106" fmla="*/ 1679 h 10000"/>
                    <a:gd name="connsiteX107" fmla="*/ 4444 w 10000"/>
                    <a:gd name="connsiteY107" fmla="*/ 1546 h 10000"/>
                    <a:gd name="connsiteX108" fmla="*/ 4500 w 10000"/>
                    <a:gd name="connsiteY108" fmla="*/ 1458 h 10000"/>
                    <a:gd name="connsiteX109" fmla="*/ 4611 w 10000"/>
                    <a:gd name="connsiteY109" fmla="*/ 1384 h 10000"/>
                    <a:gd name="connsiteX110" fmla="*/ 4778 w 10000"/>
                    <a:gd name="connsiteY110" fmla="*/ 1296 h 10000"/>
                    <a:gd name="connsiteX111" fmla="*/ 5000 w 10000"/>
                    <a:gd name="connsiteY111" fmla="*/ 1222 h 10000"/>
                    <a:gd name="connsiteX112" fmla="*/ 5000 w 10000"/>
                    <a:gd name="connsiteY112" fmla="*/ 1222 h 10000"/>
                    <a:gd name="connsiteX113" fmla="*/ 5556 w 10000"/>
                    <a:gd name="connsiteY113" fmla="*/ 1075 h 10000"/>
                    <a:gd name="connsiteX114" fmla="*/ 6111 w 10000"/>
                    <a:gd name="connsiteY114" fmla="*/ 884 h 10000"/>
                    <a:gd name="connsiteX115" fmla="*/ 6667 w 10000"/>
                    <a:gd name="connsiteY115" fmla="*/ 707 h 10000"/>
                    <a:gd name="connsiteX116" fmla="*/ 7056 w 10000"/>
                    <a:gd name="connsiteY116" fmla="*/ 545 h 10000"/>
                    <a:gd name="connsiteX117" fmla="*/ 7056 w 10000"/>
                    <a:gd name="connsiteY117" fmla="*/ 545 h 10000"/>
                    <a:gd name="connsiteX118" fmla="*/ 7333 w 10000"/>
                    <a:gd name="connsiteY118" fmla="*/ 398 h 10000"/>
                    <a:gd name="connsiteX119" fmla="*/ 7667 w 10000"/>
                    <a:gd name="connsiteY119" fmla="*/ 221 h 10000"/>
                    <a:gd name="connsiteX120" fmla="*/ 8000 w 10000"/>
                    <a:gd name="connsiteY120" fmla="*/ 88 h 10000"/>
                    <a:gd name="connsiteX121" fmla="*/ 8167 w 10000"/>
                    <a:gd name="connsiteY121" fmla="*/ 29 h 10000"/>
                    <a:gd name="connsiteX122" fmla="*/ 8333 w 10000"/>
                    <a:gd name="connsiteY122" fmla="*/ 15 h 10000"/>
                    <a:gd name="connsiteX123" fmla="*/ 8333 w 10000"/>
                    <a:gd name="connsiteY123" fmla="*/ 15 h 10000"/>
                    <a:gd name="connsiteX124" fmla="*/ 8667 w 10000"/>
                    <a:gd name="connsiteY124" fmla="*/ 0 h 10000"/>
                    <a:gd name="connsiteX125" fmla="*/ 9111 w 10000"/>
                    <a:gd name="connsiteY125" fmla="*/ 0 h 10000"/>
                    <a:gd name="connsiteX126" fmla="*/ 10000 w 10000"/>
                    <a:gd name="connsiteY126" fmla="*/ 15 h 10000"/>
                    <a:gd name="connsiteX127" fmla="*/ 10000 w 10000"/>
                    <a:gd name="connsiteY127" fmla="*/ 9013 h 10000"/>
                    <a:gd name="connsiteX128" fmla="*/ 10000 w 10000"/>
                    <a:gd name="connsiteY128" fmla="*/ 9013 h 10000"/>
                    <a:gd name="connsiteX129" fmla="*/ 9722 w 10000"/>
                    <a:gd name="connsiteY129" fmla="*/ 8999 h 10000"/>
                    <a:gd name="connsiteX130" fmla="*/ 9389 w 10000"/>
                    <a:gd name="connsiteY130" fmla="*/ 9013 h 10000"/>
                    <a:gd name="connsiteX131" fmla="*/ 9389 w 10000"/>
                    <a:gd name="connsiteY131" fmla="*/ 9013 h 10000"/>
                    <a:gd name="connsiteX132" fmla="*/ 9278 w 10000"/>
                    <a:gd name="connsiteY132" fmla="*/ 9028 h 10000"/>
                    <a:gd name="connsiteX133" fmla="*/ 9056 w 10000"/>
                    <a:gd name="connsiteY133" fmla="*/ 9013 h 10000"/>
                    <a:gd name="connsiteX134" fmla="*/ 8889 w 10000"/>
                    <a:gd name="connsiteY134" fmla="*/ 8999 h 10000"/>
                    <a:gd name="connsiteX135" fmla="*/ 8722 w 10000"/>
                    <a:gd name="connsiteY135" fmla="*/ 8969 h 10000"/>
                    <a:gd name="connsiteX136" fmla="*/ 8611 w 10000"/>
                    <a:gd name="connsiteY136" fmla="*/ 8925 h 10000"/>
                    <a:gd name="connsiteX137" fmla="*/ 8444 w 10000"/>
                    <a:gd name="connsiteY137" fmla="*/ 8851 h 10000"/>
                    <a:gd name="connsiteX138" fmla="*/ 8444 w 10000"/>
                    <a:gd name="connsiteY138" fmla="*/ 8851 h 10000"/>
                    <a:gd name="connsiteX139" fmla="*/ 8222 w 10000"/>
                    <a:gd name="connsiteY139" fmla="*/ 8719 h 10000"/>
                    <a:gd name="connsiteX140" fmla="*/ 8111 w 10000"/>
                    <a:gd name="connsiteY140" fmla="*/ 8660 h 10000"/>
                    <a:gd name="connsiteX141" fmla="*/ 7944 w 10000"/>
                    <a:gd name="connsiteY141" fmla="*/ 8616 h 10000"/>
                    <a:gd name="connsiteX142" fmla="*/ 7778 w 10000"/>
                    <a:gd name="connsiteY142" fmla="*/ 8586 h 10000"/>
                    <a:gd name="connsiteX143" fmla="*/ 7556 w 10000"/>
                    <a:gd name="connsiteY143" fmla="*/ 8571 h 10000"/>
                    <a:gd name="connsiteX144" fmla="*/ 7333 w 10000"/>
                    <a:gd name="connsiteY144" fmla="*/ 8557 h 10000"/>
                    <a:gd name="connsiteX145" fmla="*/ 7000 w 10000"/>
                    <a:gd name="connsiteY145" fmla="*/ 8542 h 10000"/>
                    <a:gd name="connsiteX146" fmla="*/ 7000 w 10000"/>
                    <a:gd name="connsiteY146" fmla="*/ 8542 h 10000"/>
                    <a:gd name="connsiteX147" fmla="*/ 6556 w 10000"/>
                    <a:gd name="connsiteY147" fmla="*/ 8557 h 10000"/>
                    <a:gd name="connsiteX148" fmla="*/ 6222 w 10000"/>
                    <a:gd name="connsiteY148" fmla="*/ 8557 h 10000"/>
                    <a:gd name="connsiteX149" fmla="*/ 6111 w 10000"/>
                    <a:gd name="connsiteY149" fmla="*/ 8542 h 10000"/>
                    <a:gd name="connsiteX150" fmla="*/ 6056 w 10000"/>
                    <a:gd name="connsiteY150" fmla="*/ 8527 h 10000"/>
                    <a:gd name="connsiteX151" fmla="*/ 6056 w 10000"/>
                    <a:gd name="connsiteY151" fmla="*/ 8527 h 10000"/>
                    <a:gd name="connsiteX152" fmla="*/ 6056 w 10000"/>
                    <a:gd name="connsiteY152" fmla="*/ 8262 h 10000"/>
                    <a:gd name="connsiteX153" fmla="*/ 6056 w 10000"/>
                    <a:gd name="connsiteY153" fmla="*/ 8262 h 10000"/>
                    <a:gd name="connsiteX154" fmla="*/ 6056 w 10000"/>
                    <a:gd name="connsiteY154" fmla="*/ 8203 h 10000"/>
                    <a:gd name="connsiteX155" fmla="*/ 5944 w 10000"/>
                    <a:gd name="connsiteY155" fmla="*/ 8130 h 10000"/>
                    <a:gd name="connsiteX156" fmla="*/ 5889 w 10000"/>
                    <a:gd name="connsiteY156" fmla="*/ 8115 h 10000"/>
                    <a:gd name="connsiteX157" fmla="*/ 5778 w 10000"/>
                    <a:gd name="connsiteY157" fmla="*/ 8100 h 10000"/>
                    <a:gd name="connsiteX158" fmla="*/ 5667 w 10000"/>
                    <a:gd name="connsiteY158" fmla="*/ 8100 h 10000"/>
                    <a:gd name="connsiteX159" fmla="*/ 5500 w 10000"/>
                    <a:gd name="connsiteY159" fmla="*/ 8115 h 10000"/>
                    <a:gd name="connsiteX160" fmla="*/ 5500 w 10000"/>
                    <a:gd name="connsiteY160" fmla="*/ 8115 h 10000"/>
                    <a:gd name="connsiteX161" fmla="*/ 4889 w 10000"/>
                    <a:gd name="connsiteY161" fmla="*/ 8218 h 10000"/>
                    <a:gd name="connsiteX162" fmla="*/ 4611 w 10000"/>
                    <a:gd name="connsiteY162" fmla="*/ 8247 h 10000"/>
                    <a:gd name="connsiteX163" fmla="*/ 4556 w 10000"/>
                    <a:gd name="connsiteY163" fmla="*/ 8262 h 10000"/>
                    <a:gd name="connsiteX164" fmla="*/ 4500 w 10000"/>
                    <a:gd name="connsiteY164" fmla="*/ 8247 h 10000"/>
                    <a:gd name="connsiteX165" fmla="*/ 4500 w 10000"/>
                    <a:gd name="connsiteY165" fmla="*/ 8247 h 10000"/>
                    <a:gd name="connsiteX166" fmla="*/ 4222 w 10000"/>
                    <a:gd name="connsiteY166" fmla="*/ 8100 h 10000"/>
                    <a:gd name="connsiteX167" fmla="*/ 4222 w 10000"/>
                    <a:gd name="connsiteY167" fmla="*/ 8100 h 10000"/>
                    <a:gd name="connsiteX168" fmla="*/ 4111 w 10000"/>
                    <a:gd name="connsiteY168" fmla="*/ 8027 h 10000"/>
                    <a:gd name="connsiteX169" fmla="*/ 4111 w 10000"/>
                    <a:gd name="connsiteY169" fmla="*/ 7982 h 10000"/>
                    <a:gd name="connsiteX170" fmla="*/ 4111 w 10000"/>
                    <a:gd name="connsiteY170" fmla="*/ 7938 h 10000"/>
                    <a:gd name="connsiteX171" fmla="*/ 4111 w 10000"/>
                    <a:gd name="connsiteY171" fmla="*/ 7938 h 10000"/>
                    <a:gd name="connsiteX172" fmla="*/ 4278 w 10000"/>
                    <a:gd name="connsiteY172" fmla="*/ 7894 h 10000"/>
                    <a:gd name="connsiteX173" fmla="*/ 4389 w 10000"/>
                    <a:gd name="connsiteY173" fmla="*/ 7879 h 10000"/>
                    <a:gd name="connsiteX174" fmla="*/ 4389 w 10000"/>
                    <a:gd name="connsiteY174" fmla="*/ 7879 h 10000"/>
                    <a:gd name="connsiteX175" fmla="*/ 4000 w 10000"/>
                    <a:gd name="connsiteY175" fmla="*/ 7879 h 10000"/>
                    <a:gd name="connsiteX176" fmla="*/ 3722 w 10000"/>
                    <a:gd name="connsiteY176" fmla="*/ 7894 h 10000"/>
                    <a:gd name="connsiteX177" fmla="*/ 3611 w 10000"/>
                    <a:gd name="connsiteY177" fmla="*/ 7909 h 10000"/>
                    <a:gd name="connsiteX178" fmla="*/ 3556 w 10000"/>
                    <a:gd name="connsiteY178" fmla="*/ 7923 h 10000"/>
                    <a:gd name="connsiteX179" fmla="*/ 3556 w 10000"/>
                    <a:gd name="connsiteY179" fmla="*/ 7923 h 10000"/>
                    <a:gd name="connsiteX180" fmla="*/ 3444 w 10000"/>
                    <a:gd name="connsiteY180" fmla="*/ 7982 h 10000"/>
                    <a:gd name="connsiteX181" fmla="*/ 3278 w 10000"/>
                    <a:gd name="connsiteY181" fmla="*/ 8071 h 10000"/>
                    <a:gd name="connsiteX182" fmla="*/ 3000 w 10000"/>
                    <a:gd name="connsiteY182" fmla="*/ 8174 h 10000"/>
                    <a:gd name="connsiteX183" fmla="*/ 2667 w 10000"/>
                    <a:gd name="connsiteY183" fmla="*/ 8247 h 10000"/>
                    <a:gd name="connsiteX184" fmla="*/ 2667 w 10000"/>
                    <a:gd name="connsiteY184" fmla="*/ 8247 h 10000"/>
                    <a:gd name="connsiteX185" fmla="*/ 2333 w 10000"/>
                    <a:gd name="connsiteY185" fmla="*/ 8306 h 10000"/>
                    <a:gd name="connsiteX186" fmla="*/ 1833 w 10000"/>
                    <a:gd name="connsiteY186" fmla="*/ 8365 h 10000"/>
                    <a:gd name="connsiteX187" fmla="*/ 1389 w 10000"/>
                    <a:gd name="connsiteY187" fmla="*/ 8395 h 10000"/>
                    <a:gd name="connsiteX188" fmla="*/ 889 w 10000"/>
                    <a:gd name="connsiteY188" fmla="*/ 8409 h 10000"/>
                    <a:gd name="connsiteX189" fmla="*/ 889 w 10000"/>
                    <a:gd name="connsiteY189" fmla="*/ 8409 h 10000"/>
                    <a:gd name="connsiteX190" fmla="*/ 500 w 10000"/>
                    <a:gd name="connsiteY190" fmla="*/ 8424 h 10000"/>
                    <a:gd name="connsiteX191" fmla="*/ 222 w 10000"/>
                    <a:gd name="connsiteY191" fmla="*/ 8439 h 10000"/>
                    <a:gd name="connsiteX192" fmla="*/ 0 w 10000"/>
                    <a:gd name="connsiteY192" fmla="*/ 8454 h 10000"/>
                    <a:gd name="connsiteX193" fmla="*/ 0 w 10000"/>
                    <a:gd name="connsiteY193" fmla="*/ 8454 h 10000"/>
                    <a:gd name="connsiteX194" fmla="*/ 278 w 10000"/>
                    <a:gd name="connsiteY194" fmla="*/ 8689 h 10000"/>
                    <a:gd name="connsiteX195" fmla="*/ 500 w 10000"/>
                    <a:gd name="connsiteY195" fmla="*/ 8866 h 10000"/>
                    <a:gd name="connsiteX196" fmla="*/ 722 w 10000"/>
                    <a:gd name="connsiteY196" fmla="*/ 9013 h 10000"/>
                    <a:gd name="connsiteX197" fmla="*/ 722 w 10000"/>
                    <a:gd name="connsiteY197" fmla="*/ 9013 h 10000"/>
                    <a:gd name="connsiteX198" fmla="*/ 889 w 10000"/>
                    <a:gd name="connsiteY198" fmla="*/ 9102 h 10000"/>
                    <a:gd name="connsiteX199" fmla="*/ 944 w 10000"/>
                    <a:gd name="connsiteY199" fmla="*/ 9175 h 10000"/>
                    <a:gd name="connsiteX200" fmla="*/ 1111 w 10000"/>
                    <a:gd name="connsiteY200" fmla="*/ 9249 h 10000"/>
                    <a:gd name="connsiteX201" fmla="*/ 1333 w 10000"/>
                    <a:gd name="connsiteY201" fmla="*/ 9367 h 10000"/>
                    <a:gd name="connsiteX202" fmla="*/ 1333 w 10000"/>
                    <a:gd name="connsiteY202" fmla="*/ 9367 h 10000"/>
                    <a:gd name="connsiteX203" fmla="*/ 1444 w 10000"/>
                    <a:gd name="connsiteY203" fmla="*/ 9426 h 10000"/>
                    <a:gd name="connsiteX204" fmla="*/ 1500 w 10000"/>
                    <a:gd name="connsiteY204" fmla="*/ 9470 h 10000"/>
                    <a:gd name="connsiteX205" fmla="*/ 1500 w 10000"/>
                    <a:gd name="connsiteY205" fmla="*/ 9514 h 10000"/>
                    <a:gd name="connsiteX206" fmla="*/ 1556 w 10000"/>
                    <a:gd name="connsiteY206" fmla="*/ 9529 h 10000"/>
                    <a:gd name="connsiteX207" fmla="*/ 1722 w 10000"/>
                    <a:gd name="connsiteY207" fmla="*/ 9543 h 10000"/>
                    <a:gd name="connsiteX208" fmla="*/ 1944 w 10000"/>
                    <a:gd name="connsiteY208" fmla="*/ 9558 h 10000"/>
                    <a:gd name="connsiteX209" fmla="*/ 2944 w 10000"/>
                    <a:gd name="connsiteY209" fmla="*/ 9573 h 10000"/>
                    <a:gd name="connsiteX210" fmla="*/ 2944 w 10000"/>
                    <a:gd name="connsiteY210" fmla="*/ 9573 h 10000"/>
                    <a:gd name="connsiteX211" fmla="*/ 4167 w 10000"/>
                    <a:gd name="connsiteY211" fmla="*/ 9602 h 10000"/>
                    <a:gd name="connsiteX212" fmla="*/ 4889 w 10000"/>
                    <a:gd name="connsiteY212" fmla="*/ 9647 h 10000"/>
                    <a:gd name="connsiteX213" fmla="*/ 5278 w 10000"/>
                    <a:gd name="connsiteY213" fmla="*/ 9691 h 10000"/>
                    <a:gd name="connsiteX214" fmla="*/ 5444 w 10000"/>
                    <a:gd name="connsiteY214" fmla="*/ 9705 h 10000"/>
                    <a:gd name="connsiteX215" fmla="*/ 5444 w 10000"/>
                    <a:gd name="connsiteY215" fmla="*/ 9705 h 10000"/>
                    <a:gd name="connsiteX216" fmla="*/ 5722 w 10000"/>
                    <a:gd name="connsiteY216" fmla="*/ 9735 h 10000"/>
                    <a:gd name="connsiteX217" fmla="*/ 5833 w 10000"/>
                    <a:gd name="connsiteY217" fmla="*/ 9750 h 10000"/>
                    <a:gd name="connsiteX218" fmla="*/ 5833 w 10000"/>
                    <a:gd name="connsiteY218" fmla="*/ 9750 h 10000"/>
                    <a:gd name="connsiteX219" fmla="*/ 5833 w 10000"/>
                    <a:gd name="connsiteY219" fmla="*/ 9735 h 10000"/>
                    <a:gd name="connsiteX220" fmla="*/ 5889 w 10000"/>
                    <a:gd name="connsiteY220" fmla="*/ 9720 h 10000"/>
                    <a:gd name="connsiteX221" fmla="*/ 6000 w 10000"/>
                    <a:gd name="connsiteY221" fmla="*/ 9705 h 10000"/>
                    <a:gd name="connsiteX222" fmla="*/ 6167 w 10000"/>
                    <a:gd name="connsiteY222" fmla="*/ 9691 h 10000"/>
                    <a:gd name="connsiteX223" fmla="*/ 6444 w 10000"/>
                    <a:gd name="connsiteY223" fmla="*/ 9691 h 10000"/>
                    <a:gd name="connsiteX224" fmla="*/ 6833 w 10000"/>
                    <a:gd name="connsiteY224" fmla="*/ 9705 h 10000"/>
                    <a:gd name="connsiteX225" fmla="*/ 7278 w 10000"/>
                    <a:gd name="connsiteY225" fmla="*/ 9750 h 10000"/>
                    <a:gd name="connsiteX226" fmla="*/ 7278 w 10000"/>
                    <a:gd name="connsiteY226" fmla="*/ 9750 h 10000"/>
                    <a:gd name="connsiteX227" fmla="*/ 8722 w 10000"/>
                    <a:gd name="connsiteY227" fmla="*/ 9882 h 10000"/>
                    <a:gd name="connsiteX228" fmla="*/ 10000 w 10000"/>
                    <a:gd name="connsiteY22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778 w 10000"/>
                    <a:gd name="connsiteY73" fmla="*/ 4168 h 10000"/>
                    <a:gd name="connsiteX74" fmla="*/ 1778 w 10000"/>
                    <a:gd name="connsiteY74" fmla="*/ 4168 h 10000"/>
                    <a:gd name="connsiteX75" fmla="*/ 1500 w 10000"/>
                    <a:gd name="connsiteY75" fmla="*/ 4006 h 10000"/>
                    <a:gd name="connsiteX76" fmla="*/ 1444 w 10000"/>
                    <a:gd name="connsiteY76" fmla="*/ 3947 h 10000"/>
                    <a:gd name="connsiteX77" fmla="*/ 1444 w 10000"/>
                    <a:gd name="connsiteY77" fmla="*/ 3888 h 10000"/>
                    <a:gd name="connsiteX78" fmla="*/ 1444 w 10000"/>
                    <a:gd name="connsiteY78" fmla="*/ 3844 h 10000"/>
                    <a:gd name="connsiteX79" fmla="*/ 1556 w 10000"/>
                    <a:gd name="connsiteY79" fmla="*/ 3800 h 10000"/>
                    <a:gd name="connsiteX80" fmla="*/ 1556 w 10000"/>
                    <a:gd name="connsiteY80" fmla="*/ 3800 h 10000"/>
                    <a:gd name="connsiteX81" fmla="*/ 1833 w 10000"/>
                    <a:gd name="connsiteY81" fmla="*/ 3726 h 10000"/>
                    <a:gd name="connsiteX82" fmla="*/ 2111 w 10000"/>
                    <a:gd name="connsiteY82" fmla="*/ 3652 h 10000"/>
                    <a:gd name="connsiteX83" fmla="*/ 2278 w 10000"/>
                    <a:gd name="connsiteY83" fmla="*/ 3608 h 10000"/>
                    <a:gd name="connsiteX84" fmla="*/ 2389 w 10000"/>
                    <a:gd name="connsiteY84" fmla="*/ 3564 h 10000"/>
                    <a:gd name="connsiteX85" fmla="*/ 2389 w 10000"/>
                    <a:gd name="connsiteY85" fmla="*/ 3505 h 10000"/>
                    <a:gd name="connsiteX86" fmla="*/ 2389 w 10000"/>
                    <a:gd name="connsiteY86" fmla="*/ 3432 h 10000"/>
                    <a:gd name="connsiteX87" fmla="*/ 2389 w 10000"/>
                    <a:gd name="connsiteY87" fmla="*/ 3432 h 10000"/>
                    <a:gd name="connsiteX88" fmla="*/ 2167 w 10000"/>
                    <a:gd name="connsiteY88" fmla="*/ 3225 h 10000"/>
                    <a:gd name="connsiteX89" fmla="*/ 1889 w 10000"/>
                    <a:gd name="connsiteY89" fmla="*/ 2946 h 10000"/>
                    <a:gd name="connsiteX90" fmla="*/ 1667 w 10000"/>
                    <a:gd name="connsiteY90" fmla="*/ 2695 h 10000"/>
                    <a:gd name="connsiteX91" fmla="*/ 1611 w 10000"/>
                    <a:gd name="connsiteY91" fmla="*/ 2622 h 10000"/>
                    <a:gd name="connsiteX92" fmla="*/ 1611 w 10000"/>
                    <a:gd name="connsiteY92" fmla="*/ 2592 h 10000"/>
                    <a:gd name="connsiteX93" fmla="*/ 1667 w 10000"/>
                    <a:gd name="connsiteY93" fmla="*/ 2577 h 10000"/>
                    <a:gd name="connsiteX94" fmla="*/ 1667 w 10000"/>
                    <a:gd name="connsiteY94" fmla="*/ 2577 h 10000"/>
                    <a:gd name="connsiteX95" fmla="*/ 2000 w 10000"/>
                    <a:gd name="connsiteY95" fmla="*/ 2563 h 10000"/>
                    <a:gd name="connsiteX96" fmla="*/ 2222 w 10000"/>
                    <a:gd name="connsiteY96" fmla="*/ 2563 h 10000"/>
                    <a:gd name="connsiteX97" fmla="*/ 2389 w 10000"/>
                    <a:gd name="connsiteY97" fmla="*/ 2577 h 10000"/>
                    <a:gd name="connsiteX98" fmla="*/ 2389 w 10000"/>
                    <a:gd name="connsiteY98" fmla="*/ 2577 h 10000"/>
                    <a:gd name="connsiteX99" fmla="*/ 2444 w 10000"/>
                    <a:gd name="connsiteY99" fmla="*/ 2577 h 10000"/>
                    <a:gd name="connsiteX100" fmla="*/ 2500 w 10000"/>
                    <a:gd name="connsiteY100" fmla="*/ 2548 h 10000"/>
                    <a:gd name="connsiteX101" fmla="*/ 2778 w 10000"/>
                    <a:gd name="connsiteY101" fmla="*/ 2459 h 10000"/>
                    <a:gd name="connsiteX102" fmla="*/ 3500 w 10000"/>
                    <a:gd name="connsiteY102" fmla="*/ 2165 h 10000"/>
                    <a:gd name="connsiteX103" fmla="*/ 4444 w 10000"/>
                    <a:gd name="connsiteY103" fmla="*/ 1738 h 10000"/>
                    <a:gd name="connsiteX104" fmla="*/ 4444 w 10000"/>
                    <a:gd name="connsiteY104" fmla="*/ 1738 h 10000"/>
                    <a:gd name="connsiteX105" fmla="*/ 4444 w 10000"/>
                    <a:gd name="connsiteY105" fmla="*/ 1679 h 10000"/>
                    <a:gd name="connsiteX106" fmla="*/ 4444 w 10000"/>
                    <a:gd name="connsiteY106" fmla="*/ 1546 h 10000"/>
                    <a:gd name="connsiteX107" fmla="*/ 4500 w 10000"/>
                    <a:gd name="connsiteY107" fmla="*/ 1458 h 10000"/>
                    <a:gd name="connsiteX108" fmla="*/ 4611 w 10000"/>
                    <a:gd name="connsiteY108" fmla="*/ 1384 h 10000"/>
                    <a:gd name="connsiteX109" fmla="*/ 4778 w 10000"/>
                    <a:gd name="connsiteY109" fmla="*/ 1296 h 10000"/>
                    <a:gd name="connsiteX110" fmla="*/ 5000 w 10000"/>
                    <a:gd name="connsiteY110" fmla="*/ 1222 h 10000"/>
                    <a:gd name="connsiteX111" fmla="*/ 5000 w 10000"/>
                    <a:gd name="connsiteY111" fmla="*/ 1222 h 10000"/>
                    <a:gd name="connsiteX112" fmla="*/ 5556 w 10000"/>
                    <a:gd name="connsiteY112" fmla="*/ 1075 h 10000"/>
                    <a:gd name="connsiteX113" fmla="*/ 6111 w 10000"/>
                    <a:gd name="connsiteY113" fmla="*/ 884 h 10000"/>
                    <a:gd name="connsiteX114" fmla="*/ 6667 w 10000"/>
                    <a:gd name="connsiteY114" fmla="*/ 707 h 10000"/>
                    <a:gd name="connsiteX115" fmla="*/ 7056 w 10000"/>
                    <a:gd name="connsiteY115" fmla="*/ 545 h 10000"/>
                    <a:gd name="connsiteX116" fmla="*/ 7056 w 10000"/>
                    <a:gd name="connsiteY116" fmla="*/ 545 h 10000"/>
                    <a:gd name="connsiteX117" fmla="*/ 7333 w 10000"/>
                    <a:gd name="connsiteY117" fmla="*/ 398 h 10000"/>
                    <a:gd name="connsiteX118" fmla="*/ 7667 w 10000"/>
                    <a:gd name="connsiteY118" fmla="*/ 221 h 10000"/>
                    <a:gd name="connsiteX119" fmla="*/ 8000 w 10000"/>
                    <a:gd name="connsiteY119" fmla="*/ 88 h 10000"/>
                    <a:gd name="connsiteX120" fmla="*/ 8167 w 10000"/>
                    <a:gd name="connsiteY120" fmla="*/ 29 h 10000"/>
                    <a:gd name="connsiteX121" fmla="*/ 8333 w 10000"/>
                    <a:gd name="connsiteY121" fmla="*/ 15 h 10000"/>
                    <a:gd name="connsiteX122" fmla="*/ 8333 w 10000"/>
                    <a:gd name="connsiteY122" fmla="*/ 15 h 10000"/>
                    <a:gd name="connsiteX123" fmla="*/ 8667 w 10000"/>
                    <a:gd name="connsiteY123" fmla="*/ 0 h 10000"/>
                    <a:gd name="connsiteX124" fmla="*/ 9111 w 10000"/>
                    <a:gd name="connsiteY124" fmla="*/ 0 h 10000"/>
                    <a:gd name="connsiteX125" fmla="*/ 10000 w 10000"/>
                    <a:gd name="connsiteY125" fmla="*/ 15 h 10000"/>
                    <a:gd name="connsiteX126" fmla="*/ 10000 w 10000"/>
                    <a:gd name="connsiteY126" fmla="*/ 9013 h 10000"/>
                    <a:gd name="connsiteX127" fmla="*/ 10000 w 10000"/>
                    <a:gd name="connsiteY127" fmla="*/ 9013 h 10000"/>
                    <a:gd name="connsiteX128" fmla="*/ 9722 w 10000"/>
                    <a:gd name="connsiteY128" fmla="*/ 8999 h 10000"/>
                    <a:gd name="connsiteX129" fmla="*/ 9389 w 10000"/>
                    <a:gd name="connsiteY129" fmla="*/ 9013 h 10000"/>
                    <a:gd name="connsiteX130" fmla="*/ 9389 w 10000"/>
                    <a:gd name="connsiteY130" fmla="*/ 9013 h 10000"/>
                    <a:gd name="connsiteX131" fmla="*/ 9278 w 10000"/>
                    <a:gd name="connsiteY131" fmla="*/ 9028 h 10000"/>
                    <a:gd name="connsiteX132" fmla="*/ 9056 w 10000"/>
                    <a:gd name="connsiteY132" fmla="*/ 9013 h 10000"/>
                    <a:gd name="connsiteX133" fmla="*/ 8889 w 10000"/>
                    <a:gd name="connsiteY133" fmla="*/ 8999 h 10000"/>
                    <a:gd name="connsiteX134" fmla="*/ 8722 w 10000"/>
                    <a:gd name="connsiteY134" fmla="*/ 8969 h 10000"/>
                    <a:gd name="connsiteX135" fmla="*/ 8611 w 10000"/>
                    <a:gd name="connsiteY135" fmla="*/ 8925 h 10000"/>
                    <a:gd name="connsiteX136" fmla="*/ 8444 w 10000"/>
                    <a:gd name="connsiteY136" fmla="*/ 8851 h 10000"/>
                    <a:gd name="connsiteX137" fmla="*/ 8444 w 10000"/>
                    <a:gd name="connsiteY137" fmla="*/ 8851 h 10000"/>
                    <a:gd name="connsiteX138" fmla="*/ 8222 w 10000"/>
                    <a:gd name="connsiteY138" fmla="*/ 8719 h 10000"/>
                    <a:gd name="connsiteX139" fmla="*/ 8111 w 10000"/>
                    <a:gd name="connsiteY139" fmla="*/ 8660 h 10000"/>
                    <a:gd name="connsiteX140" fmla="*/ 7944 w 10000"/>
                    <a:gd name="connsiteY140" fmla="*/ 8616 h 10000"/>
                    <a:gd name="connsiteX141" fmla="*/ 7778 w 10000"/>
                    <a:gd name="connsiteY141" fmla="*/ 8586 h 10000"/>
                    <a:gd name="connsiteX142" fmla="*/ 7556 w 10000"/>
                    <a:gd name="connsiteY142" fmla="*/ 8571 h 10000"/>
                    <a:gd name="connsiteX143" fmla="*/ 7333 w 10000"/>
                    <a:gd name="connsiteY143" fmla="*/ 8557 h 10000"/>
                    <a:gd name="connsiteX144" fmla="*/ 7000 w 10000"/>
                    <a:gd name="connsiteY144" fmla="*/ 8542 h 10000"/>
                    <a:gd name="connsiteX145" fmla="*/ 7000 w 10000"/>
                    <a:gd name="connsiteY145" fmla="*/ 8542 h 10000"/>
                    <a:gd name="connsiteX146" fmla="*/ 6556 w 10000"/>
                    <a:gd name="connsiteY146" fmla="*/ 8557 h 10000"/>
                    <a:gd name="connsiteX147" fmla="*/ 6222 w 10000"/>
                    <a:gd name="connsiteY147" fmla="*/ 8557 h 10000"/>
                    <a:gd name="connsiteX148" fmla="*/ 6111 w 10000"/>
                    <a:gd name="connsiteY148" fmla="*/ 8542 h 10000"/>
                    <a:gd name="connsiteX149" fmla="*/ 6056 w 10000"/>
                    <a:gd name="connsiteY149" fmla="*/ 8527 h 10000"/>
                    <a:gd name="connsiteX150" fmla="*/ 6056 w 10000"/>
                    <a:gd name="connsiteY150" fmla="*/ 8527 h 10000"/>
                    <a:gd name="connsiteX151" fmla="*/ 6056 w 10000"/>
                    <a:gd name="connsiteY151" fmla="*/ 8262 h 10000"/>
                    <a:gd name="connsiteX152" fmla="*/ 6056 w 10000"/>
                    <a:gd name="connsiteY152" fmla="*/ 8262 h 10000"/>
                    <a:gd name="connsiteX153" fmla="*/ 6056 w 10000"/>
                    <a:gd name="connsiteY153" fmla="*/ 8203 h 10000"/>
                    <a:gd name="connsiteX154" fmla="*/ 5944 w 10000"/>
                    <a:gd name="connsiteY154" fmla="*/ 8130 h 10000"/>
                    <a:gd name="connsiteX155" fmla="*/ 5889 w 10000"/>
                    <a:gd name="connsiteY155" fmla="*/ 8115 h 10000"/>
                    <a:gd name="connsiteX156" fmla="*/ 5778 w 10000"/>
                    <a:gd name="connsiteY156" fmla="*/ 8100 h 10000"/>
                    <a:gd name="connsiteX157" fmla="*/ 5667 w 10000"/>
                    <a:gd name="connsiteY157" fmla="*/ 8100 h 10000"/>
                    <a:gd name="connsiteX158" fmla="*/ 5500 w 10000"/>
                    <a:gd name="connsiteY158" fmla="*/ 8115 h 10000"/>
                    <a:gd name="connsiteX159" fmla="*/ 5500 w 10000"/>
                    <a:gd name="connsiteY159" fmla="*/ 8115 h 10000"/>
                    <a:gd name="connsiteX160" fmla="*/ 4889 w 10000"/>
                    <a:gd name="connsiteY160" fmla="*/ 8218 h 10000"/>
                    <a:gd name="connsiteX161" fmla="*/ 4611 w 10000"/>
                    <a:gd name="connsiteY161" fmla="*/ 8247 h 10000"/>
                    <a:gd name="connsiteX162" fmla="*/ 4556 w 10000"/>
                    <a:gd name="connsiteY162" fmla="*/ 8262 h 10000"/>
                    <a:gd name="connsiteX163" fmla="*/ 4500 w 10000"/>
                    <a:gd name="connsiteY163" fmla="*/ 8247 h 10000"/>
                    <a:gd name="connsiteX164" fmla="*/ 4500 w 10000"/>
                    <a:gd name="connsiteY164" fmla="*/ 8247 h 10000"/>
                    <a:gd name="connsiteX165" fmla="*/ 4222 w 10000"/>
                    <a:gd name="connsiteY165" fmla="*/ 8100 h 10000"/>
                    <a:gd name="connsiteX166" fmla="*/ 4222 w 10000"/>
                    <a:gd name="connsiteY166" fmla="*/ 8100 h 10000"/>
                    <a:gd name="connsiteX167" fmla="*/ 4111 w 10000"/>
                    <a:gd name="connsiteY167" fmla="*/ 8027 h 10000"/>
                    <a:gd name="connsiteX168" fmla="*/ 4111 w 10000"/>
                    <a:gd name="connsiteY168" fmla="*/ 7982 h 10000"/>
                    <a:gd name="connsiteX169" fmla="*/ 4111 w 10000"/>
                    <a:gd name="connsiteY169" fmla="*/ 7938 h 10000"/>
                    <a:gd name="connsiteX170" fmla="*/ 4111 w 10000"/>
                    <a:gd name="connsiteY170" fmla="*/ 7938 h 10000"/>
                    <a:gd name="connsiteX171" fmla="*/ 4278 w 10000"/>
                    <a:gd name="connsiteY171" fmla="*/ 7894 h 10000"/>
                    <a:gd name="connsiteX172" fmla="*/ 4389 w 10000"/>
                    <a:gd name="connsiteY172" fmla="*/ 7879 h 10000"/>
                    <a:gd name="connsiteX173" fmla="*/ 4389 w 10000"/>
                    <a:gd name="connsiteY173" fmla="*/ 7879 h 10000"/>
                    <a:gd name="connsiteX174" fmla="*/ 4000 w 10000"/>
                    <a:gd name="connsiteY174" fmla="*/ 7879 h 10000"/>
                    <a:gd name="connsiteX175" fmla="*/ 3722 w 10000"/>
                    <a:gd name="connsiteY175" fmla="*/ 7894 h 10000"/>
                    <a:gd name="connsiteX176" fmla="*/ 3611 w 10000"/>
                    <a:gd name="connsiteY176" fmla="*/ 7909 h 10000"/>
                    <a:gd name="connsiteX177" fmla="*/ 3556 w 10000"/>
                    <a:gd name="connsiteY177" fmla="*/ 7923 h 10000"/>
                    <a:gd name="connsiteX178" fmla="*/ 3556 w 10000"/>
                    <a:gd name="connsiteY178" fmla="*/ 7923 h 10000"/>
                    <a:gd name="connsiteX179" fmla="*/ 3444 w 10000"/>
                    <a:gd name="connsiteY179" fmla="*/ 7982 h 10000"/>
                    <a:gd name="connsiteX180" fmla="*/ 3278 w 10000"/>
                    <a:gd name="connsiteY180" fmla="*/ 8071 h 10000"/>
                    <a:gd name="connsiteX181" fmla="*/ 3000 w 10000"/>
                    <a:gd name="connsiteY181" fmla="*/ 8174 h 10000"/>
                    <a:gd name="connsiteX182" fmla="*/ 2667 w 10000"/>
                    <a:gd name="connsiteY182" fmla="*/ 8247 h 10000"/>
                    <a:gd name="connsiteX183" fmla="*/ 2667 w 10000"/>
                    <a:gd name="connsiteY183" fmla="*/ 8247 h 10000"/>
                    <a:gd name="connsiteX184" fmla="*/ 2333 w 10000"/>
                    <a:gd name="connsiteY184" fmla="*/ 8306 h 10000"/>
                    <a:gd name="connsiteX185" fmla="*/ 1833 w 10000"/>
                    <a:gd name="connsiteY185" fmla="*/ 8365 h 10000"/>
                    <a:gd name="connsiteX186" fmla="*/ 1389 w 10000"/>
                    <a:gd name="connsiteY186" fmla="*/ 8395 h 10000"/>
                    <a:gd name="connsiteX187" fmla="*/ 889 w 10000"/>
                    <a:gd name="connsiteY187" fmla="*/ 8409 h 10000"/>
                    <a:gd name="connsiteX188" fmla="*/ 889 w 10000"/>
                    <a:gd name="connsiteY188" fmla="*/ 8409 h 10000"/>
                    <a:gd name="connsiteX189" fmla="*/ 500 w 10000"/>
                    <a:gd name="connsiteY189" fmla="*/ 8424 h 10000"/>
                    <a:gd name="connsiteX190" fmla="*/ 222 w 10000"/>
                    <a:gd name="connsiteY190" fmla="*/ 8439 h 10000"/>
                    <a:gd name="connsiteX191" fmla="*/ 0 w 10000"/>
                    <a:gd name="connsiteY191" fmla="*/ 8454 h 10000"/>
                    <a:gd name="connsiteX192" fmla="*/ 0 w 10000"/>
                    <a:gd name="connsiteY192" fmla="*/ 8454 h 10000"/>
                    <a:gd name="connsiteX193" fmla="*/ 278 w 10000"/>
                    <a:gd name="connsiteY193" fmla="*/ 8689 h 10000"/>
                    <a:gd name="connsiteX194" fmla="*/ 500 w 10000"/>
                    <a:gd name="connsiteY194" fmla="*/ 8866 h 10000"/>
                    <a:gd name="connsiteX195" fmla="*/ 722 w 10000"/>
                    <a:gd name="connsiteY195" fmla="*/ 9013 h 10000"/>
                    <a:gd name="connsiteX196" fmla="*/ 722 w 10000"/>
                    <a:gd name="connsiteY196" fmla="*/ 9013 h 10000"/>
                    <a:gd name="connsiteX197" fmla="*/ 889 w 10000"/>
                    <a:gd name="connsiteY197" fmla="*/ 9102 h 10000"/>
                    <a:gd name="connsiteX198" fmla="*/ 944 w 10000"/>
                    <a:gd name="connsiteY198" fmla="*/ 9175 h 10000"/>
                    <a:gd name="connsiteX199" fmla="*/ 1111 w 10000"/>
                    <a:gd name="connsiteY199" fmla="*/ 9249 h 10000"/>
                    <a:gd name="connsiteX200" fmla="*/ 1333 w 10000"/>
                    <a:gd name="connsiteY200" fmla="*/ 9367 h 10000"/>
                    <a:gd name="connsiteX201" fmla="*/ 1333 w 10000"/>
                    <a:gd name="connsiteY201" fmla="*/ 9367 h 10000"/>
                    <a:gd name="connsiteX202" fmla="*/ 1444 w 10000"/>
                    <a:gd name="connsiteY202" fmla="*/ 9426 h 10000"/>
                    <a:gd name="connsiteX203" fmla="*/ 1500 w 10000"/>
                    <a:gd name="connsiteY203" fmla="*/ 9470 h 10000"/>
                    <a:gd name="connsiteX204" fmla="*/ 1500 w 10000"/>
                    <a:gd name="connsiteY204" fmla="*/ 9514 h 10000"/>
                    <a:gd name="connsiteX205" fmla="*/ 1556 w 10000"/>
                    <a:gd name="connsiteY205" fmla="*/ 9529 h 10000"/>
                    <a:gd name="connsiteX206" fmla="*/ 1722 w 10000"/>
                    <a:gd name="connsiteY206" fmla="*/ 9543 h 10000"/>
                    <a:gd name="connsiteX207" fmla="*/ 1944 w 10000"/>
                    <a:gd name="connsiteY207" fmla="*/ 9558 h 10000"/>
                    <a:gd name="connsiteX208" fmla="*/ 2944 w 10000"/>
                    <a:gd name="connsiteY208" fmla="*/ 9573 h 10000"/>
                    <a:gd name="connsiteX209" fmla="*/ 2944 w 10000"/>
                    <a:gd name="connsiteY209" fmla="*/ 9573 h 10000"/>
                    <a:gd name="connsiteX210" fmla="*/ 4167 w 10000"/>
                    <a:gd name="connsiteY210" fmla="*/ 9602 h 10000"/>
                    <a:gd name="connsiteX211" fmla="*/ 4889 w 10000"/>
                    <a:gd name="connsiteY211" fmla="*/ 9647 h 10000"/>
                    <a:gd name="connsiteX212" fmla="*/ 5278 w 10000"/>
                    <a:gd name="connsiteY212" fmla="*/ 9691 h 10000"/>
                    <a:gd name="connsiteX213" fmla="*/ 5444 w 10000"/>
                    <a:gd name="connsiteY213" fmla="*/ 9705 h 10000"/>
                    <a:gd name="connsiteX214" fmla="*/ 5444 w 10000"/>
                    <a:gd name="connsiteY214" fmla="*/ 9705 h 10000"/>
                    <a:gd name="connsiteX215" fmla="*/ 5722 w 10000"/>
                    <a:gd name="connsiteY215" fmla="*/ 9735 h 10000"/>
                    <a:gd name="connsiteX216" fmla="*/ 5833 w 10000"/>
                    <a:gd name="connsiteY216" fmla="*/ 9750 h 10000"/>
                    <a:gd name="connsiteX217" fmla="*/ 5833 w 10000"/>
                    <a:gd name="connsiteY217" fmla="*/ 9750 h 10000"/>
                    <a:gd name="connsiteX218" fmla="*/ 5833 w 10000"/>
                    <a:gd name="connsiteY218" fmla="*/ 9735 h 10000"/>
                    <a:gd name="connsiteX219" fmla="*/ 5889 w 10000"/>
                    <a:gd name="connsiteY219" fmla="*/ 9720 h 10000"/>
                    <a:gd name="connsiteX220" fmla="*/ 6000 w 10000"/>
                    <a:gd name="connsiteY220" fmla="*/ 9705 h 10000"/>
                    <a:gd name="connsiteX221" fmla="*/ 6167 w 10000"/>
                    <a:gd name="connsiteY221" fmla="*/ 9691 h 10000"/>
                    <a:gd name="connsiteX222" fmla="*/ 6444 w 10000"/>
                    <a:gd name="connsiteY222" fmla="*/ 9691 h 10000"/>
                    <a:gd name="connsiteX223" fmla="*/ 6833 w 10000"/>
                    <a:gd name="connsiteY223" fmla="*/ 9705 h 10000"/>
                    <a:gd name="connsiteX224" fmla="*/ 7278 w 10000"/>
                    <a:gd name="connsiteY224" fmla="*/ 9750 h 10000"/>
                    <a:gd name="connsiteX225" fmla="*/ 7278 w 10000"/>
                    <a:gd name="connsiteY225" fmla="*/ 9750 h 10000"/>
                    <a:gd name="connsiteX226" fmla="*/ 8722 w 10000"/>
                    <a:gd name="connsiteY226" fmla="*/ 9882 h 10000"/>
                    <a:gd name="connsiteX227" fmla="*/ 10000 w 10000"/>
                    <a:gd name="connsiteY22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778 w 10000"/>
                    <a:gd name="connsiteY73" fmla="*/ 4168 h 10000"/>
                    <a:gd name="connsiteX74" fmla="*/ 1778 w 10000"/>
                    <a:gd name="connsiteY74" fmla="*/ 4168 h 10000"/>
                    <a:gd name="connsiteX75" fmla="*/ 1500 w 10000"/>
                    <a:gd name="connsiteY75" fmla="*/ 4006 h 10000"/>
                    <a:gd name="connsiteX76" fmla="*/ 1444 w 10000"/>
                    <a:gd name="connsiteY76" fmla="*/ 3888 h 10000"/>
                    <a:gd name="connsiteX77" fmla="*/ 1444 w 10000"/>
                    <a:gd name="connsiteY77" fmla="*/ 3844 h 10000"/>
                    <a:gd name="connsiteX78" fmla="*/ 1556 w 10000"/>
                    <a:gd name="connsiteY78" fmla="*/ 3800 h 10000"/>
                    <a:gd name="connsiteX79" fmla="*/ 1556 w 10000"/>
                    <a:gd name="connsiteY79" fmla="*/ 3800 h 10000"/>
                    <a:gd name="connsiteX80" fmla="*/ 1833 w 10000"/>
                    <a:gd name="connsiteY80" fmla="*/ 3726 h 10000"/>
                    <a:gd name="connsiteX81" fmla="*/ 2111 w 10000"/>
                    <a:gd name="connsiteY81" fmla="*/ 3652 h 10000"/>
                    <a:gd name="connsiteX82" fmla="*/ 2278 w 10000"/>
                    <a:gd name="connsiteY82" fmla="*/ 3608 h 10000"/>
                    <a:gd name="connsiteX83" fmla="*/ 2389 w 10000"/>
                    <a:gd name="connsiteY83" fmla="*/ 3564 h 10000"/>
                    <a:gd name="connsiteX84" fmla="*/ 2389 w 10000"/>
                    <a:gd name="connsiteY84" fmla="*/ 3505 h 10000"/>
                    <a:gd name="connsiteX85" fmla="*/ 2389 w 10000"/>
                    <a:gd name="connsiteY85" fmla="*/ 3432 h 10000"/>
                    <a:gd name="connsiteX86" fmla="*/ 2389 w 10000"/>
                    <a:gd name="connsiteY86" fmla="*/ 3432 h 10000"/>
                    <a:gd name="connsiteX87" fmla="*/ 2167 w 10000"/>
                    <a:gd name="connsiteY87" fmla="*/ 3225 h 10000"/>
                    <a:gd name="connsiteX88" fmla="*/ 1889 w 10000"/>
                    <a:gd name="connsiteY88" fmla="*/ 2946 h 10000"/>
                    <a:gd name="connsiteX89" fmla="*/ 1667 w 10000"/>
                    <a:gd name="connsiteY89" fmla="*/ 2695 h 10000"/>
                    <a:gd name="connsiteX90" fmla="*/ 1611 w 10000"/>
                    <a:gd name="connsiteY90" fmla="*/ 2622 h 10000"/>
                    <a:gd name="connsiteX91" fmla="*/ 1611 w 10000"/>
                    <a:gd name="connsiteY91" fmla="*/ 2592 h 10000"/>
                    <a:gd name="connsiteX92" fmla="*/ 1667 w 10000"/>
                    <a:gd name="connsiteY92" fmla="*/ 2577 h 10000"/>
                    <a:gd name="connsiteX93" fmla="*/ 1667 w 10000"/>
                    <a:gd name="connsiteY93" fmla="*/ 2577 h 10000"/>
                    <a:gd name="connsiteX94" fmla="*/ 2000 w 10000"/>
                    <a:gd name="connsiteY94" fmla="*/ 2563 h 10000"/>
                    <a:gd name="connsiteX95" fmla="*/ 2222 w 10000"/>
                    <a:gd name="connsiteY95" fmla="*/ 2563 h 10000"/>
                    <a:gd name="connsiteX96" fmla="*/ 2389 w 10000"/>
                    <a:gd name="connsiteY96" fmla="*/ 2577 h 10000"/>
                    <a:gd name="connsiteX97" fmla="*/ 2389 w 10000"/>
                    <a:gd name="connsiteY97" fmla="*/ 2577 h 10000"/>
                    <a:gd name="connsiteX98" fmla="*/ 2444 w 10000"/>
                    <a:gd name="connsiteY98" fmla="*/ 2577 h 10000"/>
                    <a:gd name="connsiteX99" fmla="*/ 2500 w 10000"/>
                    <a:gd name="connsiteY99" fmla="*/ 2548 h 10000"/>
                    <a:gd name="connsiteX100" fmla="*/ 2778 w 10000"/>
                    <a:gd name="connsiteY100" fmla="*/ 2459 h 10000"/>
                    <a:gd name="connsiteX101" fmla="*/ 3500 w 10000"/>
                    <a:gd name="connsiteY101" fmla="*/ 2165 h 10000"/>
                    <a:gd name="connsiteX102" fmla="*/ 4444 w 10000"/>
                    <a:gd name="connsiteY102" fmla="*/ 1738 h 10000"/>
                    <a:gd name="connsiteX103" fmla="*/ 4444 w 10000"/>
                    <a:gd name="connsiteY103" fmla="*/ 1738 h 10000"/>
                    <a:gd name="connsiteX104" fmla="*/ 4444 w 10000"/>
                    <a:gd name="connsiteY104" fmla="*/ 1679 h 10000"/>
                    <a:gd name="connsiteX105" fmla="*/ 4444 w 10000"/>
                    <a:gd name="connsiteY105" fmla="*/ 1546 h 10000"/>
                    <a:gd name="connsiteX106" fmla="*/ 4500 w 10000"/>
                    <a:gd name="connsiteY106" fmla="*/ 1458 h 10000"/>
                    <a:gd name="connsiteX107" fmla="*/ 4611 w 10000"/>
                    <a:gd name="connsiteY107" fmla="*/ 1384 h 10000"/>
                    <a:gd name="connsiteX108" fmla="*/ 4778 w 10000"/>
                    <a:gd name="connsiteY108" fmla="*/ 1296 h 10000"/>
                    <a:gd name="connsiteX109" fmla="*/ 5000 w 10000"/>
                    <a:gd name="connsiteY109" fmla="*/ 1222 h 10000"/>
                    <a:gd name="connsiteX110" fmla="*/ 5000 w 10000"/>
                    <a:gd name="connsiteY110" fmla="*/ 1222 h 10000"/>
                    <a:gd name="connsiteX111" fmla="*/ 5556 w 10000"/>
                    <a:gd name="connsiteY111" fmla="*/ 1075 h 10000"/>
                    <a:gd name="connsiteX112" fmla="*/ 6111 w 10000"/>
                    <a:gd name="connsiteY112" fmla="*/ 884 h 10000"/>
                    <a:gd name="connsiteX113" fmla="*/ 6667 w 10000"/>
                    <a:gd name="connsiteY113" fmla="*/ 707 h 10000"/>
                    <a:gd name="connsiteX114" fmla="*/ 7056 w 10000"/>
                    <a:gd name="connsiteY114" fmla="*/ 545 h 10000"/>
                    <a:gd name="connsiteX115" fmla="*/ 7056 w 10000"/>
                    <a:gd name="connsiteY115" fmla="*/ 545 h 10000"/>
                    <a:gd name="connsiteX116" fmla="*/ 7333 w 10000"/>
                    <a:gd name="connsiteY116" fmla="*/ 398 h 10000"/>
                    <a:gd name="connsiteX117" fmla="*/ 7667 w 10000"/>
                    <a:gd name="connsiteY117" fmla="*/ 221 h 10000"/>
                    <a:gd name="connsiteX118" fmla="*/ 8000 w 10000"/>
                    <a:gd name="connsiteY118" fmla="*/ 88 h 10000"/>
                    <a:gd name="connsiteX119" fmla="*/ 8167 w 10000"/>
                    <a:gd name="connsiteY119" fmla="*/ 29 h 10000"/>
                    <a:gd name="connsiteX120" fmla="*/ 8333 w 10000"/>
                    <a:gd name="connsiteY120" fmla="*/ 15 h 10000"/>
                    <a:gd name="connsiteX121" fmla="*/ 8333 w 10000"/>
                    <a:gd name="connsiteY121" fmla="*/ 15 h 10000"/>
                    <a:gd name="connsiteX122" fmla="*/ 8667 w 10000"/>
                    <a:gd name="connsiteY122" fmla="*/ 0 h 10000"/>
                    <a:gd name="connsiteX123" fmla="*/ 9111 w 10000"/>
                    <a:gd name="connsiteY123" fmla="*/ 0 h 10000"/>
                    <a:gd name="connsiteX124" fmla="*/ 10000 w 10000"/>
                    <a:gd name="connsiteY124" fmla="*/ 15 h 10000"/>
                    <a:gd name="connsiteX125" fmla="*/ 10000 w 10000"/>
                    <a:gd name="connsiteY125" fmla="*/ 9013 h 10000"/>
                    <a:gd name="connsiteX126" fmla="*/ 10000 w 10000"/>
                    <a:gd name="connsiteY126" fmla="*/ 9013 h 10000"/>
                    <a:gd name="connsiteX127" fmla="*/ 9722 w 10000"/>
                    <a:gd name="connsiteY127" fmla="*/ 8999 h 10000"/>
                    <a:gd name="connsiteX128" fmla="*/ 9389 w 10000"/>
                    <a:gd name="connsiteY128" fmla="*/ 9013 h 10000"/>
                    <a:gd name="connsiteX129" fmla="*/ 9389 w 10000"/>
                    <a:gd name="connsiteY129" fmla="*/ 9013 h 10000"/>
                    <a:gd name="connsiteX130" fmla="*/ 9278 w 10000"/>
                    <a:gd name="connsiteY130" fmla="*/ 9028 h 10000"/>
                    <a:gd name="connsiteX131" fmla="*/ 9056 w 10000"/>
                    <a:gd name="connsiteY131" fmla="*/ 9013 h 10000"/>
                    <a:gd name="connsiteX132" fmla="*/ 8889 w 10000"/>
                    <a:gd name="connsiteY132" fmla="*/ 8999 h 10000"/>
                    <a:gd name="connsiteX133" fmla="*/ 8722 w 10000"/>
                    <a:gd name="connsiteY133" fmla="*/ 8969 h 10000"/>
                    <a:gd name="connsiteX134" fmla="*/ 8611 w 10000"/>
                    <a:gd name="connsiteY134" fmla="*/ 8925 h 10000"/>
                    <a:gd name="connsiteX135" fmla="*/ 8444 w 10000"/>
                    <a:gd name="connsiteY135" fmla="*/ 8851 h 10000"/>
                    <a:gd name="connsiteX136" fmla="*/ 8444 w 10000"/>
                    <a:gd name="connsiteY136" fmla="*/ 8851 h 10000"/>
                    <a:gd name="connsiteX137" fmla="*/ 8222 w 10000"/>
                    <a:gd name="connsiteY137" fmla="*/ 8719 h 10000"/>
                    <a:gd name="connsiteX138" fmla="*/ 8111 w 10000"/>
                    <a:gd name="connsiteY138" fmla="*/ 8660 h 10000"/>
                    <a:gd name="connsiteX139" fmla="*/ 7944 w 10000"/>
                    <a:gd name="connsiteY139" fmla="*/ 8616 h 10000"/>
                    <a:gd name="connsiteX140" fmla="*/ 7778 w 10000"/>
                    <a:gd name="connsiteY140" fmla="*/ 8586 h 10000"/>
                    <a:gd name="connsiteX141" fmla="*/ 7556 w 10000"/>
                    <a:gd name="connsiteY141" fmla="*/ 8571 h 10000"/>
                    <a:gd name="connsiteX142" fmla="*/ 7333 w 10000"/>
                    <a:gd name="connsiteY142" fmla="*/ 8557 h 10000"/>
                    <a:gd name="connsiteX143" fmla="*/ 7000 w 10000"/>
                    <a:gd name="connsiteY143" fmla="*/ 8542 h 10000"/>
                    <a:gd name="connsiteX144" fmla="*/ 7000 w 10000"/>
                    <a:gd name="connsiteY144" fmla="*/ 8542 h 10000"/>
                    <a:gd name="connsiteX145" fmla="*/ 6556 w 10000"/>
                    <a:gd name="connsiteY145" fmla="*/ 8557 h 10000"/>
                    <a:gd name="connsiteX146" fmla="*/ 6222 w 10000"/>
                    <a:gd name="connsiteY146" fmla="*/ 8557 h 10000"/>
                    <a:gd name="connsiteX147" fmla="*/ 6111 w 10000"/>
                    <a:gd name="connsiteY147" fmla="*/ 8542 h 10000"/>
                    <a:gd name="connsiteX148" fmla="*/ 6056 w 10000"/>
                    <a:gd name="connsiteY148" fmla="*/ 8527 h 10000"/>
                    <a:gd name="connsiteX149" fmla="*/ 6056 w 10000"/>
                    <a:gd name="connsiteY149" fmla="*/ 8527 h 10000"/>
                    <a:gd name="connsiteX150" fmla="*/ 6056 w 10000"/>
                    <a:gd name="connsiteY150" fmla="*/ 8262 h 10000"/>
                    <a:gd name="connsiteX151" fmla="*/ 6056 w 10000"/>
                    <a:gd name="connsiteY151" fmla="*/ 8262 h 10000"/>
                    <a:gd name="connsiteX152" fmla="*/ 6056 w 10000"/>
                    <a:gd name="connsiteY152" fmla="*/ 8203 h 10000"/>
                    <a:gd name="connsiteX153" fmla="*/ 5944 w 10000"/>
                    <a:gd name="connsiteY153" fmla="*/ 8130 h 10000"/>
                    <a:gd name="connsiteX154" fmla="*/ 5889 w 10000"/>
                    <a:gd name="connsiteY154" fmla="*/ 8115 h 10000"/>
                    <a:gd name="connsiteX155" fmla="*/ 5778 w 10000"/>
                    <a:gd name="connsiteY155" fmla="*/ 8100 h 10000"/>
                    <a:gd name="connsiteX156" fmla="*/ 5667 w 10000"/>
                    <a:gd name="connsiteY156" fmla="*/ 8100 h 10000"/>
                    <a:gd name="connsiteX157" fmla="*/ 5500 w 10000"/>
                    <a:gd name="connsiteY157" fmla="*/ 8115 h 10000"/>
                    <a:gd name="connsiteX158" fmla="*/ 5500 w 10000"/>
                    <a:gd name="connsiteY158" fmla="*/ 8115 h 10000"/>
                    <a:gd name="connsiteX159" fmla="*/ 4889 w 10000"/>
                    <a:gd name="connsiteY159" fmla="*/ 8218 h 10000"/>
                    <a:gd name="connsiteX160" fmla="*/ 4611 w 10000"/>
                    <a:gd name="connsiteY160" fmla="*/ 8247 h 10000"/>
                    <a:gd name="connsiteX161" fmla="*/ 4556 w 10000"/>
                    <a:gd name="connsiteY161" fmla="*/ 8262 h 10000"/>
                    <a:gd name="connsiteX162" fmla="*/ 4500 w 10000"/>
                    <a:gd name="connsiteY162" fmla="*/ 8247 h 10000"/>
                    <a:gd name="connsiteX163" fmla="*/ 4500 w 10000"/>
                    <a:gd name="connsiteY163" fmla="*/ 8247 h 10000"/>
                    <a:gd name="connsiteX164" fmla="*/ 4222 w 10000"/>
                    <a:gd name="connsiteY164" fmla="*/ 8100 h 10000"/>
                    <a:gd name="connsiteX165" fmla="*/ 4222 w 10000"/>
                    <a:gd name="connsiteY165" fmla="*/ 8100 h 10000"/>
                    <a:gd name="connsiteX166" fmla="*/ 4111 w 10000"/>
                    <a:gd name="connsiteY166" fmla="*/ 8027 h 10000"/>
                    <a:gd name="connsiteX167" fmla="*/ 4111 w 10000"/>
                    <a:gd name="connsiteY167" fmla="*/ 7982 h 10000"/>
                    <a:gd name="connsiteX168" fmla="*/ 4111 w 10000"/>
                    <a:gd name="connsiteY168" fmla="*/ 7938 h 10000"/>
                    <a:gd name="connsiteX169" fmla="*/ 4111 w 10000"/>
                    <a:gd name="connsiteY169" fmla="*/ 7938 h 10000"/>
                    <a:gd name="connsiteX170" fmla="*/ 4278 w 10000"/>
                    <a:gd name="connsiteY170" fmla="*/ 7894 h 10000"/>
                    <a:gd name="connsiteX171" fmla="*/ 4389 w 10000"/>
                    <a:gd name="connsiteY171" fmla="*/ 7879 h 10000"/>
                    <a:gd name="connsiteX172" fmla="*/ 4389 w 10000"/>
                    <a:gd name="connsiteY172" fmla="*/ 7879 h 10000"/>
                    <a:gd name="connsiteX173" fmla="*/ 4000 w 10000"/>
                    <a:gd name="connsiteY173" fmla="*/ 7879 h 10000"/>
                    <a:gd name="connsiteX174" fmla="*/ 3722 w 10000"/>
                    <a:gd name="connsiteY174" fmla="*/ 7894 h 10000"/>
                    <a:gd name="connsiteX175" fmla="*/ 3611 w 10000"/>
                    <a:gd name="connsiteY175" fmla="*/ 7909 h 10000"/>
                    <a:gd name="connsiteX176" fmla="*/ 3556 w 10000"/>
                    <a:gd name="connsiteY176" fmla="*/ 7923 h 10000"/>
                    <a:gd name="connsiteX177" fmla="*/ 3556 w 10000"/>
                    <a:gd name="connsiteY177" fmla="*/ 7923 h 10000"/>
                    <a:gd name="connsiteX178" fmla="*/ 3444 w 10000"/>
                    <a:gd name="connsiteY178" fmla="*/ 7982 h 10000"/>
                    <a:gd name="connsiteX179" fmla="*/ 3278 w 10000"/>
                    <a:gd name="connsiteY179" fmla="*/ 8071 h 10000"/>
                    <a:gd name="connsiteX180" fmla="*/ 3000 w 10000"/>
                    <a:gd name="connsiteY180" fmla="*/ 8174 h 10000"/>
                    <a:gd name="connsiteX181" fmla="*/ 2667 w 10000"/>
                    <a:gd name="connsiteY181" fmla="*/ 8247 h 10000"/>
                    <a:gd name="connsiteX182" fmla="*/ 2667 w 10000"/>
                    <a:gd name="connsiteY182" fmla="*/ 8247 h 10000"/>
                    <a:gd name="connsiteX183" fmla="*/ 2333 w 10000"/>
                    <a:gd name="connsiteY183" fmla="*/ 8306 h 10000"/>
                    <a:gd name="connsiteX184" fmla="*/ 1833 w 10000"/>
                    <a:gd name="connsiteY184" fmla="*/ 8365 h 10000"/>
                    <a:gd name="connsiteX185" fmla="*/ 1389 w 10000"/>
                    <a:gd name="connsiteY185" fmla="*/ 8395 h 10000"/>
                    <a:gd name="connsiteX186" fmla="*/ 889 w 10000"/>
                    <a:gd name="connsiteY186" fmla="*/ 8409 h 10000"/>
                    <a:gd name="connsiteX187" fmla="*/ 889 w 10000"/>
                    <a:gd name="connsiteY187" fmla="*/ 8409 h 10000"/>
                    <a:gd name="connsiteX188" fmla="*/ 500 w 10000"/>
                    <a:gd name="connsiteY188" fmla="*/ 8424 h 10000"/>
                    <a:gd name="connsiteX189" fmla="*/ 222 w 10000"/>
                    <a:gd name="connsiteY189" fmla="*/ 8439 h 10000"/>
                    <a:gd name="connsiteX190" fmla="*/ 0 w 10000"/>
                    <a:gd name="connsiteY190" fmla="*/ 8454 h 10000"/>
                    <a:gd name="connsiteX191" fmla="*/ 0 w 10000"/>
                    <a:gd name="connsiteY191" fmla="*/ 8454 h 10000"/>
                    <a:gd name="connsiteX192" fmla="*/ 278 w 10000"/>
                    <a:gd name="connsiteY192" fmla="*/ 8689 h 10000"/>
                    <a:gd name="connsiteX193" fmla="*/ 500 w 10000"/>
                    <a:gd name="connsiteY193" fmla="*/ 8866 h 10000"/>
                    <a:gd name="connsiteX194" fmla="*/ 722 w 10000"/>
                    <a:gd name="connsiteY194" fmla="*/ 9013 h 10000"/>
                    <a:gd name="connsiteX195" fmla="*/ 722 w 10000"/>
                    <a:gd name="connsiteY195" fmla="*/ 9013 h 10000"/>
                    <a:gd name="connsiteX196" fmla="*/ 889 w 10000"/>
                    <a:gd name="connsiteY196" fmla="*/ 9102 h 10000"/>
                    <a:gd name="connsiteX197" fmla="*/ 944 w 10000"/>
                    <a:gd name="connsiteY197" fmla="*/ 9175 h 10000"/>
                    <a:gd name="connsiteX198" fmla="*/ 1111 w 10000"/>
                    <a:gd name="connsiteY198" fmla="*/ 9249 h 10000"/>
                    <a:gd name="connsiteX199" fmla="*/ 1333 w 10000"/>
                    <a:gd name="connsiteY199" fmla="*/ 9367 h 10000"/>
                    <a:gd name="connsiteX200" fmla="*/ 1333 w 10000"/>
                    <a:gd name="connsiteY200" fmla="*/ 9367 h 10000"/>
                    <a:gd name="connsiteX201" fmla="*/ 1444 w 10000"/>
                    <a:gd name="connsiteY201" fmla="*/ 9426 h 10000"/>
                    <a:gd name="connsiteX202" fmla="*/ 1500 w 10000"/>
                    <a:gd name="connsiteY202" fmla="*/ 9470 h 10000"/>
                    <a:gd name="connsiteX203" fmla="*/ 1500 w 10000"/>
                    <a:gd name="connsiteY203" fmla="*/ 9514 h 10000"/>
                    <a:gd name="connsiteX204" fmla="*/ 1556 w 10000"/>
                    <a:gd name="connsiteY204" fmla="*/ 9529 h 10000"/>
                    <a:gd name="connsiteX205" fmla="*/ 1722 w 10000"/>
                    <a:gd name="connsiteY205" fmla="*/ 9543 h 10000"/>
                    <a:gd name="connsiteX206" fmla="*/ 1944 w 10000"/>
                    <a:gd name="connsiteY206" fmla="*/ 9558 h 10000"/>
                    <a:gd name="connsiteX207" fmla="*/ 2944 w 10000"/>
                    <a:gd name="connsiteY207" fmla="*/ 9573 h 10000"/>
                    <a:gd name="connsiteX208" fmla="*/ 2944 w 10000"/>
                    <a:gd name="connsiteY208" fmla="*/ 9573 h 10000"/>
                    <a:gd name="connsiteX209" fmla="*/ 4167 w 10000"/>
                    <a:gd name="connsiteY209" fmla="*/ 9602 h 10000"/>
                    <a:gd name="connsiteX210" fmla="*/ 4889 w 10000"/>
                    <a:gd name="connsiteY210" fmla="*/ 9647 h 10000"/>
                    <a:gd name="connsiteX211" fmla="*/ 5278 w 10000"/>
                    <a:gd name="connsiteY211" fmla="*/ 9691 h 10000"/>
                    <a:gd name="connsiteX212" fmla="*/ 5444 w 10000"/>
                    <a:gd name="connsiteY212" fmla="*/ 9705 h 10000"/>
                    <a:gd name="connsiteX213" fmla="*/ 5444 w 10000"/>
                    <a:gd name="connsiteY213" fmla="*/ 9705 h 10000"/>
                    <a:gd name="connsiteX214" fmla="*/ 5722 w 10000"/>
                    <a:gd name="connsiteY214" fmla="*/ 9735 h 10000"/>
                    <a:gd name="connsiteX215" fmla="*/ 5833 w 10000"/>
                    <a:gd name="connsiteY215" fmla="*/ 9750 h 10000"/>
                    <a:gd name="connsiteX216" fmla="*/ 5833 w 10000"/>
                    <a:gd name="connsiteY216" fmla="*/ 9750 h 10000"/>
                    <a:gd name="connsiteX217" fmla="*/ 5833 w 10000"/>
                    <a:gd name="connsiteY217" fmla="*/ 9735 h 10000"/>
                    <a:gd name="connsiteX218" fmla="*/ 5889 w 10000"/>
                    <a:gd name="connsiteY218" fmla="*/ 9720 h 10000"/>
                    <a:gd name="connsiteX219" fmla="*/ 6000 w 10000"/>
                    <a:gd name="connsiteY219" fmla="*/ 9705 h 10000"/>
                    <a:gd name="connsiteX220" fmla="*/ 6167 w 10000"/>
                    <a:gd name="connsiteY220" fmla="*/ 9691 h 10000"/>
                    <a:gd name="connsiteX221" fmla="*/ 6444 w 10000"/>
                    <a:gd name="connsiteY221" fmla="*/ 9691 h 10000"/>
                    <a:gd name="connsiteX222" fmla="*/ 6833 w 10000"/>
                    <a:gd name="connsiteY222" fmla="*/ 9705 h 10000"/>
                    <a:gd name="connsiteX223" fmla="*/ 7278 w 10000"/>
                    <a:gd name="connsiteY223" fmla="*/ 9750 h 10000"/>
                    <a:gd name="connsiteX224" fmla="*/ 7278 w 10000"/>
                    <a:gd name="connsiteY224" fmla="*/ 9750 h 10000"/>
                    <a:gd name="connsiteX225" fmla="*/ 8722 w 10000"/>
                    <a:gd name="connsiteY225" fmla="*/ 9882 h 10000"/>
                    <a:gd name="connsiteX226" fmla="*/ 10000 w 10000"/>
                    <a:gd name="connsiteY22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778 w 10000"/>
                    <a:gd name="connsiteY73" fmla="*/ 4168 h 10000"/>
                    <a:gd name="connsiteX74" fmla="*/ 1500 w 10000"/>
                    <a:gd name="connsiteY74" fmla="*/ 4006 h 10000"/>
                    <a:gd name="connsiteX75" fmla="*/ 1444 w 10000"/>
                    <a:gd name="connsiteY75" fmla="*/ 3888 h 10000"/>
                    <a:gd name="connsiteX76" fmla="*/ 1444 w 10000"/>
                    <a:gd name="connsiteY76" fmla="*/ 3844 h 10000"/>
                    <a:gd name="connsiteX77" fmla="*/ 1556 w 10000"/>
                    <a:gd name="connsiteY77" fmla="*/ 3800 h 10000"/>
                    <a:gd name="connsiteX78" fmla="*/ 1556 w 10000"/>
                    <a:gd name="connsiteY78" fmla="*/ 3800 h 10000"/>
                    <a:gd name="connsiteX79" fmla="*/ 1833 w 10000"/>
                    <a:gd name="connsiteY79" fmla="*/ 3726 h 10000"/>
                    <a:gd name="connsiteX80" fmla="*/ 2111 w 10000"/>
                    <a:gd name="connsiteY80" fmla="*/ 3652 h 10000"/>
                    <a:gd name="connsiteX81" fmla="*/ 2278 w 10000"/>
                    <a:gd name="connsiteY81" fmla="*/ 3608 h 10000"/>
                    <a:gd name="connsiteX82" fmla="*/ 2389 w 10000"/>
                    <a:gd name="connsiteY82" fmla="*/ 3564 h 10000"/>
                    <a:gd name="connsiteX83" fmla="*/ 2389 w 10000"/>
                    <a:gd name="connsiteY83" fmla="*/ 3505 h 10000"/>
                    <a:gd name="connsiteX84" fmla="*/ 2389 w 10000"/>
                    <a:gd name="connsiteY84" fmla="*/ 3432 h 10000"/>
                    <a:gd name="connsiteX85" fmla="*/ 2389 w 10000"/>
                    <a:gd name="connsiteY85" fmla="*/ 3432 h 10000"/>
                    <a:gd name="connsiteX86" fmla="*/ 2167 w 10000"/>
                    <a:gd name="connsiteY86" fmla="*/ 3225 h 10000"/>
                    <a:gd name="connsiteX87" fmla="*/ 1889 w 10000"/>
                    <a:gd name="connsiteY87" fmla="*/ 2946 h 10000"/>
                    <a:gd name="connsiteX88" fmla="*/ 1667 w 10000"/>
                    <a:gd name="connsiteY88" fmla="*/ 2695 h 10000"/>
                    <a:gd name="connsiteX89" fmla="*/ 1611 w 10000"/>
                    <a:gd name="connsiteY89" fmla="*/ 2622 h 10000"/>
                    <a:gd name="connsiteX90" fmla="*/ 1611 w 10000"/>
                    <a:gd name="connsiteY90" fmla="*/ 2592 h 10000"/>
                    <a:gd name="connsiteX91" fmla="*/ 1667 w 10000"/>
                    <a:gd name="connsiteY91" fmla="*/ 2577 h 10000"/>
                    <a:gd name="connsiteX92" fmla="*/ 1667 w 10000"/>
                    <a:gd name="connsiteY92" fmla="*/ 2577 h 10000"/>
                    <a:gd name="connsiteX93" fmla="*/ 2000 w 10000"/>
                    <a:gd name="connsiteY93" fmla="*/ 2563 h 10000"/>
                    <a:gd name="connsiteX94" fmla="*/ 2222 w 10000"/>
                    <a:gd name="connsiteY94" fmla="*/ 2563 h 10000"/>
                    <a:gd name="connsiteX95" fmla="*/ 2389 w 10000"/>
                    <a:gd name="connsiteY95" fmla="*/ 2577 h 10000"/>
                    <a:gd name="connsiteX96" fmla="*/ 2389 w 10000"/>
                    <a:gd name="connsiteY96" fmla="*/ 2577 h 10000"/>
                    <a:gd name="connsiteX97" fmla="*/ 2444 w 10000"/>
                    <a:gd name="connsiteY97" fmla="*/ 2577 h 10000"/>
                    <a:gd name="connsiteX98" fmla="*/ 2500 w 10000"/>
                    <a:gd name="connsiteY98" fmla="*/ 2548 h 10000"/>
                    <a:gd name="connsiteX99" fmla="*/ 2778 w 10000"/>
                    <a:gd name="connsiteY99" fmla="*/ 2459 h 10000"/>
                    <a:gd name="connsiteX100" fmla="*/ 3500 w 10000"/>
                    <a:gd name="connsiteY100" fmla="*/ 2165 h 10000"/>
                    <a:gd name="connsiteX101" fmla="*/ 4444 w 10000"/>
                    <a:gd name="connsiteY101" fmla="*/ 1738 h 10000"/>
                    <a:gd name="connsiteX102" fmla="*/ 4444 w 10000"/>
                    <a:gd name="connsiteY102" fmla="*/ 1738 h 10000"/>
                    <a:gd name="connsiteX103" fmla="*/ 4444 w 10000"/>
                    <a:gd name="connsiteY103" fmla="*/ 1679 h 10000"/>
                    <a:gd name="connsiteX104" fmla="*/ 4444 w 10000"/>
                    <a:gd name="connsiteY104" fmla="*/ 1546 h 10000"/>
                    <a:gd name="connsiteX105" fmla="*/ 4500 w 10000"/>
                    <a:gd name="connsiteY105" fmla="*/ 1458 h 10000"/>
                    <a:gd name="connsiteX106" fmla="*/ 4611 w 10000"/>
                    <a:gd name="connsiteY106" fmla="*/ 1384 h 10000"/>
                    <a:gd name="connsiteX107" fmla="*/ 4778 w 10000"/>
                    <a:gd name="connsiteY107" fmla="*/ 1296 h 10000"/>
                    <a:gd name="connsiteX108" fmla="*/ 5000 w 10000"/>
                    <a:gd name="connsiteY108" fmla="*/ 1222 h 10000"/>
                    <a:gd name="connsiteX109" fmla="*/ 5000 w 10000"/>
                    <a:gd name="connsiteY109" fmla="*/ 1222 h 10000"/>
                    <a:gd name="connsiteX110" fmla="*/ 5556 w 10000"/>
                    <a:gd name="connsiteY110" fmla="*/ 1075 h 10000"/>
                    <a:gd name="connsiteX111" fmla="*/ 6111 w 10000"/>
                    <a:gd name="connsiteY111" fmla="*/ 884 h 10000"/>
                    <a:gd name="connsiteX112" fmla="*/ 6667 w 10000"/>
                    <a:gd name="connsiteY112" fmla="*/ 707 h 10000"/>
                    <a:gd name="connsiteX113" fmla="*/ 7056 w 10000"/>
                    <a:gd name="connsiteY113" fmla="*/ 545 h 10000"/>
                    <a:gd name="connsiteX114" fmla="*/ 7056 w 10000"/>
                    <a:gd name="connsiteY114" fmla="*/ 545 h 10000"/>
                    <a:gd name="connsiteX115" fmla="*/ 7333 w 10000"/>
                    <a:gd name="connsiteY115" fmla="*/ 398 h 10000"/>
                    <a:gd name="connsiteX116" fmla="*/ 7667 w 10000"/>
                    <a:gd name="connsiteY116" fmla="*/ 221 h 10000"/>
                    <a:gd name="connsiteX117" fmla="*/ 8000 w 10000"/>
                    <a:gd name="connsiteY117" fmla="*/ 88 h 10000"/>
                    <a:gd name="connsiteX118" fmla="*/ 8167 w 10000"/>
                    <a:gd name="connsiteY118" fmla="*/ 29 h 10000"/>
                    <a:gd name="connsiteX119" fmla="*/ 8333 w 10000"/>
                    <a:gd name="connsiteY119" fmla="*/ 15 h 10000"/>
                    <a:gd name="connsiteX120" fmla="*/ 8333 w 10000"/>
                    <a:gd name="connsiteY120" fmla="*/ 15 h 10000"/>
                    <a:gd name="connsiteX121" fmla="*/ 8667 w 10000"/>
                    <a:gd name="connsiteY121" fmla="*/ 0 h 10000"/>
                    <a:gd name="connsiteX122" fmla="*/ 9111 w 10000"/>
                    <a:gd name="connsiteY122" fmla="*/ 0 h 10000"/>
                    <a:gd name="connsiteX123" fmla="*/ 10000 w 10000"/>
                    <a:gd name="connsiteY123" fmla="*/ 15 h 10000"/>
                    <a:gd name="connsiteX124" fmla="*/ 10000 w 10000"/>
                    <a:gd name="connsiteY124" fmla="*/ 9013 h 10000"/>
                    <a:gd name="connsiteX125" fmla="*/ 10000 w 10000"/>
                    <a:gd name="connsiteY125" fmla="*/ 9013 h 10000"/>
                    <a:gd name="connsiteX126" fmla="*/ 9722 w 10000"/>
                    <a:gd name="connsiteY126" fmla="*/ 8999 h 10000"/>
                    <a:gd name="connsiteX127" fmla="*/ 9389 w 10000"/>
                    <a:gd name="connsiteY127" fmla="*/ 9013 h 10000"/>
                    <a:gd name="connsiteX128" fmla="*/ 9389 w 10000"/>
                    <a:gd name="connsiteY128" fmla="*/ 9013 h 10000"/>
                    <a:gd name="connsiteX129" fmla="*/ 9278 w 10000"/>
                    <a:gd name="connsiteY129" fmla="*/ 9028 h 10000"/>
                    <a:gd name="connsiteX130" fmla="*/ 9056 w 10000"/>
                    <a:gd name="connsiteY130" fmla="*/ 9013 h 10000"/>
                    <a:gd name="connsiteX131" fmla="*/ 8889 w 10000"/>
                    <a:gd name="connsiteY131" fmla="*/ 8999 h 10000"/>
                    <a:gd name="connsiteX132" fmla="*/ 8722 w 10000"/>
                    <a:gd name="connsiteY132" fmla="*/ 8969 h 10000"/>
                    <a:gd name="connsiteX133" fmla="*/ 8611 w 10000"/>
                    <a:gd name="connsiteY133" fmla="*/ 8925 h 10000"/>
                    <a:gd name="connsiteX134" fmla="*/ 8444 w 10000"/>
                    <a:gd name="connsiteY134" fmla="*/ 8851 h 10000"/>
                    <a:gd name="connsiteX135" fmla="*/ 8444 w 10000"/>
                    <a:gd name="connsiteY135" fmla="*/ 8851 h 10000"/>
                    <a:gd name="connsiteX136" fmla="*/ 8222 w 10000"/>
                    <a:gd name="connsiteY136" fmla="*/ 8719 h 10000"/>
                    <a:gd name="connsiteX137" fmla="*/ 8111 w 10000"/>
                    <a:gd name="connsiteY137" fmla="*/ 8660 h 10000"/>
                    <a:gd name="connsiteX138" fmla="*/ 7944 w 10000"/>
                    <a:gd name="connsiteY138" fmla="*/ 8616 h 10000"/>
                    <a:gd name="connsiteX139" fmla="*/ 7778 w 10000"/>
                    <a:gd name="connsiteY139" fmla="*/ 8586 h 10000"/>
                    <a:gd name="connsiteX140" fmla="*/ 7556 w 10000"/>
                    <a:gd name="connsiteY140" fmla="*/ 8571 h 10000"/>
                    <a:gd name="connsiteX141" fmla="*/ 7333 w 10000"/>
                    <a:gd name="connsiteY141" fmla="*/ 8557 h 10000"/>
                    <a:gd name="connsiteX142" fmla="*/ 7000 w 10000"/>
                    <a:gd name="connsiteY142" fmla="*/ 8542 h 10000"/>
                    <a:gd name="connsiteX143" fmla="*/ 7000 w 10000"/>
                    <a:gd name="connsiteY143" fmla="*/ 8542 h 10000"/>
                    <a:gd name="connsiteX144" fmla="*/ 6556 w 10000"/>
                    <a:gd name="connsiteY144" fmla="*/ 8557 h 10000"/>
                    <a:gd name="connsiteX145" fmla="*/ 6222 w 10000"/>
                    <a:gd name="connsiteY145" fmla="*/ 8557 h 10000"/>
                    <a:gd name="connsiteX146" fmla="*/ 6111 w 10000"/>
                    <a:gd name="connsiteY146" fmla="*/ 8542 h 10000"/>
                    <a:gd name="connsiteX147" fmla="*/ 6056 w 10000"/>
                    <a:gd name="connsiteY147" fmla="*/ 8527 h 10000"/>
                    <a:gd name="connsiteX148" fmla="*/ 6056 w 10000"/>
                    <a:gd name="connsiteY148" fmla="*/ 8527 h 10000"/>
                    <a:gd name="connsiteX149" fmla="*/ 6056 w 10000"/>
                    <a:gd name="connsiteY149" fmla="*/ 8262 h 10000"/>
                    <a:gd name="connsiteX150" fmla="*/ 6056 w 10000"/>
                    <a:gd name="connsiteY150" fmla="*/ 8262 h 10000"/>
                    <a:gd name="connsiteX151" fmla="*/ 6056 w 10000"/>
                    <a:gd name="connsiteY151" fmla="*/ 8203 h 10000"/>
                    <a:gd name="connsiteX152" fmla="*/ 5944 w 10000"/>
                    <a:gd name="connsiteY152" fmla="*/ 8130 h 10000"/>
                    <a:gd name="connsiteX153" fmla="*/ 5889 w 10000"/>
                    <a:gd name="connsiteY153" fmla="*/ 8115 h 10000"/>
                    <a:gd name="connsiteX154" fmla="*/ 5778 w 10000"/>
                    <a:gd name="connsiteY154" fmla="*/ 8100 h 10000"/>
                    <a:gd name="connsiteX155" fmla="*/ 5667 w 10000"/>
                    <a:gd name="connsiteY155" fmla="*/ 8100 h 10000"/>
                    <a:gd name="connsiteX156" fmla="*/ 5500 w 10000"/>
                    <a:gd name="connsiteY156" fmla="*/ 8115 h 10000"/>
                    <a:gd name="connsiteX157" fmla="*/ 5500 w 10000"/>
                    <a:gd name="connsiteY157" fmla="*/ 8115 h 10000"/>
                    <a:gd name="connsiteX158" fmla="*/ 4889 w 10000"/>
                    <a:gd name="connsiteY158" fmla="*/ 8218 h 10000"/>
                    <a:gd name="connsiteX159" fmla="*/ 4611 w 10000"/>
                    <a:gd name="connsiteY159" fmla="*/ 8247 h 10000"/>
                    <a:gd name="connsiteX160" fmla="*/ 4556 w 10000"/>
                    <a:gd name="connsiteY160" fmla="*/ 8262 h 10000"/>
                    <a:gd name="connsiteX161" fmla="*/ 4500 w 10000"/>
                    <a:gd name="connsiteY161" fmla="*/ 8247 h 10000"/>
                    <a:gd name="connsiteX162" fmla="*/ 4500 w 10000"/>
                    <a:gd name="connsiteY162" fmla="*/ 8247 h 10000"/>
                    <a:gd name="connsiteX163" fmla="*/ 4222 w 10000"/>
                    <a:gd name="connsiteY163" fmla="*/ 8100 h 10000"/>
                    <a:gd name="connsiteX164" fmla="*/ 4222 w 10000"/>
                    <a:gd name="connsiteY164" fmla="*/ 8100 h 10000"/>
                    <a:gd name="connsiteX165" fmla="*/ 4111 w 10000"/>
                    <a:gd name="connsiteY165" fmla="*/ 8027 h 10000"/>
                    <a:gd name="connsiteX166" fmla="*/ 4111 w 10000"/>
                    <a:gd name="connsiteY166" fmla="*/ 7982 h 10000"/>
                    <a:gd name="connsiteX167" fmla="*/ 4111 w 10000"/>
                    <a:gd name="connsiteY167" fmla="*/ 7938 h 10000"/>
                    <a:gd name="connsiteX168" fmla="*/ 4111 w 10000"/>
                    <a:gd name="connsiteY168" fmla="*/ 7938 h 10000"/>
                    <a:gd name="connsiteX169" fmla="*/ 4278 w 10000"/>
                    <a:gd name="connsiteY169" fmla="*/ 7894 h 10000"/>
                    <a:gd name="connsiteX170" fmla="*/ 4389 w 10000"/>
                    <a:gd name="connsiteY170" fmla="*/ 7879 h 10000"/>
                    <a:gd name="connsiteX171" fmla="*/ 4389 w 10000"/>
                    <a:gd name="connsiteY171" fmla="*/ 7879 h 10000"/>
                    <a:gd name="connsiteX172" fmla="*/ 4000 w 10000"/>
                    <a:gd name="connsiteY172" fmla="*/ 7879 h 10000"/>
                    <a:gd name="connsiteX173" fmla="*/ 3722 w 10000"/>
                    <a:gd name="connsiteY173" fmla="*/ 7894 h 10000"/>
                    <a:gd name="connsiteX174" fmla="*/ 3611 w 10000"/>
                    <a:gd name="connsiteY174" fmla="*/ 7909 h 10000"/>
                    <a:gd name="connsiteX175" fmla="*/ 3556 w 10000"/>
                    <a:gd name="connsiteY175" fmla="*/ 7923 h 10000"/>
                    <a:gd name="connsiteX176" fmla="*/ 3556 w 10000"/>
                    <a:gd name="connsiteY176" fmla="*/ 7923 h 10000"/>
                    <a:gd name="connsiteX177" fmla="*/ 3444 w 10000"/>
                    <a:gd name="connsiteY177" fmla="*/ 7982 h 10000"/>
                    <a:gd name="connsiteX178" fmla="*/ 3278 w 10000"/>
                    <a:gd name="connsiteY178" fmla="*/ 8071 h 10000"/>
                    <a:gd name="connsiteX179" fmla="*/ 3000 w 10000"/>
                    <a:gd name="connsiteY179" fmla="*/ 8174 h 10000"/>
                    <a:gd name="connsiteX180" fmla="*/ 2667 w 10000"/>
                    <a:gd name="connsiteY180" fmla="*/ 8247 h 10000"/>
                    <a:gd name="connsiteX181" fmla="*/ 2667 w 10000"/>
                    <a:gd name="connsiteY181" fmla="*/ 8247 h 10000"/>
                    <a:gd name="connsiteX182" fmla="*/ 2333 w 10000"/>
                    <a:gd name="connsiteY182" fmla="*/ 8306 h 10000"/>
                    <a:gd name="connsiteX183" fmla="*/ 1833 w 10000"/>
                    <a:gd name="connsiteY183" fmla="*/ 8365 h 10000"/>
                    <a:gd name="connsiteX184" fmla="*/ 1389 w 10000"/>
                    <a:gd name="connsiteY184" fmla="*/ 8395 h 10000"/>
                    <a:gd name="connsiteX185" fmla="*/ 889 w 10000"/>
                    <a:gd name="connsiteY185" fmla="*/ 8409 h 10000"/>
                    <a:gd name="connsiteX186" fmla="*/ 889 w 10000"/>
                    <a:gd name="connsiteY186" fmla="*/ 8409 h 10000"/>
                    <a:gd name="connsiteX187" fmla="*/ 500 w 10000"/>
                    <a:gd name="connsiteY187" fmla="*/ 8424 h 10000"/>
                    <a:gd name="connsiteX188" fmla="*/ 222 w 10000"/>
                    <a:gd name="connsiteY188" fmla="*/ 8439 h 10000"/>
                    <a:gd name="connsiteX189" fmla="*/ 0 w 10000"/>
                    <a:gd name="connsiteY189" fmla="*/ 8454 h 10000"/>
                    <a:gd name="connsiteX190" fmla="*/ 0 w 10000"/>
                    <a:gd name="connsiteY190" fmla="*/ 8454 h 10000"/>
                    <a:gd name="connsiteX191" fmla="*/ 278 w 10000"/>
                    <a:gd name="connsiteY191" fmla="*/ 8689 h 10000"/>
                    <a:gd name="connsiteX192" fmla="*/ 500 w 10000"/>
                    <a:gd name="connsiteY192" fmla="*/ 8866 h 10000"/>
                    <a:gd name="connsiteX193" fmla="*/ 722 w 10000"/>
                    <a:gd name="connsiteY193" fmla="*/ 9013 h 10000"/>
                    <a:gd name="connsiteX194" fmla="*/ 722 w 10000"/>
                    <a:gd name="connsiteY194" fmla="*/ 9013 h 10000"/>
                    <a:gd name="connsiteX195" fmla="*/ 889 w 10000"/>
                    <a:gd name="connsiteY195" fmla="*/ 9102 h 10000"/>
                    <a:gd name="connsiteX196" fmla="*/ 944 w 10000"/>
                    <a:gd name="connsiteY196" fmla="*/ 9175 h 10000"/>
                    <a:gd name="connsiteX197" fmla="*/ 1111 w 10000"/>
                    <a:gd name="connsiteY197" fmla="*/ 9249 h 10000"/>
                    <a:gd name="connsiteX198" fmla="*/ 1333 w 10000"/>
                    <a:gd name="connsiteY198" fmla="*/ 9367 h 10000"/>
                    <a:gd name="connsiteX199" fmla="*/ 1333 w 10000"/>
                    <a:gd name="connsiteY199" fmla="*/ 9367 h 10000"/>
                    <a:gd name="connsiteX200" fmla="*/ 1444 w 10000"/>
                    <a:gd name="connsiteY200" fmla="*/ 9426 h 10000"/>
                    <a:gd name="connsiteX201" fmla="*/ 1500 w 10000"/>
                    <a:gd name="connsiteY201" fmla="*/ 9470 h 10000"/>
                    <a:gd name="connsiteX202" fmla="*/ 1500 w 10000"/>
                    <a:gd name="connsiteY202" fmla="*/ 9514 h 10000"/>
                    <a:gd name="connsiteX203" fmla="*/ 1556 w 10000"/>
                    <a:gd name="connsiteY203" fmla="*/ 9529 h 10000"/>
                    <a:gd name="connsiteX204" fmla="*/ 1722 w 10000"/>
                    <a:gd name="connsiteY204" fmla="*/ 9543 h 10000"/>
                    <a:gd name="connsiteX205" fmla="*/ 1944 w 10000"/>
                    <a:gd name="connsiteY205" fmla="*/ 9558 h 10000"/>
                    <a:gd name="connsiteX206" fmla="*/ 2944 w 10000"/>
                    <a:gd name="connsiteY206" fmla="*/ 9573 h 10000"/>
                    <a:gd name="connsiteX207" fmla="*/ 2944 w 10000"/>
                    <a:gd name="connsiteY207" fmla="*/ 9573 h 10000"/>
                    <a:gd name="connsiteX208" fmla="*/ 4167 w 10000"/>
                    <a:gd name="connsiteY208" fmla="*/ 9602 h 10000"/>
                    <a:gd name="connsiteX209" fmla="*/ 4889 w 10000"/>
                    <a:gd name="connsiteY209" fmla="*/ 9647 h 10000"/>
                    <a:gd name="connsiteX210" fmla="*/ 5278 w 10000"/>
                    <a:gd name="connsiteY210" fmla="*/ 9691 h 10000"/>
                    <a:gd name="connsiteX211" fmla="*/ 5444 w 10000"/>
                    <a:gd name="connsiteY211" fmla="*/ 9705 h 10000"/>
                    <a:gd name="connsiteX212" fmla="*/ 5444 w 10000"/>
                    <a:gd name="connsiteY212" fmla="*/ 9705 h 10000"/>
                    <a:gd name="connsiteX213" fmla="*/ 5722 w 10000"/>
                    <a:gd name="connsiteY213" fmla="*/ 9735 h 10000"/>
                    <a:gd name="connsiteX214" fmla="*/ 5833 w 10000"/>
                    <a:gd name="connsiteY214" fmla="*/ 9750 h 10000"/>
                    <a:gd name="connsiteX215" fmla="*/ 5833 w 10000"/>
                    <a:gd name="connsiteY215" fmla="*/ 9750 h 10000"/>
                    <a:gd name="connsiteX216" fmla="*/ 5833 w 10000"/>
                    <a:gd name="connsiteY216" fmla="*/ 9735 h 10000"/>
                    <a:gd name="connsiteX217" fmla="*/ 5889 w 10000"/>
                    <a:gd name="connsiteY217" fmla="*/ 9720 h 10000"/>
                    <a:gd name="connsiteX218" fmla="*/ 6000 w 10000"/>
                    <a:gd name="connsiteY218" fmla="*/ 9705 h 10000"/>
                    <a:gd name="connsiteX219" fmla="*/ 6167 w 10000"/>
                    <a:gd name="connsiteY219" fmla="*/ 9691 h 10000"/>
                    <a:gd name="connsiteX220" fmla="*/ 6444 w 10000"/>
                    <a:gd name="connsiteY220" fmla="*/ 9691 h 10000"/>
                    <a:gd name="connsiteX221" fmla="*/ 6833 w 10000"/>
                    <a:gd name="connsiteY221" fmla="*/ 9705 h 10000"/>
                    <a:gd name="connsiteX222" fmla="*/ 7278 w 10000"/>
                    <a:gd name="connsiteY222" fmla="*/ 9750 h 10000"/>
                    <a:gd name="connsiteX223" fmla="*/ 7278 w 10000"/>
                    <a:gd name="connsiteY223" fmla="*/ 9750 h 10000"/>
                    <a:gd name="connsiteX224" fmla="*/ 8722 w 10000"/>
                    <a:gd name="connsiteY224" fmla="*/ 9882 h 10000"/>
                    <a:gd name="connsiteX225" fmla="*/ 10000 w 10000"/>
                    <a:gd name="connsiteY22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778 w 10000"/>
                    <a:gd name="connsiteY73" fmla="*/ 4168 h 10000"/>
                    <a:gd name="connsiteX74" fmla="*/ 1500 w 10000"/>
                    <a:gd name="connsiteY74" fmla="*/ 4006 h 10000"/>
                    <a:gd name="connsiteX75" fmla="*/ 1444 w 10000"/>
                    <a:gd name="connsiteY75" fmla="*/ 3844 h 10000"/>
                    <a:gd name="connsiteX76" fmla="*/ 1556 w 10000"/>
                    <a:gd name="connsiteY76" fmla="*/ 3800 h 10000"/>
                    <a:gd name="connsiteX77" fmla="*/ 1556 w 10000"/>
                    <a:gd name="connsiteY77" fmla="*/ 3800 h 10000"/>
                    <a:gd name="connsiteX78" fmla="*/ 1833 w 10000"/>
                    <a:gd name="connsiteY78" fmla="*/ 3726 h 10000"/>
                    <a:gd name="connsiteX79" fmla="*/ 2111 w 10000"/>
                    <a:gd name="connsiteY79" fmla="*/ 3652 h 10000"/>
                    <a:gd name="connsiteX80" fmla="*/ 2278 w 10000"/>
                    <a:gd name="connsiteY80" fmla="*/ 3608 h 10000"/>
                    <a:gd name="connsiteX81" fmla="*/ 2389 w 10000"/>
                    <a:gd name="connsiteY81" fmla="*/ 3564 h 10000"/>
                    <a:gd name="connsiteX82" fmla="*/ 2389 w 10000"/>
                    <a:gd name="connsiteY82" fmla="*/ 3505 h 10000"/>
                    <a:gd name="connsiteX83" fmla="*/ 2389 w 10000"/>
                    <a:gd name="connsiteY83" fmla="*/ 3432 h 10000"/>
                    <a:gd name="connsiteX84" fmla="*/ 2389 w 10000"/>
                    <a:gd name="connsiteY84" fmla="*/ 3432 h 10000"/>
                    <a:gd name="connsiteX85" fmla="*/ 2167 w 10000"/>
                    <a:gd name="connsiteY85" fmla="*/ 3225 h 10000"/>
                    <a:gd name="connsiteX86" fmla="*/ 1889 w 10000"/>
                    <a:gd name="connsiteY86" fmla="*/ 2946 h 10000"/>
                    <a:gd name="connsiteX87" fmla="*/ 1667 w 10000"/>
                    <a:gd name="connsiteY87" fmla="*/ 2695 h 10000"/>
                    <a:gd name="connsiteX88" fmla="*/ 1611 w 10000"/>
                    <a:gd name="connsiteY88" fmla="*/ 2622 h 10000"/>
                    <a:gd name="connsiteX89" fmla="*/ 1611 w 10000"/>
                    <a:gd name="connsiteY89" fmla="*/ 2592 h 10000"/>
                    <a:gd name="connsiteX90" fmla="*/ 1667 w 10000"/>
                    <a:gd name="connsiteY90" fmla="*/ 2577 h 10000"/>
                    <a:gd name="connsiteX91" fmla="*/ 1667 w 10000"/>
                    <a:gd name="connsiteY91" fmla="*/ 2577 h 10000"/>
                    <a:gd name="connsiteX92" fmla="*/ 2000 w 10000"/>
                    <a:gd name="connsiteY92" fmla="*/ 2563 h 10000"/>
                    <a:gd name="connsiteX93" fmla="*/ 2222 w 10000"/>
                    <a:gd name="connsiteY93" fmla="*/ 2563 h 10000"/>
                    <a:gd name="connsiteX94" fmla="*/ 2389 w 10000"/>
                    <a:gd name="connsiteY94" fmla="*/ 2577 h 10000"/>
                    <a:gd name="connsiteX95" fmla="*/ 2389 w 10000"/>
                    <a:gd name="connsiteY95" fmla="*/ 2577 h 10000"/>
                    <a:gd name="connsiteX96" fmla="*/ 2444 w 10000"/>
                    <a:gd name="connsiteY96" fmla="*/ 2577 h 10000"/>
                    <a:gd name="connsiteX97" fmla="*/ 2500 w 10000"/>
                    <a:gd name="connsiteY97" fmla="*/ 2548 h 10000"/>
                    <a:gd name="connsiteX98" fmla="*/ 2778 w 10000"/>
                    <a:gd name="connsiteY98" fmla="*/ 2459 h 10000"/>
                    <a:gd name="connsiteX99" fmla="*/ 3500 w 10000"/>
                    <a:gd name="connsiteY99" fmla="*/ 2165 h 10000"/>
                    <a:gd name="connsiteX100" fmla="*/ 4444 w 10000"/>
                    <a:gd name="connsiteY100" fmla="*/ 1738 h 10000"/>
                    <a:gd name="connsiteX101" fmla="*/ 4444 w 10000"/>
                    <a:gd name="connsiteY101" fmla="*/ 1738 h 10000"/>
                    <a:gd name="connsiteX102" fmla="*/ 4444 w 10000"/>
                    <a:gd name="connsiteY102" fmla="*/ 1679 h 10000"/>
                    <a:gd name="connsiteX103" fmla="*/ 4444 w 10000"/>
                    <a:gd name="connsiteY103" fmla="*/ 1546 h 10000"/>
                    <a:gd name="connsiteX104" fmla="*/ 4500 w 10000"/>
                    <a:gd name="connsiteY104" fmla="*/ 1458 h 10000"/>
                    <a:gd name="connsiteX105" fmla="*/ 4611 w 10000"/>
                    <a:gd name="connsiteY105" fmla="*/ 1384 h 10000"/>
                    <a:gd name="connsiteX106" fmla="*/ 4778 w 10000"/>
                    <a:gd name="connsiteY106" fmla="*/ 1296 h 10000"/>
                    <a:gd name="connsiteX107" fmla="*/ 5000 w 10000"/>
                    <a:gd name="connsiteY107" fmla="*/ 1222 h 10000"/>
                    <a:gd name="connsiteX108" fmla="*/ 5000 w 10000"/>
                    <a:gd name="connsiteY108" fmla="*/ 1222 h 10000"/>
                    <a:gd name="connsiteX109" fmla="*/ 5556 w 10000"/>
                    <a:gd name="connsiteY109" fmla="*/ 1075 h 10000"/>
                    <a:gd name="connsiteX110" fmla="*/ 6111 w 10000"/>
                    <a:gd name="connsiteY110" fmla="*/ 884 h 10000"/>
                    <a:gd name="connsiteX111" fmla="*/ 6667 w 10000"/>
                    <a:gd name="connsiteY111" fmla="*/ 707 h 10000"/>
                    <a:gd name="connsiteX112" fmla="*/ 7056 w 10000"/>
                    <a:gd name="connsiteY112" fmla="*/ 545 h 10000"/>
                    <a:gd name="connsiteX113" fmla="*/ 7056 w 10000"/>
                    <a:gd name="connsiteY113" fmla="*/ 545 h 10000"/>
                    <a:gd name="connsiteX114" fmla="*/ 7333 w 10000"/>
                    <a:gd name="connsiteY114" fmla="*/ 398 h 10000"/>
                    <a:gd name="connsiteX115" fmla="*/ 7667 w 10000"/>
                    <a:gd name="connsiteY115" fmla="*/ 221 h 10000"/>
                    <a:gd name="connsiteX116" fmla="*/ 8000 w 10000"/>
                    <a:gd name="connsiteY116" fmla="*/ 88 h 10000"/>
                    <a:gd name="connsiteX117" fmla="*/ 8167 w 10000"/>
                    <a:gd name="connsiteY117" fmla="*/ 29 h 10000"/>
                    <a:gd name="connsiteX118" fmla="*/ 8333 w 10000"/>
                    <a:gd name="connsiteY118" fmla="*/ 15 h 10000"/>
                    <a:gd name="connsiteX119" fmla="*/ 8333 w 10000"/>
                    <a:gd name="connsiteY119" fmla="*/ 15 h 10000"/>
                    <a:gd name="connsiteX120" fmla="*/ 8667 w 10000"/>
                    <a:gd name="connsiteY120" fmla="*/ 0 h 10000"/>
                    <a:gd name="connsiteX121" fmla="*/ 9111 w 10000"/>
                    <a:gd name="connsiteY121" fmla="*/ 0 h 10000"/>
                    <a:gd name="connsiteX122" fmla="*/ 10000 w 10000"/>
                    <a:gd name="connsiteY122" fmla="*/ 15 h 10000"/>
                    <a:gd name="connsiteX123" fmla="*/ 10000 w 10000"/>
                    <a:gd name="connsiteY123" fmla="*/ 9013 h 10000"/>
                    <a:gd name="connsiteX124" fmla="*/ 10000 w 10000"/>
                    <a:gd name="connsiteY124" fmla="*/ 9013 h 10000"/>
                    <a:gd name="connsiteX125" fmla="*/ 9722 w 10000"/>
                    <a:gd name="connsiteY125" fmla="*/ 8999 h 10000"/>
                    <a:gd name="connsiteX126" fmla="*/ 9389 w 10000"/>
                    <a:gd name="connsiteY126" fmla="*/ 9013 h 10000"/>
                    <a:gd name="connsiteX127" fmla="*/ 9389 w 10000"/>
                    <a:gd name="connsiteY127" fmla="*/ 9013 h 10000"/>
                    <a:gd name="connsiteX128" fmla="*/ 9278 w 10000"/>
                    <a:gd name="connsiteY128" fmla="*/ 9028 h 10000"/>
                    <a:gd name="connsiteX129" fmla="*/ 9056 w 10000"/>
                    <a:gd name="connsiteY129" fmla="*/ 9013 h 10000"/>
                    <a:gd name="connsiteX130" fmla="*/ 8889 w 10000"/>
                    <a:gd name="connsiteY130" fmla="*/ 8999 h 10000"/>
                    <a:gd name="connsiteX131" fmla="*/ 8722 w 10000"/>
                    <a:gd name="connsiteY131" fmla="*/ 8969 h 10000"/>
                    <a:gd name="connsiteX132" fmla="*/ 8611 w 10000"/>
                    <a:gd name="connsiteY132" fmla="*/ 8925 h 10000"/>
                    <a:gd name="connsiteX133" fmla="*/ 8444 w 10000"/>
                    <a:gd name="connsiteY133" fmla="*/ 8851 h 10000"/>
                    <a:gd name="connsiteX134" fmla="*/ 8444 w 10000"/>
                    <a:gd name="connsiteY134" fmla="*/ 8851 h 10000"/>
                    <a:gd name="connsiteX135" fmla="*/ 8222 w 10000"/>
                    <a:gd name="connsiteY135" fmla="*/ 8719 h 10000"/>
                    <a:gd name="connsiteX136" fmla="*/ 8111 w 10000"/>
                    <a:gd name="connsiteY136" fmla="*/ 8660 h 10000"/>
                    <a:gd name="connsiteX137" fmla="*/ 7944 w 10000"/>
                    <a:gd name="connsiteY137" fmla="*/ 8616 h 10000"/>
                    <a:gd name="connsiteX138" fmla="*/ 7778 w 10000"/>
                    <a:gd name="connsiteY138" fmla="*/ 8586 h 10000"/>
                    <a:gd name="connsiteX139" fmla="*/ 7556 w 10000"/>
                    <a:gd name="connsiteY139" fmla="*/ 8571 h 10000"/>
                    <a:gd name="connsiteX140" fmla="*/ 7333 w 10000"/>
                    <a:gd name="connsiteY140" fmla="*/ 8557 h 10000"/>
                    <a:gd name="connsiteX141" fmla="*/ 7000 w 10000"/>
                    <a:gd name="connsiteY141" fmla="*/ 8542 h 10000"/>
                    <a:gd name="connsiteX142" fmla="*/ 7000 w 10000"/>
                    <a:gd name="connsiteY142" fmla="*/ 8542 h 10000"/>
                    <a:gd name="connsiteX143" fmla="*/ 6556 w 10000"/>
                    <a:gd name="connsiteY143" fmla="*/ 8557 h 10000"/>
                    <a:gd name="connsiteX144" fmla="*/ 6222 w 10000"/>
                    <a:gd name="connsiteY144" fmla="*/ 8557 h 10000"/>
                    <a:gd name="connsiteX145" fmla="*/ 6111 w 10000"/>
                    <a:gd name="connsiteY145" fmla="*/ 8542 h 10000"/>
                    <a:gd name="connsiteX146" fmla="*/ 6056 w 10000"/>
                    <a:gd name="connsiteY146" fmla="*/ 8527 h 10000"/>
                    <a:gd name="connsiteX147" fmla="*/ 6056 w 10000"/>
                    <a:gd name="connsiteY147" fmla="*/ 8527 h 10000"/>
                    <a:gd name="connsiteX148" fmla="*/ 6056 w 10000"/>
                    <a:gd name="connsiteY148" fmla="*/ 8262 h 10000"/>
                    <a:gd name="connsiteX149" fmla="*/ 6056 w 10000"/>
                    <a:gd name="connsiteY149" fmla="*/ 8262 h 10000"/>
                    <a:gd name="connsiteX150" fmla="*/ 6056 w 10000"/>
                    <a:gd name="connsiteY150" fmla="*/ 8203 h 10000"/>
                    <a:gd name="connsiteX151" fmla="*/ 5944 w 10000"/>
                    <a:gd name="connsiteY151" fmla="*/ 8130 h 10000"/>
                    <a:gd name="connsiteX152" fmla="*/ 5889 w 10000"/>
                    <a:gd name="connsiteY152" fmla="*/ 8115 h 10000"/>
                    <a:gd name="connsiteX153" fmla="*/ 5778 w 10000"/>
                    <a:gd name="connsiteY153" fmla="*/ 8100 h 10000"/>
                    <a:gd name="connsiteX154" fmla="*/ 5667 w 10000"/>
                    <a:gd name="connsiteY154" fmla="*/ 8100 h 10000"/>
                    <a:gd name="connsiteX155" fmla="*/ 5500 w 10000"/>
                    <a:gd name="connsiteY155" fmla="*/ 8115 h 10000"/>
                    <a:gd name="connsiteX156" fmla="*/ 5500 w 10000"/>
                    <a:gd name="connsiteY156" fmla="*/ 8115 h 10000"/>
                    <a:gd name="connsiteX157" fmla="*/ 4889 w 10000"/>
                    <a:gd name="connsiteY157" fmla="*/ 8218 h 10000"/>
                    <a:gd name="connsiteX158" fmla="*/ 4611 w 10000"/>
                    <a:gd name="connsiteY158" fmla="*/ 8247 h 10000"/>
                    <a:gd name="connsiteX159" fmla="*/ 4556 w 10000"/>
                    <a:gd name="connsiteY159" fmla="*/ 8262 h 10000"/>
                    <a:gd name="connsiteX160" fmla="*/ 4500 w 10000"/>
                    <a:gd name="connsiteY160" fmla="*/ 8247 h 10000"/>
                    <a:gd name="connsiteX161" fmla="*/ 4500 w 10000"/>
                    <a:gd name="connsiteY161" fmla="*/ 8247 h 10000"/>
                    <a:gd name="connsiteX162" fmla="*/ 4222 w 10000"/>
                    <a:gd name="connsiteY162" fmla="*/ 8100 h 10000"/>
                    <a:gd name="connsiteX163" fmla="*/ 4222 w 10000"/>
                    <a:gd name="connsiteY163" fmla="*/ 8100 h 10000"/>
                    <a:gd name="connsiteX164" fmla="*/ 4111 w 10000"/>
                    <a:gd name="connsiteY164" fmla="*/ 8027 h 10000"/>
                    <a:gd name="connsiteX165" fmla="*/ 4111 w 10000"/>
                    <a:gd name="connsiteY165" fmla="*/ 7982 h 10000"/>
                    <a:gd name="connsiteX166" fmla="*/ 4111 w 10000"/>
                    <a:gd name="connsiteY166" fmla="*/ 7938 h 10000"/>
                    <a:gd name="connsiteX167" fmla="*/ 4111 w 10000"/>
                    <a:gd name="connsiteY167" fmla="*/ 7938 h 10000"/>
                    <a:gd name="connsiteX168" fmla="*/ 4278 w 10000"/>
                    <a:gd name="connsiteY168" fmla="*/ 7894 h 10000"/>
                    <a:gd name="connsiteX169" fmla="*/ 4389 w 10000"/>
                    <a:gd name="connsiteY169" fmla="*/ 7879 h 10000"/>
                    <a:gd name="connsiteX170" fmla="*/ 4389 w 10000"/>
                    <a:gd name="connsiteY170" fmla="*/ 7879 h 10000"/>
                    <a:gd name="connsiteX171" fmla="*/ 4000 w 10000"/>
                    <a:gd name="connsiteY171" fmla="*/ 7879 h 10000"/>
                    <a:gd name="connsiteX172" fmla="*/ 3722 w 10000"/>
                    <a:gd name="connsiteY172" fmla="*/ 7894 h 10000"/>
                    <a:gd name="connsiteX173" fmla="*/ 3611 w 10000"/>
                    <a:gd name="connsiteY173" fmla="*/ 7909 h 10000"/>
                    <a:gd name="connsiteX174" fmla="*/ 3556 w 10000"/>
                    <a:gd name="connsiteY174" fmla="*/ 7923 h 10000"/>
                    <a:gd name="connsiteX175" fmla="*/ 3556 w 10000"/>
                    <a:gd name="connsiteY175" fmla="*/ 7923 h 10000"/>
                    <a:gd name="connsiteX176" fmla="*/ 3444 w 10000"/>
                    <a:gd name="connsiteY176" fmla="*/ 7982 h 10000"/>
                    <a:gd name="connsiteX177" fmla="*/ 3278 w 10000"/>
                    <a:gd name="connsiteY177" fmla="*/ 8071 h 10000"/>
                    <a:gd name="connsiteX178" fmla="*/ 3000 w 10000"/>
                    <a:gd name="connsiteY178" fmla="*/ 8174 h 10000"/>
                    <a:gd name="connsiteX179" fmla="*/ 2667 w 10000"/>
                    <a:gd name="connsiteY179" fmla="*/ 8247 h 10000"/>
                    <a:gd name="connsiteX180" fmla="*/ 2667 w 10000"/>
                    <a:gd name="connsiteY180" fmla="*/ 8247 h 10000"/>
                    <a:gd name="connsiteX181" fmla="*/ 2333 w 10000"/>
                    <a:gd name="connsiteY181" fmla="*/ 8306 h 10000"/>
                    <a:gd name="connsiteX182" fmla="*/ 1833 w 10000"/>
                    <a:gd name="connsiteY182" fmla="*/ 8365 h 10000"/>
                    <a:gd name="connsiteX183" fmla="*/ 1389 w 10000"/>
                    <a:gd name="connsiteY183" fmla="*/ 8395 h 10000"/>
                    <a:gd name="connsiteX184" fmla="*/ 889 w 10000"/>
                    <a:gd name="connsiteY184" fmla="*/ 8409 h 10000"/>
                    <a:gd name="connsiteX185" fmla="*/ 889 w 10000"/>
                    <a:gd name="connsiteY185" fmla="*/ 8409 h 10000"/>
                    <a:gd name="connsiteX186" fmla="*/ 500 w 10000"/>
                    <a:gd name="connsiteY186" fmla="*/ 8424 h 10000"/>
                    <a:gd name="connsiteX187" fmla="*/ 222 w 10000"/>
                    <a:gd name="connsiteY187" fmla="*/ 8439 h 10000"/>
                    <a:gd name="connsiteX188" fmla="*/ 0 w 10000"/>
                    <a:gd name="connsiteY188" fmla="*/ 8454 h 10000"/>
                    <a:gd name="connsiteX189" fmla="*/ 0 w 10000"/>
                    <a:gd name="connsiteY189" fmla="*/ 8454 h 10000"/>
                    <a:gd name="connsiteX190" fmla="*/ 278 w 10000"/>
                    <a:gd name="connsiteY190" fmla="*/ 8689 h 10000"/>
                    <a:gd name="connsiteX191" fmla="*/ 500 w 10000"/>
                    <a:gd name="connsiteY191" fmla="*/ 8866 h 10000"/>
                    <a:gd name="connsiteX192" fmla="*/ 722 w 10000"/>
                    <a:gd name="connsiteY192" fmla="*/ 9013 h 10000"/>
                    <a:gd name="connsiteX193" fmla="*/ 722 w 10000"/>
                    <a:gd name="connsiteY193" fmla="*/ 9013 h 10000"/>
                    <a:gd name="connsiteX194" fmla="*/ 889 w 10000"/>
                    <a:gd name="connsiteY194" fmla="*/ 9102 h 10000"/>
                    <a:gd name="connsiteX195" fmla="*/ 944 w 10000"/>
                    <a:gd name="connsiteY195" fmla="*/ 9175 h 10000"/>
                    <a:gd name="connsiteX196" fmla="*/ 1111 w 10000"/>
                    <a:gd name="connsiteY196" fmla="*/ 9249 h 10000"/>
                    <a:gd name="connsiteX197" fmla="*/ 1333 w 10000"/>
                    <a:gd name="connsiteY197" fmla="*/ 9367 h 10000"/>
                    <a:gd name="connsiteX198" fmla="*/ 1333 w 10000"/>
                    <a:gd name="connsiteY198" fmla="*/ 9367 h 10000"/>
                    <a:gd name="connsiteX199" fmla="*/ 1444 w 10000"/>
                    <a:gd name="connsiteY199" fmla="*/ 9426 h 10000"/>
                    <a:gd name="connsiteX200" fmla="*/ 1500 w 10000"/>
                    <a:gd name="connsiteY200" fmla="*/ 9470 h 10000"/>
                    <a:gd name="connsiteX201" fmla="*/ 1500 w 10000"/>
                    <a:gd name="connsiteY201" fmla="*/ 9514 h 10000"/>
                    <a:gd name="connsiteX202" fmla="*/ 1556 w 10000"/>
                    <a:gd name="connsiteY202" fmla="*/ 9529 h 10000"/>
                    <a:gd name="connsiteX203" fmla="*/ 1722 w 10000"/>
                    <a:gd name="connsiteY203" fmla="*/ 9543 h 10000"/>
                    <a:gd name="connsiteX204" fmla="*/ 1944 w 10000"/>
                    <a:gd name="connsiteY204" fmla="*/ 9558 h 10000"/>
                    <a:gd name="connsiteX205" fmla="*/ 2944 w 10000"/>
                    <a:gd name="connsiteY205" fmla="*/ 9573 h 10000"/>
                    <a:gd name="connsiteX206" fmla="*/ 2944 w 10000"/>
                    <a:gd name="connsiteY206" fmla="*/ 9573 h 10000"/>
                    <a:gd name="connsiteX207" fmla="*/ 4167 w 10000"/>
                    <a:gd name="connsiteY207" fmla="*/ 9602 h 10000"/>
                    <a:gd name="connsiteX208" fmla="*/ 4889 w 10000"/>
                    <a:gd name="connsiteY208" fmla="*/ 9647 h 10000"/>
                    <a:gd name="connsiteX209" fmla="*/ 5278 w 10000"/>
                    <a:gd name="connsiteY209" fmla="*/ 9691 h 10000"/>
                    <a:gd name="connsiteX210" fmla="*/ 5444 w 10000"/>
                    <a:gd name="connsiteY210" fmla="*/ 9705 h 10000"/>
                    <a:gd name="connsiteX211" fmla="*/ 5444 w 10000"/>
                    <a:gd name="connsiteY211" fmla="*/ 9705 h 10000"/>
                    <a:gd name="connsiteX212" fmla="*/ 5722 w 10000"/>
                    <a:gd name="connsiteY212" fmla="*/ 9735 h 10000"/>
                    <a:gd name="connsiteX213" fmla="*/ 5833 w 10000"/>
                    <a:gd name="connsiteY213" fmla="*/ 9750 h 10000"/>
                    <a:gd name="connsiteX214" fmla="*/ 5833 w 10000"/>
                    <a:gd name="connsiteY214" fmla="*/ 9750 h 10000"/>
                    <a:gd name="connsiteX215" fmla="*/ 5833 w 10000"/>
                    <a:gd name="connsiteY215" fmla="*/ 9735 h 10000"/>
                    <a:gd name="connsiteX216" fmla="*/ 5889 w 10000"/>
                    <a:gd name="connsiteY216" fmla="*/ 9720 h 10000"/>
                    <a:gd name="connsiteX217" fmla="*/ 6000 w 10000"/>
                    <a:gd name="connsiteY217" fmla="*/ 9705 h 10000"/>
                    <a:gd name="connsiteX218" fmla="*/ 6167 w 10000"/>
                    <a:gd name="connsiteY218" fmla="*/ 9691 h 10000"/>
                    <a:gd name="connsiteX219" fmla="*/ 6444 w 10000"/>
                    <a:gd name="connsiteY219" fmla="*/ 9691 h 10000"/>
                    <a:gd name="connsiteX220" fmla="*/ 6833 w 10000"/>
                    <a:gd name="connsiteY220" fmla="*/ 9705 h 10000"/>
                    <a:gd name="connsiteX221" fmla="*/ 7278 w 10000"/>
                    <a:gd name="connsiteY221" fmla="*/ 9750 h 10000"/>
                    <a:gd name="connsiteX222" fmla="*/ 7278 w 10000"/>
                    <a:gd name="connsiteY222" fmla="*/ 9750 h 10000"/>
                    <a:gd name="connsiteX223" fmla="*/ 8722 w 10000"/>
                    <a:gd name="connsiteY223" fmla="*/ 9882 h 10000"/>
                    <a:gd name="connsiteX224" fmla="*/ 10000 w 10000"/>
                    <a:gd name="connsiteY22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500 w 10000"/>
                    <a:gd name="connsiteY73" fmla="*/ 4006 h 10000"/>
                    <a:gd name="connsiteX74" fmla="*/ 1444 w 10000"/>
                    <a:gd name="connsiteY74" fmla="*/ 3844 h 10000"/>
                    <a:gd name="connsiteX75" fmla="*/ 1556 w 10000"/>
                    <a:gd name="connsiteY75" fmla="*/ 3800 h 10000"/>
                    <a:gd name="connsiteX76" fmla="*/ 1556 w 10000"/>
                    <a:gd name="connsiteY76" fmla="*/ 3800 h 10000"/>
                    <a:gd name="connsiteX77" fmla="*/ 1833 w 10000"/>
                    <a:gd name="connsiteY77" fmla="*/ 3726 h 10000"/>
                    <a:gd name="connsiteX78" fmla="*/ 2111 w 10000"/>
                    <a:gd name="connsiteY78" fmla="*/ 3652 h 10000"/>
                    <a:gd name="connsiteX79" fmla="*/ 2278 w 10000"/>
                    <a:gd name="connsiteY79" fmla="*/ 3608 h 10000"/>
                    <a:gd name="connsiteX80" fmla="*/ 2389 w 10000"/>
                    <a:gd name="connsiteY80" fmla="*/ 3564 h 10000"/>
                    <a:gd name="connsiteX81" fmla="*/ 2389 w 10000"/>
                    <a:gd name="connsiteY81" fmla="*/ 3505 h 10000"/>
                    <a:gd name="connsiteX82" fmla="*/ 2389 w 10000"/>
                    <a:gd name="connsiteY82" fmla="*/ 3432 h 10000"/>
                    <a:gd name="connsiteX83" fmla="*/ 2389 w 10000"/>
                    <a:gd name="connsiteY83" fmla="*/ 3432 h 10000"/>
                    <a:gd name="connsiteX84" fmla="*/ 2167 w 10000"/>
                    <a:gd name="connsiteY84" fmla="*/ 3225 h 10000"/>
                    <a:gd name="connsiteX85" fmla="*/ 1889 w 10000"/>
                    <a:gd name="connsiteY85" fmla="*/ 2946 h 10000"/>
                    <a:gd name="connsiteX86" fmla="*/ 1667 w 10000"/>
                    <a:gd name="connsiteY86" fmla="*/ 2695 h 10000"/>
                    <a:gd name="connsiteX87" fmla="*/ 1611 w 10000"/>
                    <a:gd name="connsiteY87" fmla="*/ 2622 h 10000"/>
                    <a:gd name="connsiteX88" fmla="*/ 1611 w 10000"/>
                    <a:gd name="connsiteY88" fmla="*/ 2592 h 10000"/>
                    <a:gd name="connsiteX89" fmla="*/ 1667 w 10000"/>
                    <a:gd name="connsiteY89" fmla="*/ 2577 h 10000"/>
                    <a:gd name="connsiteX90" fmla="*/ 1667 w 10000"/>
                    <a:gd name="connsiteY90" fmla="*/ 2577 h 10000"/>
                    <a:gd name="connsiteX91" fmla="*/ 2000 w 10000"/>
                    <a:gd name="connsiteY91" fmla="*/ 2563 h 10000"/>
                    <a:gd name="connsiteX92" fmla="*/ 2222 w 10000"/>
                    <a:gd name="connsiteY92" fmla="*/ 2563 h 10000"/>
                    <a:gd name="connsiteX93" fmla="*/ 2389 w 10000"/>
                    <a:gd name="connsiteY93" fmla="*/ 2577 h 10000"/>
                    <a:gd name="connsiteX94" fmla="*/ 2389 w 10000"/>
                    <a:gd name="connsiteY94" fmla="*/ 2577 h 10000"/>
                    <a:gd name="connsiteX95" fmla="*/ 2444 w 10000"/>
                    <a:gd name="connsiteY95" fmla="*/ 2577 h 10000"/>
                    <a:gd name="connsiteX96" fmla="*/ 2500 w 10000"/>
                    <a:gd name="connsiteY96" fmla="*/ 2548 h 10000"/>
                    <a:gd name="connsiteX97" fmla="*/ 2778 w 10000"/>
                    <a:gd name="connsiteY97" fmla="*/ 2459 h 10000"/>
                    <a:gd name="connsiteX98" fmla="*/ 3500 w 10000"/>
                    <a:gd name="connsiteY98" fmla="*/ 2165 h 10000"/>
                    <a:gd name="connsiteX99" fmla="*/ 4444 w 10000"/>
                    <a:gd name="connsiteY99" fmla="*/ 1738 h 10000"/>
                    <a:gd name="connsiteX100" fmla="*/ 4444 w 10000"/>
                    <a:gd name="connsiteY100" fmla="*/ 1738 h 10000"/>
                    <a:gd name="connsiteX101" fmla="*/ 4444 w 10000"/>
                    <a:gd name="connsiteY101" fmla="*/ 1679 h 10000"/>
                    <a:gd name="connsiteX102" fmla="*/ 4444 w 10000"/>
                    <a:gd name="connsiteY102" fmla="*/ 1546 h 10000"/>
                    <a:gd name="connsiteX103" fmla="*/ 4500 w 10000"/>
                    <a:gd name="connsiteY103" fmla="*/ 1458 h 10000"/>
                    <a:gd name="connsiteX104" fmla="*/ 4611 w 10000"/>
                    <a:gd name="connsiteY104" fmla="*/ 1384 h 10000"/>
                    <a:gd name="connsiteX105" fmla="*/ 4778 w 10000"/>
                    <a:gd name="connsiteY105" fmla="*/ 1296 h 10000"/>
                    <a:gd name="connsiteX106" fmla="*/ 5000 w 10000"/>
                    <a:gd name="connsiteY106" fmla="*/ 1222 h 10000"/>
                    <a:gd name="connsiteX107" fmla="*/ 5000 w 10000"/>
                    <a:gd name="connsiteY107" fmla="*/ 1222 h 10000"/>
                    <a:gd name="connsiteX108" fmla="*/ 5556 w 10000"/>
                    <a:gd name="connsiteY108" fmla="*/ 1075 h 10000"/>
                    <a:gd name="connsiteX109" fmla="*/ 6111 w 10000"/>
                    <a:gd name="connsiteY109" fmla="*/ 884 h 10000"/>
                    <a:gd name="connsiteX110" fmla="*/ 6667 w 10000"/>
                    <a:gd name="connsiteY110" fmla="*/ 707 h 10000"/>
                    <a:gd name="connsiteX111" fmla="*/ 7056 w 10000"/>
                    <a:gd name="connsiteY111" fmla="*/ 545 h 10000"/>
                    <a:gd name="connsiteX112" fmla="*/ 7056 w 10000"/>
                    <a:gd name="connsiteY112" fmla="*/ 545 h 10000"/>
                    <a:gd name="connsiteX113" fmla="*/ 7333 w 10000"/>
                    <a:gd name="connsiteY113" fmla="*/ 398 h 10000"/>
                    <a:gd name="connsiteX114" fmla="*/ 7667 w 10000"/>
                    <a:gd name="connsiteY114" fmla="*/ 221 h 10000"/>
                    <a:gd name="connsiteX115" fmla="*/ 8000 w 10000"/>
                    <a:gd name="connsiteY115" fmla="*/ 88 h 10000"/>
                    <a:gd name="connsiteX116" fmla="*/ 8167 w 10000"/>
                    <a:gd name="connsiteY116" fmla="*/ 29 h 10000"/>
                    <a:gd name="connsiteX117" fmla="*/ 8333 w 10000"/>
                    <a:gd name="connsiteY117" fmla="*/ 15 h 10000"/>
                    <a:gd name="connsiteX118" fmla="*/ 8333 w 10000"/>
                    <a:gd name="connsiteY118" fmla="*/ 15 h 10000"/>
                    <a:gd name="connsiteX119" fmla="*/ 8667 w 10000"/>
                    <a:gd name="connsiteY119" fmla="*/ 0 h 10000"/>
                    <a:gd name="connsiteX120" fmla="*/ 9111 w 10000"/>
                    <a:gd name="connsiteY120" fmla="*/ 0 h 10000"/>
                    <a:gd name="connsiteX121" fmla="*/ 10000 w 10000"/>
                    <a:gd name="connsiteY121" fmla="*/ 15 h 10000"/>
                    <a:gd name="connsiteX122" fmla="*/ 10000 w 10000"/>
                    <a:gd name="connsiteY122" fmla="*/ 9013 h 10000"/>
                    <a:gd name="connsiteX123" fmla="*/ 10000 w 10000"/>
                    <a:gd name="connsiteY123" fmla="*/ 9013 h 10000"/>
                    <a:gd name="connsiteX124" fmla="*/ 9722 w 10000"/>
                    <a:gd name="connsiteY124" fmla="*/ 8999 h 10000"/>
                    <a:gd name="connsiteX125" fmla="*/ 9389 w 10000"/>
                    <a:gd name="connsiteY125" fmla="*/ 9013 h 10000"/>
                    <a:gd name="connsiteX126" fmla="*/ 9389 w 10000"/>
                    <a:gd name="connsiteY126" fmla="*/ 9013 h 10000"/>
                    <a:gd name="connsiteX127" fmla="*/ 9278 w 10000"/>
                    <a:gd name="connsiteY127" fmla="*/ 9028 h 10000"/>
                    <a:gd name="connsiteX128" fmla="*/ 9056 w 10000"/>
                    <a:gd name="connsiteY128" fmla="*/ 9013 h 10000"/>
                    <a:gd name="connsiteX129" fmla="*/ 8889 w 10000"/>
                    <a:gd name="connsiteY129" fmla="*/ 8999 h 10000"/>
                    <a:gd name="connsiteX130" fmla="*/ 8722 w 10000"/>
                    <a:gd name="connsiteY130" fmla="*/ 8969 h 10000"/>
                    <a:gd name="connsiteX131" fmla="*/ 8611 w 10000"/>
                    <a:gd name="connsiteY131" fmla="*/ 8925 h 10000"/>
                    <a:gd name="connsiteX132" fmla="*/ 8444 w 10000"/>
                    <a:gd name="connsiteY132" fmla="*/ 8851 h 10000"/>
                    <a:gd name="connsiteX133" fmla="*/ 8444 w 10000"/>
                    <a:gd name="connsiteY133" fmla="*/ 8851 h 10000"/>
                    <a:gd name="connsiteX134" fmla="*/ 8222 w 10000"/>
                    <a:gd name="connsiteY134" fmla="*/ 8719 h 10000"/>
                    <a:gd name="connsiteX135" fmla="*/ 8111 w 10000"/>
                    <a:gd name="connsiteY135" fmla="*/ 8660 h 10000"/>
                    <a:gd name="connsiteX136" fmla="*/ 7944 w 10000"/>
                    <a:gd name="connsiteY136" fmla="*/ 8616 h 10000"/>
                    <a:gd name="connsiteX137" fmla="*/ 7778 w 10000"/>
                    <a:gd name="connsiteY137" fmla="*/ 8586 h 10000"/>
                    <a:gd name="connsiteX138" fmla="*/ 7556 w 10000"/>
                    <a:gd name="connsiteY138" fmla="*/ 8571 h 10000"/>
                    <a:gd name="connsiteX139" fmla="*/ 7333 w 10000"/>
                    <a:gd name="connsiteY139" fmla="*/ 8557 h 10000"/>
                    <a:gd name="connsiteX140" fmla="*/ 7000 w 10000"/>
                    <a:gd name="connsiteY140" fmla="*/ 8542 h 10000"/>
                    <a:gd name="connsiteX141" fmla="*/ 7000 w 10000"/>
                    <a:gd name="connsiteY141" fmla="*/ 8542 h 10000"/>
                    <a:gd name="connsiteX142" fmla="*/ 6556 w 10000"/>
                    <a:gd name="connsiteY142" fmla="*/ 8557 h 10000"/>
                    <a:gd name="connsiteX143" fmla="*/ 6222 w 10000"/>
                    <a:gd name="connsiteY143" fmla="*/ 8557 h 10000"/>
                    <a:gd name="connsiteX144" fmla="*/ 6111 w 10000"/>
                    <a:gd name="connsiteY144" fmla="*/ 8542 h 10000"/>
                    <a:gd name="connsiteX145" fmla="*/ 6056 w 10000"/>
                    <a:gd name="connsiteY145" fmla="*/ 8527 h 10000"/>
                    <a:gd name="connsiteX146" fmla="*/ 6056 w 10000"/>
                    <a:gd name="connsiteY146" fmla="*/ 8527 h 10000"/>
                    <a:gd name="connsiteX147" fmla="*/ 6056 w 10000"/>
                    <a:gd name="connsiteY147" fmla="*/ 8262 h 10000"/>
                    <a:gd name="connsiteX148" fmla="*/ 6056 w 10000"/>
                    <a:gd name="connsiteY148" fmla="*/ 8262 h 10000"/>
                    <a:gd name="connsiteX149" fmla="*/ 6056 w 10000"/>
                    <a:gd name="connsiteY149" fmla="*/ 8203 h 10000"/>
                    <a:gd name="connsiteX150" fmla="*/ 5944 w 10000"/>
                    <a:gd name="connsiteY150" fmla="*/ 8130 h 10000"/>
                    <a:gd name="connsiteX151" fmla="*/ 5889 w 10000"/>
                    <a:gd name="connsiteY151" fmla="*/ 8115 h 10000"/>
                    <a:gd name="connsiteX152" fmla="*/ 5778 w 10000"/>
                    <a:gd name="connsiteY152" fmla="*/ 8100 h 10000"/>
                    <a:gd name="connsiteX153" fmla="*/ 5667 w 10000"/>
                    <a:gd name="connsiteY153" fmla="*/ 8100 h 10000"/>
                    <a:gd name="connsiteX154" fmla="*/ 5500 w 10000"/>
                    <a:gd name="connsiteY154" fmla="*/ 8115 h 10000"/>
                    <a:gd name="connsiteX155" fmla="*/ 5500 w 10000"/>
                    <a:gd name="connsiteY155" fmla="*/ 8115 h 10000"/>
                    <a:gd name="connsiteX156" fmla="*/ 4889 w 10000"/>
                    <a:gd name="connsiteY156" fmla="*/ 8218 h 10000"/>
                    <a:gd name="connsiteX157" fmla="*/ 4611 w 10000"/>
                    <a:gd name="connsiteY157" fmla="*/ 8247 h 10000"/>
                    <a:gd name="connsiteX158" fmla="*/ 4556 w 10000"/>
                    <a:gd name="connsiteY158" fmla="*/ 8262 h 10000"/>
                    <a:gd name="connsiteX159" fmla="*/ 4500 w 10000"/>
                    <a:gd name="connsiteY159" fmla="*/ 8247 h 10000"/>
                    <a:gd name="connsiteX160" fmla="*/ 4500 w 10000"/>
                    <a:gd name="connsiteY160" fmla="*/ 8247 h 10000"/>
                    <a:gd name="connsiteX161" fmla="*/ 4222 w 10000"/>
                    <a:gd name="connsiteY161" fmla="*/ 8100 h 10000"/>
                    <a:gd name="connsiteX162" fmla="*/ 4222 w 10000"/>
                    <a:gd name="connsiteY162" fmla="*/ 8100 h 10000"/>
                    <a:gd name="connsiteX163" fmla="*/ 4111 w 10000"/>
                    <a:gd name="connsiteY163" fmla="*/ 8027 h 10000"/>
                    <a:gd name="connsiteX164" fmla="*/ 4111 w 10000"/>
                    <a:gd name="connsiteY164" fmla="*/ 7982 h 10000"/>
                    <a:gd name="connsiteX165" fmla="*/ 4111 w 10000"/>
                    <a:gd name="connsiteY165" fmla="*/ 7938 h 10000"/>
                    <a:gd name="connsiteX166" fmla="*/ 4111 w 10000"/>
                    <a:gd name="connsiteY166" fmla="*/ 7938 h 10000"/>
                    <a:gd name="connsiteX167" fmla="*/ 4278 w 10000"/>
                    <a:gd name="connsiteY167" fmla="*/ 7894 h 10000"/>
                    <a:gd name="connsiteX168" fmla="*/ 4389 w 10000"/>
                    <a:gd name="connsiteY168" fmla="*/ 7879 h 10000"/>
                    <a:gd name="connsiteX169" fmla="*/ 4389 w 10000"/>
                    <a:gd name="connsiteY169" fmla="*/ 7879 h 10000"/>
                    <a:gd name="connsiteX170" fmla="*/ 4000 w 10000"/>
                    <a:gd name="connsiteY170" fmla="*/ 7879 h 10000"/>
                    <a:gd name="connsiteX171" fmla="*/ 3722 w 10000"/>
                    <a:gd name="connsiteY171" fmla="*/ 7894 h 10000"/>
                    <a:gd name="connsiteX172" fmla="*/ 3611 w 10000"/>
                    <a:gd name="connsiteY172" fmla="*/ 7909 h 10000"/>
                    <a:gd name="connsiteX173" fmla="*/ 3556 w 10000"/>
                    <a:gd name="connsiteY173" fmla="*/ 7923 h 10000"/>
                    <a:gd name="connsiteX174" fmla="*/ 3556 w 10000"/>
                    <a:gd name="connsiteY174" fmla="*/ 7923 h 10000"/>
                    <a:gd name="connsiteX175" fmla="*/ 3444 w 10000"/>
                    <a:gd name="connsiteY175" fmla="*/ 7982 h 10000"/>
                    <a:gd name="connsiteX176" fmla="*/ 3278 w 10000"/>
                    <a:gd name="connsiteY176" fmla="*/ 8071 h 10000"/>
                    <a:gd name="connsiteX177" fmla="*/ 3000 w 10000"/>
                    <a:gd name="connsiteY177" fmla="*/ 8174 h 10000"/>
                    <a:gd name="connsiteX178" fmla="*/ 2667 w 10000"/>
                    <a:gd name="connsiteY178" fmla="*/ 8247 h 10000"/>
                    <a:gd name="connsiteX179" fmla="*/ 2667 w 10000"/>
                    <a:gd name="connsiteY179" fmla="*/ 8247 h 10000"/>
                    <a:gd name="connsiteX180" fmla="*/ 2333 w 10000"/>
                    <a:gd name="connsiteY180" fmla="*/ 8306 h 10000"/>
                    <a:gd name="connsiteX181" fmla="*/ 1833 w 10000"/>
                    <a:gd name="connsiteY181" fmla="*/ 8365 h 10000"/>
                    <a:gd name="connsiteX182" fmla="*/ 1389 w 10000"/>
                    <a:gd name="connsiteY182" fmla="*/ 8395 h 10000"/>
                    <a:gd name="connsiteX183" fmla="*/ 889 w 10000"/>
                    <a:gd name="connsiteY183" fmla="*/ 8409 h 10000"/>
                    <a:gd name="connsiteX184" fmla="*/ 889 w 10000"/>
                    <a:gd name="connsiteY184" fmla="*/ 8409 h 10000"/>
                    <a:gd name="connsiteX185" fmla="*/ 500 w 10000"/>
                    <a:gd name="connsiteY185" fmla="*/ 8424 h 10000"/>
                    <a:gd name="connsiteX186" fmla="*/ 222 w 10000"/>
                    <a:gd name="connsiteY186" fmla="*/ 8439 h 10000"/>
                    <a:gd name="connsiteX187" fmla="*/ 0 w 10000"/>
                    <a:gd name="connsiteY187" fmla="*/ 8454 h 10000"/>
                    <a:gd name="connsiteX188" fmla="*/ 0 w 10000"/>
                    <a:gd name="connsiteY188" fmla="*/ 8454 h 10000"/>
                    <a:gd name="connsiteX189" fmla="*/ 278 w 10000"/>
                    <a:gd name="connsiteY189" fmla="*/ 8689 h 10000"/>
                    <a:gd name="connsiteX190" fmla="*/ 500 w 10000"/>
                    <a:gd name="connsiteY190" fmla="*/ 8866 h 10000"/>
                    <a:gd name="connsiteX191" fmla="*/ 722 w 10000"/>
                    <a:gd name="connsiteY191" fmla="*/ 9013 h 10000"/>
                    <a:gd name="connsiteX192" fmla="*/ 722 w 10000"/>
                    <a:gd name="connsiteY192" fmla="*/ 9013 h 10000"/>
                    <a:gd name="connsiteX193" fmla="*/ 889 w 10000"/>
                    <a:gd name="connsiteY193" fmla="*/ 9102 h 10000"/>
                    <a:gd name="connsiteX194" fmla="*/ 944 w 10000"/>
                    <a:gd name="connsiteY194" fmla="*/ 9175 h 10000"/>
                    <a:gd name="connsiteX195" fmla="*/ 1111 w 10000"/>
                    <a:gd name="connsiteY195" fmla="*/ 9249 h 10000"/>
                    <a:gd name="connsiteX196" fmla="*/ 1333 w 10000"/>
                    <a:gd name="connsiteY196" fmla="*/ 9367 h 10000"/>
                    <a:gd name="connsiteX197" fmla="*/ 1333 w 10000"/>
                    <a:gd name="connsiteY197" fmla="*/ 9367 h 10000"/>
                    <a:gd name="connsiteX198" fmla="*/ 1444 w 10000"/>
                    <a:gd name="connsiteY198" fmla="*/ 9426 h 10000"/>
                    <a:gd name="connsiteX199" fmla="*/ 1500 w 10000"/>
                    <a:gd name="connsiteY199" fmla="*/ 9470 h 10000"/>
                    <a:gd name="connsiteX200" fmla="*/ 1500 w 10000"/>
                    <a:gd name="connsiteY200" fmla="*/ 9514 h 10000"/>
                    <a:gd name="connsiteX201" fmla="*/ 1556 w 10000"/>
                    <a:gd name="connsiteY201" fmla="*/ 9529 h 10000"/>
                    <a:gd name="connsiteX202" fmla="*/ 1722 w 10000"/>
                    <a:gd name="connsiteY202" fmla="*/ 9543 h 10000"/>
                    <a:gd name="connsiteX203" fmla="*/ 1944 w 10000"/>
                    <a:gd name="connsiteY203" fmla="*/ 9558 h 10000"/>
                    <a:gd name="connsiteX204" fmla="*/ 2944 w 10000"/>
                    <a:gd name="connsiteY204" fmla="*/ 9573 h 10000"/>
                    <a:gd name="connsiteX205" fmla="*/ 2944 w 10000"/>
                    <a:gd name="connsiteY205" fmla="*/ 9573 h 10000"/>
                    <a:gd name="connsiteX206" fmla="*/ 4167 w 10000"/>
                    <a:gd name="connsiteY206" fmla="*/ 9602 h 10000"/>
                    <a:gd name="connsiteX207" fmla="*/ 4889 w 10000"/>
                    <a:gd name="connsiteY207" fmla="*/ 9647 h 10000"/>
                    <a:gd name="connsiteX208" fmla="*/ 5278 w 10000"/>
                    <a:gd name="connsiteY208" fmla="*/ 9691 h 10000"/>
                    <a:gd name="connsiteX209" fmla="*/ 5444 w 10000"/>
                    <a:gd name="connsiteY209" fmla="*/ 9705 h 10000"/>
                    <a:gd name="connsiteX210" fmla="*/ 5444 w 10000"/>
                    <a:gd name="connsiteY210" fmla="*/ 9705 h 10000"/>
                    <a:gd name="connsiteX211" fmla="*/ 5722 w 10000"/>
                    <a:gd name="connsiteY211" fmla="*/ 9735 h 10000"/>
                    <a:gd name="connsiteX212" fmla="*/ 5833 w 10000"/>
                    <a:gd name="connsiteY212" fmla="*/ 9750 h 10000"/>
                    <a:gd name="connsiteX213" fmla="*/ 5833 w 10000"/>
                    <a:gd name="connsiteY213" fmla="*/ 9750 h 10000"/>
                    <a:gd name="connsiteX214" fmla="*/ 5833 w 10000"/>
                    <a:gd name="connsiteY214" fmla="*/ 9735 h 10000"/>
                    <a:gd name="connsiteX215" fmla="*/ 5889 w 10000"/>
                    <a:gd name="connsiteY215" fmla="*/ 9720 h 10000"/>
                    <a:gd name="connsiteX216" fmla="*/ 6000 w 10000"/>
                    <a:gd name="connsiteY216" fmla="*/ 9705 h 10000"/>
                    <a:gd name="connsiteX217" fmla="*/ 6167 w 10000"/>
                    <a:gd name="connsiteY217" fmla="*/ 9691 h 10000"/>
                    <a:gd name="connsiteX218" fmla="*/ 6444 w 10000"/>
                    <a:gd name="connsiteY218" fmla="*/ 9691 h 10000"/>
                    <a:gd name="connsiteX219" fmla="*/ 6833 w 10000"/>
                    <a:gd name="connsiteY219" fmla="*/ 9705 h 10000"/>
                    <a:gd name="connsiteX220" fmla="*/ 7278 w 10000"/>
                    <a:gd name="connsiteY220" fmla="*/ 9750 h 10000"/>
                    <a:gd name="connsiteX221" fmla="*/ 7278 w 10000"/>
                    <a:gd name="connsiteY221" fmla="*/ 9750 h 10000"/>
                    <a:gd name="connsiteX222" fmla="*/ 8722 w 10000"/>
                    <a:gd name="connsiteY222" fmla="*/ 9882 h 10000"/>
                    <a:gd name="connsiteX223" fmla="*/ 10000 w 10000"/>
                    <a:gd name="connsiteY22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889 w 10000"/>
                    <a:gd name="connsiteY72" fmla="*/ 4183 h 10000"/>
                    <a:gd name="connsiteX73" fmla="*/ 1444 w 10000"/>
                    <a:gd name="connsiteY73" fmla="*/ 3844 h 10000"/>
                    <a:gd name="connsiteX74" fmla="*/ 1556 w 10000"/>
                    <a:gd name="connsiteY74" fmla="*/ 3800 h 10000"/>
                    <a:gd name="connsiteX75" fmla="*/ 1556 w 10000"/>
                    <a:gd name="connsiteY75" fmla="*/ 3800 h 10000"/>
                    <a:gd name="connsiteX76" fmla="*/ 1833 w 10000"/>
                    <a:gd name="connsiteY76" fmla="*/ 3726 h 10000"/>
                    <a:gd name="connsiteX77" fmla="*/ 2111 w 10000"/>
                    <a:gd name="connsiteY77" fmla="*/ 3652 h 10000"/>
                    <a:gd name="connsiteX78" fmla="*/ 2278 w 10000"/>
                    <a:gd name="connsiteY78" fmla="*/ 3608 h 10000"/>
                    <a:gd name="connsiteX79" fmla="*/ 2389 w 10000"/>
                    <a:gd name="connsiteY79" fmla="*/ 3564 h 10000"/>
                    <a:gd name="connsiteX80" fmla="*/ 2389 w 10000"/>
                    <a:gd name="connsiteY80" fmla="*/ 3505 h 10000"/>
                    <a:gd name="connsiteX81" fmla="*/ 2389 w 10000"/>
                    <a:gd name="connsiteY81" fmla="*/ 3432 h 10000"/>
                    <a:gd name="connsiteX82" fmla="*/ 2389 w 10000"/>
                    <a:gd name="connsiteY82" fmla="*/ 3432 h 10000"/>
                    <a:gd name="connsiteX83" fmla="*/ 2167 w 10000"/>
                    <a:gd name="connsiteY83" fmla="*/ 3225 h 10000"/>
                    <a:gd name="connsiteX84" fmla="*/ 1889 w 10000"/>
                    <a:gd name="connsiteY84" fmla="*/ 2946 h 10000"/>
                    <a:gd name="connsiteX85" fmla="*/ 1667 w 10000"/>
                    <a:gd name="connsiteY85" fmla="*/ 2695 h 10000"/>
                    <a:gd name="connsiteX86" fmla="*/ 1611 w 10000"/>
                    <a:gd name="connsiteY86" fmla="*/ 2622 h 10000"/>
                    <a:gd name="connsiteX87" fmla="*/ 1611 w 10000"/>
                    <a:gd name="connsiteY87" fmla="*/ 2592 h 10000"/>
                    <a:gd name="connsiteX88" fmla="*/ 1667 w 10000"/>
                    <a:gd name="connsiteY88" fmla="*/ 2577 h 10000"/>
                    <a:gd name="connsiteX89" fmla="*/ 1667 w 10000"/>
                    <a:gd name="connsiteY89" fmla="*/ 2577 h 10000"/>
                    <a:gd name="connsiteX90" fmla="*/ 2000 w 10000"/>
                    <a:gd name="connsiteY90" fmla="*/ 2563 h 10000"/>
                    <a:gd name="connsiteX91" fmla="*/ 2222 w 10000"/>
                    <a:gd name="connsiteY91" fmla="*/ 2563 h 10000"/>
                    <a:gd name="connsiteX92" fmla="*/ 2389 w 10000"/>
                    <a:gd name="connsiteY92" fmla="*/ 2577 h 10000"/>
                    <a:gd name="connsiteX93" fmla="*/ 2389 w 10000"/>
                    <a:gd name="connsiteY93" fmla="*/ 2577 h 10000"/>
                    <a:gd name="connsiteX94" fmla="*/ 2444 w 10000"/>
                    <a:gd name="connsiteY94" fmla="*/ 2577 h 10000"/>
                    <a:gd name="connsiteX95" fmla="*/ 2500 w 10000"/>
                    <a:gd name="connsiteY95" fmla="*/ 2548 h 10000"/>
                    <a:gd name="connsiteX96" fmla="*/ 2778 w 10000"/>
                    <a:gd name="connsiteY96" fmla="*/ 2459 h 10000"/>
                    <a:gd name="connsiteX97" fmla="*/ 3500 w 10000"/>
                    <a:gd name="connsiteY97" fmla="*/ 2165 h 10000"/>
                    <a:gd name="connsiteX98" fmla="*/ 4444 w 10000"/>
                    <a:gd name="connsiteY98" fmla="*/ 1738 h 10000"/>
                    <a:gd name="connsiteX99" fmla="*/ 4444 w 10000"/>
                    <a:gd name="connsiteY99" fmla="*/ 1738 h 10000"/>
                    <a:gd name="connsiteX100" fmla="*/ 4444 w 10000"/>
                    <a:gd name="connsiteY100" fmla="*/ 1679 h 10000"/>
                    <a:gd name="connsiteX101" fmla="*/ 4444 w 10000"/>
                    <a:gd name="connsiteY101" fmla="*/ 1546 h 10000"/>
                    <a:gd name="connsiteX102" fmla="*/ 4500 w 10000"/>
                    <a:gd name="connsiteY102" fmla="*/ 1458 h 10000"/>
                    <a:gd name="connsiteX103" fmla="*/ 4611 w 10000"/>
                    <a:gd name="connsiteY103" fmla="*/ 1384 h 10000"/>
                    <a:gd name="connsiteX104" fmla="*/ 4778 w 10000"/>
                    <a:gd name="connsiteY104" fmla="*/ 1296 h 10000"/>
                    <a:gd name="connsiteX105" fmla="*/ 5000 w 10000"/>
                    <a:gd name="connsiteY105" fmla="*/ 1222 h 10000"/>
                    <a:gd name="connsiteX106" fmla="*/ 5000 w 10000"/>
                    <a:gd name="connsiteY106" fmla="*/ 1222 h 10000"/>
                    <a:gd name="connsiteX107" fmla="*/ 5556 w 10000"/>
                    <a:gd name="connsiteY107" fmla="*/ 1075 h 10000"/>
                    <a:gd name="connsiteX108" fmla="*/ 6111 w 10000"/>
                    <a:gd name="connsiteY108" fmla="*/ 884 h 10000"/>
                    <a:gd name="connsiteX109" fmla="*/ 6667 w 10000"/>
                    <a:gd name="connsiteY109" fmla="*/ 707 h 10000"/>
                    <a:gd name="connsiteX110" fmla="*/ 7056 w 10000"/>
                    <a:gd name="connsiteY110" fmla="*/ 545 h 10000"/>
                    <a:gd name="connsiteX111" fmla="*/ 7056 w 10000"/>
                    <a:gd name="connsiteY111" fmla="*/ 545 h 10000"/>
                    <a:gd name="connsiteX112" fmla="*/ 7333 w 10000"/>
                    <a:gd name="connsiteY112" fmla="*/ 398 h 10000"/>
                    <a:gd name="connsiteX113" fmla="*/ 7667 w 10000"/>
                    <a:gd name="connsiteY113" fmla="*/ 221 h 10000"/>
                    <a:gd name="connsiteX114" fmla="*/ 8000 w 10000"/>
                    <a:gd name="connsiteY114" fmla="*/ 88 h 10000"/>
                    <a:gd name="connsiteX115" fmla="*/ 8167 w 10000"/>
                    <a:gd name="connsiteY115" fmla="*/ 29 h 10000"/>
                    <a:gd name="connsiteX116" fmla="*/ 8333 w 10000"/>
                    <a:gd name="connsiteY116" fmla="*/ 15 h 10000"/>
                    <a:gd name="connsiteX117" fmla="*/ 8333 w 10000"/>
                    <a:gd name="connsiteY117" fmla="*/ 15 h 10000"/>
                    <a:gd name="connsiteX118" fmla="*/ 8667 w 10000"/>
                    <a:gd name="connsiteY118" fmla="*/ 0 h 10000"/>
                    <a:gd name="connsiteX119" fmla="*/ 9111 w 10000"/>
                    <a:gd name="connsiteY119" fmla="*/ 0 h 10000"/>
                    <a:gd name="connsiteX120" fmla="*/ 10000 w 10000"/>
                    <a:gd name="connsiteY120" fmla="*/ 15 h 10000"/>
                    <a:gd name="connsiteX121" fmla="*/ 10000 w 10000"/>
                    <a:gd name="connsiteY121" fmla="*/ 9013 h 10000"/>
                    <a:gd name="connsiteX122" fmla="*/ 10000 w 10000"/>
                    <a:gd name="connsiteY122" fmla="*/ 9013 h 10000"/>
                    <a:gd name="connsiteX123" fmla="*/ 9722 w 10000"/>
                    <a:gd name="connsiteY123" fmla="*/ 8999 h 10000"/>
                    <a:gd name="connsiteX124" fmla="*/ 9389 w 10000"/>
                    <a:gd name="connsiteY124" fmla="*/ 9013 h 10000"/>
                    <a:gd name="connsiteX125" fmla="*/ 9389 w 10000"/>
                    <a:gd name="connsiteY125" fmla="*/ 9013 h 10000"/>
                    <a:gd name="connsiteX126" fmla="*/ 9278 w 10000"/>
                    <a:gd name="connsiteY126" fmla="*/ 9028 h 10000"/>
                    <a:gd name="connsiteX127" fmla="*/ 9056 w 10000"/>
                    <a:gd name="connsiteY127" fmla="*/ 9013 h 10000"/>
                    <a:gd name="connsiteX128" fmla="*/ 8889 w 10000"/>
                    <a:gd name="connsiteY128" fmla="*/ 8999 h 10000"/>
                    <a:gd name="connsiteX129" fmla="*/ 8722 w 10000"/>
                    <a:gd name="connsiteY129" fmla="*/ 8969 h 10000"/>
                    <a:gd name="connsiteX130" fmla="*/ 8611 w 10000"/>
                    <a:gd name="connsiteY130" fmla="*/ 8925 h 10000"/>
                    <a:gd name="connsiteX131" fmla="*/ 8444 w 10000"/>
                    <a:gd name="connsiteY131" fmla="*/ 8851 h 10000"/>
                    <a:gd name="connsiteX132" fmla="*/ 8444 w 10000"/>
                    <a:gd name="connsiteY132" fmla="*/ 8851 h 10000"/>
                    <a:gd name="connsiteX133" fmla="*/ 8222 w 10000"/>
                    <a:gd name="connsiteY133" fmla="*/ 8719 h 10000"/>
                    <a:gd name="connsiteX134" fmla="*/ 8111 w 10000"/>
                    <a:gd name="connsiteY134" fmla="*/ 8660 h 10000"/>
                    <a:gd name="connsiteX135" fmla="*/ 7944 w 10000"/>
                    <a:gd name="connsiteY135" fmla="*/ 8616 h 10000"/>
                    <a:gd name="connsiteX136" fmla="*/ 7778 w 10000"/>
                    <a:gd name="connsiteY136" fmla="*/ 8586 h 10000"/>
                    <a:gd name="connsiteX137" fmla="*/ 7556 w 10000"/>
                    <a:gd name="connsiteY137" fmla="*/ 8571 h 10000"/>
                    <a:gd name="connsiteX138" fmla="*/ 7333 w 10000"/>
                    <a:gd name="connsiteY138" fmla="*/ 8557 h 10000"/>
                    <a:gd name="connsiteX139" fmla="*/ 7000 w 10000"/>
                    <a:gd name="connsiteY139" fmla="*/ 8542 h 10000"/>
                    <a:gd name="connsiteX140" fmla="*/ 7000 w 10000"/>
                    <a:gd name="connsiteY140" fmla="*/ 8542 h 10000"/>
                    <a:gd name="connsiteX141" fmla="*/ 6556 w 10000"/>
                    <a:gd name="connsiteY141" fmla="*/ 8557 h 10000"/>
                    <a:gd name="connsiteX142" fmla="*/ 6222 w 10000"/>
                    <a:gd name="connsiteY142" fmla="*/ 8557 h 10000"/>
                    <a:gd name="connsiteX143" fmla="*/ 6111 w 10000"/>
                    <a:gd name="connsiteY143" fmla="*/ 8542 h 10000"/>
                    <a:gd name="connsiteX144" fmla="*/ 6056 w 10000"/>
                    <a:gd name="connsiteY144" fmla="*/ 8527 h 10000"/>
                    <a:gd name="connsiteX145" fmla="*/ 6056 w 10000"/>
                    <a:gd name="connsiteY145" fmla="*/ 8527 h 10000"/>
                    <a:gd name="connsiteX146" fmla="*/ 6056 w 10000"/>
                    <a:gd name="connsiteY146" fmla="*/ 8262 h 10000"/>
                    <a:gd name="connsiteX147" fmla="*/ 6056 w 10000"/>
                    <a:gd name="connsiteY147" fmla="*/ 8262 h 10000"/>
                    <a:gd name="connsiteX148" fmla="*/ 6056 w 10000"/>
                    <a:gd name="connsiteY148" fmla="*/ 8203 h 10000"/>
                    <a:gd name="connsiteX149" fmla="*/ 5944 w 10000"/>
                    <a:gd name="connsiteY149" fmla="*/ 8130 h 10000"/>
                    <a:gd name="connsiteX150" fmla="*/ 5889 w 10000"/>
                    <a:gd name="connsiteY150" fmla="*/ 8115 h 10000"/>
                    <a:gd name="connsiteX151" fmla="*/ 5778 w 10000"/>
                    <a:gd name="connsiteY151" fmla="*/ 8100 h 10000"/>
                    <a:gd name="connsiteX152" fmla="*/ 5667 w 10000"/>
                    <a:gd name="connsiteY152" fmla="*/ 8100 h 10000"/>
                    <a:gd name="connsiteX153" fmla="*/ 5500 w 10000"/>
                    <a:gd name="connsiteY153" fmla="*/ 8115 h 10000"/>
                    <a:gd name="connsiteX154" fmla="*/ 5500 w 10000"/>
                    <a:gd name="connsiteY154" fmla="*/ 8115 h 10000"/>
                    <a:gd name="connsiteX155" fmla="*/ 4889 w 10000"/>
                    <a:gd name="connsiteY155" fmla="*/ 8218 h 10000"/>
                    <a:gd name="connsiteX156" fmla="*/ 4611 w 10000"/>
                    <a:gd name="connsiteY156" fmla="*/ 8247 h 10000"/>
                    <a:gd name="connsiteX157" fmla="*/ 4556 w 10000"/>
                    <a:gd name="connsiteY157" fmla="*/ 8262 h 10000"/>
                    <a:gd name="connsiteX158" fmla="*/ 4500 w 10000"/>
                    <a:gd name="connsiteY158" fmla="*/ 8247 h 10000"/>
                    <a:gd name="connsiteX159" fmla="*/ 4500 w 10000"/>
                    <a:gd name="connsiteY159" fmla="*/ 8247 h 10000"/>
                    <a:gd name="connsiteX160" fmla="*/ 4222 w 10000"/>
                    <a:gd name="connsiteY160" fmla="*/ 8100 h 10000"/>
                    <a:gd name="connsiteX161" fmla="*/ 4222 w 10000"/>
                    <a:gd name="connsiteY161" fmla="*/ 8100 h 10000"/>
                    <a:gd name="connsiteX162" fmla="*/ 4111 w 10000"/>
                    <a:gd name="connsiteY162" fmla="*/ 8027 h 10000"/>
                    <a:gd name="connsiteX163" fmla="*/ 4111 w 10000"/>
                    <a:gd name="connsiteY163" fmla="*/ 7982 h 10000"/>
                    <a:gd name="connsiteX164" fmla="*/ 4111 w 10000"/>
                    <a:gd name="connsiteY164" fmla="*/ 7938 h 10000"/>
                    <a:gd name="connsiteX165" fmla="*/ 4111 w 10000"/>
                    <a:gd name="connsiteY165" fmla="*/ 7938 h 10000"/>
                    <a:gd name="connsiteX166" fmla="*/ 4278 w 10000"/>
                    <a:gd name="connsiteY166" fmla="*/ 7894 h 10000"/>
                    <a:gd name="connsiteX167" fmla="*/ 4389 w 10000"/>
                    <a:gd name="connsiteY167" fmla="*/ 7879 h 10000"/>
                    <a:gd name="connsiteX168" fmla="*/ 4389 w 10000"/>
                    <a:gd name="connsiteY168" fmla="*/ 7879 h 10000"/>
                    <a:gd name="connsiteX169" fmla="*/ 4000 w 10000"/>
                    <a:gd name="connsiteY169" fmla="*/ 7879 h 10000"/>
                    <a:gd name="connsiteX170" fmla="*/ 3722 w 10000"/>
                    <a:gd name="connsiteY170" fmla="*/ 7894 h 10000"/>
                    <a:gd name="connsiteX171" fmla="*/ 3611 w 10000"/>
                    <a:gd name="connsiteY171" fmla="*/ 7909 h 10000"/>
                    <a:gd name="connsiteX172" fmla="*/ 3556 w 10000"/>
                    <a:gd name="connsiteY172" fmla="*/ 7923 h 10000"/>
                    <a:gd name="connsiteX173" fmla="*/ 3556 w 10000"/>
                    <a:gd name="connsiteY173" fmla="*/ 7923 h 10000"/>
                    <a:gd name="connsiteX174" fmla="*/ 3444 w 10000"/>
                    <a:gd name="connsiteY174" fmla="*/ 7982 h 10000"/>
                    <a:gd name="connsiteX175" fmla="*/ 3278 w 10000"/>
                    <a:gd name="connsiteY175" fmla="*/ 8071 h 10000"/>
                    <a:gd name="connsiteX176" fmla="*/ 3000 w 10000"/>
                    <a:gd name="connsiteY176" fmla="*/ 8174 h 10000"/>
                    <a:gd name="connsiteX177" fmla="*/ 2667 w 10000"/>
                    <a:gd name="connsiteY177" fmla="*/ 8247 h 10000"/>
                    <a:gd name="connsiteX178" fmla="*/ 2667 w 10000"/>
                    <a:gd name="connsiteY178" fmla="*/ 8247 h 10000"/>
                    <a:gd name="connsiteX179" fmla="*/ 2333 w 10000"/>
                    <a:gd name="connsiteY179" fmla="*/ 8306 h 10000"/>
                    <a:gd name="connsiteX180" fmla="*/ 1833 w 10000"/>
                    <a:gd name="connsiteY180" fmla="*/ 8365 h 10000"/>
                    <a:gd name="connsiteX181" fmla="*/ 1389 w 10000"/>
                    <a:gd name="connsiteY181" fmla="*/ 8395 h 10000"/>
                    <a:gd name="connsiteX182" fmla="*/ 889 w 10000"/>
                    <a:gd name="connsiteY182" fmla="*/ 8409 h 10000"/>
                    <a:gd name="connsiteX183" fmla="*/ 889 w 10000"/>
                    <a:gd name="connsiteY183" fmla="*/ 8409 h 10000"/>
                    <a:gd name="connsiteX184" fmla="*/ 500 w 10000"/>
                    <a:gd name="connsiteY184" fmla="*/ 8424 h 10000"/>
                    <a:gd name="connsiteX185" fmla="*/ 222 w 10000"/>
                    <a:gd name="connsiteY185" fmla="*/ 8439 h 10000"/>
                    <a:gd name="connsiteX186" fmla="*/ 0 w 10000"/>
                    <a:gd name="connsiteY186" fmla="*/ 8454 h 10000"/>
                    <a:gd name="connsiteX187" fmla="*/ 0 w 10000"/>
                    <a:gd name="connsiteY187" fmla="*/ 8454 h 10000"/>
                    <a:gd name="connsiteX188" fmla="*/ 278 w 10000"/>
                    <a:gd name="connsiteY188" fmla="*/ 8689 h 10000"/>
                    <a:gd name="connsiteX189" fmla="*/ 500 w 10000"/>
                    <a:gd name="connsiteY189" fmla="*/ 8866 h 10000"/>
                    <a:gd name="connsiteX190" fmla="*/ 722 w 10000"/>
                    <a:gd name="connsiteY190" fmla="*/ 9013 h 10000"/>
                    <a:gd name="connsiteX191" fmla="*/ 722 w 10000"/>
                    <a:gd name="connsiteY191" fmla="*/ 9013 h 10000"/>
                    <a:gd name="connsiteX192" fmla="*/ 889 w 10000"/>
                    <a:gd name="connsiteY192" fmla="*/ 9102 h 10000"/>
                    <a:gd name="connsiteX193" fmla="*/ 944 w 10000"/>
                    <a:gd name="connsiteY193" fmla="*/ 9175 h 10000"/>
                    <a:gd name="connsiteX194" fmla="*/ 1111 w 10000"/>
                    <a:gd name="connsiteY194" fmla="*/ 9249 h 10000"/>
                    <a:gd name="connsiteX195" fmla="*/ 1333 w 10000"/>
                    <a:gd name="connsiteY195" fmla="*/ 9367 h 10000"/>
                    <a:gd name="connsiteX196" fmla="*/ 1333 w 10000"/>
                    <a:gd name="connsiteY196" fmla="*/ 9367 h 10000"/>
                    <a:gd name="connsiteX197" fmla="*/ 1444 w 10000"/>
                    <a:gd name="connsiteY197" fmla="*/ 9426 h 10000"/>
                    <a:gd name="connsiteX198" fmla="*/ 1500 w 10000"/>
                    <a:gd name="connsiteY198" fmla="*/ 9470 h 10000"/>
                    <a:gd name="connsiteX199" fmla="*/ 1500 w 10000"/>
                    <a:gd name="connsiteY199" fmla="*/ 9514 h 10000"/>
                    <a:gd name="connsiteX200" fmla="*/ 1556 w 10000"/>
                    <a:gd name="connsiteY200" fmla="*/ 9529 h 10000"/>
                    <a:gd name="connsiteX201" fmla="*/ 1722 w 10000"/>
                    <a:gd name="connsiteY201" fmla="*/ 9543 h 10000"/>
                    <a:gd name="connsiteX202" fmla="*/ 1944 w 10000"/>
                    <a:gd name="connsiteY202" fmla="*/ 9558 h 10000"/>
                    <a:gd name="connsiteX203" fmla="*/ 2944 w 10000"/>
                    <a:gd name="connsiteY203" fmla="*/ 9573 h 10000"/>
                    <a:gd name="connsiteX204" fmla="*/ 2944 w 10000"/>
                    <a:gd name="connsiteY204" fmla="*/ 9573 h 10000"/>
                    <a:gd name="connsiteX205" fmla="*/ 4167 w 10000"/>
                    <a:gd name="connsiteY205" fmla="*/ 9602 h 10000"/>
                    <a:gd name="connsiteX206" fmla="*/ 4889 w 10000"/>
                    <a:gd name="connsiteY206" fmla="*/ 9647 h 10000"/>
                    <a:gd name="connsiteX207" fmla="*/ 5278 w 10000"/>
                    <a:gd name="connsiteY207" fmla="*/ 9691 h 10000"/>
                    <a:gd name="connsiteX208" fmla="*/ 5444 w 10000"/>
                    <a:gd name="connsiteY208" fmla="*/ 9705 h 10000"/>
                    <a:gd name="connsiteX209" fmla="*/ 5444 w 10000"/>
                    <a:gd name="connsiteY209" fmla="*/ 9705 h 10000"/>
                    <a:gd name="connsiteX210" fmla="*/ 5722 w 10000"/>
                    <a:gd name="connsiteY210" fmla="*/ 9735 h 10000"/>
                    <a:gd name="connsiteX211" fmla="*/ 5833 w 10000"/>
                    <a:gd name="connsiteY211" fmla="*/ 9750 h 10000"/>
                    <a:gd name="connsiteX212" fmla="*/ 5833 w 10000"/>
                    <a:gd name="connsiteY212" fmla="*/ 9750 h 10000"/>
                    <a:gd name="connsiteX213" fmla="*/ 5833 w 10000"/>
                    <a:gd name="connsiteY213" fmla="*/ 9735 h 10000"/>
                    <a:gd name="connsiteX214" fmla="*/ 5889 w 10000"/>
                    <a:gd name="connsiteY214" fmla="*/ 9720 h 10000"/>
                    <a:gd name="connsiteX215" fmla="*/ 6000 w 10000"/>
                    <a:gd name="connsiteY215" fmla="*/ 9705 h 10000"/>
                    <a:gd name="connsiteX216" fmla="*/ 6167 w 10000"/>
                    <a:gd name="connsiteY216" fmla="*/ 9691 h 10000"/>
                    <a:gd name="connsiteX217" fmla="*/ 6444 w 10000"/>
                    <a:gd name="connsiteY217" fmla="*/ 9691 h 10000"/>
                    <a:gd name="connsiteX218" fmla="*/ 6833 w 10000"/>
                    <a:gd name="connsiteY218" fmla="*/ 9705 h 10000"/>
                    <a:gd name="connsiteX219" fmla="*/ 7278 w 10000"/>
                    <a:gd name="connsiteY219" fmla="*/ 9750 h 10000"/>
                    <a:gd name="connsiteX220" fmla="*/ 7278 w 10000"/>
                    <a:gd name="connsiteY220" fmla="*/ 9750 h 10000"/>
                    <a:gd name="connsiteX221" fmla="*/ 8722 w 10000"/>
                    <a:gd name="connsiteY221" fmla="*/ 9882 h 10000"/>
                    <a:gd name="connsiteX222" fmla="*/ 10000 w 10000"/>
                    <a:gd name="connsiteY22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000 w 10000"/>
                    <a:gd name="connsiteY71" fmla="*/ 4197 h 10000"/>
                    <a:gd name="connsiteX72" fmla="*/ 1444 w 10000"/>
                    <a:gd name="connsiteY72" fmla="*/ 3844 h 10000"/>
                    <a:gd name="connsiteX73" fmla="*/ 1556 w 10000"/>
                    <a:gd name="connsiteY73" fmla="*/ 3800 h 10000"/>
                    <a:gd name="connsiteX74" fmla="*/ 1556 w 10000"/>
                    <a:gd name="connsiteY74" fmla="*/ 3800 h 10000"/>
                    <a:gd name="connsiteX75" fmla="*/ 1833 w 10000"/>
                    <a:gd name="connsiteY75" fmla="*/ 3726 h 10000"/>
                    <a:gd name="connsiteX76" fmla="*/ 2111 w 10000"/>
                    <a:gd name="connsiteY76" fmla="*/ 3652 h 10000"/>
                    <a:gd name="connsiteX77" fmla="*/ 2278 w 10000"/>
                    <a:gd name="connsiteY77" fmla="*/ 3608 h 10000"/>
                    <a:gd name="connsiteX78" fmla="*/ 2389 w 10000"/>
                    <a:gd name="connsiteY78" fmla="*/ 3564 h 10000"/>
                    <a:gd name="connsiteX79" fmla="*/ 2389 w 10000"/>
                    <a:gd name="connsiteY79" fmla="*/ 3505 h 10000"/>
                    <a:gd name="connsiteX80" fmla="*/ 2389 w 10000"/>
                    <a:gd name="connsiteY80" fmla="*/ 3432 h 10000"/>
                    <a:gd name="connsiteX81" fmla="*/ 2389 w 10000"/>
                    <a:gd name="connsiteY81" fmla="*/ 3432 h 10000"/>
                    <a:gd name="connsiteX82" fmla="*/ 2167 w 10000"/>
                    <a:gd name="connsiteY82" fmla="*/ 3225 h 10000"/>
                    <a:gd name="connsiteX83" fmla="*/ 1889 w 10000"/>
                    <a:gd name="connsiteY83" fmla="*/ 2946 h 10000"/>
                    <a:gd name="connsiteX84" fmla="*/ 1667 w 10000"/>
                    <a:gd name="connsiteY84" fmla="*/ 2695 h 10000"/>
                    <a:gd name="connsiteX85" fmla="*/ 1611 w 10000"/>
                    <a:gd name="connsiteY85" fmla="*/ 2622 h 10000"/>
                    <a:gd name="connsiteX86" fmla="*/ 1611 w 10000"/>
                    <a:gd name="connsiteY86" fmla="*/ 2592 h 10000"/>
                    <a:gd name="connsiteX87" fmla="*/ 1667 w 10000"/>
                    <a:gd name="connsiteY87" fmla="*/ 2577 h 10000"/>
                    <a:gd name="connsiteX88" fmla="*/ 1667 w 10000"/>
                    <a:gd name="connsiteY88" fmla="*/ 2577 h 10000"/>
                    <a:gd name="connsiteX89" fmla="*/ 2000 w 10000"/>
                    <a:gd name="connsiteY89" fmla="*/ 2563 h 10000"/>
                    <a:gd name="connsiteX90" fmla="*/ 2222 w 10000"/>
                    <a:gd name="connsiteY90" fmla="*/ 2563 h 10000"/>
                    <a:gd name="connsiteX91" fmla="*/ 2389 w 10000"/>
                    <a:gd name="connsiteY91" fmla="*/ 2577 h 10000"/>
                    <a:gd name="connsiteX92" fmla="*/ 2389 w 10000"/>
                    <a:gd name="connsiteY92" fmla="*/ 2577 h 10000"/>
                    <a:gd name="connsiteX93" fmla="*/ 2444 w 10000"/>
                    <a:gd name="connsiteY93" fmla="*/ 2577 h 10000"/>
                    <a:gd name="connsiteX94" fmla="*/ 2500 w 10000"/>
                    <a:gd name="connsiteY94" fmla="*/ 2548 h 10000"/>
                    <a:gd name="connsiteX95" fmla="*/ 2778 w 10000"/>
                    <a:gd name="connsiteY95" fmla="*/ 2459 h 10000"/>
                    <a:gd name="connsiteX96" fmla="*/ 3500 w 10000"/>
                    <a:gd name="connsiteY96" fmla="*/ 2165 h 10000"/>
                    <a:gd name="connsiteX97" fmla="*/ 4444 w 10000"/>
                    <a:gd name="connsiteY97" fmla="*/ 1738 h 10000"/>
                    <a:gd name="connsiteX98" fmla="*/ 4444 w 10000"/>
                    <a:gd name="connsiteY98" fmla="*/ 1738 h 10000"/>
                    <a:gd name="connsiteX99" fmla="*/ 4444 w 10000"/>
                    <a:gd name="connsiteY99" fmla="*/ 1679 h 10000"/>
                    <a:gd name="connsiteX100" fmla="*/ 4444 w 10000"/>
                    <a:gd name="connsiteY100" fmla="*/ 1546 h 10000"/>
                    <a:gd name="connsiteX101" fmla="*/ 4500 w 10000"/>
                    <a:gd name="connsiteY101" fmla="*/ 1458 h 10000"/>
                    <a:gd name="connsiteX102" fmla="*/ 4611 w 10000"/>
                    <a:gd name="connsiteY102" fmla="*/ 1384 h 10000"/>
                    <a:gd name="connsiteX103" fmla="*/ 4778 w 10000"/>
                    <a:gd name="connsiteY103" fmla="*/ 1296 h 10000"/>
                    <a:gd name="connsiteX104" fmla="*/ 5000 w 10000"/>
                    <a:gd name="connsiteY104" fmla="*/ 1222 h 10000"/>
                    <a:gd name="connsiteX105" fmla="*/ 5000 w 10000"/>
                    <a:gd name="connsiteY105" fmla="*/ 1222 h 10000"/>
                    <a:gd name="connsiteX106" fmla="*/ 5556 w 10000"/>
                    <a:gd name="connsiteY106" fmla="*/ 1075 h 10000"/>
                    <a:gd name="connsiteX107" fmla="*/ 6111 w 10000"/>
                    <a:gd name="connsiteY107" fmla="*/ 884 h 10000"/>
                    <a:gd name="connsiteX108" fmla="*/ 6667 w 10000"/>
                    <a:gd name="connsiteY108" fmla="*/ 707 h 10000"/>
                    <a:gd name="connsiteX109" fmla="*/ 7056 w 10000"/>
                    <a:gd name="connsiteY109" fmla="*/ 545 h 10000"/>
                    <a:gd name="connsiteX110" fmla="*/ 7056 w 10000"/>
                    <a:gd name="connsiteY110" fmla="*/ 545 h 10000"/>
                    <a:gd name="connsiteX111" fmla="*/ 7333 w 10000"/>
                    <a:gd name="connsiteY111" fmla="*/ 398 h 10000"/>
                    <a:gd name="connsiteX112" fmla="*/ 7667 w 10000"/>
                    <a:gd name="connsiteY112" fmla="*/ 221 h 10000"/>
                    <a:gd name="connsiteX113" fmla="*/ 8000 w 10000"/>
                    <a:gd name="connsiteY113" fmla="*/ 88 h 10000"/>
                    <a:gd name="connsiteX114" fmla="*/ 8167 w 10000"/>
                    <a:gd name="connsiteY114" fmla="*/ 29 h 10000"/>
                    <a:gd name="connsiteX115" fmla="*/ 8333 w 10000"/>
                    <a:gd name="connsiteY115" fmla="*/ 15 h 10000"/>
                    <a:gd name="connsiteX116" fmla="*/ 8333 w 10000"/>
                    <a:gd name="connsiteY116" fmla="*/ 15 h 10000"/>
                    <a:gd name="connsiteX117" fmla="*/ 8667 w 10000"/>
                    <a:gd name="connsiteY117" fmla="*/ 0 h 10000"/>
                    <a:gd name="connsiteX118" fmla="*/ 9111 w 10000"/>
                    <a:gd name="connsiteY118" fmla="*/ 0 h 10000"/>
                    <a:gd name="connsiteX119" fmla="*/ 10000 w 10000"/>
                    <a:gd name="connsiteY119" fmla="*/ 15 h 10000"/>
                    <a:gd name="connsiteX120" fmla="*/ 10000 w 10000"/>
                    <a:gd name="connsiteY120" fmla="*/ 9013 h 10000"/>
                    <a:gd name="connsiteX121" fmla="*/ 10000 w 10000"/>
                    <a:gd name="connsiteY121" fmla="*/ 9013 h 10000"/>
                    <a:gd name="connsiteX122" fmla="*/ 9722 w 10000"/>
                    <a:gd name="connsiteY122" fmla="*/ 8999 h 10000"/>
                    <a:gd name="connsiteX123" fmla="*/ 9389 w 10000"/>
                    <a:gd name="connsiteY123" fmla="*/ 9013 h 10000"/>
                    <a:gd name="connsiteX124" fmla="*/ 9389 w 10000"/>
                    <a:gd name="connsiteY124" fmla="*/ 9013 h 10000"/>
                    <a:gd name="connsiteX125" fmla="*/ 9278 w 10000"/>
                    <a:gd name="connsiteY125" fmla="*/ 9028 h 10000"/>
                    <a:gd name="connsiteX126" fmla="*/ 9056 w 10000"/>
                    <a:gd name="connsiteY126" fmla="*/ 9013 h 10000"/>
                    <a:gd name="connsiteX127" fmla="*/ 8889 w 10000"/>
                    <a:gd name="connsiteY127" fmla="*/ 8999 h 10000"/>
                    <a:gd name="connsiteX128" fmla="*/ 8722 w 10000"/>
                    <a:gd name="connsiteY128" fmla="*/ 8969 h 10000"/>
                    <a:gd name="connsiteX129" fmla="*/ 8611 w 10000"/>
                    <a:gd name="connsiteY129" fmla="*/ 8925 h 10000"/>
                    <a:gd name="connsiteX130" fmla="*/ 8444 w 10000"/>
                    <a:gd name="connsiteY130" fmla="*/ 8851 h 10000"/>
                    <a:gd name="connsiteX131" fmla="*/ 8444 w 10000"/>
                    <a:gd name="connsiteY131" fmla="*/ 8851 h 10000"/>
                    <a:gd name="connsiteX132" fmla="*/ 8222 w 10000"/>
                    <a:gd name="connsiteY132" fmla="*/ 8719 h 10000"/>
                    <a:gd name="connsiteX133" fmla="*/ 8111 w 10000"/>
                    <a:gd name="connsiteY133" fmla="*/ 8660 h 10000"/>
                    <a:gd name="connsiteX134" fmla="*/ 7944 w 10000"/>
                    <a:gd name="connsiteY134" fmla="*/ 8616 h 10000"/>
                    <a:gd name="connsiteX135" fmla="*/ 7778 w 10000"/>
                    <a:gd name="connsiteY135" fmla="*/ 8586 h 10000"/>
                    <a:gd name="connsiteX136" fmla="*/ 7556 w 10000"/>
                    <a:gd name="connsiteY136" fmla="*/ 8571 h 10000"/>
                    <a:gd name="connsiteX137" fmla="*/ 7333 w 10000"/>
                    <a:gd name="connsiteY137" fmla="*/ 8557 h 10000"/>
                    <a:gd name="connsiteX138" fmla="*/ 7000 w 10000"/>
                    <a:gd name="connsiteY138" fmla="*/ 8542 h 10000"/>
                    <a:gd name="connsiteX139" fmla="*/ 7000 w 10000"/>
                    <a:gd name="connsiteY139" fmla="*/ 8542 h 10000"/>
                    <a:gd name="connsiteX140" fmla="*/ 6556 w 10000"/>
                    <a:gd name="connsiteY140" fmla="*/ 8557 h 10000"/>
                    <a:gd name="connsiteX141" fmla="*/ 6222 w 10000"/>
                    <a:gd name="connsiteY141" fmla="*/ 8557 h 10000"/>
                    <a:gd name="connsiteX142" fmla="*/ 6111 w 10000"/>
                    <a:gd name="connsiteY142" fmla="*/ 8542 h 10000"/>
                    <a:gd name="connsiteX143" fmla="*/ 6056 w 10000"/>
                    <a:gd name="connsiteY143" fmla="*/ 8527 h 10000"/>
                    <a:gd name="connsiteX144" fmla="*/ 6056 w 10000"/>
                    <a:gd name="connsiteY144" fmla="*/ 8527 h 10000"/>
                    <a:gd name="connsiteX145" fmla="*/ 6056 w 10000"/>
                    <a:gd name="connsiteY145" fmla="*/ 8262 h 10000"/>
                    <a:gd name="connsiteX146" fmla="*/ 6056 w 10000"/>
                    <a:gd name="connsiteY146" fmla="*/ 8262 h 10000"/>
                    <a:gd name="connsiteX147" fmla="*/ 6056 w 10000"/>
                    <a:gd name="connsiteY147" fmla="*/ 8203 h 10000"/>
                    <a:gd name="connsiteX148" fmla="*/ 5944 w 10000"/>
                    <a:gd name="connsiteY148" fmla="*/ 8130 h 10000"/>
                    <a:gd name="connsiteX149" fmla="*/ 5889 w 10000"/>
                    <a:gd name="connsiteY149" fmla="*/ 8115 h 10000"/>
                    <a:gd name="connsiteX150" fmla="*/ 5778 w 10000"/>
                    <a:gd name="connsiteY150" fmla="*/ 8100 h 10000"/>
                    <a:gd name="connsiteX151" fmla="*/ 5667 w 10000"/>
                    <a:gd name="connsiteY151" fmla="*/ 8100 h 10000"/>
                    <a:gd name="connsiteX152" fmla="*/ 5500 w 10000"/>
                    <a:gd name="connsiteY152" fmla="*/ 8115 h 10000"/>
                    <a:gd name="connsiteX153" fmla="*/ 5500 w 10000"/>
                    <a:gd name="connsiteY153" fmla="*/ 8115 h 10000"/>
                    <a:gd name="connsiteX154" fmla="*/ 4889 w 10000"/>
                    <a:gd name="connsiteY154" fmla="*/ 8218 h 10000"/>
                    <a:gd name="connsiteX155" fmla="*/ 4611 w 10000"/>
                    <a:gd name="connsiteY155" fmla="*/ 8247 h 10000"/>
                    <a:gd name="connsiteX156" fmla="*/ 4556 w 10000"/>
                    <a:gd name="connsiteY156" fmla="*/ 8262 h 10000"/>
                    <a:gd name="connsiteX157" fmla="*/ 4500 w 10000"/>
                    <a:gd name="connsiteY157" fmla="*/ 8247 h 10000"/>
                    <a:gd name="connsiteX158" fmla="*/ 4500 w 10000"/>
                    <a:gd name="connsiteY158" fmla="*/ 8247 h 10000"/>
                    <a:gd name="connsiteX159" fmla="*/ 4222 w 10000"/>
                    <a:gd name="connsiteY159" fmla="*/ 8100 h 10000"/>
                    <a:gd name="connsiteX160" fmla="*/ 4222 w 10000"/>
                    <a:gd name="connsiteY160" fmla="*/ 8100 h 10000"/>
                    <a:gd name="connsiteX161" fmla="*/ 4111 w 10000"/>
                    <a:gd name="connsiteY161" fmla="*/ 8027 h 10000"/>
                    <a:gd name="connsiteX162" fmla="*/ 4111 w 10000"/>
                    <a:gd name="connsiteY162" fmla="*/ 7982 h 10000"/>
                    <a:gd name="connsiteX163" fmla="*/ 4111 w 10000"/>
                    <a:gd name="connsiteY163" fmla="*/ 7938 h 10000"/>
                    <a:gd name="connsiteX164" fmla="*/ 4111 w 10000"/>
                    <a:gd name="connsiteY164" fmla="*/ 7938 h 10000"/>
                    <a:gd name="connsiteX165" fmla="*/ 4278 w 10000"/>
                    <a:gd name="connsiteY165" fmla="*/ 7894 h 10000"/>
                    <a:gd name="connsiteX166" fmla="*/ 4389 w 10000"/>
                    <a:gd name="connsiteY166" fmla="*/ 7879 h 10000"/>
                    <a:gd name="connsiteX167" fmla="*/ 4389 w 10000"/>
                    <a:gd name="connsiteY167" fmla="*/ 7879 h 10000"/>
                    <a:gd name="connsiteX168" fmla="*/ 4000 w 10000"/>
                    <a:gd name="connsiteY168" fmla="*/ 7879 h 10000"/>
                    <a:gd name="connsiteX169" fmla="*/ 3722 w 10000"/>
                    <a:gd name="connsiteY169" fmla="*/ 7894 h 10000"/>
                    <a:gd name="connsiteX170" fmla="*/ 3611 w 10000"/>
                    <a:gd name="connsiteY170" fmla="*/ 7909 h 10000"/>
                    <a:gd name="connsiteX171" fmla="*/ 3556 w 10000"/>
                    <a:gd name="connsiteY171" fmla="*/ 7923 h 10000"/>
                    <a:gd name="connsiteX172" fmla="*/ 3556 w 10000"/>
                    <a:gd name="connsiteY172" fmla="*/ 7923 h 10000"/>
                    <a:gd name="connsiteX173" fmla="*/ 3444 w 10000"/>
                    <a:gd name="connsiteY173" fmla="*/ 7982 h 10000"/>
                    <a:gd name="connsiteX174" fmla="*/ 3278 w 10000"/>
                    <a:gd name="connsiteY174" fmla="*/ 8071 h 10000"/>
                    <a:gd name="connsiteX175" fmla="*/ 3000 w 10000"/>
                    <a:gd name="connsiteY175" fmla="*/ 8174 h 10000"/>
                    <a:gd name="connsiteX176" fmla="*/ 2667 w 10000"/>
                    <a:gd name="connsiteY176" fmla="*/ 8247 h 10000"/>
                    <a:gd name="connsiteX177" fmla="*/ 2667 w 10000"/>
                    <a:gd name="connsiteY177" fmla="*/ 8247 h 10000"/>
                    <a:gd name="connsiteX178" fmla="*/ 2333 w 10000"/>
                    <a:gd name="connsiteY178" fmla="*/ 8306 h 10000"/>
                    <a:gd name="connsiteX179" fmla="*/ 1833 w 10000"/>
                    <a:gd name="connsiteY179" fmla="*/ 8365 h 10000"/>
                    <a:gd name="connsiteX180" fmla="*/ 1389 w 10000"/>
                    <a:gd name="connsiteY180" fmla="*/ 8395 h 10000"/>
                    <a:gd name="connsiteX181" fmla="*/ 889 w 10000"/>
                    <a:gd name="connsiteY181" fmla="*/ 8409 h 10000"/>
                    <a:gd name="connsiteX182" fmla="*/ 889 w 10000"/>
                    <a:gd name="connsiteY182" fmla="*/ 8409 h 10000"/>
                    <a:gd name="connsiteX183" fmla="*/ 500 w 10000"/>
                    <a:gd name="connsiteY183" fmla="*/ 8424 h 10000"/>
                    <a:gd name="connsiteX184" fmla="*/ 222 w 10000"/>
                    <a:gd name="connsiteY184" fmla="*/ 8439 h 10000"/>
                    <a:gd name="connsiteX185" fmla="*/ 0 w 10000"/>
                    <a:gd name="connsiteY185" fmla="*/ 8454 h 10000"/>
                    <a:gd name="connsiteX186" fmla="*/ 0 w 10000"/>
                    <a:gd name="connsiteY186" fmla="*/ 8454 h 10000"/>
                    <a:gd name="connsiteX187" fmla="*/ 278 w 10000"/>
                    <a:gd name="connsiteY187" fmla="*/ 8689 h 10000"/>
                    <a:gd name="connsiteX188" fmla="*/ 500 w 10000"/>
                    <a:gd name="connsiteY188" fmla="*/ 8866 h 10000"/>
                    <a:gd name="connsiteX189" fmla="*/ 722 w 10000"/>
                    <a:gd name="connsiteY189" fmla="*/ 9013 h 10000"/>
                    <a:gd name="connsiteX190" fmla="*/ 722 w 10000"/>
                    <a:gd name="connsiteY190" fmla="*/ 9013 h 10000"/>
                    <a:gd name="connsiteX191" fmla="*/ 889 w 10000"/>
                    <a:gd name="connsiteY191" fmla="*/ 9102 h 10000"/>
                    <a:gd name="connsiteX192" fmla="*/ 944 w 10000"/>
                    <a:gd name="connsiteY192" fmla="*/ 9175 h 10000"/>
                    <a:gd name="connsiteX193" fmla="*/ 1111 w 10000"/>
                    <a:gd name="connsiteY193" fmla="*/ 9249 h 10000"/>
                    <a:gd name="connsiteX194" fmla="*/ 1333 w 10000"/>
                    <a:gd name="connsiteY194" fmla="*/ 9367 h 10000"/>
                    <a:gd name="connsiteX195" fmla="*/ 1333 w 10000"/>
                    <a:gd name="connsiteY195" fmla="*/ 9367 h 10000"/>
                    <a:gd name="connsiteX196" fmla="*/ 1444 w 10000"/>
                    <a:gd name="connsiteY196" fmla="*/ 9426 h 10000"/>
                    <a:gd name="connsiteX197" fmla="*/ 1500 w 10000"/>
                    <a:gd name="connsiteY197" fmla="*/ 9470 h 10000"/>
                    <a:gd name="connsiteX198" fmla="*/ 1500 w 10000"/>
                    <a:gd name="connsiteY198" fmla="*/ 9514 h 10000"/>
                    <a:gd name="connsiteX199" fmla="*/ 1556 w 10000"/>
                    <a:gd name="connsiteY199" fmla="*/ 9529 h 10000"/>
                    <a:gd name="connsiteX200" fmla="*/ 1722 w 10000"/>
                    <a:gd name="connsiteY200" fmla="*/ 9543 h 10000"/>
                    <a:gd name="connsiteX201" fmla="*/ 1944 w 10000"/>
                    <a:gd name="connsiteY201" fmla="*/ 9558 h 10000"/>
                    <a:gd name="connsiteX202" fmla="*/ 2944 w 10000"/>
                    <a:gd name="connsiteY202" fmla="*/ 9573 h 10000"/>
                    <a:gd name="connsiteX203" fmla="*/ 2944 w 10000"/>
                    <a:gd name="connsiteY203" fmla="*/ 9573 h 10000"/>
                    <a:gd name="connsiteX204" fmla="*/ 4167 w 10000"/>
                    <a:gd name="connsiteY204" fmla="*/ 9602 h 10000"/>
                    <a:gd name="connsiteX205" fmla="*/ 4889 w 10000"/>
                    <a:gd name="connsiteY205" fmla="*/ 9647 h 10000"/>
                    <a:gd name="connsiteX206" fmla="*/ 5278 w 10000"/>
                    <a:gd name="connsiteY206" fmla="*/ 9691 h 10000"/>
                    <a:gd name="connsiteX207" fmla="*/ 5444 w 10000"/>
                    <a:gd name="connsiteY207" fmla="*/ 9705 h 10000"/>
                    <a:gd name="connsiteX208" fmla="*/ 5444 w 10000"/>
                    <a:gd name="connsiteY208" fmla="*/ 9705 h 10000"/>
                    <a:gd name="connsiteX209" fmla="*/ 5722 w 10000"/>
                    <a:gd name="connsiteY209" fmla="*/ 9735 h 10000"/>
                    <a:gd name="connsiteX210" fmla="*/ 5833 w 10000"/>
                    <a:gd name="connsiteY210" fmla="*/ 9750 h 10000"/>
                    <a:gd name="connsiteX211" fmla="*/ 5833 w 10000"/>
                    <a:gd name="connsiteY211" fmla="*/ 9750 h 10000"/>
                    <a:gd name="connsiteX212" fmla="*/ 5833 w 10000"/>
                    <a:gd name="connsiteY212" fmla="*/ 9735 h 10000"/>
                    <a:gd name="connsiteX213" fmla="*/ 5889 w 10000"/>
                    <a:gd name="connsiteY213" fmla="*/ 9720 h 10000"/>
                    <a:gd name="connsiteX214" fmla="*/ 6000 w 10000"/>
                    <a:gd name="connsiteY214" fmla="*/ 9705 h 10000"/>
                    <a:gd name="connsiteX215" fmla="*/ 6167 w 10000"/>
                    <a:gd name="connsiteY215" fmla="*/ 9691 h 10000"/>
                    <a:gd name="connsiteX216" fmla="*/ 6444 w 10000"/>
                    <a:gd name="connsiteY216" fmla="*/ 9691 h 10000"/>
                    <a:gd name="connsiteX217" fmla="*/ 6833 w 10000"/>
                    <a:gd name="connsiteY217" fmla="*/ 9705 h 10000"/>
                    <a:gd name="connsiteX218" fmla="*/ 7278 w 10000"/>
                    <a:gd name="connsiteY218" fmla="*/ 9750 h 10000"/>
                    <a:gd name="connsiteX219" fmla="*/ 7278 w 10000"/>
                    <a:gd name="connsiteY219" fmla="*/ 9750 h 10000"/>
                    <a:gd name="connsiteX220" fmla="*/ 8722 w 10000"/>
                    <a:gd name="connsiteY220" fmla="*/ 9882 h 10000"/>
                    <a:gd name="connsiteX221" fmla="*/ 10000 w 10000"/>
                    <a:gd name="connsiteY22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444 w 10000"/>
                    <a:gd name="connsiteY71" fmla="*/ 3844 h 10000"/>
                    <a:gd name="connsiteX72" fmla="*/ 1556 w 10000"/>
                    <a:gd name="connsiteY72" fmla="*/ 3800 h 10000"/>
                    <a:gd name="connsiteX73" fmla="*/ 1556 w 10000"/>
                    <a:gd name="connsiteY73" fmla="*/ 3800 h 10000"/>
                    <a:gd name="connsiteX74" fmla="*/ 1833 w 10000"/>
                    <a:gd name="connsiteY74" fmla="*/ 3726 h 10000"/>
                    <a:gd name="connsiteX75" fmla="*/ 2111 w 10000"/>
                    <a:gd name="connsiteY75" fmla="*/ 3652 h 10000"/>
                    <a:gd name="connsiteX76" fmla="*/ 2278 w 10000"/>
                    <a:gd name="connsiteY76" fmla="*/ 3608 h 10000"/>
                    <a:gd name="connsiteX77" fmla="*/ 2389 w 10000"/>
                    <a:gd name="connsiteY77" fmla="*/ 3564 h 10000"/>
                    <a:gd name="connsiteX78" fmla="*/ 2389 w 10000"/>
                    <a:gd name="connsiteY78" fmla="*/ 3505 h 10000"/>
                    <a:gd name="connsiteX79" fmla="*/ 2389 w 10000"/>
                    <a:gd name="connsiteY79" fmla="*/ 3432 h 10000"/>
                    <a:gd name="connsiteX80" fmla="*/ 2389 w 10000"/>
                    <a:gd name="connsiteY80" fmla="*/ 3432 h 10000"/>
                    <a:gd name="connsiteX81" fmla="*/ 2167 w 10000"/>
                    <a:gd name="connsiteY81" fmla="*/ 3225 h 10000"/>
                    <a:gd name="connsiteX82" fmla="*/ 1889 w 10000"/>
                    <a:gd name="connsiteY82" fmla="*/ 2946 h 10000"/>
                    <a:gd name="connsiteX83" fmla="*/ 1667 w 10000"/>
                    <a:gd name="connsiteY83" fmla="*/ 2695 h 10000"/>
                    <a:gd name="connsiteX84" fmla="*/ 1611 w 10000"/>
                    <a:gd name="connsiteY84" fmla="*/ 2622 h 10000"/>
                    <a:gd name="connsiteX85" fmla="*/ 1611 w 10000"/>
                    <a:gd name="connsiteY85" fmla="*/ 2592 h 10000"/>
                    <a:gd name="connsiteX86" fmla="*/ 1667 w 10000"/>
                    <a:gd name="connsiteY86" fmla="*/ 2577 h 10000"/>
                    <a:gd name="connsiteX87" fmla="*/ 1667 w 10000"/>
                    <a:gd name="connsiteY87" fmla="*/ 2577 h 10000"/>
                    <a:gd name="connsiteX88" fmla="*/ 2000 w 10000"/>
                    <a:gd name="connsiteY88" fmla="*/ 2563 h 10000"/>
                    <a:gd name="connsiteX89" fmla="*/ 2222 w 10000"/>
                    <a:gd name="connsiteY89" fmla="*/ 2563 h 10000"/>
                    <a:gd name="connsiteX90" fmla="*/ 2389 w 10000"/>
                    <a:gd name="connsiteY90" fmla="*/ 2577 h 10000"/>
                    <a:gd name="connsiteX91" fmla="*/ 2389 w 10000"/>
                    <a:gd name="connsiteY91" fmla="*/ 2577 h 10000"/>
                    <a:gd name="connsiteX92" fmla="*/ 2444 w 10000"/>
                    <a:gd name="connsiteY92" fmla="*/ 2577 h 10000"/>
                    <a:gd name="connsiteX93" fmla="*/ 2500 w 10000"/>
                    <a:gd name="connsiteY93" fmla="*/ 2548 h 10000"/>
                    <a:gd name="connsiteX94" fmla="*/ 2778 w 10000"/>
                    <a:gd name="connsiteY94" fmla="*/ 2459 h 10000"/>
                    <a:gd name="connsiteX95" fmla="*/ 3500 w 10000"/>
                    <a:gd name="connsiteY95" fmla="*/ 2165 h 10000"/>
                    <a:gd name="connsiteX96" fmla="*/ 4444 w 10000"/>
                    <a:gd name="connsiteY96" fmla="*/ 1738 h 10000"/>
                    <a:gd name="connsiteX97" fmla="*/ 4444 w 10000"/>
                    <a:gd name="connsiteY97" fmla="*/ 1738 h 10000"/>
                    <a:gd name="connsiteX98" fmla="*/ 4444 w 10000"/>
                    <a:gd name="connsiteY98" fmla="*/ 1679 h 10000"/>
                    <a:gd name="connsiteX99" fmla="*/ 4444 w 10000"/>
                    <a:gd name="connsiteY99" fmla="*/ 1546 h 10000"/>
                    <a:gd name="connsiteX100" fmla="*/ 4500 w 10000"/>
                    <a:gd name="connsiteY100" fmla="*/ 1458 h 10000"/>
                    <a:gd name="connsiteX101" fmla="*/ 4611 w 10000"/>
                    <a:gd name="connsiteY101" fmla="*/ 1384 h 10000"/>
                    <a:gd name="connsiteX102" fmla="*/ 4778 w 10000"/>
                    <a:gd name="connsiteY102" fmla="*/ 1296 h 10000"/>
                    <a:gd name="connsiteX103" fmla="*/ 5000 w 10000"/>
                    <a:gd name="connsiteY103" fmla="*/ 1222 h 10000"/>
                    <a:gd name="connsiteX104" fmla="*/ 5000 w 10000"/>
                    <a:gd name="connsiteY104" fmla="*/ 1222 h 10000"/>
                    <a:gd name="connsiteX105" fmla="*/ 5556 w 10000"/>
                    <a:gd name="connsiteY105" fmla="*/ 1075 h 10000"/>
                    <a:gd name="connsiteX106" fmla="*/ 6111 w 10000"/>
                    <a:gd name="connsiteY106" fmla="*/ 884 h 10000"/>
                    <a:gd name="connsiteX107" fmla="*/ 6667 w 10000"/>
                    <a:gd name="connsiteY107" fmla="*/ 707 h 10000"/>
                    <a:gd name="connsiteX108" fmla="*/ 7056 w 10000"/>
                    <a:gd name="connsiteY108" fmla="*/ 545 h 10000"/>
                    <a:gd name="connsiteX109" fmla="*/ 7056 w 10000"/>
                    <a:gd name="connsiteY109" fmla="*/ 545 h 10000"/>
                    <a:gd name="connsiteX110" fmla="*/ 7333 w 10000"/>
                    <a:gd name="connsiteY110" fmla="*/ 398 h 10000"/>
                    <a:gd name="connsiteX111" fmla="*/ 7667 w 10000"/>
                    <a:gd name="connsiteY111" fmla="*/ 221 h 10000"/>
                    <a:gd name="connsiteX112" fmla="*/ 8000 w 10000"/>
                    <a:gd name="connsiteY112" fmla="*/ 88 h 10000"/>
                    <a:gd name="connsiteX113" fmla="*/ 8167 w 10000"/>
                    <a:gd name="connsiteY113" fmla="*/ 29 h 10000"/>
                    <a:gd name="connsiteX114" fmla="*/ 8333 w 10000"/>
                    <a:gd name="connsiteY114" fmla="*/ 15 h 10000"/>
                    <a:gd name="connsiteX115" fmla="*/ 8333 w 10000"/>
                    <a:gd name="connsiteY115" fmla="*/ 15 h 10000"/>
                    <a:gd name="connsiteX116" fmla="*/ 8667 w 10000"/>
                    <a:gd name="connsiteY116" fmla="*/ 0 h 10000"/>
                    <a:gd name="connsiteX117" fmla="*/ 9111 w 10000"/>
                    <a:gd name="connsiteY117" fmla="*/ 0 h 10000"/>
                    <a:gd name="connsiteX118" fmla="*/ 10000 w 10000"/>
                    <a:gd name="connsiteY118" fmla="*/ 15 h 10000"/>
                    <a:gd name="connsiteX119" fmla="*/ 10000 w 10000"/>
                    <a:gd name="connsiteY119" fmla="*/ 9013 h 10000"/>
                    <a:gd name="connsiteX120" fmla="*/ 10000 w 10000"/>
                    <a:gd name="connsiteY120" fmla="*/ 9013 h 10000"/>
                    <a:gd name="connsiteX121" fmla="*/ 9722 w 10000"/>
                    <a:gd name="connsiteY121" fmla="*/ 8999 h 10000"/>
                    <a:gd name="connsiteX122" fmla="*/ 9389 w 10000"/>
                    <a:gd name="connsiteY122" fmla="*/ 9013 h 10000"/>
                    <a:gd name="connsiteX123" fmla="*/ 9389 w 10000"/>
                    <a:gd name="connsiteY123" fmla="*/ 9013 h 10000"/>
                    <a:gd name="connsiteX124" fmla="*/ 9278 w 10000"/>
                    <a:gd name="connsiteY124" fmla="*/ 9028 h 10000"/>
                    <a:gd name="connsiteX125" fmla="*/ 9056 w 10000"/>
                    <a:gd name="connsiteY125" fmla="*/ 9013 h 10000"/>
                    <a:gd name="connsiteX126" fmla="*/ 8889 w 10000"/>
                    <a:gd name="connsiteY126" fmla="*/ 8999 h 10000"/>
                    <a:gd name="connsiteX127" fmla="*/ 8722 w 10000"/>
                    <a:gd name="connsiteY127" fmla="*/ 8969 h 10000"/>
                    <a:gd name="connsiteX128" fmla="*/ 8611 w 10000"/>
                    <a:gd name="connsiteY128" fmla="*/ 8925 h 10000"/>
                    <a:gd name="connsiteX129" fmla="*/ 8444 w 10000"/>
                    <a:gd name="connsiteY129" fmla="*/ 8851 h 10000"/>
                    <a:gd name="connsiteX130" fmla="*/ 8444 w 10000"/>
                    <a:gd name="connsiteY130" fmla="*/ 8851 h 10000"/>
                    <a:gd name="connsiteX131" fmla="*/ 8222 w 10000"/>
                    <a:gd name="connsiteY131" fmla="*/ 8719 h 10000"/>
                    <a:gd name="connsiteX132" fmla="*/ 8111 w 10000"/>
                    <a:gd name="connsiteY132" fmla="*/ 8660 h 10000"/>
                    <a:gd name="connsiteX133" fmla="*/ 7944 w 10000"/>
                    <a:gd name="connsiteY133" fmla="*/ 8616 h 10000"/>
                    <a:gd name="connsiteX134" fmla="*/ 7778 w 10000"/>
                    <a:gd name="connsiteY134" fmla="*/ 8586 h 10000"/>
                    <a:gd name="connsiteX135" fmla="*/ 7556 w 10000"/>
                    <a:gd name="connsiteY135" fmla="*/ 8571 h 10000"/>
                    <a:gd name="connsiteX136" fmla="*/ 7333 w 10000"/>
                    <a:gd name="connsiteY136" fmla="*/ 8557 h 10000"/>
                    <a:gd name="connsiteX137" fmla="*/ 7000 w 10000"/>
                    <a:gd name="connsiteY137" fmla="*/ 8542 h 10000"/>
                    <a:gd name="connsiteX138" fmla="*/ 7000 w 10000"/>
                    <a:gd name="connsiteY138" fmla="*/ 8542 h 10000"/>
                    <a:gd name="connsiteX139" fmla="*/ 6556 w 10000"/>
                    <a:gd name="connsiteY139" fmla="*/ 8557 h 10000"/>
                    <a:gd name="connsiteX140" fmla="*/ 6222 w 10000"/>
                    <a:gd name="connsiteY140" fmla="*/ 8557 h 10000"/>
                    <a:gd name="connsiteX141" fmla="*/ 6111 w 10000"/>
                    <a:gd name="connsiteY141" fmla="*/ 8542 h 10000"/>
                    <a:gd name="connsiteX142" fmla="*/ 6056 w 10000"/>
                    <a:gd name="connsiteY142" fmla="*/ 8527 h 10000"/>
                    <a:gd name="connsiteX143" fmla="*/ 6056 w 10000"/>
                    <a:gd name="connsiteY143" fmla="*/ 8527 h 10000"/>
                    <a:gd name="connsiteX144" fmla="*/ 6056 w 10000"/>
                    <a:gd name="connsiteY144" fmla="*/ 8262 h 10000"/>
                    <a:gd name="connsiteX145" fmla="*/ 6056 w 10000"/>
                    <a:gd name="connsiteY145" fmla="*/ 8262 h 10000"/>
                    <a:gd name="connsiteX146" fmla="*/ 6056 w 10000"/>
                    <a:gd name="connsiteY146" fmla="*/ 8203 h 10000"/>
                    <a:gd name="connsiteX147" fmla="*/ 5944 w 10000"/>
                    <a:gd name="connsiteY147" fmla="*/ 8130 h 10000"/>
                    <a:gd name="connsiteX148" fmla="*/ 5889 w 10000"/>
                    <a:gd name="connsiteY148" fmla="*/ 8115 h 10000"/>
                    <a:gd name="connsiteX149" fmla="*/ 5778 w 10000"/>
                    <a:gd name="connsiteY149" fmla="*/ 8100 h 10000"/>
                    <a:gd name="connsiteX150" fmla="*/ 5667 w 10000"/>
                    <a:gd name="connsiteY150" fmla="*/ 8100 h 10000"/>
                    <a:gd name="connsiteX151" fmla="*/ 5500 w 10000"/>
                    <a:gd name="connsiteY151" fmla="*/ 8115 h 10000"/>
                    <a:gd name="connsiteX152" fmla="*/ 5500 w 10000"/>
                    <a:gd name="connsiteY152" fmla="*/ 8115 h 10000"/>
                    <a:gd name="connsiteX153" fmla="*/ 4889 w 10000"/>
                    <a:gd name="connsiteY153" fmla="*/ 8218 h 10000"/>
                    <a:gd name="connsiteX154" fmla="*/ 4611 w 10000"/>
                    <a:gd name="connsiteY154" fmla="*/ 8247 h 10000"/>
                    <a:gd name="connsiteX155" fmla="*/ 4556 w 10000"/>
                    <a:gd name="connsiteY155" fmla="*/ 8262 h 10000"/>
                    <a:gd name="connsiteX156" fmla="*/ 4500 w 10000"/>
                    <a:gd name="connsiteY156" fmla="*/ 8247 h 10000"/>
                    <a:gd name="connsiteX157" fmla="*/ 4500 w 10000"/>
                    <a:gd name="connsiteY157" fmla="*/ 8247 h 10000"/>
                    <a:gd name="connsiteX158" fmla="*/ 4222 w 10000"/>
                    <a:gd name="connsiteY158" fmla="*/ 8100 h 10000"/>
                    <a:gd name="connsiteX159" fmla="*/ 4222 w 10000"/>
                    <a:gd name="connsiteY159" fmla="*/ 8100 h 10000"/>
                    <a:gd name="connsiteX160" fmla="*/ 4111 w 10000"/>
                    <a:gd name="connsiteY160" fmla="*/ 8027 h 10000"/>
                    <a:gd name="connsiteX161" fmla="*/ 4111 w 10000"/>
                    <a:gd name="connsiteY161" fmla="*/ 7982 h 10000"/>
                    <a:gd name="connsiteX162" fmla="*/ 4111 w 10000"/>
                    <a:gd name="connsiteY162" fmla="*/ 7938 h 10000"/>
                    <a:gd name="connsiteX163" fmla="*/ 4111 w 10000"/>
                    <a:gd name="connsiteY163" fmla="*/ 7938 h 10000"/>
                    <a:gd name="connsiteX164" fmla="*/ 4278 w 10000"/>
                    <a:gd name="connsiteY164" fmla="*/ 7894 h 10000"/>
                    <a:gd name="connsiteX165" fmla="*/ 4389 w 10000"/>
                    <a:gd name="connsiteY165" fmla="*/ 7879 h 10000"/>
                    <a:gd name="connsiteX166" fmla="*/ 4389 w 10000"/>
                    <a:gd name="connsiteY166" fmla="*/ 7879 h 10000"/>
                    <a:gd name="connsiteX167" fmla="*/ 4000 w 10000"/>
                    <a:gd name="connsiteY167" fmla="*/ 7879 h 10000"/>
                    <a:gd name="connsiteX168" fmla="*/ 3722 w 10000"/>
                    <a:gd name="connsiteY168" fmla="*/ 7894 h 10000"/>
                    <a:gd name="connsiteX169" fmla="*/ 3611 w 10000"/>
                    <a:gd name="connsiteY169" fmla="*/ 7909 h 10000"/>
                    <a:gd name="connsiteX170" fmla="*/ 3556 w 10000"/>
                    <a:gd name="connsiteY170" fmla="*/ 7923 h 10000"/>
                    <a:gd name="connsiteX171" fmla="*/ 3556 w 10000"/>
                    <a:gd name="connsiteY171" fmla="*/ 7923 h 10000"/>
                    <a:gd name="connsiteX172" fmla="*/ 3444 w 10000"/>
                    <a:gd name="connsiteY172" fmla="*/ 7982 h 10000"/>
                    <a:gd name="connsiteX173" fmla="*/ 3278 w 10000"/>
                    <a:gd name="connsiteY173" fmla="*/ 8071 h 10000"/>
                    <a:gd name="connsiteX174" fmla="*/ 3000 w 10000"/>
                    <a:gd name="connsiteY174" fmla="*/ 8174 h 10000"/>
                    <a:gd name="connsiteX175" fmla="*/ 2667 w 10000"/>
                    <a:gd name="connsiteY175" fmla="*/ 8247 h 10000"/>
                    <a:gd name="connsiteX176" fmla="*/ 2667 w 10000"/>
                    <a:gd name="connsiteY176" fmla="*/ 8247 h 10000"/>
                    <a:gd name="connsiteX177" fmla="*/ 2333 w 10000"/>
                    <a:gd name="connsiteY177" fmla="*/ 8306 h 10000"/>
                    <a:gd name="connsiteX178" fmla="*/ 1833 w 10000"/>
                    <a:gd name="connsiteY178" fmla="*/ 8365 h 10000"/>
                    <a:gd name="connsiteX179" fmla="*/ 1389 w 10000"/>
                    <a:gd name="connsiteY179" fmla="*/ 8395 h 10000"/>
                    <a:gd name="connsiteX180" fmla="*/ 889 w 10000"/>
                    <a:gd name="connsiteY180" fmla="*/ 8409 h 10000"/>
                    <a:gd name="connsiteX181" fmla="*/ 889 w 10000"/>
                    <a:gd name="connsiteY181" fmla="*/ 8409 h 10000"/>
                    <a:gd name="connsiteX182" fmla="*/ 500 w 10000"/>
                    <a:gd name="connsiteY182" fmla="*/ 8424 h 10000"/>
                    <a:gd name="connsiteX183" fmla="*/ 222 w 10000"/>
                    <a:gd name="connsiteY183" fmla="*/ 8439 h 10000"/>
                    <a:gd name="connsiteX184" fmla="*/ 0 w 10000"/>
                    <a:gd name="connsiteY184" fmla="*/ 8454 h 10000"/>
                    <a:gd name="connsiteX185" fmla="*/ 0 w 10000"/>
                    <a:gd name="connsiteY185" fmla="*/ 8454 h 10000"/>
                    <a:gd name="connsiteX186" fmla="*/ 278 w 10000"/>
                    <a:gd name="connsiteY186" fmla="*/ 8689 h 10000"/>
                    <a:gd name="connsiteX187" fmla="*/ 500 w 10000"/>
                    <a:gd name="connsiteY187" fmla="*/ 8866 h 10000"/>
                    <a:gd name="connsiteX188" fmla="*/ 722 w 10000"/>
                    <a:gd name="connsiteY188" fmla="*/ 9013 h 10000"/>
                    <a:gd name="connsiteX189" fmla="*/ 722 w 10000"/>
                    <a:gd name="connsiteY189" fmla="*/ 9013 h 10000"/>
                    <a:gd name="connsiteX190" fmla="*/ 889 w 10000"/>
                    <a:gd name="connsiteY190" fmla="*/ 9102 h 10000"/>
                    <a:gd name="connsiteX191" fmla="*/ 944 w 10000"/>
                    <a:gd name="connsiteY191" fmla="*/ 9175 h 10000"/>
                    <a:gd name="connsiteX192" fmla="*/ 1111 w 10000"/>
                    <a:gd name="connsiteY192" fmla="*/ 9249 h 10000"/>
                    <a:gd name="connsiteX193" fmla="*/ 1333 w 10000"/>
                    <a:gd name="connsiteY193" fmla="*/ 9367 h 10000"/>
                    <a:gd name="connsiteX194" fmla="*/ 1333 w 10000"/>
                    <a:gd name="connsiteY194" fmla="*/ 9367 h 10000"/>
                    <a:gd name="connsiteX195" fmla="*/ 1444 w 10000"/>
                    <a:gd name="connsiteY195" fmla="*/ 9426 h 10000"/>
                    <a:gd name="connsiteX196" fmla="*/ 1500 w 10000"/>
                    <a:gd name="connsiteY196" fmla="*/ 9470 h 10000"/>
                    <a:gd name="connsiteX197" fmla="*/ 1500 w 10000"/>
                    <a:gd name="connsiteY197" fmla="*/ 9514 h 10000"/>
                    <a:gd name="connsiteX198" fmla="*/ 1556 w 10000"/>
                    <a:gd name="connsiteY198" fmla="*/ 9529 h 10000"/>
                    <a:gd name="connsiteX199" fmla="*/ 1722 w 10000"/>
                    <a:gd name="connsiteY199" fmla="*/ 9543 h 10000"/>
                    <a:gd name="connsiteX200" fmla="*/ 1944 w 10000"/>
                    <a:gd name="connsiteY200" fmla="*/ 9558 h 10000"/>
                    <a:gd name="connsiteX201" fmla="*/ 2944 w 10000"/>
                    <a:gd name="connsiteY201" fmla="*/ 9573 h 10000"/>
                    <a:gd name="connsiteX202" fmla="*/ 2944 w 10000"/>
                    <a:gd name="connsiteY202" fmla="*/ 9573 h 10000"/>
                    <a:gd name="connsiteX203" fmla="*/ 4167 w 10000"/>
                    <a:gd name="connsiteY203" fmla="*/ 9602 h 10000"/>
                    <a:gd name="connsiteX204" fmla="*/ 4889 w 10000"/>
                    <a:gd name="connsiteY204" fmla="*/ 9647 h 10000"/>
                    <a:gd name="connsiteX205" fmla="*/ 5278 w 10000"/>
                    <a:gd name="connsiteY205" fmla="*/ 9691 h 10000"/>
                    <a:gd name="connsiteX206" fmla="*/ 5444 w 10000"/>
                    <a:gd name="connsiteY206" fmla="*/ 9705 h 10000"/>
                    <a:gd name="connsiteX207" fmla="*/ 5444 w 10000"/>
                    <a:gd name="connsiteY207" fmla="*/ 9705 h 10000"/>
                    <a:gd name="connsiteX208" fmla="*/ 5722 w 10000"/>
                    <a:gd name="connsiteY208" fmla="*/ 9735 h 10000"/>
                    <a:gd name="connsiteX209" fmla="*/ 5833 w 10000"/>
                    <a:gd name="connsiteY209" fmla="*/ 9750 h 10000"/>
                    <a:gd name="connsiteX210" fmla="*/ 5833 w 10000"/>
                    <a:gd name="connsiteY210" fmla="*/ 9750 h 10000"/>
                    <a:gd name="connsiteX211" fmla="*/ 5833 w 10000"/>
                    <a:gd name="connsiteY211" fmla="*/ 9735 h 10000"/>
                    <a:gd name="connsiteX212" fmla="*/ 5889 w 10000"/>
                    <a:gd name="connsiteY212" fmla="*/ 9720 h 10000"/>
                    <a:gd name="connsiteX213" fmla="*/ 6000 w 10000"/>
                    <a:gd name="connsiteY213" fmla="*/ 9705 h 10000"/>
                    <a:gd name="connsiteX214" fmla="*/ 6167 w 10000"/>
                    <a:gd name="connsiteY214" fmla="*/ 9691 h 10000"/>
                    <a:gd name="connsiteX215" fmla="*/ 6444 w 10000"/>
                    <a:gd name="connsiteY215" fmla="*/ 9691 h 10000"/>
                    <a:gd name="connsiteX216" fmla="*/ 6833 w 10000"/>
                    <a:gd name="connsiteY216" fmla="*/ 9705 h 10000"/>
                    <a:gd name="connsiteX217" fmla="*/ 7278 w 10000"/>
                    <a:gd name="connsiteY217" fmla="*/ 9750 h 10000"/>
                    <a:gd name="connsiteX218" fmla="*/ 7278 w 10000"/>
                    <a:gd name="connsiteY218" fmla="*/ 9750 h 10000"/>
                    <a:gd name="connsiteX219" fmla="*/ 8722 w 10000"/>
                    <a:gd name="connsiteY219" fmla="*/ 9882 h 10000"/>
                    <a:gd name="connsiteX220" fmla="*/ 10000 w 10000"/>
                    <a:gd name="connsiteY22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444 w 10000"/>
                    <a:gd name="connsiteY71" fmla="*/ 3844 h 10000"/>
                    <a:gd name="connsiteX72" fmla="*/ 1556 w 10000"/>
                    <a:gd name="connsiteY72" fmla="*/ 3800 h 10000"/>
                    <a:gd name="connsiteX73" fmla="*/ 1833 w 10000"/>
                    <a:gd name="connsiteY73" fmla="*/ 3726 h 10000"/>
                    <a:gd name="connsiteX74" fmla="*/ 2111 w 10000"/>
                    <a:gd name="connsiteY74" fmla="*/ 3652 h 10000"/>
                    <a:gd name="connsiteX75" fmla="*/ 2278 w 10000"/>
                    <a:gd name="connsiteY75" fmla="*/ 3608 h 10000"/>
                    <a:gd name="connsiteX76" fmla="*/ 2389 w 10000"/>
                    <a:gd name="connsiteY76" fmla="*/ 3564 h 10000"/>
                    <a:gd name="connsiteX77" fmla="*/ 2389 w 10000"/>
                    <a:gd name="connsiteY77" fmla="*/ 3505 h 10000"/>
                    <a:gd name="connsiteX78" fmla="*/ 2389 w 10000"/>
                    <a:gd name="connsiteY78" fmla="*/ 3432 h 10000"/>
                    <a:gd name="connsiteX79" fmla="*/ 2389 w 10000"/>
                    <a:gd name="connsiteY79" fmla="*/ 3432 h 10000"/>
                    <a:gd name="connsiteX80" fmla="*/ 2167 w 10000"/>
                    <a:gd name="connsiteY80" fmla="*/ 3225 h 10000"/>
                    <a:gd name="connsiteX81" fmla="*/ 1889 w 10000"/>
                    <a:gd name="connsiteY81" fmla="*/ 2946 h 10000"/>
                    <a:gd name="connsiteX82" fmla="*/ 1667 w 10000"/>
                    <a:gd name="connsiteY82" fmla="*/ 2695 h 10000"/>
                    <a:gd name="connsiteX83" fmla="*/ 1611 w 10000"/>
                    <a:gd name="connsiteY83" fmla="*/ 2622 h 10000"/>
                    <a:gd name="connsiteX84" fmla="*/ 1611 w 10000"/>
                    <a:gd name="connsiteY84" fmla="*/ 2592 h 10000"/>
                    <a:gd name="connsiteX85" fmla="*/ 1667 w 10000"/>
                    <a:gd name="connsiteY85" fmla="*/ 2577 h 10000"/>
                    <a:gd name="connsiteX86" fmla="*/ 1667 w 10000"/>
                    <a:gd name="connsiteY86" fmla="*/ 2577 h 10000"/>
                    <a:gd name="connsiteX87" fmla="*/ 2000 w 10000"/>
                    <a:gd name="connsiteY87" fmla="*/ 2563 h 10000"/>
                    <a:gd name="connsiteX88" fmla="*/ 2222 w 10000"/>
                    <a:gd name="connsiteY88" fmla="*/ 2563 h 10000"/>
                    <a:gd name="connsiteX89" fmla="*/ 2389 w 10000"/>
                    <a:gd name="connsiteY89" fmla="*/ 2577 h 10000"/>
                    <a:gd name="connsiteX90" fmla="*/ 2389 w 10000"/>
                    <a:gd name="connsiteY90" fmla="*/ 2577 h 10000"/>
                    <a:gd name="connsiteX91" fmla="*/ 2444 w 10000"/>
                    <a:gd name="connsiteY91" fmla="*/ 2577 h 10000"/>
                    <a:gd name="connsiteX92" fmla="*/ 2500 w 10000"/>
                    <a:gd name="connsiteY92" fmla="*/ 2548 h 10000"/>
                    <a:gd name="connsiteX93" fmla="*/ 2778 w 10000"/>
                    <a:gd name="connsiteY93" fmla="*/ 2459 h 10000"/>
                    <a:gd name="connsiteX94" fmla="*/ 3500 w 10000"/>
                    <a:gd name="connsiteY94" fmla="*/ 2165 h 10000"/>
                    <a:gd name="connsiteX95" fmla="*/ 4444 w 10000"/>
                    <a:gd name="connsiteY95" fmla="*/ 1738 h 10000"/>
                    <a:gd name="connsiteX96" fmla="*/ 4444 w 10000"/>
                    <a:gd name="connsiteY96" fmla="*/ 1738 h 10000"/>
                    <a:gd name="connsiteX97" fmla="*/ 4444 w 10000"/>
                    <a:gd name="connsiteY97" fmla="*/ 1679 h 10000"/>
                    <a:gd name="connsiteX98" fmla="*/ 4444 w 10000"/>
                    <a:gd name="connsiteY98" fmla="*/ 1546 h 10000"/>
                    <a:gd name="connsiteX99" fmla="*/ 4500 w 10000"/>
                    <a:gd name="connsiteY99" fmla="*/ 1458 h 10000"/>
                    <a:gd name="connsiteX100" fmla="*/ 4611 w 10000"/>
                    <a:gd name="connsiteY100" fmla="*/ 1384 h 10000"/>
                    <a:gd name="connsiteX101" fmla="*/ 4778 w 10000"/>
                    <a:gd name="connsiteY101" fmla="*/ 1296 h 10000"/>
                    <a:gd name="connsiteX102" fmla="*/ 5000 w 10000"/>
                    <a:gd name="connsiteY102" fmla="*/ 1222 h 10000"/>
                    <a:gd name="connsiteX103" fmla="*/ 5000 w 10000"/>
                    <a:gd name="connsiteY103" fmla="*/ 1222 h 10000"/>
                    <a:gd name="connsiteX104" fmla="*/ 5556 w 10000"/>
                    <a:gd name="connsiteY104" fmla="*/ 1075 h 10000"/>
                    <a:gd name="connsiteX105" fmla="*/ 6111 w 10000"/>
                    <a:gd name="connsiteY105" fmla="*/ 884 h 10000"/>
                    <a:gd name="connsiteX106" fmla="*/ 6667 w 10000"/>
                    <a:gd name="connsiteY106" fmla="*/ 707 h 10000"/>
                    <a:gd name="connsiteX107" fmla="*/ 7056 w 10000"/>
                    <a:gd name="connsiteY107" fmla="*/ 545 h 10000"/>
                    <a:gd name="connsiteX108" fmla="*/ 7056 w 10000"/>
                    <a:gd name="connsiteY108" fmla="*/ 545 h 10000"/>
                    <a:gd name="connsiteX109" fmla="*/ 7333 w 10000"/>
                    <a:gd name="connsiteY109" fmla="*/ 398 h 10000"/>
                    <a:gd name="connsiteX110" fmla="*/ 7667 w 10000"/>
                    <a:gd name="connsiteY110" fmla="*/ 221 h 10000"/>
                    <a:gd name="connsiteX111" fmla="*/ 8000 w 10000"/>
                    <a:gd name="connsiteY111" fmla="*/ 88 h 10000"/>
                    <a:gd name="connsiteX112" fmla="*/ 8167 w 10000"/>
                    <a:gd name="connsiteY112" fmla="*/ 29 h 10000"/>
                    <a:gd name="connsiteX113" fmla="*/ 8333 w 10000"/>
                    <a:gd name="connsiteY113" fmla="*/ 15 h 10000"/>
                    <a:gd name="connsiteX114" fmla="*/ 8333 w 10000"/>
                    <a:gd name="connsiteY114" fmla="*/ 15 h 10000"/>
                    <a:gd name="connsiteX115" fmla="*/ 8667 w 10000"/>
                    <a:gd name="connsiteY115" fmla="*/ 0 h 10000"/>
                    <a:gd name="connsiteX116" fmla="*/ 9111 w 10000"/>
                    <a:gd name="connsiteY116" fmla="*/ 0 h 10000"/>
                    <a:gd name="connsiteX117" fmla="*/ 10000 w 10000"/>
                    <a:gd name="connsiteY117" fmla="*/ 15 h 10000"/>
                    <a:gd name="connsiteX118" fmla="*/ 10000 w 10000"/>
                    <a:gd name="connsiteY118" fmla="*/ 9013 h 10000"/>
                    <a:gd name="connsiteX119" fmla="*/ 10000 w 10000"/>
                    <a:gd name="connsiteY119" fmla="*/ 9013 h 10000"/>
                    <a:gd name="connsiteX120" fmla="*/ 9722 w 10000"/>
                    <a:gd name="connsiteY120" fmla="*/ 8999 h 10000"/>
                    <a:gd name="connsiteX121" fmla="*/ 9389 w 10000"/>
                    <a:gd name="connsiteY121" fmla="*/ 9013 h 10000"/>
                    <a:gd name="connsiteX122" fmla="*/ 9389 w 10000"/>
                    <a:gd name="connsiteY122" fmla="*/ 9013 h 10000"/>
                    <a:gd name="connsiteX123" fmla="*/ 9278 w 10000"/>
                    <a:gd name="connsiteY123" fmla="*/ 9028 h 10000"/>
                    <a:gd name="connsiteX124" fmla="*/ 9056 w 10000"/>
                    <a:gd name="connsiteY124" fmla="*/ 9013 h 10000"/>
                    <a:gd name="connsiteX125" fmla="*/ 8889 w 10000"/>
                    <a:gd name="connsiteY125" fmla="*/ 8999 h 10000"/>
                    <a:gd name="connsiteX126" fmla="*/ 8722 w 10000"/>
                    <a:gd name="connsiteY126" fmla="*/ 8969 h 10000"/>
                    <a:gd name="connsiteX127" fmla="*/ 8611 w 10000"/>
                    <a:gd name="connsiteY127" fmla="*/ 8925 h 10000"/>
                    <a:gd name="connsiteX128" fmla="*/ 8444 w 10000"/>
                    <a:gd name="connsiteY128" fmla="*/ 8851 h 10000"/>
                    <a:gd name="connsiteX129" fmla="*/ 8444 w 10000"/>
                    <a:gd name="connsiteY129" fmla="*/ 8851 h 10000"/>
                    <a:gd name="connsiteX130" fmla="*/ 8222 w 10000"/>
                    <a:gd name="connsiteY130" fmla="*/ 8719 h 10000"/>
                    <a:gd name="connsiteX131" fmla="*/ 8111 w 10000"/>
                    <a:gd name="connsiteY131" fmla="*/ 8660 h 10000"/>
                    <a:gd name="connsiteX132" fmla="*/ 7944 w 10000"/>
                    <a:gd name="connsiteY132" fmla="*/ 8616 h 10000"/>
                    <a:gd name="connsiteX133" fmla="*/ 7778 w 10000"/>
                    <a:gd name="connsiteY133" fmla="*/ 8586 h 10000"/>
                    <a:gd name="connsiteX134" fmla="*/ 7556 w 10000"/>
                    <a:gd name="connsiteY134" fmla="*/ 8571 h 10000"/>
                    <a:gd name="connsiteX135" fmla="*/ 7333 w 10000"/>
                    <a:gd name="connsiteY135" fmla="*/ 8557 h 10000"/>
                    <a:gd name="connsiteX136" fmla="*/ 7000 w 10000"/>
                    <a:gd name="connsiteY136" fmla="*/ 8542 h 10000"/>
                    <a:gd name="connsiteX137" fmla="*/ 7000 w 10000"/>
                    <a:gd name="connsiteY137" fmla="*/ 8542 h 10000"/>
                    <a:gd name="connsiteX138" fmla="*/ 6556 w 10000"/>
                    <a:gd name="connsiteY138" fmla="*/ 8557 h 10000"/>
                    <a:gd name="connsiteX139" fmla="*/ 6222 w 10000"/>
                    <a:gd name="connsiteY139" fmla="*/ 8557 h 10000"/>
                    <a:gd name="connsiteX140" fmla="*/ 6111 w 10000"/>
                    <a:gd name="connsiteY140" fmla="*/ 8542 h 10000"/>
                    <a:gd name="connsiteX141" fmla="*/ 6056 w 10000"/>
                    <a:gd name="connsiteY141" fmla="*/ 8527 h 10000"/>
                    <a:gd name="connsiteX142" fmla="*/ 6056 w 10000"/>
                    <a:gd name="connsiteY142" fmla="*/ 8527 h 10000"/>
                    <a:gd name="connsiteX143" fmla="*/ 6056 w 10000"/>
                    <a:gd name="connsiteY143" fmla="*/ 8262 h 10000"/>
                    <a:gd name="connsiteX144" fmla="*/ 6056 w 10000"/>
                    <a:gd name="connsiteY144" fmla="*/ 8262 h 10000"/>
                    <a:gd name="connsiteX145" fmla="*/ 6056 w 10000"/>
                    <a:gd name="connsiteY145" fmla="*/ 8203 h 10000"/>
                    <a:gd name="connsiteX146" fmla="*/ 5944 w 10000"/>
                    <a:gd name="connsiteY146" fmla="*/ 8130 h 10000"/>
                    <a:gd name="connsiteX147" fmla="*/ 5889 w 10000"/>
                    <a:gd name="connsiteY147" fmla="*/ 8115 h 10000"/>
                    <a:gd name="connsiteX148" fmla="*/ 5778 w 10000"/>
                    <a:gd name="connsiteY148" fmla="*/ 8100 h 10000"/>
                    <a:gd name="connsiteX149" fmla="*/ 5667 w 10000"/>
                    <a:gd name="connsiteY149" fmla="*/ 8100 h 10000"/>
                    <a:gd name="connsiteX150" fmla="*/ 5500 w 10000"/>
                    <a:gd name="connsiteY150" fmla="*/ 8115 h 10000"/>
                    <a:gd name="connsiteX151" fmla="*/ 5500 w 10000"/>
                    <a:gd name="connsiteY151" fmla="*/ 8115 h 10000"/>
                    <a:gd name="connsiteX152" fmla="*/ 4889 w 10000"/>
                    <a:gd name="connsiteY152" fmla="*/ 8218 h 10000"/>
                    <a:gd name="connsiteX153" fmla="*/ 4611 w 10000"/>
                    <a:gd name="connsiteY153" fmla="*/ 8247 h 10000"/>
                    <a:gd name="connsiteX154" fmla="*/ 4556 w 10000"/>
                    <a:gd name="connsiteY154" fmla="*/ 8262 h 10000"/>
                    <a:gd name="connsiteX155" fmla="*/ 4500 w 10000"/>
                    <a:gd name="connsiteY155" fmla="*/ 8247 h 10000"/>
                    <a:gd name="connsiteX156" fmla="*/ 4500 w 10000"/>
                    <a:gd name="connsiteY156" fmla="*/ 8247 h 10000"/>
                    <a:gd name="connsiteX157" fmla="*/ 4222 w 10000"/>
                    <a:gd name="connsiteY157" fmla="*/ 8100 h 10000"/>
                    <a:gd name="connsiteX158" fmla="*/ 4222 w 10000"/>
                    <a:gd name="connsiteY158" fmla="*/ 8100 h 10000"/>
                    <a:gd name="connsiteX159" fmla="*/ 4111 w 10000"/>
                    <a:gd name="connsiteY159" fmla="*/ 8027 h 10000"/>
                    <a:gd name="connsiteX160" fmla="*/ 4111 w 10000"/>
                    <a:gd name="connsiteY160" fmla="*/ 7982 h 10000"/>
                    <a:gd name="connsiteX161" fmla="*/ 4111 w 10000"/>
                    <a:gd name="connsiteY161" fmla="*/ 7938 h 10000"/>
                    <a:gd name="connsiteX162" fmla="*/ 4111 w 10000"/>
                    <a:gd name="connsiteY162" fmla="*/ 7938 h 10000"/>
                    <a:gd name="connsiteX163" fmla="*/ 4278 w 10000"/>
                    <a:gd name="connsiteY163" fmla="*/ 7894 h 10000"/>
                    <a:gd name="connsiteX164" fmla="*/ 4389 w 10000"/>
                    <a:gd name="connsiteY164" fmla="*/ 7879 h 10000"/>
                    <a:gd name="connsiteX165" fmla="*/ 4389 w 10000"/>
                    <a:gd name="connsiteY165" fmla="*/ 7879 h 10000"/>
                    <a:gd name="connsiteX166" fmla="*/ 4000 w 10000"/>
                    <a:gd name="connsiteY166" fmla="*/ 7879 h 10000"/>
                    <a:gd name="connsiteX167" fmla="*/ 3722 w 10000"/>
                    <a:gd name="connsiteY167" fmla="*/ 7894 h 10000"/>
                    <a:gd name="connsiteX168" fmla="*/ 3611 w 10000"/>
                    <a:gd name="connsiteY168" fmla="*/ 7909 h 10000"/>
                    <a:gd name="connsiteX169" fmla="*/ 3556 w 10000"/>
                    <a:gd name="connsiteY169" fmla="*/ 7923 h 10000"/>
                    <a:gd name="connsiteX170" fmla="*/ 3556 w 10000"/>
                    <a:gd name="connsiteY170" fmla="*/ 7923 h 10000"/>
                    <a:gd name="connsiteX171" fmla="*/ 3444 w 10000"/>
                    <a:gd name="connsiteY171" fmla="*/ 7982 h 10000"/>
                    <a:gd name="connsiteX172" fmla="*/ 3278 w 10000"/>
                    <a:gd name="connsiteY172" fmla="*/ 8071 h 10000"/>
                    <a:gd name="connsiteX173" fmla="*/ 3000 w 10000"/>
                    <a:gd name="connsiteY173" fmla="*/ 8174 h 10000"/>
                    <a:gd name="connsiteX174" fmla="*/ 2667 w 10000"/>
                    <a:gd name="connsiteY174" fmla="*/ 8247 h 10000"/>
                    <a:gd name="connsiteX175" fmla="*/ 2667 w 10000"/>
                    <a:gd name="connsiteY175" fmla="*/ 8247 h 10000"/>
                    <a:gd name="connsiteX176" fmla="*/ 2333 w 10000"/>
                    <a:gd name="connsiteY176" fmla="*/ 8306 h 10000"/>
                    <a:gd name="connsiteX177" fmla="*/ 1833 w 10000"/>
                    <a:gd name="connsiteY177" fmla="*/ 8365 h 10000"/>
                    <a:gd name="connsiteX178" fmla="*/ 1389 w 10000"/>
                    <a:gd name="connsiteY178" fmla="*/ 8395 h 10000"/>
                    <a:gd name="connsiteX179" fmla="*/ 889 w 10000"/>
                    <a:gd name="connsiteY179" fmla="*/ 8409 h 10000"/>
                    <a:gd name="connsiteX180" fmla="*/ 889 w 10000"/>
                    <a:gd name="connsiteY180" fmla="*/ 8409 h 10000"/>
                    <a:gd name="connsiteX181" fmla="*/ 500 w 10000"/>
                    <a:gd name="connsiteY181" fmla="*/ 8424 h 10000"/>
                    <a:gd name="connsiteX182" fmla="*/ 222 w 10000"/>
                    <a:gd name="connsiteY182" fmla="*/ 8439 h 10000"/>
                    <a:gd name="connsiteX183" fmla="*/ 0 w 10000"/>
                    <a:gd name="connsiteY183" fmla="*/ 8454 h 10000"/>
                    <a:gd name="connsiteX184" fmla="*/ 0 w 10000"/>
                    <a:gd name="connsiteY184" fmla="*/ 8454 h 10000"/>
                    <a:gd name="connsiteX185" fmla="*/ 278 w 10000"/>
                    <a:gd name="connsiteY185" fmla="*/ 8689 h 10000"/>
                    <a:gd name="connsiteX186" fmla="*/ 500 w 10000"/>
                    <a:gd name="connsiteY186" fmla="*/ 8866 h 10000"/>
                    <a:gd name="connsiteX187" fmla="*/ 722 w 10000"/>
                    <a:gd name="connsiteY187" fmla="*/ 9013 h 10000"/>
                    <a:gd name="connsiteX188" fmla="*/ 722 w 10000"/>
                    <a:gd name="connsiteY188" fmla="*/ 9013 h 10000"/>
                    <a:gd name="connsiteX189" fmla="*/ 889 w 10000"/>
                    <a:gd name="connsiteY189" fmla="*/ 9102 h 10000"/>
                    <a:gd name="connsiteX190" fmla="*/ 944 w 10000"/>
                    <a:gd name="connsiteY190" fmla="*/ 9175 h 10000"/>
                    <a:gd name="connsiteX191" fmla="*/ 1111 w 10000"/>
                    <a:gd name="connsiteY191" fmla="*/ 9249 h 10000"/>
                    <a:gd name="connsiteX192" fmla="*/ 1333 w 10000"/>
                    <a:gd name="connsiteY192" fmla="*/ 9367 h 10000"/>
                    <a:gd name="connsiteX193" fmla="*/ 1333 w 10000"/>
                    <a:gd name="connsiteY193" fmla="*/ 9367 h 10000"/>
                    <a:gd name="connsiteX194" fmla="*/ 1444 w 10000"/>
                    <a:gd name="connsiteY194" fmla="*/ 9426 h 10000"/>
                    <a:gd name="connsiteX195" fmla="*/ 1500 w 10000"/>
                    <a:gd name="connsiteY195" fmla="*/ 9470 h 10000"/>
                    <a:gd name="connsiteX196" fmla="*/ 1500 w 10000"/>
                    <a:gd name="connsiteY196" fmla="*/ 9514 h 10000"/>
                    <a:gd name="connsiteX197" fmla="*/ 1556 w 10000"/>
                    <a:gd name="connsiteY197" fmla="*/ 9529 h 10000"/>
                    <a:gd name="connsiteX198" fmla="*/ 1722 w 10000"/>
                    <a:gd name="connsiteY198" fmla="*/ 9543 h 10000"/>
                    <a:gd name="connsiteX199" fmla="*/ 1944 w 10000"/>
                    <a:gd name="connsiteY199" fmla="*/ 9558 h 10000"/>
                    <a:gd name="connsiteX200" fmla="*/ 2944 w 10000"/>
                    <a:gd name="connsiteY200" fmla="*/ 9573 h 10000"/>
                    <a:gd name="connsiteX201" fmla="*/ 2944 w 10000"/>
                    <a:gd name="connsiteY201" fmla="*/ 9573 h 10000"/>
                    <a:gd name="connsiteX202" fmla="*/ 4167 w 10000"/>
                    <a:gd name="connsiteY202" fmla="*/ 9602 h 10000"/>
                    <a:gd name="connsiteX203" fmla="*/ 4889 w 10000"/>
                    <a:gd name="connsiteY203" fmla="*/ 9647 h 10000"/>
                    <a:gd name="connsiteX204" fmla="*/ 5278 w 10000"/>
                    <a:gd name="connsiteY204" fmla="*/ 9691 h 10000"/>
                    <a:gd name="connsiteX205" fmla="*/ 5444 w 10000"/>
                    <a:gd name="connsiteY205" fmla="*/ 9705 h 10000"/>
                    <a:gd name="connsiteX206" fmla="*/ 5444 w 10000"/>
                    <a:gd name="connsiteY206" fmla="*/ 9705 h 10000"/>
                    <a:gd name="connsiteX207" fmla="*/ 5722 w 10000"/>
                    <a:gd name="connsiteY207" fmla="*/ 9735 h 10000"/>
                    <a:gd name="connsiteX208" fmla="*/ 5833 w 10000"/>
                    <a:gd name="connsiteY208" fmla="*/ 9750 h 10000"/>
                    <a:gd name="connsiteX209" fmla="*/ 5833 w 10000"/>
                    <a:gd name="connsiteY209" fmla="*/ 9750 h 10000"/>
                    <a:gd name="connsiteX210" fmla="*/ 5833 w 10000"/>
                    <a:gd name="connsiteY210" fmla="*/ 9735 h 10000"/>
                    <a:gd name="connsiteX211" fmla="*/ 5889 w 10000"/>
                    <a:gd name="connsiteY211" fmla="*/ 9720 h 10000"/>
                    <a:gd name="connsiteX212" fmla="*/ 6000 w 10000"/>
                    <a:gd name="connsiteY212" fmla="*/ 9705 h 10000"/>
                    <a:gd name="connsiteX213" fmla="*/ 6167 w 10000"/>
                    <a:gd name="connsiteY213" fmla="*/ 9691 h 10000"/>
                    <a:gd name="connsiteX214" fmla="*/ 6444 w 10000"/>
                    <a:gd name="connsiteY214" fmla="*/ 9691 h 10000"/>
                    <a:gd name="connsiteX215" fmla="*/ 6833 w 10000"/>
                    <a:gd name="connsiteY215" fmla="*/ 9705 h 10000"/>
                    <a:gd name="connsiteX216" fmla="*/ 7278 w 10000"/>
                    <a:gd name="connsiteY216" fmla="*/ 9750 h 10000"/>
                    <a:gd name="connsiteX217" fmla="*/ 7278 w 10000"/>
                    <a:gd name="connsiteY217" fmla="*/ 9750 h 10000"/>
                    <a:gd name="connsiteX218" fmla="*/ 8722 w 10000"/>
                    <a:gd name="connsiteY218" fmla="*/ 9882 h 10000"/>
                    <a:gd name="connsiteX219" fmla="*/ 10000 w 10000"/>
                    <a:gd name="connsiteY21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444 w 10000"/>
                    <a:gd name="connsiteY71" fmla="*/ 3844 h 10000"/>
                    <a:gd name="connsiteX72" fmla="*/ 1556 w 10000"/>
                    <a:gd name="connsiteY72" fmla="*/ 3800 h 10000"/>
                    <a:gd name="connsiteX73" fmla="*/ 2111 w 10000"/>
                    <a:gd name="connsiteY73" fmla="*/ 3652 h 10000"/>
                    <a:gd name="connsiteX74" fmla="*/ 2278 w 10000"/>
                    <a:gd name="connsiteY74" fmla="*/ 3608 h 10000"/>
                    <a:gd name="connsiteX75" fmla="*/ 2389 w 10000"/>
                    <a:gd name="connsiteY75" fmla="*/ 3564 h 10000"/>
                    <a:gd name="connsiteX76" fmla="*/ 2389 w 10000"/>
                    <a:gd name="connsiteY76" fmla="*/ 3505 h 10000"/>
                    <a:gd name="connsiteX77" fmla="*/ 2389 w 10000"/>
                    <a:gd name="connsiteY77" fmla="*/ 3432 h 10000"/>
                    <a:gd name="connsiteX78" fmla="*/ 2389 w 10000"/>
                    <a:gd name="connsiteY78" fmla="*/ 3432 h 10000"/>
                    <a:gd name="connsiteX79" fmla="*/ 2167 w 10000"/>
                    <a:gd name="connsiteY79" fmla="*/ 3225 h 10000"/>
                    <a:gd name="connsiteX80" fmla="*/ 1889 w 10000"/>
                    <a:gd name="connsiteY80" fmla="*/ 2946 h 10000"/>
                    <a:gd name="connsiteX81" fmla="*/ 1667 w 10000"/>
                    <a:gd name="connsiteY81" fmla="*/ 2695 h 10000"/>
                    <a:gd name="connsiteX82" fmla="*/ 1611 w 10000"/>
                    <a:gd name="connsiteY82" fmla="*/ 2622 h 10000"/>
                    <a:gd name="connsiteX83" fmla="*/ 1611 w 10000"/>
                    <a:gd name="connsiteY83" fmla="*/ 2592 h 10000"/>
                    <a:gd name="connsiteX84" fmla="*/ 1667 w 10000"/>
                    <a:gd name="connsiteY84" fmla="*/ 2577 h 10000"/>
                    <a:gd name="connsiteX85" fmla="*/ 1667 w 10000"/>
                    <a:gd name="connsiteY85" fmla="*/ 2577 h 10000"/>
                    <a:gd name="connsiteX86" fmla="*/ 2000 w 10000"/>
                    <a:gd name="connsiteY86" fmla="*/ 2563 h 10000"/>
                    <a:gd name="connsiteX87" fmla="*/ 2222 w 10000"/>
                    <a:gd name="connsiteY87" fmla="*/ 2563 h 10000"/>
                    <a:gd name="connsiteX88" fmla="*/ 2389 w 10000"/>
                    <a:gd name="connsiteY88" fmla="*/ 2577 h 10000"/>
                    <a:gd name="connsiteX89" fmla="*/ 2389 w 10000"/>
                    <a:gd name="connsiteY89" fmla="*/ 2577 h 10000"/>
                    <a:gd name="connsiteX90" fmla="*/ 2444 w 10000"/>
                    <a:gd name="connsiteY90" fmla="*/ 2577 h 10000"/>
                    <a:gd name="connsiteX91" fmla="*/ 2500 w 10000"/>
                    <a:gd name="connsiteY91" fmla="*/ 2548 h 10000"/>
                    <a:gd name="connsiteX92" fmla="*/ 2778 w 10000"/>
                    <a:gd name="connsiteY92" fmla="*/ 2459 h 10000"/>
                    <a:gd name="connsiteX93" fmla="*/ 3500 w 10000"/>
                    <a:gd name="connsiteY93" fmla="*/ 2165 h 10000"/>
                    <a:gd name="connsiteX94" fmla="*/ 4444 w 10000"/>
                    <a:gd name="connsiteY94" fmla="*/ 1738 h 10000"/>
                    <a:gd name="connsiteX95" fmla="*/ 4444 w 10000"/>
                    <a:gd name="connsiteY95" fmla="*/ 1738 h 10000"/>
                    <a:gd name="connsiteX96" fmla="*/ 4444 w 10000"/>
                    <a:gd name="connsiteY96" fmla="*/ 1679 h 10000"/>
                    <a:gd name="connsiteX97" fmla="*/ 4444 w 10000"/>
                    <a:gd name="connsiteY97" fmla="*/ 1546 h 10000"/>
                    <a:gd name="connsiteX98" fmla="*/ 4500 w 10000"/>
                    <a:gd name="connsiteY98" fmla="*/ 1458 h 10000"/>
                    <a:gd name="connsiteX99" fmla="*/ 4611 w 10000"/>
                    <a:gd name="connsiteY99" fmla="*/ 1384 h 10000"/>
                    <a:gd name="connsiteX100" fmla="*/ 4778 w 10000"/>
                    <a:gd name="connsiteY100" fmla="*/ 1296 h 10000"/>
                    <a:gd name="connsiteX101" fmla="*/ 5000 w 10000"/>
                    <a:gd name="connsiteY101" fmla="*/ 1222 h 10000"/>
                    <a:gd name="connsiteX102" fmla="*/ 5000 w 10000"/>
                    <a:gd name="connsiteY102" fmla="*/ 1222 h 10000"/>
                    <a:gd name="connsiteX103" fmla="*/ 5556 w 10000"/>
                    <a:gd name="connsiteY103" fmla="*/ 1075 h 10000"/>
                    <a:gd name="connsiteX104" fmla="*/ 6111 w 10000"/>
                    <a:gd name="connsiteY104" fmla="*/ 884 h 10000"/>
                    <a:gd name="connsiteX105" fmla="*/ 6667 w 10000"/>
                    <a:gd name="connsiteY105" fmla="*/ 707 h 10000"/>
                    <a:gd name="connsiteX106" fmla="*/ 7056 w 10000"/>
                    <a:gd name="connsiteY106" fmla="*/ 545 h 10000"/>
                    <a:gd name="connsiteX107" fmla="*/ 7056 w 10000"/>
                    <a:gd name="connsiteY107" fmla="*/ 545 h 10000"/>
                    <a:gd name="connsiteX108" fmla="*/ 7333 w 10000"/>
                    <a:gd name="connsiteY108" fmla="*/ 398 h 10000"/>
                    <a:gd name="connsiteX109" fmla="*/ 7667 w 10000"/>
                    <a:gd name="connsiteY109" fmla="*/ 221 h 10000"/>
                    <a:gd name="connsiteX110" fmla="*/ 8000 w 10000"/>
                    <a:gd name="connsiteY110" fmla="*/ 88 h 10000"/>
                    <a:gd name="connsiteX111" fmla="*/ 8167 w 10000"/>
                    <a:gd name="connsiteY111" fmla="*/ 29 h 10000"/>
                    <a:gd name="connsiteX112" fmla="*/ 8333 w 10000"/>
                    <a:gd name="connsiteY112" fmla="*/ 15 h 10000"/>
                    <a:gd name="connsiteX113" fmla="*/ 8333 w 10000"/>
                    <a:gd name="connsiteY113" fmla="*/ 15 h 10000"/>
                    <a:gd name="connsiteX114" fmla="*/ 8667 w 10000"/>
                    <a:gd name="connsiteY114" fmla="*/ 0 h 10000"/>
                    <a:gd name="connsiteX115" fmla="*/ 9111 w 10000"/>
                    <a:gd name="connsiteY115" fmla="*/ 0 h 10000"/>
                    <a:gd name="connsiteX116" fmla="*/ 10000 w 10000"/>
                    <a:gd name="connsiteY116" fmla="*/ 15 h 10000"/>
                    <a:gd name="connsiteX117" fmla="*/ 10000 w 10000"/>
                    <a:gd name="connsiteY117" fmla="*/ 9013 h 10000"/>
                    <a:gd name="connsiteX118" fmla="*/ 10000 w 10000"/>
                    <a:gd name="connsiteY118" fmla="*/ 9013 h 10000"/>
                    <a:gd name="connsiteX119" fmla="*/ 9722 w 10000"/>
                    <a:gd name="connsiteY119" fmla="*/ 8999 h 10000"/>
                    <a:gd name="connsiteX120" fmla="*/ 9389 w 10000"/>
                    <a:gd name="connsiteY120" fmla="*/ 9013 h 10000"/>
                    <a:gd name="connsiteX121" fmla="*/ 9389 w 10000"/>
                    <a:gd name="connsiteY121" fmla="*/ 9013 h 10000"/>
                    <a:gd name="connsiteX122" fmla="*/ 9278 w 10000"/>
                    <a:gd name="connsiteY122" fmla="*/ 9028 h 10000"/>
                    <a:gd name="connsiteX123" fmla="*/ 9056 w 10000"/>
                    <a:gd name="connsiteY123" fmla="*/ 9013 h 10000"/>
                    <a:gd name="connsiteX124" fmla="*/ 8889 w 10000"/>
                    <a:gd name="connsiteY124" fmla="*/ 8999 h 10000"/>
                    <a:gd name="connsiteX125" fmla="*/ 8722 w 10000"/>
                    <a:gd name="connsiteY125" fmla="*/ 8969 h 10000"/>
                    <a:gd name="connsiteX126" fmla="*/ 8611 w 10000"/>
                    <a:gd name="connsiteY126" fmla="*/ 8925 h 10000"/>
                    <a:gd name="connsiteX127" fmla="*/ 8444 w 10000"/>
                    <a:gd name="connsiteY127" fmla="*/ 8851 h 10000"/>
                    <a:gd name="connsiteX128" fmla="*/ 8444 w 10000"/>
                    <a:gd name="connsiteY128" fmla="*/ 8851 h 10000"/>
                    <a:gd name="connsiteX129" fmla="*/ 8222 w 10000"/>
                    <a:gd name="connsiteY129" fmla="*/ 8719 h 10000"/>
                    <a:gd name="connsiteX130" fmla="*/ 8111 w 10000"/>
                    <a:gd name="connsiteY130" fmla="*/ 8660 h 10000"/>
                    <a:gd name="connsiteX131" fmla="*/ 7944 w 10000"/>
                    <a:gd name="connsiteY131" fmla="*/ 8616 h 10000"/>
                    <a:gd name="connsiteX132" fmla="*/ 7778 w 10000"/>
                    <a:gd name="connsiteY132" fmla="*/ 8586 h 10000"/>
                    <a:gd name="connsiteX133" fmla="*/ 7556 w 10000"/>
                    <a:gd name="connsiteY133" fmla="*/ 8571 h 10000"/>
                    <a:gd name="connsiteX134" fmla="*/ 7333 w 10000"/>
                    <a:gd name="connsiteY134" fmla="*/ 8557 h 10000"/>
                    <a:gd name="connsiteX135" fmla="*/ 7000 w 10000"/>
                    <a:gd name="connsiteY135" fmla="*/ 8542 h 10000"/>
                    <a:gd name="connsiteX136" fmla="*/ 7000 w 10000"/>
                    <a:gd name="connsiteY136" fmla="*/ 8542 h 10000"/>
                    <a:gd name="connsiteX137" fmla="*/ 6556 w 10000"/>
                    <a:gd name="connsiteY137" fmla="*/ 8557 h 10000"/>
                    <a:gd name="connsiteX138" fmla="*/ 6222 w 10000"/>
                    <a:gd name="connsiteY138" fmla="*/ 8557 h 10000"/>
                    <a:gd name="connsiteX139" fmla="*/ 6111 w 10000"/>
                    <a:gd name="connsiteY139" fmla="*/ 8542 h 10000"/>
                    <a:gd name="connsiteX140" fmla="*/ 6056 w 10000"/>
                    <a:gd name="connsiteY140" fmla="*/ 8527 h 10000"/>
                    <a:gd name="connsiteX141" fmla="*/ 6056 w 10000"/>
                    <a:gd name="connsiteY141" fmla="*/ 8527 h 10000"/>
                    <a:gd name="connsiteX142" fmla="*/ 6056 w 10000"/>
                    <a:gd name="connsiteY142" fmla="*/ 8262 h 10000"/>
                    <a:gd name="connsiteX143" fmla="*/ 6056 w 10000"/>
                    <a:gd name="connsiteY143" fmla="*/ 8262 h 10000"/>
                    <a:gd name="connsiteX144" fmla="*/ 6056 w 10000"/>
                    <a:gd name="connsiteY144" fmla="*/ 8203 h 10000"/>
                    <a:gd name="connsiteX145" fmla="*/ 5944 w 10000"/>
                    <a:gd name="connsiteY145" fmla="*/ 8130 h 10000"/>
                    <a:gd name="connsiteX146" fmla="*/ 5889 w 10000"/>
                    <a:gd name="connsiteY146" fmla="*/ 8115 h 10000"/>
                    <a:gd name="connsiteX147" fmla="*/ 5778 w 10000"/>
                    <a:gd name="connsiteY147" fmla="*/ 8100 h 10000"/>
                    <a:gd name="connsiteX148" fmla="*/ 5667 w 10000"/>
                    <a:gd name="connsiteY148" fmla="*/ 8100 h 10000"/>
                    <a:gd name="connsiteX149" fmla="*/ 5500 w 10000"/>
                    <a:gd name="connsiteY149" fmla="*/ 8115 h 10000"/>
                    <a:gd name="connsiteX150" fmla="*/ 5500 w 10000"/>
                    <a:gd name="connsiteY150" fmla="*/ 8115 h 10000"/>
                    <a:gd name="connsiteX151" fmla="*/ 4889 w 10000"/>
                    <a:gd name="connsiteY151" fmla="*/ 8218 h 10000"/>
                    <a:gd name="connsiteX152" fmla="*/ 4611 w 10000"/>
                    <a:gd name="connsiteY152" fmla="*/ 8247 h 10000"/>
                    <a:gd name="connsiteX153" fmla="*/ 4556 w 10000"/>
                    <a:gd name="connsiteY153" fmla="*/ 8262 h 10000"/>
                    <a:gd name="connsiteX154" fmla="*/ 4500 w 10000"/>
                    <a:gd name="connsiteY154" fmla="*/ 8247 h 10000"/>
                    <a:gd name="connsiteX155" fmla="*/ 4500 w 10000"/>
                    <a:gd name="connsiteY155" fmla="*/ 8247 h 10000"/>
                    <a:gd name="connsiteX156" fmla="*/ 4222 w 10000"/>
                    <a:gd name="connsiteY156" fmla="*/ 8100 h 10000"/>
                    <a:gd name="connsiteX157" fmla="*/ 4222 w 10000"/>
                    <a:gd name="connsiteY157" fmla="*/ 8100 h 10000"/>
                    <a:gd name="connsiteX158" fmla="*/ 4111 w 10000"/>
                    <a:gd name="connsiteY158" fmla="*/ 8027 h 10000"/>
                    <a:gd name="connsiteX159" fmla="*/ 4111 w 10000"/>
                    <a:gd name="connsiteY159" fmla="*/ 7982 h 10000"/>
                    <a:gd name="connsiteX160" fmla="*/ 4111 w 10000"/>
                    <a:gd name="connsiteY160" fmla="*/ 7938 h 10000"/>
                    <a:gd name="connsiteX161" fmla="*/ 4111 w 10000"/>
                    <a:gd name="connsiteY161" fmla="*/ 7938 h 10000"/>
                    <a:gd name="connsiteX162" fmla="*/ 4278 w 10000"/>
                    <a:gd name="connsiteY162" fmla="*/ 7894 h 10000"/>
                    <a:gd name="connsiteX163" fmla="*/ 4389 w 10000"/>
                    <a:gd name="connsiteY163" fmla="*/ 7879 h 10000"/>
                    <a:gd name="connsiteX164" fmla="*/ 4389 w 10000"/>
                    <a:gd name="connsiteY164" fmla="*/ 7879 h 10000"/>
                    <a:gd name="connsiteX165" fmla="*/ 4000 w 10000"/>
                    <a:gd name="connsiteY165" fmla="*/ 7879 h 10000"/>
                    <a:gd name="connsiteX166" fmla="*/ 3722 w 10000"/>
                    <a:gd name="connsiteY166" fmla="*/ 7894 h 10000"/>
                    <a:gd name="connsiteX167" fmla="*/ 3611 w 10000"/>
                    <a:gd name="connsiteY167" fmla="*/ 7909 h 10000"/>
                    <a:gd name="connsiteX168" fmla="*/ 3556 w 10000"/>
                    <a:gd name="connsiteY168" fmla="*/ 7923 h 10000"/>
                    <a:gd name="connsiteX169" fmla="*/ 3556 w 10000"/>
                    <a:gd name="connsiteY169" fmla="*/ 7923 h 10000"/>
                    <a:gd name="connsiteX170" fmla="*/ 3444 w 10000"/>
                    <a:gd name="connsiteY170" fmla="*/ 7982 h 10000"/>
                    <a:gd name="connsiteX171" fmla="*/ 3278 w 10000"/>
                    <a:gd name="connsiteY171" fmla="*/ 8071 h 10000"/>
                    <a:gd name="connsiteX172" fmla="*/ 3000 w 10000"/>
                    <a:gd name="connsiteY172" fmla="*/ 8174 h 10000"/>
                    <a:gd name="connsiteX173" fmla="*/ 2667 w 10000"/>
                    <a:gd name="connsiteY173" fmla="*/ 8247 h 10000"/>
                    <a:gd name="connsiteX174" fmla="*/ 2667 w 10000"/>
                    <a:gd name="connsiteY174" fmla="*/ 8247 h 10000"/>
                    <a:gd name="connsiteX175" fmla="*/ 2333 w 10000"/>
                    <a:gd name="connsiteY175" fmla="*/ 8306 h 10000"/>
                    <a:gd name="connsiteX176" fmla="*/ 1833 w 10000"/>
                    <a:gd name="connsiteY176" fmla="*/ 8365 h 10000"/>
                    <a:gd name="connsiteX177" fmla="*/ 1389 w 10000"/>
                    <a:gd name="connsiteY177" fmla="*/ 8395 h 10000"/>
                    <a:gd name="connsiteX178" fmla="*/ 889 w 10000"/>
                    <a:gd name="connsiteY178" fmla="*/ 8409 h 10000"/>
                    <a:gd name="connsiteX179" fmla="*/ 889 w 10000"/>
                    <a:gd name="connsiteY179" fmla="*/ 8409 h 10000"/>
                    <a:gd name="connsiteX180" fmla="*/ 500 w 10000"/>
                    <a:gd name="connsiteY180" fmla="*/ 8424 h 10000"/>
                    <a:gd name="connsiteX181" fmla="*/ 222 w 10000"/>
                    <a:gd name="connsiteY181" fmla="*/ 8439 h 10000"/>
                    <a:gd name="connsiteX182" fmla="*/ 0 w 10000"/>
                    <a:gd name="connsiteY182" fmla="*/ 8454 h 10000"/>
                    <a:gd name="connsiteX183" fmla="*/ 0 w 10000"/>
                    <a:gd name="connsiteY183" fmla="*/ 8454 h 10000"/>
                    <a:gd name="connsiteX184" fmla="*/ 278 w 10000"/>
                    <a:gd name="connsiteY184" fmla="*/ 8689 h 10000"/>
                    <a:gd name="connsiteX185" fmla="*/ 500 w 10000"/>
                    <a:gd name="connsiteY185" fmla="*/ 8866 h 10000"/>
                    <a:gd name="connsiteX186" fmla="*/ 722 w 10000"/>
                    <a:gd name="connsiteY186" fmla="*/ 9013 h 10000"/>
                    <a:gd name="connsiteX187" fmla="*/ 722 w 10000"/>
                    <a:gd name="connsiteY187" fmla="*/ 9013 h 10000"/>
                    <a:gd name="connsiteX188" fmla="*/ 889 w 10000"/>
                    <a:gd name="connsiteY188" fmla="*/ 9102 h 10000"/>
                    <a:gd name="connsiteX189" fmla="*/ 944 w 10000"/>
                    <a:gd name="connsiteY189" fmla="*/ 9175 h 10000"/>
                    <a:gd name="connsiteX190" fmla="*/ 1111 w 10000"/>
                    <a:gd name="connsiteY190" fmla="*/ 9249 h 10000"/>
                    <a:gd name="connsiteX191" fmla="*/ 1333 w 10000"/>
                    <a:gd name="connsiteY191" fmla="*/ 9367 h 10000"/>
                    <a:gd name="connsiteX192" fmla="*/ 1333 w 10000"/>
                    <a:gd name="connsiteY192" fmla="*/ 9367 h 10000"/>
                    <a:gd name="connsiteX193" fmla="*/ 1444 w 10000"/>
                    <a:gd name="connsiteY193" fmla="*/ 9426 h 10000"/>
                    <a:gd name="connsiteX194" fmla="*/ 1500 w 10000"/>
                    <a:gd name="connsiteY194" fmla="*/ 9470 h 10000"/>
                    <a:gd name="connsiteX195" fmla="*/ 1500 w 10000"/>
                    <a:gd name="connsiteY195" fmla="*/ 9514 h 10000"/>
                    <a:gd name="connsiteX196" fmla="*/ 1556 w 10000"/>
                    <a:gd name="connsiteY196" fmla="*/ 9529 h 10000"/>
                    <a:gd name="connsiteX197" fmla="*/ 1722 w 10000"/>
                    <a:gd name="connsiteY197" fmla="*/ 9543 h 10000"/>
                    <a:gd name="connsiteX198" fmla="*/ 1944 w 10000"/>
                    <a:gd name="connsiteY198" fmla="*/ 9558 h 10000"/>
                    <a:gd name="connsiteX199" fmla="*/ 2944 w 10000"/>
                    <a:gd name="connsiteY199" fmla="*/ 9573 h 10000"/>
                    <a:gd name="connsiteX200" fmla="*/ 2944 w 10000"/>
                    <a:gd name="connsiteY200" fmla="*/ 9573 h 10000"/>
                    <a:gd name="connsiteX201" fmla="*/ 4167 w 10000"/>
                    <a:gd name="connsiteY201" fmla="*/ 9602 h 10000"/>
                    <a:gd name="connsiteX202" fmla="*/ 4889 w 10000"/>
                    <a:gd name="connsiteY202" fmla="*/ 9647 h 10000"/>
                    <a:gd name="connsiteX203" fmla="*/ 5278 w 10000"/>
                    <a:gd name="connsiteY203" fmla="*/ 9691 h 10000"/>
                    <a:gd name="connsiteX204" fmla="*/ 5444 w 10000"/>
                    <a:gd name="connsiteY204" fmla="*/ 9705 h 10000"/>
                    <a:gd name="connsiteX205" fmla="*/ 5444 w 10000"/>
                    <a:gd name="connsiteY205" fmla="*/ 9705 h 10000"/>
                    <a:gd name="connsiteX206" fmla="*/ 5722 w 10000"/>
                    <a:gd name="connsiteY206" fmla="*/ 9735 h 10000"/>
                    <a:gd name="connsiteX207" fmla="*/ 5833 w 10000"/>
                    <a:gd name="connsiteY207" fmla="*/ 9750 h 10000"/>
                    <a:gd name="connsiteX208" fmla="*/ 5833 w 10000"/>
                    <a:gd name="connsiteY208" fmla="*/ 9750 h 10000"/>
                    <a:gd name="connsiteX209" fmla="*/ 5833 w 10000"/>
                    <a:gd name="connsiteY209" fmla="*/ 9735 h 10000"/>
                    <a:gd name="connsiteX210" fmla="*/ 5889 w 10000"/>
                    <a:gd name="connsiteY210" fmla="*/ 9720 h 10000"/>
                    <a:gd name="connsiteX211" fmla="*/ 6000 w 10000"/>
                    <a:gd name="connsiteY211" fmla="*/ 9705 h 10000"/>
                    <a:gd name="connsiteX212" fmla="*/ 6167 w 10000"/>
                    <a:gd name="connsiteY212" fmla="*/ 9691 h 10000"/>
                    <a:gd name="connsiteX213" fmla="*/ 6444 w 10000"/>
                    <a:gd name="connsiteY213" fmla="*/ 9691 h 10000"/>
                    <a:gd name="connsiteX214" fmla="*/ 6833 w 10000"/>
                    <a:gd name="connsiteY214" fmla="*/ 9705 h 10000"/>
                    <a:gd name="connsiteX215" fmla="*/ 7278 w 10000"/>
                    <a:gd name="connsiteY215" fmla="*/ 9750 h 10000"/>
                    <a:gd name="connsiteX216" fmla="*/ 7278 w 10000"/>
                    <a:gd name="connsiteY216" fmla="*/ 9750 h 10000"/>
                    <a:gd name="connsiteX217" fmla="*/ 8722 w 10000"/>
                    <a:gd name="connsiteY217" fmla="*/ 9882 h 10000"/>
                    <a:gd name="connsiteX218" fmla="*/ 10000 w 10000"/>
                    <a:gd name="connsiteY21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556 w 10000"/>
                    <a:gd name="connsiteY71" fmla="*/ 3800 h 10000"/>
                    <a:gd name="connsiteX72" fmla="*/ 2111 w 10000"/>
                    <a:gd name="connsiteY72" fmla="*/ 3652 h 10000"/>
                    <a:gd name="connsiteX73" fmla="*/ 2278 w 10000"/>
                    <a:gd name="connsiteY73" fmla="*/ 3608 h 10000"/>
                    <a:gd name="connsiteX74" fmla="*/ 2389 w 10000"/>
                    <a:gd name="connsiteY74" fmla="*/ 3564 h 10000"/>
                    <a:gd name="connsiteX75" fmla="*/ 2389 w 10000"/>
                    <a:gd name="connsiteY75" fmla="*/ 3505 h 10000"/>
                    <a:gd name="connsiteX76" fmla="*/ 2389 w 10000"/>
                    <a:gd name="connsiteY76" fmla="*/ 3432 h 10000"/>
                    <a:gd name="connsiteX77" fmla="*/ 2389 w 10000"/>
                    <a:gd name="connsiteY77" fmla="*/ 3432 h 10000"/>
                    <a:gd name="connsiteX78" fmla="*/ 2167 w 10000"/>
                    <a:gd name="connsiteY78" fmla="*/ 3225 h 10000"/>
                    <a:gd name="connsiteX79" fmla="*/ 1889 w 10000"/>
                    <a:gd name="connsiteY79" fmla="*/ 2946 h 10000"/>
                    <a:gd name="connsiteX80" fmla="*/ 1667 w 10000"/>
                    <a:gd name="connsiteY80" fmla="*/ 2695 h 10000"/>
                    <a:gd name="connsiteX81" fmla="*/ 1611 w 10000"/>
                    <a:gd name="connsiteY81" fmla="*/ 2622 h 10000"/>
                    <a:gd name="connsiteX82" fmla="*/ 1611 w 10000"/>
                    <a:gd name="connsiteY82" fmla="*/ 2592 h 10000"/>
                    <a:gd name="connsiteX83" fmla="*/ 1667 w 10000"/>
                    <a:gd name="connsiteY83" fmla="*/ 2577 h 10000"/>
                    <a:gd name="connsiteX84" fmla="*/ 1667 w 10000"/>
                    <a:gd name="connsiteY84" fmla="*/ 2577 h 10000"/>
                    <a:gd name="connsiteX85" fmla="*/ 2000 w 10000"/>
                    <a:gd name="connsiteY85" fmla="*/ 2563 h 10000"/>
                    <a:gd name="connsiteX86" fmla="*/ 2222 w 10000"/>
                    <a:gd name="connsiteY86" fmla="*/ 2563 h 10000"/>
                    <a:gd name="connsiteX87" fmla="*/ 2389 w 10000"/>
                    <a:gd name="connsiteY87" fmla="*/ 2577 h 10000"/>
                    <a:gd name="connsiteX88" fmla="*/ 2389 w 10000"/>
                    <a:gd name="connsiteY88" fmla="*/ 2577 h 10000"/>
                    <a:gd name="connsiteX89" fmla="*/ 2444 w 10000"/>
                    <a:gd name="connsiteY89" fmla="*/ 2577 h 10000"/>
                    <a:gd name="connsiteX90" fmla="*/ 2500 w 10000"/>
                    <a:gd name="connsiteY90" fmla="*/ 2548 h 10000"/>
                    <a:gd name="connsiteX91" fmla="*/ 2778 w 10000"/>
                    <a:gd name="connsiteY91" fmla="*/ 2459 h 10000"/>
                    <a:gd name="connsiteX92" fmla="*/ 3500 w 10000"/>
                    <a:gd name="connsiteY92" fmla="*/ 2165 h 10000"/>
                    <a:gd name="connsiteX93" fmla="*/ 4444 w 10000"/>
                    <a:gd name="connsiteY93" fmla="*/ 1738 h 10000"/>
                    <a:gd name="connsiteX94" fmla="*/ 4444 w 10000"/>
                    <a:gd name="connsiteY94" fmla="*/ 1738 h 10000"/>
                    <a:gd name="connsiteX95" fmla="*/ 4444 w 10000"/>
                    <a:gd name="connsiteY95" fmla="*/ 1679 h 10000"/>
                    <a:gd name="connsiteX96" fmla="*/ 4444 w 10000"/>
                    <a:gd name="connsiteY96" fmla="*/ 1546 h 10000"/>
                    <a:gd name="connsiteX97" fmla="*/ 4500 w 10000"/>
                    <a:gd name="connsiteY97" fmla="*/ 1458 h 10000"/>
                    <a:gd name="connsiteX98" fmla="*/ 4611 w 10000"/>
                    <a:gd name="connsiteY98" fmla="*/ 1384 h 10000"/>
                    <a:gd name="connsiteX99" fmla="*/ 4778 w 10000"/>
                    <a:gd name="connsiteY99" fmla="*/ 1296 h 10000"/>
                    <a:gd name="connsiteX100" fmla="*/ 5000 w 10000"/>
                    <a:gd name="connsiteY100" fmla="*/ 1222 h 10000"/>
                    <a:gd name="connsiteX101" fmla="*/ 5000 w 10000"/>
                    <a:gd name="connsiteY101" fmla="*/ 1222 h 10000"/>
                    <a:gd name="connsiteX102" fmla="*/ 5556 w 10000"/>
                    <a:gd name="connsiteY102" fmla="*/ 1075 h 10000"/>
                    <a:gd name="connsiteX103" fmla="*/ 6111 w 10000"/>
                    <a:gd name="connsiteY103" fmla="*/ 884 h 10000"/>
                    <a:gd name="connsiteX104" fmla="*/ 6667 w 10000"/>
                    <a:gd name="connsiteY104" fmla="*/ 707 h 10000"/>
                    <a:gd name="connsiteX105" fmla="*/ 7056 w 10000"/>
                    <a:gd name="connsiteY105" fmla="*/ 545 h 10000"/>
                    <a:gd name="connsiteX106" fmla="*/ 7056 w 10000"/>
                    <a:gd name="connsiteY106" fmla="*/ 545 h 10000"/>
                    <a:gd name="connsiteX107" fmla="*/ 7333 w 10000"/>
                    <a:gd name="connsiteY107" fmla="*/ 398 h 10000"/>
                    <a:gd name="connsiteX108" fmla="*/ 7667 w 10000"/>
                    <a:gd name="connsiteY108" fmla="*/ 221 h 10000"/>
                    <a:gd name="connsiteX109" fmla="*/ 8000 w 10000"/>
                    <a:gd name="connsiteY109" fmla="*/ 88 h 10000"/>
                    <a:gd name="connsiteX110" fmla="*/ 8167 w 10000"/>
                    <a:gd name="connsiteY110" fmla="*/ 29 h 10000"/>
                    <a:gd name="connsiteX111" fmla="*/ 8333 w 10000"/>
                    <a:gd name="connsiteY111" fmla="*/ 15 h 10000"/>
                    <a:gd name="connsiteX112" fmla="*/ 8333 w 10000"/>
                    <a:gd name="connsiteY112" fmla="*/ 15 h 10000"/>
                    <a:gd name="connsiteX113" fmla="*/ 8667 w 10000"/>
                    <a:gd name="connsiteY113" fmla="*/ 0 h 10000"/>
                    <a:gd name="connsiteX114" fmla="*/ 9111 w 10000"/>
                    <a:gd name="connsiteY114" fmla="*/ 0 h 10000"/>
                    <a:gd name="connsiteX115" fmla="*/ 10000 w 10000"/>
                    <a:gd name="connsiteY115" fmla="*/ 15 h 10000"/>
                    <a:gd name="connsiteX116" fmla="*/ 10000 w 10000"/>
                    <a:gd name="connsiteY116" fmla="*/ 9013 h 10000"/>
                    <a:gd name="connsiteX117" fmla="*/ 10000 w 10000"/>
                    <a:gd name="connsiteY117" fmla="*/ 9013 h 10000"/>
                    <a:gd name="connsiteX118" fmla="*/ 9722 w 10000"/>
                    <a:gd name="connsiteY118" fmla="*/ 8999 h 10000"/>
                    <a:gd name="connsiteX119" fmla="*/ 9389 w 10000"/>
                    <a:gd name="connsiteY119" fmla="*/ 9013 h 10000"/>
                    <a:gd name="connsiteX120" fmla="*/ 9389 w 10000"/>
                    <a:gd name="connsiteY120" fmla="*/ 9013 h 10000"/>
                    <a:gd name="connsiteX121" fmla="*/ 9278 w 10000"/>
                    <a:gd name="connsiteY121" fmla="*/ 9028 h 10000"/>
                    <a:gd name="connsiteX122" fmla="*/ 9056 w 10000"/>
                    <a:gd name="connsiteY122" fmla="*/ 9013 h 10000"/>
                    <a:gd name="connsiteX123" fmla="*/ 8889 w 10000"/>
                    <a:gd name="connsiteY123" fmla="*/ 8999 h 10000"/>
                    <a:gd name="connsiteX124" fmla="*/ 8722 w 10000"/>
                    <a:gd name="connsiteY124" fmla="*/ 8969 h 10000"/>
                    <a:gd name="connsiteX125" fmla="*/ 8611 w 10000"/>
                    <a:gd name="connsiteY125" fmla="*/ 8925 h 10000"/>
                    <a:gd name="connsiteX126" fmla="*/ 8444 w 10000"/>
                    <a:gd name="connsiteY126" fmla="*/ 8851 h 10000"/>
                    <a:gd name="connsiteX127" fmla="*/ 8444 w 10000"/>
                    <a:gd name="connsiteY127" fmla="*/ 8851 h 10000"/>
                    <a:gd name="connsiteX128" fmla="*/ 8222 w 10000"/>
                    <a:gd name="connsiteY128" fmla="*/ 8719 h 10000"/>
                    <a:gd name="connsiteX129" fmla="*/ 8111 w 10000"/>
                    <a:gd name="connsiteY129" fmla="*/ 8660 h 10000"/>
                    <a:gd name="connsiteX130" fmla="*/ 7944 w 10000"/>
                    <a:gd name="connsiteY130" fmla="*/ 8616 h 10000"/>
                    <a:gd name="connsiteX131" fmla="*/ 7778 w 10000"/>
                    <a:gd name="connsiteY131" fmla="*/ 8586 h 10000"/>
                    <a:gd name="connsiteX132" fmla="*/ 7556 w 10000"/>
                    <a:gd name="connsiteY132" fmla="*/ 8571 h 10000"/>
                    <a:gd name="connsiteX133" fmla="*/ 7333 w 10000"/>
                    <a:gd name="connsiteY133" fmla="*/ 8557 h 10000"/>
                    <a:gd name="connsiteX134" fmla="*/ 7000 w 10000"/>
                    <a:gd name="connsiteY134" fmla="*/ 8542 h 10000"/>
                    <a:gd name="connsiteX135" fmla="*/ 7000 w 10000"/>
                    <a:gd name="connsiteY135" fmla="*/ 8542 h 10000"/>
                    <a:gd name="connsiteX136" fmla="*/ 6556 w 10000"/>
                    <a:gd name="connsiteY136" fmla="*/ 8557 h 10000"/>
                    <a:gd name="connsiteX137" fmla="*/ 6222 w 10000"/>
                    <a:gd name="connsiteY137" fmla="*/ 8557 h 10000"/>
                    <a:gd name="connsiteX138" fmla="*/ 6111 w 10000"/>
                    <a:gd name="connsiteY138" fmla="*/ 8542 h 10000"/>
                    <a:gd name="connsiteX139" fmla="*/ 6056 w 10000"/>
                    <a:gd name="connsiteY139" fmla="*/ 8527 h 10000"/>
                    <a:gd name="connsiteX140" fmla="*/ 6056 w 10000"/>
                    <a:gd name="connsiteY140" fmla="*/ 8527 h 10000"/>
                    <a:gd name="connsiteX141" fmla="*/ 6056 w 10000"/>
                    <a:gd name="connsiteY141" fmla="*/ 8262 h 10000"/>
                    <a:gd name="connsiteX142" fmla="*/ 6056 w 10000"/>
                    <a:gd name="connsiteY142" fmla="*/ 8262 h 10000"/>
                    <a:gd name="connsiteX143" fmla="*/ 6056 w 10000"/>
                    <a:gd name="connsiteY143" fmla="*/ 8203 h 10000"/>
                    <a:gd name="connsiteX144" fmla="*/ 5944 w 10000"/>
                    <a:gd name="connsiteY144" fmla="*/ 8130 h 10000"/>
                    <a:gd name="connsiteX145" fmla="*/ 5889 w 10000"/>
                    <a:gd name="connsiteY145" fmla="*/ 8115 h 10000"/>
                    <a:gd name="connsiteX146" fmla="*/ 5778 w 10000"/>
                    <a:gd name="connsiteY146" fmla="*/ 8100 h 10000"/>
                    <a:gd name="connsiteX147" fmla="*/ 5667 w 10000"/>
                    <a:gd name="connsiteY147" fmla="*/ 8100 h 10000"/>
                    <a:gd name="connsiteX148" fmla="*/ 5500 w 10000"/>
                    <a:gd name="connsiteY148" fmla="*/ 8115 h 10000"/>
                    <a:gd name="connsiteX149" fmla="*/ 5500 w 10000"/>
                    <a:gd name="connsiteY149" fmla="*/ 8115 h 10000"/>
                    <a:gd name="connsiteX150" fmla="*/ 4889 w 10000"/>
                    <a:gd name="connsiteY150" fmla="*/ 8218 h 10000"/>
                    <a:gd name="connsiteX151" fmla="*/ 4611 w 10000"/>
                    <a:gd name="connsiteY151" fmla="*/ 8247 h 10000"/>
                    <a:gd name="connsiteX152" fmla="*/ 4556 w 10000"/>
                    <a:gd name="connsiteY152" fmla="*/ 8262 h 10000"/>
                    <a:gd name="connsiteX153" fmla="*/ 4500 w 10000"/>
                    <a:gd name="connsiteY153" fmla="*/ 8247 h 10000"/>
                    <a:gd name="connsiteX154" fmla="*/ 4500 w 10000"/>
                    <a:gd name="connsiteY154" fmla="*/ 8247 h 10000"/>
                    <a:gd name="connsiteX155" fmla="*/ 4222 w 10000"/>
                    <a:gd name="connsiteY155" fmla="*/ 8100 h 10000"/>
                    <a:gd name="connsiteX156" fmla="*/ 4222 w 10000"/>
                    <a:gd name="connsiteY156" fmla="*/ 8100 h 10000"/>
                    <a:gd name="connsiteX157" fmla="*/ 4111 w 10000"/>
                    <a:gd name="connsiteY157" fmla="*/ 8027 h 10000"/>
                    <a:gd name="connsiteX158" fmla="*/ 4111 w 10000"/>
                    <a:gd name="connsiteY158" fmla="*/ 7982 h 10000"/>
                    <a:gd name="connsiteX159" fmla="*/ 4111 w 10000"/>
                    <a:gd name="connsiteY159" fmla="*/ 7938 h 10000"/>
                    <a:gd name="connsiteX160" fmla="*/ 4111 w 10000"/>
                    <a:gd name="connsiteY160" fmla="*/ 7938 h 10000"/>
                    <a:gd name="connsiteX161" fmla="*/ 4278 w 10000"/>
                    <a:gd name="connsiteY161" fmla="*/ 7894 h 10000"/>
                    <a:gd name="connsiteX162" fmla="*/ 4389 w 10000"/>
                    <a:gd name="connsiteY162" fmla="*/ 7879 h 10000"/>
                    <a:gd name="connsiteX163" fmla="*/ 4389 w 10000"/>
                    <a:gd name="connsiteY163" fmla="*/ 7879 h 10000"/>
                    <a:gd name="connsiteX164" fmla="*/ 4000 w 10000"/>
                    <a:gd name="connsiteY164" fmla="*/ 7879 h 10000"/>
                    <a:gd name="connsiteX165" fmla="*/ 3722 w 10000"/>
                    <a:gd name="connsiteY165" fmla="*/ 7894 h 10000"/>
                    <a:gd name="connsiteX166" fmla="*/ 3611 w 10000"/>
                    <a:gd name="connsiteY166" fmla="*/ 7909 h 10000"/>
                    <a:gd name="connsiteX167" fmla="*/ 3556 w 10000"/>
                    <a:gd name="connsiteY167" fmla="*/ 7923 h 10000"/>
                    <a:gd name="connsiteX168" fmla="*/ 3556 w 10000"/>
                    <a:gd name="connsiteY168" fmla="*/ 7923 h 10000"/>
                    <a:gd name="connsiteX169" fmla="*/ 3444 w 10000"/>
                    <a:gd name="connsiteY169" fmla="*/ 7982 h 10000"/>
                    <a:gd name="connsiteX170" fmla="*/ 3278 w 10000"/>
                    <a:gd name="connsiteY170" fmla="*/ 8071 h 10000"/>
                    <a:gd name="connsiteX171" fmla="*/ 3000 w 10000"/>
                    <a:gd name="connsiteY171" fmla="*/ 8174 h 10000"/>
                    <a:gd name="connsiteX172" fmla="*/ 2667 w 10000"/>
                    <a:gd name="connsiteY172" fmla="*/ 8247 h 10000"/>
                    <a:gd name="connsiteX173" fmla="*/ 2667 w 10000"/>
                    <a:gd name="connsiteY173" fmla="*/ 8247 h 10000"/>
                    <a:gd name="connsiteX174" fmla="*/ 2333 w 10000"/>
                    <a:gd name="connsiteY174" fmla="*/ 8306 h 10000"/>
                    <a:gd name="connsiteX175" fmla="*/ 1833 w 10000"/>
                    <a:gd name="connsiteY175" fmla="*/ 8365 h 10000"/>
                    <a:gd name="connsiteX176" fmla="*/ 1389 w 10000"/>
                    <a:gd name="connsiteY176" fmla="*/ 8395 h 10000"/>
                    <a:gd name="connsiteX177" fmla="*/ 889 w 10000"/>
                    <a:gd name="connsiteY177" fmla="*/ 8409 h 10000"/>
                    <a:gd name="connsiteX178" fmla="*/ 889 w 10000"/>
                    <a:gd name="connsiteY178" fmla="*/ 8409 h 10000"/>
                    <a:gd name="connsiteX179" fmla="*/ 500 w 10000"/>
                    <a:gd name="connsiteY179" fmla="*/ 8424 h 10000"/>
                    <a:gd name="connsiteX180" fmla="*/ 222 w 10000"/>
                    <a:gd name="connsiteY180" fmla="*/ 8439 h 10000"/>
                    <a:gd name="connsiteX181" fmla="*/ 0 w 10000"/>
                    <a:gd name="connsiteY181" fmla="*/ 8454 h 10000"/>
                    <a:gd name="connsiteX182" fmla="*/ 0 w 10000"/>
                    <a:gd name="connsiteY182" fmla="*/ 8454 h 10000"/>
                    <a:gd name="connsiteX183" fmla="*/ 278 w 10000"/>
                    <a:gd name="connsiteY183" fmla="*/ 8689 h 10000"/>
                    <a:gd name="connsiteX184" fmla="*/ 500 w 10000"/>
                    <a:gd name="connsiteY184" fmla="*/ 8866 h 10000"/>
                    <a:gd name="connsiteX185" fmla="*/ 722 w 10000"/>
                    <a:gd name="connsiteY185" fmla="*/ 9013 h 10000"/>
                    <a:gd name="connsiteX186" fmla="*/ 722 w 10000"/>
                    <a:gd name="connsiteY186" fmla="*/ 9013 h 10000"/>
                    <a:gd name="connsiteX187" fmla="*/ 889 w 10000"/>
                    <a:gd name="connsiteY187" fmla="*/ 9102 h 10000"/>
                    <a:gd name="connsiteX188" fmla="*/ 944 w 10000"/>
                    <a:gd name="connsiteY188" fmla="*/ 9175 h 10000"/>
                    <a:gd name="connsiteX189" fmla="*/ 1111 w 10000"/>
                    <a:gd name="connsiteY189" fmla="*/ 9249 h 10000"/>
                    <a:gd name="connsiteX190" fmla="*/ 1333 w 10000"/>
                    <a:gd name="connsiteY190" fmla="*/ 9367 h 10000"/>
                    <a:gd name="connsiteX191" fmla="*/ 1333 w 10000"/>
                    <a:gd name="connsiteY191" fmla="*/ 9367 h 10000"/>
                    <a:gd name="connsiteX192" fmla="*/ 1444 w 10000"/>
                    <a:gd name="connsiteY192" fmla="*/ 9426 h 10000"/>
                    <a:gd name="connsiteX193" fmla="*/ 1500 w 10000"/>
                    <a:gd name="connsiteY193" fmla="*/ 9470 h 10000"/>
                    <a:gd name="connsiteX194" fmla="*/ 1500 w 10000"/>
                    <a:gd name="connsiteY194" fmla="*/ 9514 h 10000"/>
                    <a:gd name="connsiteX195" fmla="*/ 1556 w 10000"/>
                    <a:gd name="connsiteY195" fmla="*/ 9529 h 10000"/>
                    <a:gd name="connsiteX196" fmla="*/ 1722 w 10000"/>
                    <a:gd name="connsiteY196" fmla="*/ 9543 h 10000"/>
                    <a:gd name="connsiteX197" fmla="*/ 1944 w 10000"/>
                    <a:gd name="connsiteY197" fmla="*/ 9558 h 10000"/>
                    <a:gd name="connsiteX198" fmla="*/ 2944 w 10000"/>
                    <a:gd name="connsiteY198" fmla="*/ 9573 h 10000"/>
                    <a:gd name="connsiteX199" fmla="*/ 2944 w 10000"/>
                    <a:gd name="connsiteY199" fmla="*/ 9573 h 10000"/>
                    <a:gd name="connsiteX200" fmla="*/ 4167 w 10000"/>
                    <a:gd name="connsiteY200" fmla="*/ 9602 h 10000"/>
                    <a:gd name="connsiteX201" fmla="*/ 4889 w 10000"/>
                    <a:gd name="connsiteY201" fmla="*/ 9647 h 10000"/>
                    <a:gd name="connsiteX202" fmla="*/ 5278 w 10000"/>
                    <a:gd name="connsiteY202" fmla="*/ 9691 h 10000"/>
                    <a:gd name="connsiteX203" fmla="*/ 5444 w 10000"/>
                    <a:gd name="connsiteY203" fmla="*/ 9705 h 10000"/>
                    <a:gd name="connsiteX204" fmla="*/ 5444 w 10000"/>
                    <a:gd name="connsiteY204" fmla="*/ 9705 h 10000"/>
                    <a:gd name="connsiteX205" fmla="*/ 5722 w 10000"/>
                    <a:gd name="connsiteY205" fmla="*/ 9735 h 10000"/>
                    <a:gd name="connsiteX206" fmla="*/ 5833 w 10000"/>
                    <a:gd name="connsiteY206" fmla="*/ 9750 h 10000"/>
                    <a:gd name="connsiteX207" fmla="*/ 5833 w 10000"/>
                    <a:gd name="connsiteY207" fmla="*/ 9750 h 10000"/>
                    <a:gd name="connsiteX208" fmla="*/ 5833 w 10000"/>
                    <a:gd name="connsiteY208" fmla="*/ 9735 h 10000"/>
                    <a:gd name="connsiteX209" fmla="*/ 5889 w 10000"/>
                    <a:gd name="connsiteY209" fmla="*/ 9720 h 10000"/>
                    <a:gd name="connsiteX210" fmla="*/ 6000 w 10000"/>
                    <a:gd name="connsiteY210" fmla="*/ 9705 h 10000"/>
                    <a:gd name="connsiteX211" fmla="*/ 6167 w 10000"/>
                    <a:gd name="connsiteY211" fmla="*/ 9691 h 10000"/>
                    <a:gd name="connsiteX212" fmla="*/ 6444 w 10000"/>
                    <a:gd name="connsiteY212" fmla="*/ 9691 h 10000"/>
                    <a:gd name="connsiteX213" fmla="*/ 6833 w 10000"/>
                    <a:gd name="connsiteY213" fmla="*/ 9705 h 10000"/>
                    <a:gd name="connsiteX214" fmla="*/ 7278 w 10000"/>
                    <a:gd name="connsiteY214" fmla="*/ 9750 h 10000"/>
                    <a:gd name="connsiteX215" fmla="*/ 7278 w 10000"/>
                    <a:gd name="connsiteY215" fmla="*/ 9750 h 10000"/>
                    <a:gd name="connsiteX216" fmla="*/ 8722 w 10000"/>
                    <a:gd name="connsiteY216" fmla="*/ 9882 h 10000"/>
                    <a:gd name="connsiteX217" fmla="*/ 10000 w 10000"/>
                    <a:gd name="connsiteY21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111 w 10000"/>
                    <a:gd name="connsiteY71" fmla="*/ 3652 h 10000"/>
                    <a:gd name="connsiteX72" fmla="*/ 2278 w 10000"/>
                    <a:gd name="connsiteY72" fmla="*/ 3608 h 10000"/>
                    <a:gd name="connsiteX73" fmla="*/ 2389 w 10000"/>
                    <a:gd name="connsiteY73" fmla="*/ 3564 h 10000"/>
                    <a:gd name="connsiteX74" fmla="*/ 2389 w 10000"/>
                    <a:gd name="connsiteY74" fmla="*/ 3505 h 10000"/>
                    <a:gd name="connsiteX75" fmla="*/ 2389 w 10000"/>
                    <a:gd name="connsiteY75" fmla="*/ 3432 h 10000"/>
                    <a:gd name="connsiteX76" fmla="*/ 2389 w 10000"/>
                    <a:gd name="connsiteY76" fmla="*/ 3432 h 10000"/>
                    <a:gd name="connsiteX77" fmla="*/ 2167 w 10000"/>
                    <a:gd name="connsiteY77" fmla="*/ 3225 h 10000"/>
                    <a:gd name="connsiteX78" fmla="*/ 1889 w 10000"/>
                    <a:gd name="connsiteY78" fmla="*/ 2946 h 10000"/>
                    <a:gd name="connsiteX79" fmla="*/ 1667 w 10000"/>
                    <a:gd name="connsiteY79" fmla="*/ 2695 h 10000"/>
                    <a:gd name="connsiteX80" fmla="*/ 1611 w 10000"/>
                    <a:gd name="connsiteY80" fmla="*/ 2622 h 10000"/>
                    <a:gd name="connsiteX81" fmla="*/ 1611 w 10000"/>
                    <a:gd name="connsiteY81" fmla="*/ 2592 h 10000"/>
                    <a:gd name="connsiteX82" fmla="*/ 1667 w 10000"/>
                    <a:gd name="connsiteY82" fmla="*/ 2577 h 10000"/>
                    <a:gd name="connsiteX83" fmla="*/ 1667 w 10000"/>
                    <a:gd name="connsiteY83" fmla="*/ 2577 h 10000"/>
                    <a:gd name="connsiteX84" fmla="*/ 2000 w 10000"/>
                    <a:gd name="connsiteY84" fmla="*/ 2563 h 10000"/>
                    <a:gd name="connsiteX85" fmla="*/ 2222 w 10000"/>
                    <a:gd name="connsiteY85" fmla="*/ 2563 h 10000"/>
                    <a:gd name="connsiteX86" fmla="*/ 2389 w 10000"/>
                    <a:gd name="connsiteY86" fmla="*/ 2577 h 10000"/>
                    <a:gd name="connsiteX87" fmla="*/ 2389 w 10000"/>
                    <a:gd name="connsiteY87" fmla="*/ 2577 h 10000"/>
                    <a:gd name="connsiteX88" fmla="*/ 2444 w 10000"/>
                    <a:gd name="connsiteY88" fmla="*/ 2577 h 10000"/>
                    <a:gd name="connsiteX89" fmla="*/ 2500 w 10000"/>
                    <a:gd name="connsiteY89" fmla="*/ 2548 h 10000"/>
                    <a:gd name="connsiteX90" fmla="*/ 2778 w 10000"/>
                    <a:gd name="connsiteY90" fmla="*/ 2459 h 10000"/>
                    <a:gd name="connsiteX91" fmla="*/ 3500 w 10000"/>
                    <a:gd name="connsiteY91" fmla="*/ 2165 h 10000"/>
                    <a:gd name="connsiteX92" fmla="*/ 4444 w 10000"/>
                    <a:gd name="connsiteY92" fmla="*/ 1738 h 10000"/>
                    <a:gd name="connsiteX93" fmla="*/ 4444 w 10000"/>
                    <a:gd name="connsiteY93" fmla="*/ 1738 h 10000"/>
                    <a:gd name="connsiteX94" fmla="*/ 4444 w 10000"/>
                    <a:gd name="connsiteY94" fmla="*/ 1679 h 10000"/>
                    <a:gd name="connsiteX95" fmla="*/ 4444 w 10000"/>
                    <a:gd name="connsiteY95" fmla="*/ 1546 h 10000"/>
                    <a:gd name="connsiteX96" fmla="*/ 4500 w 10000"/>
                    <a:gd name="connsiteY96" fmla="*/ 1458 h 10000"/>
                    <a:gd name="connsiteX97" fmla="*/ 4611 w 10000"/>
                    <a:gd name="connsiteY97" fmla="*/ 1384 h 10000"/>
                    <a:gd name="connsiteX98" fmla="*/ 4778 w 10000"/>
                    <a:gd name="connsiteY98" fmla="*/ 1296 h 10000"/>
                    <a:gd name="connsiteX99" fmla="*/ 5000 w 10000"/>
                    <a:gd name="connsiteY99" fmla="*/ 1222 h 10000"/>
                    <a:gd name="connsiteX100" fmla="*/ 5000 w 10000"/>
                    <a:gd name="connsiteY100" fmla="*/ 1222 h 10000"/>
                    <a:gd name="connsiteX101" fmla="*/ 5556 w 10000"/>
                    <a:gd name="connsiteY101" fmla="*/ 1075 h 10000"/>
                    <a:gd name="connsiteX102" fmla="*/ 6111 w 10000"/>
                    <a:gd name="connsiteY102" fmla="*/ 884 h 10000"/>
                    <a:gd name="connsiteX103" fmla="*/ 6667 w 10000"/>
                    <a:gd name="connsiteY103" fmla="*/ 707 h 10000"/>
                    <a:gd name="connsiteX104" fmla="*/ 7056 w 10000"/>
                    <a:gd name="connsiteY104" fmla="*/ 545 h 10000"/>
                    <a:gd name="connsiteX105" fmla="*/ 7056 w 10000"/>
                    <a:gd name="connsiteY105" fmla="*/ 545 h 10000"/>
                    <a:gd name="connsiteX106" fmla="*/ 7333 w 10000"/>
                    <a:gd name="connsiteY106" fmla="*/ 398 h 10000"/>
                    <a:gd name="connsiteX107" fmla="*/ 7667 w 10000"/>
                    <a:gd name="connsiteY107" fmla="*/ 221 h 10000"/>
                    <a:gd name="connsiteX108" fmla="*/ 8000 w 10000"/>
                    <a:gd name="connsiteY108" fmla="*/ 88 h 10000"/>
                    <a:gd name="connsiteX109" fmla="*/ 8167 w 10000"/>
                    <a:gd name="connsiteY109" fmla="*/ 29 h 10000"/>
                    <a:gd name="connsiteX110" fmla="*/ 8333 w 10000"/>
                    <a:gd name="connsiteY110" fmla="*/ 15 h 10000"/>
                    <a:gd name="connsiteX111" fmla="*/ 8333 w 10000"/>
                    <a:gd name="connsiteY111" fmla="*/ 15 h 10000"/>
                    <a:gd name="connsiteX112" fmla="*/ 8667 w 10000"/>
                    <a:gd name="connsiteY112" fmla="*/ 0 h 10000"/>
                    <a:gd name="connsiteX113" fmla="*/ 9111 w 10000"/>
                    <a:gd name="connsiteY113" fmla="*/ 0 h 10000"/>
                    <a:gd name="connsiteX114" fmla="*/ 10000 w 10000"/>
                    <a:gd name="connsiteY114" fmla="*/ 15 h 10000"/>
                    <a:gd name="connsiteX115" fmla="*/ 10000 w 10000"/>
                    <a:gd name="connsiteY115" fmla="*/ 9013 h 10000"/>
                    <a:gd name="connsiteX116" fmla="*/ 10000 w 10000"/>
                    <a:gd name="connsiteY116" fmla="*/ 9013 h 10000"/>
                    <a:gd name="connsiteX117" fmla="*/ 9722 w 10000"/>
                    <a:gd name="connsiteY117" fmla="*/ 8999 h 10000"/>
                    <a:gd name="connsiteX118" fmla="*/ 9389 w 10000"/>
                    <a:gd name="connsiteY118" fmla="*/ 9013 h 10000"/>
                    <a:gd name="connsiteX119" fmla="*/ 9389 w 10000"/>
                    <a:gd name="connsiteY119" fmla="*/ 9013 h 10000"/>
                    <a:gd name="connsiteX120" fmla="*/ 9278 w 10000"/>
                    <a:gd name="connsiteY120" fmla="*/ 9028 h 10000"/>
                    <a:gd name="connsiteX121" fmla="*/ 9056 w 10000"/>
                    <a:gd name="connsiteY121" fmla="*/ 9013 h 10000"/>
                    <a:gd name="connsiteX122" fmla="*/ 8889 w 10000"/>
                    <a:gd name="connsiteY122" fmla="*/ 8999 h 10000"/>
                    <a:gd name="connsiteX123" fmla="*/ 8722 w 10000"/>
                    <a:gd name="connsiteY123" fmla="*/ 8969 h 10000"/>
                    <a:gd name="connsiteX124" fmla="*/ 8611 w 10000"/>
                    <a:gd name="connsiteY124" fmla="*/ 8925 h 10000"/>
                    <a:gd name="connsiteX125" fmla="*/ 8444 w 10000"/>
                    <a:gd name="connsiteY125" fmla="*/ 8851 h 10000"/>
                    <a:gd name="connsiteX126" fmla="*/ 8444 w 10000"/>
                    <a:gd name="connsiteY126" fmla="*/ 8851 h 10000"/>
                    <a:gd name="connsiteX127" fmla="*/ 8222 w 10000"/>
                    <a:gd name="connsiteY127" fmla="*/ 8719 h 10000"/>
                    <a:gd name="connsiteX128" fmla="*/ 8111 w 10000"/>
                    <a:gd name="connsiteY128" fmla="*/ 8660 h 10000"/>
                    <a:gd name="connsiteX129" fmla="*/ 7944 w 10000"/>
                    <a:gd name="connsiteY129" fmla="*/ 8616 h 10000"/>
                    <a:gd name="connsiteX130" fmla="*/ 7778 w 10000"/>
                    <a:gd name="connsiteY130" fmla="*/ 8586 h 10000"/>
                    <a:gd name="connsiteX131" fmla="*/ 7556 w 10000"/>
                    <a:gd name="connsiteY131" fmla="*/ 8571 h 10000"/>
                    <a:gd name="connsiteX132" fmla="*/ 7333 w 10000"/>
                    <a:gd name="connsiteY132" fmla="*/ 8557 h 10000"/>
                    <a:gd name="connsiteX133" fmla="*/ 7000 w 10000"/>
                    <a:gd name="connsiteY133" fmla="*/ 8542 h 10000"/>
                    <a:gd name="connsiteX134" fmla="*/ 7000 w 10000"/>
                    <a:gd name="connsiteY134" fmla="*/ 8542 h 10000"/>
                    <a:gd name="connsiteX135" fmla="*/ 6556 w 10000"/>
                    <a:gd name="connsiteY135" fmla="*/ 8557 h 10000"/>
                    <a:gd name="connsiteX136" fmla="*/ 6222 w 10000"/>
                    <a:gd name="connsiteY136" fmla="*/ 8557 h 10000"/>
                    <a:gd name="connsiteX137" fmla="*/ 6111 w 10000"/>
                    <a:gd name="connsiteY137" fmla="*/ 8542 h 10000"/>
                    <a:gd name="connsiteX138" fmla="*/ 6056 w 10000"/>
                    <a:gd name="connsiteY138" fmla="*/ 8527 h 10000"/>
                    <a:gd name="connsiteX139" fmla="*/ 6056 w 10000"/>
                    <a:gd name="connsiteY139" fmla="*/ 8527 h 10000"/>
                    <a:gd name="connsiteX140" fmla="*/ 6056 w 10000"/>
                    <a:gd name="connsiteY140" fmla="*/ 8262 h 10000"/>
                    <a:gd name="connsiteX141" fmla="*/ 6056 w 10000"/>
                    <a:gd name="connsiteY141" fmla="*/ 8262 h 10000"/>
                    <a:gd name="connsiteX142" fmla="*/ 6056 w 10000"/>
                    <a:gd name="connsiteY142" fmla="*/ 8203 h 10000"/>
                    <a:gd name="connsiteX143" fmla="*/ 5944 w 10000"/>
                    <a:gd name="connsiteY143" fmla="*/ 8130 h 10000"/>
                    <a:gd name="connsiteX144" fmla="*/ 5889 w 10000"/>
                    <a:gd name="connsiteY144" fmla="*/ 8115 h 10000"/>
                    <a:gd name="connsiteX145" fmla="*/ 5778 w 10000"/>
                    <a:gd name="connsiteY145" fmla="*/ 8100 h 10000"/>
                    <a:gd name="connsiteX146" fmla="*/ 5667 w 10000"/>
                    <a:gd name="connsiteY146" fmla="*/ 8100 h 10000"/>
                    <a:gd name="connsiteX147" fmla="*/ 5500 w 10000"/>
                    <a:gd name="connsiteY147" fmla="*/ 8115 h 10000"/>
                    <a:gd name="connsiteX148" fmla="*/ 5500 w 10000"/>
                    <a:gd name="connsiteY148" fmla="*/ 8115 h 10000"/>
                    <a:gd name="connsiteX149" fmla="*/ 4889 w 10000"/>
                    <a:gd name="connsiteY149" fmla="*/ 8218 h 10000"/>
                    <a:gd name="connsiteX150" fmla="*/ 4611 w 10000"/>
                    <a:gd name="connsiteY150" fmla="*/ 8247 h 10000"/>
                    <a:gd name="connsiteX151" fmla="*/ 4556 w 10000"/>
                    <a:gd name="connsiteY151" fmla="*/ 8262 h 10000"/>
                    <a:gd name="connsiteX152" fmla="*/ 4500 w 10000"/>
                    <a:gd name="connsiteY152" fmla="*/ 8247 h 10000"/>
                    <a:gd name="connsiteX153" fmla="*/ 4500 w 10000"/>
                    <a:gd name="connsiteY153" fmla="*/ 8247 h 10000"/>
                    <a:gd name="connsiteX154" fmla="*/ 4222 w 10000"/>
                    <a:gd name="connsiteY154" fmla="*/ 8100 h 10000"/>
                    <a:gd name="connsiteX155" fmla="*/ 4222 w 10000"/>
                    <a:gd name="connsiteY155" fmla="*/ 8100 h 10000"/>
                    <a:gd name="connsiteX156" fmla="*/ 4111 w 10000"/>
                    <a:gd name="connsiteY156" fmla="*/ 8027 h 10000"/>
                    <a:gd name="connsiteX157" fmla="*/ 4111 w 10000"/>
                    <a:gd name="connsiteY157" fmla="*/ 7982 h 10000"/>
                    <a:gd name="connsiteX158" fmla="*/ 4111 w 10000"/>
                    <a:gd name="connsiteY158" fmla="*/ 7938 h 10000"/>
                    <a:gd name="connsiteX159" fmla="*/ 4111 w 10000"/>
                    <a:gd name="connsiteY159" fmla="*/ 7938 h 10000"/>
                    <a:gd name="connsiteX160" fmla="*/ 4278 w 10000"/>
                    <a:gd name="connsiteY160" fmla="*/ 7894 h 10000"/>
                    <a:gd name="connsiteX161" fmla="*/ 4389 w 10000"/>
                    <a:gd name="connsiteY161" fmla="*/ 7879 h 10000"/>
                    <a:gd name="connsiteX162" fmla="*/ 4389 w 10000"/>
                    <a:gd name="connsiteY162" fmla="*/ 7879 h 10000"/>
                    <a:gd name="connsiteX163" fmla="*/ 4000 w 10000"/>
                    <a:gd name="connsiteY163" fmla="*/ 7879 h 10000"/>
                    <a:gd name="connsiteX164" fmla="*/ 3722 w 10000"/>
                    <a:gd name="connsiteY164" fmla="*/ 7894 h 10000"/>
                    <a:gd name="connsiteX165" fmla="*/ 3611 w 10000"/>
                    <a:gd name="connsiteY165" fmla="*/ 7909 h 10000"/>
                    <a:gd name="connsiteX166" fmla="*/ 3556 w 10000"/>
                    <a:gd name="connsiteY166" fmla="*/ 7923 h 10000"/>
                    <a:gd name="connsiteX167" fmla="*/ 3556 w 10000"/>
                    <a:gd name="connsiteY167" fmla="*/ 7923 h 10000"/>
                    <a:gd name="connsiteX168" fmla="*/ 3444 w 10000"/>
                    <a:gd name="connsiteY168" fmla="*/ 7982 h 10000"/>
                    <a:gd name="connsiteX169" fmla="*/ 3278 w 10000"/>
                    <a:gd name="connsiteY169" fmla="*/ 8071 h 10000"/>
                    <a:gd name="connsiteX170" fmla="*/ 3000 w 10000"/>
                    <a:gd name="connsiteY170" fmla="*/ 8174 h 10000"/>
                    <a:gd name="connsiteX171" fmla="*/ 2667 w 10000"/>
                    <a:gd name="connsiteY171" fmla="*/ 8247 h 10000"/>
                    <a:gd name="connsiteX172" fmla="*/ 2667 w 10000"/>
                    <a:gd name="connsiteY172" fmla="*/ 8247 h 10000"/>
                    <a:gd name="connsiteX173" fmla="*/ 2333 w 10000"/>
                    <a:gd name="connsiteY173" fmla="*/ 8306 h 10000"/>
                    <a:gd name="connsiteX174" fmla="*/ 1833 w 10000"/>
                    <a:gd name="connsiteY174" fmla="*/ 8365 h 10000"/>
                    <a:gd name="connsiteX175" fmla="*/ 1389 w 10000"/>
                    <a:gd name="connsiteY175" fmla="*/ 8395 h 10000"/>
                    <a:gd name="connsiteX176" fmla="*/ 889 w 10000"/>
                    <a:gd name="connsiteY176" fmla="*/ 8409 h 10000"/>
                    <a:gd name="connsiteX177" fmla="*/ 889 w 10000"/>
                    <a:gd name="connsiteY177" fmla="*/ 8409 h 10000"/>
                    <a:gd name="connsiteX178" fmla="*/ 500 w 10000"/>
                    <a:gd name="connsiteY178" fmla="*/ 8424 h 10000"/>
                    <a:gd name="connsiteX179" fmla="*/ 222 w 10000"/>
                    <a:gd name="connsiteY179" fmla="*/ 8439 h 10000"/>
                    <a:gd name="connsiteX180" fmla="*/ 0 w 10000"/>
                    <a:gd name="connsiteY180" fmla="*/ 8454 h 10000"/>
                    <a:gd name="connsiteX181" fmla="*/ 0 w 10000"/>
                    <a:gd name="connsiteY181" fmla="*/ 8454 h 10000"/>
                    <a:gd name="connsiteX182" fmla="*/ 278 w 10000"/>
                    <a:gd name="connsiteY182" fmla="*/ 8689 h 10000"/>
                    <a:gd name="connsiteX183" fmla="*/ 500 w 10000"/>
                    <a:gd name="connsiteY183" fmla="*/ 8866 h 10000"/>
                    <a:gd name="connsiteX184" fmla="*/ 722 w 10000"/>
                    <a:gd name="connsiteY184" fmla="*/ 9013 h 10000"/>
                    <a:gd name="connsiteX185" fmla="*/ 722 w 10000"/>
                    <a:gd name="connsiteY185" fmla="*/ 9013 h 10000"/>
                    <a:gd name="connsiteX186" fmla="*/ 889 w 10000"/>
                    <a:gd name="connsiteY186" fmla="*/ 9102 h 10000"/>
                    <a:gd name="connsiteX187" fmla="*/ 944 w 10000"/>
                    <a:gd name="connsiteY187" fmla="*/ 9175 h 10000"/>
                    <a:gd name="connsiteX188" fmla="*/ 1111 w 10000"/>
                    <a:gd name="connsiteY188" fmla="*/ 9249 h 10000"/>
                    <a:gd name="connsiteX189" fmla="*/ 1333 w 10000"/>
                    <a:gd name="connsiteY189" fmla="*/ 9367 h 10000"/>
                    <a:gd name="connsiteX190" fmla="*/ 1333 w 10000"/>
                    <a:gd name="connsiteY190" fmla="*/ 9367 h 10000"/>
                    <a:gd name="connsiteX191" fmla="*/ 1444 w 10000"/>
                    <a:gd name="connsiteY191" fmla="*/ 9426 h 10000"/>
                    <a:gd name="connsiteX192" fmla="*/ 1500 w 10000"/>
                    <a:gd name="connsiteY192" fmla="*/ 9470 h 10000"/>
                    <a:gd name="connsiteX193" fmla="*/ 1500 w 10000"/>
                    <a:gd name="connsiteY193" fmla="*/ 9514 h 10000"/>
                    <a:gd name="connsiteX194" fmla="*/ 1556 w 10000"/>
                    <a:gd name="connsiteY194" fmla="*/ 9529 h 10000"/>
                    <a:gd name="connsiteX195" fmla="*/ 1722 w 10000"/>
                    <a:gd name="connsiteY195" fmla="*/ 9543 h 10000"/>
                    <a:gd name="connsiteX196" fmla="*/ 1944 w 10000"/>
                    <a:gd name="connsiteY196" fmla="*/ 9558 h 10000"/>
                    <a:gd name="connsiteX197" fmla="*/ 2944 w 10000"/>
                    <a:gd name="connsiteY197" fmla="*/ 9573 h 10000"/>
                    <a:gd name="connsiteX198" fmla="*/ 2944 w 10000"/>
                    <a:gd name="connsiteY198" fmla="*/ 9573 h 10000"/>
                    <a:gd name="connsiteX199" fmla="*/ 4167 w 10000"/>
                    <a:gd name="connsiteY199" fmla="*/ 9602 h 10000"/>
                    <a:gd name="connsiteX200" fmla="*/ 4889 w 10000"/>
                    <a:gd name="connsiteY200" fmla="*/ 9647 h 10000"/>
                    <a:gd name="connsiteX201" fmla="*/ 5278 w 10000"/>
                    <a:gd name="connsiteY201" fmla="*/ 9691 h 10000"/>
                    <a:gd name="connsiteX202" fmla="*/ 5444 w 10000"/>
                    <a:gd name="connsiteY202" fmla="*/ 9705 h 10000"/>
                    <a:gd name="connsiteX203" fmla="*/ 5444 w 10000"/>
                    <a:gd name="connsiteY203" fmla="*/ 9705 h 10000"/>
                    <a:gd name="connsiteX204" fmla="*/ 5722 w 10000"/>
                    <a:gd name="connsiteY204" fmla="*/ 9735 h 10000"/>
                    <a:gd name="connsiteX205" fmla="*/ 5833 w 10000"/>
                    <a:gd name="connsiteY205" fmla="*/ 9750 h 10000"/>
                    <a:gd name="connsiteX206" fmla="*/ 5833 w 10000"/>
                    <a:gd name="connsiteY206" fmla="*/ 9750 h 10000"/>
                    <a:gd name="connsiteX207" fmla="*/ 5833 w 10000"/>
                    <a:gd name="connsiteY207" fmla="*/ 9735 h 10000"/>
                    <a:gd name="connsiteX208" fmla="*/ 5889 w 10000"/>
                    <a:gd name="connsiteY208" fmla="*/ 9720 h 10000"/>
                    <a:gd name="connsiteX209" fmla="*/ 6000 w 10000"/>
                    <a:gd name="connsiteY209" fmla="*/ 9705 h 10000"/>
                    <a:gd name="connsiteX210" fmla="*/ 6167 w 10000"/>
                    <a:gd name="connsiteY210" fmla="*/ 9691 h 10000"/>
                    <a:gd name="connsiteX211" fmla="*/ 6444 w 10000"/>
                    <a:gd name="connsiteY211" fmla="*/ 9691 h 10000"/>
                    <a:gd name="connsiteX212" fmla="*/ 6833 w 10000"/>
                    <a:gd name="connsiteY212" fmla="*/ 9705 h 10000"/>
                    <a:gd name="connsiteX213" fmla="*/ 7278 w 10000"/>
                    <a:gd name="connsiteY213" fmla="*/ 9750 h 10000"/>
                    <a:gd name="connsiteX214" fmla="*/ 7278 w 10000"/>
                    <a:gd name="connsiteY214" fmla="*/ 9750 h 10000"/>
                    <a:gd name="connsiteX215" fmla="*/ 8722 w 10000"/>
                    <a:gd name="connsiteY215" fmla="*/ 9882 h 10000"/>
                    <a:gd name="connsiteX216" fmla="*/ 10000 w 10000"/>
                    <a:gd name="connsiteY21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111 w 10000"/>
                    <a:gd name="connsiteY71" fmla="*/ 3652 h 10000"/>
                    <a:gd name="connsiteX72" fmla="*/ 2389 w 10000"/>
                    <a:gd name="connsiteY72" fmla="*/ 3564 h 10000"/>
                    <a:gd name="connsiteX73" fmla="*/ 2389 w 10000"/>
                    <a:gd name="connsiteY73" fmla="*/ 3505 h 10000"/>
                    <a:gd name="connsiteX74" fmla="*/ 2389 w 10000"/>
                    <a:gd name="connsiteY74" fmla="*/ 3432 h 10000"/>
                    <a:gd name="connsiteX75" fmla="*/ 2389 w 10000"/>
                    <a:gd name="connsiteY75" fmla="*/ 3432 h 10000"/>
                    <a:gd name="connsiteX76" fmla="*/ 2167 w 10000"/>
                    <a:gd name="connsiteY76" fmla="*/ 3225 h 10000"/>
                    <a:gd name="connsiteX77" fmla="*/ 1889 w 10000"/>
                    <a:gd name="connsiteY77" fmla="*/ 2946 h 10000"/>
                    <a:gd name="connsiteX78" fmla="*/ 1667 w 10000"/>
                    <a:gd name="connsiteY78" fmla="*/ 2695 h 10000"/>
                    <a:gd name="connsiteX79" fmla="*/ 1611 w 10000"/>
                    <a:gd name="connsiteY79" fmla="*/ 2622 h 10000"/>
                    <a:gd name="connsiteX80" fmla="*/ 1611 w 10000"/>
                    <a:gd name="connsiteY80" fmla="*/ 2592 h 10000"/>
                    <a:gd name="connsiteX81" fmla="*/ 1667 w 10000"/>
                    <a:gd name="connsiteY81" fmla="*/ 2577 h 10000"/>
                    <a:gd name="connsiteX82" fmla="*/ 1667 w 10000"/>
                    <a:gd name="connsiteY82" fmla="*/ 2577 h 10000"/>
                    <a:gd name="connsiteX83" fmla="*/ 2000 w 10000"/>
                    <a:gd name="connsiteY83" fmla="*/ 2563 h 10000"/>
                    <a:gd name="connsiteX84" fmla="*/ 2222 w 10000"/>
                    <a:gd name="connsiteY84" fmla="*/ 2563 h 10000"/>
                    <a:gd name="connsiteX85" fmla="*/ 2389 w 10000"/>
                    <a:gd name="connsiteY85" fmla="*/ 2577 h 10000"/>
                    <a:gd name="connsiteX86" fmla="*/ 2389 w 10000"/>
                    <a:gd name="connsiteY86" fmla="*/ 2577 h 10000"/>
                    <a:gd name="connsiteX87" fmla="*/ 2444 w 10000"/>
                    <a:gd name="connsiteY87" fmla="*/ 2577 h 10000"/>
                    <a:gd name="connsiteX88" fmla="*/ 2500 w 10000"/>
                    <a:gd name="connsiteY88" fmla="*/ 2548 h 10000"/>
                    <a:gd name="connsiteX89" fmla="*/ 2778 w 10000"/>
                    <a:gd name="connsiteY89" fmla="*/ 2459 h 10000"/>
                    <a:gd name="connsiteX90" fmla="*/ 3500 w 10000"/>
                    <a:gd name="connsiteY90" fmla="*/ 2165 h 10000"/>
                    <a:gd name="connsiteX91" fmla="*/ 4444 w 10000"/>
                    <a:gd name="connsiteY91" fmla="*/ 1738 h 10000"/>
                    <a:gd name="connsiteX92" fmla="*/ 4444 w 10000"/>
                    <a:gd name="connsiteY92" fmla="*/ 1738 h 10000"/>
                    <a:gd name="connsiteX93" fmla="*/ 4444 w 10000"/>
                    <a:gd name="connsiteY93" fmla="*/ 1679 h 10000"/>
                    <a:gd name="connsiteX94" fmla="*/ 4444 w 10000"/>
                    <a:gd name="connsiteY94" fmla="*/ 1546 h 10000"/>
                    <a:gd name="connsiteX95" fmla="*/ 4500 w 10000"/>
                    <a:gd name="connsiteY95" fmla="*/ 1458 h 10000"/>
                    <a:gd name="connsiteX96" fmla="*/ 4611 w 10000"/>
                    <a:gd name="connsiteY96" fmla="*/ 1384 h 10000"/>
                    <a:gd name="connsiteX97" fmla="*/ 4778 w 10000"/>
                    <a:gd name="connsiteY97" fmla="*/ 1296 h 10000"/>
                    <a:gd name="connsiteX98" fmla="*/ 5000 w 10000"/>
                    <a:gd name="connsiteY98" fmla="*/ 1222 h 10000"/>
                    <a:gd name="connsiteX99" fmla="*/ 5000 w 10000"/>
                    <a:gd name="connsiteY99" fmla="*/ 1222 h 10000"/>
                    <a:gd name="connsiteX100" fmla="*/ 5556 w 10000"/>
                    <a:gd name="connsiteY100" fmla="*/ 1075 h 10000"/>
                    <a:gd name="connsiteX101" fmla="*/ 6111 w 10000"/>
                    <a:gd name="connsiteY101" fmla="*/ 884 h 10000"/>
                    <a:gd name="connsiteX102" fmla="*/ 6667 w 10000"/>
                    <a:gd name="connsiteY102" fmla="*/ 707 h 10000"/>
                    <a:gd name="connsiteX103" fmla="*/ 7056 w 10000"/>
                    <a:gd name="connsiteY103" fmla="*/ 545 h 10000"/>
                    <a:gd name="connsiteX104" fmla="*/ 7056 w 10000"/>
                    <a:gd name="connsiteY104" fmla="*/ 545 h 10000"/>
                    <a:gd name="connsiteX105" fmla="*/ 7333 w 10000"/>
                    <a:gd name="connsiteY105" fmla="*/ 398 h 10000"/>
                    <a:gd name="connsiteX106" fmla="*/ 7667 w 10000"/>
                    <a:gd name="connsiteY106" fmla="*/ 221 h 10000"/>
                    <a:gd name="connsiteX107" fmla="*/ 8000 w 10000"/>
                    <a:gd name="connsiteY107" fmla="*/ 88 h 10000"/>
                    <a:gd name="connsiteX108" fmla="*/ 8167 w 10000"/>
                    <a:gd name="connsiteY108" fmla="*/ 29 h 10000"/>
                    <a:gd name="connsiteX109" fmla="*/ 8333 w 10000"/>
                    <a:gd name="connsiteY109" fmla="*/ 15 h 10000"/>
                    <a:gd name="connsiteX110" fmla="*/ 8333 w 10000"/>
                    <a:gd name="connsiteY110" fmla="*/ 15 h 10000"/>
                    <a:gd name="connsiteX111" fmla="*/ 8667 w 10000"/>
                    <a:gd name="connsiteY111" fmla="*/ 0 h 10000"/>
                    <a:gd name="connsiteX112" fmla="*/ 9111 w 10000"/>
                    <a:gd name="connsiteY112" fmla="*/ 0 h 10000"/>
                    <a:gd name="connsiteX113" fmla="*/ 10000 w 10000"/>
                    <a:gd name="connsiteY113" fmla="*/ 15 h 10000"/>
                    <a:gd name="connsiteX114" fmla="*/ 10000 w 10000"/>
                    <a:gd name="connsiteY114" fmla="*/ 9013 h 10000"/>
                    <a:gd name="connsiteX115" fmla="*/ 10000 w 10000"/>
                    <a:gd name="connsiteY115" fmla="*/ 9013 h 10000"/>
                    <a:gd name="connsiteX116" fmla="*/ 9722 w 10000"/>
                    <a:gd name="connsiteY116" fmla="*/ 8999 h 10000"/>
                    <a:gd name="connsiteX117" fmla="*/ 9389 w 10000"/>
                    <a:gd name="connsiteY117" fmla="*/ 9013 h 10000"/>
                    <a:gd name="connsiteX118" fmla="*/ 9389 w 10000"/>
                    <a:gd name="connsiteY118" fmla="*/ 9013 h 10000"/>
                    <a:gd name="connsiteX119" fmla="*/ 9278 w 10000"/>
                    <a:gd name="connsiteY119" fmla="*/ 9028 h 10000"/>
                    <a:gd name="connsiteX120" fmla="*/ 9056 w 10000"/>
                    <a:gd name="connsiteY120" fmla="*/ 9013 h 10000"/>
                    <a:gd name="connsiteX121" fmla="*/ 8889 w 10000"/>
                    <a:gd name="connsiteY121" fmla="*/ 8999 h 10000"/>
                    <a:gd name="connsiteX122" fmla="*/ 8722 w 10000"/>
                    <a:gd name="connsiteY122" fmla="*/ 8969 h 10000"/>
                    <a:gd name="connsiteX123" fmla="*/ 8611 w 10000"/>
                    <a:gd name="connsiteY123" fmla="*/ 8925 h 10000"/>
                    <a:gd name="connsiteX124" fmla="*/ 8444 w 10000"/>
                    <a:gd name="connsiteY124" fmla="*/ 8851 h 10000"/>
                    <a:gd name="connsiteX125" fmla="*/ 8444 w 10000"/>
                    <a:gd name="connsiteY125" fmla="*/ 8851 h 10000"/>
                    <a:gd name="connsiteX126" fmla="*/ 8222 w 10000"/>
                    <a:gd name="connsiteY126" fmla="*/ 8719 h 10000"/>
                    <a:gd name="connsiteX127" fmla="*/ 8111 w 10000"/>
                    <a:gd name="connsiteY127" fmla="*/ 8660 h 10000"/>
                    <a:gd name="connsiteX128" fmla="*/ 7944 w 10000"/>
                    <a:gd name="connsiteY128" fmla="*/ 8616 h 10000"/>
                    <a:gd name="connsiteX129" fmla="*/ 7778 w 10000"/>
                    <a:gd name="connsiteY129" fmla="*/ 8586 h 10000"/>
                    <a:gd name="connsiteX130" fmla="*/ 7556 w 10000"/>
                    <a:gd name="connsiteY130" fmla="*/ 8571 h 10000"/>
                    <a:gd name="connsiteX131" fmla="*/ 7333 w 10000"/>
                    <a:gd name="connsiteY131" fmla="*/ 8557 h 10000"/>
                    <a:gd name="connsiteX132" fmla="*/ 7000 w 10000"/>
                    <a:gd name="connsiteY132" fmla="*/ 8542 h 10000"/>
                    <a:gd name="connsiteX133" fmla="*/ 7000 w 10000"/>
                    <a:gd name="connsiteY133" fmla="*/ 8542 h 10000"/>
                    <a:gd name="connsiteX134" fmla="*/ 6556 w 10000"/>
                    <a:gd name="connsiteY134" fmla="*/ 8557 h 10000"/>
                    <a:gd name="connsiteX135" fmla="*/ 6222 w 10000"/>
                    <a:gd name="connsiteY135" fmla="*/ 8557 h 10000"/>
                    <a:gd name="connsiteX136" fmla="*/ 6111 w 10000"/>
                    <a:gd name="connsiteY136" fmla="*/ 8542 h 10000"/>
                    <a:gd name="connsiteX137" fmla="*/ 6056 w 10000"/>
                    <a:gd name="connsiteY137" fmla="*/ 8527 h 10000"/>
                    <a:gd name="connsiteX138" fmla="*/ 6056 w 10000"/>
                    <a:gd name="connsiteY138" fmla="*/ 8527 h 10000"/>
                    <a:gd name="connsiteX139" fmla="*/ 6056 w 10000"/>
                    <a:gd name="connsiteY139" fmla="*/ 8262 h 10000"/>
                    <a:gd name="connsiteX140" fmla="*/ 6056 w 10000"/>
                    <a:gd name="connsiteY140" fmla="*/ 8262 h 10000"/>
                    <a:gd name="connsiteX141" fmla="*/ 6056 w 10000"/>
                    <a:gd name="connsiteY141" fmla="*/ 8203 h 10000"/>
                    <a:gd name="connsiteX142" fmla="*/ 5944 w 10000"/>
                    <a:gd name="connsiteY142" fmla="*/ 8130 h 10000"/>
                    <a:gd name="connsiteX143" fmla="*/ 5889 w 10000"/>
                    <a:gd name="connsiteY143" fmla="*/ 8115 h 10000"/>
                    <a:gd name="connsiteX144" fmla="*/ 5778 w 10000"/>
                    <a:gd name="connsiteY144" fmla="*/ 8100 h 10000"/>
                    <a:gd name="connsiteX145" fmla="*/ 5667 w 10000"/>
                    <a:gd name="connsiteY145" fmla="*/ 8100 h 10000"/>
                    <a:gd name="connsiteX146" fmla="*/ 5500 w 10000"/>
                    <a:gd name="connsiteY146" fmla="*/ 8115 h 10000"/>
                    <a:gd name="connsiteX147" fmla="*/ 5500 w 10000"/>
                    <a:gd name="connsiteY147" fmla="*/ 8115 h 10000"/>
                    <a:gd name="connsiteX148" fmla="*/ 4889 w 10000"/>
                    <a:gd name="connsiteY148" fmla="*/ 8218 h 10000"/>
                    <a:gd name="connsiteX149" fmla="*/ 4611 w 10000"/>
                    <a:gd name="connsiteY149" fmla="*/ 8247 h 10000"/>
                    <a:gd name="connsiteX150" fmla="*/ 4556 w 10000"/>
                    <a:gd name="connsiteY150" fmla="*/ 8262 h 10000"/>
                    <a:gd name="connsiteX151" fmla="*/ 4500 w 10000"/>
                    <a:gd name="connsiteY151" fmla="*/ 8247 h 10000"/>
                    <a:gd name="connsiteX152" fmla="*/ 4500 w 10000"/>
                    <a:gd name="connsiteY152" fmla="*/ 8247 h 10000"/>
                    <a:gd name="connsiteX153" fmla="*/ 4222 w 10000"/>
                    <a:gd name="connsiteY153" fmla="*/ 8100 h 10000"/>
                    <a:gd name="connsiteX154" fmla="*/ 4222 w 10000"/>
                    <a:gd name="connsiteY154" fmla="*/ 8100 h 10000"/>
                    <a:gd name="connsiteX155" fmla="*/ 4111 w 10000"/>
                    <a:gd name="connsiteY155" fmla="*/ 8027 h 10000"/>
                    <a:gd name="connsiteX156" fmla="*/ 4111 w 10000"/>
                    <a:gd name="connsiteY156" fmla="*/ 7982 h 10000"/>
                    <a:gd name="connsiteX157" fmla="*/ 4111 w 10000"/>
                    <a:gd name="connsiteY157" fmla="*/ 7938 h 10000"/>
                    <a:gd name="connsiteX158" fmla="*/ 4111 w 10000"/>
                    <a:gd name="connsiteY158" fmla="*/ 7938 h 10000"/>
                    <a:gd name="connsiteX159" fmla="*/ 4278 w 10000"/>
                    <a:gd name="connsiteY159" fmla="*/ 7894 h 10000"/>
                    <a:gd name="connsiteX160" fmla="*/ 4389 w 10000"/>
                    <a:gd name="connsiteY160" fmla="*/ 7879 h 10000"/>
                    <a:gd name="connsiteX161" fmla="*/ 4389 w 10000"/>
                    <a:gd name="connsiteY161" fmla="*/ 7879 h 10000"/>
                    <a:gd name="connsiteX162" fmla="*/ 4000 w 10000"/>
                    <a:gd name="connsiteY162" fmla="*/ 7879 h 10000"/>
                    <a:gd name="connsiteX163" fmla="*/ 3722 w 10000"/>
                    <a:gd name="connsiteY163" fmla="*/ 7894 h 10000"/>
                    <a:gd name="connsiteX164" fmla="*/ 3611 w 10000"/>
                    <a:gd name="connsiteY164" fmla="*/ 7909 h 10000"/>
                    <a:gd name="connsiteX165" fmla="*/ 3556 w 10000"/>
                    <a:gd name="connsiteY165" fmla="*/ 7923 h 10000"/>
                    <a:gd name="connsiteX166" fmla="*/ 3556 w 10000"/>
                    <a:gd name="connsiteY166" fmla="*/ 7923 h 10000"/>
                    <a:gd name="connsiteX167" fmla="*/ 3444 w 10000"/>
                    <a:gd name="connsiteY167" fmla="*/ 7982 h 10000"/>
                    <a:gd name="connsiteX168" fmla="*/ 3278 w 10000"/>
                    <a:gd name="connsiteY168" fmla="*/ 8071 h 10000"/>
                    <a:gd name="connsiteX169" fmla="*/ 3000 w 10000"/>
                    <a:gd name="connsiteY169" fmla="*/ 8174 h 10000"/>
                    <a:gd name="connsiteX170" fmla="*/ 2667 w 10000"/>
                    <a:gd name="connsiteY170" fmla="*/ 8247 h 10000"/>
                    <a:gd name="connsiteX171" fmla="*/ 2667 w 10000"/>
                    <a:gd name="connsiteY171" fmla="*/ 8247 h 10000"/>
                    <a:gd name="connsiteX172" fmla="*/ 2333 w 10000"/>
                    <a:gd name="connsiteY172" fmla="*/ 8306 h 10000"/>
                    <a:gd name="connsiteX173" fmla="*/ 1833 w 10000"/>
                    <a:gd name="connsiteY173" fmla="*/ 8365 h 10000"/>
                    <a:gd name="connsiteX174" fmla="*/ 1389 w 10000"/>
                    <a:gd name="connsiteY174" fmla="*/ 8395 h 10000"/>
                    <a:gd name="connsiteX175" fmla="*/ 889 w 10000"/>
                    <a:gd name="connsiteY175" fmla="*/ 8409 h 10000"/>
                    <a:gd name="connsiteX176" fmla="*/ 889 w 10000"/>
                    <a:gd name="connsiteY176" fmla="*/ 8409 h 10000"/>
                    <a:gd name="connsiteX177" fmla="*/ 500 w 10000"/>
                    <a:gd name="connsiteY177" fmla="*/ 8424 h 10000"/>
                    <a:gd name="connsiteX178" fmla="*/ 222 w 10000"/>
                    <a:gd name="connsiteY178" fmla="*/ 8439 h 10000"/>
                    <a:gd name="connsiteX179" fmla="*/ 0 w 10000"/>
                    <a:gd name="connsiteY179" fmla="*/ 8454 h 10000"/>
                    <a:gd name="connsiteX180" fmla="*/ 0 w 10000"/>
                    <a:gd name="connsiteY180" fmla="*/ 8454 h 10000"/>
                    <a:gd name="connsiteX181" fmla="*/ 278 w 10000"/>
                    <a:gd name="connsiteY181" fmla="*/ 8689 h 10000"/>
                    <a:gd name="connsiteX182" fmla="*/ 500 w 10000"/>
                    <a:gd name="connsiteY182" fmla="*/ 8866 h 10000"/>
                    <a:gd name="connsiteX183" fmla="*/ 722 w 10000"/>
                    <a:gd name="connsiteY183" fmla="*/ 9013 h 10000"/>
                    <a:gd name="connsiteX184" fmla="*/ 722 w 10000"/>
                    <a:gd name="connsiteY184" fmla="*/ 9013 h 10000"/>
                    <a:gd name="connsiteX185" fmla="*/ 889 w 10000"/>
                    <a:gd name="connsiteY185" fmla="*/ 9102 h 10000"/>
                    <a:gd name="connsiteX186" fmla="*/ 944 w 10000"/>
                    <a:gd name="connsiteY186" fmla="*/ 9175 h 10000"/>
                    <a:gd name="connsiteX187" fmla="*/ 1111 w 10000"/>
                    <a:gd name="connsiteY187" fmla="*/ 9249 h 10000"/>
                    <a:gd name="connsiteX188" fmla="*/ 1333 w 10000"/>
                    <a:gd name="connsiteY188" fmla="*/ 9367 h 10000"/>
                    <a:gd name="connsiteX189" fmla="*/ 1333 w 10000"/>
                    <a:gd name="connsiteY189" fmla="*/ 9367 h 10000"/>
                    <a:gd name="connsiteX190" fmla="*/ 1444 w 10000"/>
                    <a:gd name="connsiteY190" fmla="*/ 9426 h 10000"/>
                    <a:gd name="connsiteX191" fmla="*/ 1500 w 10000"/>
                    <a:gd name="connsiteY191" fmla="*/ 9470 h 10000"/>
                    <a:gd name="connsiteX192" fmla="*/ 1500 w 10000"/>
                    <a:gd name="connsiteY192" fmla="*/ 9514 h 10000"/>
                    <a:gd name="connsiteX193" fmla="*/ 1556 w 10000"/>
                    <a:gd name="connsiteY193" fmla="*/ 9529 h 10000"/>
                    <a:gd name="connsiteX194" fmla="*/ 1722 w 10000"/>
                    <a:gd name="connsiteY194" fmla="*/ 9543 h 10000"/>
                    <a:gd name="connsiteX195" fmla="*/ 1944 w 10000"/>
                    <a:gd name="connsiteY195" fmla="*/ 9558 h 10000"/>
                    <a:gd name="connsiteX196" fmla="*/ 2944 w 10000"/>
                    <a:gd name="connsiteY196" fmla="*/ 9573 h 10000"/>
                    <a:gd name="connsiteX197" fmla="*/ 2944 w 10000"/>
                    <a:gd name="connsiteY197" fmla="*/ 9573 h 10000"/>
                    <a:gd name="connsiteX198" fmla="*/ 4167 w 10000"/>
                    <a:gd name="connsiteY198" fmla="*/ 9602 h 10000"/>
                    <a:gd name="connsiteX199" fmla="*/ 4889 w 10000"/>
                    <a:gd name="connsiteY199" fmla="*/ 9647 h 10000"/>
                    <a:gd name="connsiteX200" fmla="*/ 5278 w 10000"/>
                    <a:gd name="connsiteY200" fmla="*/ 9691 h 10000"/>
                    <a:gd name="connsiteX201" fmla="*/ 5444 w 10000"/>
                    <a:gd name="connsiteY201" fmla="*/ 9705 h 10000"/>
                    <a:gd name="connsiteX202" fmla="*/ 5444 w 10000"/>
                    <a:gd name="connsiteY202" fmla="*/ 9705 h 10000"/>
                    <a:gd name="connsiteX203" fmla="*/ 5722 w 10000"/>
                    <a:gd name="connsiteY203" fmla="*/ 9735 h 10000"/>
                    <a:gd name="connsiteX204" fmla="*/ 5833 w 10000"/>
                    <a:gd name="connsiteY204" fmla="*/ 9750 h 10000"/>
                    <a:gd name="connsiteX205" fmla="*/ 5833 w 10000"/>
                    <a:gd name="connsiteY205" fmla="*/ 9750 h 10000"/>
                    <a:gd name="connsiteX206" fmla="*/ 5833 w 10000"/>
                    <a:gd name="connsiteY206" fmla="*/ 9735 h 10000"/>
                    <a:gd name="connsiteX207" fmla="*/ 5889 w 10000"/>
                    <a:gd name="connsiteY207" fmla="*/ 9720 h 10000"/>
                    <a:gd name="connsiteX208" fmla="*/ 6000 w 10000"/>
                    <a:gd name="connsiteY208" fmla="*/ 9705 h 10000"/>
                    <a:gd name="connsiteX209" fmla="*/ 6167 w 10000"/>
                    <a:gd name="connsiteY209" fmla="*/ 9691 h 10000"/>
                    <a:gd name="connsiteX210" fmla="*/ 6444 w 10000"/>
                    <a:gd name="connsiteY210" fmla="*/ 9691 h 10000"/>
                    <a:gd name="connsiteX211" fmla="*/ 6833 w 10000"/>
                    <a:gd name="connsiteY211" fmla="*/ 9705 h 10000"/>
                    <a:gd name="connsiteX212" fmla="*/ 7278 w 10000"/>
                    <a:gd name="connsiteY212" fmla="*/ 9750 h 10000"/>
                    <a:gd name="connsiteX213" fmla="*/ 7278 w 10000"/>
                    <a:gd name="connsiteY213" fmla="*/ 9750 h 10000"/>
                    <a:gd name="connsiteX214" fmla="*/ 8722 w 10000"/>
                    <a:gd name="connsiteY214" fmla="*/ 9882 h 10000"/>
                    <a:gd name="connsiteX215" fmla="*/ 10000 w 10000"/>
                    <a:gd name="connsiteY21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111 w 10000"/>
                    <a:gd name="connsiteY71" fmla="*/ 3652 h 10000"/>
                    <a:gd name="connsiteX72" fmla="*/ 2389 w 10000"/>
                    <a:gd name="connsiteY72" fmla="*/ 3505 h 10000"/>
                    <a:gd name="connsiteX73" fmla="*/ 2389 w 10000"/>
                    <a:gd name="connsiteY73" fmla="*/ 3432 h 10000"/>
                    <a:gd name="connsiteX74" fmla="*/ 2389 w 10000"/>
                    <a:gd name="connsiteY74" fmla="*/ 3432 h 10000"/>
                    <a:gd name="connsiteX75" fmla="*/ 2167 w 10000"/>
                    <a:gd name="connsiteY75" fmla="*/ 3225 h 10000"/>
                    <a:gd name="connsiteX76" fmla="*/ 1889 w 10000"/>
                    <a:gd name="connsiteY76" fmla="*/ 2946 h 10000"/>
                    <a:gd name="connsiteX77" fmla="*/ 1667 w 10000"/>
                    <a:gd name="connsiteY77" fmla="*/ 2695 h 10000"/>
                    <a:gd name="connsiteX78" fmla="*/ 1611 w 10000"/>
                    <a:gd name="connsiteY78" fmla="*/ 2622 h 10000"/>
                    <a:gd name="connsiteX79" fmla="*/ 1611 w 10000"/>
                    <a:gd name="connsiteY79" fmla="*/ 2592 h 10000"/>
                    <a:gd name="connsiteX80" fmla="*/ 1667 w 10000"/>
                    <a:gd name="connsiteY80" fmla="*/ 2577 h 10000"/>
                    <a:gd name="connsiteX81" fmla="*/ 1667 w 10000"/>
                    <a:gd name="connsiteY81" fmla="*/ 2577 h 10000"/>
                    <a:gd name="connsiteX82" fmla="*/ 2000 w 10000"/>
                    <a:gd name="connsiteY82" fmla="*/ 2563 h 10000"/>
                    <a:gd name="connsiteX83" fmla="*/ 2222 w 10000"/>
                    <a:gd name="connsiteY83" fmla="*/ 2563 h 10000"/>
                    <a:gd name="connsiteX84" fmla="*/ 2389 w 10000"/>
                    <a:gd name="connsiteY84" fmla="*/ 2577 h 10000"/>
                    <a:gd name="connsiteX85" fmla="*/ 2389 w 10000"/>
                    <a:gd name="connsiteY85" fmla="*/ 2577 h 10000"/>
                    <a:gd name="connsiteX86" fmla="*/ 2444 w 10000"/>
                    <a:gd name="connsiteY86" fmla="*/ 2577 h 10000"/>
                    <a:gd name="connsiteX87" fmla="*/ 2500 w 10000"/>
                    <a:gd name="connsiteY87" fmla="*/ 2548 h 10000"/>
                    <a:gd name="connsiteX88" fmla="*/ 2778 w 10000"/>
                    <a:gd name="connsiteY88" fmla="*/ 2459 h 10000"/>
                    <a:gd name="connsiteX89" fmla="*/ 3500 w 10000"/>
                    <a:gd name="connsiteY89" fmla="*/ 2165 h 10000"/>
                    <a:gd name="connsiteX90" fmla="*/ 4444 w 10000"/>
                    <a:gd name="connsiteY90" fmla="*/ 1738 h 10000"/>
                    <a:gd name="connsiteX91" fmla="*/ 4444 w 10000"/>
                    <a:gd name="connsiteY91" fmla="*/ 1738 h 10000"/>
                    <a:gd name="connsiteX92" fmla="*/ 4444 w 10000"/>
                    <a:gd name="connsiteY92" fmla="*/ 1679 h 10000"/>
                    <a:gd name="connsiteX93" fmla="*/ 4444 w 10000"/>
                    <a:gd name="connsiteY93" fmla="*/ 1546 h 10000"/>
                    <a:gd name="connsiteX94" fmla="*/ 4500 w 10000"/>
                    <a:gd name="connsiteY94" fmla="*/ 1458 h 10000"/>
                    <a:gd name="connsiteX95" fmla="*/ 4611 w 10000"/>
                    <a:gd name="connsiteY95" fmla="*/ 1384 h 10000"/>
                    <a:gd name="connsiteX96" fmla="*/ 4778 w 10000"/>
                    <a:gd name="connsiteY96" fmla="*/ 1296 h 10000"/>
                    <a:gd name="connsiteX97" fmla="*/ 5000 w 10000"/>
                    <a:gd name="connsiteY97" fmla="*/ 1222 h 10000"/>
                    <a:gd name="connsiteX98" fmla="*/ 5000 w 10000"/>
                    <a:gd name="connsiteY98" fmla="*/ 1222 h 10000"/>
                    <a:gd name="connsiteX99" fmla="*/ 5556 w 10000"/>
                    <a:gd name="connsiteY99" fmla="*/ 1075 h 10000"/>
                    <a:gd name="connsiteX100" fmla="*/ 6111 w 10000"/>
                    <a:gd name="connsiteY100" fmla="*/ 884 h 10000"/>
                    <a:gd name="connsiteX101" fmla="*/ 6667 w 10000"/>
                    <a:gd name="connsiteY101" fmla="*/ 707 h 10000"/>
                    <a:gd name="connsiteX102" fmla="*/ 7056 w 10000"/>
                    <a:gd name="connsiteY102" fmla="*/ 545 h 10000"/>
                    <a:gd name="connsiteX103" fmla="*/ 7056 w 10000"/>
                    <a:gd name="connsiteY103" fmla="*/ 545 h 10000"/>
                    <a:gd name="connsiteX104" fmla="*/ 7333 w 10000"/>
                    <a:gd name="connsiteY104" fmla="*/ 398 h 10000"/>
                    <a:gd name="connsiteX105" fmla="*/ 7667 w 10000"/>
                    <a:gd name="connsiteY105" fmla="*/ 221 h 10000"/>
                    <a:gd name="connsiteX106" fmla="*/ 8000 w 10000"/>
                    <a:gd name="connsiteY106" fmla="*/ 88 h 10000"/>
                    <a:gd name="connsiteX107" fmla="*/ 8167 w 10000"/>
                    <a:gd name="connsiteY107" fmla="*/ 29 h 10000"/>
                    <a:gd name="connsiteX108" fmla="*/ 8333 w 10000"/>
                    <a:gd name="connsiteY108" fmla="*/ 15 h 10000"/>
                    <a:gd name="connsiteX109" fmla="*/ 8333 w 10000"/>
                    <a:gd name="connsiteY109" fmla="*/ 15 h 10000"/>
                    <a:gd name="connsiteX110" fmla="*/ 8667 w 10000"/>
                    <a:gd name="connsiteY110" fmla="*/ 0 h 10000"/>
                    <a:gd name="connsiteX111" fmla="*/ 9111 w 10000"/>
                    <a:gd name="connsiteY111" fmla="*/ 0 h 10000"/>
                    <a:gd name="connsiteX112" fmla="*/ 10000 w 10000"/>
                    <a:gd name="connsiteY112" fmla="*/ 15 h 10000"/>
                    <a:gd name="connsiteX113" fmla="*/ 10000 w 10000"/>
                    <a:gd name="connsiteY113" fmla="*/ 9013 h 10000"/>
                    <a:gd name="connsiteX114" fmla="*/ 10000 w 10000"/>
                    <a:gd name="connsiteY114" fmla="*/ 9013 h 10000"/>
                    <a:gd name="connsiteX115" fmla="*/ 9722 w 10000"/>
                    <a:gd name="connsiteY115" fmla="*/ 8999 h 10000"/>
                    <a:gd name="connsiteX116" fmla="*/ 9389 w 10000"/>
                    <a:gd name="connsiteY116" fmla="*/ 9013 h 10000"/>
                    <a:gd name="connsiteX117" fmla="*/ 9389 w 10000"/>
                    <a:gd name="connsiteY117" fmla="*/ 9013 h 10000"/>
                    <a:gd name="connsiteX118" fmla="*/ 9278 w 10000"/>
                    <a:gd name="connsiteY118" fmla="*/ 9028 h 10000"/>
                    <a:gd name="connsiteX119" fmla="*/ 9056 w 10000"/>
                    <a:gd name="connsiteY119" fmla="*/ 9013 h 10000"/>
                    <a:gd name="connsiteX120" fmla="*/ 8889 w 10000"/>
                    <a:gd name="connsiteY120" fmla="*/ 8999 h 10000"/>
                    <a:gd name="connsiteX121" fmla="*/ 8722 w 10000"/>
                    <a:gd name="connsiteY121" fmla="*/ 8969 h 10000"/>
                    <a:gd name="connsiteX122" fmla="*/ 8611 w 10000"/>
                    <a:gd name="connsiteY122" fmla="*/ 8925 h 10000"/>
                    <a:gd name="connsiteX123" fmla="*/ 8444 w 10000"/>
                    <a:gd name="connsiteY123" fmla="*/ 8851 h 10000"/>
                    <a:gd name="connsiteX124" fmla="*/ 8444 w 10000"/>
                    <a:gd name="connsiteY124" fmla="*/ 8851 h 10000"/>
                    <a:gd name="connsiteX125" fmla="*/ 8222 w 10000"/>
                    <a:gd name="connsiteY125" fmla="*/ 8719 h 10000"/>
                    <a:gd name="connsiteX126" fmla="*/ 8111 w 10000"/>
                    <a:gd name="connsiteY126" fmla="*/ 8660 h 10000"/>
                    <a:gd name="connsiteX127" fmla="*/ 7944 w 10000"/>
                    <a:gd name="connsiteY127" fmla="*/ 8616 h 10000"/>
                    <a:gd name="connsiteX128" fmla="*/ 7778 w 10000"/>
                    <a:gd name="connsiteY128" fmla="*/ 8586 h 10000"/>
                    <a:gd name="connsiteX129" fmla="*/ 7556 w 10000"/>
                    <a:gd name="connsiteY129" fmla="*/ 8571 h 10000"/>
                    <a:gd name="connsiteX130" fmla="*/ 7333 w 10000"/>
                    <a:gd name="connsiteY130" fmla="*/ 8557 h 10000"/>
                    <a:gd name="connsiteX131" fmla="*/ 7000 w 10000"/>
                    <a:gd name="connsiteY131" fmla="*/ 8542 h 10000"/>
                    <a:gd name="connsiteX132" fmla="*/ 7000 w 10000"/>
                    <a:gd name="connsiteY132" fmla="*/ 8542 h 10000"/>
                    <a:gd name="connsiteX133" fmla="*/ 6556 w 10000"/>
                    <a:gd name="connsiteY133" fmla="*/ 8557 h 10000"/>
                    <a:gd name="connsiteX134" fmla="*/ 6222 w 10000"/>
                    <a:gd name="connsiteY134" fmla="*/ 8557 h 10000"/>
                    <a:gd name="connsiteX135" fmla="*/ 6111 w 10000"/>
                    <a:gd name="connsiteY135" fmla="*/ 8542 h 10000"/>
                    <a:gd name="connsiteX136" fmla="*/ 6056 w 10000"/>
                    <a:gd name="connsiteY136" fmla="*/ 8527 h 10000"/>
                    <a:gd name="connsiteX137" fmla="*/ 6056 w 10000"/>
                    <a:gd name="connsiteY137" fmla="*/ 8527 h 10000"/>
                    <a:gd name="connsiteX138" fmla="*/ 6056 w 10000"/>
                    <a:gd name="connsiteY138" fmla="*/ 8262 h 10000"/>
                    <a:gd name="connsiteX139" fmla="*/ 6056 w 10000"/>
                    <a:gd name="connsiteY139" fmla="*/ 8262 h 10000"/>
                    <a:gd name="connsiteX140" fmla="*/ 6056 w 10000"/>
                    <a:gd name="connsiteY140" fmla="*/ 8203 h 10000"/>
                    <a:gd name="connsiteX141" fmla="*/ 5944 w 10000"/>
                    <a:gd name="connsiteY141" fmla="*/ 8130 h 10000"/>
                    <a:gd name="connsiteX142" fmla="*/ 5889 w 10000"/>
                    <a:gd name="connsiteY142" fmla="*/ 8115 h 10000"/>
                    <a:gd name="connsiteX143" fmla="*/ 5778 w 10000"/>
                    <a:gd name="connsiteY143" fmla="*/ 8100 h 10000"/>
                    <a:gd name="connsiteX144" fmla="*/ 5667 w 10000"/>
                    <a:gd name="connsiteY144" fmla="*/ 8100 h 10000"/>
                    <a:gd name="connsiteX145" fmla="*/ 5500 w 10000"/>
                    <a:gd name="connsiteY145" fmla="*/ 8115 h 10000"/>
                    <a:gd name="connsiteX146" fmla="*/ 5500 w 10000"/>
                    <a:gd name="connsiteY146" fmla="*/ 8115 h 10000"/>
                    <a:gd name="connsiteX147" fmla="*/ 4889 w 10000"/>
                    <a:gd name="connsiteY147" fmla="*/ 8218 h 10000"/>
                    <a:gd name="connsiteX148" fmla="*/ 4611 w 10000"/>
                    <a:gd name="connsiteY148" fmla="*/ 8247 h 10000"/>
                    <a:gd name="connsiteX149" fmla="*/ 4556 w 10000"/>
                    <a:gd name="connsiteY149" fmla="*/ 8262 h 10000"/>
                    <a:gd name="connsiteX150" fmla="*/ 4500 w 10000"/>
                    <a:gd name="connsiteY150" fmla="*/ 8247 h 10000"/>
                    <a:gd name="connsiteX151" fmla="*/ 4500 w 10000"/>
                    <a:gd name="connsiteY151" fmla="*/ 8247 h 10000"/>
                    <a:gd name="connsiteX152" fmla="*/ 4222 w 10000"/>
                    <a:gd name="connsiteY152" fmla="*/ 8100 h 10000"/>
                    <a:gd name="connsiteX153" fmla="*/ 4222 w 10000"/>
                    <a:gd name="connsiteY153" fmla="*/ 8100 h 10000"/>
                    <a:gd name="connsiteX154" fmla="*/ 4111 w 10000"/>
                    <a:gd name="connsiteY154" fmla="*/ 8027 h 10000"/>
                    <a:gd name="connsiteX155" fmla="*/ 4111 w 10000"/>
                    <a:gd name="connsiteY155" fmla="*/ 7982 h 10000"/>
                    <a:gd name="connsiteX156" fmla="*/ 4111 w 10000"/>
                    <a:gd name="connsiteY156" fmla="*/ 7938 h 10000"/>
                    <a:gd name="connsiteX157" fmla="*/ 4111 w 10000"/>
                    <a:gd name="connsiteY157" fmla="*/ 7938 h 10000"/>
                    <a:gd name="connsiteX158" fmla="*/ 4278 w 10000"/>
                    <a:gd name="connsiteY158" fmla="*/ 7894 h 10000"/>
                    <a:gd name="connsiteX159" fmla="*/ 4389 w 10000"/>
                    <a:gd name="connsiteY159" fmla="*/ 7879 h 10000"/>
                    <a:gd name="connsiteX160" fmla="*/ 4389 w 10000"/>
                    <a:gd name="connsiteY160" fmla="*/ 7879 h 10000"/>
                    <a:gd name="connsiteX161" fmla="*/ 4000 w 10000"/>
                    <a:gd name="connsiteY161" fmla="*/ 7879 h 10000"/>
                    <a:gd name="connsiteX162" fmla="*/ 3722 w 10000"/>
                    <a:gd name="connsiteY162" fmla="*/ 7894 h 10000"/>
                    <a:gd name="connsiteX163" fmla="*/ 3611 w 10000"/>
                    <a:gd name="connsiteY163" fmla="*/ 7909 h 10000"/>
                    <a:gd name="connsiteX164" fmla="*/ 3556 w 10000"/>
                    <a:gd name="connsiteY164" fmla="*/ 7923 h 10000"/>
                    <a:gd name="connsiteX165" fmla="*/ 3556 w 10000"/>
                    <a:gd name="connsiteY165" fmla="*/ 7923 h 10000"/>
                    <a:gd name="connsiteX166" fmla="*/ 3444 w 10000"/>
                    <a:gd name="connsiteY166" fmla="*/ 7982 h 10000"/>
                    <a:gd name="connsiteX167" fmla="*/ 3278 w 10000"/>
                    <a:gd name="connsiteY167" fmla="*/ 8071 h 10000"/>
                    <a:gd name="connsiteX168" fmla="*/ 3000 w 10000"/>
                    <a:gd name="connsiteY168" fmla="*/ 8174 h 10000"/>
                    <a:gd name="connsiteX169" fmla="*/ 2667 w 10000"/>
                    <a:gd name="connsiteY169" fmla="*/ 8247 h 10000"/>
                    <a:gd name="connsiteX170" fmla="*/ 2667 w 10000"/>
                    <a:gd name="connsiteY170" fmla="*/ 8247 h 10000"/>
                    <a:gd name="connsiteX171" fmla="*/ 2333 w 10000"/>
                    <a:gd name="connsiteY171" fmla="*/ 8306 h 10000"/>
                    <a:gd name="connsiteX172" fmla="*/ 1833 w 10000"/>
                    <a:gd name="connsiteY172" fmla="*/ 8365 h 10000"/>
                    <a:gd name="connsiteX173" fmla="*/ 1389 w 10000"/>
                    <a:gd name="connsiteY173" fmla="*/ 8395 h 10000"/>
                    <a:gd name="connsiteX174" fmla="*/ 889 w 10000"/>
                    <a:gd name="connsiteY174" fmla="*/ 8409 h 10000"/>
                    <a:gd name="connsiteX175" fmla="*/ 889 w 10000"/>
                    <a:gd name="connsiteY175" fmla="*/ 8409 h 10000"/>
                    <a:gd name="connsiteX176" fmla="*/ 500 w 10000"/>
                    <a:gd name="connsiteY176" fmla="*/ 8424 h 10000"/>
                    <a:gd name="connsiteX177" fmla="*/ 222 w 10000"/>
                    <a:gd name="connsiteY177" fmla="*/ 8439 h 10000"/>
                    <a:gd name="connsiteX178" fmla="*/ 0 w 10000"/>
                    <a:gd name="connsiteY178" fmla="*/ 8454 h 10000"/>
                    <a:gd name="connsiteX179" fmla="*/ 0 w 10000"/>
                    <a:gd name="connsiteY179" fmla="*/ 8454 h 10000"/>
                    <a:gd name="connsiteX180" fmla="*/ 278 w 10000"/>
                    <a:gd name="connsiteY180" fmla="*/ 8689 h 10000"/>
                    <a:gd name="connsiteX181" fmla="*/ 500 w 10000"/>
                    <a:gd name="connsiteY181" fmla="*/ 8866 h 10000"/>
                    <a:gd name="connsiteX182" fmla="*/ 722 w 10000"/>
                    <a:gd name="connsiteY182" fmla="*/ 9013 h 10000"/>
                    <a:gd name="connsiteX183" fmla="*/ 722 w 10000"/>
                    <a:gd name="connsiteY183" fmla="*/ 9013 h 10000"/>
                    <a:gd name="connsiteX184" fmla="*/ 889 w 10000"/>
                    <a:gd name="connsiteY184" fmla="*/ 9102 h 10000"/>
                    <a:gd name="connsiteX185" fmla="*/ 944 w 10000"/>
                    <a:gd name="connsiteY185" fmla="*/ 9175 h 10000"/>
                    <a:gd name="connsiteX186" fmla="*/ 1111 w 10000"/>
                    <a:gd name="connsiteY186" fmla="*/ 9249 h 10000"/>
                    <a:gd name="connsiteX187" fmla="*/ 1333 w 10000"/>
                    <a:gd name="connsiteY187" fmla="*/ 9367 h 10000"/>
                    <a:gd name="connsiteX188" fmla="*/ 1333 w 10000"/>
                    <a:gd name="connsiteY188" fmla="*/ 9367 h 10000"/>
                    <a:gd name="connsiteX189" fmla="*/ 1444 w 10000"/>
                    <a:gd name="connsiteY189" fmla="*/ 9426 h 10000"/>
                    <a:gd name="connsiteX190" fmla="*/ 1500 w 10000"/>
                    <a:gd name="connsiteY190" fmla="*/ 9470 h 10000"/>
                    <a:gd name="connsiteX191" fmla="*/ 1500 w 10000"/>
                    <a:gd name="connsiteY191" fmla="*/ 9514 h 10000"/>
                    <a:gd name="connsiteX192" fmla="*/ 1556 w 10000"/>
                    <a:gd name="connsiteY192" fmla="*/ 9529 h 10000"/>
                    <a:gd name="connsiteX193" fmla="*/ 1722 w 10000"/>
                    <a:gd name="connsiteY193" fmla="*/ 9543 h 10000"/>
                    <a:gd name="connsiteX194" fmla="*/ 1944 w 10000"/>
                    <a:gd name="connsiteY194" fmla="*/ 9558 h 10000"/>
                    <a:gd name="connsiteX195" fmla="*/ 2944 w 10000"/>
                    <a:gd name="connsiteY195" fmla="*/ 9573 h 10000"/>
                    <a:gd name="connsiteX196" fmla="*/ 2944 w 10000"/>
                    <a:gd name="connsiteY196" fmla="*/ 9573 h 10000"/>
                    <a:gd name="connsiteX197" fmla="*/ 4167 w 10000"/>
                    <a:gd name="connsiteY197" fmla="*/ 9602 h 10000"/>
                    <a:gd name="connsiteX198" fmla="*/ 4889 w 10000"/>
                    <a:gd name="connsiteY198" fmla="*/ 9647 h 10000"/>
                    <a:gd name="connsiteX199" fmla="*/ 5278 w 10000"/>
                    <a:gd name="connsiteY199" fmla="*/ 9691 h 10000"/>
                    <a:gd name="connsiteX200" fmla="*/ 5444 w 10000"/>
                    <a:gd name="connsiteY200" fmla="*/ 9705 h 10000"/>
                    <a:gd name="connsiteX201" fmla="*/ 5444 w 10000"/>
                    <a:gd name="connsiteY201" fmla="*/ 9705 h 10000"/>
                    <a:gd name="connsiteX202" fmla="*/ 5722 w 10000"/>
                    <a:gd name="connsiteY202" fmla="*/ 9735 h 10000"/>
                    <a:gd name="connsiteX203" fmla="*/ 5833 w 10000"/>
                    <a:gd name="connsiteY203" fmla="*/ 9750 h 10000"/>
                    <a:gd name="connsiteX204" fmla="*/ 5833 w 10000"/>
                    <a:gd name="connsiteY204" fmla="*/ 9750 h 10000"/>
                    <a:gd name="connsiteX205" fmla="*/ 5833 w 10000"/>
                    <a:gd name="connsiteY205" fmla="*/ 9735 h 10000"/>
                    <a:gd name="connsiteX206" fmla="*/ 5889 w 10000"/>
                    <a:gd name="connsiteY206" fmla="*/ 9720 h 10000"/>
                    <a:gd name="connsiteX207" fmla="*/ 6000 w 10000"/>
                    <a:gd name="connsiteY207" fmla="*/ 9705 h 10000"/>
                    <a:gd name="connsiteX208" fmla="*/ 6167 w 10000"/>
                    <a:gd name="connsiteY208" fmla="*/ 9691 h 10000"/>
                    <a:gd name="connsiteX209" fmla="*/ 6444 w 10000"/>
                    <a:gd name="connsiteY209" fmla="*/ 9691 h 10000"/>
                    <a:gd name="connsiteX210" fmla="*/ 6833 w 10000"/>
                    <a:gd name="connsiteY210" fmla="*/ 9705 h 10000"/>
                    <a:gd name="connsiteX211" fmla="*/ 7278 w 10000"/>
                    <a:gd name="connsiteY211" fmla="*/ 9750 h 10000"/>
                    <a:gd name="connsiteX212" fmla="*/ 7278 w 10000"/>
                    <a:gd name="connsiteY212" fmla="*/ 9750 h 10000"/>
                    <a:gd name="connsiteX213" fmla="*/ 8722 w 10000"/>
                    <a:gd name="connsiteY213" fmla="*/ 9882 h 10000"/>
                    <a:gd name="connsiteX214" fmla="*/ 10000 w 10000"/>
                    <a:gd name="connsiteY21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389 w 10000"/>
                    <a:gd name="connsiteY71" fmla="*/ 3505 h 10000"/>
                    <a:gd name="connsiteX72" fmla="*/ 2389 w 10000"/>
                    <a:gd name="connsiteY72" fmla="*/ 3432 h 10000"/>
                    <a:gd name="connsiteX73" fmla="*/ 2389 w 10000"/>
                    <a:gd name="connsiteY73" fmla="*/ 3432 h 10000"/>
                    <a:gd name="connsiteX74" fmla="*/ 2167 w 10000"/>
                    <a:gd name="connsiteY74" fmla="*/ 3225 h 10000"/>
                    <a:gd name="connsiteX75" fmla="*/ 1889 w 10000"/>
                    <a:gd name="connsiteY75" fmla="*/ 2946 h 10000"/>
                    <a:gd name="connsiteX76" fmla="*/ 1667 w 10000"/>
                    <a:gd name="connsiteY76" fmla="*/ 2695 h 10000"/>
                    <a:gd name="connsiteX77" fmla="*/ 1611 w 10000"/>
                    <a:gd name="connsiteY77" fmla="*/ 2622 h 10000"/>
                    <a:gd name="connsiteX78" fmla="*/ 1611 w 10000"/>
                    <a:gd name="connsiteY78" fmla="*/ 2592 h 10000"/>
                    <a:gd name="connsiteX79" fmla="*/ 1667 w 10000"/>
                    <a:gd name="connsiteY79" fmla="*/ 2577 h 10000"/>
                    <a:gd name="connsiteX80" fmla="*/ 1667 w 10000"/>
                    <a:gd name="connsiteY80" fmla="*/ 2577 h 10000"/>
                    <a:gd name="connsiteX81" fmla="*/ 2000 w 10000"/>
                    <a:gd name="connsiteY81" fmla="*/ 2563 h 10000"/>
                    <a:gd name="connsiteX82" fmla="*/ 2222 w 10000"/>
                    <a:gd name="connsiteY82" fmla="*/ 2563 h 10000"/>
                    <a:gd name="connsiteX83" fmla="*/ 2389 w 10000"/>
                    <a:gd name="connsiteY83" fmla="*/ 2577 h 10000"/>
                    <a:gd name="connsiteX84" fmla="*/ 2389 w 10000"/>
                    <a:gd name="connsiteY84" fmla="*/ 2577 h 10000"/>
                    <a:gd name="connsiteX85" fmla="*/ 2444 w 10000"/>
                    <a:gd name="connsiteY85" fmla="*/ 2577 h 10000"/>
                    <a:gd name="connsiteX86" fmla="*/ 2500 w 10000"/>
                    <a:gd name="connsiteY86" fmla="*/ 2548 h 10000"/>
                    <a:gd name="connsiteX87" fmla="*/ 2778 w 10000"/>
                    <a:gd name="connsiteY87" fmla="*/ 2459 h 10000"/>
                    <a:gd name="connsiteX88" fmla="*/ 3500 w 10000"/>
                    <a:gd name="connsiteY88" fmla="*/ 2165 h 10000"/>
                    <a:gd name="connsiteX89" fmla="*/ 4444 w 10000"/>
                    <a:gd name="connsiteY89" fmla="*/ 1738 h 10000"/>
                    <a:gd name="connsiteX90" fmla="*/ 4444 w 10000"/>
                    <a:gd name="connsiteY90" fmla="*/ 1738 h 10000"/>
                    <a:gd name="connsiteX91" fmla="*/ 4444 w 10000"/>
                    <a:gd name="connsiteY91" fmla="*/ 1679 h 10000"/>
                    <a:gd name="connsiteX92" fmla="*/ 4444 w 10000"/>
                    <a:gd name="connsiteY92" fmla="*/ 1546 h 10000"/>
                    <a:gd name="connsiteX93" fmla="*/ 4500 w 10000"/>
                    <a:gd name="connsiteY93" fmla="*/ 1458 h 10000"/>
                    <a:gd name="connsiteX94" fmla="*/ 4611 w 10000"/>
                    <a:gd name="connsiteY94" fmla="*/ 1384 h 10000"/>
                    <a:gd name="connsiteX95" fmla="*/ 4778 w 10000"/>
                    <a:gd name="connsiteY95" fmla="*/ 1296 h 10000"/>
                    <a:gd name="connsiteX96" fmla="*/ 5000 w 10000"/>
                    <a:gd name="connsiteY96" fmla="*/ 1222 h 10000"/>
                    <a:gd name="connsiteX97" fmla="*/ 5000 w 10000"/>
                    <a:gd name="connsiteY97" fmla="*/ 1222 h 10000"/>
                    <a:gd name="connsiteX98" fmla="*/ 5556 w 10000"/>
                    <a:gd name="connsiteY98" fmla="*/ 1075 h 10000"/>
                    <a:gd name="connsiteX99" fmla="*/ 6111 w 10000"/>
                    <a:gd name="connsiteY99" fmla="*/ 884 h 10000"/>
                    <a:gd name="connsiteX100" fmla="*/ 6667 w 10000"/>
                    <a:gd name="connsiteY100" fmla="*/ 707 h 10000"/>
                    <a:gd name="connsiteX101" fmla="*/ 7056 w 10000"/>
                    <a:gd name="connsiteY101" fmla="*/ 545 h 10000"/>
                    <a:gd name="connsiteX102" fmla="*/ 7056 w 10000"/>
                    <a:gd name="connsiteY102" fmla="*/ 545 h 10000"/>
                    <a:gd name="connsiteX103" fmla="*/ 7333 w 10000"/>
                    <a:gd name="connsiteY103" fmla="*/ 398 h 10000"/>
                    <a:gd name="connsiteX104" fmla="*/ 7667 w 10000"/>
                    <a:gd name="connsiteY104" fmla="*/ 221 h 10000"/>
                    <a:gd name="connsiteX105" fmla="*/ 8000 w 10000"/>
                    <a:gd name="connsiteY105" fmla="*/ 88 h 10000"/>
                    <a:gd name="connsiteX106" fmla="*/ 8167 w 10000"/>
                    <a:gd name="connsiteY106" fmla="*/ 29 h 10000"/>
                    <a:gd name="connsiteX107" fmla="*/ 8333 w 10000"/>
                    <a:gd name="connsiteY107" fmla="*/ 15 h 10000"/>
                    <a:gd name="connsiteX108" fmla="*/ 8333 w 10000"/>
                    <a:gd name="connsiteY108" fmla="*/ 15 h 10000"/>
                    <a:gd name="connsiteX109" fmla="*/ 8667 w 10000"/>
                    <a:gd name="connsiteY109" fmla="*/ 0 h 10000"/>
                    <a:gd name="connsiteX110" fmla="*/ 9111 w 10000"/>
                    <a:gd name="connsiteY110" fmla="*/ 0 h 10000"/>
                    <a:gd name="connsiteX111" fmla="*/ 10000 w 10000"/>
                    <a:gd name="connsiteY111" fmla="*/ 15 h 10000"/>
                    <a:gd name="connsiteX112" fmla="*/ 10000 w 10000"/>
                    <a:gd name="connsiteY112" fmla="*/ 9013 h 10000"/>
                    <a:gd name="connsiteX113" fmla="*/ 10000 w 10000"/>
                    <a:gd name="connsiteY113" fmla="*/ 9013 h 10000"/>
                    <a:gd name="connsiteX114" fmla="*/ 9722 w 10000"/>
                    <a:gd name="connsiteY114" fmla="*/ 8999 h 10000"/>
                    <a:gd name="connsiteX115" fmla="*/ 9389 w 10000"/>
                    <a:gd name="connsiteY115" fmla="*/ 9013 h 10000"/>
                    <a:gd name="connsiteX116" fmla="*/ 9389 w 10000"/>
                    <a:gd name="connsiteY116" fmla="*/ 9013 h 10000"/>
                    <a:gd name="connsiteX117" fmla="*/ 9278 w 10000"/>
                    <a:gd name="connsiteY117" fmla="*/ 9028 h 10000"/>
                    <a:gd name="connsiteX118" fmla="*/ 9056 w 10000"/>
                    <a:gd name="connsiteY118" fmla="*/ 9013 h 10000"/>
                    <a:gd name="connsiteX119" fmla="*/ 8889 w 10000"/>
                    <a:gd name="connsiteY119" fmla="*/ 8999 h 10000"/>
                    <a:gd name="connsiteX120" fmla="*/ 8722 w 10000"/>
                    <a:gd name="connsiteY120" fmla="*/ 8969 h 10000"/>
                    <a:gd name="connsiteX121" fmla="*/ 8611 w 10000"/>
                    <a:gd name="connsiteY121" fmla="*/ 8925 h 10000"/>
                    <a:gd name="connsiteX122" fmla="*/ 8444 w 10000"/>
                    <a:gd name="connsiteY122" fmla="*/ 8851 h 10000"/>
                    <a:gd name="connsiteX123" fmla="*/ 8444 w 10000"/>
                    <a:gd name="connsiteY123" fmla="*/ 8851 h 10000"/>
                    <a:gd name="connsiteX124" fmla="*/ 8222 w 10000"/>
                    <a:gd name="connsiteY124" fmla="*/ 8719 h 10000"/>
                    <a:gd name="connsiteX125" fmla="*/ 8111 w 10000"/>
                    <a:gd name="connsiteY125" fmla="*/ 8660 h 10000"/>
                    <a:gd name="connsiteX126" fmla="*/ 7944 w 10000"/>
                    <a:gd name="connsiteY126" fmla="*/ 8616 h 10000"/>
                    <a:gd name="connsiteX127" fmla="*/ 7778 w 10000"/>
                    <a:gd name="connsiteY127" fmla="*/ 8586 h 10000"/>
                    <a:gd name="connsiteX128" fmla="*/ 7556 w 10000"/>
                    <a:gd name="connsiteY128" fmla="*/ 8571 h 10000"/>
                    <a:gd name="connsiteX129" fmla="*/ 7333 w 10000"/>
                    <a:gd name="connsiteY129" fmla="*/ 8557 h 10000"/>
                    <a:gd name="connsiteX130" fmla="*/ 7000 w 10000"/>
                    <a:gd name="connsiteY130" fmla="*/ 8542 h 10000"/>
                    <a:gd name="connsiteX131" fmla="*/ 7000 w 10000"/>
                    <a:gd name="connsiteY131" fmla="*/ 8542 h 10000"/>
                    <a:gd name="connsiteX132" fmla="*/ 6556 w 10000"/>
                    <a:gd name="connsiteY132" fmla="*/ 8557 h 10000"/>
                    <a:gd name="connsiteX133" fmla="*/ 6222 w 10000"/>
                    <a:gd name="connsiteY133" fmla="*/ 8557 h 10000"/>
                    <a:gd name="connsiteX134" fmla="*/ 6111 w 10000"/>
                    <a:gd name="connsiteY134" fmla="*/ 8542 h 10000"/>
                    <a:gd name="connsiteX135" fmla="*/ 6056 w 10000"/>
                    <a:gd name="connsiteY135" fmla="*/ 8527 h 10000"/>
                    <a:gd name="connsiteX136" fmla="*/ 6056 w 10000"/>
                    <a:gd name="connsiteY136" fmla="*/ 8527 h 10000"/>
                    <a:gd name="connsiteX137" fmla="*/ 6056 w 10000"/>
                    <a:gd name="connsiteY137" fmla="*/ 8262 h 10000"/>
                    <a:gd name="connsiteX138" fmla="*/ 6056 w 10000"/>
                    <a:gd name="connsiteY138" fmla="*/ 8262 h 10000"/>
                    <a:gd name="connsiteX139" fmla="*/ 6056 w 10000"/>
                    <a:gd name="connsiteY139" fmla="*/ 8203 h 10000"/>
                    <a:gd name="connsiteX140" fmla="*/ 5944 w 10000"/>
                    <a:gd name="connsiteY140" fmla="*/ 8130 h 10000"/>
                    <a:gd name="connsiteX141" fmla="*/ 5889 w 10000"/>
                    <a:gd name="connsiteY141" fmla="*/ 8115 h 10000"/>
                    <a:gd name="connsiteX142" fmla="*/ 5778 w 10000"/>
                    <a:gd name="connsiteY142" fmla="*/ 8100 h 10000"/>
                    <a:gd name="connsiteX143" fmla="*/ 5667 w 10000"/>
                    <a:gd name="connsiteY143" fmla="*/ 8100 h 10000"/>
                    <a:gd name="connsiteX144" fmla="*/ 5500 w 10000"/>
                    <a:gd name="connsiteY144" fmla="*/ 8115 h 10000"/>
                    <a:gd name="connsiteX145" fmla="*/ 5500 w 10000"/>
                    <a:gd name="connsiteY145" fmla="*/ 8115 h 10000"/>
                    <a:gd name="connsiteX146" fmla="*/ 4889 w 10000"/>
                    <a:gd name="connsiteY146" fmla="*/ 8218 h 10000"/>
                    <a:gd name="connsiteX147" fmla="*/ 4611 w 10000"/>
                    <a:gd name="connsiteY147" fmla="*/ 8247 h 10000"/>
                    <a:gd name="connsiteX148" fmla="*/ 4556 w 10000"/>
                    <a:gd name="connsiteY148" fmla="*/ 8262 h 10000"/>
                    <a:gd name="connsiteX149" fmla="*/ 4500 w 10000"/>
                    <a:gd name="connsiteY149" fmla="*/ 8247 h 10000"/>
                    <a:gd name="connsiteX150" fmla="*/ 4500 w 10000"/>
                    <a:gd name="connsiteY150" fmla="*/ 8247 h 10000"/>
                    <a:gd name="connsiteX151" fmla="*/ 4222 w 10000"/>
                    <a:gd name="connsiteY151" fmla="*/ 8100 h 10000"/>
                    <a:gd name="connsiteX152" fmla="*/ 4222 w 10000"/>
                    <a:gd name="connsiteY152" fmla="*/ 8100 h 10000"/>
                    <a:gd name="connsiteX153" fmla="*/ 4111 w 10000"/>
                    <a:gd name="connsiteY153" fmla="*/ 8027 h 10000"/>
                    <a:gd name="connsiteX154" fmla="*/ 4111 w 10000"/>
                    <a:gd name="connsiteY154" fmla="*/ 7982 h 10000"/>
                    <a:gd name="connsiteX155" fmla="*/ 4111 w 10000"/>
                    <a:gd name="connsiteY155" fmla="*/ 7938 h 10000"/>
                    <a:gd name="connsiteX156" fmla="*/ 4111 w 10000"/>
                    <a:gd name="connsiteY156" fmla="*/ 7938 h 10000"/>
                    <a:gd name="connsiteX157" fmla="*/ 4278 w 10000"/>
                    <a:gd name="connsiteY157" fmla="*/ 7894 h 10000"/>
                    <a:gd name="connsiteX158" fmla="*/ 4389 w 10000"/>
                    <a:gd name="connsiteY158" fmla="*/ 7879 h 10000"/>
                    <a:gd name="connsiteX159" fmla="*/ 4389 w 10000"/>
                    <a:gd name="connsiteY159" fmla="*/ 7879 h 10000"/>
                    <a:gd name="connsiteX160" fmla="*/ 4000 w 10000"/>
                    <a:gd name="connsiteY160" fmla="*/ 7879 h 10000"/>
                    <a:gd name="connsiteX161" fmla="*/ 3722 w 10000"/>
                    <a:gd name="connsiteY161" fmla="*/ 7894 h 10000"/>
                    <a:gd name="connsiteX162" fmla="*/ 3611 w 10000"/>
                    <a:gd name="connsiteY162" fmla="*/ 7909 h 10000"/>
                    <a:gd name="connsiteX163" fmla="*/ 3556 w 10000"/>
                    <a:gd name="connsiteY163" fmla="*/ 7923 h 10000"/>
                    <a:gd name="connsiteX164" fmla="*/ 3556 w 10000"/>
                    <a:gd name="connsiteY164" fmla="*/ 7923 h 10000"/>
                    <a:gd name="connsiteX165" fmla="*/ 3444 w 10000"/>
                    <a:gd name="connsiteY165" fmla="*/ 7982 h 10000"/>
                    <a:gd name="connsiteX166" fmla="*/ 3278 w 10000"/>
                    <a:gd name="connsiteY166" fmla="*/ 8071 h 10000"/>
                    <a:gd name="connsiteX167" fmla="*/ 3000 w 10000"/>
                    <a:gd name="connsiteY167" fmla="*/ 8174 h 10000"/>
                    <a:gd name="connsiteX168" fmla="*/ 2667 w 10000"/>
                    <a:gd name="connsiteY168" fmla="*/ 8247 h 10000"/>
                    <a:gd name="connsiteX169" fmla="*/ 2667 w 10000"/>
                    <a:gd name="connsiteY169" fmla="*/ 8247 h 10000"/>
                    <a:gd name="connsiteX170" fmla="*/ 2333 w 10000"/>
                    <a:gd name="connsiteY170" fmla="*/ 8306 h 10000"/>
                    <a:gd name="connsiteX171" fmla="*/ 1833 w 10000"/>
                    <a:gd name="connsiteY171" fmla="*/ 8365 h 10000"/>
                    <a:gd name="connsiteX172" fmla="*/ 1389 w 10000"/>
                    <a:gd name="connsiteY172" fmla="*/ 8395 h 10000"/>
                    <a:gd name="connsiteX173" fmla="*/ 889 w 10000"/>
                    <a:gd name="connsiteY173" fmla="*/ 8409 h 10000"/>
                    <a:gd name="connsiteX174" fmla="*/ 889 w 10000"/>
                    <a:gd name="connsiteY174" fmla="*/ 8409 h 10000"/>
                    <a:gd name="connsiteX175" fmla="*/ 500 w 10000"/>
                    <a:gd name="connsiteY175" fmla="*/ 8424 h 10000"/>
                    <a:gd name="connsiteX176" fmla="*/ 222 w 10000"/>
                    <a:gd name="connsiteY176" fmla="*/ 8439 h 10000"/>
                    <a:gd name="connsiteX177" fmla="*/ 0 w 10000"/>
                    <a:gd name="connsiteY177" fmla="*/ 8454 h 10000"/>
                    <a:gd name="connsiteX178" fmla="*/ 0 w 10000"/>
                    <a:gd name="connsiteY178" fmla="*/ 8454 h 10000"/>
                    <a:gd name="connsiteX179" fmla="*/ 278 w 10000"/>
                    <a:gd name="connsiteY179" fmla="*/ 8689 h 10000"/>
                    <a:gd name="connsiteX180" fmla="*/ 500 w 10000"/>
                    <a:gd name="connsiteY180" fmla="*/ 8866 h 10000"/>
                    <a:gd name="connsiteX181" fmla="*/ 722 w 10000"/>
                    <a:gd name="connsiteY181" fmla="*/ 9013 h 10000"/>
                    <a:gd name="connsiteX182" fmla="*/ 722 w 10000"/>
                    <a:gd name="connsiteY182" fmla="*/ 9013 h 10000"/>
                    <a:gd name="connsiteX183" fmla="*/ 889 w 10000"/>
                    <a:gd name="connsiteY183" fmla="*/ 9102 h 10000"/>
                    <a:gd name="connsiteX184" fmla="*/ 944 w 10000"/>
                    <a:gd name="connsiteY184" fmla="*/ 9175 h 10000"/>
                    <a:gd name="connsiteX185" fmla="*/ 1111 w 10000"/>
                    <a:gd name="connsiteY185" fmla="*/ 9249 h 10000"/>
                    <a:gd name="connsiteX186" fmla="*/ 1333 w 10000"/>
                    <a:gd name="connsiteY186" fmla="*/ 9367 h 10000"/>
                    <a:gd name="connsiteX187" fmla="*/ 1333 w 10000"/>
                    <a:gd name="connsiteY187" fmla="*/ 9367 h 10000"/>
                    <a:gd name="connsiteX188" fmla="*/ 1444 w 10000"/>
                    <a:gd name="connsiteY188" fmla="*/ 9426 h 10000"/>
                    <a:gd name="connsiteX189" fmla="*/ 1500 w 10000"/>
                    <a:gd name="connsiteY189" fmla="*/ 9470 h 10000"/>
                    <a:gd name="connsiteX190" fmla="*/ 1500 w 10000"/>
                    <a:gd name="connsiteY190" fmla="*/ 9514 h 10000"/>
                    <a:gd name="connsiteX191" fmla="*/ 1556 w 10000"/>
                    <a:gd name="connsiteY191" fmla="*/ 9529 h 10000"/>
                    <a:gd name="connsiteX192" fmla="*/ 1722 w 10000"/>
                    <a:gd name="connsiteY192" fmla="*/ 9543 h 10000"/>
                    <a:gd name="connsiteX193" fmla="*/ 1944 w 10000"/>
                    <a:gd name="connsiteY193" fmla="*/ 9558 h 10000"/>
                    <a:gd name="connsiteX194" fmla="*/ 2944 w 10000"/>
                    <a:gd name="connsiteY194" fmla="*/ 9573 h 10000"/>
                    <a:gd name="connsiteX195" fmla="*/ 2944 w 10000"/>
                    <a:gd name="connsiteY195" fmla="*/ 9573 h 10000"/>
                    <a:gd name="connsiteX196" fmla="*/ 4167 w 10000"/>
                    <a:gd name="connsiteY196" fmla="*/ 9602 h 10000"/>
                    <a:gd name="connsiteX197" fmla="*/ 4889 w 10000"/>
                    <a:gd name="connsiteY197" fmla="*/ 9647 h 10000"/>
                    <a:gd name="connsiteX198" fmla="*/ 5278 w 10000"/>
                    <a:gd name="connsiteY198" fmla="*/ 9691 h 10000"/>
                    <a:gd name="connsiteX199" fmla="*/ 5444 w 10000"/>
                    <a:gd name="connsiteY199" fmla="*/ 9705 h 10000"/>
                    <a:gd name="connsiteX200" fmla="*/ 5444 w 10000"/>
                    <a:gd name="connsiteY200" fmla="*/ 9705 h 10000"/>
                    <a:gd name="connsiteX201" fmla="*/ 5722 w 10000"/>
                    <a:gd name="connsiteY201" fmla="*/ 9735 h 10000"/>
                    <a:gd name="connsiteX202" fmla="*/ 5833 w 10000"/>
                    <a:gd name="connsiteY202" fmla="*/ 9750 h 10000"/>
                    <a:gd name="connsiteX203" fmla="*/ 5833 w 10000"/>
                    <a:gd name="connsiteY203" fmla="*/ 9750 h 10000"/>
                    <a:gd name="connsiteX204" fmla="*/ 5833 w 10000"/>
                    <a:gd name="connsiteY204" fmla="*/ 9735 h 10000"/>
                    <a:gd name="connsiteX205" fmla="*/ 5889 w 10000"/>
                    <a:gd name="connsiteY205" fmla="*/ 9720 h 10000"/>
                    <a:gd name="connsiteX206" fmla="*/ 6000 w 10000"/>
                    <a:gd name="connsiteY206" fmla="*/ 9705 h 10000"/>
                    <a:gd name="connsiteX207" fmla="*/ 6167 w 10000"/>
                    <a:gd name="connsiteY207" fmla="*/ 9691 h 10000"/>
                    <a:gd name="connsiteX208" fmla="*/ 6444 w 10000"/>
                    <a:gd name="connsiteY208" fmla="*/ 9691 h 10000"/>
                    <a:gd name="connsiteX209" fmla="*/ 6833 w 10000"/>
                    <a:gd name="connsiteY209" fmla="*/ 9705 h 10000"/>
                    <a:gd name="connsiteX210" fmla="*/ 7278 w 10000"/>
                    <a:gd name="connsiteY210" fmla="*/ 9750 h 10000"/>
                    <a:gd name="connsiteX211" fmla="*/ 7278 w 10000"/>
                    <a:gd name="connsiteY211" fmla="*/ 9750 h 10000"/>
                    <a:gd name="connsiteX212" fmla="*/ 8722 w 10000"/>
                    <a:gd name="connsiteY212" fmla="*/ 9882 h 10000"/>
                    <a:gd name="connsiteX213" fmla="*/ 10000 w 10000"/>
                    <a:gd name="connsiteY21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389 w 10000"/>
                    <a:gd name="connsiteY71" fmla="*/ 3505 h 10000"/>
                    <a:gd name="connsiteX72" fmla="*/ 2389 w 10000"/>
                    <a:gd name="connsiteY72" fmla="*/ 3432 h 10000"/>
                    <a:gd name="connsiteX73" fmla="*/ 2167 w 10000"/>
                    <a:gd name="connsiteY73" fmla="*/ 3225 h 10000"/>
                    <a:gd name="connsiteX74" fmla="*/ 1889 w 10000"/>
                    <a:gd name="connsiteY74" fmla="*/ 2946 h 10000"/>
                    <a:gd name="connsiteX75" fmla="*/ 1667 w 10000"/>
                    <a:gd name="connsiteY75" fmla="*/ 2695 h 10000"/>
                    <a:gd name="connsiteX76" fmla="*/ 1611 w 10000"/>
                    <a:gd name="connsiteY76" fmla="*/ 2622 h 10000"/>
                    <a:gd name="connsiteX77" fmla="*/ 1611 w 10000"/>
                    <a:gd name="connsiteY77" fmla="*/ 2592 h 10000"/>
                    <a:gd name="connsiteX78" fmla="*/ 1667 w 10000"/>
                    <a:gd name="connsiteY78" fmla="*/ 2577 h 10000"/>
                    <a:gd name="connsiteX79" fmla="*/ 1667 w 10000"/>
                    <a:gd name="connsiteY79" fmla="*/ 2577 h 10000"/>
                    <a:gd name="connsiteX80" fmla="*/ 2000 w 10000"/>
                    <a:gd name="connsiteY80" fmla="*/ 2563 h 10000"/>
                    <a:gd name="connsiteX81" fmla="*/ 2222 w 10000"/>
                    <a:gd name="connsiteY81" fmla="*/ 2563 h 10000"/>
                    <a:gd name="connsiteX82" fmla="*/ 2389 w 10000"/>
                    <a:gd name="connsiteY82" fmla="*/ 2577 h 10000"/>
                    <a:gd name="connsiteX83" fmla="*/ 2389 w 10000"/>
                    <a:gd name="connsiteY83" fmla="*/ 2577 h 10000"/>
                    <a:gd name="connsiteX84" fmla="*/ 2444 w 10000"/>
                    <a:gd name="connsiteY84" fmla="*/ 2577 h 10000"/>
                    <a:gd name="connsiteX85" fmla="*/ 2500 w 10000"/>
                    <a:gd name="connsiteY85" fmla="*/ 2548 h 10000"/>
                    <a:gd name="connsiteX86" fmla="*/ 2778 w 10000"/>
                    <a:gd name="connsiteY86" fmla="*/ 2459 h 10000"/>
                    <a:gd name="connsiteX87" fmla="*/ 3500 w 10000"/>
                    <a:gd name="connsiteY87" fmla="*/ 2165 h 10000"/>
                    <a:gd name="connsiteX88" fmla="*/ 4444 w 10000"/>
                    <a:gd name="connsiteY88" fmla="*/ 1738 h 10000"/>
                    <a:gd name="connsiteX89" fmla="*/ 4444 w 10000"/>
                    <a:gd name="connsiteY89" fmla="*/ 1738 h 10000"/>
                    <a:gd name="connsiteX90" fmla="*/ 4444 w 10000"/>
                    <a:gd name="connsiteY90" fmla="*/ 1679 h 10000"/>
                    <a:gd name="connsiteX91" fmla="*/ 4444 w 10000"/>
                    <a:gd name="connsiteY91" fmla="*/ 1546 h 10000"/>
                    <a:gd name="connsiteX92" fmla="*/ 4500 w 10000"/>
                    <a:gd name="connsiteY92" fmla="*/ 1458 h 10000"/>
                    <a:gd name="connsiteX93" fmla="*/ 4611 w 10000"/>
                    <a:gd name="connsiteY93" fmla="*/ 1384 h 10000"/>
                    <a:gd name="connsiteX94" fmla="*/ 4778 w 10000"/>
                    <a:gd name="connsiteY94" fmla="*/ 1296 h 10000"/>
                    <a:gd name="connsiteX95" fmla="*/ 5000 w 10000"/>
                    <a:gd name="connsiteY95" fmla="*/ 1222 h 10000"/>
                    <a:gd name="connsiteX96" fmla="*/ 5000 w 10000"/>
                    <a:gd name="connsiteY96" fmla="*/ 1222 h 10000"/>
                    <a:gd name="connsiteX97" fmla="*/ 5556 w 10000"/>
                    <a:gd name="connsiteY97" fmla="*/ 1075 h 10000"/>
                    <a:gd name="connsiteX98" fmla="*/ 6111 w 10000"/>
                    <a:gd name="connsiteY98" fmla="*/ 884 h 10000"/>
                    <a:gd name="connsiteX99" fmla="*/ 6667 w 10000"/>
                    <a:gd name="connsiteY99" fmla="*/ 707 h 10000"/>
                    <a:gd name="connsiteX100" fmla="*/ 7056 w 10000"/>
                    <a:gd name="connsiteY100" fmla="*/ 545 h 10000"/>
                    <a:gd name="connsiteX101" fmla="*/ 7056 w 10000"/>
                    <a:gd name="connsiteY101" fmla="*/ 545 h 10000"/>
                    <a:gd name="connsiteX102" fmla="*/ 7333 w 10000"/>
                    <a:gd name="connsiteY102" fmla="*/ 398 h 10000"/>
                    <a:gd name="connsiteX103" fmla="*/ 7667 w 10000"/>
                    <a:gd name="connsiteY103" fmla="*/ 221 h 10000"/>
                    <a:gd name="connsiteX104" fmla="*/ 8000 w 10000"/>
                    <a:gd name="connsiteY104" fmla="*/ 88 h 10000"/>
                    <a:gd name="connsiteX105" fmla="*/ 8167 w 10000"/>
                    <a:gd name="connsiteY105" fmla="*/ 29 h 10000"/>
                    <a:gd name="connsiteX106" fmla="*/ 8333 w 10000"/>
                    <a:gd name="connsiteY106" fmla="*/ 15 h 10000"/>
                    <a:gd name="connsiteX107" fmla="*/ 8333 w 10000"/>
                    <a:gd name="connsiteY107" fmla="*/ 15 h 10000"/>
                    <a:gd name="connsiteX108" fmla="*/ 8667 w 10000"/>
                    <a:gd name="connsiteY108" fmla="*/ 0 h 10000"/>
                    <a:gd name="connsiteX109" fmla="*/ 9111 w 10000"/>
                    <a:gd name="connsiteY109" fmla="*/ 0 h 10000"/>
                    <a:gd name="connsiteX110" fmla="*/ 10000 w 10000"/>
                    <a:gd name="connsiteY110" fmla="*/ 15 h 10000"/>
                    <a:gd name="connsiteX111" fmla="*/ 10000 w 10000"/>
                    <a:gd name="connsiteY111" fmla="*/ 9013 h 10000"/>
                    <a:gd name="connsiteX112" fmla="*/ 10000 w 10000"/>
                    <a:gd name="connsiteY112" fmla="*/ 9013 h 10000"/>
                    <a:gd name="connsiteX113" fmla="*/ 9722 w 10000"/>
                    <a:gd name="connsiteY113" fmla="*/ 8999 h 10000"/>
                    <a:gd name="connsiteX114" fmla="*/ 9389 w 10000"/>
                    <a:gd name="connsiteY114" fmla="*/ 9013 h 10000"/>
                    <a:gd name="connsiteX115" fmla="*/ 9389 w 10000"/>
                    <a:gd name="connsiteY115" fmla="*/ 9013 h 10000"/>
                    <a:gd name="connsiteX116" fmla="*/ 9278 w 10000"/>
                    <a:gd name="connsiteY116" fmla="*/ 9028 h 10000"/>
                    <a:gd name="connsiteX117" fmla="*/ 9056 w 10000"/>
                    <a:gd name="connsiteY117" fmla="*/ 9013 h 10000"/>
                    <a:gd name="connsiteX118" fmla="*/ 8889 w 10000"/>
                    <a:gd name="connsiteY118" fmla="*/ 8999 h 10000"/>
                    <a:gd name="connsiteX119" fmla="*/ 8722 w 10000"/>
                    <a:gd name="connsiteY119" fmla="*/ 8969 h 10000"/>
                    <a:gd name="connsiteX120" fmla="*/ 8611 w 10000"/>
                    <a:gd name="connsiteY120" fmla="*/ 8925 h 10000"/>
                    <a:gd name="connsiteX121" fmla="*/ 8444 w 10000"/>
                    <a:gd name="connsiteY121" fmla="*/ 8851 h 10000"/>
                    <a:gd name="connsiteX122" fmla="*/ 8444 w 10000"/>
                    <a:gd name="connsiteY122" fmla="*/ 8851 h 10000"/>
                    <a:gd name="connsiteX123" fmla="*/ 8222 w 10000"/>
                    <a:gd name="connsiteY123" fmla="*/ 8719 h 10000"/>
                    <a:gd name="connsiteX124" fmla="*/ 8111 w 10000"/>
                    <a:gd name="connsiteY124" fmla="*/ 8660 h 10000"/>
                    <a:gd name="connsiteX125" fmla="*/ 7944 w 10000"/>
                    <a:gd name="connsiteY125" fmla="*/ 8616 h 10000"/>
                    <a:gd name="connsiteX126" fmla="*/ 7778 w 10000"/>
                    <a:gd name="connsiteY126" fmla="*/ 8586 h 10000"/>
                    <a:gd name="connsiteX127" fmla="*/ 7556 w 10000"/>
                    <a:gd name="connsiteY127" fmla="*/ 8571 h 10000"/>
                    <a:gd name="connsiteX128" fmla="*/ 7333 w 10000"/>
                    <a:gd name="connsiteY128" fmla="*/ 8557 h 10000"/>
                    <a:gd name="connsiteX129" fmla="*/ 7000 w 10000"/>
                    <a:gd name="connsiteY129" fmla="*/ 8542 h 10000"/>
                    <a:gd name="connsiteX130" fmla="*/ 7000 w 10000"/>
                    <a:gd name="connsiteY130" fmla="*/ 8542 h 10000"/>
                    <a:gd name="connsiteX131" fmla="*/ 6556 w 10000"/>
                    <a:gd name="connsiteY131" fmla="*/ 8557 h 10000"/>
                    <a:gd name="connsiteX132" fmla="*/ 6222 w 10000"/>
                    <a:gd name="connsiteY132" fmla="*/ 8557 h 10000"/>
                    <a:gd name="connsiteX133" fmla="*/ 6111 w 10000"/>
                    <a:gd name="connsiteY133" fmla="*/ 8542 h 10000"/>
                    <a:gd name="connsiteX134" fmla="*/ 6056 w 10000"/>
                    <a:gd name="connsiteY134" fmla="*/ 8527 h 10000"/>
                    <a:gd name="connsiteX135" fmla="*/ 6056 w 10000"/>
                    <a:gd name="connsiteY135" fmla="*/ 8527 h 10000"/>
                    <a:gd name="connsiteX136" fmla="*/ 6056 w 10000"/>
                    <a:gd name="connsiteY136" fmla="*/ 8262 h 10000"/>
                    <a:gd name="connsiteX137" fmla="*/ 6056 w 10000"/>
                    <a:gd name="connsiteY137" fmla="*/ 8262 h 10000"/>
                    <a:gd name="connsiteX138" fmla="*/ 6056 w 10000"/>
                    <a:gd name="connsiteY138" fmla="*/ 8203 h 10000"/>
                    <a:gd name="connsiteX139" fmla="*/ 5944 w 10000"/>
                    <a:gd name="connsiteY139" fmla="*/ 8130 h 10000"/>
                    <a:gd name="connsiteX140" fmla="*/ 5889 w 10000"/>
                    <a:gd name="connsiteY140" fmla="*/ 8115 h 10000"/>
                    <a:gd name="connsiteX141" fmla="*/ 5778 w 10000"/>
                    <a:gd name="connsiteY141" fmla="*/ 8100 h 10000"/>
                    <a:gd name="connsiteX142" fmla="*/ 5667 w 10000"/>
                    <a:gd name="connsiteY142" fmla="*/ 8100 h 10000"/>
                    <a:gd name="connsiteX143" fmla="*/ 5500 w 10000"/>
                    <a:gd name="connsiteY143" fmla="*/ 8115 h 10000"/>
                    <a:gd name="connsiteX144" fmla="*/ 5500 w 10000"/>
                    <a:gd name="connsiteY144" fmla="*/ 8115 h 10000"/>
                    <a:gd name="connsiteX145" fmla="*/ 4889 w 10000"/>
                    <a:gd name="connsiteY145" fmla="*/ 8218 h 10000"/>
                    <a:gd name="connsiteX146" fmla="*/ 4611 w 10000"/>
                    <a:gd name="connsiteY146" fmla="*/ 8247 h 10000"/>
                    <a:gd name="connsiteX147" fmla="*/ 4556 w 10000"/>
                    <a:gd name="connsiteY147" fmla="*/ 8262 h 10000"/>
                    <a:gd name="connsiteX148" fmla="*/ 4500 w 10000"/>
                    <a:gd name="connsiteY148" fmla="*/ 8247 h 10000"/>
                    <a:gd name="connsiteX149" fmla="*/ 4500 w 10000"/>
                    <a:gd name="connsiteY149" fmla="*/ 8247 h 10000"/>
                    <a:gd name="connsiteX150" fmla="*/ 4222 w 10000"/>
                    <a:gd name="connsiteY150" fmla="*/ 8100 h 10000"/>
                    <a:gd name="connsiteX151" fmla="*/ 4222 w 10000"/>
                    <a:gd name="connsiteY151" fmla="*/ 8100 h 10000"/>
                    <a:gd name="connsiteX152" fmla="*/ 4111 w 10000"/>
                    <a:gd name="connsiteY152" fmla="*/ 8027 h 10000"/>
                    <a:gd name="connsiteX153" fmla="*/ 4111 w 10000"/>
                    <a:gd name="connsiteY153" fmla="*/ 7982 h 10000"/>
                    <a:gd name="connsiteX154" fmla="*/ 4111 w 10000"/>
                    <a:gd name="connsiteY154" fmla="*/ 7938 h 10000"/>
                    <a:gd name="connsiteX155" fmla="*/ 4111 w 10000"/>
                    <a:gd name="connsiteY155" fmla="*/ 7938 h 10000"/>
                    <a:gd name="connsiteX156" fmla="*/ 4278 w 10000"/>
                    <a:gd name="connsiteY156" fmla="*/ 7894 h 10000"/>
                    <a:gd name="connsiteX157" fmla="*/ 4389 w 10000"/>
                    <a:gd name="connsiteY157" fmla="*/ 7879 h 10000"/>
                    <a:gd name="connsiteX158" fmla="*/ 4389 w 10000"/>
                    <a:gd name="connsiteY158" fmla="*/ 7879 h 10000"/>
                    <a:gd name="connsiteX159" fmla="*/ 4000 w 10000"/>
                    <a:gd name="connsiteY159" fmla="*/ 7879 h 10000"/>
                    <a:gd name="connsiteX160" fmla="*/ 3722 w 10000"/>
                    <a:gd name="connsiteY160" fmla="*/ 7894 h 10000"/>
                    <a:gd name="connsiteX161" fmla="*/ 3611 w 10000"/>
                    <a:gd name="connsiteY161" fmla="*/ 7909 h 10000"/>
                    <a:gd name="connsiteX162" fmla="*/ 3556 w 10000"/>
                    <a:gd name="connsiteY162" fmla="*/ 7923 h 10000"/>
                    <a:gd name="connsiteX163" fmla="*/ 3556 w 10000"/>
                    <a:gd name="connsiteY163" fmla="*/ 7923 h 10000"/>
                    <a:gd name="connsiteX164" fmla="*/ 3444 w 10000"/>
                    <a:gd name="connsiteY164" fmla="*/ 7982 h 10000"/>
                    <a:gd name="connsiteX165" fmla="*/ 3278 w 10000"/>
                    <a:gd name="connsiteY165" fmla="*/ 8071 h 10000"/>
                    <a:gd name="connsiteX166" fmla="*/ 3000 w 10000"/>
                    <a:gd name="connsiteY166" fmla="*/ 8174 h 10000"/>
                    <a:gd name="connsiteX167" fmla="*/ 2667 w 10000"/>
                    <a:gd name="connsiteY167" fmla="*/ 8247 h 10000"/>
                    <a:gd name="connsiteX168" fmla="*/ 2667 w 10000"/>
                    <a:gd name="connsiteY168" fmla="*/ 8247 h 10000"/>
                    <a:gd name="connsiteX169" fmla="*/ 2333 w 10000"/>
                    <a:gd name="connsiteY169" fmla="*/ 8306 h 10000"/>
                    <a:gd name="connsiteX170" fmla="*/ 1833 w 10000"/>
                    <a:gd name="connsiteY170" fmla="*/ 8365 h 10000"/>
                    <a:gd name="connsiteX171" fmla="*/ 1389 w 10000"/>
                    <a:gd name="connsiteY171" fmla="*/ 8395 h 10000"/>
                    <a:gd name="connsiteX172" fmla="*/ 889 w 10000"/>
                    <a:gd name="connsiteY172" fmla="*/ 8409 h 10000"/>
                    <a:gd name="connsiteX173" fmla="*/ 889 w 10000"/>
                    <a:gd name="connsiteY173" fmla="*/ 8409 h 10000"/>
                    <a:gd name="connsiteX174" fmla="*/ 500 w 10000"/>
                    <a:gd name="connsiteY174" fmla="*/ 8424 h 10000"/>
                    <a:gd name="connsiteX175" fmla="*/ 222 w 10000"/>
                    <a:gd name="connsiteY175" fmla="*/ 8439 h 10000"/>
                    <a:gd name="connsiteX176" fmla="*/ 0 w 10000"/>
                    <a:gd name="connsiteY176" fmla="*/ 8454 h 10000"/>
                    <a:gd name="connsiteX177" fmla="*/ 0 w 10000"/>
                    <a:gd name="connsiteY177" fmla="*/ 8454 h 10000"/>
                    <a:gd name="connsiteX178" fmla="*/ 278 w 10000"/>
                    <a:gd name="connsiteY178" fmla="*/ 8689 h 10000"/>
                    <a:gd name="connsiteX179" fmla="*/ 500 w 10000"/>
                    <a:gd name="connsiteY179" fmla="*/ 8866 h 10000"/>
                    <a:gd name="connsiteX180" fmla="*/ 722 w 10000"/>
                    <a:gd name="connsiteY180" fmla="*/ 9013 h 10000"/>
                    <a:gd name="connsiteX181" fmla="*/ 722 w 10000"/>
                    <a:gd name="connsiteY181" fmla="*/ 9013 h 10000"/>
                    <a:gd name="connsiteX182" fmla="*/ 889 w 10000"/>
                    <a:gd name="connsiteY182" fmla="*/ 9102 h 10000"/>
                    <a:gd name="connsiteX183" fmla="*/ 944 w 10000"/>
                    <a:gd name="connsiteY183" fmla="*/ 9175 h 10000"/>
                    <a:gd name="connsiteX184" fmla="*/ 1111 w 10000"/>
                    <a:gd name="connsiteY184" fmla="*/ 9249 h 10000"/>
                    <a:gd name="connsiteX185" fmla="*/ 1333 w 10000"/>
                    <a:gd name="connsiteY185" fmla="*/ 9367 h 10000"/>
                    <a:gd name="connsiteX186" fmla="*/ 1333 w 10000"/>
                    <a:gd name="connsiteY186" fmla="*/ 9367 h 10000"/>
                    <a:gd name="connsiteX187" fmla="*/ 1444 w 10000"/>
                    <a:gd name="connsiteY187" fmla="*/ 9426 h 10000"/>
                    <a:gd name="connsiteX188" fmla="*/ 1500 w 10000"/>
                    <a:gd name="connsiteY188" fmla="*/ 9470 h 10000"/>
                    <a:gd name="connsiteX189" fmla="*/ 1500 w 10000"/>
                    <a:gd name="connsiteY189" fmla="*/ 9514 h 10000"/>
                    <a:gd name="connsiteX190" fmla="*/ 1556 w 10000"/>
                    <a:gd name="connsiteY190" fmla="*/ 9529 h 10000"/>
                    <a:gd name="connsiteX191" fmla="*/ 1722 w 10000"/>
                    <a:gd name="connsiteY191" fmla="*/ 9543 h 10000"/>
                    <a:gd name="connsiteX192" fmla="*/ 1944 w 10000"/>
                    <a:gd name="connsiteY192" fmla="*/ 9558 h 10000"/>
                    <a:gd name="connsiteX193" fmla="*/ 2944 w 10000"/>
                    <a:gd name="connsiteY193" fmla="*/ 9573 h 10000"/>
                    <a:gd name="connsiteX194" fmla="*/ 2944 w 10000"/>
                    <a:gd name="connsiteY194" fmla="*/ 9573 h 10000"/>
                    <a:gd name="connsiteX195" fmla="*/ 4167 w 10000"/>
                    <a:gd name="connsiteY195" fmla="*/ 9602 h 10000"/>
                    <a:gd name="connsiteX196" fmla="*/ 4889 w 10000"/>
                    <a:gd name="connsiteY196" fmla="*/ 9647 h 10000"/>
                    <a:gd name="connsiteX197" fmla="*/ 5278 w 10000"/>
                    <a:gd name="connsiteY197" fmla="*/ 9691 h 10000"/>
                    <a:gd name="connsiteX198" fmla="*/ 5444 w 10000"/>
                    <a:gd name="connsiteY198" fmla="*/ 9705 h 10000"/>
                    <a:gd name="connsiteX199" fmla="*/ 5444 w 10000"/>
                    <a:gd name="connsiteY199" fmla="*/ 9705 h 10000"/>
                    <a:gd name="connsiteX200" fmla="*/ 5722 w 10000"/>
                    <a:gd name="connsiteY200" fmla="*/ 9735 h 10000"/>
                    <a:gd name="connsiteX201" fmla="*/ 5833 w 10000"/>
                    <a:gd name="connsiteY201" fmla="*/ 9750 h 10000"/>
                    <a:gd name="connsiteX202" fmla="*/ 5833 w 10000"/>
                    <a:gd name="connsiteY202" fmla="*/ 9750 h 10000"/>
                    <a:gd name="connsiteX203" fmla="*/ 5833 w 10000"/>
                    <a:gd name="connsiteY203" fmla="*/ 9735 h 10000"/>
                    <a:gd name="connsiteX204" fmla="*/ 5889 w 10000"/>
                    <a:gd name="connsiteY204" fmla="*/ 9720 h 10000"/>
                    <a:gd name="connsiteX205" fmla="*/ 6000 w 10000"/>
                    <a:gd name="connsiteY205" fmla="*/ 9705 h 10000"/>
                    <a:gd name="connsiteX206" fmla="*/ 6167 w 10000"/>
                    <a:gd name="connsiteY206" fmla="*/ 9691 h 10000"/>
                    <a:gd name="connsiteX207" fmla="*/ 6444 w 10000"/>
                    <a:gd name="connsiteY207" fmla="*/ 9691 h 10000"/>
                    <a:gd name="connsiteX208" fmla="*/ 6833 w 10000"/>
                    <a:gd name="connsiteY208" fmla="*/ 9705 h 10000"/>
                    <a:gd name="connsiteX209" fmla="*/ 7278 w 10000"/>
                    <a:gd name="connsiteY209" fmla="*/ 9750 h 10000"/>
                    <a:gd name="connsiteX210" fmla="*/ 7278 w 10000"/>
                    <a:gd name="connsiteY210" fmla="*/ 9750 h 10000"/>
                    <a:gd name="connsiteX211" fmla="*/ 8722 w 10000"/>
                    <a:gd name="connsiteY211" fmla="*/ 9882 h 10000"/>
                    <a:gd name="connsiteX212" fmla="*/ 10000 w 10000"/>
                    <a:gd name="connsiteY21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389 w 10000"/>
                    <a:gd name="connsiteY71" fmla="*/ 3505 h 10000"/>
                    <a:gd name="connsiteX72" fmla="*/ 2167 w 10000"/>
                    <a:gd name="connsiteY72" fmla="*/ 3225 h 10000"/>
                    <a:gd name="connsiteX73" fmla="*/ 1889 w 10000"/>
                    <a:gd name="connsiteY73" fmla="*/ 2946 h 10000"/>
                    <a:gd name="connsiteX74" fmla="*/ 1667 w 10000"/>
                    <a:gd name="connsiteY74" fmla="*/ 2695 h 10000"/>
                    <a:gd name="connsiteX75" fmla="*/ 1611 w 10000"/>
                    <a:gd name="connsiteY75" fmla="*/ 2622 h 10000"/>
                    <a:gd name="connsiteX76" fmla="*/ 1611 w 10000"/>
                    <a:gd name="connsiteY76" fmla="*/ 2592 h 10000"/>
                    <a:gd name="connsiteX77" fmla="*/ 1667 w 10000"/>
                    <a:gd name="connsiteY77" fmla="*/ 2577 h 10000"/>
                    <a:gd name="connsiteX78" fmla="*/ 1667 w 10000"/>
                    <a:gd name="connsiteY78" fmla="*/ 2577 h 10000"/>
                    <a:gd name="connsiteX79" fmla="*/ 2000 w 10000"/>
                    <a:gd name="connsiteY79" fmla="*/ 2563 h 10000"/>
                    <a:gd name="connsiteX80" fmla="*/ 2222 w 10000"/>
                    <a:gd name="connsiteY80" fmla="*/ 2563 h 10000"/>
                    <a:gd name="connsiteX81" fmla="*/ 2389 w 10000"/>
                    <a:gd name="connsiteY81" fmla="*/ 2577 h 10000"/>
                    <a:gd name="connsiteX82" fmla="*/ 2389 w 10000"/>
                    <a:gd name="connsiteY82" fmla="*/ 2577 h 10000"/>
                    <a:gd name="connsiteX83" fmla="*/ 2444 w 10000"/>
                    <a:gd name="connsiteY83" fmla="*/ 2577 h 10000"/>
                    <a:gd name="connsiteX84" fmla="*/ 2500 w 10000"/>
                    <a:gd name="connsiteY84" fmla="*/ 2548 h 10000"/>
                    <a:gd name="connsiteX85" fmla="*/ 2778 w 10000"/>
                    <a:gd name="connsiteY85" fmla="*/ 2459 h 10000"/>
                    <a:gd name="connsiteX86" fmla="*/ 3500 w 10000"/>
                    <a:gd name="connsiteY86" fmla="*/ 2165 h 10000"/>
                    <a:gd name="connsiteX87" fmla="*/ 4444 w 10000"/>
                    <a:gd name="connsiteY87" fmla="*/ 1738 h 10000"/>
                    <a:gd name="connsiteX88" fmla="*/ 4444 w 10000"/>
                    <a:gd name="connsiteY88" fmla="*/ 1738 h 10000"/>
                    <a:gd name="connsiteX89" fmla="*/ 4444 w 10000"/>
                    <a:gd name="connsiteY89" fmla="*/ 1679 h 10000"/>
                    <a:gd name="connsiteX90" fmla="*/ 4444 w 10000"/>
                    <a:gd name="connsiteY90" fmla="*/ 1546 h 10000"/>
                    <a:gd name="connsiteX91" fmla="*/ 4500 w 10000"/>
                    <a:gd name="connsiteY91" fmla="*/ 1458 h 10000"/>
                    <a:gd name="connsiteX92" fmla="*/ 4611 w 10000"/>
                    <a:gd name="connsiteY92" fmla="*/ 1384 h 10000"/>
                    <a:gd name="connsiteX93" fmla="*/ 4778 w 10000"/>
                    <a:gd name="connsiteY93" fmla="*/ 1296 h 10000"/>
                    <a:gd name="connsiteX94" fmla="*/ 5000 w 10000"/>
                    <a:gd name="connsiteY94" fmla="*/ 1222 h 10000"/>
                    <a:gd name="connsiteX95" fmla="*/ 5000 w 10000"/>
                    <a:gd name="connsiteY95" fmla="*/ 1222 h 10000"/>
                    <a:gd name="connsiteX96" fmla="*/ 5556 w 10000"/>
                    <a:gd name="connsiteY96" fmla="*/ 1075 h 10000"/>
                    <a:gd name="connsiteX97" fmla="*/ 6111 w 10000"/>
                    <a:gd name="connsiteY97" fmla="*/ 884 h 10000"/>
                    <a:gd name="connsiteX98" fmla="*/ 6667 w 10000"/>
                    <a:gd name="connsiteY98" fmla="*/ 707 h 10000"/>
                    <a:gd name="connsiteX99" fmla="*/ 7056 w 10000"/>
                    <a:gd name="connsiteY99" fmla="*/ 545 h 10000"/>
                    <a:gd name="connsiteX100" fmla="*/ 7056 w 10000"/>
                    <a:gd name="connsiteY100" fmla="*/ 545 h 10000"/>
                    <a:gd name="connsiteX101" fmla="*/ 7333 w 10000"/>
                    <a:gd name="connsiteY101" fmla="*/ 398 h 10000"/>
                    <a:gd name="connsiteX102" fmla="*/ 7667 w 10000"/>
                    <a:gd name="connsiteY102" fmla="*/ 221 h 10000"/>
                    <a:gd name="connsiteX103" fmla="*/ 8000 w 10000"/>
                    <a:gd name="connsiteY103" fmla="*/ 88 h 10000"/>
                    <a:gd name="connsiteX104" fmla="*/ 8167 w 10000"/>
                    <a:gd name="connsiteY104" fmla="*/ 29 h 10000"/>
                    <a:gd name="connsiteX105" fmla="*/ 8333 w 10000"/>
                    <a:gd name="connsiteY105" fmla="*/ 15 h 10000"/>
                    <a:gd name="connsiteX106" fmla="*/ 8333 w 10000"/>
                    <a:gd name="connsiteY106" fmla="*/ 15 h 10000"/>
                    <a:gd name="connsiteX107" fmla="*/ 8667 w 10000"/>
                    <a:gd name="connsiteY107" fmla="*/ 0 h 10000"/>
                    <a:gd name="connsiteX108" fmla="*/ 9111 w 10000"/>
                    <a:gd name="connsiteY108" fmla="*/ 0 h 10000"/>
                    <a:gd name="connsiteX109" fmla="*/ 10000 w 10000"/>
                    <a:gd name="connsiteY109" fmla="*/ 15 h 10000"/>
                    <a:gd name="connsiteX110" fmla="*/ 10000 w 10000"/>
                    <a:gd name="connsiteY110" fmla="*/ 9013 h 10000"/>
                    <a:gd name="connsiteX111" fmla="*/ 10000 w 10000"/>
                    <a:gd name="connsiteY111" fmla="*/ 9013 h 10000"/>
                    <a:gd name="connsiteX112" fmla="*/ 9722 w 10000"/>
                    <a:gd name="connsiteY112" fmla="*/ 8999 h 10000"/>
                    <a:gd name="connsiteX113" fmla="*/ 9389 w 10000"/>
                    <a:gd name="connsiteY113" fmla="*/ 9013 h 10000"/>
                    <a:gd name="connsiteX114" fmla="*/ 9389 w 10000"/>
                    <a:gd name="connsiteY114" fmla="*/ 9013 h 10000"/>
                    <a:gd name="connsiteX115" fmla="*/ 9278 w 10000"/>
                    <a:gd name="connsiteY115" fmla="*/ 9028 h 10000"/>
                    <a:gd name="connsiteX116" fmla="*/ 9056 w 10000"/>
                    <a:gd name="connsiteY116" fmla="*/ 9013 h 10000"/>
                    <a:gd name="connsiteX117" fmla="*/ 8889 w 10000"/>
                    <a:gd name="connsiteY117" fmla="*/ 8999 h 10000"/>
                    <a:gd name="connsiteX118" fmla="*/ 8722 w 10000"/>
                    <a:gd name="connsiteY118" fmla="*/ 8969 h 10000"/>
                    <a:gd name="connsiteX119" fmla="*/ 8611 w 10000"/>
                    <a:gd name="connsiteY119" fmla="*/ 8925 h 10000"/>
                    <a:gd name="connsiteX120" fmla="*/ 8444 w 10000"/>
                    <a:gd name="connsiteY120" fmla="*/ 8851 h 10000"/>
                    <a:gd name="connsiteX121" fmla="*/ 8444 w 10000"/>
                    <a:gd name="connsiteY121" fmla="*/ 8851 h 10000"/>
                    <a:gd name="connsiteX122" fmla="*/ 8222 w 10000"/>
                    <a:gd name="connsiteY122" fmla="*/ 8719 h 10000"/>
                    <a:gd name="connsiteX123" fmla="*/ 8111 w 10000"/>
                    <a:gd name="connsiteY123" fmla="*/ 8660 h 10000"/>
                    <a:gd name="connsiteX124" fmla="*/ 7944 w 10000"/>
                    <a:gd name="connsiteY124" fmla="*/ 8616 h 10000"/>
                    <a:gd name="connsiteX125" fmla="*/ 7778 w 10000"/>
                    <a:gd name="connsiteY125" fmla="*/ 8586 h 10000"/>
                    <a:gd name="connsiteX126" fmla="*/ 7556 w 10000"/>
                    <a:gd name="connsiteY126" fmla="*/ 8571 h 10000"/>
                    <a:gd name="connsiteX127" fmla="*/ 7333 w 10000"/>
                    <a:gd name="connsiteY127" fmla="*/ 8557 h 10000"/>
                    <a:gd name="connsiteX128" fmla="*/ 7000 w 10000"/>
                    <a:gd name="connsiteY128" fmla="*/ 8542 h 10000"/>
                    <a:gd name="connsiteX129" fmla="*/ 7000 w 10000"/>
                    <a:gd name="connsiteY129" fmla="*/ 8542 h 10000"/>
                    <a:gd name="connsiteX130" fmla="*/ 6556 w 10000"/>
                    <a:gd name="connsiteY130" fmla="*/ 8557 h 10000"/>
                    <a:gd name="connsiteX131" fmla="*/ 6222 w 10000"/>
                    <a:gd name="connsiteY131" fmla="*/ 8557 h 10000"/>
                    <a:gd name="connsiteX132" fmla="*/ 6111 w 10000"/>
                    <a:gd name="connsiteY132" fmla="*/ 8542 h 10000"/>
                    <a:gd name="connsiteX133" fmla="*/ 6056 w 10000"/>
                    <a:gd name="connsiteY133" fmla="*/ 8527 h 10000"/>
                    <a:gd name="connsiteX134" fmla="*/ 6056 w 10000"/>
                    <a:gd name="connsiteY134" fmla="*/ 8527 h 10000"/>
                    <a:gd name="connsiteX135" fmla="*/ 6056 w 10000"/>
                    <a:gd name="connsiteY135" fmla="*/ 8262 h 10000"/>
                    <a:gd name="connsiteX136" fmla="*/ 6056 w 10000"/>
                    <a:gd name="connsiteY136" fmla="*/ 8262 h 10000"/>
                    <a:gd name="connsiteX137" fmla="*/ 6056 w 10000"/>
                    <a:gd name="connsiteY137" fmla="*/ 8203 h 10000"/>
                    <a:gd name="connsiteX138" fmla="*/ 5944 w 10000"/>
                    <a:gd name="connsiteY138" fmla="*/ 8130 h 10000"/>
                    <a:gd name="connsiteX139" fmla="*/ 5889 w 10000"/>
                    <a:gd name="connsiteY139" fmla="*/ 8115 h 10000"/>
                    <a:gd name="connsiteX140" fmla="*/ 5778 w 10000"/>
                    <a:gd name="connsiteY140" fmla="*/ 8100 h 10000"/>
                    <a:gd name="connsiteX141" fmla="*/ 5667 w 10000"/>
                    <a:gd name="connsiteY141" fmla="*/ 8100 h 10000"/>
                    <a:gd name="connsiteX142" fmla="*/ 5500 w 10000"/>
                    <a:gd name="connsiteY142" fmla="*/ 8115 h 10000"/>
                    <a:gd name="connsiteX143" fmla="*/ 5500 w 10000"/>
                    <a:gd name="connsiteY143" fmla="*/ 8115 h 10000"/>
                    <a:gd name="connsiteX144" fmla="*/ 4889 w 10000"/>
                    <a:gd name="connsiteY144" fmla="*/ 8218 h 10000"/>
                    <a:gd name="connsiteX145" fmla="*/ 4611 w 10000"/>
                    <a:gd name="connsiteY145" fmla="*/ 8247 h 10000"/>
                    <a:gd name="connsiteX146" fmla="*/ 4556 w 10000"/>
                    <a:gd name="connsiteY146" fmla="*/ 8262 h 10000"/>
                    <a:gd name="connsiteX147" fmla="*/ 4500 w 10000"/>
                    <a:gd name="connsiteY147" fmla="*/ 8247 h 10000"/>
                    <a:gd name="connsiteX148" fmla="*/ 4500 w 10000"/>
                    <a:gd name="connsiteY148" fmla="*/ 8247 h 10000"/>
                    <a:gd name="connsiteX149" fmla="*/ 4222 w 10000"/>
                    <a:gd name="connsiteY149" fmla="*/ 8100 h 10000"/>
                    <a:gd name="connsiteX150" fmla="*/ 4222 w 10000"/>
                    <a:gd name="connsiteY150" fmla="*/ 8100 h 10000"/>
                    <a:gd name="connsiteX151" fmla="*/ 4111 w 10000"/>
                    <a:gd name="connsiteY151" fmla="*/ 8027 h 10000"/>
                    <a:gd name="connsiteX152" fmla="*/ 4111 w 10000"/>
                    <a:gd name="connsiteY152" fmla="*/ 7982 h 10000"/>
                    <a:gd name="connsiteX153" fmla="*/ 4111 w 10000"/>
                    <a:gd name="connsiteY153" fmla="*/ 7938 h 10000"/>
                    <a:gd name="connsiteX154" fmla="*/ 4111 w 10000"/>
                    <a:gd name="connsiteY154" fmla="*/ 7938 h 10000"/>
                    <a:gd name="connsiteX155" fmla="*/ 4278 w 10000"/>
                    <a:gd name="connsiteY155" fmla="*/ 7894 h 10000"/>
                    <a:gd name="connsiteX156" fmla="*/ 4389 w 10000"/>
                    <a:gd name="connsiteY156" fmla="*/ 7879 h 10000"/>
                    <a:gd name="connsiteX157" fmla="*/ 4389 w 10000"/>
                    <a:gd name="connsiteY157" fmla="*/ 7879 h 10000"/>
                    <a:gd name="connsiteX158" fmla="*/ 4000 w 10000"/>
                    <a:gd name="connsiteY158" fmla="*/ 7879 h 10000"/>
                    <a:gd name="connsiteX159" fmla="*/ 3722 w 10000"/>
                    <a:gd name="connsiteY159" fmla="*/ 7894 h 10000"/>
                    <a:gd name="connsiteX160" fmla="*/ 3611 w 10000"/>
                    <a:gd name="connsiteY160" fmla="*/ 7909 h 10000"/>
                    <a:gd name="connsiteX161" fmla="*/ 3556 w 10000"/>
                    <a:gd name="connsiteY161" fmla="*/ 7923 h 10000"/>
                    <a:gd name="connsiteX162" fmla="*/ 3556 w 10000"/>
                    <a:gd name="connsiteY162" fmla="*/ 7923 h 10000"/>
                    <a:gd name="connsiteX163" fmla="*/ 3444 w 10000"/>
                    <a:gd name="connsiteY163" fmla="*/ 7982 h 10000"/>
                    <a:gd name="connsiteX164" fmla="*/ 3278 w 10000"/>
                    <a:gd name="connsiteY164" fmla="*/ 8071 h 10000"/>
                    <a:gd name="connsiteX165" fmla="*/ 3000 w 10000"/>
                    <a:gd name="connsiteY165" fmla="*/ 8174 h 10000"/>
                    <a:gd name="connsiteX166" fmla="*/ 2667 w 10000"/>
                    <a:gd name="connsiteY166" fmla="*/ 8247 h 10000"/>
                    <a:gd name="connsiteX167" fmla="*/ 2667 w 10000"/>
                    <a:gd name="connsiteY167" fmla="*/ 8247 h 10000"/>
                    <a:gd name="connsiteX168" fmla="*/ 2333 w 10000"/>
                    <a:gd name="connsiteY168" fmla="*/ 8306 h 10000"/>
                    <a:gd name="connsiteX169" fmla="*/ 1833 w 10000"/>
                    <a:gd name="connsiteY169" fmla="*/ 8365 h 10000"/>
                    <a:gd name="connsiteX170" fmla="*/ 1389 w 10000"/>
                    <a:gd name="connsiteY170" fmla="*/ 8395 h 10000"/>
                    <a:gd name="connsiteX171" fmla="*/ 889 w 10000"/>
                    <a:gd name="connsiteY171" fmla="*/ 8409 h 10000"/>
                    <a:gd name="connsiteX172" fmla="*/ 889 w 10000"/>
                    <a:gd name="connsiteY172" fmla="*/ 8409 h 10000"/>
                    <a:gd name="connsiteX173" fmla="*/ 500 w 10000"/>
                    <a:gd name="connsiteY173" fmla="*/ 8424 h 10000"/>
                    <a:gd name="connsiteX174" fmla="*/ 222 w 10000"/>
                    <a:gd name="connsiteY174" fmla="*/ 8439 h 10000"/>
                    <a:gd name="connsiteX175" fmla="*/ 0 w 10000"/>
                    <a:gd name="connsiteY175" fmla="*/ 8454 h 10000"/>
                    <a:gd name="connsiteX176" fmla="*/ 0 w 10000"/>
                    <a:gd name="connsiteY176" fmla="*/ 8454 h 10000"/>
                    <a:gd name="connsiteX177" fmla="*/ 278 w 10000"/>
                    <a:gd name="connsiteY177" fmla="*/ 8689 h 10000"/>
                    <a:gd name="connsiteX178" fmla="*/ 500 w 10000"/>
                    <a:gd name="connsiteY178" fmla="*/ 8866 h 10000"/>
                    <a:gd name="connsiteX179" fmla="*/ 722 w 10000"/>
                    <a:gd name="connsiteY179" fmla="*/ 9013 h 10000"/>
                    <a:gd name="connsiteX180" fmla="*/ 722 w 10000"/>
                    <a:gd name="connsiteY180" fmla="*/ 9013 h 10000"/>
                    <a:gd name="connsiteX181" fmla="*/ 889 w 10000"/>
                    <a:gd name="connsiteY181" fmla="*/ 9102 h 10000"/>
                    <a:gd name="connsiteX182" fmla="*/ 944 w 10000"/>
                    <a:gd name="connsiteY182" fmla="*/ 9175 h 10000"/>
                    <a:gd name="connsiteX183" fmla="*/ 1111 w 10000"/>
                    <a:gd name="connsiteY183" fmla="*/ 9249 h 10000"/>
                    <a:gd name="connsiteX184" fmla="*/ 1333 w 10000"/>
                    <a:gd name="connsiteY184" fmla="*/ 9367 h 10000"/>
                    <a:gd name="connsiteX185" fmla="*/ 1333 w 10000"/>
                    <a:gd name="connsiteY185" fmla="*/ 9367 h 10000"/>
                    <a:gd name="connsiteX186" fmla="*/ 1444 w 10000"/>
                    <a:gd name="connsiteY186" fmla="*/ 9426 h 10000"/>
                    <a:gd name="connsiteX187" fmla="*/ 1500 w 10000"/>
                    <a:gd name="connsiteY187" fmla="*/ 9470 h 10000"/>
                    <a:gd name="connsiteX188" fmla="*/ 1500 w 10000"/>
                    <a:gd name="connsiteY188" fmla="*/ 9514 h 10000"/>
                    <a:gd name="connsiteX189" fmla="*/ 1556 w 10000"/>
                    <a:gd name="connsiteY189" fmla="*/ 9529 h 10000"/>
                    <a:gd name="connsiteX190" fmla="*/ 1722 w 10000"/>
                    <a:gd name="connsiteY190" fmla="*/ 9543 h 10000"/>
                    <a:gd name="connsiteX191" fmla="*/ 1944 w 10000"/>
                    <a:gd name="connsiteY191" fmla="*/ 9558 h 10000"/>
                    <a:gd name="connsiteX192" fmla="*/ 2944 w 10000"/>
                    <a:gd name="connsiteY192" fmla="*/ 9573 h 10000"/>
                    <a:gd name="connsiteX193" fmla="*/ 2944 w 10000"/>
                    <a:gd name="connsiteY193" fmla="*/ 9573 h 10000"/>
                    <a:gd name="connsiteX194" fmla="*/ 4167 w 10000"/>
                    <a:gd name="connsiteY194" fmla="*/ 9602 h 10000"/>
                    <a:gd name="connsiteX195" fmla="*/ 4889 w 10000"/>
                    <a:gd name="connsiteY195" fmla="*/ 9647 h 10000"/>
                    <a:gd name="connsiteX196" fmla="*/ 5278 w 10000"/>
                    <a:gd name="connsiteY196" fmla="*/ 9691 h 10000"/>
                    <a:gd name="connsiteX197" fmla="*/ 5444 w 10000"/>
                    <a:gd name="connsiteY197" fmla="*/ 9705 h 10000"/>
                    <a:gd name="connsiteX198" fmla="*/ 5444 w 10000"/>
                    <a:gd name="connsiteY198" fmla="*/ 9705 h 10000"/>
                    <a:gd name="connsiteX199" fmla="*/ 5722 w 10000"/>
                    <a:gd name="connsiteY199" fmla="*/ 9735 h 10000"/>
                    <a:gd name="connsiteX200" fmla="*/ 5833 w 10000"/>
                    <a:gd name="connsiteY200" fmla="*/ 9750 h 10000"/>
                    <a:gd name="connsiteX201" fmla="*/ 5833 w 10000"/>
                    <a:gd name="connsiteY201" fmla="*/ 9750 h 10000"/>
                    <a:gd name="connsiteX202" fmla="*/ 5833 w 10000"/>
                    <a:gd name="connsiteY202" fmla="*/ 9735 h 10000"/>
                    <a:gd name="connsiteX203" fmla="*/ 5889 w 10000"/>
                    <a:gd name="connsiteY203" fmla="*/ 9720 h 10000"/>
                    <a:gd name="connsiteX204" fmla="*/ 6000 w 10000"/>
                    <a:gd name="connsiteY204" fmla="*/ 9705 h 10000"/>
                    <a:gd name="connsiteX205" fmla="*/ 6167 w 10000"/>
                    <a:gd name="connsiteY205" fmla="*/ 9691 h 10000"/>
                    <a:gd name="connsiteX206" fmla="*/ 6444 w 10000"/>
                    <a:gd name="connsiteY206" fmla="*/ 9691 h 10000"/>
                    <a:gd name="connsiteX207" fmla="*/ 6833 w 10000"/>
                    <a:gd name="connsiteY207" fmla="*/ 9705 h 10000"/>
                    <a:gd name="connsiteX208" fmla="*/ 7278 w 10000"/>
                    <a:gd name="connsiteY208" fmla="*/ 9750 h 10000"/>
                    <a:gd name="connsiteX209" fmla="*/ 7278 w 10000"/>
                    <a:gd name="connsiteY209" fmla="*/ 9750 h 10000"/>
                    <a:gd name="connsiteX210" fmla="*/ 8722 w 10000"/>
                    <a:gd name="connsiteY210" fmla="*/ 9882 h 10000"/>
                    <a:gd name="connsiteX211" fmla="*/ 10000 w 10000"/>
                    <a:gd name="connsiteY21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389 w 10000"/>
                    <a:gd name="connsiteY71" fmla="*/ 3505 h 10000"/>
                    <a:gd name="connsiteX72" fmla="*/ 2380 w 10000"/>
                    <a:gd name="connsiteY72" fmla="*/ 3396 h 10000"/>
                    <a:gd name="connsiteX73" fmla="*/ 2167 w 10000"/>
                    <a:gd name="connsiteY73" fmla="*/ 3225 h 10000"/>
                    <a:gd name="connsiteX74" fmla="*/ 1889 w 10000"/>
                    <a:gd name="connsiteY74" fmla="*/ 2946 h 10000"/>
                    <a:gd name="connsiteX75" fmla="*/ 1667 w 10000"/>
                    <a:gd name="connsiteY75" fmla="*/ 2695 h 10000"/>
                    <a:gd name="connsiteX76" fmla="*/ 1611 w 10000"/>
                    <a:gd name="connsiteY76" fmla="*/ 2622 h 10000"/>
                    <a:gd name="connsiteX77" fmla="*/ 1611 w 10000"/>
                    <a:gd name="connsiteY77" fmla="*/ 2592 h 10000"/>
                    <a:gd name="connsiteX78" fmla="*/ 1667 w 10000"/>
                    <a:gd name="connsiteY78" fmla="*/ 2577 h 10000"/>
                    <a:gd name="connsiteX79" fmla="*/ 1667 w 10000"/>
                    <a:gd name="connsiteY79" fmla="*/ 2577 h 10000"/>
                    <a:gd name="connsiteX80" fmla="*/ 2000 w 10000"/>
                    <a:gd name="connsiteY80" fmla="*/ 2563 h 10000"/>
                    <a:gd name="connsiteX81" fmla="*/ 2222 w 10000"/>
                    <a:gd name="connsiteY81" fmla="*/ 2563 h 10000"/>
                    <a:gd name="connsiteX82" fmla="*/ 2389 w 10000"/>
                    <a:gd name="connsiteY82" fmla="*/ 2577 h 10000"/>
                    <a:gd name="connsiteX83" fmla="*/ 2389 w 10000"/>
                    <a:gd name="connsiteY83" fmla="*/ 2577 h 10000"/>
                    <a:gd name="connsiteX84" fmla="*/ 2444 w 10000"/>
                    <a:gd name="connsiteY84" fmla="*/ 2577 h 10000"/>
                    <a:gd name="connsiteX85" fmla="*/ 2500 w 10000"/>
                    <a:gd name="connsiteY85" fmla="*/ 2548 h 10000"/>
                    <a:gd name="connsiteX86" fmla="*/ 2778 w 10000"/>
                    <a:gd name="connsiteY86" fmla="*/ 2459 h 10000"/>
                    <a:gd name="connsiteX87" fmla="*/ 3500 w 10000"/>
                    <a:gd name="connsiteY87" fmla="*/ 2165 h 10000"/>
                    <a:gd name="connsiteX88" fmla="*/ 4444 w 10000"/>
                    <a:gd name="connsiteY88" fmla="*/ 1738 h 10000"/>
                    <a:gd name="connsiteX89" fmla="*/ 4444 w 10000"/>
                    <a:gd name="connsiteY89" fmla="*/ 1738 h 10000"/>
                    <a:gd name="connsiteX90" fmla="*/ 4444 w 10000"/>
                    <a:gd name="connsiteY90" fmla="*/ 1679 h 10000"/>
                    <a:gd name="connsiteX91" fmla="*/ 4444 w 10000"/>
                    <a:gd name="connsiteY91" fmla="*/ 1546 h 10000"/>
                    <a:gd name="connsiteX92" fmla="*/ 4500 w 10000"/>
                    <a:gd name="connsiteY92" fmla="*/ 1458 h 10000"/>
                    <a:gd name="connsiteX93" fmla="*/ 4611 w 10000"/>
                    <a:gd name="connsiteY93" fmla="*/ 1384 h 10000"/>
                    <a:gd name="connsiteX94" fmla="*/ 4778 w 10000"/>
                    <a:gd name="connsiteY94" fmla="*/ 1296 h 10000"/>
                    <a:gd name="connsiteX95" fmla="*/ 5000 w 10000"/>
                    <a:gd name="connsiteY95" fmla="*/ 1222 h 10000"/>
                    <a:gd name="connsiteX96" fmla="*/ 5000 w 10000"/>
                    <a:gd name="connsiteY96" fmla="*/ 1222 h 10000"/>
                    <a:gd name="connsiteX97" fmla="*/ 5556 w 10000"/>
                    <a:gd name="connsiteY97" fmla="*/ 1075 h 10000"/>
                    <a:gd name="connsiteX98" fmla="*/ 6111 w 10000"/>
                    <a:gd name="connsiteY98" fmla="*/ 884 h 10000"/>
                    <a:gd name="connsiteX99" fmla="*/ 6667 w 10000"/>
                    <a:gd name="connsiteY99" fmla="*/ 707 h 10000"/>
                    <a:gd name="connsiteX100" fmla="*/ 7056 w 10000"/>
                    <a:gd name="connsiteY100" fmla="*/ 545 h 10000"/>
                    <a:gd name="connsiteX101" fmla="*/ 7056 w 10000"/>
                    <a:gd name="connsiteY101" fmla="*/ 545 h 10000"/>
                    <a:gd name="connsiteX102" fmla="*/ 7333 w 10000"/>
                    <a:gd name="connsiteY102" fmla="*/ 398 h 10000"/>
                    <a:gd name="connsiteX103" fmla="*/ 7667 w 10000"/>
                    <a:gd name="connsiteY103" fmla="*/ 221 h 10000"/>
                    <a:gd name="connsiteX104" fmla="*/ 8000 w 10000"/>
                    <a:gd name="connsiteY104" fmla="*/ 88 h 10000"/>
                    <a:gd name="connsiteX105" fmla="*/ 8167 w 10000"/>
                    <a:gd name="connsiteY105" fmla="*/ 29 h 10000"/>
                    <a:gd name="connsiteX106" fmla="*/ 8333 w 10000"/>
                    <a:gd name="connsiteY106" fmla="*/ 15 h 10000"/>
                    <a:gd name="connsiteX107" fmla="*/ 8333 w 10000"/>
                    <a:gd name="connsiteY107" fmla="*/ 15 h 10000"/>
                    <a:gd name="connsiteX108" fmla="*/ 8667 w 10000"/>
                    <a:gd name="connsiteY108" fmla="*/ 0 h 10000"/>
                    <a:gd name="connsiteX109" fmla="*/ 9111 w 10000"/>
                    <a:gd name="connsiteY109" fmla="*/ 0 h 10000"/>
                    <a:gd name="connsiteX110" fmla="*/ 10000 w 10000"/>
                    <a:gd name="connsiteY110" fmla="*/ 15 h 10000"/>
                    <a:gd name="connsiteX111" fmla="*/ 10000 w 10000"/>
                    <a:gd name="connsiteY111" fmla="*/ 9013 h 10000"/>
                    <a:gd name="connsiteX112" fmla="*/ 10000 w 10000"/>
                    <a:gd name="connsiteY112" fmla="*/ 9013 h 10000"/>
                    <a:gd name="connsiteX113" fmla="*/ 9722 w 10000"/>
                    <a:gd name="connsiteY113" fmla="*/ 8999 h 10000"/>
                    <a:gd name="connsiteX114" fmla="*/ 9389 w 10000"/>
                    <a:gd name="connsiteY114" fmla="*/ 9013 h 10000"/>
                    <a:gd name="connsiteX115" fmla="*/ 9389 w 10000"/>
                    <a:gd name="connsiteY115" fmla="*/ 9013 h 10000"/>
                    <a:gd name="connsiteX116" fmla="*/ 9278 w 10000"/>
                    <a:gd name="connsiteY116" fmla="*/ 9028 h 10000"/>
                    <a:gd name="connsiteX117" fmla="*/ 9056 w 10000"/>
                    <a:gd name="connsiteY117" fmla="*/ 9013 h 10000"/>
                    <a:gd name="connsiteX118" fmla="*/ 8889 w 10000"/>
                    <a:gd name="connsiteY118" fmla="*/ 8999 h 10000"/>
                    <a:gd name="connsiteX119" fmla="*/ 8722 w 10000"/>
                    <a:gd name="connsiteY119" fmla="*/ 8969 h 10000"/>
                    <a:gd name="connsiteX120" fmla="*/ 8611 w 10000"/>
                    <a:gd name="connsiteY120" fmla="*/ 8925 h 10000"/>
                    <a:gd name="connsiteX121" fmla="*/ 8444 w 10000"/>
                    <a:gd name="connsiteY121" fmla="*/ 8851 h 10000"/>
                    <a:gd name="connsiteX122" fmla="*/ 8444 w 10000"/>
                    <a:gd name="connsiteY122" fmla="*/ 8851 h 10000"/>
                    <a:gd name="connsiteX123" fmla="*/ 8222 w 10000"/>
                    <a:gd name="connsiteY123" fmla="*/ 8719 h 10000"/>
                    <a:gd name="connsiteX124" fmla="*/ 8111 w 10000"/>
                    <a:gd name="connsiteY124" fmla="*/ 8660 h 10000"/>
                    <a:gd name="connsiteX125" fmla="*/ 7944 w 10000"/>
                    <a:gd name="connsiteY125" fmla="*/ 8616 h 10000"/>
                    <a:gd name="connsiteX126" fmla="*/ 7778 w 10000"/>
                    <a:gd name="connsiteY126" fmla="*/ 8586 h 10000"/>
                    <a:gd name="connsiteX127" fmla="*/ 7556 w 10000"/>
                    <a:gd name="connsiteY127" fmla="*/ 8571 h 10000"/>
                    <a:gd name="connsiteX128" fmla="*/ 7333 w 10000"/>
                    <a:gd name="connsiteY128" fmla="*/ 8557 h 10000"/>
                    <a:gd name="connsiteX129" fmla="*/ 7000 w 10000"/>
                    <a:gd name="connsiteY129" fmla="*/ 8542 h 10000"/>
                    <a:gd name="connsiteX130" fmla="*/ 7000 w 10000"/>
                    <a:gd name="connsiteY130" fmla="*/ 8542 h 10000"/>
                    <a:gd name="connsiteX131" fmla="*/ 6556 w 10000"/>
                    <a:gd name="connsiteY131" fmla="*/ 8557 h 10000"/>
                    <a:gd name="connsiteX132" fmla="*/ 6222 w 10000"/>
                    <a:gd name="connsiteY132" fmla="*/ 8557 h 10000"/>
                    <a:gd name="connsiteX133" fmla="*/ 6111 w 10000"/>
                    <a:gd name="connsiteY133" fmla="*/ 8542 h 10000"/>
                    <a:gd name="connsiteX134" fmla="*/ 6056 w 10000"/>
                    <a:gd name="connsiteY134" fmla="*/ 8527 h 10000"/>
                    <a:gd name="connsiteX135" fmla="*/ 6056 w 10000"/>
                    <a:gd name="connsiteY135" fmla="*/ 8527 h 10000"/>
                    <a:gd name="connsiteX136" fmla="*/ 6056 w 10000"/>
                    <a:gd name="connsiteY136" fmla="*/ 8262 h 10000"/>
                    <a:gd name="connsiteX137" fmla="*/ 6056 w 10000"/>
                    <a:gd name="connsiteY137" fmla="*/ 8262 h 10000"/>
                    <a:gd name="connsiteX138" fmla="*/ 6056 w 10000"/>
                    <a:gd name="connsiteY138" fmla="*/ 8203 h 10000"/>
                    <a:gd name="connsiteX139" fmla="*/ 5944 w 10000"/>
                    <a:gd name="connsiteY139" fmla="*/ 8130 h 10000"/>
                    <a:gd name="connsiteX140" fmla="*/ 5889 w 10000"/>
                    <a:gd name="connsiteY140" fmla="*/ 8115 h 10000"/>
                    <a:gd name="connsiteX141" fmla="*/ 5778 w 10000"/>
                    <a:gd name="connsiteY141" fmla="*/ 8100 h 10000"/>
                    <a:gd name="connsiteX142" fmla="*/ 5667 w 10000"/>
                    <a:gd name="connsiteY142" fmla="*/ 8100 h 10000"/>
                    <a:gd name="connsiteX143" fmla="*/ 5500 w 10000"/>
                    <a:gd name="connsiteY143" fmla="*/ 8115 h 10000"/>
                    <a:gd name="connsiteX144" fmla="*/ 5500 w 10000"/>
                    <a:gd name="connsiteY144" fmla="*/ 8115 h 10000"/>
                    <a:gd name="connsiteX145" fmla="*/ 4889 w 10000"/>
                    <a:gd name="connsiteY145" fmla="*/ 8218 h 10000"/>
                    <a:gd name="connsiteX146" fmla="*/ 4611 w 10000"/>
                    <a:gd name="connsiteY146" fmla="*/ 8247 h 10000"/>
                    <a:gd name="connsiteX147" fmla="*/ 4556 w 10000"/>
                    <a:gd name="connsiteY147" fmla="*/ 8262 h 10000"/>
                    <a:gd name="connsiteX148" fmla="*/ 4500 w 10000"/>
                    <a:gd name="connsiteY148" fmla="*/ 8247 h 10000"/>
                    <a:gd name="connsiteX149" fmla="*/ 4500 w 10000"/>
                    <a:gd name="connsiteY149" fmla="*/ 8247 h 10000"/>
                    <a:gd name="connsiteX150" fmla="*/ 4222 w 10000"/>
                    <a:gd name="connsiteY150" fmla="*/ 8100 h 10000"/>
                    <a:gd name="connsiteX151" fmla="*/ 4222 w 10000"/>
                    <a:gd name="connsiteY151" fmla="*/ 8100 h 10000"/>
                    <a:gd name="connsiteX152" fmla="*/ 4111 w 10000"/>
                    <a:gd name="connsiteY152" fmla="*/ 8027 h 10000"/>
                    <a:gd name="connsiteX153" fmla="*/ 4111 w 10000"/>
                    <a:gd name="connsiteY153" fmla="*/ 7982 h 10000"/>
                    <a:gd name="connsiteX154" fmla="*/ 4111 w 10000"/>
                    <a:gd name="connsiteY154" fmla="*/ 7938 h 10000"/>
                    <a:gd name="connsiteX155" fmla="*/ 4111 w 10000"/>
                    <a:gd name="connsiteY155" fmla="*/ 7938 h 10000"/>
                    <a:gd name="connsiteX156" fmla="*/ 4278 w 10000"/>
                    <a:gd name="connsiteY156" fmla="*/ 7894 h 10000"/>
                    <a:gd name="connsiteX157" fmla="*/ 4389 w 10000"/>
                    <a:gd name="connsiteY157" fmla="*/ 7879 h 10000"/>
                    <a:gd name="connsiteX158" fmla="*/ 4389 w 10000"/>
                    <a:gd name="connsiteY158" fmla="*/ 7879 h 10000"/>
                    <a:gd name="connsiteX159" fmla="*/ 4000 w 10000"/>
                    <a:gd name="connsiteY159" fmla="*/ 7879 h 10000"/>
                    <a:gd name="connsiteX160" fmla="*/ 3722 w 10000"/>
                    <a:gd name="connsiteY160" fmla="*/ 7894 h 10000"/>
                    <a:gd name="connsiteX161" fmla="*/ 3611 w 10000"/>
                    <a:gd name="connsiteY161" fmla="*/ 7909 h 10000"/>
                    <a:gd name="connsiteX162" fmla="*/ 3556 w 10000"/>
                    <a:gd name="connsiteY162" fmla="*/ 7923 h 10000"/>
                    <a:gd name="connsiteX163" fmla="*/ 3556 w 10000"/>
                    <a:gd name="connsiteY163" fmla="*/ 7923 h 10000"/>
                    <a:gd name="connsiteX164" fmla="*/ 3444 w 10000"/>
                    <a:gd name="connsiteY164" fmla="*/ 7982 h 10000"/>
                    <a:gd name="connsiteX165" fmla="*/ 3278 w 10000"/>
                    <a:gd name="connsiteY165" fmla="*/ 8071 h 10000"/>
                    <a:gd name="connsiteX166" fmla="*/ 3000 w 10000"/>
                    <a:gd name="connsiteY166" fmla="*/ 8174 h 10000"/>
                    <a:gd name="connsiteX167" fmla="*/ 2667 w 10000"/>
                    <a:gd name="connsiteY167" fmla="*/ 8247 h 10000"/>
                    <a:gd name="connsiteX168" fmla="*/ 2667 w 10000"/>
                    <a:gd name="connsiteY168" fmla="*/ 8247 h 10000"/>
                    <a:gd name="connsiteX169" fmla="*/ 2333 w 10000"/>
                    <a:gd name="connsiteY169" fmla="*/ 8306 h 10000"/>
                    <a:gd name="connsiteX170" fmla="*/ 1833 w 10000"/>
                    <a:gd name="connsiteY170" fmla="*/ 8365 h 10000"/>
                    <a:gd name="connsiteX171" fmla="*/ 1389 w 10000"/>
                    <a:gd name="connsiteY171" fmla="*/ 8395 h 10000"/>
                    <a:gd name="connsiteX172" fmla="*/ 889 w 10000"/>
                    <a:gd name="connsiteY172" fmla="*/ 8409 h 10000"/>
                    <a:gd name="connsiteX173" fmla="*/ 889 w 10000"/>
                    <a:gd name="connsiteY173" fmla="*/ 8409 h 10000"/>
                    <a:gd name="connsiteX174" fmla="*/ 500 w 10000"/>
                    <a:gd name="connsiteY174" fmla="*/ 8424 h 10000"/>
                    <a:gd name="connsiteX175" fmla="*/ 222 w 10000"/>
                    <a:gd name="connsiteY175" fmla="*/ 8439 h 10000"/>
                    <a:gd name="connsiteX176" fmla="*/ 0 w 10000"/>
                    <a:gd name="connsiteY176" fmla="*/ 8454 h 10000"/>
                    <a:gd name="connsiteX177" fmla="*/ 0 w 10000"/>
                    <a:gd name="connsiteY177" fmla="*/ 8454 h 10000"/>
                    <a:gd name="connsiteX178" fmla="*/ 278 w 10000"/>
                    <a:gd name="connsiteY178" fmla="*/ 8689 h 10000"/>
                    <a:gd name="connsiteX179" fmla="*/ 500 w 10000"/>
                    <a:gd name="connsiteY179" fmla="*/ 8866 h 10000"/>
                    <a:gd name="connsiteX180" fmla="*/ 722 w 10000"/>
                    <a:gd name="connsiteY180" fmla="*/ 9013 h 10000"/>
                    <a:gd name="connsiteX181" fmla="*/ 722 w 10000"/>
                    <a:gd name="connsiteY181" fmla="*/ 9013 h 10000"/>
                    <a:gd name="connsiteX182" fmla="*/ 889 w 10000"/>
                    <a:gd name="connsiteY182" fmla="*/ 9102 h 10000"/>
                    <a:gd name="connsiteX183" fmla="*/ 944 w 10000"/>
                    <a:gd name="connsiteY183" fmla="*/ 9175 h 10000"/>
                    <a:gd name="connsiteX184" fmla="*/ 1111 w 10000"/>
                    <a:gd name="connsiteY184" fmla="*/ 9249 h 10000"/>
                    <a:gd name="connsiteX185" fmla="*/ 1333 w 10000"/>
                    <a:gd name="connsiteY185" fmla="*/ 9367 h 10000"/>
                    <a:gd name="connsiteX186" fmla="*/ 1333 w 10000"/>
                    <a:gd name="connsiteY186" fmla="*/ 9367 h 10000"/>
                    <a:gd name="connsiteX187" fmla="*/ 1444 w 10000"/>
                    <a:gd name="connsiteY187" fmla="*/ 9426 h 10000"/>
                    <a:gd name="connsiteX188" fmla="*/ 1500 w 10000"/>
                    <a:gd name="connsiteY188" fmla="*/ 9470 h 10000"/>
                    <a:gd name="connsiteX189" fmla="*/ 1500 w 10000"/>
                    <a:gd name="connsiteY189" fmla="*/ 9514 h 10000"/>
                    <a:gd name="connsiteX190" fmla="*/ 1556 w 10000"/>
                    <a:gd name="connsiteY190" fmla="*/ 9529 h 10000"/>
                    <a:gd name="connsiteX191" fmla="*/ 1722 w 10000"/>
                    <a:gd name="connsiteY191" fmla="*/ 9543 h 10000"/>
                    <a:gd name="connsiteX192" fmla="*/ 1944 w 10000"/>
                    <a:gd name="connsiteY192" fmla="*/ 9558 h 10000"/>
                    <a:gd name="connsiteX193" fmla="*/ 2944 w 10000"/>
                    <a:gd name="connsiteY193" fmla="*/ 9573 h 10000"/>
                    <a:gd name="connsiteX194" fmla="*/ 2944 w 10000"/>
                    <a:gd name="connsiteY194" fmla="*/ 9573 h 10000"/>
                    <a:gd name="connsiteX195" fmla="*/ 4167 w 10000"/>
                    <a:gd name="connsiteY195" fmla="*/ 9602 h 10000"/>
                    <a:gd name="connsiteX196" fmla="*/ 4889 w 10000"/>
                    <a:gd name="connsiteY196" fmla="*/ 9647 h 10000"/>
                    <a:gd name="connsiteX197" fmla="*/ 5278 w 10000"/>
                    <a:gd name="connsiteY197" fmla="*/ 9691 h 10000"/>
                    <a:gd name="connsiteX198" fmla="*/ 5444 w 10000"/>
                    <a:gd name="connsiteY198" fmla="*/ 9705 h 10000"/>
                    <a:gd name="connsiteX199" fmla="*/ 5444 w 10000"/>
                    <a:gd name="connsiteY199" fmla="*/ 9705 h 10000"/>
                    <a:gd name="connsiteX200" fmla="*/ 5722 w 10000"/>
                    <a:gd name="connsiteY200" fmla="*/ 9735 h 10000"/>
                    <a:gd name="connsiteX201" fmla="*/ 5833 w 10000"/>
                    <a:gd name="connsiteY201" fmla="*/ 9750 h 10000"/>
                    <a:gd name="connsiteX202" fmla="*/ 5833 w 10000"/>
                    <a:gd name="connsiteY202" fmla="*/ 9750 h 10000"/>
                    <a:gd name="connsiteX203" fmla="*/ 5833 w 10000"/>
                    <a:gd name="connsiteY203" fmla="*/ 9735 h 10000"/>
                    <a:gd name="connsiteX204" fmla="*/ 5889 w 10000"/>
                    <a:gd name="connsiteY204" fmla="*/ 9720 h 10000"/>
                    <a:gd name="connsiteX205" fmla="*/ 6000 w 10000"/>
                    <a:gd name="connsiteY205" fmla="*/ 9705 h 10000"/>
                    <a:gd name="connsiteX206" fmla="*/ 6167 w 10000"/>
                    <a:gd name="connsiteY206" fmla="*/ 9691 h 10000"/>
                    <a:gd name="connsiteX207" fmla="*/ 6444 w 10000"/>
                    <a:gd name="connsiteY207" fmla="*/ 9691 h 10000"/>
                    <a:gd name="connsiteX208" fmla="*/ 6833 w 10000"/>
                    <a:gd name="connsiteY208" fmla="*/ 9705 h 10000"/>
                    <a:gd name="connsiteX209" fmla="*/ 7278 w 10000"/>
                    <a:gd name="connsiteY209" fmla="*/ 9750 h 10000"/>
                    <a:gd name="connsiteX210" fmla="*/ 7278 w 10000"/>
                    <a:gd name="connsiteY210" fmla="*/ 9750 h 10000"/>
                    <a:gd name="connsiteX211" fmla="*/ 8722 w 10000"/>
                    <a:gd name="connsiteY211" fmla="*/ 9882 h 10000"/>
                    <a:gd name="connsiteX212" fmla="*/ 10000 w 10000"/>
                    <a:gd name="connsiteY21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389 w 10000"/>
                    <a:gd name="connsiteY71" fmla="*/ 3505 h 10000"/>
                    <a:gd name="connsiteX72" fmla="*/ 2167 w 10000"/>
                    <a:gd name="connsiteY72" fmla="*/ 3225 h 10000"/>
                    <a:gd name="connsiteX73" fmla="*/ 1889 w 10000"/>
                    <a:gd name="connsiteY73" fmla="*/ 2946 h 10000"/>
                    <a:gd name="connsiteX74" fmla="*/ 1667 w 10000"/>
                    <a:gd name="connsiteY74" fmla="*/ 2695 h 10000"/>
                    <a:gd name="connsiteX75" fmla="*/ 1611 w 10000"/>
                    <a:gd name="connsiteY75" fmla="*/ 2622 h 10000"/>
                    <a:gd name="connsiteX76" fmla="*/ 1611 w 10000"/>
                    <a:gd name="connsiteY76" fmla="*/ 2592 h 10000"/>
                    <a:gd name="connsiteX77" fmla="*/ 1667 w 10000"/>
                    <a:gd name="connsiteY77" fmla="*/ 2577 h 10000"/>
                    <a:gd name="connsiteX78" fmla="*/ 1667 w 10000"/>
                    <a:gd name="connsiteY78" fmla="*/ 2577 h 10000"/>
                    <a:gd name="connsiteX79" fmla="*/ 2000 w 10000"/>
                    <a:gd name="connsiteY79" fmla="*/ 2563 h 10000"/>
                    <a:gd name="connsiteX80" fmla="*/ 2222 w 10000"/>
                    <a:gd name="connsiteY80" fmla="*/ 2563 h 10000"/>
                    <a:gd name="connsiteX81" fmla="*/ 2389 w 10000"/>
                    <a:gd name="connsiteY81" fmla="*/ 2577 h 10000"/>
                    <a:gd name="connsiteX82" fmla="*/ 2389 w 10000"/>
                    <a:gd name="connsiteY82" fmla="*/ 2577 h 10000"/>
                    <a:gd name="connsiteX83" fmla="*/ 2444 w 10000"/>
                    <a:gd name="connsiteY83" fmla="*/ 2577 h 10000"/>
                    <a:gd name="connsiteX84" fmla="*/ 2500 w 10000"/>
                    <a:gd name="connsiteY84" fmla="*/ 2548 h 10000"/>
                    <a:gd name="connsiteX85" fmla="*/ 2778 w 10000"/>
                    <a:gd name="connsiteY85" fmla="*/ 2459 h 10000"/>
                    <a:gd name="connsiteX86" fmla="*/ 3500 w 10000"/>
                    <a:gd name="connsiteY86" fmla="*/ 2165 h 10000"/>
                    <a:gd name="connsiteX87" fmla="*/ 4444 w 10000"/>
                    <a:gd name="connsiteY87" fmla="*/ 1738 h 10000"/>
                    <a:gd name="connsiteX88" fmla="*/ 4444 w 10000"/>
                    <a:gd name="connsiteY88" fmla="*/ 1738 h 10000"/>
                    <a:gd name="connsiteX89" fmla="*/ 4444 w 10000"/>
                    <a:gd name="connsiteY89" fmla="*/ 1679 h 10000"/>
                    <a:gd name="connsiteX90" fmla="*/ 4444 w 10000"/>
                    <a:gd name="connsiteY90" fmla="*/ 1546 h 10000"/>
                    <a:gd name="connsiteX91" fmla="*/ 4500 w 10000"/>
                    <a:gd name="connsiteY91" fmla="*/ 1458 h 10000"/>
                    <a:gd name="connsiteX92" fmla="*/ 4611 w 10000"/>
                    <a:gd name="connsiteY92" fmla="*/ 1384 h 10000"/>
                    <a:gd name="connsiteX93" fmla="*/ 4778 w 10000"/>
                    <a:gd name="connsiteY93" fmla="*/ 1296 h 10000"/>
                    <a:gd name="connsiteX94" fmla="*/ 5000 w 10000"/>
                    <a:gd name="connsiteY94" fmla="*/ 1222 h 10000"/>
                    <a:gd name="connsiteX95" fmla="*/ 5000 w 10000"/>
                    <a:gd name="connsiteY95" fmla="*/ 1222 h 10000"/>
                    <a:gd name="connsiteX96" fmla="*/ 5556 w 10000"/>
                    <a:gd name="connsiteY96" fmla="*/ 1075 h 10000"/>
                    <a:gd name="connsiteX97" fmla="*/ 6111 w 10000"/>
                    <a:gd name="connsiteY97" fmla="*/ 884 h 10000"/>
                    <a:gd name="connsiteX98" fmla="*/ 6667 w 10000"/>
                    <a:gd name="connsiteY98" fmla="*/ 707 h 10000"/>
                    <a:gd name="connsiteX99" fmla="*/ 7056 w 10000"/>
                    <a:gd name="connsiteY99" fmla="*/ 545 h 10000"/>
                    <a:gd name="connsiteX100" fmla="*/ 7056 w 10000"/>
                    <a:gd name="connsiteY100" fmla="*/ 545 h 10000"/>
                    <a:gd name="connsiteX101" fmla="*/ 7333 w 10000"/>
                    <a:gd name="connsiteY101" fmla="*/ 398 h 10000"/>
                    <a:gd name="connsiteX102" fmla="*/ 7667 w 10000"/>
                    <a:gd name="connsiteY102" fmla="*/ 221 h 10000"/>
                    <a:gd name="connsiteX103" fmla="*/ 8000 w 10000"/>
                    <a:gd name="connsiteY103" fmla="*/ 88 h 10000"/>
                    <a:gd name="connsiteX104" fmla="*/ 8167 w 10000"/>
                    <a:gd name="connsiteY104" fmla="*/ 29 h 10000"/>
                    <a:gd name="connsiteX105" fmla="*/ 8333 w 10000"/>
                    <a:gd name="connsiteY105" fmla="*/ 15 h 10000"/>
                    <a:gd name="connsiteX106" fmla="*/ 8333 w 10000"/>
                    <a:gd name="connsiteY106" fmla="*/ 15 h 10000"/>
                    <a:gd name="connsiteX107" fmla="*/ 8667 w 10000"/>
                    <a:gd name="connsiteY107" fmla="*/ 0 h 10000"/>
                    <a:gd name="connsiteX108" fmla="*/ 9111 w 10000"/>
                    <a:gd name="connsiteY108" fmla="*/ 0 h 10000"/>
                    <a:gd name="connsiteX109" fmla="*/ 10000 w 10000"/>
                    <a:gd name="connsiteY109" fmla="*/ 15 h 10000"/>
                    <a:gd name="connsiteX110" fmla="*/ 10000 w 10000"/>
                    <a:gd name="connsiteY110" fmla="*/ 9013 h 10000"/>
                    <a:gd name="connsiteX111" fmla="*/ 10000 w 10000"/>
                    <a:gd name="connsiteY111" fmla="*/ 9013 h 10000"/>
                    <a:gd name="connsiteX112" fmla="*/ 9722 w 10000"/>
                    <a:gd name="connsiteY112" fmla="*/ 8999 h 10000"/>
                    <a:gd name="connsiteX113" fmla="*/ 9389 w 10000"/>
                    <a:gd name="connsiteY113" fmla="*/ 9013 h 10000"/>
                    <a:gd name="connsiteX114" fmla="*/ 9389 w 10000"/>
                    <a:gd name="connsiteY114" fmla="*/ 9013 h 10000"/>
                    <a:gd name="connsiteX115" fmla="*/ 9278 w 10000"/>
                    <a:gd name="connsiteY115" fmla="*/ 9028 h 10000"/>
                    <a:gd name="connsiteX116" fmla="*/ 9056 w 10000"/>
                    <a:gd name="connsiteY116" fmla="*/ 9013 h 10000"/>
                    <a:gd name="connsiteX117" fmla="*/ 8889 w 10000"/>
                    <a:gd name="connsiteY117" fmla="*/ 8999 h 10000"/>
                    <a:gd name="connsiteX118" fmla="*/ 8722 w 10000"/>
                    <a:gd name="connsiteY118" fmla="*/ 8969 h 10000"/>
                    <a:gd name="connsiteX119" fmla="*/ 8611 w 10000"/>
                    <a:gd name="connsiteY119" fmla="*/ 8925 h 10000"/>
                    <a:gd name="connsiteX120" fmla="*/ 8444 w 10000"/>
                    <a:gd name="connsiteY120" fmla="*/ 8851 h 10000"/>
                    <a:gd name="connsiteX121" fmla="*/ 8444 w 10000"/>
                    <a:gd name="connsiteY121" fmla="*/ 8851 h 10000"/>
                    <a:gd name="connsiteX122" fmla="*/ 8222 w 10000"/>
                    <a:gd name="connsiteY122" fmla="*/ 8719 h 10000"/>
                    <a:gd name="connsiteX123" fmla="*/ 8111 w 10000"/>
                    <a:gd name="connsiteY123" fmla="*/ 8660 h 10000"/>
                    <a:gd name="connsiteX124" fmla="*/ 7944 w 10000"/>
                    <a:gd name="connsiteY124" fmla="*/ 8616 h 10000"/>
                    <a:gd name="connsiteX125" fmla="*/ 7778 w 10000"/>
                    <a:gd name="connsiteY125" fmla="*/ 8586 h 10000"/>
                    <a:gd name="connsiteX126" fmla="*/ 7556 w 10000"/>
                    <a:gd name="connsiteY126" fmla="*/ 8571 h 10000"/>
                    <a:gd name="connsiteX127" fmla="*/ 7333 w 10000"/>
                    <a:gd name="connsiteY127" fmla="*/ 8557 h 10000"/>
                    <a:gd name="connsiteX128" fmla="*/ 7000 w 10000"/>
                    <a:gd name="connsiteY128" fmla="*/ 8542 h 10000"/>
                    <a:gd name="connsiteX129" fmla="*/ 7000 w 10000"/>
                    <a:gd name="connsiteY129" fmla="*/ 8542 h 10000"/>
                    <a:gd name="connsiteX130" fmla="*/ 6556 w 10000"/>
                    <a:gd name="connsiteY130" fmla="*/ 8557 h 10000"/>
                    <a:gd name="connsiteX131" fmla="*/ 6222 w 10000"/>
                    <a:gd name="connsiteY131" fmla="*/ 8557 h 10000"/>
                    <a:gd name="connsiteX132" fmla="*/ 6111 w 10000"/>
                    <a:gd name="connsiteY132" fmla="*/ 8542 h 10000"/>
                    <a:gd name="connsiteX133" fmla="*/ 6056 w 10000"/>
                    <a:gd name="connsiteY133" fmla="*/ 8527 h 10000"/>
                    <a:gd name="connsiteX134" fmla="*/ 6056 w 10000"/>
                    <a:gd name="connsiteY134" fmla="*/ 8527 h 10000"/>
                    <a:gd name="connsiteX135" fmla="*/ 6056 w 10000"/>
                    <a:gd name="connsiteY135" fmla="*/ 8262 h 10000"/>
                    <a:gd name="connsiteX136" fmla="*/ 6056 w 10000"/>
                    <a:gd name="connsiteY136" fmla="*/ 8262 h 10000"/>
                    <a:gd name="connsiteX137" fmla="*/ 6056 w 10000"/>
                    <a:gd name="connsiteY137" fmla="*/ 8203 h 10000"/>
                    <a:gd name="connsiteX138" fmla="*/ 5944 w 10000"/>
                    <a:gd name="connsiteY138" fmla="*/ 8130 h 10000"/>
                    <a:gd name="connsiteX139" fmla="*/ 5889 w 10000"/>
                    <a:gd name="connsiteY139" fmla="*/ 8115 h 10000"/>
                    <a:gd name="connsiteX140" fmla="*/ 5778 w 10000"/>
                    <a:gd name="connsiteY140" fmla="*/ 8100 h 10000"/>
                    <a:gd name="connsiteX141" fmla="*/ 5667 w 10000"/>
                    <a:gd name="connsiteY141" fmla="*/ 8100 h 10000"/>
                    <a:gd name="connsiteX142" fmla="*/ 5500 w 10000"/>
                    <a:gd name="connsiteY142" fmla="*/ 8115 h 10000"/>
                    <a:gd name="connsiteX143" fmla="*/ 5500 w 10000"/>
                    <a:gd name="connsiteY143" fmla="*/ 8115 h 10000"/>
                    <a:gd name="connsiteX144" fmla="*/ 4889 w 10000"/>
                    <a:gd name="connsiteY144" fmla="*/ 8218 h 10000"/>
                    <a:gd name="connsiteX145" fmla="*/ 4611 w 10000"/>
                    <a:gd name="connsiteY145" fmla="*/ 8247 h 10000"/>
                    <a:gd name="connsiteX146" fmla="*/ 4556 w 10000"/>
                    <a:gd name="connsiteY146" fmla="*/ 8262 h 10000"/>
                    <a:gd name="connsiteX147" fmla="*/ 4500 w 10000"/>
                    <a:gd name="connsiteY147" fmla="*/ 8247 h 10000"/>
                    <a:gd name="connsiteX148" fmla="*/ 4500 w 10000"/>
                    <a:gd name="connsiteY148" fmla="*/ 8247 h 10000"/>
                    <a:gd name="connsiteX149" fmla="*/ 4222 w 10000"/>
                    <a:gd name="connsiteY149" fmla="*/ 8100 h 10000"/>
                    <a:gd name="connsiteX150" fmla="*/ 4222 w 10000"/>
                    <a:gd name="connsiteY150" fmla="*/ 8100 h 10000"/>
                    <a:gd name="connsiteX151" fmla="*/ 4111 w 10000"/>
                    <a:gd name="connsiteY151" fmla="*/ 8027 h 10000"/>
                    <a:gd name="connsiteX152" fmla="*/ 4111 w 10000"/>
                    <a:gd name="connsiteY152" fmla="*/ 7982 h 10000"/>
                    <a:gd name="connsiteX153" fmla="*/ 4111 w 10000"/>
                    <a:gd name="connsiteY153" fmla="*/ 7938 h 10000"/>
                    <a:gd name="connsiteX154" fmla="*/ 4111 w 10000"/>
                    <a:gd name="connsiteY154" fmla="*/ 7938 h 10000"/>
                    <a:gd name="connsiteX155" fmla="*/ 4278 w 10000"/>
                    <a:gd name="connsiteY155" fmla="*/ 7894 h 10000"/>
                    <a:gd name="connsiteX156" fmla="*/ 4389 w 10000"/>
                    <a:gd name="connsiteY156" fmla="*/ 7879 h 10000"/>
                    <a:gd name="connsiteX157" fmla="*/ 4389 w 10000"/>
                    <a:gd name="connsiteY157" fmla="*/ 7879 h 10000"/>
                    <a:gd name="connsiteX158" fmla="*/ 4000 w 10000"/>
                    <a:gd name="connsiteY158" fmla="*/ 7879 h 10000"/>
                    <a:gd name="connsiteX159" fmla="*/ 3722 w 10000"/>
                    <a:gd name="connsiteY159" fmla="*/ 7894 h 10000"/>
                    <a:gd name="connsiteX160" fmla="*/ 3611 w 10000"/>
                    <a:gd name="connsiteY160" fmla="*/ 7909 h 10000"/>
                    <a:gd name="connsiteX161" fmla="*/ 3556 w 10000"/>
                    <a:gd name="connsiteY161" fmla="*/ 7923 h 10000"/>
                    <a:gd name="connsiteX162" fmla="*/ 3556 w 10000"/>
                    <a:gd name="connsiteY162" fmla="*/ 7923 h 10000"/>
                    <a:gd name="connsiteX163" fmla="*/ 3444 w 10000"/>
                    <a:gd name="connsiteY163" fmla="*/ 7982 h 10000"/>
                    <a:gd name="connsiteX164" fmla="*/ 3278 w 10000"/>
                    <a:gd name="connsiteY164" fmla="*/ 8071 h 10000"/>
                    <a:gd name="connsiteX165" fmla="*/ 3000 w 10000"/>
                    <a:gd name="connsiteY165" fmla="*/ 8174 h 10000"/>
                    <a:gd name="connsiteX166" fmla="*/ 2667 w 10000"/>
                    <a:gd name="connsiteY166" fmla="*/ 8247 h 10000"/>
                    <a:gd name="connsiteX167" fmla="*/ 2667 w 10000"/>
                    <a:gd name="connsiteY167" fmla="*/ 8247 h 10000"/>
                    <a:gd name="connsiteX168" fmla="*/ 2333 w 10000"/>
                    <a:gd name="connsiteY168" fmla="*/ 8306 h 10000"/>
                    <a:gd name="connsiteX169" fmla="*/ 1833 w 10000"/>
                    <a:gd name="connsiteY169" fmla="*/ 8365 h 10000"/>
                    <a:gd name="connsiteX170" fmla="*/ 1389 w 10000"/>
                    <a:gd name="connsiteY170" fmla="*/ 8395 h 10000"/>
                    <a:gd name="connsiteX171" fmla="*/ 889 w 10000"/>
                    <a:gd name="connsiteY171" fmla="*/ 8409 h 10000"/>
                    <a:gd name="connsiteX172" fmla="*/ 889 w 10000"/>
                    <a:gd name="connsiteY172" fmla="*/ 8409 h 10000"/>
                    <a:gd name="connsiteX173" fmla="*/ 500 w 10000"/>
                    <a:gd name="connsiteY173" fmla="*/ 8424 h 10000"/>
                    <a:gd name="connsiteX174" fmla="*/ 222 w 10000"/>
                    <a:gd name="connsiteY174" fmla="*/ 8439 h 10000"/>
                    <a:gd name="connsiteX175" fmla="*/ 0 w 10000"/>
                    <a:gd name="connsiteY175" fmla="*/ 8454 h 10000"/>
                    <a:gd name="connsiteX176" fmla="*/ 0 w 10000"/>
                    <a:gd name="connsiteY176" fmla="*/ 8454 h 10000"/>
                    <a:gd name="connsiteX177" fmla="*/ 278 w 10000"/>
                    <a:gd name="connsiteY177" fmla="*/ 8689 h 10000"/>
                    <a:gd name="connsiteX178" fmla="*/ 500 w 10000"/>
                    <a:gd name="connsiteY178" fmla="*/ 8866 h 10000"/>
                    <a:gd name="connsiteX179" fmla="*/ 722 w 10000"/>
                    <a:gd name="connsiteY179" fmla="*/ 9013 h 10000"/>
                    <a:gd name="connsiteX180" fmla="*/ 722 w 10000"/>
                    <a:gd name="connsiteY180" fmla="*/ 9013 h 10000"/>
                    <a:gd name="connsiteX181" fmla="*/ 889 w 10000"/>
                    <a:gd name="connsiteY181" fmla="*/ 9102 h 10000"/>
                    <a:gd name="connsiteX182" fmla="*/ 944 w 10000"/>
                    <a:gd name="connsiteY182" fmla="*/ 9175 h 10000"/>
                    <a:gd name="connsiteX183" fmla="*/ 1111 w 10000"/>
                    <a:gd name="connsiteY183" fmla="*/ 9249 h 10000"/>
                    <a:gd name="connsiteX184" fmla="*/ 1333 w 10000"/>
                    <a:gd name="connsiteY184" fmla="*/ 9367 h 10000"/>
                    <a:gd name="connsiteX185" fmla="*/ 1333 w 10000"/>
                    <a:gd name="connsiteY185" fmla="*/ 9367 h 10000"/>
                    <a:gd name="connsiteX186" fmla="*/ 1444 w 10000"/>
                    <a:gd name="connsiteY186" fmla="*/ 9426 h 10000"/>
                    <a:gd name="connsiteX187" fmla="*/ 1500 w 10000"/>
                    <a:gd name="connsiteY187" fmla="*/ 9470 h 10000"/>
                    <a:gd name="connsiteX188" fmla="*/ 1500 w 10000"/>
                    <a:gd name="connsiteY188" fmla="*/ 9514 h 10000"/>
                    <a:gd name="connsiteX189" fmla="*/ 1556 w 10000"/>
                    <a:gd name="connsiteY189" fmla="*/ 9529 h 10000"/>
                    <a:gd name="connsiteX190" fmla="*/ 1722 w 10000"/>
                    <a:gd name="connsiteY190" fmla="*/ 9543 h 10000"/>
                    <a:gd name="connsiteX191" fmla="*/ 1944 w 10000"/>
                    <a:gd name="connsiteY191" fmla="*/ 9558 h 10000"/>
                    <a:gd name="connsiteX192" fmla="*/ 2944 w 10000"/>
                    <a:gd name="connsiteY192" fmla="*/ 9573 h 10000"/>
                    <a:gd name="connsiteX193" fmla="*/ 2944 w 10000"/>
                    <a:gd name="connsiteY193" fmla="*/ 9573 h 10000"/>
                    <a:gd name="connsiteX194" fmla="*/ 4167 w 10000"/>
                    <a:gd name="connsiteY194" fmla="*/ 9602 h 10000"/>
                    <a:gd name="connsiteX195" fmla="*/ 4889 w 10000"/>
                    <a:gd name="connsiteY195" fmla="*/ 9647 h 10000"/>
                    <a:gd name="connsiteX196" fmla="*/ 5278 w 10000"/>
                    <a:gd name="connsiteY196" fmla="*/ 9691 h 10000"/>
                    <a:gd name="connsiteX197" fmla="*/ 5444 w 10000"/>
                    <a:gd name="connsiteY197" fmla="*/ 9705 h 10000"/>
                    <a:gd name="connsiteX198" fmla="*/ 5444 w 10000"/>
                    <a:gd name="connsiteY198" fmla="*/ 9705 h 10000"/>
                    <a:gd name="connsiteX199" fmla="*/ 5722 w 10000"/>
                    <a:gd name="connsiteY199" fmla="*/ 9735 h 10000"/>
                    <a:gd name="connsiteX200" fmla="*/ 5833 w 10000"/>
                    <a:gd name="connsiteY200" fmla="*/ 9750 h 10000"/>
                    <a:gd name="connsiteX201" fmla="*/ 5833 w 10000"/>
                    <a:gd name="connsiteY201" fmla="*/ 9750 h 10000"/>
                    <a:gd name="connsiteX202" fmla="*/ 5833 w 10000"/>
                    <a:gd name="connsiteY202" fmla="*/ 9735 h 10000"/>
                    <a:gd name="connsiteX203" fmla="*/ 5889 w 10000"/>
                    <a:gd name="connsiteY203" fmla="*/ 9720 h 10000"/>
                    <a:gd name="connsiteX204" fmla="*/ 6000 w 10000"/>
                    <a:gd name="connsiteY204" fmla="*/ 9705 h 10000"/>
                    <a:gd name="connsiteX205" fmla="*/ 6167 w 10000"/>
                    <a:gd name="connsiteY205" fmla="*/ 9691 h 10000"/>
                    <a:gd name="connsiteX206" fmla="*/ 6444 w 10000"/>
                    <a:gd name="connsiteY206" fmla="*/ 9691 h 10000"/>
                    <a:gd name="connsiteX207" fmla="*/ 6833 w 10000"/>
                    <a:gd name="connsiteY207" fmla="*/ 9705 h 10000"/>
                    <a:gd name="connsiteX208" fmla="*/ 7278 w 10000"/>
                    <a:gd name="connsiteY208" fmla="*/ 9750 h 10000"/>
                    <a:gd name="connsiteX209" fmla="*/ 7278 w 10000"/>
                    <a:gd name="connsiteY209" fmla="*/ 9750 h 10000"/>
                    <a:gd name="connsiteX210" fmla="*/ 8722 w 10000"/>
                    <a:gd name="connsiteY210" fmla="*/ 9882 h 10000"/>
                    <a:gd name="connsiteX211" fmla="*/ 10000 w 10000"/>
                    <a:gd name="connsiteY21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167 w 10000"/>
                    <a:gd name="connsiteY71" fmla="*/ 3225 h 10000"/>
                    <a:gd name="connsiteX72" fmla="*/ 1889 w 10000"/>
                    <a:gd name="connsiteY72" fmla="*/ 2946 h 10000"/>
                    <a:gd name="connsiteX73" fmla="*/ 1667 w 10000"/>
                    <a:gd name="connsiteY73" fmla="*/ 2695 h 10000"/>
                    <a:gd name="connsiteX74" fmla="*/ 1611 w 10000"/>
                    <a:gd name="connsiteY74" fmla="*/ 2622 h 10000"/>
                    <a:gd name="connsiteX75" fmla="*/ 1611 w 10000"/>
                    <a:gd name="connsiteY75" fmla="*/ 2592 h 10000"/>
                    <a:gd name="connsiteX76" fmla="*/ 1667 w 10000"/>
                    <a:gd name="connsiteY76" fmla="*/ 2577 h 10000"/>
                    <a:gd name="connsiteX77" fmla="*/ 1667 w 10000"/>
                    <a:gd name="connsiteY77" fmla="*/ 2577 h 10000"/>
                    <a:gd name="connsiteX78" fmla="*/ 2000 w 10000"/>
                    <a:gd name="connsiteY78" fmla="*/ 2563 h 10000"/>
                    <a:gd name="connsiteX79" fmla="*/ 2222 w 10000"/>
                    <a:gd name="connsiteY79" fmla="*/ 2563 h 10000"/>
                    <a:gd name="connsiteX80" fmla="*/ 2389 w 10000"/>
                    <a:gd name="connsiteY80" fmla="*/ 2577 h 10000"/>
                    <a:gd name="connsiteX81" fmla="*/ 2389 w 10000"/>
                    <a:gd name="connsiteY81" fmla="*/ 2577 h 10000"/>
                    <a:gd name="connsiteX82" fmla="*/ 2444 w 10000"/>
                    <a:gd name="connsiteY82" fmla="*/ 2577 h 10000"/>
                    <a:gd name="connsiteX83" fmla="*/ 2500 w 10000"/>
                    <a:gd name="connsiteY83" fmla="*/ 2548 h 10000"/>
                    <a:gd name="connsiteX84" fmla="*/ 2778 w 10000"/>
                    <a:gd name="connsiteY84" fmla="*/ 2459 h 10000"/>
                    <a:gd name="connsiteX85" fmla="*/ 3500 w 10000"/>
                    <a:gd name="connsiteY85" fmla="*/ 2165 h 10000"/>
                    <a:gd name="connsiteX86" fmla="*/ 4444 w 10000"/>
                    <a:gd name="connsiteY86" fmla="*/ 1738 h 10000"/>
                    <a:gd name="connsiteX87" fmla="*/ 4444 w 10000"/>
                    <a:gd name="connsiteY87" fmla="*/ 1738 h 10000"/>
                    <a:gd name="connsiteX88" fmla="*/ 4444 w 10000"/>
                    <a:gd name="connsiteY88" fmla="*/ 1679 h 10000"/>
                    <a:gd name="connsiteX89" fmla="*/ 4444 w 10000"/>
                    <a:gd name="connsiteY89" fmla="*/ 1546 h 10000"/>
                    <a:gd name="connsiteX90" fmla="*/ 4500 w 10000"/>
                    <a:gd name="connsiteY90" fmla="*/ 1458 h 10000"/>
                    <a:gd name="connsiteX91" fmla="*/ 4611 w 10000"/>
                    <a:gd name="connsiteY91" fmla="*/ 1384 h 10000"/>
                    <a:gd name="connsiteX92" fmla="*/ 4778 w 10000"/>
                    <a:gd name="connsiteY92" fmla="*/ 1296 h 10000"/>
                    <a:gd name="connsiteX93" fmla="*/ 5000 w 10000"/>
                    <a:gd name="connsiteY93" fmla="*/ 1222 h 10000"/>
                    <a:gd name="connsiteX94" fmla="*/ 5000 w 10000"/>
                    <a:gd name="connsiteY94" fmla="*/ 1222 h 10000"/>
                    <a:gd name="connsiteX95" fmla="*/ 5556 w 10000"/>
                    <a:gd name="connsiteY95" fmla="*/ 1075 h 10000"/>
                    <a:gd name="connsiteX96" fmla="*/ 6111 w 10000"/>
                    <a:gd name="connsiteY96" fmla="*/ 884 h 10000"/>
                    <a:gd name="connsiteX97" fmla="*/ 6667 w 10000"/>
                    <a:gd name="connsiteY97" fmla="*/ 707 h 10000"/>
                    <a:gd name="connsiteX98" fmla="*/ 7056 w 10000"/>
                    <a:gd name="connsiteY98" fmla="*/ 545 h 10000"/>
                    <a:gd name="connsiteX99" fmla="*/ 7056 w 10000"/>
                    <a:gd name="connsiteY99" fmla="*/ 545 h 10000"/>
                    <a:gd name="connsiteX100" fmla="*/ 7333 w 10000"/>
                    <a:gd name="connsiteY100" fmla="*/ 398 h 10000"/>
                    <a:gd name="connsiteX101" fmla="*/ 7667 w 10000"/>
                    <a:gd name="connsiteY101" fmla="*/ 221 h 10000"/>
                    <a:gd name="connsiteX102" fmla="*/ 8000 w 10000"/>
                    <a:gd name="connsiteY102" fmla="*/ 88 h 10000"/>
                    <a:gd name="connsiteX103" fmla="*/ 8167 w 10000"/>
                    <a:gd name="connsiteY103" fmla="*/ 29 h 10000"/>
                    <a:gd name="connsiteX104" fmla="*/ 8333 w 10000"/>
                    <a:gd name="connsiteY104" fmla="*/ 15 h 10000"/>
                    <a:gd name="connsiteX105" fmla="*/ 8333 w 10000"/>
                    <a:gd name="connsiteY105" fmla="*/ 15 h 10000"/>
                    <a:gd name="connsiteX106" fmla="*/ 8667 w 10000"/>
                    <a:gd name="connsiteY106" fmla="*/ 0 h 10000"/>
                    <a:gd name="connsiteX107" fmla="*/ 9111 w 10000"/>
                    <a:gd name="connsiteY107" fmla="*/ 0 h 10000"/>
                    <a:gd name="connsiteX108" fmla="*/ 10000 w 10000"/>
                    <a:gd name="connsiteY108" fmla="*/ 15 h 10000"/>
                    <a:gd name="connsiteX109" fmla="*/ 10000 w 10000"/>
                    <a:gd name="connsiteY109" fmla="*/ 9013 h 10000"/>
                    <a:gd name="connsiteX110" fmla="*/ 10000 w 10000"/>
                    <a:gd name="connsiteY110" fmla="*/ 9013 h 10000"/>
                    <a:gd name="connsiteX111" fmla="*/ 9722 w 10000"/>
                    <a:gd name="connsiteY111" fmla="*/ 8999 h 10000"/>
                    <a:gd name="connsiteX112" fmla="*/ 9389 w 10000"/>
                    <a:gd name="connsiteY112" fmla="*/ 9013 h 10000"/>
                    <a:gd name="connsiteX113" fmla="*/ 9389 w 10000"/>
                    <a:gd name="connsiteY113" fmla="*/ 9013 h 10000"/>
                    <a:gd name="connsiteX114" fmla="*/ 9278 w 10000"/>
                    <a:gd name="connsiteY114" fmla="*/ 9028 h 10000"/>
                    <a:gd name="connsiteX115" fmla="*/ 9056 w 10000"/>
                    <a:gd name="connsiteY115" fmla="*/ 9013 h 10000"/>
                    <a:gd name="connsiteX116" fmla="*/ 8889 w 10000"/>
                    <a:gd name="connsiteY116" fmla="*/ 8999 h 10000"/>
                    <a:gd name="connsiteX117" fmla="*/ 8722 w 10000"/>
                    <a:gd name="connsiteY117" fmla="*/ 8969 h 10000"/>
                    <a:gd name="connsiteX118" fmla="*/ 8611 w 10000"/>
                    <a:gd name="connsiteY118" fmla="*/ 8925 h 10000"/>
                    <a:gd name="connsiteX119" fmla="*/ 8444 w 10000"/>
                    <a:gd name="connsiteY119" fmla="*/ 8851 h 10000"/>
                    <a:gd name="connsiteX120" fmla="*/ 8444 w 10000"/>
                    <a:gd name="connsiteY120" fmla="*/ 8851 h 10000"/>
                    <a:gd name="connsiteX121" fmla="*/ 8222 w 10000"/>
                    <a:gd name="connsiteY121" fmla="*/ 8719 h 10000"/>
                    <a:gd name="connsiteX122" fmla="*/ 8111 w 10000"/>
                    <a:gd name="connsiteY122" fmla="*/ 8660 h 10000"/>
                    <a:gd name="connsiteX123" fmla="*/ 7944 w 10000"/>
                    <a:gd name="connsiteY123" fmla="*/ 8616 h 10000"/>
                    <a:gd name="connsiteX124" fmla="*/ 7778 w 10000"/>
                    <a:gd name="connsiteY124" fmla="*/ 8586 h 10000"/>
                    <a:gd name="connsiteX125" fmla="*/ 7556 w 10000"/>
                    <a:gd name="connsiteY125" fmla="*/ 8571 h 10000"/>
                    <a:gd name="connsiteX126" fmla="*/ 7333 w 10000"/>
                    <a:gd name="connsiteY126" fmla="*/ 8557 h 10000"/>
                    <a:gd name="connsiteX127" fmla="*/ 7000 w 10000"/>
                    <a:gd name="connsiteY127" fmla="*/ 8542 h 10000"/>
                    <a:gd name="connsiteX128" fmla="*/ 7000 w 10000"/>
                    <a:gd name="connsiteY128" fmla="*/ 8542 h 10000"/>
                    <a:gd name="connsiteX129" fmla="*/ 6556 w 10000"/>
                    <a:gd name="connsiteY129" fmla="*/ 8557 h 10000"/>
                    <a:gd name="connsiteX130" fmla="*/ 6222 w 10000"/>
                    <a:gd name="connsiteY130" fmla="*/ 8557 h 10000"/>
                    <a:gd name="connsiteX131" fmla="*/ 6111 w 10000"/>
                    <a:gd name="connsiteY131" fmla="*/ 8542 h 10000"/>
                    <a:gd name="connsiteX132" fmla="*/ 6056 w 10000"/>
                    <a:gd name="connsiteY132" fmla="*/ 8527 h 10000"/>
                    <a:gd name="connsiteX133" fmla="*/ 6056 w 10000"/>
                    <a:gd name="connsiteY133" fmla="*/ 8527 h 10000"/>
                    <a:gd name="connsiteX134" fmla="*/ 6056 w 10000"/>
                    <a:gd name="connsiteY134" fmla="*/ 8262 h 10000"/>
                    <a:gd name="connsiteX135" fmla="*/ 6056 w 10000"/>
                    <a:gd name="connsiteY135" fmla="*/ 8262 h 10000"/>
                    <a:gd name="connsiteX136" fmla="*/ 6056 w 10000"/>
                    <a:gd name="connsiteY136" fmla="*/ 8203 h 10000"/>
                    <a:gd name="connsiteX137" fmla="*/ 5944 w 10000"/>
                    <a:gd name="connsiteY137" fmla="*/ 8130 h 10000"/>
                    <a:gd name="connsiteX138" fmla="*/ 5889 w 10000"/>
                    <a:gd name="connsiteY138" fmla="*/ 8115 h 10000"/>
                    <a:gd name="connsiteX139" fmla="*/ 5778 w 10000"/>
                    <a:gd name="connsiteY139" fmla="*/ 8100 h 10000"/>
                    <a:gd name="connsiteX140" fmla="*/ 5667 w 10000"/>
                    <a:gd name="connsiteY140" fmla="*/ 8100 h 10000"/>
                    <a:gd name="connsiteX141" fmla="*/ 5500 w 10000"/>
                    <a:gd name="connsiteY141" fmla="*/ 8115 h 10000"/>
                    <a:gd name="connsiteX142" fmla="*/ 5500 w 10000"/>
                    <a:gd name="connsiteY142" fmla="*/ 8115 h 10000"/>
                    <a:gd name="connsiteX143" fmla="*/ 4889 w 10000"/>
                    <a:gd name="connsiteY143" fmla="*/ 8218 h 10000"/>
                    <a:gd name="connsiteX144" fmla="*/ 4611 w 10000"/>
                    <a:gd name="connsiteY144" fmla="*/ 8247 h 10000"/>
                    <a:gd name="connsiteX145" fmla="*/ 4556 w 10000"/>
                    <a:gd name="connsiteY145" fmla="*/ 8262 h 10000"/>
                    <a:gd name="connsiteX146" fmla="*/ 4500 w 10000"/>
                    <a:gd name="connsiteY146" fmla="*/ 8247 h 10000"/>
                    <a:gd name="connsiteX147" fmla="*/ 4500 w 10000"/>
                    <a:gd name="connsiteY147" fmla="*/ 8247 h 10000"/>
                    <a:gd name="connsiteX148" fmla="*/ 4222 w 10000"/>
                    <a:gd name="connsiteY148" fmla="*/ 8100 h 10000"/>
                    <a:gd name="connsiteX149" fmla="*/ 4222 w 10000"/>
                    <a:gd name="connsiteY149" fmla="*/ 8100 h 10000"/>
                    <a:gd name="connsiteX150" fmla="*/ 4111 w 10000"/>
                    <a:gd name="connsiteY150" fmla="*/ 8027 h 10000"/>
                    <a:gd name="connsiteX151" fmla="*/ 4111 w 10000"/>
                    <a:gd name="connsiteY151" fmla="*/ 7982 h 10000"/>
                    <a:gd name="connsiteX152" fmla="*/ 4111 w 10000"/>
                    <a:gd name="connsiteY152" fmla="*/ 7938 h 10000"/>
                    <a:gd name="connsiteX153" fmla="*/ 4111 w 10000"/>
                    <a:gd name="connsiteY153" fmla="*/ 7938 h 10000"/>
                    <a:gd name="connsiteX154" fmla="*/ 4278 w 10000"/>
                    <a:gd name="connsiteY154" fmla="*/ 7894 h 10000"/>
                    <a:gd name="connsiteX155" fmla="*/ 4389 w 10000"/>
                    <a:gd name="connsiteY155" fmla="*/ 7879 h 10000"/>
                    <a:gd name="connsiteX156" fmla="*/ 4389 w 10000"/>
                    <a:gd name="connsiteY156" fmla="*/ 7879 h 10000"/>
                    <a:gd name="connsiteX157" fmla="*/ 4000 w 10000"/>
                    <a:gd name="connsiteY157" fmla="*/ 7879 h 10000"/>
                    <a:gd name="connsiteX158" fmla="*/ 3722 w 10000"/>
                    <a:gd name="connsiteY158" fmla="*/ 7894 h 10000"/>
                    <a:gd name="connsiteX159" fmla="*/ 3611 w 10000"/>
                    <a:gd name="connsiteY159" fmla="*/ 7909 h 10000"/>
                    <a:gd name="connsiteX160" fmla="*/ 3556 w 10000"/>
                    <a:gd name="connsiteY160" fmla="*/ 7923 h 10000"/>
                    <a:gd name="connsiteX161" fmla="*/ 3556 w 10000"/>
                    <a:gd name="connsiteY161" fmla="*/ 7923 h 10000"/>
                    <a:gd name="connsiteX162" fmla="*/ 3444 w 10000"/>
                    <a:gd name="connsiteY162" fmla="*/ 7982 h 10000"/>
                    <a:gd name="connsiteX163" fmla="*/ 3278 w 10000"/>
                    <a:gd name="connsiteY163" fmla="*/ 8071 h 10000"/>
                    <a:gd name="connsiteX164" fmla="*/ 3000 w 10000"/>
                    <a:gd name="connsiteY164" fmla="*/ 8174 h 10000"/>
                    <a:gd name="connsiteX165" fmla="*/ 2667 w 10000"/>
                    <a:gd name="connsiteY165" fmla="*/ 8247 h 10000"/>
                    <a:gd name="connsiteX166" fmla="*/ 2667 w 10000"/>
                    <a:gd name="connsiteY166" fmla="*/ 8247 h 10000"/>
                    <a:gd name="connsiteX167" fmla="*/ 2333 w 10000"/>
                    <a:gd name="connsiteY167" fmla="*/ 8306 h 10000"/>
                    <a:gd name="connsiteX168" fmla="*/ 1833 w 10000"/>
                    <a:gd name="connsiteY168" fmla="*/ 8365 h 10000"/>
                    <a:gd name="connsiteX169" fmla="*/ 1389 w 10000"/>
                    <a:gd name="connsiteY169" fmla="*/ 8395 h 10000"/>
                    <a:gd name="connsiteX170" fmla="*/ 889 w 10000"/>
                    <a:gd name="connsiteY170" fmla="*/ 8409 h 10000"/>
                    <a:gd name="connsiteX171" fmla="*/ 889 w 10000"/>
                    <a:gd name="connsiteY171" fmla="*/ 8409 h 10000"/>
                    <a:gd name="connsiteX172" fmla="*/ 500 w 10000"/>
                    <a:gd name="connsiteY172" fmla="*/ 8424 h 10000"/>
                    <a:gd name="connsiteX173" fmla="*/ 222 w 10000"/>
                    <a:gd name="connsiteY173" fmla="*/ 8439 h 10000"/>
                    <a:gd name="connsiteX174" fmla="*/ 0 w 10000"/>
                    <a:gd name="connsiteY174" fmla="*/ 8454 h 10000"/>
                    <a:gd name="connsiteX175" fmla="*/ 0 w 10000"/>
                    <a:gd name="connsiteY175" fmla="*/ 8454 h 10000"/>
                    <a:gd name="connsiteX176" fmla="*/ 278 w 10000"/>
                    <a:gd name="connsiteY176" fmla="*/ 8689 h 10000"/>
                    <a:gd name="connsiteX177" fmla="*/ 500 w 10000"/>
                    <a:gd name="connsiteY177" fmla="*/ 8866 h 10000"/>
                    <a:gd name="connsiteX178" fmla="*/ 722 w 10000"/>
                    <a:gd name="connsiteY178" fmla="*/ 9013 h 10000"/>
                    <a:gd name="connsiteX179" fmla="*/ 722 w 10000"/>
                    <a:gd name="connsiteY179" fmla="*/ 9013 h 10000"/>
                    <a:gd name="connsiteX180" fmla="*/ 889 w 10000"/>
                    <a:gd name="connsiteY180" fmla="*/ 9102 h 10000"/>
                    <a:gd name="connsiteX181" fmla="*/ 944 w 10000"/>
                    <a:gd name="connsiteY181" fmla="*/ 9175 h 10000"/>
                    <a:gd name="connsiteX182" fmla="*/ 1111 w 10000"/>
                    <a:gd name="connsiteY182" fmla="*/ 9249 h 10000"/>
                    <a:gd name="connsiteX183" fmla="*/ 1333 w 10000"/>
                    <a:gd name="connsiteY183" fmla="*/ 9367 h 10000"/>
                    <a:gd name="connsiteX184" fmla="*/ 1333 w 10000"/>
                    <a:gd name="connsiteY184" fmla="*/ 9367 h 10000"/>
                    <a:gd name="connsiteX185" fmla="*/ 1444 w 10000"/>
                    <a:gd name="connsiteY185" fmla="*/ 9426 h 10000"/>
                    <a:gd name="connsiteX186" fmla="*/ 1500 w 10000"/>
                    <a:gd name="connsiteY186" fmla="*/ 9470 h 10000"/>
                    <a:gd name="connsiteX187" fmla="*/ 1500 w 10000"/>
                    <a:gd name="connsiteY187" fmla="*/ 9514 h 10000"/>
                    <a:gd name="connsiteX188" fmla="*/ 1556 w 10000"/>
                    <a:gd name="connsiteY188" fmla="*/ 9529 h 10000"/>
                    <a:gd name="connsiteX189" fmla="*/ 1722 w 10000"/>
                    <a:gd name="connsiteY189" fmla="*/ 9543 h 10000"/>
                    <a:gd name="connsiteX190" fmla="*/ 1944 w 10000"/>
                    <a:gd name="connsiteY190" fmla="*/ 9558 h 10000"/>
                    <a:gd name="connsiteX191" fmla="*/ 2944 w 10000"/>
                    <a:gd name="connsiteY191" fmla="*/ 9573 h 10000"/>
                    <a:gd name="connsiteX192" fmla="*/ 2944 w 10000"/>
                    <a:gd name="connsiteY192" fmla="*/ 9573 h 10000"/>
                    <a:gd name="connsiteX193" fmla="*/ 4167 w 10000"/>
                    <a:gd name="connsiteY193" fmla="*/ 9602 h 10000"/>
                    <a:gd name="connsiteX194" fmla="*/ 4889 w 10000"/>
                    <a:gd name="connsiteY194" fmla="*/ 9647 h 10000"/>
                    <a:gd name="connsiteX195" fmla="*/ 5278 w 10000"/>
                    <a:gd name="connsiteY195" fmla="*/ 9691 h 10000"/>
                    <a:gd name="connsiteX196" fmla="*/ 5444 w 10000"/>
                    <a:gd name="connsiteY196" fmla="*/ 9705 h 10000"/>
                    <a:gd name="connsiteX197" fmla="*/ 5444 w 10000"/>
                    <a:gd name="connsiteY197" fmla="*/ 9705 h 10000"/>
                    <a:gd name="connsiteX198" fmla="*/ 5722 w 10000"/>
                    <a:gd name="connsiteY198" fmla="*/ 9735 h 10000"/>
                    <a:gd name="connsiteX199" fmla="*/ 5833 w 10000"/>
                    <a:gd name="connsiteY199" fmla="*/ 9750 h 10000"/>
                    <a:gd name="connsiteX200" fmla="*/ 5833 w 10000"/>
                    <a:gd name="connsiteY200" fmla="*/ 9750 h 10000"/>
                    <a:gd name="connsiteX201" fmla="*/ 5833 w 10000"/>
                    <a:gd name="connsiteY201" fmla="*/ 9735 h 10000"/>
                    <a:gd name="connsiteX202" fmla="*/ 5889 w 10000"/>
                    <a:gd name="connsiteY202" fmla="*/ 9720 h 10000"/>
                    <a:gd name="connsiteX203" fmla="*/ 6000 w 10000"/>
                    <a:gd name="connsiteY203" fmla="*/ 9705 h 10000"/>
                    <a:gd name="connsiteX204" fmla="*/ 6167 w 10000"/>
                    <a:gd name="connsiteY204" fmla="*/ 9691 h 10000"/>
                    <a:gd name="connsiteX205" fmla="*/ 6444 w 10000"/>
                    <a:gd name="connsiteY205" fmla="*/ 9691 h 10000"/>
                    <a:gd name="connsiteX206" fmla="*/ 6833 w 10000"/>
                    <a:gd name="connsiteY206" fmla="*/ 9705 h 10000"/>
                    <a:gd name="connsiteX207" fmla="*/ 7278 w 10000"/>
                    <a:gd name="connsiteY207" fmla="*/ 9750 h 10000"/>
                    <a:gd name="connsiteX208" fmla="*/ 7278 w 10000"/>
                    <a:gd name="connsiteY208" fmla="*/ 9750 h 10000"/>
                    <a:gd name="connsiteX209" fmla="*/ 8722 w 10000"/>
                    <a:gd name="connsiteY209" fmla="*/ 9882 h 10000"/>
                    <a:gd name="connsiteX210" fmla="*/ 10000 w 10000"/>
                    <a:gd name="connsiteY21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889 w 10000"/>
                    <a:gd name="connsiteY71" fmla="*/ 2946 h 10000"/>
                    <a:gd name="connsiteX72" fmla="*/ 1667 w 10000"/>
                    <a:gd name="connsiteY72" fmla="*/ 2695 h 10000"/>
                    <a:gd name="connsiteX73" fmla="*/ 1611 w 10000"/>
                    <a:gd name="connsiteY73" fmla="*/ 2622 h 10000"/>
                    <a:gd name="connsiteX74" fmla="*/ 1611 w 10000"/>
                    <a:gd name="connsiteY74" fmla="*/ 2592 h 10000"/>
                    <a:gd name="connsiteX75" fmla="*/ 1667 w 10000"/>
                    <a:gd name="connsiteY75" fmla="*/ 2577 h 10000"/>
                    <a:gd name="connsiteX76" fmla="*/ 1667 w 10000"/>
                    <a:gd name="connsiteY76" fmla="*/ 2577 h 10000"/>
                    <a:gd name="connsiteX77" fmla="*/ 2000 w 10000"/>
                    <a:gd name="connsiteY77" fmla="*/ 2563 h 10000"/>
                    <a:gd name="connsiteX78" fmla="*/ 2222 w 10000"/>
                    <a:gd name="connsiteY78" fmla="*/ 2563 h 10000"/>
                    <a:gd name="connsiteX79" fmla="*/ 2389 w 10000"/>
                    <a:gd name="connsiteY79" fmla="*/ 2577 h 10000"/>
                    <a:gd name="connsiteX80" fmla="*/ 2389 w 10000"/>
                    <a:gd name="connsiteY80" fmla="*/ 2577 h 10000"/>
                    <a:gd name="connsiteX81" fmla="*/ 2444 w 10000"/>
                    <a:gd name="connsiteY81" fmla="*/ 2577 h 10000"/>
                    <a:gd name="connsiteX82" fmla="*/ 2500 w 10000"/>
                    <a:gd name="connsiteY82" fmla="*/ 2548 h 10000"/>
                    <a:gd name="connsiteX83" fmla="*/ 2778 w 10000"/>
                    <a:gd name="connsiteY83" fmla="*/ 2459 h 10000"/>
                    <a:gd name="connsiteX84" fmla="*/ 3500 w 10000"/>
                    <a:gd name="connsiteY84" fmla="*/ 2165 h 10000"/>
                    <a:gd name="connsiteX85" fmla="*/ 4444 w 10000"/>
                    <a:gd name="connsiteY85" fmla="*/ 1738 h 10000"/>
                    <a:gd name="connsiteX86" fmla="*/ 4444 w 10000"/>
                    <a:gd name="connsiteY86" fmla="*/ 1738 h 10000"/>
                    <a:gd name="connsiteX87" fmla="*/ 4444 w 10000"/>
                    <a:gd name="connsiteY87" fmla="*/ 1679 h 10000"/>
                    <a:gd name="connsiteX88" fmla="*/ 4444 w 10000"/>
                    <a:gd name="connsiteY88" fmla="*/ 1546 h 10000"/>
                    <a:gd name="connsiteX89" fmla="*/ 4500 w 10000"/>
                    <a:gd name="connsiteY89" fmla="*/ 1458 h 10000"/>
                    <a:gd name="connsiteX90" fmla="*/ 4611 w 10000"/>
                    <a:gd name="connsiteY90" fmla="*/ 1384 h 10000"/>
                    <a:gd name="connsiteX91" fmla="*/ 4778 w 10000"/>
                    <a:gd name="connsiteY91" fmla="*/ 1296 h 10000"/>
                    <a:gd name="connsiteX92" fmla="*/ 5000 w 10000"/>
                    <a:gd name="connsiteY92" fmla="*/ 1222 h 10000"/>
                    <a:gd name="connsiteX93" fmla="*/ 5000 w 10000"/>
                    <a:gd name="connsiteY93" fmla="*/ 1222 h 10000"/>
                    <a:gd name="connsiteX94" fmla="*/ 5556 w 10000"/>
                    <a:gd name="connsiteY94" fmla="*/ 1075 h 10000"/>
                    <a:gd name="connsiteX95" fmla="*/ 6111 w 10000"/>
                    <a:gd name="connsiteY95" fmla="*/ 884 h 10000"/>
                    <a:gd name="connsiteX96" fmla="*/ 6667 w 10000"/>
                    <a:gd name="connsiteY96" fmla="*/ 707 h 10000"/>
                    <a:gd name="connsiteX97" fmla="*/ 7056 w 10000"/>
                    <a:gd name="connsiteY97" fmla="*/ 545 h 10000"/>
                    <a:gd name="connsiteX98" fmla="*/ 7056 w 10000"/>
                    <a:gd name="connsiteY98" fmla="*/ 545 h 10000"/>
                    <a:gd name="connsiteX99" fmla="*/ 7333 w 10000"/>
                    <a:gd name="connsiteY99" fmla="*/ 398 h 10000"/>
                    <a:gd name="connsiteX100" fmla="*/ 7667 w 10000"/>
                    <a:gd name="connsiteY100" fmla="*/ 221 h 10000"/>
                    <a:gd name="connsiteX101" fmla="*/ 8000 w 10000"/>
                    <a:gd name="connsiteY101" fmla="*/ 88 h 10000"/>
                    <a:gd name="connsiteX102" fmla="*/ 8167 w 10000"/>
                    <a:gd name="connsiteY102" fmla="*/ 29 h 10000"/>
                    <a:gd name="connsiteX103" fmla="*/ 8333 w 10000"/>
                    <a:gd name="connsiteY103" fmla="*/ 15 h 10000"/>
                    <a:gd name="connsiteX104" fmla="*/ 8333 w 10000"/>
                    <a:gd name="connsiteY104" fmla="*/ 15 h 10000"/>
                    <a:gd name="connsiteX105" fmla="*/ 8667 w 10000"/>
                    <a:gd name="connsiteY105" fmla="*/ 0 h 10000"/>
                    <a:gd name="connsiteX106" fmla="*/ 9111 w 10000"/>
                    <a:gd name="connsiteY106" fmla="*/ 0 h 10000"/>
                    <a:gd name="connsiteX107" fmla="*/ 10000 w 10000"/>
                    <a:gd name="connsiteY107" fmla="*/ 15 h 10000"/>
                    <a:gd name="connsiteX108" fmla="*/ 10000 w 10000"/>
                    <a:gd name="connsiteY108" fmla="*/ 9013 h 10000"/>
                    <a:gd name="connsiteX109" fmla="*/ 10000 w 10000"/>
                    <a:gd name="connsiteY109" fmla="*/ 9013 h 10000"/>
                    <a:gd name="connsiteX110" fmla="*/ 9722 w 10000"/>
                    <a:gd name="connsiteY110" fmla="*/ 8999 h 10000"/>
                    <a:gd name="connsiteX111" fmla="*/ 9389 w 10000"/>
                    <a:gd name="connsiteY111" fmla="*/ 9013 h 10000"/>
                    <a:gd name="connsiteX112" fmla="*/ 9389 w 10000"/>
                    <a:gd name="connsiteY112" fmla="*/ 9013 h 10000"/>
                    <a:gd name="connsiteX113" fmla="*/ 9278 w 10000"/>
                    <a:gd name="connsiteY113" fmla="*/ 9028 h 10000"/>
                    <a:gd name="connsiteX114" fmla="*/ 9056 w 10000"/>
                    <a:gd name="connsiteY114" fmla="*/ 9013 h 10000"/>
                    <a:gd name="connsiteX115" fmla="*/ 8889 w 10000"/>
                    <a:gd name="connsiteY115" fmla="*/ 8999 h 10000"/>
                    <a:gd name="connsiteX116" fmla="*/ 8722 w 10000"/>
                    <a:gd name="connsiteY116" fmla="*/ 8969 h 10000"/>
                    <a:gd name="connsiteX117" fmla="*/ 8611 w 10000"/>
                    <a:gd name="connsiteY117" fmla="*/ 8925 h 10000"/>
                    <a:gd name="connsiteX118" fmla="*/ 8444 w 10000"/>
                    <a:gd name="connsiteY118" fmla="*/ 8851 h 10000"/>
                    <a:gd name="connsiteX119" fmla="*/ 8444 w 10000"/>
                    <a:gd name="connsiteY119" fmla="*/ 8851 h 10000"/>
                    <a:gd name="connsiteX120" fmla="*/ 8222 w 10000"/>
                    <a:gd name="connsiteY120" fmla="*/ 8719 h 10000"/>
                    <a:gd name="connsiteX121" fmla="*/ 8111 w 10000"/>
                    <a:gd name="connsiteY121" fmla="*/ 8660 h 10000"/>
                    <a:gd name="connsiteX122" fmla="*/ 7944 w 10000"/>
                    <a:gd name="connsiteY122" fmla="*/ 8616 h 10000"/>
                    <a:gd name="connsiteX123" fmla="*/ 7778 w 10000"/>
                    <a:gd name="connsiteY123" fmla="*/ 8586 h 10000"/>
                    <a:gd name="connsiteX124" fmla="*/ 7556 w 10000"/>
                    <a:gd name="connsiteY124" fmla="*/ 8571 h 10000"/>
                    <a:gd name="connsiteX125" fmla="*/ 7333 w 10000"/>
                    <a:gd name="connsiteY125" fmla="*/ 8557 h 10000"/>
                    <a:gd name="connsiteX126" fmla="*/ 7000 w 10000"/>
                    <a:gd name="connsiteY126" fmla="*/ 8542 h 10000"/>
                    <a:gd name="connsiteX127" fmla="*/ 7000 w 10000"/>
                    <a:gd name="connsiteY127" fmla="*/ 8542 h 10000"/>
                    <a:gd name="connsiteX128" fmla="*/ 6556 w 10000"/>
                    <a:gd name="connsiteY128" fmla="*/ 8557 h 10000"/>
                    <a:gd name="connsiteX129" fmla="*/ 6222 w 10000"/>
                    <a:gd name="connsiteY129" fmla="*/ 8557 h 10000"/>
                    <a:gd name="connsiteX130" fmla="*/ 6111 w 10000"/>
                    <a:gd name="connsiteY130" fmla="*/ 8542 h 10000"/>
                    <a:gd name="connsiteX131" fmla="*/ 6056 w 10000"/>
                    <a:gd name="connsiteY131" fmla="*/ 8527 h 10000"/>
                    <a:gd name="connsiteX132" fmla="*/ 6056 w 10000"/>
                    <a:gd name="connsiteY132" fmla="*/ 8527 h 10000"/>
                    <a:gd name="connsiteX133" fmla="*/ 6056 w 10000"/>
                    <a:gd name="connsiteY133" fmla="*/ 8262 h 10000"/>
                    <a:gd name="connsiteX134" fmla="*/ 6056 w 10000"/>
                    <a:gd name="connsiteY134" fmla="*/ 8262 h 10000"/>
                    <a:gd name="connsiteX135" fmla="*/ 6056 w 10000"/>
                    <a:gd name="connsiteY135" fmla="*/ 8203 h 10000"/>
                    <a:gd name="connsiteX136" fmla="*/ 5944 w 10000"/>
                    <a:gd name="connsiteY136" fmla="*/ 8130 h 10000"/>
                    <a:gd name="connsiteX137" fmla="*/ 5889 w 10000"/>
                    <a:gd name="connsiteY137" fmla="*/ 8115 h 10000"/>
                    <a:gd name="connsiteX138" fmla="*/ 5778 w 10000"/>
                    <a:gd name="connsiteY138" fmla="*/ 8100 h 10000"/>
                    <a:gd name="connsiteX139" fmla="*/ 5667 w 10000"/>
                    <a:gd name="connsiteY139" fmla="*/ 8100 h 10000"/>
                    <a:gd name="connsiteX140" fmla="*/ 5500 w 10000"/>
                    <a:gd name="connsiteY140" fmla="*/ 8115 h 10000"/>
                    <a:gd name="connsiteX141" fmla="*/ 5500 w 10000"/>
                    <a:gd name="connsiteY141" fmla="*/ 8115 h 10000"/>
                    <a:gd name="connsiteX142" fmla="*/ 4889 w 10000"/>
                    <a:gd name="connsiteY142" fmla="*/ 8218 h 10000"/>
                    <a:gd name="connsiteX143" fmla="*/ 4611 w 10000"/>
                    <a:gd name="connsiteY143" fmla="*/ 8247 h 10000"/>
                    <a:gd name="connsiteX144" fmla="*/ 4556 w 10000"/>
                    <a:gd name="connsiteY144" fmla="*/ 8262 h 10000"/>
                    <a:gd name="connsiteX145" fmla="*/ 4500 w 10000"/>
                    <a:gd name="connsiteY145" fmla="*/ 8247 h 10000"/>
                    <a:gd name="connsiteX146" fmla="*/ 4500 w 10000"/>
                    <a:gd name="connsiteY146" fmla="*/ 8247 h 10000"/>
                    <a:gd name="connsiteX147" fmla="*/ 4222 w 10000"/>
                    <a:gd name="connsiteY147" fmla="*/ 8100 h 10000"/>
                    <a:gd name="connsiteX148" fmla="*/ 4222 w 10000"/>
                    <a:gd name="connsiteY148" fmla="*/ 8100 h 10000"/>
                    <a:gd name="connsiteX149" fmla="*/ 4111 w 10000"/>
                    <a:gd name="connsiteY149" fmla="*/ 8027 h 10000"/>
                    <a:gd name="connsiteX150" fmla="*/ 4111 w 10000"/>
                    <a:gd name="connsiteY150" fmla="*/ 7982 h 10000"/>
                    <a:gd name="connsiteX151" fmla="*/ 4111 w 10000"/>
                    <a:gd name="connsiteY151" fmla="*/ 7938 h 10000"/>
                    <a:gd name="connsiteX152" fmla="*/ 4111 w 10000"/>
                    <a:gd name="connsiteY152" fmla="*/ 7938 h 10000"/>
                    <a:gd name="connsiteX153" fmla="*/ 4278 w 10000"/>
                    <a:gd name="connsiteY153" fmla="*/ 7894 h 10000"/>
                    <a:gd name="connsiteX154" fmla="*/ 4389 w 10000"/>
                    <a:gd name="connsiteY154" fmla="*/ 7879 h 10000"/>
                    <a:gd name="connsiteX155" fmla="*/ 4389 w 10000"/>
                    <a:gd name="connsiteY155" fmla="*/ 7879 h 10000"/>
                    <a:gd name="connsiteX156" fmla="*/ 4000 w 10000"/>
                    <a:gd name="connsiteY156" fmla="*/ 7879 h 10000"/>
                    <a:gd name="connsiteX157" fmla="*/ 3722 w 10000"/>
                    <a:gd name="connsiteY157" fmla="*/ 7894 h 10000"/>
                    <a:gd name="connsiteX158" fmla="*/ 3611 w 10000"/>
                    <a:gd name="connsiteY158" fmla="*/ 7909 h 10000"/>
                    <a:gd name="connsiteX159" fmla="*/ 3556 w 10000"/>
                    <a:gd name="connsiteY159" fmla="*/ 7923 h 10000"/>
                    <a:gd name="connsiteX160" fmla="*/ 3556 w 10000"/>
                    <a:gd name="connsiteY160" fmla="*/ 7923 h 10000"/>
                    <a:gd name="connsiteX161" fmla="*/ 3444 w 10000"/>
                    <a:gd name="connsiteY161" fmla="*/ 7982 h 10000"/>
                    <a:gd name="connsiteX162" fmla="*/ 3278 w 10000"/>
                    <a:gd name="connsiteY162" fmla="*/ 8071 h 10000"/>
                    <a:gd name="connsiteX163" fmla="*/ 3000 w 10000"/>
                    <a:gd name="connsiteY163" fmla="*/ 8174 h 10000"/>
                    <a:gd name="connsiteX164" fmla="*/ 2667 w 10000"/>
                    <a:gd name="connsiteY164" fmla="*/ 8247 h 10000"/>
                    <a:gd name="connsiteX165" fmla="*/ 2667 w 10000"/>
                    <a:gd name="connsiteY165" fmla="*/ 8247 h 10000"/>
                    <a:gd name="connsiteX166" fmla="*/ 2333 w 10000"/>
                    <a:gd name="connsiteY166" fmla="*/ 8306 h 10000"/>
                    <a:gd name="connsiteX167" fmla="*/ 1833 w 10000"/>
                    <a:gd name="connsiteY167" fmla="*/ 8365 h 10000"/>
                    <a:gd name="connsiteX168" fmla="*/ 1389 w 10000"/>
                    <a:gd name="connsiteY168" fmla="*/ 8395 h 10000"/>
                    <a:gd name="connsiteX169" fmla="*/ 889 w 10000"/>
                    <a:gd name="connsiteY169" fmla="*/ 8409 h 10000"/>
                    <a:gd name="connsiteX170" fmla="*/ 889 w 10000"/>
                    <a:gd name="connsiteY170" fmla="*/ 8409 h 10000"/>
                    <a:gd name="connsiteX171" fmla="*/ 500 w 10000"/>
                    <a:gd name="connsiteY171" fmla="*/ 8424 h 10000"/>
                    <a:gd name="connsiteX172" fmla="*/ 222 w 10000"/>
                    <a:gd name="connsiteY172" fmla="*/ 8439 h 10000"/>
                    <a:gd name="connsiteX173" fmla="*/ 0 w 10000"/>
                    <a:gd name="connsiteY173" fmla="*/ 8454 h 10000"/>
                    <a:gd name="connsiteX174" fmla="*/ 0 w 10000"/>
                    <a:gd name="connsiteY174" fmla="*/ 8454 h 10000"/>
                    <a:gd name="connsiteX175" fmla="*/ 278 w 10000"/>
                    <a:gd name="connsiteY175" fmla="*/ 8689 h 10000"/>
                    <a:gd name="connsiteX176" fmla="*/ 500 w 10000"/>
                    <a:gd name="connsiteY176" fmla="*/ 8866 h 10000"/>
                    <a:gd name="connsiteX177" fmla="*/ 722 w 10000"/>
                    <a:gd name="connsiteY177" fmla="*/ 9013 h 10000"/>
                    <a:gd name="connsiteX178" fmla="*/ 722 w 10000"/>
                    <a:gd name="connsiteY178" fmla="*/ 9013 h 10000"/>
                    <a:gd name="connsiteX179" fmla="*/ 889 w 10000"/>
                    <a:gd name="connsiteY179" fmla="*/ 9102 h 10000"/>
                    <a:gd name="connsiteX180" fmla="*/ 944 w 10000"/>
                    <a:gd name="connsiteY180" fmla="*/ 9175 h 10000"/>
                    <a:gd name="connsiteX181" fmla="*/ 1111 w 10000"/>
                    <a:gd name="connsiteY181" fmla="*/ 9249 h 10000"/>
                    <a:gd name="connsiteX182" fmla="*/ 1333 w 10000"/>
                    <a:gd name="connsiteY182" fmla="*/ 9367 h 10000"/>
                    <a:gd name="connsiteX183" fmla="*/ 1333 w 10000"/>
                    <a:gd name="connsiteY183" fmla="*/ 9367 h 10000"/>
                    <a:gd name="connsiteX184" fmla="*/ 1444 w 10000"/>
                    <a:gd name="connsiteY184" fmla="*/ 9426 h 10000"/>
                    <a:gd name="connsiteX185" fmla="*/ 1500 w 10000"/>
                    <a:gd name="connsiteY185" fmla="*/ 9470 h 10000"/>
                    <a:gd name="connsiteX186" fmla="*/ 1500 w 10000"/>
                    <a:gd name="connsiteY186" fmla="*/ 9514 h 10000"/>
                    <a:gd name="connsiteX187" fmla="*/ 1556 w 10000"/>
                    <a:gd name="connsiteY187" fmla="*/ 9529 h 10000"/>
                    <a:gd name="connsiteX188" fmla="*/ 1722 w 10000"/>
                    <a:gd name="connsiteY188" fmla="*/ 9543 h 10000"/>
                    <a:gd name="connsiteX189" fmla="*/ 1944 w 10000"/>
                    <a:gd name="connsiteY189" fmla="*/ 9558 h 10000"/>
                    <a:gd name="connsiteX190" fmla="*/ 2944 w 10000"/>
                    <a:gd name="connsiteY190" fmla="*/ 9573 h 10000"/>
                    <a:gd name="connsiteX191" fmla="*/ 2944 w 10000"/>
                    <a:gd name="connsiteY191" fmla="*/ 9573 h 10000"/>
                    <a:gd name="connsiteX192" fmla="*/ 4167 w 10000"/>
                    <a:gd name="connsiteY192" fmla="*/ 9602 h 10000"/>
                    <a:gd name="connsiteX193" fmla="*/ 4889 w 10000"/>
                    <a:gd name="connsiteY193" fmla="*/ 9647 h 10000"/>
                    <a:gd name="connsiteX194" fmla="*/ 5278 w 10000"/>
                    <a:gd name="connsiteY194" fmla="*/ 9691 h 10000"/>
                    <a:gd name="connsiteX195" fmla="*/ 5444 w 10000"/>
                    <a:gd name="connsiteY195" fmla="*/ 9705 h 10000"/>
                    <a:gd name="connsiteX196" fmla="*/ 5444 w 10000"/>
                    <a:gd name="connsiteY196" fmla="*/ 9705 h 10000"/>
                    <a:gd name="connsiteX197" fmla="*/ 5722 w 10000"/>
                    <a:gd name="connsiteY197" fmla="*/ 9735 h 10000"/>
                    <a:gd name="connsiteX198" fmla="*/ 5833 w 10000"/>
                    <a:gd name="connsiteY198" fmla="*/ 9750 h 10000"/>
                    <a:gd name="connsiteX199" fmla="*/ 5833 w 10000"/>
                    <a:gd name="connsiteY199" fmla="*/ 9750 h 10000"/>
                    <a:gd name="connsiteX200" fmla="*/ 5833 w 10000"/>
                    <a:gd name="connsiteY200" fmla="*/ 9735 h 10000"/>
                    <a:gd name="connsiteX201" fmla="*/ 5889 w 10000"/>
                    <a:gd name="connsiteY201" fmla="*/ 9720 h 10000"/>
                    <a:gd name="connsiteX202" fmla="*/ 6000 w 10000"/>
                    <a:gd name="connsiteY202" fmla="*/ 9705 h 10000"/>
                    <a:gd name="connsiteX203" fmla="*/ 6167 w 10000"/>
                    <a:gd name="connsiteY203" fmla="*/ 9691 h 10000"/>
                    <a:gd name="connsiteX204" fmla="*/ 6444 w 10000"/>
                    <a:gd name="connsiteY204" fmla="*/ 9691 h 10000"/>
                    <a:gd name="connsiteX205" fmla="*/ 6833 w 10000"/>
                    <a:gd name="connsiteY205" fmla="*/ 9705 h 10000"/>
                    <a:gd name="connsiteX206" fmla="*/ 7278 w 10000"/>
                    <a:gd name="connsiteY206" fmla="*/ 9750 h 10000"/>
                    <a:gd name="connsiteX207" fmla="*/ 7278 w 10000"/>
                    <a:gd name="connsiteY207" fmla="*/ 9750 h 10000"/>
                    <a:gd name="connsiteX208" fmla="*/ 8722 w 10000"/>
                    <a:gd name="connsiteY208" fmla="*/ 9882 h 10000"/>
                    <a:gd name="connsiteX209" fmla="*/ 10000 w 10000"/>
                    <a:gd name="connsiteY20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67 w 10000"/>
                    <a:gd name="connsiteY71" fmla="*/ 2695 h 10000"/>
                    <a:gd name="connsiteX72" fmla="*/ 1611 w 10000"/>
                    <a:gd name="connsiteY72" fmla="*/ 2622 h 10000"/>
                    <a:gd name="connsiteX73" fmla="*/ 1611 w 10000"/>
                    <a:gd name="connsiteY73" fmla="*/ 2592 h 10000"/>
                    <a:gd name="connsiteX74" fmla="*/ 1667 w 10000"/>
                    <a:gd name="connsiteY74" fmla="*/ 2577 h 10000"/>
                    <a:gd name="connsiteX75" fmla="*/ 1667 w 10000"/>
                    <a:gd name="connsiteY75" fmla="*/ 2577 h 10000"/>
                    <a:gd name="connsiteX76" fmla="*/ 2000 w 10000"/>
                    <a:gd name="connsiteY76" fmla="*/ 2563 h 10000"/>
                    <a:gd name="connsiteX77" fmla="*/ 2222 w 10000"/>
                    <a:gd name="connsiteY77" fmla="*/ 2563 h 10000"/>
                    <a:gd name="connsiteX78" fmla="*/ 2389 w 10000"/>
                    <a:gd name="connsiteY78" fmla="*/ 2577 h 10000"/>
                    <a:gd name="connsiteX79" fmla="*/ 2389 w 10000"/>
                    <a:gd name="connsiteY79" fmla="*/ 2577 h 10000"/>
                    <a:gd name="connsiteX80" fmla="*/ 2444 w 10000"/>
                    <a:gd name="connsiteY80" fmla="*/ 2577 h 10000"/>
                    <a:gd name="connsiteX81" fmla="*/ 2500 w 10000"/>
                    <a:gd name="connsiteY81" fmla="*/ 2548 h 10000"/>
                    <a:gd name="connsiteX82" fmla="*/ 2778 w 10000"/>
                    <a:gd name="connsiteY82" fmla="*/ 2459 h 10000"/>
                    <a:gd name="connsiteX83" fmla="*/ 3500 w 10000"/>
                    <a:gd name="connsiteY83" fmla="*/ 2165 h 10000"/>
                    <a:gd name="connsiteX84" fmla="*/ 4444 w 10000"/>
                    <a:gd name="connsiteY84" fmla="*/ 1738 h 10000"/>
                    <a:gd name="connsiteX85" fmla="*/ 4444 w 10000"/>
                    <a:gd name="connsiteY85" fmla="*/ 1738 h 10000"/>
                    <a:gd name="connsiteX86" fmla="*/ 4444 w 10000"/>
                    <a:gd name="connsiteY86" fmla="*/ 1679 h 10000"/>
                    <a:gd name="connsiteX87" fmla="*/ 4444 w 10000"/>
                    <a:gd name="connsiteY87" fmla="*/ 1546 h 10000"/>
                    <a:gd name="connsiteX88" fmla="*/ 4500 w 10000"/>
                    <a:gd name="connsiteY88" fmla="*/ 1458 h 10000"/>
                    <a:gd name="connsiteX89" fmla="*/ 4611 w 10000"/>
                    <a:gd name="connsiteY89" fmla="*/ 1384 h 10000"/>
                    <a:gd name="connsiteX90" fmla="*/ 4778 w 10000"/>
                    <a:gd name="connsiteY90" fmla="*/ 1296 h 10000"/>
                    <a:gd name="connsiteX91" fmla="*/ 5000 w 10000"/>
                    <a:gd name="connsiteY91" fmla="*/ 1222 h 10000"/>
                    <a:gd name="connsiteX92" fmla="*/ 5000 w 10000"/>
                    <a:gd name="connsiteY92" fmla="*/ 1222 h 10000"/>
                    <a:gd name="connsiteX93" fmla="*/ 5556 w 10000"/>
                    <a:gd name="connsiteY93" fmla="*/ 1075 h 10000"/>
                    <a:gd name="connsiteX94" fmla="*/ 6111 w 10000"/>
                    <a:gd name="connsiteY94" fmla="*/ 884 h 10000"/>
                    <a:gd name="connsiteX95" fmla="*/ 6667 w 10000"/>
                    <a:gd name="connsiteY95" fmla="*/ 707 h 10000"/>
                    <a:gd name="connsiteX96" fmla="*/ 7056 w 10000"/>
                    <a:gd name="connsiteY96" fmla="*/ 545 h 10000"/>
                    <a:gd name="connsiteX97" fmla="*/ 7056 w 10000"/>
                    <a:gd name="connsiteY97" fmla="*/ 545 h 10000"/>
                    <a:gd name="connsiteX98" fmla="*/ 7333 w 10000"/>
                    <a:gd name="connsiteY98" fmla="*/ 398 h 10000"/>
                    <a:gd name="connsiteX99" fmla="*/ 7667 w 10000"/>
                    <a:gd name="connsiteY99" fmla="*/ 221 h 10000"/>
                    <a:gd name="connsiteX100" fmla="*/ 8000 w 10000"/>
                    <a:gd name="connsiteY100" fmla="*/ 88 h 10000"/>
                    <a:gd name="connsiteX101" fmla="*/ 8167 w 10000"/>
                    <a:gd name="connsiteY101" fmla="*/ 29 h 10000"/>
                    <a:gd name="connsiteX102" fmla="*/ 8333 w 10000"/>
                    <a:gd name="connsiteY102" fmla="*/ 15 h 10000"/>
                    <a:gd name="connsiteX103" fmla="*/ 8333 w 10000"/>
                    <a:gd name="connsiteY103" fmla="*/ 15 h 10000"/>
                    <a:gd name="connsiteX104" fmla="*/ 8667 w 10000"/>
                    <a:gd name="connsiteY104" fmla="*/ 0 h 10000"/>
                    <a:gd name="connsiteX105" fmla="*/ 9111 w 10000"/>
                    <a:gd name="connsiteY105" fmla="*/ 0 h 10000"/>
                    <a:gd name="connsiteX106" fmla="*/ 10000 w 10000"/>
                    <a:gd name="connsiteY106" fmla="*/ 15 h 10000"/>
                    <a:gd name="connsiteX107" fmla="*/ 10000 w 10000"/>
                    <a:gd name="connsiteY107" fmla="*/ 9013 h 10000"/>
                    <a:gd name="connsiteX108" fmla="*/ 10000 w 10000"/>
                    <a:gd name="connsiteY108" fmla="*/ 9013 h 10000"/>
                    <a:gd name="connsiteX109" fmla="*/ 9722 w 10000"/>
                    <a:gd name="connsiteY109" fmla="*/ 8999 h 10000"/>
                    <a:gd name="connsiteX110" fmla="*/ 9389 w 10000"/>
                    <a:gd name="connsiteY110" fmla="*/ 9013 h 10000"/>
                    <a:gd name="connsiteX111" fmla="*/ 9389 w 10000"/>
                    <a:gd name="connsiteY111" fmla="*/ 9013 h 10000"/>
                    <a:gd name="connsiteX112" fmla="*/ 9278 w 10000"/>
                    <a:gd name="connsiteY112" fmla="*/ 9028 h 10000"/>
                    <a:gd name="connsiteX113" fmla="*/ 9056 w 10000"/>
                    <a:gd name="connsiteY113" fmla="*/ 9013 h 10000"/>
                    <a:gd name="connsiteX114" fmla="*/ 8889 w 10000"/>
                    <a:gd name="connsiteY114" fmla="*/ 8999 h 10000"/>
                    <a:gd name="connsiteX115" fmla="*/ 8722 w 10000"/>
                    <a:gd name="connsiteY115" fmla="*/ 8969 h 10000"/>
                    <a:gd name="connsiteX116" fmla="*/ 8611 w 10000"/>
                    <a:gd name="connsiteY116" fmla="*/ 8925 h 10000"/>
                    <a:gd name="connsiteX117" fmla="*/ 8444 w 10000"/>
                    <a:gd name="connsiteY117" fmla="*/ 8851 h 10000"/>
                    <a:gd name="connsiteX118" fmla="*/ 8444 w 10000"/>
                    <a:gd name="connsiteY118" fmla="*/ 8851 h 10000"/>
                    <a:gd name="connsiteX119" fmla="*/ 8222 w 10000"/>
                    <a:gd name="connsiteY119" fmla="*/ 8719 h 10000"/>
                    <a:gd name="connsiteX120" fmla="*/ 8111 w 10000"/>
                    <a:gd name="connsiteY120" fmla="*/ 8660 h 10000"/>
                    <a:gd name="connsiteX121" fmla="*/ 7944 w 10000"/>
                    <a:gd name="connsiteY121" fmla="*/ 8616 h 10000"/>
                    <a:gd name="connsiteX122" fmla="*/ 7778 w 10000"/>
                    <a:gd name="connsiteY122" fmla="*/ 8586 h 10000"/>
                    <a:gd name="connsiteX123" fmla="*/ 7556 w 10000"/>
                    <a:gd name="connsiteY123" fmla="*/ 8571 h 10000"/>
                    <a:gd name="connsiteX124" fmla="*/ 7333 w 10000"/>
                    <a:gd name="connsiteY124" fmla="*/ 8557 h 10000"/>
                    <a:gd name="connsiteX125" fmla="*/ 7000 w 10000"/>
                    <a:gd name="connsiteY125" fmla="*/ 8542 h 10000"/>
                    <a:gd name="connsiteX126" fmla="*/ 7000 w 10000"/>
                    <a:gd name="connsiteY126" fmla="*/ 8542 h 10000"/>
                    <a:gd name="connsiteX127" fmla="*/ 6556 w 10000"/>
                    <a:gd name="connsiteY127" fmla="*/ 8557 h 10000"/>
                    <a:gd name="connsiteX128" fmla="*/ 6222 w 10000"/>
                    <a:gd name="connsiteY128" fmla="*/ 8557 h 10000"/>
                    <a:gd name="connsiteX129" fmla="*/ 6111 w 10000"/>
                    <a:gd name="connsiteY129" fmla="*/ 8542 h 10000"/>
                    <a:gd name="connsiteX130" fmla="*/ 6056 w 10000"/>
                    <a:gd name="connsiteY130" fmla="*/ 8527 h 10000"/>
                    <a:gd name="connsiteX131" fmla="*/ 6056 w 10000"/>
                    <a:gd name="connsiteY131" fmla="*/ 8527 h 10000"/>
                    <a:gd name="connsiteX132" fmla="*/ 6056 w 10000"/>
                    <a:gd name="connsiteY132" fmla="*/ 8262 h 10000"/>
                    <a:gd name="connsiteX133" fmla="*/ 6056 w 10000"/>
                    <a:gd name="connsiteY133" fmla="*/ 8262 h 10000"/>
                    <a:gd name="connsiteX134" fmla="*/ 6056 w 10000"/>
                    <a:gd name="connsiteY134" fmla="*/ 8203 h 10000"/>
                    <a:gd name="connsiteX135" fmla="*/ 5944 w 10000"/>
                    <a:gd name="connsiteY135" fmla="*/ 8130 h 10000"/>
                    <a:gd name="connsiteX136" fmla="*/ 5889 w 10000"/>
                    <a:gd name="connsiteY136" fmla="*/ 8115 h 10000"/>
                    <a:gd name="connsiteX137" fmla="*/ 5778 w 10000"/>
                    <a:gd name="connsiteY137" fmla="*/ 8100 h 10000"/>
                    <a:gd name="connsiteX138" fmla="*/ 5667 w 10000"/>
                    <a:gd name="connsiteY138" fmla="*/ 8100 h 10000"/>
                    <a:gd name="connsiteX139" fmla="*/ 5500 w 10000"/>
                    <a:gd name="connsiteY139" fmla="*/ 8115 h 10000"/>
                    <a:gd name="connsiteX140" fmla="*/ 5500 w 10000"/>
                    <a:gd name="connsiteY140" fmla="*/ 8115 h 10000"/>
                    <a:gd name="connsiteX141" fmla="*/ 4889 w 10000"/>
                    <a:gd name="connsiteY141" fmla="*/ 8218 h 10000"/>
                    <a:gd name="connsiteX142" fmla="*/ 4611 w 10000"/>
                    <a:gd name="connsiteY142" fmla="*/ 8247 h 10000"/>
                    <a:gd name="connsiteX143" fmla="*/ 4556 w 10000"/>
                    <a:gd name="connsiteY143" fmla="*/ 8262 h 10000"/>
                    <a:gd name="connsiteX144" fmla="*/ 4500 w 10000"/>
                    <a:gd name="connsiteY144" fmla="*/ 8247 h 10000"/>
                    <a:gd name="connsiteX145" fmla="*/ 4500 w 10000"/>
                    <a:gd name="connsiteY145" fmla="*/ 8247 h 10000"/>
                    <a:gd name="connsiteX146" fmla="*/ 4222 w 10000"/>
                    <a:gd name="connsiteY146" fmla="*/ 8100 h 10000"/>
                    <a:gd name="connsiteX147" fmla="*/ 4222 w 10000"/>
                    <a:gd name="connsiteY147" fmla="*/ 8100 h 10000"/>
                    <a:gd name="connsiteX148" fmla="*/ 4111 w 10000"/>
                    <a:gd name="connsiteY148" fmla="*/ 8027 h 10000"/>
                    <a:gd name="connsiteX149" fmla="*/ 4111 w 10000"/>
                    <a:gd name="connsiteY149" fmla="*/ 7982 h 10000"/>
                    <a:gd name="connsiteX150" fmla="*/ 4111 w 10000"/>
                    <a:gd name="connsiteY150" fmla="*/ 7938 h 10000"/>
                    <a:gd name="connsiteX151" fmla="*/ 4111 w 10000"/>
                    <a:gd name="connsiteY151" fmla="*/ 7938 h 10000"/>
                    <a:gd name="connsiteX152" fmla="*/ 4278 w 10000"/>
                    <a:gd name="connsiteY152" fmla="*/ 7894 h 10000"/>
                    <a:gd name="connsiteX153" fmla="*/ 4389 w 10000"/>
                    <a:gd name="connsiteY153" fmla="*/ 7879 h 10000"/>
                    <a:gd name="connsiteX154" fmla="*/ 4389 w 10000"/>
                    <a:gd name="connsiteY154" fmla="*/ 7879 h 10000"/>
                    <a:gd name="connsiteX155" fmla="*/ 4000 w 10000"/>
                    <a:gd name="connsiteY155" fmla="*/ 7879 h 10000"/>
                    <a:gd name="connsiteX156" fmla="*/ 3722 w 10000"/>
                    <a:gd name="connsiteY156" fmla="*/ 7894 h 10000"/>
                    <a:gd name="connsiteX157" fmla="*/ 3611 w 10000"/>
                    <a:gd name="connsiteY157" fmla="*/ 7909 h 10000"/>
                    <a:gd name="connsiteX158" fmla="*/ 3556 w 10000"/>
                    <a:gd name="connsiteY158" fmla="*/ 7923 h 10000"/>
                    <a:gd name="connsiteX159" fmla="*/ 3556 w 10000"/>
                    <a:gd name="connsiteY159" fmla="*/ 7923 h 10000"/>
                    <a:gd name="connsiteX160" fmla="*/ 3444 w 10000"/>
                    <a:gd name="connsiteY160" fmla="*/ 7982 h 10000"/>
                    <a:gd name="connsiteX161" fmla="*/ 3278 w 10000"/>
                    <a:gd name="connsiteY161" fmla="*/ 8071 h 10000"/>
                    <a:gd name="connsiteX162" fmla="*/ 3000 w 10000"/>
                    <a:gd name="connsiteY162" fmla="*/ 8174 h 10000"/>
                    <a:gd name="connsiteX163" fmla="*/ 2667 w 10000"/>
                    <a:gd name="connsiteY163" fmla="*/ 8247 h 10000"/>
                    <a:gd name="connsiteX164" fmla="*/ 2667 w 10000"/>
                    <a:gd name="connsiteY164" fmla="*/ 8247 h 10000"/>
                    <a:gd name="connsiteX165" fmla="*/ 2333 w 10000"/>
                    <a:gd name="connsiteY165" fmla="*/ 8306 h 10000"/>
                    <a:gd name="connsiteX166" fmla="*/ 1833 w 10000"/>
                    <a:gd name="connsiteY166" fmla="*/ 8365 h 10000"/>
                    <a:gd name="connsiteX167" fmla="*/ 1389 w 10000"/>
                    <a:gd name="connsiteY167" fmla="*/ 8395 h 10000"/>
                    <a:gd name="connsiteX168" fmla="*/ 889 w 10000"/>
                    <a:gd name="connsiteY168" fmla="*/ 8409 h 10000"/>
                    <a:gd name="connsiteX169" fmla="*/ 889 w 10000"/>
                    <a:gd name="connsiteY169" fmla="*/ 8409 h 10000"/>
                    <a:gd name="connsiteX170" fmla="*/ 500 w 10000"/>
                    <a:gd name="connsiteY170" fmla="*/ 8424 h 10000"/>
                    <a:gd name="connsiteX171" fmla="*/ 222 w 10000"/>
                    <a:gd name="connsiteY171" fmla="*/ 8439 h 10000"/>
                    <a:gd name="connsiteX172" fmla="*/ 0 w 10000"/>
                    <a:gd name="connsiteY172" fmla="*/ 8454 h 10000"/>
                    <a:gd name="connsiteX173" fmla="*/ 0 w 10000"/>
                    <a:gd name="connsiteY173" fmla="*/ 8454 h 10000"/>
                    <a:gd name="connsiteX174" fmla="*/ 278 w 10000"/>
                    <a:gd name="connsiteY174" fmla="*/ 8689 h 10000"/>
                    <a:gd name="connsiteX175" fmla="*/ 500 w 10000"/>
                    <a:gd name="connsiteY175" fmla="*/ 8866 h 10000"/>
                    <a:gd name="connsiteX176" fmla="*/ 722 w 10000"/>
                    <a:gd name="connsiteY176" fmla="*/ 9013 h 10000"/>
                    <a:gd name="connsiteX177" fmla="*/ 722 w 10000"/>
                    <a:gd name="connsiteY177" fmla="*/ 9013 h 10000"/>
                    <a:gd name="connsiteX178" fmla="*/ 889 w 10000"/>
                    <a:gd name="connsiteY178" fmla="*/ 9102 h 10000"/>
                    <a:gd name="connsiteX179" fmla="*/ 944 w 10000"/>
                    <a:gd name="connsiteY179" fmla="*/ 9175 h 10000"/>
                    <a:gd name="connsiteX180" fmla="*/ 1111 w 10000"/>
                    <a:gd name="connsiteY180" fmla="*/ 9249 h 10000"/>
                    <a:gd name="connsiteX181" fmla="*/ 1333 w 10000"/>
                    <a:gd name="connsiteY181" fmla="*/ 9367 h 10000"/>
                    <a:gd name="connsiteX182" fmla="*/ 1333 w 10000"/>
                    <a:gd name="connsiteY182" fmla="*/ 9367 h 10000"/>
                    <a:gd name="connsiteX183" fmla="*/ 1444 w 10000"/>
                    <a:gd name="connsiteY183" fmla="*/ 9426 h 10000"/>
                    <a:gd name="connsiteX184" fmla="*/ 1500 w 10000"/>
                    <a:gd name="connsiteY184" fmla="*/ 9470 h 10000"/>
                    <a:gd name="connsiteX185" fmla="*/ 1500 w 10000"/>
                    <a:gd name="connsiteY185" fmla="*/ 9514 h 10000"/>
                    <a:gd name="connsiteX186" fmla="*/ 1556 w 10000"/>
                    <a:gd name="connsiteY186" fmla="*/ 9529 h 10000"/>
                    <a:gd name="connsiteX187" fmla="*/ 1722 w 10000"/>
                    <a:gd name="connsiteY187" fmla="*/ 9543 h 10000"/>
                    <a:gd name="connsiteX188" fmla="*/ 1944 w 10000"/>
                    <a:gd name="connsiteY188" fmla="*/ 9558 h 10000"/>
                    <a:gd name="connsiteX189" fmla="*/ 2944 w 10000"/>
                    <a:gd name="connsiteY189" fmla="*/ 9573 h 10000"/>
                    <a:gd name="connsiteX190" fmla="*/ 2944 w 10000"/>
                    <a:gd name="connsiteY190" fmla="*/ 9573 h 10000"/>
                    <a:gd name="connsiteX191" fmla="*/ 4167 w 10000"/>
                    <a:gd name="connsiteY191" fmla="*/ 9602 h 10000"/>
                    <a:gd name="connsiteX192" fmla="*/ 4889 w 10000"/>
                    <a:gd name="connsiteY192" fmla="*/ 9647 h 10000"/>
                    <a:gd name="connsiteX193" fmla="*/ 5278 w 10000"/>
                    <a:gd name="connsiteY193" fmla="*/ 9691 h 10000"/>
                    <a:gd name="connsiteX194" fmla="*/ 5444 w 10000"/>
                    <a:gd name="connsiteY194" fmla="*/ 9705 h 10000"/>
                    <a:gd name="connsiteX195" fmla="*/ 5444 w 10000"/>
                    <a:gd name="connsiteY195" fmla="*/ 9705 h 10000"/>
                    <a:gd name="connsiteX196" fmla="*/ 5722 w 10000"/>
                    <a:gd name="connsiteY196" fmla="*/ 9735 h 10000"/>
                    <a:gd name="connsiteX197" fmla="*/ 5833 w 10000"/>
                    <a:gd name="connsiteY197" fmla="*/ 9750 h 10000"/>
                    <a:gd name="connsiteX198" fmla="*/ 5833 w 10000"/>
                    <a:gd name="connsiteY198" fmla="*/ 9750 h 10000"/>
                    <a:gd name="connsiteX199" fmla="*/ 5833 w 10000"/>
                    <a:gd name="connsiteY199" fmla="*/ 9735 h 10000"/>
                    <a:gd name="connsiteX200" fmla="*/ 5889 w 10000"/>
                    <a:gd name="connsiteY200" fmla="*/ 9720 h 10000"/>
                    <a:gd name="connsiteX201" fmla="*/ 6000 w 10000"/>
                    <a:gd name="connsiteY201" fmla="*/ 9705 h 10000"/>
                    <a:gd name="connsiteX202" fmla="*/ 6167 w 10000"/>
                    <a:gd name="connsiteY202" fmla="*/ 9691 h 10000"/>
                    <a:gd name="connsiteX203" fmla="*/ 6444 w 10000"/>
                    <a:gd name="connsiteY203" fmla="*/ 9691 h 10000"/>
                    <a:gd name="connsiteX204" fmla="*/ 6833 w 10000"/>
                    <a:gd name="connsiteY204" fmla="*/ 9705 h 10000"/>
                    <a:gd name="connsiteX205" fmla="*/ 7278 w 10000"/>
                    <a:gd name="connsiteY205" fmla="*/ 9750 h 10000"/>
                    <a:gd name="connsiteX206" fmla="*/ 7278 w 10000"/>
                    <a:gd name="connsiteY206" fmla="*/ 9750 h 10000"/>
                    <a:gd name="connsiteX207" fmla="*/ 8722 w 10000"/>
                    <a:gd name="connsiteY207" fmla="*/ 9882 h 10000"/>
                    <a:gd name="connsiteX208" fmla="*/ 10000 w 10000"/>
                    <a:gd name="connsiteY20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1667 w 10000"/>
                    <a:gd name="connsiteY74" fmla="*/ 2577 h 10000"/>
                    <a:gd name="connsiteX75" fmla="*/ 2000 w 10000"/>
                    <a:gd name="connsiteY75" fmla="*/ 2563 h 10000"/>
                    <a:gd name="connsiteX76" fmla="*/ 2222 w 10000"/>
                    <a:gd name="connsiteY76" fmla="*/ 2563 h 10000"/>
                    <a:gd name="connsiteX77" fmla="*/ 2389 w 10000"/>
                    <a:gd name="connsiteY77" fmla="*/ 2577 h 10000"/>
                    <a:gd name="connsiteX78" fmla="*/ 2389 w 10000"/>
                    <a:gd name="connsiteY78" fmla="*/ 2577 h 10000"/>
                    <a:gd name="connsiteX79" fmla="*/ 2444 w 10000"/>
                    <a:gd name="connsiteY79" fmla="*/ 2577 h 10000"/>
                    <a:gd name="connsiteX80" fmla="*/ 2500 w 10000"/>
                    <a:gd name="connsiteY80" fmla="*/ 2548 h 10000"/>
                    <a:gd name="connsiteX81" fmla="*/ 2778 w 10000"/>
                    <a:gd name="connsiteY81" fmla="*/ 2459 h 10000"/>
                    <a:gd name="connsiteX82" fmla="*/ 3500 w 10000"/>
                    <a:gd name="connsiteY82" fmla="*/ 2165 h 10000"/>
                    <a:gd name="connsiteX83" fmla="*/ 4444 w 10000"/>
                    <a:gd name="connsiteY83" fmla="*/ 1738 h 10000"/>
                    <a:gd name="connsiteX84" fmla="*/ 4444 w 10000"/>
                    <a:gd name="connsiteY84" fmla="*/ 1738 h 10000"/>
                    <a:gd name="connsiteX85" fmla="*/ 4444 w 10000"/>
                    <a:gd name="connsiteY85" fmla="*/ 1679 h 10000"/>
                    <a:gd name="connsiteX86" fmla="*/ 4444 w 10000"/>
                    <a:gd name="connsiteY86" fmla="*/ 1546 h 10000"/>
                    <a:gd name="connsiteX87" fmla="*/ 4500 w 10000"/>
                    <a:gd name="connsiteY87" fmla="*/ 1458 h 10000"/>
                    <a:gd name="connsiteX88" fmla="*/ 4611 w 10000"/>
                    <a:gd name="connsiteY88" fmla="*/ 1384 h 10000"/>
                    <a:gd name="connsiteX89" fmla="*/ 4778 w 10000"/>
                    <a:gd name="connsiteY89" fmla="*/ 1296 h 10000"/>
                    <a:gd name="connsiteX90" fmla="*/ 5000 w 10000"/>
                    <a:gd name="connsiteY90" fmla="*/ 1222 h 10000"/>
                    <a:gd name="connsiteX91" fmla="*/ 5000 w 10000"/>
                    <a:gd name="connsiteY91" fmla="*/ 1222 h 10000"/>
                    <a:gd name="connsiteX92" fmla="*/ 5556 w 10000"/>
                    <a:gd name="connsiteY92" fmla="*/ 1075 h 10000"/>
                    <a:gd name="connsiteX93" fmla="*/ 6111 w 10000"/>
                    <a:gd name="connsiteY93" fmla="*/ 884 h 10000"/>
                    <a:gd name="connsiteX94" fmla="*/ 6667 w 10000"/>
                    <a:gd name="connsiteY94" fmla="*/ 707 h 10000"/>
                    <a:gd name="connsiteX95" fmla="*/ 7056 w 10000"/>
                    <a:gd name="connsiteY95" fmla="*/ 545 h 10000"/>
                    <a:gd name="connsiteX96" fmla="*/ 7056 w 10000"/>
                    <a:gd name="connsiteY96" fmla="*/ 545 h 10000"/>
                    <a:gd name="connsiteX97" fmla="*/ 7333 w 10000"/>
                    <a:gd name="connsiteY97" fmla="*/ 398 h 10000"/>
                    <a:gd name="connsiteX98" fmla="*/ 7667 w 10000"/>
                    <a:gd name="connsiteY98" fmla="*/ 221 h 10000"/>
                    <a:gd name="connsiteX99" fmla="*/ 8000 w 10000"/>
                    <a:gd name="connsiteY99" fmla="*/ 88 h 10000"/>
                    <a:gd name="connsiteX100" fmla="*/ 8167 w 10000"/>
                    <a:gd name="connsiteY100" fmla="*/ 29 h 10000"/>
                    <a:gd name="connsiteX101" fmla="*/ 8333 w 10000"/>
                    <a:gd name="connsiteY101" fmla="*/ 15 h 10000"/>
                    <a:gd name="connsiteX102" fmla="*/ 8333 w 10000"/>
                    <a:gd name="connsiteY102" fmla="*/ 15 h 10000"/>
                    <a:gd name="connsiteX103" fmla="*/ 8667 w 10000"/>
                    <a:gd name="connsiteY103" fmla="*/ 0 h 10000"/>
                    <a:gd name="connsiteX104" fmla="*/ 9111 w 10000"/>
                    <a:gd name="connsiteY104" fmla="*/ 0 h 10000"/>
                    <a:gd name="connsiteX105" fmla="*/ 10000 w 10000"/>
                    <a:gd name="connsiteY105" fmla="*/ 15 h 10000"/>
                    <a:gd name="connsiteX106" fmla="*/ 10000 w 10000"/>
                    <a:gd name="connsiteY106" fmla="*/ 9013 h 10000"/>
                    <a:gd name="connsiteX107" fmla="*/ 10000 w 10000"/>
                    <a:gd name="connsiteY107" fmla="*/ 9013 h 10000"/>
                    <a:gd name="connsiteX108" fmla="*/ 9722 w 10000"/>
                    <a:gd name="connsiteY108" fmla="*/ 8999 h 10000"/>
                    <a:gd name="connsiteX109" fmla="*/ 9389 w 10000"/>
                    <a:gd name="connsiteY109" fmla="*/ 9013 h 10000"/>
                    <a:gd name="connsiteX110" fmla="*/ 9389 w 10000"/>
                    <a:gd name="connsiteY110" fmla="*/ 9013 h 10000"/>
                    <a:gd name="connsiteX111" fmla="*/ 9278 w 10000"/>
                    <a:gd name="connsiteY111" fmla="*/ 9028 h 10000"/>
                    <a:gd name="connsiteX112" fmla="*/ 9056 w 10000"/>
                    <a:gd name="connsiteY112" fmla="*/ 9013 h 10000"/>
                    <a:gd name="connsiteX113" fmla="*/ 8889 w 10000"/>
                    <a:gd name="connsiteY113" fmla="*/ 8999 h 10000"/>
                    <a:gd name="connsiteX114" fmla="*/ 8722 w 10000"/>
                    <a:gd name="connsiteY114" fmla="*/ 8969 h 10000"/>
                    <a:gd name="connsiteX115" fmla="*/ 8611 w 10000"/>
                    <a:gd name="connsiteY115" fmla="*/ 8925 h 10000"/>
                    <a:gd name="connsiteX116" fmla="*/ 8444 w 10000"/>
                    <a:gd name="connsiteY116" fmla="*/ 8851 h 10000"/>
                    <a:gd name="connsiteX117" fmla="*/ 8444 w 10000"/>
                    <a:gd name="connsiteY117" fmla="*/ 8851 h 10000"/>
                    <a:gd name="connsiteX118" fmla="*/ 8222 w 10000"/>
                    <a:gd name="connsiteY118" fmla="*/ 8719 h 10000"/>
                    <a:gd name="connsiteX119" fmla="*/ 8111 w 10000"/>
                    <a:gd name="connsiteY119" fmla="*/ 8660 h 10000"/>
                    <a:gd name="connsiteX120" fmla="*/ 7944 w 10000"/>
                    <a:gd name="connsiteY120" fmla="*/ 8616 h 10000"/>
                    <a:gd name="connsiteX121" fmla="*/ 7778 w 10000"/>
                    <a:gd name="connsiteY121" fmla="*/ 8586 h 10000"/>
                    <a:gd name="connsiteX122" fmla="*/ 7556 w 10000"/>
                    <a:gd name="connsiteY122" fmla="*/ 8571 h 10000"/>
                    <a:gd name="connsiteX123" fmla="*/ 7333 w 10000"/>
                    <a:gd name="connsiteY123" fmla="*/ 8557 h 10000"/>
                    <a:gd name="connsiteX124" fmla="*/ 7000 w 10000"/>
                    <a:gd name="connsiteY124" fmla="*/ 8542 h 10000"/>
                    <a:gd name="connsiteX125" fmla="*/ 7000 w 10000"/>
                    <a:gd name="connsiteY125" fmla="*/ 8542 h 10000"/>
                    <a:gd name="connsiteX126" fmla="*/ 6556 w 10000"/>
                    <a:gd name="connsiteY126" fmla="*/ 8557 h 10000"/>
                    <a:gd name="connsiteX127" fmla="*/ 6222 w 10000"/>
                    <a:gd name="connsiteY127" fmla="*/ 8557 h 10000"/>
                    <a:gd name="connsiteX128" fmla="*/ 6111 w 10000"/>
                    <a:gd name="connsiteY128" fmla="*/ 8542 h 10000"/>
                    <a:gd name="connsiteX129" fmla="*/ 6056 w 10000"/>
                    <a:gd name="connsiteY129" fmla="*/ 8527 h 10000"/>
                    <a:gd name="connsiteX130" fmla="*/ 6056 w 10000"/>
                    <a:gd name="connsiteY130" fmla="*/ 8527 h 10000"/>
                    <a:gd name="connsiteX131" fmla="*/ 6056 w 10000"/>
                    <a:gd name="connsiteY131" fmla="*/ 8262 h 10000"/>
                    <a:gd name="connsiteX132" fmla="*/ 6056 w 10000"/>
                    <a:gd name="connsiteY132" fmla="*/ 8262 h 10000"/>
                    <a:gd name="connsiteX133" fmla="*/ 6056 w 10000"/>
                    <a:gd name="connsiteY133" fmla="*/ 8203 h 10000"/>
                    <a:gd name="connsiteX134" fmla="*/ 5944 w 10000"/>
                    <a:gd name="connsiteY134" fmla="*/ 8130 h 10000"/>
                    <a:gd name="connsiteX135" fmla="*/ 5889 w 10000"/>
                    <a:gd name="connsiteY135" fmla="*/ 8115 h 10000"/>
                    <a:gd name="connsiteX136" fmla="*/ 5778 w 10000"/>
                    <a:gd name="connsiteY136" fmla="*/ 8100 h 10000"/>
                    <a:gd name="connsiteX137" fmla="*/ 5667 w 10000"/>
                    <a:gd name="connsiteY137" fmla="*/ 8100 h 10000"/>
                    <a:gd name="connsiteX138" fmla="*/ 5500 w 10000"/>
                    <a:gd name="connsiteY138" fmla="*/ 8115 h 10000"/>
                    <a:gd name="connsiteX139" fmla="*/ 5500 w 10000"/>
                    <a:gd name="connsiteY139" fmla="*/ 8115 h 10000"/>
                    <a:gd name="connsiteX140" fmla="*/ 4889 w 10000"/>
                    <a:gd name="connsiteY140" fmla="*/ 8218 h 10000"/>
                    <a:gd name="connsiteX141" fmla="*/ 4611 w 10000"/>
                    <a:gd name="connsiteY141" fmla="*/ 8247 h 10000"/>
                    <a:gd name="connsiteX142" fmla="*/ 4556 w 10000"/>
                    <a:gd name="connsiteY142" fmla="*/ 8262 h 10000"/>
                    <a:gd name="connsiteX143" fmla="*/ 4500 w 10000"/>
                    <a:gd name="connsiteY143" fmla="*/ 8247 h 10000"/>
                    <a:gd name="connsiteX144" fmla="*/ 4500 w 10000"/>
                    <a:gd name="connsiteY144" fmla="*/ 8247 h 10000"/>
                    <a:gd name="connsiteX145" fmla="*/ 4222 w 10000"/>
                    <a:gd name="connsiteY145" fmla="*/ 8100 h 10000"/>
                    <a:gd name="connsiteX146" fmla="*/ 4222 w 10000"/>
                    <a:gd name="connsiteY146" fmla="*/ 8100 h 10000"/>
                    <a:gd name="connsiteX147" fmla="*/ 4111 w 10000"/>
                    <a:gd name="connsiteY147" fmla="*/ 8027 h 10000"/>
                    <a:gd name="connsiteX148" fmla="*/ 4111 w 10000"/>
                    <a:gd name="connsiteY148" fmla="*/ 7982 h 10000"/>
                    <a:gd name="connsiteX149" fmla="*/ 4111 w 10000"/>
                    <a:gd name="connsiteY149" fmla="*/ 7938 h 10000"/>
                    <a:gd name="connsiteX150" fmla="*/ 4111 w 10000"/>
                    <a:gd name="connsiteY150" fmla="*/ 7938 h 10000"/>
                    <a:gd name="connsiteX151" fmla="*/ 4278 w 10000"/>
                    <a:gd name="connsiteY151" fmla="*/ 7894 h 10000"/>
                    <a:gd name="connsiteX152" fmla="*/ 4389 w 10000"/>
                    <a:gd name="connsiteY152" fmla="*/ 7879 h 10000"/>
                    <a:gd name="connsiteX153" fmla="*/ 4389 w 10000"/>
                    <a:gd name="connsiteY153" fmla="*/ 7879 h 10000"/>
                    <a:gd name="connsiteX154" fmla="*/ 4000 w 10000"/>
                    <a:gd name="connsiteY154" fmla="*/ 7879 h 10000"/>
                    <a:gd name="connsiteX155" fmla="*/ 3722 w 10000"/>
                    <a:gd name="connsiteY155" fmla="*/ 7894 h 10000"/>
                    <a:gd name="connsiteX156" fmla="*/ 3611 w 10000"/>
                    <a:gd name="connsiteY156" fmla="*/ 7909 h 10000"/>
                    <a:gd name="connsiteX157" fmla="*/ 3556 w 10000"/>
                    <a:gd name="connsiteY157" fmla="*/ 7923 h 10000"/>
                    <a:gd name="connsiteX158" fmla="*/ 3556 w 10000"/>
                    <a:gd name="connsiteY158" fmla="*/ 7923 h 10000"/>
                    <a:gd name="connsiteX159" fmla="*/ 3444 w 10000"/>
                    <a:gd name="connsiteY159" fmla="*/ 7982 h 10000"/>
                    <a:gd name="connsiteX160" fmla="*/ 3278 w 10000"/>
                    <a:gd name="connsiteY160" fmla="*/ 8071 h 10000"/>
                    <a:gd name="connsiteX161" fmla="*/ 3000 w 10000"/>
                    <a:gd name="connsiteY161" fmla="*/ 8174 h 10000"/>
                    <a:gd name="connsiteX162" fmla="*/ 2667 w 10000"/>
                    <a:gd name="connsiteY162" fmla="*/ 8247 h 10000"/>
                    <a:gd name="connsiteX163" fmla="*/ 2667 w 10000"/>
                    <a:gd name="connsiteY163" fmla="*/ 8247 h 10000"/>
                    <a:gd name="connsiteX164" fmla="*/ 2333 w 10000"/>
                    <a:gd name="connsiteY164" fmla="*/ 8306 h 10000"/>
                    <a:gd name="connsiteX165" fmla="*/ 1833 w 10000"/>
                    <a:gd name="connsiteY165" fmla="*/ 8365 h 10000"/>
                    <a:gd name="connsiteX166" fmla="*/ 1389 w 10000"/>
                    <a:gd name="connsiteY166" fmla="*/ 8395 h 10000"/>
                    <a:gd name="connsiteX167" fmla="*/ 889 w 10000"/>
                    <a:gd name="connsiteY167" fmla="*/ 8409 h 10000"/>
                    <a:gd name="connsiteX168" fmla="*/ 889 w 10000"/>
                    <a:gd name="connsiteY168" fmla="*/ 8409 h 10000"/>
                    <a:gd name="connsiteX169" fmla="*/ 500 w 10000"/>
                    <a:gd name="connsiteY169" fmla="*/ 8424 h 10000"/>
                    <a:gd name="connsiteX170" fmla="*/ 222 w 10000"/>
                    <a:gd name="connsiteY170" fmla="*/ 8439 h 10000"/>
                    <a:gd name="connsiteX171" fmla="*/ 0 w 10000"/>
                    <a:gd name="connsiteY171" fmla="*/ 8454 h 10000"/>
                    <a:gd name="connsiteX172" fmla="*/ 0 w 10000"/>
                    <a:gd name="connsiteY172" fmla="*/ 8454 h 10000"/>
                    <a:gd name="connsiteX173" fmla="*/ 278 w 10000"/>
                    <a:gd name="connsiteY173" fmla="*/ 8689 h 10000"/>
                    <a:gd name="connsiteX174" fmla="*/ 500 w 10000"/>
                    <a:gd name="connsiteY174" fmla="*/ 8866 h 10000"/>
                    <a:gd name="connsiteX175" fmla="*/ 722 w 10000"/>
                    <a:gd name="connsiteY175" fmla="*/ 9013 h 10000"/>
                    <a:gd name="connsiteX176" fmla="*/ 722 w 10000"/>
                    <a:gd name="connsiteY176" fmla="*/ 9013 h 10000"/>
                    <a:gd name="connsiteX177" fmla="*/ 889 w 10000"/>
                    <a:gd name="connsiteY177" fmla="*/ 9102 h 10000"/>
                    <a:gd name="connsiteX178" fmla="*/ 944 w 10000"/>
                    <a:gd name="connsiteY178" fmla="*/ 9175 h 10000"/>
                    <a:gd name="connsiteX179" fmla="*/ 1111 w 10000"/>
                    <a:gd name="connsiteY179" fmla="*/ 9249 h 10000"/>
                    <a:gd name="connsiteX180" fmla="*/ 1333 w 10000"/>
                    <a:gd name="connsiteY180" fmla="*/ 9367 h 10000"/>
                    <a:gd name="connsiteX181" fmla="*/ 1333 w 10000"/>
                    <a:gd name="connsiteY181" fmla="*/ 9367 h 10000"/>
                    <a:gd name="connsiteX182" fmla="*/ 1444 w 10000"/>
                    <a:gd name="connsiteY182" fmla="*/ 9426 h 10000"/>
                    <a:gd name="connsiteX183" fmla="*/ 1500 w 10000"/>
                    <a:gd name="connsiteY183" fmla="*/ 9470 h 10000"/>
                    <a:gd name="connsiteX184" fmla="*/ 1500 w 10000"/>
                    <a:gd name="connsiteY184" fmla="*/ 9514 h 10000"/>
                    <a:gd name="connsiteX185" fmla="*/ 1556 w 10000"/>
                    <a:gd name="connsiteY185" fmla="*/ 9529 h 10000"/>
                    <a:gd name="connsiteX186" fmla="*/ 1722 w 10000"/>
                    <a:gd name="connsiteY186" fmla="*/ 9543 h 10000"/>
                    <a:gd name="connsiteX187" fmla="*/ 1944 w 10000"/>
                    <a:gd name="connsiteY187" fmla="*/ 9558 h 10000"/>
                    <a:gd name="connsiteX188" fmla="*/ 2944 w 10000"/>
                    <a:gd name="connsiteY188" fmla="*/ 9573 h 10000"/>
                    <a:gd name="connsiteX189" fmla="*/ 2944 w 10000"/>
                    <a:gd name="connsiteY189" fmla="*/ 9573 h 10000"/>
                    <a:gd name="connsiteX190" fmla="*/ 4167 w 10000"/>
                    <a:gd name="connsiteY190" fmla="*/ 9602 h 10000"/>
                    <a:gd name="connsiteX191" fmla="*/ 4889 w 10000"/>
                    <a:gd name="connsiteY191" fmla="*/ 9647 h 10000"/>
                    <a:gd name="connsiteX192" fmla="*/ 5278 w 10000"/>
                    <a:gd name="connsiteY192" fmla="*/ 9691 h 10000"/>
                    <a:gd name="connsiteX193" fmla="*/ 5444 w 10000"/>
                    <a:gd name="connsiteY193" fmla="*/ 9705 h 10000"/>
                    <a:gd name="connsiteX194" fmla="*/ 5444 w 10000"/>
                    <a:gd name="connsiteY194" fmla="*/ 9705 h 10000"/>
                    <a:gd name="connsiteX195" fmla="*/ 5722 w 10000"/>
                    <a:gd name="connsiteY195" fmla="*/ 9735 h 10000"/>
                    <a:gd name="connsiteX196" fmla="*/ 5833 w 10000"/>
                    <a:gd name="connsiteY196" fmla="*/ 9750 h 10000"/>
                    <a:gd name="connsiteX197" fmla="*/ 5833 w 10000"/>
                    <a:gd name="connsiteY197" fmla="*/ 9750 h 10000"/>
                    <a:gd name="connsiteX198" fmla="*/ 5833 w 10000"/>
                    <a:gd name="connsiteY198" fmla="*/ 9735 h 10000"/>
                    <a:gd name="connsiteX199" fmla="*/ 5889 w 10000"/>
                    <a:gd name="connsiteY199" fmla="*/ 9720 h 10000"/>
                    <a:gd name="connsiteX200" fmla="*/ 6000 w 10000"/>
                    <a:gd name="connsiteY200" fmla="*/ 9705 h 10000"/>
                    <a:gd name="connsiteX201" fmla="*/ 6167 w 10000"/>
                    <a:gd name="connsiteY201" fmla="*/ 9691 h 10000"/>
                    <a:gd name="connsiteX202" fmla="*/ 6444 w 10000"/>
                    <a:gd name="connsiteY202" fmla="*/ 9691 h 10000"/>
                    <a:gd name="connsiteX203" fmla="*/ 6833 w 10000"/>
                    <a:gd name="connsiteY203" fmla="*/ 9705 h 10000"/>
                    <a:gd name="connsiteX204" fmla="*/ 7278 w 10000"/>
                    <a:gd name="connsiteY204" fmla="*/ 9750 h 10000"/>
                    <a:gd name="connsiteX205" fmla="*/ 7278 w 10000"/>
                    <a:gd name="connsiteY205" fmla="*/ 9750 h 10000"/>
                    <a:gd name="connsiteX206" fmla="*/ 8722 w 10000"/>
                    <a:gd name="connsiteY206" fmla="*/ 9882 h 10000"/>
                    <a:gd name="connsiteX207" fmla="*/ 10000 w 10000"/>
                    <a:gd name="connsiteY20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1667 w 10000"/>
                    <a:gd name="connsiteY74" fmla="*/ 2577 h 10000"/>
                    <a:gd name="connsiteX75" fmla="*/ 2222 w 10000"/>
                    <a:gd name="connsiteY75" fmla="*/ 2563 h 10000"/>
                    <a:gd name="connsiteX76" fmla="*/ 2389 w 10000"/>
                    <a:gd name="connsiteY76" fmla="*/ 2577 h 10000"/>
                    <a:gd name="connsiteX77" fmla="*/ 2389 w 10000"/>
                    <a:gd name="connsiteY77" fmla="*/ 2577 h 10000"/>
                    <a:gd name="connsiteX78" fmla="*/ 2444 w 10000"/>
                    <a:gd name="connsiteY78" fmla="*/ 2577 h 10000"/>
                    <a:gd name="connsiteX79" fmla="*/ 2500 w 10000"/>
                    <a:gd name="connsiteY79" fmla="*/ 2548 h 10000"/>
                    <a:gd name="connsiteX80" fmla="*/ 2778 w 10000"/>
                    <a:gd name="connsiteY80" fmla="*/ 2459 h 10000"/>
                    <a:gd name="connsiteX81" fmla="*/ 3500 w 10000"/>
                    <a:gd name="connsiteY81" fmla="*/ 2165 h 10000"/>
                    <a:gd name="connsiteX82" fmla="*/ 4444 w 10000"/>
                    <a:gd name="connsiteY82" fmla="*/ 1738 h 10000"/>
                    <a:gd name="connsiteX83" fmla="*/ 4444 w 10000"/>
                    <a:gd name="connsiteY83" fmla="*/ 1738 h 10000"/>
                    <a:gd name="connsiteX84" fmla="*/ 4444 w 10000"/>
                    <a:gd name="connsiteY84" fmla="*/ 1679 h 10000"/>
                    <a:gd name="connsiteX85" fmla="*/ 4444 w 10000"/>
                    <a:gd name="connsiteY85" fmla="*/ 1546 h 10000"/>
                    <a:gd name="connsiteX86" fmla="*/ 4500 w 10000"/>
                    <a:gd name="connsiteY86" fmla="*/ 1458 h 10000"/>
                    <a:gd name="connsiteX87" fmla="*/ 4611 w 10000"/>
                    <a:gd name="connsiteY87" fmla="*/ 1384 h 10000"/>
                    <a:gd name="connsiteX88" fmla="*/ 4778 w 10000"/>
                    <a:gd name="connsiteY88" fmla="*/ 1296 h 10000"/>
                    <a:gd name="connsiteX89" fmla="*/ 5000 w 10000"/>
                    <a:gd name="connsiteY89" fmla="*/ 1222 h 10000"/>
                    <a:gd name="connsiteX90" fmla="*/ 5000 w 10000"/>
                    <a:gd name="connsiteY90" fmla="*/ 1222 h 10000"/>
                    <a:gd name="connsiteX91" fmla="*/ 5556 w 10000"/>
                    <a:gd name="connsiteY91" fmla="*/ 1075 h 10000"/>
                    <a:gd name="connsiteX92" fmla="*/ 6111 w 10000"/>
                    <a:gd name="connsiteY92" fmla="*/ 884 h 10000"/>
                    <a:gd name="connsiteX93" fmla="*/ 6667 w 10000"/>
                    <a:gd name="connsiteY93" fmla="*/ 707 h 10000"/>
                    <a:gd name="connsiteX94" fmla="*/ 7056 w 10000"/>
                    <a:gd name="connsiteY94" fmla="*/ 545 h 10000"/>
                    <a:gd name="connsiteX95" fmla="*/ 7056 w 10000"/>
                    <a:gd name="connsiteY95" fmla="*/ 545 h 10000"/>
                    <a:gd name="connsiteX96" fmla="*/ 7333 w 10000"/>
                    <a:gd name="connsiteY96" fmla="*/ 398 h 10000"/>
                    <a:gd name="connsiteX97" fmla="*/ 7667 w 10000"/>
                    <a:gd name="connsiteY97" fmla="*/ 221 h 10000"/>
                    <a:gd name="connsiteX98" fmla="*/ 8000 w 10000"/>
                    <a:gd name="connsiteY98" fmla="*/ 88 h 10000"/>
                    <a:gd name="connsiteX99" fmla="*/ 8167 w 10000"/>
                    <a:gd name="connsiteY99" fmla="*/ 29 h 10000"/>
                    <a:gd name="connsiteX100" fmla="*/ 8333 w 10000"/>
                    <a:gd name="connsiteY100" fmla="*/ 15 h 10000"/>
                    <a:gd name="connsiteX101" fmla="*/ 8333 w 10000"/>
                    <a:gd name="connsiteY101" fmla="*/ 15 h 10000"/>
                    <a:gd name="connsiteX102" fmla="*/ 8667 w 10000"/>
                    <a:gd name="connsiteY102" fmla="*/ 0 h 10000"/>
                    <a:gd name="connsiteX103" fmla="*/ 9111 w 10000"/>
                    <a:gd name="connsiteY103" fmla="*/ 0 h 10000"/>
                    <a:gd name="connsiteX104" fmla="*/ 10000 w 10000"/>
                    <a:gd name="connsiteY104" fmla="*/ 15 h 10000"/>
                    <a:gd name="connsiteX105" fmla="*/ 10000 w 10000"/>
                    <a:gd name="connsiteY105" fmla="*/ 9013 h 10000"/>
                    <a:gd name="connsiteX106" fmla="*/ 10000 w 10000"/>
                    <a:gd name="connsiteY106" fmla="*/ 9013 h 10000"/>
                    <a:gd name="connsiteX107" fmla="*/ 9722 w 10000"/>
                    <a:gd name="connsiteY107" fmla="*/ 8999 h 10000"/>
                    <a:gd name="connsiteX108" fmla="*/ 9389 w 10000"/>
                    <a:gd name="connsiteY108" fmla="*/ 9013 h 10000"/>
                    <a:gd name="connsiteX109" fmla="*/ 9389 w 10000"/>
                    <a:gd name="connsiteY109" fmla="*/ 9013 h 10000"/>
                    <a:gd name="connsiteX110" fmla="*/ 9278 w 10000"/>
                    <a:gd name="connsiteY110" fmla="*/ 9028 h 10000"/>
                    <a:gd name="connsiteX111" fmla="*/ 9056 w 10000"/>
                    <a:gd name="connsiteY111" fmla="*/ 9013 h 10000"/>
                    <a:gd name="connsiteX112" fmla="*/ 8889 w 10000"/>
                    <a:gd name="connsiteY112" fmla="*/ 8999 h 10000"/>
                    <a:gd name="connsiteX113" fmla="*/ 8722 w 10000"/>
                    <a:gd name="connsiteY113" fmla="*/ 8969 h 10000"/>
                    <a:gd name="connsiteX114" fmla="*/ 8611 w 10000"/>
                    <a:gd name="connsiteY114" fmla="*/ 8925 h 10000"/>
                    <a:gd name="connsiteX115" fmla="*/ 8444 w 10000"/>
                    <a:gd name="connsiteY115" fmla="*/ 8851 h 10000"/>
                    <a:gd name="connsiteX116" fmla="*/ 8444 w 10000"/>
                    <a:gd name="connsiteY116" fmla="*/ 8851 h 10000"/>
                    <a:gd name="connsiteX117" fmla="*/ 8222 w 10000"/>
                    <a:gd name="connsiteY117" fmla="*/ 8719 h 10000"/>
                    <a:gd name="connsiteX118" fmla="*/ 8111 w 10000"/>
                    <a:gd name="connsiteY118" fmla="*/ 8660 h 10000"/>
                    <a:gd name="connsiteX119" fmla="*/ 7944 w 10000"/>
                    <a:gd name="connsiteY119" fmla="*/ 8616 h 10000"/>
                    <a:gd name="connsiteX120" fmla="*/ 7778 w 10000"/>
                    <a:gd name="connsiteY120" fmla="*/ 8586 h 10000"/>
                    <a:gd name="connsiteX121" fmla="*/ 7556 w 10000"/>
                    <a:gd name="connsiteY121" fmla="*/ 8571 h 10000"/>
                    <a:gd name="connsiteX122" fmla="*/ 7333 w 10000"/>
                    <a:gd name="connsiteY122" fmla="*/ 8557 h 10000"/>
                    <a:gd name="connsiteX123" fmla="*/ 7000 w 10000"/>
                    <a:gd name="connsiteY123" fmla="*/ 8542 h 10000"/>
                    <a:gd name="connsiteX124" fmla="*/ 7000 w 10000"/>
                    <a:gd name="connsiteY124" fmla="*/ 8542 h 10000"/>
                    <a:gd name="connsiteX125" fmla="*/ 6556 w 10000"/>
                    <a:gd name="connsiteY125" fmla="*/ 8557 h 10000"/>
                    <a:gd name="connsiteX126" fmla="*/ 6222 w 10000"/>
                    <a:gd name="connsiteY126" fmla="*/ 8557 h 10000"/>
                    <a:gd name="connsiteX127" fmla="*/ 6111 w 10000"/>
                    <a:gd name="connsiteY127" fmla="*/ 8542 h 10000"/>
                    <a:gd name="connsiteX128" fmla="*/ 6056 w 10000"/>
                    <a:gd name="connsiteY128" fmla="*/ 8527 h 10000"/>
                    <a:gd name="connsiteX129" fmla="*/ 6056 w 10000"/>
                    <a:gd name="connsiteY129" fmla="*/ 8527 h 10000"/>
                    <a:gd name="connsiteX130" fmla="*/ 6056 w 10000"/>
                    <a:gd name="connsiteY130" fmla="*/ 8262 h 10000"/>
                    <a:gd name="connsiteX131" fmla="*/ 6056 w 10000"/>
                    <a:gd name="connsiteY131" fmla="*/ 8262 h 10000"/>
                    <a:gd name="connsiteX132" fmla="*/ 6056 w 10000"/>
                    <a:gd name="connsiteY132" fmla="*/ 8203 h 10000"/>
                    <a:gd name="connsiteX133" fmla="*/ 5944 w 10000"/>
                    <a:gd name="connsiteY133" fmla="*/ 8130 h 10000"/>
                    <a:gd name="connsiteX134" fmla="*/ 5889 w 10000"/>
                    <a:gd name="connsiteY134" fmla="*/ 8115 h 10000"/>
                    <a:gd name="connsiteX135" fmla="*/ 5778 w 10000"/>
                    <a:gd name="connsiteY135" fmla="*/ 8100 h 10000"/>
                    <a:gd name="connsiteX136" fmla="*/ 5667 w 10000"/>
                    <a:gd name="connsiteY136" fmla="*/ 8100 h 10000"/>
                    <a:gd name="connsiteX137" fmla="*/ 5500 w 10000"/>
                    <a:gd name="connsiteY137" fmla="*/ 8115 h 10000"/>
                    <a:gd name="connsiteX138" fmla="*/ 5500 w 10000"/>
                    <a:gd name="connsiteY138" fmla="*/ 8115 h 10000"/>
                    <a:gd name="connsiteX139" fmla="*/ 4889 w 10000"/>
                    <a:gd name="connsiteY139" fmla="*/ 8218 h 10000"/>
                    <a:gd name="connsiteX140" fmla="*/ 4611 w 10000"/>
                    <a:gd name="connsiteY140" fmla="*/ 8247 h 10000"/>
                    <a:gd name="connsiteX141" fmla="*/ 4556 w 10000"/>
                    <a:gd name="connsiteY141" fmla="*/ 8262 h 10000"/>
                    <a:gd name="connsiteX142" fmla="*/ 4500 w 10000"/>
                    <a:gd name="connsiteY142" fmla="*/ 8247 h 10000"/>
                    <a:gd name="connsiteX143" fmla="*/ 4500 w 10000"/>
                    <a:gd name="connsiteY143" fmla="*/ 8247 h 10000"/>
                    <a:gd name="connsiteX144" fmla="*/ 4222 w 10000"/>
                    <a:gd name="connsiteY144" fmla="*/ 8100 h 10000"/>
                    <a:gd name="connsiteX145" fmla="*/ 4222 w 10000"/>
                    <a:gd name="connsiteY145" fmla="*/ 8100 h 10000"/>
                    <a:gd name="connsiteX146" fmla="*/ 4111 w 10000"/>
                    <a:gd name="connsiteY146" fmla="*/ 8027 h 10000"/>
                    <a:gd name="connsiteX147" fmla="*/ 4111 w 10000"/>
                    <a:gd name="connsiteY147" fmla="*/ 7982 h 10000"/>
                    <a:gd name="connsiteX148" fmla="*/ 4111 w 10000"/>
                    <a:gd name="connsiteY148" fmla="*/ 7938 h 10000"/>
                    <a:gd name="connsiteX149" fmla="*/ 4111 w 10000"/>
                    <a:gd name="connsiteY149" fmla="*/ 7938 h 10000"/>
                    <a:gd name="connsiteX150" fmla="*/ 4278 w 10000"/>
                    <a:gd name="connsiteY150" fmla="*/ 7894 h 10000"/>
                    <a:gd name="connsiteX151" fmla="*/ 4389 w 10000"/>
                    <a:gd name="connsiteY151" fmla="*/ 7879 h 10000"/>
                    <a:gd name="connsiteX152" fmla="*/ 4389 w 10000"/>
                    <a:gd name="connsiteY152" fmla="*/ 7879 h 10000"/>
                    <a:gd name="connsiteX153" fmla="*/ 4000 w 10000"/>
                    <a:gd name="connsiteY153" fmla="*/ 7879 h 10000"/>
                    <a:gd name="connsiteX154" fmla="*/ 3722 w 10000"/>
                    <a:gd name="connsiteY154" fmla="*/ 7894 h 10000"/>
                    <a:gd name="connsiteX155" fmla="*/ 3611 w 10000"/>
                    <a:gd name="connsiteY155" fmla="*/ 7909 h 10000"/>
                    <a:gd name="connsiteX156" fmla="*/ 3556 w 10000"/>
                    <a:gd name="connsiteY156" fmla="*/ 7923 h 10000"/>
                    <a:gd name="connsiteX157" fmla="*/ 3556 w 10000"/>
                    <a:gd name="connsiteY157" fmla="*/ 7923 h 10000"/>
                    <a:gd name="connsiteX158" fmla="*/ 3444 w 10000"/>
                    <a:gd name="connsiteY158" fmla="*/ 7982 h 10000"/>
                    <a:gd name="connsiteX159" fmla="*/ 3278 w 10000"/>
                    <a:gd name="connsiteY159" fmla="*/ 8071 h 10000"/>
                    <a:gd name="connsiteX160" fmla="*/ 3000 w 10000"/>
                    <a:gd name="connsiteY160" fmla="*/ 8174 h 10000"/>
                    <a:gd name="connsiteX161" fmla="*/ 2667 w 10000"/>
                    <a:gd name="connsiteY161" fmla="*/ 8247 h 10000"/>
                    <a:gd name="connsiteX162" fmla="*/ 2667 w 10000"/>
                    <a:gd name="connsiteY162" fmla="*/ 8247 h 10000"/>
                    <a:gd name="connsiteX163" fmla="*/ 2333 w 10000"/>
                    <a:gd name="connsiteY163" fmla="*/ 8306 h 10000"/>
                    <a:gd name="connsiteX164" fmla="*/ 1833 w 10000"/>
                    <a:gd name="connsiteY164" fmla="*/ 8365 h 10000"/>
                    <a:gd name="connsiteX165" fmla="*/ 1389 w 10000"/>
                    <a:gd name="connsiteY165" fmla="*/ 8395 h 10000"/>
                    <a:gd name="connsiteX166" fmla="*/ 889 w 10000"/>
                    <a:gd name="connsiteY166" fmla="*/ 8409 h 10000"/>
                    <a:gd name="connsiteX167" fmla="*/ 889 w 10000"/>
                    <a:gd name="connsiteY167" fmla="*/ 8409 h 10000"/>
                    <a:gd name="connsiteX168" fmla="*/ 500 w 10000"/>
                    <a:gd name="connsiteY168" fmla="*/ 8424 h 10000"/>
                    <a:gd name="connsiteX169" fmla="*/ 222 w 10000"/>
                    <a:gd name="connsiteY169" fmla="*/ 8439 h 10000"/>
                    <a:gd name="connsiteX170" fmla="*/ 0 w 10000"/>
                    <a:gd name="connsiteY170" fmla="*/ 8454 h 10000"/>
                    <a:gd name="connsiteX171" fmla="*/ 0 w 10000"/>
                    <a:gd name="connsiteY171" fmla="*/ 8454 h 10000"/>
                    <a:gd name="connsiteX172" fmla="*/ 278 w 10000"/>
                    <a:gd name="connsiteY172" fmla="*/ 8689 h 10000"/>
                    <a:gd name="connsiteX173" fmla="*/ 500 w 10000"/>
                    <a:gd name="connsiteY173" fmla="*/ 8866 h 10000"/>
                    <a:gd name="connsiteX174" fmla="*/ 722 w 10000"/>
                    <a:gd name="connsiteY174" fmla="*/ 9013 h 10000"/>
                    <a:gd name="connsiteX175" fmla="*/ 722 w 10000"/>
                    <a:gd name="connsiteY175" fmla="*/ 9013 h 10000"/>
                    <a:gd name="connsiteX176" fmla="*/ 889 w 10000"/>
                    <a:gd name="connsiteY176" fmla="*/ 9102 h 10000"/>
                    <a:gd name="connsiteX177" fmla="*/ 944 w 10000"/>
                    <a:gd name="connsiteY177" fmla="*/ 9175 h 10000"/>
                    <a:gd name="connsiteX178" fmla="*/ 1111 w 10000"/>
                    <a:gd name="connsiteY178" fmla="*/ 9249 h 10000"/>
                    <a:gd name="connsiteX179" fmla="*/ 1333 w 10000"/>
                    <a:gd name="connsiteY179" fmla="*/ 9367 h 10000"/>
                    <a:gd name="connsiteX180" fmla="*/ 1333 w 10000"/>
                    <a:gd name="connsiteY180" fmla="*/ 9367 h 10000"/>
                    <a:gd name="connsiteX181" fmla="*/ 1444 w 10000"/>
                    <a:gd name="connsiteY181" fmla="*/ 9426 h 10000"/>
                    <a:gd name="connsiteX182" fmla="*/ 1500 w 10000"/>
                    <a:gd name="connsiteY182" fmla="*/ 9470 h 10000"/>
                    <a:gd name="connsiteX183" fmla="*/ 1500 w 10000"/>
                    <a:gd name="connsiteY183" fmla="*/ 9514 h 10000"/>
                    <a:gd name="connsiteX184" fmla="*/ 1556 w 10000"/>
                    <a:gd name="connsiteY184" fmla="*/ 9529 h 10000"/>
                    <a:gd name="connsiteX185" fmla="*/ 1722 w 10000"/>
                    <a:gd name="connsiteY185" fmla="*/ 9543 h 10000"/>
                    <a:gd name="connsiteX186" fmla="*/ 1944 w 10000"/>
                    <a:gd name="connsiteY186" fmla="*/ 9558 h 10000"/>
                    <a:gd name="connsiteX187" fmla="*/ 2944 w 10000"/>
                    <a:gd name="connsiteY187" fmla="*/ 9573 h 10000"/>
                    <a:gd name="connsiteX188" fmla="*/ 2944 w 10000"/>
                    <a:gd name="connsiteY188" fmla="*/ 9573 h 10000"/>
                    <a:gd name="connsiteX189" fmla="*/ 4167 w 10000"/>
                    <a:gd name="connsiteY189" fmla="*/ 9602 h 10000"/>
                    <a:gd name="connsiteX190" fmla="*/ 4889 w 10000"/>
                    <a:gd name="connsiteY190" fmla="*/ 9647 h 10000"/>
                    <a:gd name="connsiteX191" fmla="*/ 5278 w 10000"/>
                    <a:gd name="connsiteY191" fmla="*/ 9691 h 10000"/>
                    <a:gd name="connsiteX192" fmla="*/ 5444 w 10000"/>
                    <a:gd name="connsiteY192" fmla="*/ 9705 h 10000"/>
                    <a:gd name="connsiteX193" fmla="*/ 5444 w 10000"/>
                    <a:gd name="connsiteY193" fmla="*/ 9705 h 10000"/>
                    <a:gd name="connsiteX194" fmla="*/ 5722 w 10000"/>
                    <a:gd name="connsiteY194" fmla="*/ 9735 h 10000"/>
                    <a:gd name="connsiteX195" fmla="*/ 5833 w 10000"/>
                    <a:gd name="connsiteY195" fmla="*/ 9750 h 10000"/>
                    <a:gd name="connsiteX196" fmla="*/ 5833 w 10000"/>
                    <a:gd name="connsiteY196" fmla="*/ 9750 h 10000"/>
                    <a:gd name="connsiteX197" fmla="*/ 5833 w 10000"/>
                    <a:gd name="connsiteY197" fmla="*/ 9735 h 10000"/>
                    <a:gd name="connsiteX198" fmla="*/ 5889 w 10000"/>
                    <a:gd name="connsiteY198" fmla="*/ 9720 h 10000"/>
                    <a:gd name="connsiteX199" fmla="*/ 6000 w 10000"/>
                    <a:gd name="connsiteY199" fmla="*/ 9705 h 10000"/>
                    <a:gd name="connsiteX200" fmla="*/ 6167 w 10000"/>
                    <a:gd name="connsiteY200" fmla="*/ 9691 h 10000"/>
                    <a:gd name="connsiteX201" fmla="*/ 6444 w 10000"/>
                    <a:gd name="connsiteY201" fmla="*/ 9691 h 10000"/>
                    <a:gd name="connsiteX202" fmla="*/ 6833 w 10000"/>
                    <a:gd name="connsiteY202" fmla="*/ 9705 h 10000"/>
                    <a:gd name="connsiteX203" fmla="*/ 7278 w 10000"/>
                    <a:gd name="connsiteY203" fmla="*/ 9750 h 10000"/>
                    <a:gd name="connsiteX204" fmla="*/ 7278 w 10000"/>
                    <a:gd name="connsiteY204" fmla="*/ 9750 h 10000"/>
                    <a:gd name="connsiteX205" fmla="*/ 8722 w 10000"/>
                    <a:gd name="connsiteY205" fmla="*/ 9882 h 10000"/>
                    <a:gd name="connsiteX206" fmla="*/ 10000 w 10000"/>
                    <a:gd name="connsiteY20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2222 w 10000"/>
                    <a:gd name="connsiteY74" fmla="*/ 2563 h 10000"/>
                    <a:gd name="connsiteX75" fmla="*/ 2389 w 10000"/>
                    <a:gd name="connsiteY75" fmla="*/ 2577 h 10000"/>
                    <a:gd name="connsiteX76" fmla="*/ 2389 w 10000"/>
                    <a:gd name="connsiteY76" fmla="*/ 2577 h 10000"/>
                    <a:gd name="connsiteX77" fmla="*/ 2444 w 10000"/>
                    <a:gd name="connsiteY77" fmla="*/ 2577 h 10000"/>
                    <a:gd name="connsiteX78" fmla="*/ 2500 w 10000"/>
                    <a:gd name="connsiteY78" fmla="*/ 2548 h 10000"/>
                    <a:gd name="connsiteX79" fmla="*/ 2778 w 10000"/>
                    <a:gd name="connsiteY79" fmla="*/ 2459 h 10000"/>
                    <a:gd name="connsiteX80" fmla="*/ 3500 w 10000"/>
                    <a:gd name="connsiteY80" fmla="*/ 2165 h 10000"/>
                    <a:gd name="connsiteX81" fmla="*/ 4444 w 10000"/>
                    <a:gd name="connsiteY81" fmla="*/ 1738 h 10000"/>
                    <a:gd name="connsiteX82" fmla="*/ 4444 w 10000"/>
                    <a:gd name="connsiteY82" fmla="*/ 1738 h 10000"/>
                    <a:gd name="connsiteX83" fmla="*/ 4444 w 10000"/>
                    <a:gd name="connsiteY83" fmla="*/ 1679 h 10000"/>
                    <a:gd name="connsiteX84" fmla="*/ 4444 w 10000"/>
                    <a:gd name="connsiteY84" fmla="*/ 1546 h 10000"/>
                    <a:gd name="connsiteX85" fmla="*/ 4500 w 10000"/>
                    <a:gd name="connsiteY85" fmla="*/ 1458 h 10000"/>
                    <a:gd name="connsiteX86" fmla="*/ 4611 w 10000"/>
                    <a:gd name="connsiteY86" fmla="*/ 1384 h 10000"/>
                    <a:gd name="connsiteX87" fmla="*/ 4778 w 10000"/>
                    <a:gd name="connsiteY87" fmla="*/ 1296 h 10000"/>
                    <a:gd name="connsiteX88" fmla="*/ 5000 w 10000"/>
                    <a:gd name="connsiteY88" fmla="*/ 1222 h 10000"/>
                    <a:gd name="connsiteX89" fmla="*/ 5000 w 10000"/>
                    <a:gd name="connsiteY89" fmla="*/ 1222 h 10000"/>
                    <a:gd name="connsiteX90" fmla="*/ 5556 w 10000"/>
                    <a:gd name="connsiteY90" fmla="*/ 1075 h 10000"/>
                    <a:gd name="connsiteX91" fmla="*/ 6111 w 10000"/>
                    <a:gd name="connsiteY91" fmla="*/ 884 h 10000"/>
                    <a:gd name="connsiteX92" fmla="*/ 6667 w 10000"/>
                    <a:gd name="connsiteY92" fmla="*/ 707 h 10000"/>
                    <a:gd name="connsiteX93" fmla="*/ 7056 w 10000"/>
                    <a:gd name="connsiteY93" fmla="*/ 545 h 10000"/>
                    <a:gd name="connsiteX94" fmla="*/ 7056 w 10000"/>
                    <a:gd name="connsiteY94" fmla="*/ 545 h 10000"/>
                    <a:gd name="connsiteX95" fmla="*/ 7333 w 10000"/>
                    <a:gd name="connsiteY95" fmla="*/ 398 h 10000"/>
                    <a:gd name="connsiteX96" fmla="*/ 7667 w 10000"/>
                    <a:gd name="connsiteY96" fmla="*/ 221 h 10000"/>
                    <a:gd name="connsiteX97" fmla="*/ 8000 w 10000"/>
                    <a:gd name="connsiteY97" fmla="*/ 88 h 10000"/>
                    <a:gd name="connsiteX98" fmla="*/ 8167 w 10000"/>
                    <a:gd name="connsiteY98" fmla="*/ 29 h 10000"/>
                    <a:gd name="connsiteX99" fmla="*/ 8333 w 10000"/>
                    <a:gd name="connsiteY99" fmla="*/ 15 h 10000"/>
                    <a:gd name="connsiteX100" fmla="*/ 8333 w 10000"/>
                    <a:gd name="connsiteY100" fmla="*/ 15 h 10000"/>
                    <a:gd name="connsiteX101" fmla="*/ 8667 w 10000"/>
                    <a:gd name="connsiteY101" fmla="*/ 0 h 10000"/>
                    <a:gd name="connsiteX102" fmla="*/ 9111 w 10000"/>
                    <a:gd name="connsiteY102" fmla="*/ 0 h 10000"/>
                    <a:gd name="connsiteX103" fmla="*/ 10000 w 10000"/>
                    <a:gd name="connsiteY103" fmla="*/ 15 h 10000"/>
                    <a:gd name="connsiteX104" fmla="*/ 10000 w 10000"/>
                    <a:gd name="connsiteY104" fmla="*/ 9013 h 10000"/>
                    <a:gd name="connsiteX105" fmla="*/ 10000 w 10000"/>
                    <a:gd name="connsiteY105" fmla="*/ 9013 h 10000"/>
                    <a:gd name="connsiteX106" fmla="*/ 9722 w 10000"/>
                    <a:gd name="connsiteY106" fmla="*/ 8999 h 10000"/>
                    <a:gd name="connsiteX107" fmla="*/ 9389 w 10000"/>
                    <a:gd name="connsiteY107" fmla="*/ 9013 h 10000"/>
                    <a:gd name="connsiteX108" fmla="*/ 9389 w 10000"/>
                    <a:gd name="connsiteY108" fmla="*/ 9013 h 10000"/>
                    <a:gd name="connsiteX109" fmla="*/ 9278 w 10000"/>
                    <a:gd name="connsiteY109" fmla="*/ 9028 h 10000"/>
                    <a:gd name="connsiteX110" fmla="*/ 9056 w 10000"/>
                    <a:gd name="connsiteY110" fmla="*/ 9013 h 10000"/>
                    <a:gd name="connsiteX111" fmla="*/ 8889 w 10000"/>
                    <a:gd name="connsiteY111" fmla="*/ 8999 h 10000"/>
                    <a:gd name="connsiteX112" fmla="*/ 8722 w 10000"/>
                    <a:gd name="connsiteY112" fmla="*/ 8969 h 10000"/>
                    <a:gd name="connsiteX113" fmla="*/ 8611 w 10000"/>
                    <a:gd name="connsiteY113" fmla="*/ 8925 h 10000"/>
                    <a:gd name="connsiteX114" fmla="*/ 8444 w 10000"/>
                    <a:gd name="connsiteY114" fmla="*/ 8851 h 10000"/>
                    <a:gd name="connsiteX115" fmla="*/ 8444 w 10000"/>
                    <a:gd name="connsiteY115" fmla="*/ 8851 h 10000"/>
                    <a:gd name="connsiteX116" fmla="*/ 8222 w 10000"/>
                    <a:gd name="connsiteY116" fmla="*/ 8719 h 10000"/>
                    <a:gd name="connsiteX117" fmla="*/ 8111 w 10000"/>
                    <a:gd name="connsiteY117" fmla="*/ 8660 h 10000"/>
                    <a:gd name="connsiteX118" fmla="*/ 7944 w 10000"/>
                    <a:gd name="connsiteY118" fmla="*/ 8616 h 10000"/>
                    <a:gd name="connsiteX119" fmla="*/ 7778 w 10000"/>
                    <a:gd name="connsiteY119" fmla="*/ 8586 h 10000"/>
                    <a:gd name="connsiteX120" fmla="*/ 7556 w 10000"/>
                    <a:gd name="connsiteY120" fmla="*/ 8571 h 10000"/>
                    <a:gd name="connsiteX121" fmla="*/ 7333 w 10000"/>
                    <a:gd name="connsiteY121" fmla="*/ 8557 h 10000"/>
                    <a:gd name="connsiteX122" fmla="*/ 7000 w 10000"/>
                    <a:gd name="connsiteY122" fmla="*/ 8542 h 10000"/>
                    <a:gd name="connsiteX123" fmla="*/ 7000 w 10000"/>
                    <a:gd name="connsiteY123" fmla="*/ 8542 h 10000"/>
                    <a:gd name="connsiteX124" fmla="*/ 6556 w 10000"/>
                    <a:gd name="connsiteY124" fmla="*/ 8557 h 10000"/>
                    <a:gd name="connsiteX125" fmla="*/ 6222 w 10000"/>
                    <a:gd name="connsiteY125" fmla="*/ 8557 h 10000"/>
                    <a:gd name="connsiteX126" fmla="*/ 6111 w 10000"/>
                    <a:gd name="connsiteY126" fmla="*/ 8542 h 10000"/>
                    <a:gd name="connsiteX127" fmla="*/ 6056 w 10000"/>
                    <a:gd name="connsiteY127" fmla="*/ 8527 h 10000"/>
                    <a:gd name="connsiteX128" fmla="*/ 6056 w 10000"/>
                    <a:gd name="connsiteY128" fmla="*/ 8527 h 10000"/>
                    <a:gd name="connsiteX129" fmla="*/ 6056 w 10000"/>
                    <a:gd name="connsiteY129" fmla="*/ 8262 h 10000"/>
                    <a:gd name="connsiteX130" fmla="*/ 6056 w 10000"/>
                    <a:gd name="connsiteY130" fmla="*/ 8262 h 10000"/>
                    <a:gd name="connsiteX131" fmla="*/ 6056 w 10000"/>
                    <a:gd name="connsiteY131" fmla="*/ 8203 h 10000"/>
                    <a:gd name="connsiteX132" fmla="*/ 5944 w 10000"/>
                    <a:gd name="connsiteY132" fmla="*/ 8130 h 10000"/>
                    <a:gd name="connsiteX133" fmla="*/ 5889 w 10000"/>
                    <a:gd name="connsiteY133" fmla="*/ 8115 h 10000"/>
                    <a:gd name="connsiteX134" fmla="*/ 5778 w 10000"/>
                    <a:gd name="connsiteY134" fmla="*/ 8100 h 10000"/>
                    <a:gd name="connsiteX135" fmla="*/ 5667 w 10000"/>
                    <a:gd name="connsiteY135" fmla="*/ 8100 h 10000"/>
                    <a:gd name="connsiteX136" fmla="*/ 5500 w 10000"/>
                    <a:gd name="connsiteY136" fmla="*/ 8115 h 10000"/>
                    <a:gd name="connsiteX137" fmla="*/ 5500 w 10000"/>
                    <a:gd name="connsiteY137" fmla="*/ 8115 h 10000"/>
                    <a:gd name="connsiteX138" fmla="*/ 4889 w 10000"/>
                    <a:gd name="connsiteY138" fmla="*/ 8218 h 10000"/>
                    <a:gd name="connsiteX139" fmla="*/ 4611 w 10000"/>
                    <a:gd name="connsiteY139" fmla="*/ 8247 h 10000"/>
                    <a:gd name="connsiteX140" fmla="*/ 4556 w 10000"/>
                    <a:gd name="connsiteY140" fmla="*/ 8262 h 10000"/>
                    <a:gd name="connsiteX141" fmla="*/ 4500 w 10000"/>
                    <a:gd name="connsiteY141" fmla="*/ 8247 h 10000"/>
                    <a:gd name="connsiteX142" fmla="*/ 4500 w 10000"/>
                    <a:gd name="connsiteY142" fmla="*/ 8247 h 10000"/>
                    <a:gd name="connsiteX143" fmla="*/ 4222 w 10000"/>
                    <a:gd name="connsiteY143" fmla="*/ 8100 h 10000"/>
                    <a:gd name="connsiteX144" fmla="*/ 4222 w 10000"/>
                    <a:gd name="connsiteY144" fmla="*/ 8100 h 10000"/>
                    <a:gd name="connsiteX145" fmla="*/ 4111 w 10000"/>
                    <a:gd name="connsiteY145" fmla="*/ 8027 h 10000"/>
                    <a:gd name="connsiteX146" fmla="*/ 4111 w 10000"/>
                    <a:gd name="connsiteY146" fmla="*/ 7982 h 10000"/>
                    <a:gd name="connsiteX147" fmla="*/ 4111 w 10000"/>
                    <a:gd name="connsiteY147" fmla="*/ 7938 h 10000"/>
                    <a:gd name="connsiteX148" fmla="*/ 4111 w 10000"/>
                    <a:gd name="connsiteY148" fmla="*/ 7938 h 10000"/>
                    <a:gd name="connsiteX149" fmla="*/ 4278 w 10000"/>
                    <a:gd name="connsiteY149" fmla="*/ 7894 h 10000"/>
                    <a:gd name="connsiteX150" fmla="*/ 4389 w 10000"/>
                    <a:gd name="connsiteY150" fmla="*/ 7879 h 10000"/>
                    <a:gd name="connsiteX151" fmla="*/ 4389 w 10000"/>
                    <a:gd name="connsiteY151" fmla="*/ 7879 h 10000"/>
                    <a:gd name="connsiteX152" fmla="*/ 4000 w 10000"/>
                    <a:gd name="connsiteY152" fmla="*/ 7879 h 10000"/>
                    <a:gd name="connsiteX153" fmla="*/ 3722 w 10000"/>
                    <a:gd name="connsiteY153" fmla="*/ 7894 h 10000"/>
                    <a:gd name="connsiteX154" fmla="*/ 3611 w 10000"/>
                    <a:gd name="connsiteY154" fmla="*/ 7909 h 10000"/>
                    <a:gd name="connsiteX155" fmla="*/ 3556 w 10000"/>
                    <a:gd name="connsiteY155" fmla="*/ 7923 h 10000"/>
                    <a:gd name="connsiteX156" fmla="*/ 3556 w 10000"/>
                    <a:gd name="connsiteY156" fmla="*/ 7923 h 10000"/>
                    <a:gd name="connsiteX157" fmla="*/ 3444 w 10000"/>
                    <a:gd name="connsiteY157" fmla="*/ 7982 h 10000"/>
                    <a:gd name="connsiteX158" fmla="*/ 3278 w 10000"/>
                    <a:gd name="connsiteY158" fmla="*/ 8071 h 10000"/>
                    <a:gd name="connsiteX159" fmla="*/ 3000 w 10000"/>
                    <a:gd name="connsiteY159" fmla="*/ 8174 h 10000"/>
                    <a:gd name="connsiteX160" fmla="*/ 2667 w 10000"/>
                    <a:gd name="connsiteY160" fmla="*/ 8247 h 10000"/>
                    <a:gd name="connsiteX161" fmla="*/ 2667 w 10000"/>
                    <a:gd name="connsiteY161" fmla="*/ 8247 h 10000"/>
                    <a:gd name="connsiteX162" fmla="*/ 2333 w 10000"/>
                    <a:gd name="connsiteY162" fmla="*/ 8306 h 10000"/>
                    <a:gd name="connsiteX163" fmla="*/ 1833 w 10000"/>
                    <a:gd name="connsiteY163" fmla="*/ 8365 h 10000"/>
                    <a:gd name="connsiteX164" fmla="*/ 1389 w 10000"/>
                    <a:gd name="connsiteY164" fmla="*/ 8395 h 10000"/>
                    <a:gd name="connsiteX165" fmla="*/ 889 w 10000"/>
                    <a:gd name="connsiteY165" fmla="*/ 8409 h 10000"/>
                    <a:gd name="connsiteX166" fmla="*/ 889 w 10000"/>
                    <a:gd name="connsiteY166" fmla="*/ 8409 h 10000"/>
                    <a:gd name="connsiteX167" fmla="*/ 500 w 10000"/>
                    <a:gd name="connsiteY167" fmla="*/ 8424 h 10000"/>
                    <a:gd name="connsiteX168" fmla="*/ 222 w 10000"/>
                    <a:gd name="connsiteY168" fmla="*/ 8439 h 10000"/>
                    <a:gd name="connsiteX169" fmla="*/ 0 w 10000"/>
                    <a:gd name="connsiteY169" fmla="*/ 8454 h 10000"/>
                    <a:gd name="connsiteX170" fmla="*/ 0 w 10000"/>
                    <a:gd name="connsiteY170" fmla="*/ 8454 h 10000"/>
                    <a:gd name="connsiteX171" fmla="*/ 278 w 10000"/>
                    <a:gd name="connsiteY171" fmla="*/ 8689 h 10000"/>
                    <a:gd name="connsiteX172" fmla="*/ 500 w 10000"/>
                    <a:gd name="connsiteY172" fmla="*/ 8866 h 10000"/>
                    <a:gd name="connsiteX173" fmla="*/ 722 w 10000"/>
                    <a:gd name="connsiteY173" fmla="*/ 9013 h 10000"/>
                    <a:gd name="connsiteX174" fmla="*/ 722 w 10000"/>
                    <a:gd name="connsiteY174" fmla="*/ 9013 h 10000"/>
                    <a:gd name="connsiteX175" fmla="*/ 889 w 10000"/>
                    <a:gd name="connsiteY175" fmla="*/ 9102 h 10000"/>
                    <a:gd name="connsiteX176" fmla="*/ 944 w 10000"/>
                    <a:gd name="connsiteY176" fmla="*/ 9175 h 10000"/>
                    <a:gd name="connsiteX177" fmla="*/ 1111 w 10000"/>
                    <a:gd name="connsiteY177" fmla="*/ 9249 h 10000"/>
                    <a:gd name="connsiteX178" fmla="*/ 1333 w 10000"/>
                    <a:gd name="connsiteY178" fmla="*/ 9367 h 10000"/>
                    <a:gd name="connsiteX179" fmla="*/ 1333 w 10000"/>
                    <a:gd name="connsiteY179" fmla="*/ 9367 h 10000"/>
                    <a:gd name="connsiteX180" fmla="*/ 1444 w 10000"/>
                    <a:gd name="connsiteY180" fmla="*/ 9426 h 10000"/>
                    <a:gd name="connsiteX181" fmla="*/ 1500 w 10000"/>
                    <a:gd name="connsiteY181" fmla="*/ 9470 h 10000"/>
                    <a:gd name="connsiteX182" fmla="*/ 1500 w 10000"/>
                    <a:gd name="connsiteY182" fmla="*/ 9514 h 10000"/>
                    <a:gd name="connsiteX183" fmla="*/ 1556 w 10000"/>
                    <a:gd name="connsiteY183" fmla="*/ 9529 h 10000"/>
                    <a:gd name="connsiteX184" fmla="*/ 1722 w 10000"/>
                    <a:gd name="connsiteY184" fmla="*/ 9543 h 10000"/>
                    <a:gd name="connsiteX185" fmla="*/ 1944 w 10000"/>
                    <a:gd name="connsiteY185" fmla="*/ 9558 h 10000"/>
                    <a:gd name="connsiteX186" fmla="*/ 2944 w 10000"/>
                    <a:gd name="connsiteY186" fmla="*/ 9573 h 10000"/>
                    <a:gd name="connsiteX187" fmla="*/ 2944 w 10000"/>
                    <a:gd name="connsiteY187" fmla="*/ 9573 h 10000"/>
                    <a:gd name="connsiteX188" fmla="*/ 4167 w 10000"/>
                    <a:gd name="connsiteY188" fmla="*/ 9602 h 10000"/>
                    <a:gd name="connsiteX189" fmla="*/ 4889 w 10000"/>
                    <a:gd name="connsiteY189" fmla="*/ 9647 h 10000"/>
                    <a:gd name="connsiteX190" fmla="*/ 5278 w 10000"/>
                    <a:gd name="connsiteY190" fmla="*/ 9691 h 10000"/>
                    <a:gd name="connsiteX191" fmla="*/ 5444 w 10000"/>
                    <a:gd name="connsiteY191" fmla="*/ 9705 h 10000"/>
                    <a:gd name="connsiteX192" fmla="*/ 5444 w 10000"/>
                    <a:gd name="connsiteY192" fmla="*/ 9705 h 10000"/>
                    <a:gd name="connsiteX193" fmla="*/ 5722 w 10000"/>
                    <a:gd name="connsiteY193" fmla="*/ 9735 h 10000"/>
                    <a:gd name="connsiteX194" fmla="*/ 5833 w 10000"/>
                    <a:gd name="connsiteY194" fmla="*/ 9750 h 10000"/>
                    <a:gd name="connsiteX195" fmla="*/ 5833 w 10000"/>
                    <a:gd name="connsiteY195" fmla="*/ 9750 h 10000"/>
                    <a:gd name="connsiteX196" fmla="*/ 5833 w 10000"/>
                    <a:gd name="connsiteY196" fmla="*/ 9735 h 10000"/>
                    <a:gd name="connsiteX197" fmla="*/ 5889 w 10000"/>
                    <a:gd name="connsiteY197" fmla="*/ 9720 h 10000"/>
                    <a:gd name="connsiteX198" fmla="*/ 6000 w 10000"/>
                    <a:gd name="connsiteY198" fmla="*/ 9705 h 10000"/>
                    <a:gd name="connsiteX199" fmla="*/ 6167 w 10000"/>
                    <a:gd name="connsiteY199" fmla="*/ 9691 h 10000"/>
                    <a:gd name="connsiteX200" fmla="*/ 6444 w 10000"/>
                    <a:gd name="connsiteY200" fmla="*/ 9691 h 10000"/>
                    <a:gd name="connsiteX201" fmla="*/ 6833 w 10000"/>
                    <a:gd name="connsiteY201" fmla="*/ 9705 h 10000"/>
                    <a:gd name="connsiteX202" fmla="*/ 7278 w 10000"/>
                    <a:gd name="connsiteY202" fmla="*/ 9750 h 10000"/>
                    <a:gd name="connsiteX203" fmla="*/ 7278 w 10000"/>
                    <a:gd name="connsiteY203" fmla="*/ 9750 h 10000"/>
                    <a:gd name="connsiteX204" fmla="*/ 8722 w 10000"/>
                    <a:gd name="connsiteY204" fmla="*/ 9882 h 10000"/>
                    <a:gd name="connsiteX205" fmla="*/ 10000 w 10000"/>
                    <a:gd name="connsiteY20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2222 w 10000"/>
                    <a:gd name="connsiteY74" fmla="*/ 2563 h 10000"/>
                    <a:gd name="connsiteX75" fmla="*/ 2389 w 10000"/>
                    <a:gd name="connsiteY75" fmla="*/ 2577 h 10000"/>
                    <a:gd name="connsiteX76" fmla="*/ 2389 w 10000"/>
                    <a:gd name="connsiteY76" fmla="*/ 2577 h 10000"/>
                    <a:gd name="connsiteX77" fmla="*/ 2444 w 10000"/>
                    <a:gd name="connsiteY77" fmla="*/ 2577 h 10000"/>
                    <a:gd name="connsiteX78" fmla="*/ 2778 w 10000"/>
                    <a:gd name="connsiteY78" fmla="*/ 2459 h 10000"/>
                    <a:gd name="connsiteX79" fmla="*/ 3500 w 10000"/>
                    <a:gd name="connsiteY79" fmla="*/ 2165 h 10000"/>
                    <a:gd name="connsiteX80" fmla="*/ 4444 w 10000"/>
                    <a:gd name="connsiteY80" fmla="*/ 1738 h 10000"/>
                    <a:gd name="connsiteX81" fmla="*/ 4444 w 10000"/>
                    <a:gd name="connsiteY81" fmla="*/ 1738 h 10000"/>
                    <a:gd name="connsiteX82" fmla="*/ 4444 w 10000"/>
                    <a:gd name="connsiteY82" fmla="*/ 1679 h 10000"/>
                    <a:gd name="connsiteX83" fmla="*/ 4444 w 10000"/>
                    <a:gd name="connsiteY83" fmla="*/ 1546 h 10000"/>
                    <a:gd name="connsiteX84" fmla="*/ 4500 w 10000"/>
                    <a:gd name="connsiteY84" fmla="*/ 1458 h 10000"/>
                    <a:gd name="connsiteX85" fmla="*/ 4611 w 10000"/>
                    <a:gd name="connsiteY85" fmla="*/ 1384 h 10000"/>
                    <a:gd name="connsiteX86" fmla="*/ 4778 w 10000"/>
                    <a:gd name="connsiteY86" fmla="*/ 1296 h 10000"/>
                    <a:gd name="connsiteX87" fmla="*/ 5000 w 10000"/>
                    <a:gd name="connsiteY87" fmla="*/ 1222 h 10000"/>
                    <a:gd name="connsiteX88" fmla="*/ 5000 w 10000"/>
                    <a:gd name="connsiteY88" fmla="*/ 1222 h 10000"/>
                    <a:gd name="connsiteX89" fmla="*/ 5556 w 10000"/>
                    <a:gd name="connsiteY89" fmla="*/ 1075 h 10000"/>
                    <a:gd name="connsiteX90" fmla="*/ 6111 w 10000"/>
                    <a:gd name="connsiteY90" fmla="*/ 884 h 10000"/>
                    <a:gd name="connsiteX91" fmla="*/ 6667 w 10000"/>
                    <a:gd name="connsiteY91" fmla="*/ 707 h 10000"/>
                    <a:gd name="connsiteX92" fmla="*/ 7056 w 10000"/>
                    <a:gd name="connsiteY92" fmla="*/ 545 h 10000"/>
                    <a:gd name="connsiteX93" fmla="*/ 7056 w 10000"/>
                    <a:gd name="connsiteY93" fmla="*/ 545 h 10000"/>
                    <a:gd name="connsiteX94" fmla="*/ 7333 w 10000"/>
                    <a:gd name="connsiteY94" fmla="*/ 398 h 10000"/>
                    <a:gd name="connsiteX95" fmla="*/ 7667 w 10000"/>
                    <a:gd name="connsiteY95" fmla="*/ 221 h 10000"/>
                    <a:gd name="connsiteX96" fmla="*/ 8000 w 10000"/>
                    <a:gd name="connsiteY96" fmla="*/ 88 h 10000"/>
                    <a:gd name="connsiteX97" fmla="*/ 8167 w 10000"/>
                    <a:gd name="connsiteY97" fmla="*/ 29 h 10000"/>
                    <a:gd name="connsiteX98" fmla="*/ 8333 w 10000"/>
                    <a:gd name="connsiteY98" fmla="*/ 15 h 10000"/>
                    <a:gd name="connsiteX99" fmla="*/ 8333 w 10000"/>
                    <a:gd name="connsiteY99" fmla="*/ 15 h 10000"/>
                    <a:gd name="connsiteX100" fmla="*/ 8667 w 10000"/>
                    <a:gd name="connsiteY100" fmla="*/ 0 h 10000"/>
                    <a:gd name="connsiteX101" fmla="*/ 9111 w 10000"/>
                    <a:gd name="connsiteY101" fmla="*/ 0 h 10000"/>
                    <a:gd name="connsiteX102" fmla="*/ 10000 w 10000"/>
                    <a:gd name="connsiteY102" fmla="*/ 15 h 10000"/>
                    <a:gd name="connsiteX103" fmla="*/ 10000 w 10000"/>
                    <a:gd name="connsiteY103" fmla="*/ 9013 h 10000"/>
                    <a:gd name="connsiteX104" fmla="*/ 10000 w 10000"/>
                    <a:gd name="connsiteY104" fmla="*/ 9013 h 10000"/>
                    <a:gd name="connsiteX105" fmla="*/ 9722 w 10000"/>
                    <a:gd name="connsiteY105" fmla="*/ 8999 h 10000"/>
                    <a:gd name="connsiteX106" fmla="*/ 9389 w 10000"/>
                    <a:gd name="connsiteY106" fmla="*/ 9013 h 10000"/>
                    <a:gd name="connsiteX107" fmla="*/ 9389 w 10000"/>
                    <a:gd name="connsiteY107" fmla="*/ 9013 h 10000"/>
                    <a:gd name="connsiteX108" fmla="*/ 9278 w 10000"/>
                    <a:gd name="connsiteY108" fmla="*/ 9028 h 10000"/>
                    <a:gd name="connsiteX109" fmla="*/ 9056 w 10000"/>
                    <a:gd name="connsiteY109" fmla="*/ 9013 h 10000"/>
                    <a:gd name="connsiteX110" fmla="*/ 8889 w 10000"/>
                    <a:gd name="connsiteY110" fmla="*/ 8999 h 10000"/>
                    <a:gd name="connsiteX111" fmla="*/ 8722 w 10000"/>
                    <a:gd name="connsiteY111" fmla="*/ 8969 h 10000"/>
                    <a:gd name="connsiteX112" fmla="*/ 8611 w 10000"/>
                    <a:gd name="connsiteY112" fmla="*/ 8925 h 10000"/>
                    <a:gd name="connsiteX113" fmla="*/ 8444 w 10000"/>
                    <a:gd name="connsiteY113" fmla="*/ 8851 h 10000"/>
                    <a:gd name="connsiteX114" fmla="*/ 8444 w 10000"/>
                    <a:gd name="connsiteY114" fmla="*/ 8851 h 10000"/>
                    <a:gd name="connsiteX115" fmla="*/ 8222 w 10000"/>
                    <a:gd name="connsiteY115" fmla="*/ 8719 h 10000"/>
                    <a:gd name="connsiteX116" fmla="*/ 8111 w 10000"/>
                    <a:gd name="connsiteY116" fmla="*/ 8660 h 10000"/>
                    <a:gd name="connsiteX117" fmla="*/ 7944 w 10000"/>
                    <a:gd name="connsiteY117" fmla="*/ 8616 h 10000"/>
                    <a:gd name="connsiteX118" fmla="*/ 7778 w 10000"/>
                    <a:gd name="connsiteY118" fmla="*/ 8586 h 10000"/>
                    <a:gd name="connsiteX119" fmla="*/ 7556 w 10000"/>
                    <a:gd name="connsiteY119" fmla="*/ 8571 h 10000"/>
                    <a:gd name="connsiteX120" fmla="*/ 7333 w 10000"/>
                    <a:gd name="connsiteY120" fmla="*/ 8557 h 10000"/>
                    <a:gd name="connsiteX121" fmla="*/ 7000 w 10000"/>
                    <a:gd name="connsiteY121" fmla="*/ 8542 h 10000"/>
                    <a:gd name="connsiteX122" fmla="*/ 7000 w 10000"/>
                    <a:gd name="connsiteY122" fmla="*/ 8542 h 10000"/>
                    <a:gd name="connsiteX123" fmla="*/ 6556 w 10000"/>
                    <a:gd name="connsiteY123" fmla="*/ 8557 h 10000"/>
                    <a:gd name="connsiteX124" fmla="*/ 6222 w 10000"/>
                    <a:gd name="connsiteY124" fmla="*/ 8557 h 10000"/>
                    <a:gd name="connsiteX125" fmla="*/ 6111 w 10000"/>
                    <a:gd name="connsiteY125" fmla="*/ 8542 h 10000"/>
                    <a:gd name="connsiteX126" fmla="*/ 6056 w 10000"/>
                    <a:gd name="connsiteY126" fmla="*/ 8527 h 10000"/>
                    <a:gd name="connsiteX127" fmla="*/ 6056 w 10000"/>
                    <a:gd name="connsiteY127" fmla="*/ 8527 h 10000"/>
                    <a:gd name="connsiteX128" fmla="*/ 6056 w 10000"/>
                    <a:gd name="connsiteY128" fmla="*/ 8262 h 10000"/>
                    <a:gd name="connsiteX129" fmla="*/ 6056 w 10000"/>
                    <a:gd name="connsiteY129" fmla="*/ 8262 h 10000"/>
                    <a:gd name="connsiteX130" fmla="*/ 6056 w 10000"/>
                    <a:gd name="connsiteY130" fmla="*/ 8203 h 10000"/>
                    <a:gd name="connsiteX131" fmla="*/ 5944 w 10000"/>
                    <a:gd name="connsiteY131" fmla="*/ 8130 h 10000"/>
                    <a:gd name="connsiteX132" fmla="*/ 5889 w 10000"/>
                    <a:gd name="connsiteY132" fmla="*/ 8115 h 10000"/>
                    <a:gd name="connsiteX133" fmla="*/ 5778 w 10000"/>
                    <a:gd name="connsiteY133" fmla="*/ 8100 h 10000"/>
                    <a:gd name="connsiteX134" fmla="*/ 5667 w 10000"/>
                    <a:gd name="connsiteY134" fmla="*/ 8100 h 10000"/>
                    <a:gd name="connsiteX135" fmla="*/ 5500 w 10000"/>
                    <a:gd name="connsiteY135" fmla="*/ 8115 h 10000"/>
                    <a:gd name="connsiteX136" fmla="*/ 5500 w 10000"/>
                    <a:gd name="connsiteY136" fmla="*/ 8115 h 10000"/>
                    <a:gd name="connsiteX137" fmla="*/ 4889 w 10000"/>
                    <a:gd name="connsiteY137" fmla="*/ 8218 h 10000"/>
                    <a:gd name="connsiteX138" fmla="*/ 4611 w 10000"/>
                    <a:gd name="connsiteY138" fmla="*/ 8247 h 10000"/>
                    <a:gd name="connsiteX139" fmla="*/ 4556 w 10000"/>
                    <a:gd name="connsiteY139" fmla="*/ 8262 h 10000"/>
                    <a:gd name="connsiteX140" fmla="*/ 4500 w 10000"/>
                    <a:gd name="connsiteY140" fmla="*/ 8247 h 10000"/>
                    <a:gd name="connsiteX141" fmla="*/ 4500 w 10000"/>
                    <a:gd name="connsiteY141" fmla="*/ 8247 h 10000"/>
                    <a:gd name="connsiteX142" fmla="*/ 4222 w 10000"/>
                    <a:gd name="connsiteY142" fmla="*/ 8100 h 10000"/>
                    <a:gd name="connsiteX143" fmla="*/ 4222 w 10000"/>
                    <a:gd name="connsiteY143" fmla="*/ 8100 h 10000"/>
                    <a:gd name="connsiteX144" fmla="*/ 4111 w 10000"/>
                    <a:gd name="connsiteY144" fmla="*/ 8027 h 10000"/>
                    <a:gd name="connsiteX145" fmla="*/ 4111 w 10000"/>
                    <a:gd name="connsiteY145" fmla="*/ 7982 h 10000"/>
                    <a:gd name="connsiteX146" fmla="*/ 4111 w 10000"/>
                    <a:gd name="connsiteY146" fmla="*/ 7938 h 10000"/>
                    <a:gd name="connsiteX147" fmla="*/ 4111 w 10000"/>
                    <a:gd name="connsiteY147" fmla="*/ 7938 h 10000"/>
                    <a:gd name="connsiteX148" fmla="*/ 4278 w 10000"/>
                    <a:gd name="connsiteY148" fmla="*/ 7894 h 10000"/>
                    <a:gd name="connsiteX149" fmla="*/ 4389 w 10000"/>
                    <a:gd name="connsiteY149" fmla="*/ 7879 h 10000"/>
                    <a:gd name="connsiteX150" fmla="*/ 4389 w 10000"/>
                    <a:gd name="connsiteY150" fmla="*/ 7879 h 10000"/>
                    <a:gd name="connsiteX151" fmla="*/ 4000 w 10000"/>
                    <a:gd name="connsiteY151" fmla="*/ 7879 h 10000"/>
                    <a:gd name="connsiteX152" fmla="*/ 3722 w 10000"/>
                    <a:gd name="connsiteY152" fmla="*/ 7894 h 10000"/>
                    <a:gd name="connsiteX153" fmla="*/ 3611 w 10000"/>
                    <a:gd name="connsiteY153" fmla="*/ 7909 h 10000"/>
                    <a:gd name="connsiteX154" fmla="*/ 3556 w 10000"/>
                    <a:gd name="connsiteY154" fmla="*/ 7923 h 10000"/>
                    <a:gd name="connsiteX155" fmla="*/ 3556 w 10000"/>
                    <a:gd name="connsiteY155" fmla="*/ 7923 h 10000"/>
                    <a:gd name="connsiteX156" fmla="*/ 3444 w 10000"/>
                    <a:gd name="connsiteY156" fmla="*/ 7982 h 10000"/>
                    <a:gd name="connsiteX157" fmla="*/ 3278 w 10000"/>
                    <a:gd name="connsiteY157" fmla="*/ 8071 h 10000"/>
                    <a:gd name="connsiteX158" fmla="*/ 3000 w 10000"/>
                    <a:gd name="connsiteY158" fmla="*/ 8174 h 10000"/>
                    <a:gd name="connsiteX159" fmla="*/ 2667 w 10000"/>
                    <a:gd name="connsiteY159" fmla="*/ 8247 h 10000"/>
                    <a:gd name="connsiteX160" fmla="*/ 2667 w 10000"/>
                    <a:gd name="connsiteY160" fmla="*/ 8247 h 10000"/>
                    <a:gd name="connsiteX161" fmla="*/ 2333 w 10000"/>
                    <a:gd name="connsiteY161" fmla="*/ 8306 h 10000"/>
                    <a:gd name="connsiteX162" fmla="*/ 1833 w 10000"/>
                    <a:gd name="connsiteY162" fmla="*/ 8365 h 10000"/>
                    <a:gd name="connsiteX163" fmla="*/ 1389 w 10000"/>
                    <a:gd name="connsiteY163" fmla="*/ 8395 h 10000"/>
                    <a:gd name="connsiteX164" fmla="*/ 889 w 10000"/>
                    <a:gd name="connsiteY164" fmla="*/ 8409 h 10000"/>
                    <a:gd name="connsiteX165" fmla="*/ 889 w 10000"/>
                    <a:gd name="connsiteY165" fmla="*/ 8409 h 10000"/>
                    <a:gd name="connsiteX166" fmla="*/ 500 w 10000"/>
                    <a:gd name="connsiteY166" fmla="*/ 8424 h 10000"/>
                    <a:gd name="connsiteX167" fmla="*/ 222 w 10000"/>
                    <a:gd name="connsiteY167" fmla="*/ 8439 h 10000"/>
                    <a:gd name="connsiteX168" fmla="*/ 0 w 10000"/>
                    <a:gd name="connsiteY168" fmla="*/ 8454 h 10000"/>
                    <a:gd name="connsiteX169" fmla="*/ 0 w 10000"/>
                    <a:gd name="connsiteY169" fmla="*/ 8454 h 10000"/>
                    <a:gd name="connsiteX170" fmla="*/ 278 w 10000"/>
                    <a:gd name="connsiteY170" fmla="*/ 8689 h 10000"/>
                    <a:gd name="connsiteX171" fmla="*/ 500 w 10000"/>
                    <a:gd name="connsiteY171" fmla="*/ 8866 h 10000"/>
                    <a:gd name="connsiteX172" fmla="*/ 722 w 10000"/>
                    <a:gd name="connsiteY172" fmla="*/ 9013 h 10000"/>
                    <a:gd name="connsiteX173" fmla="*/ 722 w 10000"/>
                    <a:gd name="connsiteY173" fmla="*/ 9013 h 10000"/>
                    <a:gd name="connsiteX174" fmla="*/ 889 w 10000"/>
                    <a:gd name="connsiteY174" fmla="*/ 9102 h 10000"/>
                    <a:gd name="connsiteX175" fmla="*/ 944 w 10000"/>
                    <a:gd name="connsiteY175" fmla="*/ 9175 h 10000"/>
                    <a:gd name="connsiteX176" fmla="*/ 1111 w 10000"/>
                    <a:gd name="connsiteY176" fmla="*/ 9249 h 10000"/>
                    <a:gd name="connsiteX177" fmla="*/ 1333 w 10000"/>
                    <a:gd name="connsiteY177" fmla="*/ 9367 h 10000"/>
                    <a:gd name="connsiteX178" fmla="*/ 1333 w 10000"/>
                    <a:gd name="connsiteY178" fmla="*/ 9367 h 10000"/>
                    <a:gd name="connsiteX179" fmla="*/ 1444 w 10000"/>
                    <a:gd name="connsiteY179" fmla="*/ 9426 h 10000"/>
                    <a:gd name="connsiteX180" fmla="*/ 1500 w 10000"/>
                    <a:gd name="connsiteY180" fmla="*/ 9470 h 10000"/>
                    <a:gd name="connsiteX181" fmla="*/ 1500 w 10000"/>
                    <a:gd name="connsiteY181" fmla="*/ 9514 h 10000"/>
                    <a:gd name="connsiteX182" fmla="*/ 1556 w 10000"/>
                    <a:gd name="connsiteY182" fmla="*/ 9529 h 10000"/>
                    <a:gd name="connsiteX183" fmla="*/ 1722 w 10000"/>
                    <a:gd name="connsiteY183" fmla="*/ 9543 h 10000"/>
                    <a:gd name="connsiteX184" fmla="*/ 1944 w 10000"/>
                    <a:gd name="connsiteY184" fmla="*/ 9558 h 10000"/>
                    <a:gd name="connsiteX185" fmla="*/ 2944 w 10000"/>
                    <a:gd name="connsiteY185" fmla="*/ 9573 h 10000"/>
                    <a:gd name="connsiteX186" fmla="*/ 2944 w 10000"/>
                    <a:gd name="connsiteY186" fmla="*/ 9573 h 10000"/>
                    <a:gd name="connsiteX187" fmla="*/ 4167 w 10000"/>
                    <a:gd name="connsiteY187" fmla="*/ 9602 h 10000"/>
                    <a:gd name="connsiteX188" fmla="*/ 4889 w 10000"/>
                    <a:gd name="connsiteY188" fmla="*/ 9647 h 10000"/>
                    <a:gd name="connsiteX189" fmla="*/ 5278 w 10000"/>
                    <a:gd name="connsiteY189" fmla="*/ 9691 h 10000"/>
                    <a:gd name="connsiteX190" fmla="*/ 5444 w 10000"/>
                    <a:gd name="connsiteY190" fmla="*/ 9705 h 10000"/>
                    <a:gd name="connsiteX191" fmla="*/ 5444 w 10000"/>
                    <a:gd name="connsiteY191" fmla="*/ 9705 h 10000"/>
                    <a:gd name="connsiteX192" fmla="*/ 5722 w 10000"/>
                    <a:gd name="connsiteY192" fmla="*/ 9735 h 10000"/>
                    <a:gd name="connsiteX193" fmla="*/ 5833 w 10000"/>
                    <a:gd name="connsiteY193" fmla="*/ 9750 h 10000"/>
                    <a:gd name="connsiteX194" fmla="*/ 5833 w 10000"/>
                    <a:gd name="connsiteY194" fmla="*/ 9750 h 10000"/>
                    <a:gd name="connsiteX195" fmla="*/ 5833 w 10000"/>
                    <a:gd name="connsiteY195" fmla="*/ 9735 h 10000"/>
                    <a:gd name="connsiteX196" fmla="*/ 5889 w 10000"/>
                    <a:gd name="connsiteY196" fmla="*/ 9720 h 10000"/>
                    <a:gd name="connsiteX197" fmla="*/ 6000 w 10000"/>
                    <a:gd name="connsiteY197" fmla="*/ 9705 h 10000"/>
                    <a:gd name="connsiteX198" fmla="*/ 6167 w 10000"/>
                    <a:gd name="connsiteY198" fmla="*/ 9691 h 10000"/>
                    <a:gd name="connsiteX199" fmla="*/ 6444 w 10000"/>
                    <a:gd name="connsiteY199" fmla="*/ 9691 h 10000"/>
                    <a:gd name="connsiteX200" fmla="*/ 6833 w 10000"/>
                    <a:gd name="connsiteY200" fmla="*/ 9705 h 10000"/>
                    <a:gd name="connsiteX201" fmla="*/ 7278 w 10000"/>
                    <a:gd name="connsiteY201" fmla="*/ 9750 h 10000"/>
                    <a:gd name="connsiteX202" fmla="*/ 7278 w 10000"/>
                    <a:gd name="connsiteY202" fmla="*/ 9750 h 10000"/>
                    <a:gd name="connsiteX203" fmla="*/ 8722 w 10000"/>
                    <a:gd name="connsiteY203" fmla="*/ 9882 h 10000"/>
                    <a:gd name="connsiteX204" fmla="*/ 10000 w 10000"/>
                    <a:gd name="connsiteY20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2222 w 10000"/>
                    <a:gd name="connsiteY74" fmla="*/ 2563 h 10000"/>
                    <a:gd name="connsiteX75" fmla="*/ 2389 w 10000"/>
                    <a:gd name="connsiteY75" fmla="*/ 2577 h 10000"/>
                    <a:gd name="connsiteX76" fmla="*/ 2389 w 10000"/>
                    <a:gd name="connsiteY76" fmla="*/ 2577 h 10000"/>
                    <a:gd name="connsiteX77" fmla="*/ 2444 w 10000"/>
                    <a:gd name="connsiteY77" fmla="*/ 2577 h 10000"/>
                    <a:gd name="connsiteX78" fmla="*/ 3500 w 10000"/>
                    <a:gd name="connsiteY78" fmla="*/ 2165 h 10000"/>
                    <a:gd name="connsiteX79" fmla="*/ 4444 w 10000"/>
                    <a:gd name="connsiteY79" fmla="*/ 1738 h 10000"/>
                    <a:gd name="connsiteX80" fmla="*/ 4444 w 10000"/>
                    <a:gd name="connsiteY80" fmla="*/ 1738 h 10000"/>
                    <a:gd name="connsiteX81" fmla="*/ 4444 w 10000"/>
                    <a:gd name="connsiteY81" fmla="*/ 1679 h 10000"/>
                    <a:gd name="connsiteX82" fmla="*/ 4444 w 10000"/>
                    <a:gd name="connsiteY82" fmla="*/ 1546 h 10000"/>
                    <a:gd name="connsiteX83" fmla="*/ 4500 w 10000"/>
                    <a:gd name="connsiteY83" fmla="*/ 1458 h 10000"/>
                    <a:gd name="connsiteX84" fmla="*/ 4611 w 10000"/>
                    <a:gd name="connsiteY84" fmla="*/ 1384 h 10000"/>
                    <a:gd name="connsiteX85" fmla="*/ 4778 w 10000"/>
                    <a:gd name="connsiteY85" fmla="*/ 1296 h 10000"/>
                    <a:gd name="connsiteX86" fmla="*/ 5000 w 10000"/>
                    <a:gd name="connsiteY86" fmla="*/ 1222 h 10000"/>
                    <a:gd name="connsiteX87" fmla="*/ 5000 w 10000"/>
                    <a:gd name="connsiteY87" fmla="*/ 1222 h 10000"/>
                    <a:gd name="connsiteX88" fmla="*/ 5556 w 10000"/>
                    <a:gd name="connsiteY88" fmla="*/ 1075 h 10000"/>
                    <a:gd name="connsiteX89" fmla="*/ 6111 w 10000"/>
                    <a:gd name="connsiteY89" fmla="*/ 884 h 10000"/>
                    <a:gd name="connsiteX90" fmla="*/ 6667 w 10000"/>
                    <a:gd name="connsiteY90" fmla="*/ 707 h 10000"/>
                    <a:gd name="connsiteX91" fmla="*/ 7056 w 10000"/>
                    <a:gd name="connsiteY91" fmla="*/ 545 h 10000"/>
                    <a:gd name="connsiteX92" fmla="*/ 7056 w 10000"/>
                    <a:gd name="connsiteY92" fmla="*/ 545 h 10000"/>
                    <a:gd name="connsiteX93" fmla="*/ 7333 w 10000"/>
                    <a:gd name="connsiteY93" fmla="*/ 398 h 10000"/>
                    <a:gd name="connsiteX94" fmla="*/ 7667 w 10000"/>
                    <a:gd name="connsiteY94" fmla="*/ 221 h 10000"/>
                    <a:gd name="connsiteX95" fmla="*/ 8000 w 10000"/>
                    <a:gd name="connsiteY95" fmla="*/ 88 h 10000"/>
                    <a:gd name="connsiteX96" fmla="*/ 8167 w 10000"/>
                    <a:gd name="connsiteY96" fmla="*/ 29 h 10000"/>
                    <a:gd name="connsiteX97" fmla="*/ 8333 w 10000"/>
                    <a:gd name="connsiteY97" fmla="*/ 15 h 10000"/>
                    <a:gd name="connsiteX98" fmla="*/ 8333 w 10000"/>
                    <a:gd name="connsiteY98" fmla="*/ 15 h 10000"/>
                    <a:gd name="connsiteX99" fmla="*/ 8667 w 10000"/>
                    <a:gd name="connsiteY99" fmla="*/ 0 h 10000"/>
                    <a:gd name="connsiteX100" fmla="*/ 9111 w 10000"/>
                    <a:gd name="connsiteY100" fmla="*/ 0 h 10000"/>
                    <a:gd name="connsiteX101" fmla="*/ 10000 w 10000"/>
                    <a:gd name="connsiteY101" fmla="*/ 15 h 10000"/>
                    <a:gd name="connsiteX102" fmla="*/ 10000 w 10000"/>
                    <a:gd name="connsiteY102" fmla="*/ 9013 h 10000"/>
                    <a:gd name="connsiteX103" fmla="*/ 10000 w 10000"/>
                    <a:gd name="connsiteY103" fmla="*/ 9013 h 10000"/>
                    <a:gd name="connsiteX104" fmla="*/ 9722 w 10000"/>
                    <a:gd name="connsiteY104" fmla="*/ 8999 h 10000"/>
                    <a:gd name="connsiteX105" fmla="*/ 9389 w 10000"/>
                    <a:gd name="connsiteY105" fmla="*/ 9013 h 10000"/>
                    <a:gd name="connsiteX106" fmla="*/ 9389 w 10000"/>
                    <a:gd name="connsiteY106" fmla="*/ 9013 h 10000"/>
                    <a:gd name="connsiteX107" fmla="*/ 9278 w 10000"/>
                    <a:gd name="connsiteY107" fmla="*/ 9028 h 10000"/>
                    <a:gd name="connsiteX108" fmla="*/ 9056 w 10000"/>
                    <a:gd name="connsiteY108" fmla="*/ 9013 h 10000"/>
                    <a:gd name="connsiteX109" fmla="*/ 8889 w 10000"/>
                    <a:gd name="connsiteY109" fmla="*/ 8999 h 10000"/>
                    <a:gd name="connsiteX110" fmla="*/ 8722 w 10000"/>
                    <a:gd name="connsiteY110" fmla="*/ 8969 h 10000"/>
                    <a:gd name="connsiteX111" fmla="*/ 8611 w 10000"/>
                    <a:gd name="connsiteY111" fmla="*/ 8925 h 10000"/>
                    <a:gd name="connsiteX112" fmla="*/ 8444 w 10000"/>
                    <a:gd name="connsiteY112" fmla="*/ 8851 h 10000"/>
                    <a:gd name="connsiteX113" fmla="*/ 8444 w 10000"/>
                    <a:gd name="connsiteY113" fmla="*/ 8851 h 10000"/>
                    <a:gd name="connsiteX114" fmla="*/ 8222 w 10000"/>
                    <a:gd name="connsiteY114" fmla="*/ 8719 h 10000"/>
                    <a:gd name="connsiteX115" fmla="*/ 8111 w 10000"/>
                    <a:gd name="connsiteY115" fmla="*/ 8660 h 10000"/>
                    <a:gd name="connsiteX116" fmla="*/ 7944 w 10000"/>
                    <a:gd name="connsiteY116" fmla="*/ 8616 h 10000"/>
                    <a:gd name="connsiteX117" fmla="*/ 7778 w 10000"/>
                    <a:gd name="connsiteY117" fmla="*/ 8586 h 10000"/>
                    <a:gd name="connsiteX118" fmla="*/ 7556 w 10000"/>
                    <a:gd name="connsiteY118" fmla="*/ 8571 h 10000"/>
                    <a:gd name="connsiteX119" fmla="*/ 7333 w 10000"/>
                    <a:gd name="connsiteY119" fmla="*/ 8557 h 10000"/>
                    <a:gd name="connsiteX120" fmla="*/ 7000 w 10000"/>
                    <a:gd name="connsiteY120" fmla="*/ 8542 h 10000"/>
                    <a:gd name="connsiteX121" fmla="*/ 7000 w 10000"/>
                    <a:gd name="connsiteY121" fmla="*/ 8542 h 10000"/>
                    <a:gd name="connsiteX122" fmla="*/ 6556 w 10000"/>
                    <a:gd name="connsiteY122" fmla="*/ 8557 h 10000"/>
                    <a:gd name="connsiteX123" fmla="*/ 6222 w 10000"/>
                    <a:gd name="connsiteY123" fmla="*/ 8557 h 10000"/>
                    <a:gd name="connsiteX124" fmla="*/ 6111 w 10000"/>
                    <a:gd name="connsiteY124" fmla="*/ 8542 h 10000"/>
                    <a:gd name="connsiteX125" fmla="*/ 6056 w 10000"/>
                    <a:gd name="connsiteY125" fmla="*/ 8527 h 10000"/>
                    <a:gd name="connsiteX126" fmla="*/ 6056 w 10000"/>
                    <a:gd name="connsiteY126" fmla="*/ 8527 h 10000"/>
                    <a:gd name="connsiteX127" fmla="*/ 6056 w 10000"/>
                    <a:gd name="connsiteY127" fmla="*/ 8262 h 10000"/>
                    <a:gd name="connsiteX128" fmla="*/ 6056 w 10000"/>
                    <a:gd name="connsiteY128" fmla="*/ 8262 h 10000"/>
                    <a:gd name="connsiteX129" fmla="*/ 6056 w 10000"/>
                    <a:gd name="connsiteY129" fmla="*/ 8203 h 10000"/>
                    <a:gd name="connsiteX130" fmla="*/ 5944 w 10000"/>
                    <a:gd name="connsiteY130" fmla="*/ 8130 h 10000"/>
                    <a:gd name="connsiteX131" fmla="*/ 5889 w 10000"/>
                    <a:gd name="connsiteY131" fmla="*/ 8115 h 10000"/>
                    <a:gd name="connsiteX132" fmla="*/ 5778 w 10000"/>
                    <a:gd name="connsiteY132" fmla="*/ 8100 h 10000"/>
                    <a:gd name="connsiteX133" fmla="*/ 5667 w 10000"/>
                    <a:gd name="connsiteY133" fmla="*/ 8100 h 10000"/>
                    <a:gd name="connsiteX134" fmla="*/ 5500 w 10000"/>
                    <a:gd name="connsiteY134" fmla="*/ 8115 h 10000"/>
                    <a:gd name="connsiteX135" fmla="*/ 5500 w 10000"/>
                    <a:gd name="connsiteY135" fmla="*/ 8115 h 10000"/>
                    <a:gd name="connsiteX136" fmla="*/ 4889 w 10000"/>
                    <a:gd name="connsiteY136" fmla="*/ 8218 h 10000"/>
                    <a:gd name="connsiteX137" fmla="*/ 4611 w 10000"/>
                    <a:gd name="connsiteY137" fmla="*/ 8247 h 10000"/>
                    <a:gd name="connsiteX138" fmla="*/ 4556 w 10000"/>
                    <a:gd name="connsiteY138" fmla="*/ 8262 h 10000"/>
                    <a:gd name="connsiteX139" fmla="*/ 4500 w 10000"/>
                    <a:gd name="connsiteY139" fmla="*/ 8247 h 10000"/>
                    <a:gd name="connsiteX140" fmla="*/ 4500 w 10000"/>
                    <a:gd name="connsiteY140" fmla="*/ 8247 h 10000"/>
                    <a:gd name="connsiteX141" fmla="*/ 4222 w 10000"/>
                    <a:gd name="connsiteY141" fmla="*/ 8100 h 10000"/>
                    <a:gd name="connsiteX142" fmla="*/ 4222 w 10000"/>
                    <a:gd name="connsiteY142" fmla="*/ 8100 h 10000"/>
                    <a:gd name="connsiteX143" fmla="*/ 4111 w 10000"/>
                    <a:gd name="connsiteY143" fmla="*/ 8027 h 10000"/>
                    <a:gd name="connsiteX144" fmla="*/ 4111 w 10000"/>
                    <a:gd name="connsiteY144" fmla="*/ 7982 h 10000"/>
                    <a:gd name="connsiteX145" fmla="*/ 4111 w 10000"/>
                    <a:gd name="connsiteY145" fmla="*/ 7938 h 10000"/>
                    <a:gd name="connsiteX146" fmla="*/ 4111 w 10000"/>
                    <a:gd name="connsiteY146" fmla="*/ 7938 h 10000"/>
                    <a:gd name="connsiteX147" fmla="*/ 4278 w 10000"/>
                    <a:gd name="connsiteY147" fmla="*/ 7894 h 10000"/>
                    <a:gd name="connsiteX148" fmla="*/ 4389 w 10000"/>
                    <a:gd name="connsiteY148" fmla="*/ 7879 h 10000"/>
                    <a:gd name="connsiteX149" fmla="*/ 4389 w 10000"/>
                    <a:gd name="connsiteY149" fmla="*/ 7879 h 10000"/>
                    <a:gd name="connsiteX150" fmla="*/ 4000 w 10000"/>
                    <a:gd name="connsiteY150" fmla="*/ 7879 h 10000"/>
                    <a:gd name="connsiteX151" fmla="*/ 3722 w 10000"/>
                    <a:gd name="connsiteY151" fmla="*/ 7894 h 10000"/>
                    <a:gd name="connsiteX152" fmla="*/ 3611 w 10000"/>
                    <a:gd name="connsiteY152" fmla="*/ 7909 h 10000"/>
                    <a:gd name="connsiteX153" fmla="*/ 3556 w 10000"/>
                    <a:gd name="connsiteY153" fmla="*/ 7923 h 10000"/>
                    <a:gd name="connsiteX154" fmla="*/ 3556 w 10000"/>
                    <a:gd name="connsiteY154" fmla="*/ 7923 h 10000"/>
                    <a:gd name="connsiteX155" fmla="*/ 3444 w 10000"/>
                    <a:gd name="connsiteY155" fmla="*/ 7982 h 10000"/>
                    <a:gd name="connsiteX156" fmla="*/ 3278 w 10000"/>
                    <a:gd name="connsiteY156" fmla="*/ 8071 h 10000"/>
                    <a:gd name="connsiteX157" fmla="*/ 3000 w 10000"/>
                    <a:gd name="connsiteY157" fmla="*/ 8174 h 10000"/>
                    <a:gd name="connsiteX158" fmla="*/ 2667 w 10000"/>
                    <a:gd name="connsiteY158" fmla="*/ 8247 h 10000"/>
                    <a:gd name="connsiteX159" fmla="*/ 2667 w 10000"/>
                    <a:gd name="connsiteY159" fmla="*/ 8247 h 10000"/>
                    <a:gd name="connsiteX160" fmla="*/ 2333 w 10000"/>
                    <a:gd name="connsiteY160" fmla="*/ 8306 h 10000"/>
                    <a:gd name="connsiteX161" fmla="*/ 1833 w 10000"/>
                    <a:gd name="connsiteY161" fmla="*/ 8365 h 10000"/>
                    <a:gd name="connsiteX162" fmla="*/ 1389 w 10000"/>
                    <a:gd name="connsiteY162" fmla="*/ 8395 h 10000"/>
                    <a:gd name="connsiteX163" fmla="*/ 889 w 10000"/>
                    <a:gd name="connsiteY163" fmla="*/ 8409 h 10000"/>
                    <a:gd name="connsiteX164" fmla="*/ 889 w 10000"/>
                    <a:gd name="connsiteY164" fmla="*/ 8409 h 10000"/>
                    <a:gd name="connsiteX165" fmla="*/ 500 w 10000"/>
                    <a:gd name="connsiteY165" fmla="*/ 8424 h 10000"/>
                    <a:gd name="connsiteX166" fmla="*/ 222 w 10000"/>
                    <a:gd name="connsiteY166" fmla="*/ 8439 h 10000"/>
                    <a:gd name="connsiteX167" fmla="*/ 0 w 10000"/>
                    <a:gd name="connsiteY167" fmla="*/ 8454 h 10000"/>
                    <a:gd name="connsiteX168" fmla="*/ 0 w 10000"/>
                    <a:gd name="connsiteY168" fmla="*/ 8454 h 10000"/>
                    <a:gd name="connsiteX169" fmla="*/ 278 w 10000"/>
                    <a:gd name="connsiteY169" fmla="*/ 8689 h 10000"/>
                    <a:gd name="connsiteX170" fmla="*/ 500 w 10000"/>
                    <a:gd name="connsiteY170" fmla="*/ 8866 h 10000"/>
                    <a:gd name="connsiteX171" fmla="*/ 722 w 10000"/>
                    <a:gd name="connsiteY171" fmla="*/ 9013 h 10000"/>
                    <a:gd name="connsiteX172" fmla="*/ 722 w 10000"/>
                    <a:gd name="connsiteY172" fmla="*/ 9013 h 10000"/>
                    <a:gd name="connsiteX173" fmla="*/ 889 w 10000"/>
                    <a:gd name="connsiteY173" fmla="*/ 9102 h 10000"/>
                    <a:gd name="connsiteX174" fmla="*/ 944 w 10000"/>
                    <a:gd name="connsiteY174" fmla="*/ 9175 h 10000"/>
                    <a:gd name="connsiteX175" fmla="*/ 1111 w 10000"/>
                    <a:gd name="connsiteY175" fmla="*/ 9249 h 10000"/>
                    <a:gd name="connsiteX176" fmla="*/ 1333 w 10000"/>
                    <a:gd name="connsiteY176" fmla="*/ 9367 h 10000"/>
                    <a:gd name="connsiteX177" fmla="*/ 1333 w 10000"/>
                    <a:gd name="connsiteY177" fmla="*/ 9367 h 10000"/>
                    <a:gd name="connsiteX178" fmla="*/ 1444 w 10000"/>
                    <a:gd name="connsiteY178" fmla="*/ 9426 h 10000"/>
                    <a:gd name="connsiteX179" fmla="*/ 1500 w 10000"/>
                    <a:gd name="connsiteY179" fmla="*/ 9470 h 10000"/>
                    <a:gd name="connsiteX180" fmla="*/ 1500 w 10000"/>
                    <a:gd name="connsiteY180" fmla="*/ 9514 h 10000"/>
                    <a:gd name="connsiteX181" fmla="*/ 1556 w 10000"/>
                    <a:gd name="connsiteY181" fmla="*/ 9529 h 10000"/>
                    <a:gd name="connsiteX182" fmla="*/ 1722 w 10000"/>
                    <a:gd name="connsiteY182" fmla="*/ 9543 h 10000"/>
                    <a:gd name="connsiteX183" fmla="*/ 1944 w 10000"/>
                    <a:gd name="connsiteY183" fmla="*/ 9558 h 10000"/>
                    <a:gd name="connsiteX184" fmla="*/ 2944 w 10000"/>
                    <a:gd name="connsiteY184" fmla="*/ 9573 h 10000"/>
                    <a:gd name="connsiteX185" fmla="*/ 2944 w 10000"/>
                    <a:gd name="connsiteY185" fmla="*/ 9573 h 10000"/>
                    <a:gd name="connsiteX186" fmla="*/ 4167 w 10000"/>
                    <a:gd name="connsiteY186" fmla="*/ 9602 h 10000"/>
                    <a:gd name="connsiteX187" fmla="*/ 4889 w 10000"/>
                    <a:gd name="connsiteY187" fmla="*/ 9647 h 10000"/>
                    <a:gd name="connsiteX188" fmla="*/ 5278 w 10000"/>
                    <a:gd name="connsiteY188" fmla="*/ 9691 h 10000"/>
                    <a:gd name="connsiteX189" fmla="*/ 5444 w 10000"/>
                    <a:gd name="connsiteY189" fmla="*/ 9705 h 10000"/>
                    <a:gd name="connsiteX190" fmla="*/ 5444 w 10000"/>
                    <a:gd name="connsiteY190" fmla="*/ 9705 h 10000"/>
                    <a:gd name="connsiteX191" fmla="*/ 5722 w 10000"/>
                    <a:gd name="connsiteY191" fmla="*/ 9735 h 10000"/>
                    <a:gd name="connsiteX192" fmla="*/ 5833 w 10000"/>
                    <a:gd name="connsiteY192" fmla="*/ 9750 h 10000"/>
                    <a:gd name="connsiteX193" fmla="*/ 5833 w 10000"/>
                    <a:gd name="connsiteY193" fmla="*/ 9750 h 10000"/>
                    <a:gd name="connsiteX194" fmla="*/ 5833 w 10000"/>
                    <a:gd name="connsiteY194" fmla="*/ 9735 h 10000"/>
                    <a:gd name="connsiteX195" fmla="*/ 5889 w 10000"/>
                    <a:gd name="connsiteY195" fmla="*/ 9720 h 10000"/>
                    <a:gd name="connsiteX196" fmla="*/ 6000 w 10000"/>
                    <a:gd name="connsiteY196" fmla="*/ 9705 h 10000"/>
                    <a:gd name="connsiteX197" fmla="*/ 6167 w 10000"/>
                    <a:gd name="connsiteY197" fmla="*/ 9691 h 10000"/>
                    <a:gd name="connsiteX198" fmla="*/ 6444 w 10000"/>
                    <a:gd name="connsiteY198" fmla="*/ 9691 h 10000"/>
                    <a:gd name="connsiteX199" fmla="*/ 6833 w 10000"/>
                    <a:gd name="connsiteY199" fmla="*/ 9705 h 10000"/>
                    <a:gd name="connsiteX200" fmla="*/ 7278 w 10000"/>
                    <a:gd name="connsiteY200" fmla="*/ 9750 h 10000"/>
                    <a:gd name="connsiteX201" fmla="*/ 7278 w 10000"/>
                    <a:gd name="connsiteY201" fmla="*/ 9750 h 10000"/>
                    <a:gd name="connsiteX202" fmla="*/ 8722 w 10000"/>
                    <a:gd name="connsiteY202" fmla="*/ 9882 h 10000"/>
                    <a:gd name="connsiteX203" fmla="*/ 10000 w 10000"/>
                    <a:gd name="connsiteY20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1667 w 10000"/>
                    <a:gd name="connsiteY73" fmla="*/ 2577 h 10000"/>
                    <a:gd name="connsiteX74" fmla="*/ 2222 w 10000"/>
                    <a:gd name="connsiteY74" fmla="*/ 2563 h 10000"/>
                    <a:gd name="connsiteX75" fmla="*/ 2389 w 10000"/>
                    <a:gd name="connsiteY75" fmla="*/ 2577 h 10000"/>
                    <a:gd name="connsiteX76" fmla="*/ 2389 w 10000"/>
                    <a:gd name="connsiteY76" fmla="*/ 2577 h 10000"/>
                    <a:gd name="connsiteX77" fmla="*/ 3500 w 10000"/>
                    <a:gd name="connsiteY77" fmla="*/ 2165 h 10000"/>
                    <a:gd name="connsiteX78" fmla="*/ 4444 w 10000"/>
                    <a:gd name="connsiteY78" fmla="*/ 1738 h 10000"/>
                    <a:gd name="connsiteX79" fmla="*/ 4444 w 10000"/>
                    <a:gd name="connsiteY79" fmla="*/ 1738 h 10000"/>
                    <a:gd name="connsiteX80" fmla="*/ 4444 w 10000"/>
                    <a:gd name="connsiteY80" fmla="*/ 1679 h 10000"/>
                    <a:gd name="connsiteX81" fmla="*/ 4444 w 10000"/>
                    <a:gd name="connsiteY81" fmla="*/ 1546 h 10000"/>
                    <a:gd name="connsiteX82" fmla="*/ 4500 w 10000"/>
                    <a:gd name="connsiteY82" fmla="*/ 1458 h 10000"/>
                    <a:gd name="connsiteX83" fmla="*/ 4611 w 10000"/>
                    <a:gd name="connsiteY83" fmla="*/ 1384 h 10000"/>
                    <a:gd name="connsiteX84" fmla="*/ 4778 w 10000"/>
                    <a:gd name="connsiteY84" fmla="*/ 1296 h 10000"/>
                    <a:gd name="connsiteX85" fmla="*/ 5000 w 10000"/>
                    <a:gd name="connsiteY85" fmla="*/ 1222 h 10000"/>
                    <a:gd name="connsiteX86" fmla="*/ 5000 w 10000"/>
                    <a:gd name="connsiteY86" fmla="*/ 1222 h 10000"/>
                    <a:gd name="connsiteX87" fmla="*/ 5556 w 10000"/>
                    <a:gd name="connsiteY87" fmla="*/ 1075 h 10000"/>
                    <a:gd name="connsiteX88" fmla="*/ 6111 w 10000"/>
                    <a:gd name="connsiteY88" fmla="*/ 884 h 10000"/>
                    <a:gd name="connsiteX89" fmla="*/ 6667 w 10000"/>
                    <a:gd name="connsiteY89" fmla="*/ 707 h 10000"/>
                    <a:gd name="connsiteX90" fmla="*/ 7056 w 10000"/>
                    <a:gd name="connsiteY90" fmla="*/ 545 h 10000"/>
                    <a:gd name="connsiteX91" fmla="*/ 7056 w 10000"/>
                    <a:gd name="connsiteY91" fmla="*/ 545 h 10000"/>
                    <a:gd name="connsiteX92" fmla="*/ 7333 w 10000"/>
                    <a:gd name="connsiteY92" fmla="*/ 398 h 10000"/>
                    <a:gd name="connsiteX93" fmla="*/ 7667 w 10000"/>
                    <a:gd name="connsiteY93" fmla="*/ 221 h 10000"/>
                    <a:gd name="connsiteX94" fmla="*/ 8000 w 10000"/>
                    <a:gd name="connsiteY94" fmla="*/ 88 h 10000"/>
                    <a:gd name="connsiteX95" fmla="*/ 8167 w 10000"/>
                    <a:gd name="connsiteY95" fmla="*/ 29 h 10000"/>
                    <a:gd name="connsiteX96" fmla="*/ 8333 w 10000"/>
                    <a:gd name="connsiteY96" fmla="*/ 15 h 10000"/>
                    <a:gd name="connsiteX97" fmla="*/ 8333 w 10000"/>
                    <a:gd name="connsiteY97" fmla="*/ 15 h 10000"/>
                    <a:gd name="connsiteX98" fmla="*/ 8667 w 10000"/>
                    <a:gd name="connsiteY98" fmla="*/ 0 h 10000"/>
                    <a:gd name="connsiteX99" fmla="*/ 9111 w 10000"/>
                    <a:gd name="connsiteY99" fmla="*/ 0 h 10000"/>
                    <a:gd name="connsiteX100" fmla="*/ 10000 w 10000"/>
                    <a:gd name="connsiteY100" fmla="*/ 15 h 10000"/>
                    <a:gd name="connsiteX101" fmla="*/ 10000 w 10000"/>
                    <a:gd name="connsiteY101" fmla="*/ 9013 h 10000"/>
                    <a:gd name="connsiteX102" fmla="*/ 10000 w 10000"/>
                    <a:gd name="connsiteY102" fmla="*/ 9013 h 10000"/>
                    <a:gd name="connsiteX103" fmla="*/ 9722 w 10000"/>
                    <a:gd name="connsiteY103" fmla="*/ 8999 h 10000"/>
                    <a:gd name="connsiteX104" fmla="*/ 9389 w 10000"/>
                    <a:gd name="connsiteY104" fmla="*/ 9013 h 10000"/>
                    <a:gd name="connsiteX105" fmla="*/ 9389 w 10000"/>
                    <a:gd name="connsiteY105" fmla="*/ 9013 h 10000"/>
                    <a:gd name="connsiteX106" fmla="*/ 9278 w 10000"/>
                    <a:gd name="connsiteY106" fmla="*/ 9028 h 10000"/>
                    <a:gd name="connsiteX107" fmla="*/ 9056 w 10000"/>
                    <a:gd name="connsiteY107" fmla="*/ 9013 h 10000"/>
                    <a:gd name="connsiteX108" fmla="*/ 8889 w 10000"/>
                    <a:gd name="connsiteY108" fmla="*/ 8999 h 10000"/>
                    <a:gd name="connsiteX109" fmla="*/ 8722 w 10000"/>
                    <a:gd name="connsiteY109" fmla="*/ 8969 h 10000"/>
                    <a:gd name="connsiteX110" fmla="*/ 8611 w 10000"/>
                    <a:gd name="connsiteY110" fmla="*/ 8925 h 10000"/>
                    <a:gd name="connsiteX111" fmla="*/ 8444 w 10000"/>
                    <a:gd name="connsiteY111" fmla="*/ 8851 h 10000"/>
                    <a:gd name="connsiteX112" fmla="*/ 8444 w 10000"/>
                    <a:gd name="connsiteY112" fmla="*/ 8851 h 10000"/>
                    <a:gd name="connsiteX113" fmla="*/ 8222 w 10000"/>
                    <a:gd name="connsiteY113" fmla="*/ 8719 h 10000"/>
                    <a:gd name="connsiteX114" fmla="*/ 8111 w 10000"/>
                    <a:gd name="connsiteY114" fmla="*/ 8660 h 10000"/>
                    <a:gd name="connsiteX115" fmla="*/ 7944 w 10000"/>
                    <a:gd name="connsiteY115" fmla="*/ 8616 h 10000"/>
                    <a:gd name="connsiteX116" fmla="*/ 7778 w 10000"/>
                    <a:gd name="connsiteY116" fmla="*/ 8586 h 10000"/>
                    <a:gd name="connsiteX117" fmla="*/ 7556 w 10000"/>
                    <a:gd name="connsiteY117" fmla="*/ 8571 h 10000"/>
                    <a:gd name="connsiteX118" fmla="*/ 7333 w 10000"/>
                    <a:gd name="connsiteY118" fmla="*/ 8557 h 10000"/>
                    <a:gd name="connsiteX119" fmla="*/ 7000 w 10000"/>
                    <a:gd name="connsiteY119" fmla="*/ 8542 h 10000"/>
                    <a:gd name="connsiteX120" fmla="*/ 7000 w 10000"/>
                    <a:gd name="connsiteY120" fmla="*/ 8542 h 10000"/>
                    <a:gd name="connsiteX121" fmla="*/ 6556 w 10000"/>
                    <a:gd name="connsiteY121" fmla="*/ 8557 h 10000"/>
                    <a:gd name="connsiteX122" fmla="*/ 6222 w 10000"/>
                    <a:gd name="connsiteY122" fmla="*/ 8557 h 10000"/>
                    <a:gd name="connsiteX123" fmla="*/ 6111 w 10000"/>
                    <a:gd name="connsiteY123" fmla="*/ 8542 h 10000"/>
                    <a:gd name="connsiteX124" fmla="*/ 6056 w 10000"/>
                    <a:gd name="connsiteY124" fmla="*/ 8527 h 10000"/>
                    <a:gd name="connsiteX125" fmla="*/ 6056 w 10000"/>
                    <a:gd name="connsiteY125" fmla="*/ 8527 h 10000"/>
                    <a:gd name="connsiteX126" fmla="*/ 6056 w 10000"/>
                    <a:gd name="connsiteY126" fmla="*/ 8262 h 10000"/>
                    <a:gd name="connsiteX127" fmla="*/ 6056 w 10000"/>
                    <a:gd name="connsiteY127" fmla="*/ 8262 h 10000"/>
                    <a:gd name="connsiteX128" fmla="*/ 6056 w 10000"/>
                    <a:gd name="connsiteY128" fmla="*/ 8203 h 10000"/>
                    <a:gd name="connsiteX129" fmla="*/ 5944 w 10000"/>
                    <a:gd name="connsiteY129" fmla="*/ 8130 h 10000"/>
                    <a:gd name="connsiteX130" fmla="*/ 5889 w 10000"/>
                    <a:gd name="connsiteY130" fmla="*/ 8115 h 10000"/>
                    <a:gd name="connsiteX131" fmla="*/ 5778 w 10000"/>
                    <a:gd name="connsiteY131" fmla="*/ 8100 h 10000"/>
                    <a:gd name="connsiteX132" fmla="*/ 5667 w 10000"/>
                    <a:gd name="connsiteY132" fmla="*/ 8100 h 10000"/>
                    <a:gd name="connsiteX133" fmla="*/ 5500 w 10000"/>
                    <a:gd name="connsiteY133" fmla="*/ 8115 h 10000"/>
                    <a:gd name="connsiteX134" fmla="*/ 5500 w 10000"/>
                    <a:gd name="connsiteY134" fmla="*/ 8115 h 10000"/>
                    <a:gd name="connsiteX135" fmla="*/ 4889 w 10000"/>
                    <a:gd name="connsiteY135" fmla="*/ 8218 h 10000"/>
                    <a:gd name="connsiteX136" fmla="*/ 4611 w 10000"/>
                    <a:gd name="connsiteY136" fmla="*/ 8247 h 10000"/>
                    <a:gd name="connsiteX137" fmla="*/ 4556 w 10000"/>
                    <a:gd name="connsiteY137" fmla="*/ 8262 h 10000"/>
                    <a:gd name="connsiteX138" fmla="*/ 4500 w 10000"/>
                    <a:gd name="connsiteY138" fmla="*/ 8247 h 10000"/>
                    <a:gd name="connsiteX139" fmla="*/ 4500 w 10000"/>
                    <a:gd name="connsiteY139" fmla="*/ 8247 h 10000"/>
                    <a:gd name="connsiteX140" fmla="*/ 4222 w 10000"/>
                    <a:gd name="connsiteY140" fmla="*/ 8100 h 10000"/>
                    <a:gd name="connsiteX141" fmla="*/ 4222 w 10000"/>
                    <a:gd name="connsiteY141" fmla="*/ 8100 h 10000"/>
                    <a:gd name="connsiteX142" fmla="*/ 4111 w 10000"/>
                    <a:gd name="connsiteY142" fmla="*/ 8027 h 10000"/>
                    <a:gd name="connsiteX143" fmla="*/ 4111 w 10000"/>
                    <a:gd name="connsiteY143" fmla="*/ 7982 h 10000"/>
                    <a:gd name="connsiteX144" fmla="*/ 4111 w 10000"/>
                    <a:gd name="connsiteY144" fmla="*/ 7938 h 10000"/>
                    <a:gd name="connsiteX145" fmla="*/ 4111 w 10000"/>
                    <a:gd name="connsiteY145" fmla="*/ 7938 h 10000"/>
                    <a:gd name="connsiteX146" fmla="*/ 4278 w 10000"/>
                    <a:gd name="connsiteY146" fmla="*/ 7894 h 10000"/>
                    <a:gd name="connsiteX147" fmla="*/ 4389 w 10000"/>
                    <a:gd name="connsiteY147" fmla="*/ 7879 h 10000"/>
                    <a:gd name="connsiteX148" fmla="*/ 4389 w 10000"/>
                    <a:gd name="connsiteY148" fmla="*/ 7879 h 10000"/>
                    <a:gd name="connsiteX149" fmla="*/ 4000 w 10000"/>
                    <a:gd name="connsiteY149" fmla="*/ 7879 h 10000"/>
                    <a:gd name="connsiteX150" fmla="*/ 3722 w 10000"/>
                    <a:gd name="connsiteY150" fmla="*/ 7894 h 10000"/>
                    <a:gd name="connsiteX151" fmla="*/ 3611 w 10000"/>
                    <a:gd name="connsiteY151" fmla="*/ 7909 h 10000"/>
                    <a:gd name="connsiteX152" fmla="*/ 3556 w 10000"/>
                    <a:gd name="connsiteY152" fmla="*/ 7923 h 10000"/>
                    <a:gd name="connsiteX153" fmla="*/ 3556 w 10000"/>
                    <a:gd name="connsiteY153" fmla="*/ 7923 h 10000"/>
                    <a:gd name="connsiteX154" fmla="*/ 3444 w 10000"/>
                    <a:gd name="connsiteY154" fmla="*/ 7982 h 10000"/>
                    <a:gd name="connsiteX155" fmla="*/ 3278 w 10000"/>
                    <a:gd name="connsiteY155" fmla="*/ 8071 h 10000"/>
                    <a:gd name="connsiteX156" fmla="*/ 3000 w 10000"/>
                    <a:gd name="connsiteY156" fmla="*/ 8174 h 10000"/>
                    <a:gd name="connsiteX157" fmla="*/ 2667 w 10000"/>
                    <a:gd name="connsiteY157" fmla="*/ 8247 h 10000"/>
                    <a:gd name="connsiteX158" fmla="*/ 2667 w 10000"/>
                    <a:gd name="connsiteY158" fmla="*/ 8247 h 10000"/>
                    <a:gd name="connsiteX159" fmla="*/ 2333 w 10000"/>
                    <a:gd name="connsiteY159" fmla="*/ 8306 h 10000"/>
                    <a:gd name="connsiteX160" fmla="*/ 1833 w 10000"/>
                    <a:gd name="connsiteY160" fmla="*/ 8365 h 10000"/>
                    <a:gd name="connsiteX161" fmla="*/ 1389 w 10000"/>
                    <a:gd name="connsiteY161" fmla="*/ 8395 h 10000"/>
                    <a:gd name="connsiteX162" fmla="*/ 889 w 10000"/>
                    <a:gd name="connsiteY162" fmla="*/ 8409 h 10000"/>
                    <a:gd name="connsiteX163" fmla="*/ 889 w 10000"/>
                    <a:gd name="connsiteY163" fmla="*/ 8409 h 10000"/>
                    <a:gd name="connsiteX164" fmla="*/ 500 w 10000"/>
                    <a:gd name="connsiteY164" fmla="*/ 8424 h 10000"/>
                    <a:gd name="connsiteX165" fmla="*/ 222 w 10000"/>
                    <a:gd name="connsiteY165" fmla="*/ 8439 h 10000"/>
                    <a:gd name="connsiteX166" fmla="*/ 0 w 10000"/>
                    <a:gd name="connsiteY166" fmla="*/ 8454 h 10000"/>
                    <a:gd name="connsiteX167" fmla="*/ 0 w 10000"/>
                    <a:gd name="connsiteY167" fmla="*/ 8454 h 10000"/>
                    <a:gd name="connsiteX168" fmla="*/ 278 w 10000"/>
                    <a:gd name="connsiteY168" fmla="*/ 8689 h 10000"/>
                    <a:gd name="connsiteX169" fmla="*/ 500 w 10000"/>
                    <a:gd name="connsiteY169" fmla="*/ 8866 h 10000"/>
                    <a:gd name="connsiteX170" fmla="*/ 722 w 10000"/>
                    <a:gd name="connsiteY170" fmla="*/ 9013 h 10000"/>
                    <a:gd name="connsiteX171" fmla="*/ 722 w 10000"/>
                    <a:gd name="connsiteY171" fmla="*/ 9013 h 10000"/>
                    <a:gd name="connsiteX172" fmla="*/ 889 w 10000"/>
                    <a:gd name="connsiteY172" fmla="*/ 9102 h 10000"/>
                    <a:gd name="connsiteX173" fmla="*/ 944 w 10000"/>
                    <a:gd name="connsiteY173" fmla="*/ 9175 h 10000"/>
                    <a:gd name="connsiteX174" fmla="*/ 1111 w 10000"/>
                    <a:gd name="connsiteY174" fmla="*/ 9249 h 10000"/>
                    <a:gd name="connsiteX175" fmla="*/ 1333 w 10000"/>
                    <a:gd name="connsiteY175" fmla="*/ 9367 h 10000"/>
                    <a:gd name="connsiteX176" fmla="*/ 1333 w 10000"/>
                    <a:gd name="connsiteY176" fmla="*/ 9367 h 10000"/>
                    <a:gd name="connsiteX177" fmla="*/ 1444 w 10000"/>
                    <a:gd name="connsiteY177" fmla="*/ 9426 h 10000"/>
                    <a:gd name="connsiteX178" fmla="*/ 1500 w 10000"/>
                    <a:gd name="connsiteY178" fmla="*/ 9470 h 10000"/>
                    <a:gd name="connsiteX179" fmla="*/ 1500 w 10000"/>
                    <a:gd name="connsiteY179" fmla="*/ 9514 h 10000"/>
                    <a:gd name="connsiteX180" fmla="*/ 1556 w 10000"/>
                    <a:gd name="connsiteY180" fmla="*/ 9529 h 10000"/>
                    <a:gd name="connsiteX181" fmla="*/ 1722 w 10000"/>
                    <a:gd name="connsiteY181" fmla="*/ 9543 h 10000"/>
                    <a:gd name="connsiteX182" fmla="*/ 1944 w 10000"/>
                    <a:gd name="connsiteY182" fmla="*/ 9558 h 10000"/>
                    <a:gd name="connsiteX183" fmla="*/ 2944 w 10000"/>
                    <a:gd name="connsiteY183" fmla="*/ 9573 h 10000"/>
                    <a:gd name="connsiteX184" fmla="*/ 2944 w 10000"/>
                    <a:gd name="connsiteY184" fmla="*/ 9573 h 10000"/>
                    <a:gd name="connsiteX185" fmla="*/ 4167 w 10000"/>
                    <a:gd name="connsiteY185" fmla="*/ 9602 h 10000"/>
                    <a:gd name="connsiteX186" fmla="*/ 4889 w 10000"/>
                    <a:gd name="connsiteY186" fmla="*/ 9647 h 10000"/>
                    <a:gd name="connsiteX187" fmla="*/ 5278 w 10000"/>
                    <a:gd name="connsiteY187" fmla="*/ 9691 h 10000"/>
                    <a:gd name="connsiteX188" fmla="*/ 5444 w 10000"/>
                    <a:gd name="connsiteY188" fmla="*/ 9705 h 10000"/>
                    <a:gd name="connsiteX189" fmla="*/ 5444 w 10000"/>
                    <a:gd name="connsiteY189" fmla="*/ 9705 h 10000"/>
                    <a:gd name="connsiteX190" fmla="*/ 5722 w 10000"/>
                    <a:gd name="connsiteY190" fmla="*/ 9735 h 10000"/>
                    <a:gd name="connsiteX191" fmla="*/ 5833 w 10000"/>
                    <a:gd name="connsiteY191" fmla="*/ 9750 h 10000"/>
                    <a:gd name="connsiteX192" fmla="*/ 5833 w 10000"/>
                    <a:gd name="connsiteY192" fmla="*/ 9750 h 10000"/>
                    <a:gd name="connsiteX193" fmla="*/ 5833 w 10000"/>
                    <a:gd name="connsiteY193" fmla="*/ 9735 h 10000"/>
                    <a:gd name="connsiteX194" fmla="*/ 5889 w 10000"/>
                    <a:gd name="connsiteY194" fmla="*/ 9720 h 10000"/>
                    <a:gd name="connsiteX195" fmla="*/ 6000 w 10000"/>
                    <a:gd name="connsiteY195" fmla="*/ 9705 h 10000"/>
                    <a:gd name="connsiteX196" fmla="*/ 6167 w 10000"/>
                    <a:gd name="connsiteY196" fmla="*/ 9691 h 10000"/>
                    <a:gd name="connsiteX197" fmla="*/ 6444 w 10000"/>
                    <a:gd name="connsiteY197" fmla="*/ 9691 h 10000"/>
                    <a:gd name="connsiteX198" fmla="*/ 6833 w 10000"/>
                    <a:gd name="connsiteY198" fmla="*/ 9705 h 10000"/>
                    <a:gd name="connsiteX199" fmla="*/ 7278 w 10000"/>
                    <a:gd name="connsiteY199" fmla="*/ 9750 h 10000"/>
                    <a:gd name="connsiteX200" fmla="*/ 7278 w 10000"/>
                    <a:gd name="connsiteY200" fmla="*/ 9750 h 10000"/>
                    <a:gd name="connsiteX201" fmla="*/ 8722 w 10000"/>
                    <a:gd name="connsiteY201" fmla="*/ 9882 h 10000"/>
                    <a:gd name="connsiteX202" fmla="*/ 10000 w 10000"/>
                    <a:gd name="connsiteY20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1611 w 10000"/>
                    <a:gd name="connsiteY72" fmla="*/ 2592 h 10000"/>
                    <a:gd name="connsiteX73" fmla="*/ 2222 w 10000"/>
                    <a:gd name="connsiteY73" fmla="*/ 2563 h 10000"/>
                    <a:gd name="connsiteX74" fmla="*/ 2389 w 10000"/>
                    <a:gd name="connsiteY74" fmla="*/ 2577 h 10000"/>
                    <a:gd name="connsiteX75" fmla="*/ 2389 w 10000"/>
                    <a:gd name="connsiteY75" fmla="*/ 2577 h 10000"/>
                    <a:gd name="connsiteX76" fmla="*/ 3500 w 10000"/>
                    <a:gd name="connsiteY76" fmla="*/ 2165 h 10000"/>
                    <a:gd name="connsiteX77" fmla="*/ 4444 w 10000"/>
                    <a:gd name="connsiteY77" fmla="*/ 1738 h 10000"/>
                    <a:gd name="connsiteX78" fmla="*/ 4444 w 10000"/>
                    <a:gd name="connsiteY78" fmla="*/ 1738 h 10000"/>
                    <a:gd name="connsiteX79" fmla="*/ 4444 w 10000"/>
                    <a:gd name="connsiteY79" fmla="*/ 1679 h 10000"/>
                    <a:gd name="connsiteX80" fmla="*/ 4444 w 10000"/>
                    <a:gd name="connsiteY80" fmla="*/ 1546 h 10000"/>
                    <a:gd name="connsiteX81" fmla="*/ 4500 w 10000"/>
                    <a:gd name="connsiteY81" fmla="*/ 1458 h 10000"/>
                    <a:gd name="connsiteX82" fmla="*/ 4611 w 10000"/>
                    <a:gd name="connsiteY82" fmla="*/ 1384 h 10000"/>
                    <a:gd name="connsiteX83" fmla="*/ 4778 w 10000"/>
                    <a:gd name="connsiteY83" fmla="*/ 1296 h 10000"/>
                    <a:gd name="connsiteX84" fmla="*/ 5000 w 10000"/>
                    <a:gd name="connsiteY84" fmla="*/ 1222 h 10000"/>
                    <a:gd name="connsiteX85" fmla="*/ 5000 w 10000"/>
                    <a:gd name="connsiteY85" fmla="*/ 1222 h 10000"/>
                    <a:gd name="connsiteX86" fmla="*/ 5556 w 10000"/>
                    <a:gd name="connsiteY86" fmla="*/ 1075 h 10000"/>
                    <a:gd name="connsiteX87" fmla="*/ 6111 w 10000"/>
                    <a:gd name="connsiteY87" fmla="*/ 884 h 10000"/>
                    <a:gd name="connsiteX88" fmla="*/ 6667 w 10000"/>
                    <a:gd name="connsiteY88" fmla="*/ 707 h 10000"/>
                    <a:gd name="connsiteX89" fmla="*/ 7056 w 10000"/>
                    <a:gd name="connsiteY89" fmla="*/ 545 h 10000"/>
                    <a:gd name="connsiteX90" fmla="*/ 7056 w 10000"/>
                    <a:gd name="connsiteY90" fmla="*/ 545 h 10000"/>
                    <a:gd name="connsiteX91" fmla="*/ 7333 w 10000"/>
                    <a:gd name="connsiteY91" fmla="*/ 398 h 10000"/>
                    <a:gd name="connsiteX92" fmla="*/ 7667 w 10000"/>
                    <a:gd name="connsiteY92" fmla="*/ 221 h 10000"/>
                    <a:gd name="connsiteX93" fmla="*/ 8000 w 10000"/>
                    <a:gd name="connsiteY93" fmla="*/ 88 h 10000"/>
                    <a:gd name="connsiteX94" fmla="*/ 8167 w 10000"/>
                    <a:gd name="connsiteY94" fmla="*/ 29 h 10000"/>
                    <a:gd name="connsiteX95" fmla="*/ 8333 w 10000"/>
                    <a:gd name="connsiteY95" fmla="*/ 15 h 10000"/>
                    <a:gd name="connsiteX96" fmla="*/ 8333 w 10000"/>
                    <a:gd name="connsiteY96" fmla="*/ 15 h 10000"/>
                    <a:gd name="connsiteX97" fmla="*/ 8667 w 10000"/>
                    <a:gd name="connsiteY97" fmla="*/ 0 h 10000"/>
                    <a:gd name="connsiteX98" fmla="*/ 9111 w 10000"/>
                    <a:gd name="connsiteY98" fmla="*/ 0 h 10000"/>
                    <a:gd name="connsiteX99" fmla="*/ 10000 w 10000"/>
                    <a:gd name="connsiteY99" fmla="*/ 15 h 10000"/>
                    <a:gd name="connsiteX100" fmla="*/ 10000 w 10000"/>
                    <a:gd name="connsiteY100" fmla="*/ 9013 h 10000"/>
                    <a:gd name="connsiteX101" fmla="*/ 10000 w 10000"/>
                    <a:gd name="connsiteY101" fmla="*/ 9013 h 10000"/>
                    <a:gd name="connsiteX102" fmla="*/ 9722 w 10000"/>
                    <a:gd name="connsiteY102" fmla="*/ 8999 h 10000"/>
                    <a:gd name="connsiteX103" fmla="*/ 9389 w 10000"/>
                    <a:gd name="connsiteY103" fmla="*/ 9013 h 10000"/>
                    <a:gd name="connsiteX104" fmla="*/ 9389 w 10000"/>
                    <a:gd name="connsiteY104" fmla="*/ 9013 h 10000"/>
                    <a:gd name="connsiteX105" fmla="*/ 9278 w 10000"/>
                    <a:gd name="connsiteY105" fmla="*/ 9028 h 10000"/>
                    <a:gd name="connsiteX106" fmla="*/ 9056 w 10000"/>
                    <a:gd name="connsiteY106" fmla="*/ 9013 h 10000"/>
                    <a:gd name="connsiteX107" fmla="*/ 8889 w 10000"/>
                    <a:gd name="connsiteY107" fmla="*/ 8999 h 10000"/>
                    <a:gd name="connsiteX108" fmla="*/ 8722 w 10000"/>
                    <a:gd name="connsiteY108" fmla="*/ 8969 h 10000"/>
                    <a:gd name="connsiteX109" fmla="*/ 8611 w 10000"/>
                    <a:gd name="connsiteY109" fmla="*/ 8925 h 10000"/>
                    <a:gd name="connsiteX110" fmla="*/ 8444 w 10000"/>
                    <a:gd name="connsiteY110" fmla="*/ 8851 h 10000"/>
                    <a:gd name="connsiteX111" fmla="*/ 8444 w 10000"/>
                    <a:gd name="connsiteY111" fmla="*/ 8851 h 10000"/>
                    <a:gd name="connsiteX112" fmla="*/ 8222 w 10000"/>
                    <a:gd name="connsiteY112" fmla="*/ 8719 h 10000"/>
                    <a:gd name="connsiteX113" fmla="*/ 8111 w 10000"/>
                    <a:gd name="connsiteY113" fmla="*/ 8660 h 10000"/>
                    <a:gd name="connsiteX114" fmla="*/ 7944 w 10000"/>
                    <a:gd name="connsiteY114" fmla="*/ 8616 h 10000"/>
                    <a:gd name="connsiteX115" fmla="*/ 7778 w 10000"/>
                    <a:gd name="connsiteY115" fmla="*/ 8586 h 10000"/>
                    <a:gd name="connsiteX116" fmla="*/ 7556 w 10000"/>
                    <a:gd name="connsiteY116" fmla="*/ 8571 h 10000"/>
                    <a:gd name="connsiteX117" fmla="*/ 7333 w 10000"/>
                    <a:gd name="connsiteY117" fmla="*/ 8557 h 10000"/>
                    <a:gd name="connsiteX118" fmla="*/ 7000 w 10000"/>
                    <a:gd name="connsiteY118" fmla="*/ 8542 h 10000"/>
                    <a:gd name="connsiteX119" fmla="*/ 7000 w 10000"/>
                    <a:gd name="connsiteY119" fmla="*/ 8542 h 10000"/>
                    <a:gd name="connsiteX120" fmla="*/ 6556 w 10000"/>
                    <a:gd name="connsiteY120" fmla="*/ 8557 h 10000"/>
                    <a:gd name="connsiteX121" fmla="*/ 6222 w 10000"/>
                    <a:gd name="connsiteY121" fmla="*/ 8557 h 10000"/>
                    <a:gd name="connsiteX122" fmla="*/ 6111 w 10000"/>
                    <a:gd name="connsiteY122" fmla="*/ 8542 h 10000"/>
                    <a:gd name="connsiteX123" fmla="*/ 6056 w 10000"/>
                    <a:gd name="connsiteY123" fmla="*/ 8527 h 10000"/>
                    <a:gd name="connsiteX124" fmla="*/ 6056 w 10000"/>
                    <a:gd name="connsiteY124" fmla="*/ 8527 h 10000"/>
                    <a:gd name="connsiteX125" fmla="*/ 6056 w 10000"/>
                    <a:gd name="connsiteY125" fmla="*/ 8262 h 10000"/>
                    <a:gd name="connsiteX126" fmla="*/ 6056 w 10000"/>
                    <a:gd name="connsiteY126" fmla="*/ 8262 h 10000"/>
                    <a:gd name="connsiteX127" fmla="*/ 6056 w 10000"/>
                    <a:gd name="connsiteY127" fmla="*/ 8203 h 10000"/>
                    <a:gd name="connsiteX128" fmla="*/ 5944 w 10000"/>
                    <a:gd name="connsiteY128" fmla="*/ 8130 h 10000"/>
                    <a:gd name="connsiteX129" fmla="*/ 5889 w 10000"/>
                    <a:gd name="connsiteY129" fmla="*/ 8115 h 10000"/>
                    <a:gd name="connsiteX130" fmla="*/ 5778 w 10000"/>
                    <a:gd name="connsiteY130" fmla="*/ 8100 h 10000"/>
                    <a:gd name="connsiteX131" fmla="*/ 5667 w 10000"/>
                    <a:gd name="connsiteY131" fmla="*/ 8100 h 10000"/>
                    <a:gd name="connsiteX132" fmla="*/ 5500 w 10000"/>
                    <a:gd name="connsiteY132" fmla="*/ 8115 h 10000"/>
                    <a:gd name="connsiteX133" fmla="*/ 5500 w 10000"/>
                    <a:gd name="connsiteY133" fmla="*/ 8115 h 10000"/>
                    <a:gd name="connsiteX134" fmla="*/ 4889 w 10000"/>
                    <a:gd name="connsiteY134" fmla="*/ 8218 h 10000"/>
                    <a:gd name="connsiteX135" fmla="*/ 4611 w 10000"/>
                    <a:gd name="connsiteY135" fmla="*/ 8247 h 10000"/>
                    <a:gd name="connsiteX136" fmla="*/ 4556 w 10000"/>
                    <a:gd name="connsiteY136" fmla="*/ 8262 h 10000"/>
                    <a:gd name="connsiteX137" fmla="*/ 4500 w 10000"/>
                    <a:gd name="connsiteY137" fmla="*/ 8247 h 10000"/>
                    <a:gd name="connsiteX138" fmla="*/ 4500 w 10000"/>
                    <a:gd name="connsiteY138" fmla="*/ 8247 h 10000"/>
                    <a:gd name="connsiteX139" fmla="*/ 4222 w 10000"/>
                    <a:gd name="connsiteY139" fmla="*/ 8100 h 10000"/>
                    <a:gd name="connsiteX140" fmla="*/ 4222 w 10000"/>
                    <a:gd name="connsiteY140" fmla="*/ 8100 h 10000"/>
                    <a:gd name="connsiteX141" fmla="*/ 4111 w 10000"/>
                    <a:gd name="connsiteY141" fmla="*/ 8027 h 10000"/>
                    <a:gd name="connsiteX142" fmla="*/ 4111 w 10000"/>
                    <a:gd name="connsiteY142" fmla="*/ 7982 h 10000"/>
                    <a:gd name="connsiteX143" fmla="*/ 4111 w 10000"/>
                    <a:gd name="connsiteY143" fmla="*/ 7938 h 10000"/>
                    <a:gd name="connsiteX144" fmla="*/ 4111 w 10000"/>
                    <a:gd name="connsiteY144" fmla="*/ 7938 h 10000"/>
                    <a:gd name="connsiteX145" fmla="*/ 4278 w 10000"/>
                    <a:gd name="connsiteY145" fmla="*/ 7894 h 10000"/>
                    <a:gd name="connsiteX146" fmla="*/ 4389 w 10000"/>
                    <a:gd name="connsiteY146" fmla="*/ 7879 h 10000"/>
                    <a:gd name="connsiteX147" fmla="*/ 4389 w 10000"/>
                    <a:gd name="connsiteY147" fmla="*/ 7879 h 10000"/>
                    <a:gd name="connsiteX148" fmla="*/ 4000 w 10000"/>
                    <a:gd name="connsiteY148" fmla="*/ 7879 h 10000"/>
                    <a:gd name="connsiteX149" fmla="*/ 3722 w 10000"/>
                    <a:gd name="connsiteY149" fmla="*/ 7894 h 10000"/>
                    <a:gd name="connsiteX150" fmla="*/ 3611 w 10000"/>
                    <a:gd name="connsiteY150" fmla="*/ 7909 h 10000"/>
                    <a:gd name="connsiteX151" fmla="*/ 3556 w 10000"/>
                    <a:gd name="connsiteY151" fmla="*/ 7923 h 10000"/>
                    <a:gd name="connsiteX152" fmla="*/ 3556 w 10000"/>
                    <a:gd name="connsiteY152" fmla="*/ 7923 h 10000"/>
                    <a:gd name="connsiteX153" fmla="*/ 3444 w 10000"/>
                    <a:gd name="connsiteY153" fmla="*/ 7982 h 10000"/>
                    <a:gd name="connsiteX154" fmla="*/ 3278 w 10000"/>
                    <a:gd name="connsiteY154" fmla="*/ 8071 h 10000"/>
                    <a:gd name="connsiteX155" fmla="*/ 3000 w 10000"/>
                    <a:gd name="connsiteY155" fmla="*/ 8174 h 10000"/>
                    <a:gd name="connsiteX156" fmla="*/ 2667 w 10000"/>
                    <a:gd name="connsiteY156" fmla="*/ 8247 h 10000"/>
                    <a:gd name="connsiteX157" fmla="*/ 2667 w 10000"/>
                    <a:gd name="connsiteY157" fmla="*/ 8247 h 10000"/>
                    <a:gd name="connsiteX158" fmla="*/ 2333 w 10000"/>
                    <a:gd name="connsiteY158" fmla="*/ 8306 h 10000"/>
                    <a:gd name="connsiteX159" fmla="*/ 1833 w 10000"/>
                    <a:gd name="connsiteY159" fmla="*/ 8365 h 10000"/>
                    <a:gd name="connsiteX160" fmla="*/ 1389 w 10000"/>
                    <a:gd name="connsiteY160" fmla="*/ 8395 h 10000"/>
                    <a:gd name="connsiteX161" fmla="*/ 889 w 10000"/>
                    <a:gd name="connsiteY161" fmla="*/ 8409 h 10000"/>
                    <a:gd name="connsiteX162" fmla="*/ 889 w 10000"/>
                    <a:gd name="connsiteY162" fmla="*/ 8409 h 10000"/>
                    <a:gd name="connsiteX163" fmla="*/ 500 w 10000"/>
                    <a:gd name="connsiteY163" fmla="*/ 8424 h 10000"/>
                    <a:gd name="connsiteX164" fmla="*/ 222 w 10000"/>
                    <a:gd name="connsiteY164" fmla="*/ 8439 h 10000"/>
                    <a:gd name="connsiteX165" fmla="*/ 0 w 10000"/>
                    <a:gd name="connsiteY165" fmla="*/ 8454 h 10000"/>
                    <a:gd name="connsiteX166" fmla="*/ 0 w 10000"/>
                    <a:gd name="connsiteY166" fmla="*/ 8454 h 10000"/>
                    <a:gd name="connsiteX167" fmla="*/ 278 w 10000"/>
                    <a:gd name="connsiteY167" fmla="*/ 8689 h 10000"/>
                    <a:gd name="connsiteX168" fmla="*/ 500 w 10000"/>
                    <a:gd name="connsiteY168" fmla="*/ 8866 h 10000"/>
                    <a:gd name="connsiteX169" fmla="*/ 722 w 10000"/>
                    <a:gd name="connsiteY169" fmla="*/ 9013 h 10000"/>
                    <a:gd name="connsiteX170" fmla="*/ 722 w 10000"/>
                    <a:gd name="connsiteY170" fmla="*/ 9013 h 10000"/>
                    <a:gd name="connsiteX171" fmla="*/ 889 w 10000"/>
                    <a:gd name="connsiteY171" fmla="*/ 9102 h 10000"/>
                    <a:gd name="connsiteX172" fmla="*/ 944 w 10000"/>
                    <a:gd name="connsiteY172" fmla="*/ 9175 h 10000"/>
                    <a:gd name="connsiteX173" fmla="*/ 1111 w 10000"/>
                    <a:gd name="connsiteY173" fmla="*/ 9249 h 10000"/>
                    <a:gd name="connsiteX174" fmla="*/ 1333 w 10000"/>
                    <a:gd name="connsiteY174" fmla="*/ 9367 h 10000"/>
                    <a:gd name="connsiteX175" fmla="*/ 1333 w 10000"/>
                    <a:gd name="connsiteY175" fmla="*/ 9367 h 10000"/>
                    <a:gd name="connsiteX176" fmla="*/ 1444 w 10000"/>
                    <a:gd name="connsiteY176" fmla="*/ 9426 h 10000"/>
                    <a:gd name="connsiteX177" fmla="*/ 1500 w 10000"/>
                    <a:gd name="connsiteY177" fmla="*/ 9470 h 10000"/>
                    <a:gd name="connsiteX178" fmla="*/ 1500 w 10000"/>
                    <a:gd name="connsiteY178" fmla="*/ 9514 h 10000"/>
                    <a:gd name="connsiteX179" fmla="*/ 1556 w 10000"/>
                    <a:gd name="connsiteY179" fmla="*/ 9529 h 10000"/>
                    <a:gd name="connsiteX180" fmla="*/ 1722 w 10000"/>
                    <a:gd name="connsiteY180" fmla="*/ 9543 h 10000"/>
                    <a:gd name="connsiteX181" fmla="*/ 1944 w 10000"/>
                    <a:gd name="connsiteY181" fmla="*/ 9558 h 10000"/>
                    <a:gd name="connsiteX182" fmla="*/ 2944 w 10000"/>
                    <a:gd name="connsiteY182" fmla="*/ 9573 h 10000"/>
                    <a:gd name="connsiteX183" fmla="*/ 2944 w 10000"/>
                    <a:gd name="connsiteY183" fmla="*/ 9573 h 10000"/>
                    <a:gd name="connsiteX184" fmla="*/ 4167 w 10000"/>
                    <a:gd name="connsiteY184" fmla="*/ 9602 h 10000"/>
                    <a:gd name="connsiteX185" fmla="*/ 4889 w 10000"/>
                    <a:gd name="connsiteY185" fmla="*/ 9647 h 10000"/>
                    <a:gd name="connsiteX186" fmla="*/ 5278 w 10000"/>
                    <a:gd name="connsiteY186" fmla="*/ 9691 h 10000"/>
                    <a:gd name="connsiteX187" fmla="*/ 5444 w 10000"/>
                    <a:gd name="connsiteY187" fmla="*/ 9705 h 10000"/>
                    <a:gd name="connsiteX188" fmla="*/ 5444 w 10000"/>
                    <a:gd name="connsiteY188" fmla="*/ 9705 h 10000"/>
                    <a:gd name="connsiteX189" fmla="*/ 5722 w 10000"/>
                    <a:gd name="connsiteY189" fmla="*/ 9735 h 10000"/>
                    <a:gd name="connsiteX190" fmla="*/ 5833 w 10000"/>
                    <a:gd name="connsiteY190" fmla="*/ 9750 h 10000"/>
                    <a:gd name="connsiteX191" fmla="*/ 5833 w 10000"/>
                    <a:gd name="connsiteY191" fmla="*/ 9750 h 10000"/>
                    <a:gd name="connsiteX192" fmla="*/ 5833 w 10000"/>
                    <a:gd name="connsiteY192" fmla="*/ 9735 h 10000"/>
                    <a:gd name="connsiteX193" fmla="*/ 5889 w 10000"/>
                    <a:gd name="connsiteY193" fmla="*/ 9720 h 10000"/>
                    <a:gd name="connsiteX194" fmla="*/ 6000 w 10000"/>
                    <a:gd name="connsiteY194" fmla="*/ 9705 h 10000"/>
                    <a:gd name="connsiteX195" fmla="*/ 6167 w 10000"/>
                    <a:gd name="connsiteY195" fmla="*/ 9691 h 10000"/>
                    <a:gd name="connsiteX196" fmla="*/ 6444 w 10000"/>
                    <a:gd name="connsiteY196" fmla="*/ 9691 h 10000"/>
                    <a:gd name="connsiteX197" fmla="*/ 6833 w 10000"/>
                    <a:gd name="connsiteY197" fmla="*/ 9705 h 10000"/>
                    <a:gd name="connsiteX198" fmla="*/ 7278 w 10000"/>
                    <a:gd name="connsiteY198" fmla="*/ 9750 h 10000"/>
                    <a:gd name="connsiteX199" fmla="*/ 7278 w 10000"/>
                    <a:gd name="connsiteY199" fmla="*/ 9750 h 10000"/>
                    <a:gd name="connsiteX200" fmla="*/ 8722 w 10000"/>
                    <a:gd name="connsiteY200" fmla="*/ 9882 h 10000"/>
                    <a:gd name="connsiteX201" fmla="*/ 10000 w 10000"/>
                    <a:gd name="connsiteY20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2222 w 10000"/>
                    <a:gd name="connsiteY72" fmla="*/ 2563 h 10000"/>
                    <a:gd name="connsiteX73" fmla="*/ 2389 w 10000"/>
                    <a:gd name="connsiteY73" fmla="*/ 2577 h 10000"/>
                    <a:gd name="connsiteX74" fmla="*/ 2389 w 10000"/>
                    <a:gd name="connsiteY74" fmla="*/ 2577 h 10000"/>
                    <a:gd name="connsiteX75" fmla="*/ 3500 w 10000"/>
                    <a:gd name="connsiteY75" fmla="*/ 2165 h 10000"/>
                    <a:gd name="connsiteX76" fmla="*/ 4444 w 10000"/>
                    <a:gd name="connsiteY76" fmla="*/ 1738 h 10000"/>
                    <a:gd name="connsiteX77" fmla="*/ 4444 w 10000"/>
                    <a:gd name="connsiteY77" fmla="*/ 1738 h 10000"/>
                    <a:gd name="connsiteX78" fmla="*/ 4444 w 10000"/>
                    <a:gd name="connsiteY78" fmla="*/ 1679 h 10000"/>
                    <a:gd name="connsiteX79" fmla="*/ 4444 w 10000"/>
                    <a:gd name="connsiteY79" fmla="*/ 1546 h 10000"/>
                    <a:gd name="connsiteX80" fmla="*/ 4500 w 10000"/>
                    <a:gd name="connsiteY80" fmla="*/ 1458 h 10000"/>
                    <a:gd name="connsiteX81" fmla="*/ 4611 w 10000"/>
                    <a:gd name="connsiteY81" fmla="*/ 1384 h 10000"/>
                    <a:gd name="connsiteX82" fmla="*/ 4778 w 10000"/>
                    <a:gd name="connsiteY82" fmla="*/ 1296 h 10000"/>
                    <a:gd name="connsiteX83" fmla="*/ 5000 w 10000"/>
                    <a:gd name="connsiteY83" fmla="*/ 1222 h 10000"/>
                    <a:gd name="connsiteX84" fmla="*/ 5000 w 10000"/>
                    <a:gd name="connsiteY84" fmla="*/ 1222 h 10000"/>
                    <a:gd name="connsiteX85" fmla="*/ 5556 w 10000"/>
                    <a:gd name="connsiteY85" fmla="*/ 1075 h 10000"/>
                    <a:gd name="connsiteX86" fmla="*/ 6111 w 10000"/>
                    <a:gd name="connsiteY86" fmla="*/ 884 h 10000"/>
                    <a:gd name="connsiteX87" fmla="*/ 6667 w 10000"/>
                    <a:gd name="connsiteY87" fmla="*/ 707 h 10000"/>
                    <a:gd name="connsiteX88" fmla="*/ 7056 w 10000"/>
                    <a:gd name="connsiteY88" fmla="*/ 545 h 10000"/>
                    <a:gd name="connsiteX89" fmla="*/ 7056 w 10000"/>
                    <a:gd name="connsiteY89" fmla="*/ 545 h 10000"/>
                    <a:gd name="connsiteX90" fmla="*/ 7333 w 10000"/>
                    <a:gd name="connsiteY90" fmla="*/ 398 h 10000"/>
                    <a:gd name="connsiteX91" fmla="*/ 7667 w 10000"/>
                    <a:gd name="connsiteY91" fmla="*/ 221 h 10000"/>
                    <a:gd name="connsiteX92" fmla="*/ 8000 w 10000"/>
                    <a:gd name="connsiteY92" fmla="*/ 88 h 10000"/>
                    <a:gd name="connsiteX93" fmla="*/ 8167 w 10000"/>
                    <a:gd name="connsiteY93" fmla="*/ 29 h 10000"/>
                    <a:gd name="connsiteX94" fmla="*/ 8333 w 10000"/>
                    <a:gd name="connsiteY94" fmla="*/ 15 h 10000"/>
                    <a:gd name="connsiteX95" fmla="*/ 8333 w 10000"/>
                    <a:gd name="connsiteY95" fmla="*/ 15 h 10000"/>
                    <a:gd name="connsiteX96" fmla="*/ 8667 w 10000"/>
                    <a:gd name="connsiteY96" fmla="*/ 0 h 10000"/>
                    <a:gd name="connsiteX97" fmla="*/ 9111 w 10000"/>
                    <a:gd name="connsiteY97" fmla="*/ 0 h 10000"/>
                    <a:gd name="connsiteX98" fmla="*/ 10000 w 10000"/>
                    <a:gd name="connsiteY98" fmla="*/ 15 h 10000"/>
                    <a:gd name="connsiteX99" fmla="*/ 10000 w 10000"/>
                    <a:gd name="connsiteY99" fmla="*/ 9013 h 10000"/>
                    <a:gd name="connsiteX100" fmla="*/ 10000 w 10000"/>
                    <a:gd name="connsiteY100" fmla="*/ 9013 h 10000"/>
                    <a:gd name="connsiteX101" fmla="*/ 9722 w 10000"/>
                    <a:gd name="connsiteY101" fmla="*/ 8999 h 10000"/>
                    <a:gd name="connsiteX102" fmla="*/ 9389 w 10000"/>
                    <a:gd name="connsiteY102" fmla="*/ 9013 h 10000"/>
                    <a:gd name="connsiteX103" fmla="*/ 9389 w 10000"/>
                    <a:gd name="connsiteY103" fmla="*/ 9013 h 10000"/>
                    <a:gd name="connsiteX104" fmla="*/ 9278 w 10000"/>
                    <a:gd name="connsiteY104" fmla="*/ 9028 h 10000"/>
                    <a:gd name="connsiteX105" fmla="*/ 9056 w 10000"/>
                    <a:gd name="connsiteY105" fmla="*/ 9013 h 10000"/>
                    <a:gd name="connsiteX106" fmla="*/ 8889 w 10000"/>
                    <a:gd name="connsiteY106" fmla="*/ 8999 h 10000"/>
                    <a:gd name="connsiteX107" fmla="*/ 8722 w 10000"/>
                    <a:gd name="connsiteY107" fmla="*/ 8969 h 10000"/>
                    <a:gd name="connsiteX108" fmla="*/ 8611 w 10000"/>
                    <a:gd name="connsiteY108" fmla="*/ 8925 h 10000"/>
                    <a:gd name="connsiteX109" fmla="*/ 8444 w 10000"/>
                    <a:gd name="connsiteY109" fmla="*/ 8851 h 10000"/>
                    <a:gd name="connsiteX110" fmla="*/ 8444 w 10000"/>
                    <a:gd name="connsiteY110" fmla="*/ 8851 h 10000"/>
                    <a:gd name="connsiteX111" fmla="*/ 8222 w 10000"/>
                    <a:gd name="connsiteY111" fmla="*/ 8719 h 10000"/>
                    <a:gd name="connsiteX112" fmla="*/ 8111 w 10000"/>
                    <a:gd name="connsiteY112" fmla="*/ 8660 h 10000"/>
                    <a:gd name="connsiteX113" fmla="*/ 7944 w 10000"/>
                    <a:gd name="connsiteY113" fmla="*/ 8616 h 10000"/>
                    <a:gd name="connsiteX114" fmla="*/ 7778 w 10000"/>
                    <a:gd name="connsiteY114" fmla="*/ 8586 h 10000"/>
                    <a:gd name="connsiteX115" fmla="*/ 7556 w 10000"/>
                    <a:gd name="connsiteY115" fmla="*/ 8571 h 10000"/>
                    <a:gd name="connsiteX116" fmla="*/ 7333 w 10000"/>
                    <a:gd name="connsiteY116" fmla="*/ 8557 h 10000"/>
                    <a:gd name="connsiteX117" fmla="*/ 7000 w 10000"/>
                    <a:gd name="connsiteY117" fmla="*/ 8542 h 10000"/>
                    <a:gd name="connsiteX118" fmla="*/ 7000 w 10000"/>
                    <a:gd name="connsiteY118" fmla="*/ 8542 h 10000"/>
                    <a:gd name="connsiteX119" fmla="*/ 6556 w 10000"/>
                    <a:gd name="connsiteY119" fmla="*/ 8557 h 10000"/>
                    <a:gd name="connsiteX120" fmla="*/ 6222 w 10000"/>
                    <a:gd name="connsiteY120" fmla="*/ 8557 h 10000"/>
                    <a:gd name="connsiteX121" fmla="*/ 6111 w 10000"/>
                    <a:gd name="connsiteY121" fmla="*/ 8542 h 10000"/>
                    <a:gd name="connsiteX122" fmla="*/ 6056 w 10000"/>
                    <a:gd name="connsiteY122" fmla="*/ 8527 h 10000"/>
                    <a:gd name="connsiteX123" fmla="*/ 6056 w 10000"/>
                    <a:gd name="connsiteY123" fmla="*/ 8527 h 10000"/>
                    <a:gd name="connsiteX124" fmla="*/ 6056 w 10000"/>
                    <a:gd name="connsiteY124" fmla="*/ 8262 h 10000"/>
                    <a:gd name="connsiteX125" fmla="*/ 6056 w 10000"/>
                    <a:gd name="connsiteY125" fmla="*/ 8262 h 10000"/>
                    <a:gd name="connsiteX126" fmla="*/ 6056 w 10000"/>
                    <a:gd name="connsiteY126" fmla="*/ 8203 h 10000"/>
                    <a:gd name="connsiteX127" fmla="*/ 5944 w 10000"/>
                    <a:gd name="connsiteY127" fmla="*/ 8130 h 10000"/>
                    <a:gd name="connsiteX128" fmla="*/ 5889 w 10000"/>
                    <a:gd name="connsiteY128" fmla="*/ 8115 h 10000"/>
                    <a:gd name="connsiteX129" fmla="*/ 5778 w 10000"/>
                    <a:gd name="connsiteY129" fmla="*/ 8100 h 10000"/>
                    <a:gd name="connsiteX130" fmla="*/ 5667 w 10000"/>
                    <a:gd name="connsiteY130" fmla="*/ 8100 h 10000"/>
                    <a:gd name="connsiteX131" fmla="*/ 5500 w 10000"/>
                    <a:gd name="connsiteY131" fmla="*/ 8115 h 10000"/>
                    <a:gd name="connsiteX132" fmla="*/ 5500 w 10000"/>
                    <a:gd name="connsiteY132" fmla="*/ 8115 h 10000"/>
                    <a:gd name="connsiteX133" fmla="*/ 4889 w 10000"/>
                    <a:gd name="connsiteY133" fmla="*/ 8218 h 10000"/>
                    <a:gd name="connsiteX134" fmla="*/ 4611 w 10000"/>
                    <a:gd name="connsiteY134" fmla="*/ 8247 h 10000"/>
                    <a:gd name="connsiteX135" fmla="*/ 4556 w 10000"/>
                    <a:gd name="connsiteY135" fmla="*/ 8262 h 10000"/>
                    <a:gd name="connsiteX136" fmla="*/ 4500 w 10000"/>
                    <a:gd name="connsiteY136" fmla="*/ 8247 h 10000"/>
                    <a:gd name="connsiteX137" fmla="*/ 4500 w 10000"/>
                    <a:gd name="connsiteY137" fmla="*/ 8247 h 10000"/>
                    <a:gd name="connsiteX138" fmla="*/ 4222 w 10000"/>
                    <a:gd name="connsiteY138" fmla="*/ 8100 h 10000"/>
                    <a:gd name="connsiteX139" fmla="*/ 4222 w 10000"/>
                    <a:gd name="connsiteY139" fmla="*/ 8100 h 10000"/>
                    <a:gd name="connsiteX140" fmla="*/ 4111 w 10000"/>
                    <a:gd name="connsiteY140" fmla="*/ 8027 h 10000"/>
                    <a:gd name="connsiteX141" fmla="*/ 4111 w 10000"/>
                    <a:gd name="connsiteY141" fmla="*/ 7982 h 10000"/>
                    <a:gd name="connsiteX142" fmla="*/ 4111 w 10000"/>
                    <a:gd name="connsiteY142" fmla="*/ 7938 h 10000"/>
                    <a:gd name="connsiteX143" fmla="*/ 4111 w 10000"/>
                    <a:gd name="connsiteY143" fmla="*/ 7938 h 10000"/>
                    <a:gd name="connsiteX144" fmla="*/ 4278 w 10000"/>
                    <a:gd name="connsiteY144" fmla="*/ 7894 h 10000"/>
                    <a:gd name="connsiteX145" fmla="*/ 4389 w 10000"/>
                    <a:gd name="connsiteY145" fmla="*/ 7879 h 10000"/>
                    <a:gd name="connsiteX146" fmla="*/ 4389 w 10000"/>
                    <a:gd name="connsiteY146" fmla="*/ 7879 h 10000"/>
                    <a:gd name="connsiteX147" fmla="*/ 4000 w 10000"/>
                    <a:gd name="connsiteY147" fmla="*/ 7879 h 10000"/>
                    <a:gd name="connsiteX148" fmla="*/ 3722 w 10000"/>
                    <a:gd name="connsiteY148" fmla="*/ 7894 h 10000"/>
                    <a:gd name="connsiteX149" fmla="*/ 3611 w 10000"/>
                    <a:gd name="connsiteY149" fmla="*/ 7909 h 10000"/>
                    <a:gd name="connsiteX150" fmla="*/ 3556 w 10000"/>
                    <a:gd name="connsiteY150" fmla="*/ 7923 h 10000"/>
                    <a:gd name="connsiteX151" fmla="*/ 3556 w 10000"/>
                    <a:gd name="connsiteY151" fmla="*/ 7923 h 10000"/>
                    <a:gd name="connsiteX152" fmla="*/ 3444 w 10000"/>
                    <a:gd name="connsiteY152" fmla="*/ 7982 h 10000"/>
                    <a:gd name="connsiteX153" fmla="*/ 3278 w 10000"/>
                    <a:gd name="connsiteY153" fmla="*/ 8071 h 10000"/>
                    <a:gd name="connsiteX154" fmla="*/ 3000 w 10000"/>
                    <a:gd name="connsiteY154" fmla="*/ 8174 h 10000"/>
                    <a:gd name="connsiteX155" fmla="*/ 2667 w 10000"/>
                    <a:gd name="connsiteY155" fmla="*/ 8247 h 10000"/>
                    <a:gd name="connsiteX156" fmla="*/ 2667 w 10000"/>
                    <a:gd name="connsiteY156" fmla="*/ 8247 h 10000"/>
                    <a:gd name="connsiteX157" fmla="*/ 2333 w 10000"/>
                    <a:gd name="connsiteY157" fmla="*/ 8306 h 10000"/>
                    <a:gd name="connsiteX158" fmla="*/ 1833 w 10000"/>
                    <a:gd name="connsiteY158" fmla="*/ 8365 h 10000"/>
                    <a:gd name="connsiteX159" fmla="*/ 1389 w 10000"/>
                    <a:gd name="connsiteY159" fmla="*/ 8395 h 10000"/>
                    <a:gd name="connsiteX160" fmla="*/ 889 w 10000"/>
                    <a:gd name="connsiteY160" fmla="*/ 8409 h 10000"/>
                    <a:gd name="connsiteX161" fmla="*/ 889 w 10000"/>
                    <a:gd name="connsiteY161" fmla="*/ 8409 h 10000"/>
                    <a:gd name="connsiteX162" fmla="*/ 500 w 10000"/>
                    <a:gd name="connsiteY162" fmla="*/ 8424 h 10000"/>
                    <a:gd name="connsiteX163" fmla="*/ 222 w 10000"/>
                    <a:gd name="connsiteY163" fmla="*/ 8439 h 10000"/>
                    <a:gd name="connsiteX164" fmla="*/ 0 w 10000"/>
                    <a:gd name="connsiteY164" fmla="*/ 8454 h 10000"/>
                    <a:gd name="connsiteX165" fmla="*/ 0 w 10000"/>
                    <a:gd name="connsiteY165" fmla="*/ 8454 h 10000"/>
                    <a:gd name="connsiteX166" fmla="*/ 278 w 10000"/>
                    <a:gd name="connsiteY166" fmla="*/ 8689 h 10000"/>
                    <a:gd name="connsiteX167" fmla="*/ 500 w 10000"/>
                    <a:gd name="connsiteY167" fmla="*/ 8866 h 10000"/>
                    <a:gd name="connsiteX168" fmla="*/ 722 w 10000"/>
                    <a:gd name="connsiteY168" fmla="*/ 9013 h 10000"/>
                    <a:gd name="connsiteX169" fmla="*/ 722 w 10000"/>
                    <a:gd name="connsiteY169" fmla="*/ 9013 h 10000"/>
                    <a:gd name="connsiteX170" fmla="*/ 889 w 10000"/>
                    <a:gd name="connsiteY170" fmla="*/ 9102 h 10000"/>
                    <a:gd name="connsiteX171" fmla="*/ 944 w 10000"/>
                    <a:gd name="connsiteY171" fmla="*/ 9175 h 10000"/>
                    <a:gd name="connsiteX172" fmla="*/ 1111 w 10000"/>
                    <a:gd name="connsiteY172" fmla="*/ 9249 h 10000"/>
                    <a:gd name="connsiteX173" fmla="*/ 1333 w 10000"/>
                    <a:gd name="connsiteY173" fmla="*/ 9367 h 10000"/>
                    <a:gd name="connsiteX174" fmla="*/ 1333 w 10000"/>
                    <a:gd name="connsiteY174" fmla="*/ 9367 h 10000"/>
                    <a:gd name="connsiteX175" fmla="*/ 1444 w 10000"/>
                    <a:gd name="connsiteY175" fmla="*/ 9426 h 10000"/>
                    <a:gd name="connsiteX176" fmla="*/ 1500 w 10000"/>
                    <a:gd name="connsiteY176" fmla="*/ 9470 h 10000"/>
                    <a:gd name="connsiteX177" fmla="*/ 1500 w 10000"/>
                    <a:gd name="connsiteY177" fmla="*/ 9514 h 10000"/>
                    <a:gd name="connsiteX178" fmla="*/ 1556 w 10000"/>
                    <a:gd name="connsiteY178" fmla="*/ 9529 h 10000"/>
                    <a:gd name="connsiteX179" fmla="*/ 1722 w 10000"/>
                    <a:gd name="connsiteY179" fmla="*/ 9543 h 10000"/>
                    <a:gd name="connsiteX180" fmla="*/ 1944 w 10000"/>
                    <a:gd name="connsiteY180" fmla="*/ 9558 h 10000"/>
                    <a:gd name="connsiteX181" fmla="*/ 2944 w 10000"/>
                    <a:gd name="connsiteY181" fmla="*/ 9573 h 10000"/>
                    <a:gd name="connsiteX182" fmla="*/ 2944 w 10000"/>
                    <a:gd name="connsiteY182" fmla="*/ 9573 h 10000"/>
                    <a:gd name="connsiteX183" fmla="*/ 4167 w 10000"/>
                    <a:gd name="connsiteY183" fmla="*/ 9602 h 10000"/>
                    <a:gd name="connsiteX184" fmla="*/ 4889 w 10000"/>
                    <a:gd name="connsiteY184" fmla="*/ 9647 h 10000"/>
                    <a:gd name="connsiteX185" fmla="*/ 5278 w 10000"/>
                    <a:gd name="connsiteY185" fmla="*/ 9691 h 10000"/>
                    <a:gd name="connsiteX186" fmla="*/ 5444 w 10000"/>
                    <a:gd name="connsiteY186" fmla="*/ 9705 h 10000"/>
                    <a:gd name="connsiteX187" fmla="*/ 5444 w 10000"/>
                    <a:gd name="connsiteY187" fmla="*/ 9705 h 10000"/>
                    <a:gd name="connsiteX188" fmla="*/ 5722 w 10000"/>
                    <a:gd name="connsiteY188" fmla="*/ 9735 h 10000"/>
                    <a:gd name="connsiteX189" fmla="*/ 5833 w 10000"/>
                    <a:gd name="connsiteY189" fmla="*/ 9750 h 10000"/>
                    <a:gd name="connsiteX190" fmla="*/ 5833 w 10000"/>
                    <a:gd name="connsiteY190" fmla="*/ 9750 h 10000"/>
                    <a:gd name="connsiteX191" fmla="*/ 5833 w 10000"/>
                    <a:gd name="connsiteY191" fmla="*/ 9735 h 10000"/>
                    <a:gd name="connsiteX192" fmla="*/ 5889 w 10000"/>
                    <a:gd name="connsiteY192" fmla="*/ 9720 h 10000"/>
                    <a:gd name="connsiteX193" fmla="*/ 6000 w 10000"/>
                    <a:gd name="connsiteY193" fmla="*/ 9705 h 10000"/>
                    <a:gd name="connsiteX194" fmla="*/ 6167 w 10000"/>
                    <a:gd name="connsiteY194" fmla="*/ 9691 h 10000"/>
                    <a:gd name="connsiteX195" fmla="*/ 6444 w 10000"/>
                    <a:gd name="connsiteY195" fmla="*/ 9691 h 10000"/>
                    <a:gd name="connsiteX196" fmla="*/ 6833 w 10000"/>
                    <a:gd name="connsiteY196" fmla="*/ 9705 h 10000"/>
                    <a:gd name="connsiteX197" fmla="*/ 7278 w 10000"/>
                    <a:gd name="connsiteY197" fmla="*/ 9750 h 10000"/>
                    <a:gd name="connsiteX198" fmla="*/ 7278 w 10000"/>
                    <a:gd name="connsiteY198" fmla="*/ 9750 h 10000"/>
                    <a:gd name="connsiteX199" fmla="*/ 8722 w 10000"/>
                    <a:gd name="connsiteY199" fmla="*/ 9882 h 10000"/>
                    <a:gd name="connsiteX200" fmla="*/ 10000 w 10000"/>
                    <a:gd name="connsiteY20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2222 w 10000"/>
                    <a:gd name="connsiteY72" fmla="*/ 2563 h 10000"/>
                    <a:gd name="connsiteX73" fmla="*/ 2389 w 10000"/>
                    <a:gd name="connsiteY73" fmla="*/ 2577 h 10000"/>
                    <a:gd name="connsiteX74" fmla="*/ 3500 w 10000"/>
                    <a:gd name="connsiteY74" fmla="*/ 2165 h 10000"/>
                    <a:gd name="connsiteX75" fmla="*/ 4444 w 10000"/>
                    <a:gd name="connsiteY75" fmla="*/ 1738 h 10000"/>
                    <a:gd name="connsiteX76" fmla="*/ 4444 w 10000"/>
                    <a:gd name="connsiteY76" fmla="*/ 1738 h 10000"/>
                    <a:gd name="connsiteX77" fmla="*/ 4444 w 10000"/>
                    <a:gd name="connsiteY77" fmla="*/ 1679 h 10000"/>
                    <a:gd name="connsiteX78" fmla="*/ 4444 w 10000"/>
                    <a:gd name="connsiteY78" fmla="*/ 1546 h 10000"/>
                    <a:gd name="connsiteX79" fmla="*/ 4500 w 10000"/>
                    <a:gd name="connsiteY79" fmla="*/ 1458 h 10000"/>
                    <a:gd name="connsiteX80" fmla="*/ 4611 w 10000"/>
                    <a:gd name="connsiteY80" fmla="*/ 1384 h 10000"/>
                    <a:gd name="connsiteX81" fmla="*/ 4778 w 10000"/>
                    <a:gd name="connsiteY81" fmla="*/ 1296 h 10000"/>
                    <a:gd name="connsiteX82" fmla="*/ 5000 w 10000"/>
                    <a:gd name="connsiteY82" fmla="*/ 1222 h 10000"/>
                    <a:gd name="connsiteX83" fmla="*/ 5000 w 10000"/>
                    <a:gd name="connsiteY83" fmla="*/ 1222 h 10000"/>
                    <a:gd name="connsiteX84" fmla="*/ 5556 w 10000"/>
                    <a:gd name="connsiteY84" fmla="*/ 1075 h 10000"/>
                    <a:gd name="connsiteX85" fmla="*/ 6111 w 10000"/>
                    <a:gd name="connsiteY85" fmla="*/ 884 h 10000"/>
                    <a:gd name="connsiteX86" fmla="*/ 6667 w 10000"/>
                    <a:gd name="connsiteY86" fmla="*/ 707 h 10000"/>
                    <a:gd name="connsiteX87" fmla="*/ 7056 w 10000"/>
                    <a:gd name="connsiteY87" fmla="*/ 545 h 10000"/>
                    <a:gd name="connsiteX88" fmla="*/ 7056 w 10000"/>
                    <a:gd name="connsiteY88" fmla="*/ 545 h 10000"/>
                    <a:gd name="connsiteX89" fmla="*/ 7333 w 10000"/>
                    <a:gd name="connsiteY89" fmla="*/ 398 h 10000"/>
                    <a:gd name="connsiteX90" fmla="*/ 7667 w 10000"/>
                    <a:gd name="connsiteY90" fmla="*/ 221 h 10000"/>
                    <a:gd name="connsiteX91" fmla="*/ 8000 w 10000"/>
                    <a:gd name="connsiteY91" fmla="*/ 88 h 10000"/>
                    <a:gd name="connsiteX92" fmla="*/ 8167 w 10000"/>
                    <a:gd name="connsiteY92" fmla="*/ 29 h 10000"/>
                    <a:gd name="connsiteX93" fmla="*/ 8333 w 10000"/>
                    <a:gd name="connsiteY93" fmla="*/ 15 h 10000"/>
                    <a:gd name="connsiteX94" fmla="*/ 8333 w 10000"/>
                    <a:gd name="connsiteY94" fmla="*/ 15 h 10000"/>
                    <a:gd name="connsiteX95" fmla="*/ 8667 w 10000"/>
                    <a:gd name="connsiteY95" fmla="*/ 0 h 10000"/>
                    <a:gd name="connsiteX96" fmla="*/ 9111 w 10000"/>
                    <a:gd name="connsiteY96" fmla="*/ 0 h 10000"/>
                    <a:gd name="connsiteX97" fmla="*/ 10000 w 10000"/>
                    <a:gd name="connsiteY97" fmla="*/ 15 h 10000"/>
                    <a:gd name="connsiteX98" fmla="*/ 10000 w 10000"/>
                    <a:gd name="connsiteY98" fmla="*/ 9013 h 10000"/>
                    <a:gd name="connsiteX99" fmla="*/ 10000 w 10000"/>
                    <a:gd name="connsiteY99" fmla="*/ 9013 h 10000"/>
                    <a:gd name="connsiteX100" fmla="*/ 9722 w 10000"/>
                    <a:gd name="connsiteY100" fmla="*/ 8999 h 10000"/>
                    <a:gd name="connsiteX101" fmla="*/ 9389 w 10000"/>
                    <a:gd name="connsiteY101" fmla="*/ 9013 h 10000"/>
                    <a:gd name="connsiteX102" fmla="*/ 9389 w 10000"/>
                    <a:gd name="connsiteY102" fmla="*/ 9013 h 10000"/>
                    <a:gd name="connsiteX103" fmla="*/ 9278 w 10000"/>
                    <a:gd name="connsiteY103" fmla="*/ 9028 h 10000"/>
                    <a:gd name="connsiteX104" fmla="*/ 9056 w 10000"/>
                    <a:gd name="connsiteY104" fmla="*/ 9013 h 10000"/>
                    <a:gd name="connsiteX105" fmla="*/ 8889 w 10000"/>
                    <a:gd name="connsiteY105" fmla="*/ 8999 h 10000"/>
                    <a:gd name="connsiteX106" fmla="*/ 8722 w 10000"/>
                    <a:gd name="connsiteY106" fmla="*/ 8969 h 10000"/>
                    <a:gd name="connsiteX107" fmla="*/ 8611 w 10000"/>
                    <a:gd name="connsiteY107" fmla="*/ 8925 h 10000"/>
                    <a:gd name="connsiteX108" fmla="*/ 8444 w 10000"/>
                    <a:gd name="connsiteY108" fmla="*/ 8851 h 10000"/>
                    <a:gd name="connsiteX109" fmla="*/ 8444 w 10000"/>
                    <a:gd name="connsiteY109" fmla="*/ 8851 h 10000"/>
                    <a:gd name="connsiteX110" fmla="*/ 8222 w 10000"/>
                    <a:gd name="connsiteY110" fmla="*/ 8719 h 10000"/>
                    <a:gd name="connsiteX111" fmla="*/ 8111 w 10000"/>
                    <a:gd name="connsiteY111" fmla="*/ 8660 h 10000"/>
                    <a:gd name="connsiteX112" fmla="*/ 7944 w 10000"/>
                    <a:gd name="connsiteY112" fmla="*/ 8616 h 10000"/>
                    <a:gd name="connsiteX113" fmla="*/ 7778 w 10000"/>
                    <a:gd name="connsiteY113" fmla="*/ 8586 h 10000"/>
                    <a:gd name="connsiteX114" fmla="*/ 7556 w 10000"/>
                    <a:gd name="connsiteY114" fmla="*/ 8571 h 10000"/>
                    <a:gd name="connsiteX115" fmla="*/ 7333 w 10000"/>
                    <a:gd name="connsiteY115" fmla="*/ 8557 h 10000"/>
                    <a:gd name="connsiteX116" fmla="*/ 7000 w 10000"/>
                    <a:gd name="connsiteY116" fmla="*/ 8542 h 10000"/>
                    <a:gd name="connsiteX117" fmla="*/ 7000 w 10000"/>
                    <a:gd name="connsiteY117" fmla="*/ 8542 h 10000"/>
                    <a:gd name="connsiteX118" fmla="*/ 6556 w 10000"/>
                    <a:gd name="connsiteY118" fmla="*/ 8557 h 10000"/>
                    <a:gd name="connsiteX119" fmla="*/ 6222 w 10000"/>
                    <a:gd name="connsiteY119" fmla="*/ 8557 h 10000"/>
                    <a:gd name="connsiteX120" fmla="*/ 6111 w 10000"/>
                    <a:gd name="connsiteY120" fmla="*/ 8542 h 10000"/>
                    <a:gd name="connsiteX121" fmla="*/ 6056 w 10000"/>
                    <a:gd name="connsiteY121" fmla="*/ 8527 h 10000"/>
                    <a:gd name="connsiteX122" fmla="*/ 6056 w 10000"/>
                    <a:gd name="connsiteY122" fmla="*/ 8527 h 10000"/>
                    <a:gd name="connsiteX123" fmla="*/ 6056 w 10000"/>
                    <a:gd name="connsiteY123" fmla="*/ 8262 h 10000"/>
                    <a:gd name="connsiteX124" fmla="*/ 6056 w 10000"/>
                    <a:gd name="connsiteY124" fmla="*/ 8262 h 10000"/>
                    <a:gd name="connsiteX125" fmla="*/ 6056 w 10000"/>
                    <a:gd name="connsiteY125" fmla="*/ 8203 h 10000"/>
                    <a:gd name="connsiteX126" fmla="*/ 5944 w 10000"/>
                    <a:gd name="connsiteY126" fmla="*/ 8130 h 10000"/>
                    <a:gd name="connsiteX127" fmla="*/ 5889 w 10000"/>
                    <a:gd name="connsiteY127" fmla="*/ 8115 h 10000"/>
                    <a:gd name="connsiteX128" fmla="*/ 5778 w 10000"/>
                    <a:gd name="connsiteY128" fmla="*/ 8100 h 10000"/>
                    <a:gd name="connsiteX129" fmla="*/ 5667 w 10000"/>
                    <a:gd name="connsiteY129" fmla="*/ 8100 h 10000"/>
                    <a:gd name="connsiteX130" fmla="*/ 5500 w 10000"/>
                    <a:gd name="connsiteY130" fmla="*/ 8115 h 10000"/>
                    <a:gd name="connsiteX131" fmla="*/ 5500 w 10000"/>
                    <a:gd name="connsiteY131" fmla="*/ 8115 h 10000"/>
                    <a:gd name="connsiteX132" fmla="*/ 4889 w 10000"/>
                    <a:gd name="connsiteY132" fmla="*/ 8218 h 10000"/>
                    <a:gd name="connsiteX133" fmla="*/ 4611 w 10000"/>
                    <a:gd name="connsiteY133" fmla="*/ 8247 h 10000"/>
                    <a:gd name="connsiteX134" fmla="*/ 4556 w 10000"/>
                    <a:gd name="connsiteY134" fmla="*/ 8262 h 10000"/>
                    <a:gd name="connsiteX135" fmla="*/ 4500 w 10000"/>
                    <a:gd name="connsiteY135" fmla="*/ 8247 h 10000"/>
                    <a:gd name="connsiteX136" fmla="*/ 4500 w 10000"/>
                    <a:gd name="connsiteY136" fmla="*/ 8247 h 10000"/>
                    <a:gd name="connsiteX137" fmla="*/ 4222 w 10000"/>
                    <a:gd name="connsiteY137" fmla="*/ 8100 h 10000"/>
                    <a:gd name="connsiteX138" fmla="*/ 4222 w 10000"/>
                    <a:gd name="connsiteY138" fmla="*/ 8100 h 10000"/>
                    <a:gd name="connsiteX139" fmla="*/ 4111 w 10000"/>
                    <a:gd name="connsiteY139" fmla="*/ 8027 h 10000"/>
                    <a:gd name="connsiteX140" fmla="*/ 4111 w 10000"/>
                    <a:gd name="connsiteY140" fmla="*/ 7982 h 10000"/>
                    <a:gd name="connsiteX141" fmla="*/ 4111 w 10000"/>
                    <a:gd name="connsiteY141" fmla="*/ 7938 h 10000"/>
                    <a:gd name="connsiteX142" fmla="*/ 4111 w 10000"/>
                    <a:gd name="connsiteY142" fmla="*/ 7938 h 10000"/>
                    <a:gd name="connsiteX143" fmla="*/ 4278 w 10000"/>
                    <a:gd name="connsiteY143" fmla="*/ 7894 h 10000"/>
                    <a:gd name="connsiteX144" fmla="*/ 4389 w 10000"/>
                    <a:gd name="connsiteY144" fmla="*/ 7879 h 10000"/>
                    <a:gd name="connsiteX145" fmla="*/ 4389 w 10000"/>
                    <a:gd name="connsiteY145" fmla="*/ 7879 h 10000"/>
                    <a:gd name="connsiteX146" fmla="*/ 4000 w 10000"/>
                    <a:gd name="connsiteY146" fmla="*/ 7879 h 10000"/>
                    <a:gd name="connsiteX147" fmla="*/ 3722 w 10000"/>
                    <a:gd name="connsiteY147" fmla="*/ 7894 h 10000"/>
                    <a:gd name="connsiteX148" fmla="*/ 3611 w 10000"/>
                    <a:gd name="connsiteY148" fmla="*/ 7909 h 10000"/>
                    <a:gd name="connsiteX149" fmla="*/ 3556 w 10000"/>
                    <a:gd name="connsiteY149" fmla="*/ 7923 h 10000"/>
                    <a:gd name="connsiteX150" fmla="*/ 3556 w 10000"/>
                    <a:gd name="connsiteY150" fmla="*/ 7923 h 10000"/>
                    <a:gd name="connsiteX151" fmla="*/ 3444 w 10000"/>
                    <a:gd name="connsiteY151" fmla="*/ 7982 h 10000"/>
                    <a:gd name="connsiteX152" fmla="*/ 3278 w 10000"/>
                    <a:gd name="connsiteY152" fmla="*/ 8071 h 10000"/>
                    <a:gd name="connsiteX153" fmla="*/ 3000 w 10000"/>
                    <a:gd name="connsiteY153" fmla="*/ 8174 h 10000"/>
                    <a:gd name="connsiteX154" fmla="*/ 2667 w 10000"/>
                    <a:gd name="connsiteY154" fmla="*/ 8247 h 10000"/>
                    <a:gd name="connsiteX155" fmla="*/ 2667 w 10000"/>
                    <a:gd name="connsiteY155" fmla="*/ 8247 h 10000"/>
                    <a:gd name="connsiteX156" fmla="*/ 2333 w 10000"/>
                    <a:gd name="connsiteY156" fmla="*/ 8306 h 10000"/>
                    <a:gd name="connsiteX157" fmla="*/ 1833 w 10000"/>
                    <a:gd name="connsiteY157" fmla="*/ 8365 h 10000"/>
                    <a:gd name="connsiteX158" fmla="*/ 1389 w 10000"/>
                    <a:gd name="connsiteY158" fmla="*/ 8395 h 10000"/>
                    <a:gd name="connsiteX159" fmla="*/ 889 w 10000"/>
                    <a:gd name="connsiteY159" fmla="*/ 8409 h 10000"/>
                    <a:gd name="connsiteX160" fmla="*/ 889 w 10000"/>
                    <a:gd name="connsiteY160" fmla="*/ 8409 h 10000"/>
                    <a:gd name="connsiteX161" fmla="*/ 500 w 10000"/>
                    <a:gd name="connsiteY161" fmla="*/ 8424 h 10000"/>
                    <a:gd name="connsiteX162" fmla="*/ 222 w 10000"/>
                    <a:gd name="connsiteY162" fmla="*/ 8439 h 10000"/>
                    <a:gd name="connsiteX163" fmla="*/ 0 w 10000"/>
                    <a:gd name="connsiteY163" fmla="*/ 8454 h 10000"/>
                    <a:gd name="connsiteX164" fmla="*/ 0 w 10000"/>
                    <a:gd name="connsiteY164" fmla="*/ 8454 h 10000"/>
                    <a:gd name="connsiteX165" fmla="*/ 278 w 10000"/>
                    <a:gd name="connsiteY165" fmla="*/ 8689 h 10000"/>
                    <a:gd name="connsiteX166" fmla="*/ 500 w 10000"/>
                    <a:gd name="connsiteY166" fmla="*/ 8866 h 10000"/>
                    <a:gd name="connsiteX167" fmla="*/ 722 w 10000"/>
                    <a:gd name="connsiteY167" fmla="*/ 9013 h 10000"/>
                    <a:gd name="connsiteX168" fmla="*/ 722 w 10000"/>
                    <a:gd name="connsiteY168" fmla="*/ 9013 h 10000"/>
                    <a:gd name="connsiteX169" fmla="*/ 889 w 10000"/>
                    <a:gd name="connsiteY169" fmla="*/ 9102 h 10000"/>
                    <a:gd name="connsiteX170" fmla="*/ 944 w 10000"/>
                    <a:gd name="connsiteY170" fmla="*/ 9175 h 10000"/>
                    <a:gd name="connsiteX171" fmla="*/ 1111 w 10000"/>
                    <a:gd name="connsiteY171" fmla="*/ 9249 h 10000"/>
                    <a:gd name="connsiteX172" fmla="*/ 1333 w 10000"/>
                    <a:gd name="connsiteY172" fmla="*/ 9367 h 10000"/>
                    <a:gd name="connsiteX173" fmla="*/ 1333 w 10000"/>
                    <a:gd name="connsiteY173" fmla="*/ 9367 h 10000"/>
                    <a:gd name="connsiteX174" fmla="*/ 1444 w 10000"/>
                    <a:gd name="connsiteY174" fmla="*/ 9426 h 10000"/>
                    <a:gd name="connsiteX175" fmla="*/ 1500 w 10000"/>
                    <a:gd name="connsiteY175" fmla="*/ 9470 h 10000"/>
                    <a:gd name="connsiteX176" fmla="*/ 1500 w 10000"/>
                    <a:gd name="connsiteY176" fmla="*/ 9514 h 10000"/>
                    <a:gd name="connsiteX177" fmla="*/ 1556 w 10000"/>
                    <a:gd name="connsiteY177" fmla="*/ 9529 h 10000"/>
                    <a:gd name="connsiteX178" fmla="*/ 1722 w 10000"/>
                    <a:gd name="connsiteY178" fmla="*/ 9543 h 10000"/>
                    <a:gd name="connsiteX179" fmla="*/ 1944 w 10000"/>
                    <a:gd name="connsiteY179" fmla="*/ 9558 h 10000"/>
                    <a:gd name="connsiteX180" fmla="*/ 2944 w 10000"/>
                    <a:gd name="connsiteY180" fmla="*/ 9573 h 10000"/>
                    <a:gd name="connsiteX181" fmla="*/ 2944 w 10000"/>
                    <a:gd name="connsiteY181" fmla="*/ 9573 h 10000"/>
                    <a:gd name="connsiteX182" fmla="*/ 4167 w 10000"/>
                    <a:gd name="connsiteY182" fmla="*/ 9602 h 10000"/>
                    <a:gd name="connsiteX183" fmla="*/ 4889 w 10000"/>
                    <a:gd name="connsiteY183" fmla="*/ 9647 h 10000"/>
                    <a:gd name="connsiteX184" fmla="*/ 5278 w 10000"/>
                    <a:gd name="connsiteY184" fmla="*/ 9691 h 10000"/>
                    <a:gd name="connsiteX185" fmla="*/ 5444 w 10000"/>
                    <a:gd name="connsiteY185" fmla="*/ 9705 h 10000"/>
                    <a:gd name="connsiteX186" fmla="*/ 5444 w 10000"/>
                    <a:gd name="connsiteY186" fmla="*/ 9705 h 10000"/>
                    <a:gd name="connsiteX187" fmla="*/ 5722 w 10000"/>
                    <a:gd name="connsiteY187" fmla="*/ 9735 h 10000"/>
                    <a:gd name="connsiteX188" fmla="*/ 5833 w 10000"/>
                    <a:gd name="connsiteY188" fmla="*/ 9750 h 10000"/>
                    <a:gd name="connsiteX189" fmla="*/ 5833 w 10000"/>
                    <a:gd name="connsiteY189" fmla="*/ 9750 h 10000"/>
                    <a:gd name="connsiteX190" fmla="*/ 5833 w 10000"/>
                    <a:gd name="connsiteY190" fmla="*/ 9735 h 10000"/>
                    <a:gd name="connsiteX191" fmla="*/ 5889 w 10000"/>
                    <a:gd name="connsiteY191" fmla="*/ 9720 h 10000"/>
                    <a:gd name="connsiteX192" fmla="*/ 6000 w 10000"/>
                    <a:gd name="connsiteY192" fmla="*/ 9705 h 10000"/>
                    <a:gd name="connsiteX193" fmla="*/ 6167 w 10000"/>
                    <a:gd name="connsiteY193" fmla="*/ 9691 h 10000"/>
                    <a:gd name="connsiteX194" fmla="*/ 6444 w 10000"/>
                    <a:gd name="connsiteY194" fmla="*/ 9691 h 10000"/>
                    <a:gd name="connsiteX195" fmla="*/ 6833 w 10000"/>
                    <a:gd name="connsiteY195" fmla="*/ 9705 h 10000"/>
                    <a:gd name="connsiteX196" fmla="*/ 7278 w 10000"/>
                    <a:gd name="connsiteY196" fmla="*/ 9750 h 10000"/>
                    <a:gd name="connsiteX197" fmla="*/ 7278 w 10000"/>
                    <a:gd name="connsiteY197" fmla="*/ 9750 h 10000"/>
                    <a:gd name="connsiteX198" fmla="*/ 8722 w 10000"/>
                    <a:gd name="connsiteY198" fmla="*/ 9882 h 10000"/>
                    <a:gd name="connsiteX199" fmla="*/ 10000 w 10000"/>
                    <a:gd name="connsiteY19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1611 w 10000"/>
                    <a:gd name="connsiteY71" fmla="*/ 2622 h 10000"/>
                    <a:gd name="connsiteX72" fmla="*/ 2222 w 10000"/>
                    <a:gd name="connsiteY72" fmla="*/ 2563 h 10000"/>
                    <a:gd name="connsiteX73" fmla="*/ 3500 w 10000"/>
                    <a:gd name="connsiteY73" fmla="*/ 2165 h 10000"/>
                    <a:gd name="connsiteX74" fmla="*/ 4444 w 10000"/>
                    <a:gd name="connsiteY74" fmla="*/ 1738 h 10000"/>
                    <a:gd name="connsiteX75" fmla="*/ 4444 w 10000"/>
                    <a:gd name="connsiteY75" fmla="*/ 1738 h 10000"/>
                    <a:gd name="connsiteX76" fmla="*/ 4444 w 10000"/>
                    <a:gd name="connsiteY76" fmla="*/ 1679 h 10000"/>
                    <a:gd name="connsiteX77" fmla="*/ 4444 w 10000"/>
                    <a:gd name="connsiteY77" fmla="*/ 1546 h 10000"/>
                    <a:gd name="connsiteX78" fmla="*/ 4500 w 10000"/>
                    <a:gd name="connsiteY78" fmla="*/ 1458 h 10000"/>
                    <a:gd name="connsiteX79" fmla="*/ 4611 w 10000"/>
                    <a:gd name="connsiteY79" fmla="*/ 1384 h 10000"/>
                    <a:gd name="connsiteX80" fmla="*/ 4778 w 10000"/>
                    <a:gd name="connsiteY80" fmla="*/ 1296 h 10000"/>
                    <a:gd name="connsiteX81" fmla="*/ 5000 w 10000"/>
                    <a:gd name="connsiteY81" fmla="*/ 1222 h 10000"/>
                    <a:gd name="connsiteX82" fmla="*/ 5000 w 10000"/>
                    <a:gd name="connsiteY82" fmla="*/ 1222 h 10000"/>
                    <a:gd name="connsiteX83" fmla="*/ 5556 w 10000"/>
                    <a:gd name="connsiteY83" fmla="*/ 1075 h 10000"/>
                    <a:gd name="connsiteX84" fmla="*/ 6111 w 10000"/>
                    <a:gd name="connsiteY84" fmla="*/ 884 h 10000"/>
                    <a:gd name="connsiteX85" fmla="*/ 6667 w 10000"/>
                    <a:gd name="connsiteY85" fmla="*/ 707 h 10000"/>
                    <a:gd name="connsiteX86" fmla="*/ 7056 w 10000"/>
                    <a:gd name="connsiteY86" fmla="*/ 545 h 10000"/>
                    <a:gd name="connsiteX87" fmla="*/ 7056 w 10000"/>
                    <a:gd name="connsiteY87" fmla="*/ 545 h 10000"/>
                    <a:gd name="connsiteX88" fmla="*/ 7333 w 10000"/>
                    <a:gd name="connsiteY88" fmla="*/ 398 h 10000"/>
                    <a:gd name="connsiteX89" fmla="*/ 7667 w 10000"/>
                    <a:gd name="connsiteY89" fmla="*/ 221 h 10000"/>
                    <a:gd name="connsiteX90" fmla="*/ 8000 w 10000"/>
                    <a:gd name="connsiteY90" fmla="*/ 88 h 10000"/>
                    <a:gd name="connsiteX91" fmla="*/ 8167 w 10000"/>
                    <a:gd name="connsiteY91" fmla="*/ 29 h 10000"/>
                    <a:gd name="connsiteX92" fmla="*/ 8333 w 10000"/>
                    <a:gd name="connsiteY92" fmla="*/ 15 h 10000"/>
                    <a:gd name="connsiteX93" fmla="*/ 8333 w 10000"/>
                    <a:gd name="connsiteY93" fmla="*/ 15 h 10000"/>
                    <a:gd name="connsiteX94" fmla="*/ 8667 w 10000"/>
                    <a:gd name="connsiteY94" fmla="*/ 0 h 10000"/>
                    <a:gd name="connsiteX95" fmla="*/ 9111 w 10000"/>
                    <a:gd name="connsiteY95" fmla="*/ 0 h 10000"/>
                    <a:gd name="connsiteX96" fmla="*/ 10000 w 10000"/>
                    <a:gd name="connsiteY96" fmla="*/ 15 h 10000"/>
                    <a:gd name="connsiteX97" fmla="*/ 10000 w 10000"/>
                    <a:gd name="connsiteY97" fmla="*/ 9013 h 10000"/>
                    <a:gd name="connsiteX98" fmla="*/ 10000 w 10000"/>
                    <a:gd name="connsiteY98" fmla="*/ 9013 h 10000"/>
                    <a:gd name="connsiteX99" fmla="*/ 9722 w 10000"/>
                    <a:gd name="connsiteY99" fmla="*/ 8999 h 10000"/>
                    <a:gd name="connsiteX100" fmla="*/ 9389 w 10000"/>
                    <a:gd name="connsiteY100" fmla="*/ 9013 h 10000"/>
                    <a:gd name="connsiteX101" fmla="*/ 9389 w 10000"/>
                    <a:gd name="connsiteY101" fmla="*/ 9013 h 10000"/>
                    <a:gd name="connsiteX102" fmla="*/ 9278 w 10000"/>
                    <a:gd name="connsiteY102" fmla="*/ 9028 h 10000"/>
                    <a:gd name="connsiteX103" fmla="*/ 9056 w 10000"/>
                    <a:gd name="connsiteY103" fmla="*/ 9013 h 10000"/>
                    <a:gd name="connsiteX104" fmla="*/ 8889 w 10000"/>
                    <a:gd name="connsiteY104" fmla="*/ 8999 h 10000"/>
                    <a:gd name="connsiteX105" fmla="*/ 8722 w 10000"/>
                    <a:gd name="connsiteY105" fmla="*/ 8969 h 10000"/>
                    <a:gd name="connsiteX106" fmla="*/ 8611 w 10000"/>
                    <a:gd name="connsiteY106" fmla="*/ 8925 h 10000"/>
                    <a:gd name="connsiteX107" fmla="*/ 8444 w 10000"/>
                    <a:gd name="connsiteY107" fmla="*/ 8851 h 10000"/>
                    <a:gd name="connsiteX108" fmla="*/ 8444 w 10000"/>
                    <a:gd name="connsiteY108" fmla="*/ 8851 h 10000"/>
                    <a:gd name="connsiteX109" fmla="*/ 8222 w 10000"/>
                    <a:gd name="connsiteY109" fmla="*/ 8719 h 10000"/>
                    <a:gd name="connsiteX110" fmla="*/ 8111 w 10000"/>
                    <a:gd name="connsiteY110" fmla="*/ 8660 h 10000"/>
                    <a:gd name="connsiteX111" fmla="*/ 7944 w 10000"/>
                    <a:gd name="connsiteY111" fmla="*/ 8616 h 10000"/>
                    <a:gd name="connsiteX112" fmla="*/ 7778 w 10000"/>
                    <a:gd name="connsiteY112" fmla="*/ 8586 h 10000"/>
                    <a:gd name="connsiteX113" fmla="*/ 7556 w 10000"/>
                    <a:gd name="connsiteY113" fmla="*/ 8571 h 10000"/>
                    <a:gd name="connsiteX114" fmla="*/ 7333 w 10000"/>
                    <a:gd name="connsiteY114" fmla="*/ 8557 h 10000"/>
                    <a:gd name="connsiteX115" fmla="*/ 7000 w 10000"/>
                    <a:gd name="connsiteY115" fmla="*/ 8542 h 10000"/>
                    <a:gd name="connsiteX116" fmla="*/ 7000 w 10000"/>
                    <a:gd name="connsiteY116" fmla="*/ 8542 h 10000"/>
                    <a:gd name="connsiteX117" fmla="*/ 6556 w 10000"/>
                    <a:gd name="connsiteY117" fmla="*/ 8557 h 10000"/>
                    <a:gd name="connsiteX118" fmla="*/ 6222 w 10000"/>
                    <a:gd name="connsiteY118" fmla="*/ 8557 h 10000"/>
                    <a:gd name="connsiteX119" fmla="*/ 6111 w 10000"/>
                    <a:gd name="connsiteY119" fmla="*/ 8542 h 10000"/>
                    <a:gd name="connsiteX120" fmla="*/ 6056 w 10000"/>
                    <a:gd name="connsiteY120" fmla="*/ 8527 h 10000"/>
                    <a:gd name="connsiteX121" fmla="*/ 6056 w 10000"/>
                    <a:gd name="connsiteY121" fmla="*/ 8527 h 10000"/>
                    <a:gd name="connsiteX122" fmla="*/ 6056 w 10000"/>
                    <a:gd name="connsiteY122" fmla="*/ 8262 h 10000"/>
                    <a:gd name="connsiteX123" fmla="*/ 6056 w 10000"/>
                    <a:gd name="connsiteY123" fmla="*/ 8262 h 10000"/>
                    <a:gd name="connsiteX124" fmla="*/ 6056 w 10000"/>
                    <a:gd name="connsiteY124" fmla="*/ 8203 h 10000"/>
                    <a:gd name="connsiteX125" fmla="*/ 5944 w 10000"/>
                    <a:gd name="connsiteY125" fmla="*/ 8130 h 10000"/>
                    <a:gd name="connsiteX126" fmla="*/ 5889 w 10000"/>
                    <a:gd name="connsiteY126" fmla="*/ 8115 h 10000"/>
                    <a:gd name="connsiteX127" fmla="*/ 5778 w 10000"/>
                    <a:gd name="connsiteY127" fmla="*/ 8100 h 10000"/>
                    <a:gd name="connsiteX128" fmla="*/ 5667 w 10000"/>
                    <a:gd name="connsiteY128" fmla="*/ 8100 h 10000"/>
                    <a:gd name="connsiteX129" fmla="*/ 5500 w 10000"/>
                    <a:gd name="connsiteY129" fmla="*/ 8115 h 10000"/>
                    <a:gd name="connsiteX130" fmla="*/ 5500 w 10000"/>
                    <a:gd name="connsiteY130" fmla="*/ 8115 h 10000"/>
                    <a:gd name="connsiteX131" fmla="*/ 4889 w 10000"/>
                    <a:gd name="connsiteY131" fmla="*/ 8218 h 10000"/>
                    <a:gd name="connsiteX132" fmla="*/ 4611 w 10000"/>
                    <a:gd name="connsiteY132" fmla="*/ 8247 h 10000"/>
                    <a:gd name="connsiteX133" fmla="*/ 4556 w 10000"/>
                    <a:gd name="connsiteY133" fmla="*/ 8262 h 10000"/>
                    <a:gd name="connsiteX134" fmla="*/ 4500 w 10000"/>
                    <a:gd name="connsiteY134" fmla="*/ 8247 h 10000"/>
                    <a:gd name="connsiteX135" fmla="*/ 4500 w 10000"/>
                    <a:gd name="connsiteY135" fmla="*/ 8247 h 10000"/>
                    <a:gd name="connsiteX136" fmla="*/ 4222 w 10000"/>
                    <a:gd name="connsiteY136" fmla="*/ 8100 h 10000"/>
                    <a:gd name="connsiteX137" fmla="*/ 4222 w 10000"/>
                    <a:gd name="connsiteY137" fmla="*/ 8100 h 10000"/>
                    <a:gd name="connsiteX138" fmla="*/ 4111 w 10000"/>
                    <a:gd name="connsiteY138" fmla="*/ 8027 h 10000"/>
                    <a:gd name="connsiteX139" fmla="*/ 4111 w 10000"/>
                    <a:gd name="connsiteY139" fmla="*/ 7982 h 10000"/>
                    <a:gd name="connsiteX140" fmla="*/ 4111 w 10000"/>
                    <a:gd name="connsiteY140" fmla="*/ 7938 h 10000"/>
                    <a:gd name="connsiteX141" fmla="*/ 4111 w 10000"/>
                    <a:gd name="connsiteY141" fmla="*/ 7938 h 10000"/>
                    <a:gd name="connsiteX142" fmla="*/ 4278 w 10000"/>
                    <a:gd name="connsiteY142" fmla="*/ 7894 h 10000"/>
                    <a:gd name="connsiteX143" fmla="*/ 4389 w 10000"/>
                    <a:gd name="connsiteY143" fmla="*/ 7879 h 10000"/>
                    <a:gd name="connsiteX144" fmla="*/ 4389 w 10000"/>
                    <a:gd name="connsiteY144" fmla="*/ 7879 h 10000"/>
                    <a:gd name="connsiteX145" fmla="*/ 4000 w 10000"/>
                    <a:gd name="connsiteY145" fmla="*/ 7879 h 10000"/>
                    <a:gd name="connsiteX146" fmla="*/ 3722 w 10000"/>
                    <a:gd name="connsiteY146" fmla="*/ 7894 h 10000"/>
                    <a:gd name="connsiteX147" fmla="*/ 3611 w 10000"/>
                    <a:gd name="connsiteY147" fmla="*/ 7909 h 10000"/>
                    <a:gd name="connsiteX148" fmla="*/ 3556 w 10000"/>
                    <a:gd name="connsiteY148" fmla="*/ 7923 h 10000"/>
                    <a:gd name="connsiteX149" fmla="*/ 3556 w 10000"/>
                    <a:gd name="connsiteY149" fmla="*/ 7923 h 10000"/>
                    <a:gd name="connsiteX150" fmla="*/ 3444 w 10000"/>
                    <a:gd name="connsiteY150" fmla="*/ 7982 h 10000"/>
                    <a:gd name="connsiteX151" fmla="*/ 3278 w 10000"/>
                    <a:gd name="connsiteY151" fmla="*/ 8071 h 10000"/>
                    <a:gd name="connsiteX152" fmla="*/ 3000 w 10000"/>
                    <a:gd name="connsiteY152" fmla="*/ 8174 h 10000"/>
                    <a:gd name="connsiteX153" fmla="*/ 2667 w 10000"/>
                    <a:gd name="connsiteY153" fmla="*/ 8247 h 10000"/>
                    <a:gd name="connsiteX154" fmla="*/ 2667 w 10000"/>
                    <a:gd name="connsiteY154" fmla="*/ 8247 h 10000"/>
                    <a:gd name="connsiteX155" fmla="*/ 2333 w 10000"/>
                    <a:gd name="connsiteY155" fmla="*/ 8306 h 10000"/>
                    <a:gd name="connsiteX156" fmla="*/ 1833 w 10000"/>
                    <a:gd name="connsiteY156" fmla="*/ 8365 h 10000"/>
                    <a:gd name="connsiteX157" fmla="*/ 1389 w 10000"/>
                    <a:gd name="connsiteY157" fmla="*/ 8395 h 10000"/>
                    <a:gd name="connsiteX158" fmla="*/ 889 w 10000"/>
                    <a:gd name="connsiteY158" fmla="*/ 8409 h 10000"/>
                    <a:gd name="connsiteX159" fmla="*/ 889 w 10000"/>
                    <a:gd name="connsiteY159" fmla="*/ 8409 h 10000"/>
                    <a:gd name="connsiteX160" fmla="*/ 500 w 10000"/>
                    <a:gd name="connsiteY160" fmla="*/ 8424 h 10000"/>
                    <a:gd name="connsiteX161" fmla="*/ 222 w 10000"/>
                    <a:gd name="connsiteY161" fmla="*/ 8439 h 10000"/>
                    <a:gd name="connsiteX162" fmla="*/ 0 w 10000"/>
                    <a:gd name="connsiteY162" fmla="*/ 8454 h 10000"/>
                    <a:gd name="connsiteX163" fmla="*/ 0 w 10000"/>
                    <a:gd name="connsiteY163" fmla="*/ 8454 h 10000"/>
                    <a:gd name="connsiteX164" fmla="*/ 278 w 10000"/>
                    <a:gd name="connsiteY164" fmla="*/ 8689 h 10000"/>
                    <a:gd name="connsiteX165" fmla="*/ 500 w 10000"/>
                    <a:gd name="connsiteY165" fmla="*/ 8866 h 10000"/>
                    <a:gd name="connsiteX166" fmla="*/ 722 w 10000"/>
                    <a:gd name="connsiteY166" fmla="*/ 9013 h 10000"/>
                    <a:gd name="connsiteX167" fmla="*/ 722 w 10000"/>
                    <a:gd name="connsiteY167" fmla="*/ 9013 h 10000"/>
                    <a:gd name="connsiteX168" fmla="*/ 889 w 10000"/>
                    <a:gd name="connsiteY168" fmla="*/ 9102 h 10000"/>
                    <a:gd name="connsiteX169" fmla="*/ 944 w 10000"/>
                    <a:gd name="connsiteY169" fmla="*/ 9175 h 10000"/>
                    <a:gd name="connsiteX170" fmla="*/ 1111 w 10000"/>
                    <a:gd name="connsiteY170" fmla="*/ 9249 h 10000"/>
                    <a:gd name="connsiteX171" fmla="*/ 1333 w 10000"/>
                    <a:gd name="connsiteY171" fmla="*/ 9367 h 10000"/>
                    <a:gd name="connsiteX172" fmla="*/ 1333 w 10000"/>
                    <a:gd name="connsiteY172" fmla="*/ 9367 h 10000"/>
                    <a:gd name="connsiteX173" fmla="*/ 1444 w 10000"/>
                    <a:gd name="connsiteY173" fmla="*/ 9426 h 10000"/>
                    <a:gd name="connsiteX174" fmla="*/ 1500 w 10000"/>
                    <a:gd name="connsiteY174" fmla="*/ 9470 h 10000"/>
                    <a:gd name="connsiteX175" fmla="*/ 1500 w 10000"/>
                    <a:gd name="connsiteY175" fmla="*/ 9514 h 10000"/>
                    <a:gd name="connsiteX176" fmla="*/ 1556 w 10000"/>
                    <a:gd name="connsiteY176" fmla="*/ 9529 h 10000"/>
                    <a:gd name="connsiteX177" fmla="*/ 1722 w 10000"/>
                    <a:gd name="connsiteY177" fmla="*/ 9543 h 10000"/>
                    <a:gd name="connsiteX178" fmla="*/ 1944 w 10000"/>
                    <a:gd name="connsiteY178" fmla="*/ 9558 h 10000"/>
                    <a:gd name="connsiteX179" fmla="*/ 2944 w 10000"/>
                    <a:gd name="connsiteY179" fmla="*/ 9573 h 10000"/>
                    <a:gd name="connsiteX180" fmla="*/ 2944 w 10000"/>
                    <a:gd name="connsiteY180" fmla="*/ 9573 h 10000"/>
                    <a:gd name="connsiteX181" fmla="*/ 4167 w 10000"/>
                    <a:gd name="connsiteY181" fmla="*/ 9602 h 10000"/>
                    <a:gd name="connsiteX182" fmla="*/ 4889 w 10000"/>
                    <a:gd name="connsiteY182" fmla="*/ 9647 h 10000"/>
                    <a:gd name="connsiteX183" fmla="*/ 5278 w 10000"/>
                    <a:gd name="connsiteY183" fmla="*/ 9691 h 10000"/>
                    <a:gd name="connsiteX184" fmla="*/ 5444 w 10000"/>
                    <a:gd name="connsiteY184" fmla="*/ 9705 h 10000"/>
                    <a:gd name="connsiteX185" fmla="*/ 5444 w 10000"/>
                    <a:gd name="connsiteY185" fmla="*/ 9705 h 10000"/>
                    <a:gd name="connsiteX186" fmla="*/ 5722 w 10000"/>
                    <a:gd name="connsiteY186" fmla="*/ 9735 h 10000"/>
                    <a:gd name="connsiteX187" fmla="*/ 5833 w 10000"/>
                    <a:gd name="connsiteY187" fmla="*/ 9750 h 10000"/>
                    <a:gd name="connsiteX188" fmla="*/ 5833 w 10000"/>
                    <a:gd name="connsiteY188" fmla="*/ 9750 h 10000"/>
                    <a:gd name="connsiteX189" fmla="*/ 5833 w 10000"/>
                    <a:gd name="connsiteY189" fmla="*/ 9735 h 10000"/>
                    <a:gd name="connsiteX190" fmla="*/ 5889 w 10000"/>
                    <a:gd name="connsiteY190" fmla="*/ 9720 h 10000"/>
                    <a:gd name="connsiteX191" fmla="*/ 6000 w 10000"/>
                    <a:gd name="connsiteY191" fmla="*/ 9705 h 10000"/>
                    <a:gd name="connsiteX192" fmla="*/ 6167 w 10000"/>
                    <a:gd name="connsiteY192" fmla="*/ 9691 h 10000"/>
                    <a:gd name="connsiteX193" fmla="*/ 6444 w 10000"/>
                    <a:gd name="connsiteY193" fmla="*/ 9691 h 10000"/>
                    <a:gd name="connsiteX194" fmla="*/ 6833 w 10000"/>
                    <a:gd name="connsiteY194" fmla="*/ 9705 h 10000"/>
                    <a:gd name="connsiteX195" fmla="*/ 7278 w 10000"/>
                    <a:gd name="connsiteY195" fmla="*/ 9750 h 10000"/>
                    <a:gd name="connsiteX196" fmla="*/ 7278 w 10000"/>
                    <a:gd name="connsiteY196" fmla="*/ 9750 h 10000"/>
                    <a:gd name="connsiteX197" fmla="*/ 8722 w 10000"/>
                    <a:gd name="connsiteY197" fmla="*/ 9882 h 10000"/>
                    <a:gd name="connsiteX198" fmla="*/ 10000 w 10000"/>
                    <a:gd name="connsiteY19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2222 w 10000"/>
                    <a:gd name="connsiteY71" fmla="*/ 2563 h 10000"/>
                    <a:gd name="connsiteX72" fmla="*/ 3500 w 10000"/>
                    <a:gd name="connsiteY72" fmla="*/ 2165 h 10000"/>
                    <a:gd name="connsiteX73" fmla="*/ 4444 w 10000"/>
                    <a:gd name="connsiteY73" fmla="*/ 1738 h 10000"/>
                    <a:gd name="connsiteX74" fmla="*/ 4444 w 10000"/>
                    <a:gd name="connsiteY74" fmla="*/ 1738 h 10000"/>
                    <a:gd name="connsiteX75" fmla="*/ 4444 w 10000"/>
                    <a:gd name="connsiteY75" fmla="*/ 1679 h 10000"/>
                    <a:gd name="connsiteX76" fmla="*/ 4444 w 10000"/>
                    <a:gd name="connsiteY76" fmla="*/ 1546 h 10000"/>
                    <a:gd name="connsiteX77" fmla="*/ 4500 w 10000"/>
                    <a:gd name="connsiteY77" fmla="*/ 1458 h 10000"/>
                    <a:gd name="connsiteX78" fmla="*/ 4611 w 10000"/>
                    <a:gd name="connsiteY78" fmla="*/ 1384 h 10000"/>
                    <a:gd name="connsiteX79" fmla="*/ 4778 w 10000"/>
                    <a:gd name="connsiteY79" fmla="*/ 1296 h 10000"/>
                    <a:gd name="connsiteX80" fmla="*/ 5000 w 10000"/>
                    <a:gd name="connsiteY80" fmla="*/ 1222 h 10000"/>
                    <a:gd name="connsiteX81" fmla="*/ 5000 w 10000"/>
                    <a:gd name="connsiteY81" fmla="*/ 1222 h 10000"/>
                    <a:gd name="connsiteX82" fmla="*/ 5556 w 10000"/>
                    <a:gd name="connsiteY82" fmla="*/ 1075 h 10000"/>
                    <a:gd name="connsiteX83" fmla="*/ 6111 w 10000"/>
                    <a:gd name="connsiteY83" fmla="*/ 884 h 10000"/>
                    <a:gd name="connsiteX84" fmla="*/ 6667 w 10000"/>
                    <a:gd name="connsiteY84" fmla="*/ 707 h 10000"/>
                    <a:gd name="connsiteX85" fmla="*/ 7056 w 10000"/>
                    <a:gd name="connsiteY85" fmla="*/ 545 h 10000"/>
                    <a:gd name="connsiteX86" fmla="*/ 7056 w 10000"/>
                    <a:gd name="connsiteY86" fmla="*/ 545 h 10000"/>
                    <a:gd name="connsiteX87" fmla="*/ 7333 w 10000"/>
                    <a:gd name="connsiteY87" fmla="*/ 398 h 10000"/>
                    <a:gd name="connsiteX88" fmla="*/ 7667 w 10000"/>
                    <a:gd name="connsiteY88" fmla="*/ 221 h 10000"/>
                    <a:gd name="connsiteX89" fmla="*/ 8000 w 10000"/>
                    <a:gd name="connsiteY89" fmla="*/ 88 h 10000"/>
                    <a:gd name="connsiteX90" fmla="*/ 8167 w 10000"/>
                    <a:gd name="connsiteY90" fmla="*/ 29 h 10000"/>
                    <a:gd name="connsiteX91" fmla="*/ 8333 w 10000"/>
                    <a:gd name="connsiteY91" fmla="*/ 15 h 10000"/>
                    <a:gd name="connsiteX92" fmla="*/ 8333 w 10000"/>
                    <a:gd name="connsiteY92" fmla="*/ 15 h 10000"/>
                    <a:gd name="connsiteX93" fmla="*/ 8667 w 10000"/>
                    <a:gd name="connsiteY93" fmla="*/ 0 h 10000"/>
                    <a:gd name="connsiteX94" fmla="*/ 9111 w 10000"/>
                    <a:gd name="connsiteY94" fmla="*/ 0 h 10000"/>
                    <a:gd name="connsiteX95" fmla="*/ 10000 w 10000"/>
                    <a:gd name="connsiteY95" fmla="*/ 15 h 10000"/>
                    <a:gd name="connsiteX96" fmla="*/ 10000 w 10000"/>
                    <a:gd name="connsiteY96" fmla="*/ 9013 h 10000"/>
                    <a:gd name="connsiteX97" fmla="*/ 10000 w 10000"/>
                    <a:gd name="connsiteY97" fmla="*/ 9013 h 10000"/>
                    <a:gd name="connsiteX98" fmla="*/ 9722 w 10000"/>
                    <a:gd name="connsiteY98" fmla="*/ 8999 h 10000"/>
                    <a:gd name="connsiteX99" fmla="*/ 9389 w 10000"/>
                    <a:gd name="connsiteY99" fmla="*/ 9013 h 10000"/>
                    <a:gd name="connsiteX100" fmla="*/ 9389 w 10000"/>
                    <a:gd name="connsiteY100" fmla="*/ 9013 h 10000"/>
                    <a:gd name="connsiteX101" fmla="*/ 9278 w 10000"/>
                    <a:gd name="connsiteY101" fmla="*/ 9028 h 10000"/>
                    <a:gd name="connsiteX102" fmla="*/ 9056 w 10000"/>
                    <a:gd name="connsiteY102" fmla="*/ 9013 h 10000"/>
                    <a:gd name="connsiteX103" fmla="*/ 8889 w 10000"/>
                    <a:gd name="connsiteY103" fmla="*/ 8999 h 10000"/>
                    <a:gd name="connsiteX104" fmla="*/ 8722 w 10000"/>
                    <a:gd name="connsiteY104" fmla="*/ 8969 h 10000"/>
                    <a:gd name="connsiteX105" fmla="*/ 8611 w 10000"/>
                    <a:gd name="connsiteY105" fmla="*/ 8925 h 10000"/>
                    <a:gd name="connsiteX106" fmla="*/ 8444 w 10000"/>
                    <a:gd name="connsiteY106" fmla="*/ 8851 h 10000"/>
                    <a:gd name="connsiteX107" fmla="*/ 8444 w 10000"/>
                    <a:gd name="connsiteY107" fmla="*/ 8851 h 10000"/>
                    <a:gd name="connsiteX108" fmla="*/ 8222 w 10000"/>
                    <a:gd name="connsiteY108" fmla="*/ 8719 h 10000"/>
                    <a:gd name="connsiteX109" fmla="*/ 8111 w 10000"/>
                    <a:gd name="connsiteY109" fmla="*/ 8660 h 10000"/>
                    <a:gd name="connsiteX110" fmla="*/ 7944 w 10000"/>
                    <a:gd name="connsiteY110" fmla="*/ 8616 h 10000"/>
                    <a:gd name="connsiteX111" fmla="*/ 7778 w 10000"/>
                    <a:gd name="connsiteY111" fmla="*/ 8586 h 10000"/>
                    <a:gd name="connsiteX112" fmla="*/ 7556 w 10000"/>
                    <a:gd name="connsiteY112" fmla="*/ 8571 h 10000"/>
                    <a:gd name="connsiteX113" fmla="*/ 7333 w 10000"/>
                    <a:gd name="connsiteY113" fmla="*/ 8557 h 10000"/>
                    <a:gd name="connsiteX114" fmla="*/ 7000 w 10000"/>
                    <a:gd name="connsiteY114" fmla="*/ 8542 h 10000"/>
                    <a:gd name="connsiteX115" fmla="*/ 7000 w 10000"/>
                    <a:gd name="connsiteY115" fmla="*/ 8542 h 10000"/>
                    <a:gd name="connsiteX116" fmla="*/ 6556 w 10000"/>
                    <a:gd name="connsiteY116" fmla="*/ 8557 h 10000"/>
                    <a:gd name="connsiteX117" fmla="*/ 6222 w 10000"/>
                    <a:gd name="connsiteY117" fmla="*/ 8557 h 10000"/>
                    <a:gd name="connsiteX118" fmla="*/ 6111 w 10000"/>
                    <a:gd name="connsiteY118" fmla="*/ 8542 h 10000"/>
                    <a:gd name="connsiteX119" fmla="*/ 6056 w 10000"/>
                    <a:gd name="connsiteY119" fmla="*/ 8527 h 10000"/>
                    <a:gd name="connsiteX120" fmla="*/ 6056 w 10000"/>
                    <a:gd name="connsiteY120" fmla="*/ 8527 h 10000"/>
                    <a:gd name="connsiteX121" fmla="*/ 6056 w 10000"/>
                    <a:gd name="connsiteY121" fmla="*/ 8262 h 10000"/>
                    <a:gd name="connsiteX122" fmla="*/ 6056 w 10000"/>
                    <a:gd name="connsiteY122" fmla="*/ 8262 h 10000"/>
                    <a:gd name="connsiteX123" fmla="*/ 6056 w 10000"/>
                    <a:gd name="connsiteY123" fmla="*/ 8203 h 10000"/>
                    <a:gd name="connsiteX124" fmla="*/ 5944 w 10000"/>
                    <a:gd name="connsiteY124" fmla="*/ 8130 h 10000"/>
                    <a:gd name="connsiteX125" fmla="*/ 5889 w 10000"/>
                    <a:gd name="connsiteY125" fmla="*/ 8115 h 10000"/>
                    <a:gd name="connsiteX126" fmla="*/ 5778 w 10000"/>
                    <a:gd name="connsiteY126" fmla="*/ 8100 h 10000"/>
                    <a:gd name="connsiteX127" fmla="*/ 5667 w 10000"/>
                    <a:gd name="connsiteY127" fmla="*/ 8100 h 10000"/>
                    <a:gd name="connsiteX128" fmla="*/ 5500 w 10000"/>
                    <a:gd name="connsiteY128" fmla="*/ 8115 h 10000"/>
                    <a:gd name="connsiteX129" fmla="*/ 5500 w 10000"/>
                    <a:gd name="connsiteY129" fmla="*/ 8115 h 10000"/>
                    <a:gd name="connsiteX130" fmla="*/ 4889 w 10000"/>
                    <a:gd name="connsiteY130" fmla="*/ 8218 h 10000"/>
                    <a:gd name="connsiteX131" fmla="*/ 4611 w 10000"/>
                    <a:gd name="connsiteY131" fmla="*/ 8247 h 10000"/>
                    <a:gd name="connsiteX132" fmla="*/ 4556 w 10000"/>
                    <a:gd name="connsiteY132" fmla="*/ 8262 h 10000"/>
                    <a:gd name="connsiteX133" fmla="*/ 4500 w 10000"/>
                    <a:gd name="connsiteY133" fmla="*/ 8247 h 10000"/>
                    <a:gd name="connsiteX134" fmla="*/ 4500 w 10000"/>
                    <a:gd name="connsiteY134" fmla="*/ 8247 h 10000"/>
                    <a:gd name="connsiteX135" fmla="*/ 4222 w 10000"/>
                    <a:gd name="connsiteY135" fmla="*/ 8100 h 10000"/>
                    <a:gd name="connsiteX136" fmla="*/ 4222 w 10000"/>
                    <a:gd name="connsiteY136" fmla="*/ 8100 h 10000"/>
                    <a:gd name="connsiteX137" fmla="*/ 4111 w 10000"/>
                    <a:gd name="connsiteY137" fmla="*/ 8027 h 10000"/>
                    <a:gd name="connsiteX138" fmla="*/ 4111 w 10000"/>
                    <a:gd name="connsiteY138" fmla="*/ 7982 h 10000"/>
                    <a:gd name="connsiteX139" fmla="*/ 4111 w 10000"/>
                    <a:gd name="connsiteY139" fmla="*/ 7938 h 10000"/>
                    <a:gd name="connsiteX140" fmla="*/ 4111 w 10000"/>
                    <a:gd name="connsiteY140" fmla="*/ 7938 h 10000"/>
                    <a:gd name="connsiteX141" fmla="*/ 4278 w 10000"/>
                    <a:gd name="connsiteY141" fmla="*/ 7894 h 10000"/>
                    <a:gd name="connsiteX142" fmla="*/ 4389 w 10000"/>
                    <a:gd name="connsiteY142" fmla="*/ 7879 h 10000"/>
                    <a:gd name="connsiteX143" fmla="*/ 4389 w 10000"/>
                    <a:gd name="connsiteY143" fmla="*/ 7879 h 10000"/>
                    <a:gd name="connsiteX144" fmla="*/ 4000 w 10000"/>
                    <a:gd name="connsiteY144" fmla="*/ 7879 h 10000"/>
                    <a:gd name="connsiteX145" fmla="*/ 3722 w 10000"/>
                    <a:gd name="connsiteY145" fmla="*/ 7894 h 10000"/>
                    <a:gd name="connsiteX146" fmla="*/ 3611 w 10000"/>
                    <a:gd name="connsiteY146" fmla="*/ 7909 h 10000"/>
                    <a:gd name="connsiteX147" fmla="*/ 3556 w 10000"/>
                    <a:gd name="connsiteY147" fmla="*/ 7923 h 10000"/>
                    <a:gd name="connsiteX148" fmla="*/ 3556 w 10000"/>
                    <a:gd name="connsiteY148" fmla="*/ 7923 h 10000"/>
                    <a:gd name="connsiteX149" fmla="*/ 3444 w 10000"/>
                    <a:gd name="connsiteY149" fmla="*/ 7982 h 10000"/>
                    <a:gd name="connsiteX150" fmla="*/ 3278 w 10000"/>
                    <a:gd name="connsiteY150" fmla="*/ 8071 h 10000"/>
                    <a:gd name="connsiteX151" fmla="*/ 3000 w 10000"/>
                    <a:gd name="connsiteY151" fmla="*/ 8174 h 10000"/>
                    <a:gd name="connsiteX152" fmla="*/ 2667 w 10000"/>
                    <a:gd name="connsiteY152" fmla="*/ 8247 h 10000"/>
                    <a:gd name="connsiteX153" fmla="*/ 2667 w 10000"/>
                    <a:gd name="connsiteY153" fmla="*/ 8247 h 10000"/>
                    <a:gd name="connsiteX154" fmla="*/ 2333 w 10000"/>
                    <a:gd name="connsiteY154" fmla="*/ 8306 h 10000"/>
                    <a:gd name="connsiteX155" fmla="*/ 1833 w 10000"/>
                    <a:gd name="connsiteY155" fmla="*/ 8365 h 10000"/>
                    <a:gd name="connsiteX156" fmla="*/ 1389 w 10000"/>
                    <a:gd name="connsiteY156" fmla="*/ 8395 h 10000"/>
                    <a:gd name="connsiteX157" fmla="*/ 889 w 10000"/>
                    <a:gd name="connsiteY157" fmla="*/ 8409 h 10000"/>
                    <a:gd name="connsiteX158" fmla="*/ 889 w 10000"/>
                    <a:gd name="connsiteY158" fmla="*/ 8409 h 10000"/>
                    <a:gd name="connsiteX159" fmla="*/ 500 w 10000"/>
                    <a:gd name="connsiteY159" fmla="*/ 8424 h 10000"/>
                    <a:gd name="connsiteX160" fmla="*/ 222 w 10000"/>
                    <a:gd name="connsiteY160" fmla="*/ 8439 h 10000"/>
                    <a:gd name="connsiteX161" fmla="*/ 0 w 10000"/>
                    <a:gd name="connsiteY161" fmla="*/ 8454 h 10000"/>
                    <a:gd name="connsiteX162" fmla="*/ 0 w 10000"/>
                    <a:gd name="connsiteY162" fmla="*/ 8454 h 10000"/>
                    <a:gd name="connsiteX163" fmla="*/ 278 w 10000"/>
                    <a:gd name="connsiteY163" fmla="*/ 8689 h 10000"/>
                    <a:gd name="connsiteX164" fmla="*/ 500 w 10000"/>
                    <a:gd name="connsiteY164" fmla="*/ 8866 h 10000"/>
                    <a:gd name="connsiteX165" fmla="*/ 722 w 10000"/>
                    <a:gd name="connsiteY165" fmla="*/ 9013 h 10000"/>
                    <a:gd name="connsiteX166" fmla="*/ 722 w 10000"/>
                    <a:gd name="connsiteY166" fmla="*/ 9013 h 10000"/>
                    <a:gd name="connsiteX167" fmla="*/ 889 w 10000"/>
                    <a:gd name="connsiteY167" fmla="*/ 9102 h 10000"/>
                    <a:gd name="connsiteX168" fmla="*/ 944 w 10000"/>
                    <a:gd name="connsiteY168" fmla="*/ 9175 h 10000"/>
                    <a:gd name="connsiteX169" fmla="*/ 1111 w 10000"/>
                    <a:gd name="connsiteY169" fmla="*/ 9249 h 10000"/>
                    <a:gd name="connsiteX170" fmla="*/ 1333 w 10000"/>
                    <a:gd name="connsiteY170" fmla="*/ 9367 h 10000"/>
                    <a:gd name="connsiteX171" fmla="*/ 1333 w 10000"/>
                    <a:gd name="connsiteY171" fmla="*/ 9367 h 10000"/>
                    <a:gd name="connsiteX172" fmla="*/ 1444 w 10000"/>
                    <a:gd name="connsiteY172" fmla="*/ 9426 h 10000"/>
                    <a:gd name="connsiteX173" fmla="*/ 1500 w 10000"/>
                    <a:gd name="connsiteY173" fmla="*/ 9470 h 10000"/>
                    <a:gd name="connsiteX174" fmla="*/ 1500 w 10000"/>
                    <a:gd name="connsiteY174" fmla="*/ 9514 h 10000"/>
                    <a:gd name="connsiteX175" fmla="*/ 1556 w 10000"/>
                    <a:gd name="connsiteY175" fmla="*/ 9529 h 10000"/>
                    <a:gd name="connsiteX176" fmla="*/ 1722 w 10000"/>
                    <a:gd name="connsiteY176" fmla="*/ 9543 h 10000"/>
                    <a:gd name="connsiteX177" fmla="*/ 1944 w 10000"/>
                    <a:gd name="connsiteY177" fmla="*/ 9558 h 10000"/>
                    <a:gd name="connsiteX178" fmla="*/ 2944 w 10000"/>
                    <a:gd name="connsiteY178" fmla="*/ 9573 h 10000"/>
                    <a:gd name="connsiteX179" fmla="*/ 2944 w 10000"/>
                    <a:gd name="connsiteY179" fmla="*/ 9573 h 10000"/>
                    <a:gd name="connsiteX180" fmla="*/ 4167 w 10000"/>
                    <a:gd name="connsiteY180" fmla="*/ 9602 h 10000"/>
                    <a:gd name="connsiteX181" fmla="*/ 4889 w 10000"/>
                    <a:gd name="connsiteY181" fmla="*/ 9647 h 10000"/>
                    <a:gd name="connsiteX182" fmla="*/ 5278 w 10000"/>
                    <a:gd name="connsiteY182" fmla="*/ 9691 h 10000"/>
                    <a:gd name="connsiteX183" fmla="*/ 5444 w 10000"/>
                    <a:gd name="connsiteY183" fmla="*/ 9705 h 10000"/>
                    <a:gd name="connsiteX184" fmla="*/ 5444 w 10000"/>
                    <a:gd name="connsiteY184" fmla="*/ 9705 h 10000"/>
                    <a:gd name="connsiteX185" fmla="*/ 5722 w 10000"/>
                    <a:gd name="connsiteY185" fmla="*/ 9735 h 10000"/>
                    <a:gd name="connsiteX186" fmla="*/ 5833 w 10000"/>
                    <a:gd name="connsiteY186" fmla="*/ 9750 h 10000"/>
                    <a:gd name="connsiteX187" fmla="*/ 5833 w 10000"/>
                    <a:gd name="connsiteY187" fmla="*/ 9750 h 10000"/>
                    <a:gd name="connsiteX188" fmla="*/ 5833 w 10000"/>
                    <a:gd name="connsiteY188" fmla="*/ 9735 h 10000"/>
                    <a:gd name="connsiteX189" fmla="*/ 5889 w 10000"/>
                    <a:gd name="connsiteY189" fmla="*/ 9720 h 10000"/>
                    <a:gd name="connsiteX190" fmla="*/ 6000 w 10000"/>
                    <a:gd name="connsiteY190" fmla="*/ 9705 h 10000"/>
                    <a:gd name="connsiteX191" fmla="*/ 6167 w 10000"/>
                    <a:gd name="connsiteY191" fmla="*/ 9691 h 10000"/>
                    <a:gd name="connsiteX192" fmla="*/ 6444 w 10000"/>
                    <a:gd name="connsiteY192" fmla="*/ 9691 h 10000"/>
                    <a:gd name="connsiteX193" fmla="*/ 6833 w 10000"/>
                    <a:gd name="connsiteY193" fmla="*/ 9705 h 10000"/>
                    <a:gd name="connsiteX194" fmla="*/ 7278 w 10000"/>
                    <a:gd name="connsiteY194" fmla="*/ 9750 h 10000"/>
                    <a:gd name="connsiteX195" fmla="*/ 7278 w 10000"/>
                    <a:gd name="connsiteY195" fmla="*/ 9750 h 10000"/>
                    <a:gd name="connsiteX196" fmla="*/ 8722 w 10000"/>
                    <a:gd name="connsiteY196" fmla="*/ 9882 h 10000"/>
                    <a:gd name="connsiteX197" fmla="*/ 10000 w 10000"/>
                    <a:gd name="connsiteY19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3500 w 10000"/>
                    <a:gd name="connsiteY71" fmla="*/ 2165 h 10000"/>
                    <a:gd name="connsiteX72" fmla="*/ 4444 w 10000"/>
                    <a:gd name="connsiteY72" fmla="*/ 1738 h 10000"/>
                    <a:gd name="connsiteX73" fmla="*/ 4444 w 10000"/>
                    <a:gd name="connsiteY73" fmla="*/ 1738 h 10000"/>
                    <a:gd name="connsiteX74" fmla="*/ 4444 w 10000"/>
                    <a:gd name="connsiteY74" fmla="*/ 1679 h 10000"/>
                    <a:gd name="connsiteX75" fmla="*/ 4444 w 10000"/>
                    <a:gd name="connsiteY75" fmla="*/ 1546 h 10000"/>
                    <a:gd name="connsiteX76" fmla="*/ 4500 w 10000"/>
                    <a:gd name="connsiteY76" fmla="*/ 1458 h 10000"/>
                    <a:gd name="connsiteX77" fmla="*/ 4611 w 10000"/>
                    <a:gd name="connsiteY77" fmla="*/ 1384 h 10000"/>
                    <a:gd name="connsiteX78" fmla="*/ 4778 w 10000"/>
                    <a:gd name="connsiteY78" fmla="*/ 1296 h 10000"/>
                    <a:gd name="connsiteX79" fmla="*/ 5000 w 10000"/>
                    <a:gd name="connsiteY79" fmla="*/ 1222 h 10000"/>
                    <a:gd name="connsiteX80" fmla="*/ 5000 w 10000"/>
                    <a:gd name="connsiteY80" fmla="*/ 1222 h 10000"/>
                    <a:gd name="connsiteX81" fmla="*/ 5556 w 10000"/>
                    <a:gd name="connsiteY81" fmla="*/ 1075 h 10000"/>
                    <a:gd name="connsiteX82" fmla="*/ 6111 w 10000"/>
                    <a:gd name="connsiteY82" fmla="*/ 884 h 10000"/>
                    <a:gd name="connsiteX83" fmla="*/ 6667 w 10000"/>
                    <a:gd name="connsiteY83" fmla="*/ 707 h 10000"/>
                    <a:gd name="connsiteX84" fmla="*/ 7056 w 10000"/>
                    <a:gd name="connsiteY84" fmla="*/ 545 h 10000"/>
                    <a:gd name="connsiteX85" fmla="*/ 7056 w 10000"/>
                    <a:gd name="connsiteY85" fmla="*/ 545 h 10000"/>
                    <a:gd name="connsiteX86" fmla="*/ 7333 w 10000"/>
                    <a:gd name="connsiteY86" fmla="*/ 398 h 10000"/>
                    <a:gd name="connsiteX87" fmla="*/ 7667 w 10000"/>
                    <a:gd name="connsiteY87" fmla="*/ 221 h 10000"/>
                    <a:gd name="connsiteX88" fmla="*/ 8000 w 10000"/>
                    <a:gd name="connsiteY88" fmla="*/ 88 h 10000"/>
                    <a:gd name="connsiteX89" fmla="*/ 8167 w 10000"/>
                    <a:gd name="connsiteY89" fmla="*/ 29 h 10000"/>
                    <a:gd name="connsiteX90" fmla="*/ 8333 w 10000"/>
                    <a:gd name="connsiteY90" fmla="*/ 15 h 10000"/>
                    <a:gd name="connsiteX91" fmla="*/ 8333 w 10000"/>
                    <a:gd name="connsiteY91" fmla="*/ 15 h 10000"/>
                    <a:gd name="connsiteX92" fmla="*/ 8667 w 10000"/>
                    <a:gd name="connsiteY92" fmla="*/ 0 h 10000"/>
                    <a:gd name="connsiteX93" fmla="*/ 9111 w 10000"/>
                    <a:gd name="connsiteY93" fmla="*/ 0 h 10000"/>
                    <a:gd name="connsiteX94" fmla="*/ 10000 w 10000"/>
                    <a:gd name="connsiteY94" fmla="*/ 15 h 10000"/>
                    <a:gd name="connsiteX95" fmla="*/ 10000 w 10000"/>
                    <a:gd name="connsiteY95" fmla="*/ 9013 h 10000"/>
                    <a:gd name="connsiteX96" fmla="*/ 10000 w 10000"/>
                    <a:gd name="connsiteY96" fmla="*/ 9013 h 10000"/>
                    <a:gd name="connsiteX97" fmla="*/ 9722 w 10000"/>
                    <a:gd name="connsiteY97" fmla="*/ 8999 h 10000"/>
                    <a:gd name="connsiteX98" fmla="*/ 9389 w 10000"/>
                    <a:gd name="connsiteY98" fmla="*/ 9013 h 10000"/>
                    <a:gd name="connsiteX99" fmla="*/ 9389 w 10000"/>
                    <a:gd name="connsiteY99" fmla="*/ 9013 h 10000"/>
                    <a:gd name="connsiteX100" fmla="*/ 9278 w 10000"/>
                    <a:gd name="connsiteY100" fmla="*/ 9028 h 10000"/>
                    <a:gd name="connsiteX101" fmla="*/ 9056 w 10000"/>
                    <a:gd name="connsiteY101" fmla="*/ 9013 h 10000"/>
                    <a:gd name="connsiteX102" fmla="*/ 8889 w 10000"/>
                    <a:gd name="connsiteY102" fmla="*/ 8999 h 10000"/>
                    <a:gd name="connsiteX103" fmla="*/ 8722 w 10000"/>
                    <a:gd name="connsiteY103" fmla="*/ 8969 h 10000"/>
                    <a:gd name="connsiteX104" fmla="*/ 8611 w 10000"/>
                    <a:gd name="connsiteY104" fmla="*/ 8925 h 10000"/>
                    <a:gd name="connsiteX105" fmla="*/ 8444 w 10000"/>
                    <a:gd name="connsiteY105" fmla="*/ 8851 h 10000"/>
                    <a:gd name="connsiteX106" fmla="*/ 8444 w 10000"/>
                    <a:gd name="connsiteY106" fmla="*/ 8851 h 10000"/>
                    <a:gd name="connsiteX107" fmla="*/ 8222 w 10000"/>
                    <a:gd name="connsiteY107" fmla="*/ 8719 h 10000"/>
                    <a:gd name="connsiteX108" fmla="*/ 8111 w 10000"/>
                    <a:gd name="connsiteY108" fmla="*/ 8660 h 10000"/>
                    <a:gd name="connsiteX109" fmla="*/ 7944 w 10000"/>
                    <a:gd name="connsiteY109" fmla="*/ 8616 h 10000"/>
                    <a:gd name="connsiteX110" fmla="*/ 7778 w 10000"/>
                    <a:gd name="connsiteY110" fmla="*/ 8586 h 10000"/>
                    <a:gd name="connsiteX111" fmla="*/ 7556 w 10000"/>
                    <a:gd name="connsiteY111" fmla="*/ 8571 h 10000"/>
                    <a:gd name="connsiteX112" fmla="*/ 7333 w 10000"/>
                    <a:gd name="connsiteY112" fmla="*/ 8557 h 10000"/>
                    <a:gd name="connsiteX113" fmla="*/ 7000 w 10000"/>
                    <a:gd name="connsiteY113" fmla="*/ 8542 h 10000"/>
                    <a:gd name="connsiteX114" fmla="*/ 7000 w 10000"/>
                    <a:gd name="connsiteY114" fmla="*/ 8542 h 10000"/>
                    <a:gd name="connsiteX115" fmla="*/ 6556 w 10000"/>
                    <a:gd name="connsiteY115" fmla="*/ 8557 h 10000"/>
                    <a:gd name="connsiteX116" fmla="*/ 6222 w 10000"/>
                    <a:gd name="connsiteY116" fmla="*/ 8557 h 10000"/>
                    <a:gd name="connsiteX117" fmla="*/ 6111 w 10000"/>
                    <a:gd name="connsiteY117" fmla="*/ 8542 h 10000"/>
                    <a:gd name="connsiteX118" fmla="*/ 6056 w 10000"/>
                    <a:gd name="connsiteY118" fmla="*/ 8527 h 10000"/>
                    <a:gd name="connsiteX119" fmla="*/ 6056 w 10000"/>
                    <a:gd name="connsiteY119" fmla="*/ 8527 h 10000"/>
                    <a:gd name="connsiteX120" fmla="*/ 6056 w 10000"/>
                    <a:gd name="connsiteY120" fmla="*/ 8262 h 10000"/>
                    <a:gd name="connsiteX121" fmla="*/ 6056 w 10000"/>
                    <a:gd name="connsiteY121" fmla="*/ 8262 h 10000"/>
                    <a:gd name="connsiteX122" fmla="*/ 6056 w 10000"/>
                    <a:gd name="connsiteY122" fmla="*/ 8203 h 10000"/>
                    <a:gd name="connsiteX123" fmla="*/ 5944 w 10000"/>
                    <a:gd name="connsiteY123" fmla="*/ 8130 h 10000"/>
                    <a:gd name="connsiteX124" fmla="*/ 5889 w 10000"/>
                    <a:gd name="connsiteY124" fmla="*/ 8115 h 10000"/>
                    <a:gd name="connsiteX125" fmla="*/ 5778 w 10000"/>
                    <a:gd name="connsiteY125" fmla="*/ 8100 h 10000"/>
                    <a:gd name="connsiteX126" fmla="*/ 5667 w 10000"/>
                    <a:gd name="connsiteY126" fmla="*/ 8100 h 10000"/>
                    <a:gd name="connsiteX127" fmla="*/ 5500 w 10000"/>
                    <a:gd name="connsiteY127" fmla="*/ 8115 h 10000"/>
                    <a:gd name="connsiteX128" fmla="*/ 5500 w 10000"/>
                    <a:gd name="connsiteY128" fmla="*/ 8115 h 10000"/>
                    <a:gd name="connsiteX129" fmla="*/ 4889 w 10000"/>
                    <a:gd name="connsiteY129" fmla="*/ 8218 h 10000"/>
                    <a:gd name="connsiteX130" fmla="*/ 4611 w 10000"/>
                    <a:gd name="connsiteY130" fmla="*/ 8247 h 10000"/>
                    <a:gd name="connsiteX131" fmla="*/ 4556 w 10000"/>
                    <a:gd name="connsiteY131" fmla="*/ 8262 h 10000"/>
                    <a:gd name="connsiteX132" fmla="*/ 4500 w 10000"/>
                    <a:gd name="connsiteY132" fmla="*/ 8247 h 10000"/>
                    <a:gd name="connsiteX133" fmla="*/ 4500 w 10000"/>
                    <a:gd name="connsiteY133" fmla="*/ 8247 h 10000"/>
                    <a:gd name="connsiteX134" fmla="*/ 4222 w 10000"/>
                    <a:gd name="connsiteY134" fmla="*/ 8100 h 10000"/>
                    <a:gd name="connsiteX135" fmla="*/ 4222 w 10000"/>
                    <a:gd name="connsiteY135" fmla="*/ 8100 h 10000"/>
                    <a:gd name="connsiteX136" fmla="*/ 4111 w 10000"/>
                    <a:gd name="connsiteY136" fmla="*/ 8027 h 10000"/>
                    <a:gd name="connsiteX137" fmla="*/ 4111 w 10000"/>
                    <a:gd name="connsiteY137" fmla="*/ 7982 h 10000"/>
                    <a:gd name="connsiteX138" fmla="*/ 4111 w 10000"/>
                    <a:gd name="connsiteY138" fmla="*/ 7938 h 10000"/>
                    <a:gd name="connsiteX139" fmla="*/ 4111 w 10000"/>
                    <a:gd name="connsiteY139" fmla="*/ 7938 h 10000"/>
                    <a:gd name="connsiteX140" fmla="*/ 4278 w 10000"/>
                    <a:gd name="connsiteY140" fmla="*/ 7894 h 10000"/>
                    <a:gd name="connsiteX141" fmla="*/ 4389 w 10000"/>
                    <a:gd name="connsiteY141" fmla="*/ 7879 h 10000"/>
                    <a:gd name="connsiteX142" fmla="*/ 4389 w 10000"/>
                    <a:gd name="connsiteY142" fmla="*/ 7879 h 10000"/>
                    <a:gd name="connsiteX143" fmla="*/ 4000 w 10000"/>
                    <a:gd name="connsiteY143" fmla="*/ 7879 h 10000"/>
                    <a:gd name="connsiteX144" fmla="*/ 3722 w 10000"/>
                    <a:gd name="connsiteY144" fmla="*/ 7894 h 10000"/>
                    <a:gd name="connsiteX145" fmla="*/ 3611 w 10000"/>
                    <a:gd name="connsiteY145" fmla="*/ 7909 h 10000"/>
                    <a:gd name="connsiteX146" fmla="*/ 3556 w 10000"/>
                    <a:gd name="connsiteY146" fmla="*/ 7923 h 10000"/>
                    <a:gd name="connsiteX147" fmla="*/ 3556 w 10000"/>
                    <a:gd name="connsiteY147" fmla="*/ 7923 h 10000"/>
                    <a:gd name="connsiteX148" fmla="*/ 3444 w 10000"/>
                    <a:gd name="connsiteY148" fmla="*/ 7982 h 10000"/>
                    <a:gd name="connsiteX149" fmla="*/ 3278 w 10000"/>
                    <a:gd name="connsiteY149" fmla="*/ 8071 h 10000"/>
                    <a:gd name="connsiteX150" fmla="*/ 3000 w 10000"/>
                    <a:gd name="connsiteY150" fmla="*/ 8174 h 10000"/>
                    <a:gd name="connsiteX151" fmla="*/ 2667 w 10000"/>
                    <a:gd name="connsiteY151" fmla="*/ 8247 h 10000"/>
                    <a:gd name="connsiteX152" fmla="*/ 2667 w 10000"/>
                    <a:gd name="connsiteY152" fmla="*/ 8247 h 10000"/>
                    <a:gd name="connsiteX153" fmla="*/ 2333 w 10000"/>
                    <a:gd name="connsiteY153" fmla="*/ 8306 h 10000"/>
                    <a:gd name="connsiteX154" fmla="*/ 1833 w 10000"/>
                    <a:gd name="connsiteY154" fmla="*/ 8365 h 10000"/>
                    <a:gd name="connsiteX155" fmla="*/ 1389 w 10000"/>
                    <a:gd name="connsiteY155" fmla="*/ 8395 h 10000"/>
                    <a:gd name="connsiteX156" fmla="*/ 889 w 10000"/>
                    <a:gd name="connsiteY156" fmla="*/ 8409 h 10000"/>
                    <a:gd name="connsiteX157" fmla="*/ 889 w 10000"/>
                    <a:gd name="connsiteY157" fmla="*/ 8409 h 10000"/>
                    <a:gd name="connsiteX158" fmla="*/ 500 w 10000"/>
                    <a:gd name="connsiteY158" fmla="*/ 8424 h 10000"/>
                    <a:gd name="connsiteX159" fmla="*/ 222 w 10000"/>
                    <a:gd name="connsiteY159" fmla="*/ 8439 h 10000"/>
                    <a:gd name="connsiteX160" fmla="*/ 0 w 10000"/>
                    <a:gd name="connsiteY160" fmla="*/ 8454 h 10000"/>
                    <a:gd name="connsiteX161" fmla="*/ 0 w 10000"/>
                    <a:gd name="connsiteY161" fmla="*/ 8454 h 10000"/>
                    <a:gd name="connsiteX162" fmla="*/ 278 w 10000"/>
                    <a:gd name="connsiteY162" fmla="*/ 8689 h 10000"/>
                    <a:gd name="connsiteX163" fmla="*/ 500 w 10000"/>
                    <a:gd name="connsiteY163" fmla="*/ 8866 h 10000"/>
                    <a:gd name="connsiteX164" fmla="*/ 722 w 10000"/>
                    <a:gd name="connsiteY164" fmla="*/ 9013 h 10000"/>
                    <a:gd name="connsiteX165" fmla="*/ 722 w 10000"/>
                    <a:gd name="connsiteY165" fmla="*/ 9013 h 10000"/>
                    <a:gd name="connsiteX166" fmla="*/ 889 w 10000"/>
                    <a:gd name="connsiteY166" fmla="*/ 9102 h 10000"/>
                    <a:gd name="connsiteX167" fmla="*/ 944 w 10000"/>
                    <a:gd name="connsiteY167" fmla="*/ 9175 h 10000"/>
                    <a:gd name="connsiteX168" fmla="*/ 1111 w 10000"/>
                    <a:gd name="connsiteY168" fmla="*/ 9249 h 10000"/>
                    <a:gd name="connsiteX169" fmla="*/ 1333 w 10000"/>
                    <a:gd name="connsiteY169" fmla="*/ 9367 h 10000"/>
                    <a:gd name="connsiteX170" fmla="*/ 1333 w 10000"/>
                    <a:gd name="connsiteY170" fmla="*/ 9367 h 10000"/>
                    <a:gd name="connsiteX171" fmla="*/ 1444 w 10000"/>
                    <a:gd name="connsiteY171" fmla="*/ 9426 h 10000"/>
                    <a:gd name="connsiteX172" fmla="*/ 1500 w 10000"/>
                    <a:gd name="connsiteY172" fmla="*/ 9470 h 10000"/>
                    <a:gd name="connsiteX173" fmla="*/ 1500 w 10000"/>
                    <a:gd name="connsiteY173" fmla="*/ 9514 h 10000"/>
                    <a:gd name="connsiteX174" fmla="*/ 1556 w 10000"/>
                    <a:gd name="connsiteY174" fmla="*/ 9529 h 10000"/>
                    <a:gd name="connsiteX175" fmla="*/ 1722 w 10000"/>
                    <a:gd name="connsiteY175" fmla="*/ 9543 h 10000"/>
                    <a:gd name="connsiteX176" fmla="*/ 1944 w 10000"/>
                    <a:gd name="connsiteY176" fmla="*/ 9558 h 10000"/>
                    <a:gd name="connsiteX177" fmla="*/ 2944 w 10000"/>
                    <a:gd name="connsiteY177" fmla="*/ 9573 h 10000"/>
                    <a:gd name="connsiteX178" fmla="*/ 2944 w 10000"/>
                    <a:gd name="connsiteY178" fmla="*/ 9573 h 10000"/>
                    <a:gd name="connsiteX179" fmla="*/ 4167 w 10000"/>
                    <a:gd name="connsiteY179" fmla="*/ 9602 h 10000"/>
                    <a:gd name="connsiteX180" fmla="*/ 4889 w 10000"/>
                    <a:gd name="connsiteY180" fmla="*/ 9647 h 10000"/>
                    <a:gd name="connsiteX181" fmla="*/ 5278 w 10000"/>
                    <a:gd name="connsiteY181" fmla="*/ 9691 h 10000"/>
                    <a:gd name="connsiteX182" fmla="*/ 5444 w 10000"/>
                    <a:gd name="connsiteY182" fmla="*/ 9705 h 10000"/>
                    <a:gd name="connsiteX183" fmla="*/ 5444 w 10000"/>
                    <a:gd name="connsiteY183" fmla="*/ 9705 h 10000"/>
                    <a:gd name="connsiteX184" fmla="*/ 5722 w 10000"/>
                    <a:gd name="connsiteY184" fmla="*/ 9735 h 10000"/>
                    <a:gd name="connsiteX185" fmla="*/ 5833 w 10000"/>
                    <a:gd name="connsiteY185" fmla="*/ 9750 h 10000"/>
                    <a:gd name="connsiteX186" fmla="*/ 5833 w 10000"/>
                    <a:gd name="connsiteY186" fmla="*/ 9750 h 10000"/>
                    <a:gd name="connsiteX187" fmla="*/ 5833 w 10000"/>
                    <a:gd name="connsiteY187" fmla="*/ 9735 h 10000"/>
                    <a:gd name="connsiteX188" fmla="*/ 5889 w 10000"/>
                    <a:gd name="connsiteY188" fmla="*/ 9720 h 10000"/>
                    <a:gd name="connsiteX189" fmla="*/ 6000 w 10000"/>
                    <a:gd name="connsiteY189" fmla="*/ 9705 h 10000"/>
                    <a:gd name="connsiteX190" fmla="*/ 6167 w 10000"/>
                    <a:gd name="connsiteY190" fmla="*/ 9691 h 10000"/>
                    <a:gd name="connsiteX191" fmla="*/ 6444 w 10000"/>
                    <a:gd name="connsiteY191" fmla="*/ 9691 h 10000"/>
                    <a:gd name="connsiteX192" fmla="*/ 6833 w 10000"/>
                    <a:gd name="connsiteY192" fmla="*/ 9705 h 10000"/>
                    <a:gd name="connsiteX193" fmla="*/ 7278 w 10000"/>
                    <a:gd name="connsiteY193" fmla="*/ 9750 h 10000"/>
                    <a:gd name="connsiteX194" fmla="*/ 7278 w 10000"/>
                    <a:gd name="connsiteY194" fmla="*/ 9750 h 10000"/>
                    <a:gd name="connsiteX195" fmla="*/ 8722 w 10000"/>
                    <a:gd name="connsiteY195" fmla="*/ 9882 h 10000"/>
                    <a:gd name="connsiteX196" fmla="*/ 10000 w 10000"/>
                    <a:gd name="connsiteY19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444 w 10000"/>
                    <a:gd name="connsiteY71" fmla="*/ 1738 h 10000"/>
                    <a:gd name="connsiteX72" fmla="*/ 4444 w 10000"/>
                    <a:gd name="connsiteY72" fmla="*/ 1738 h 10000"/>
                    <a:gd name="connsiteX73" fmla="*/ 4444 w 10000"/>
                    <a:gd name="connsiteY73" fmla="*/ 1679 h 10000"/>
                    <a:gd name="connsiteX74" fmla="*/ 4444 w 10000"/>
                    <a:gd name="connsiteY74" fmla="*/ 1546 h 10000"/>
                    <a:gd name="connsiteX75" fmla="*/ 4500 w 10000"/>
                    <a:gd name="connsiteY75" fmla="*/ 1458 h 10000"/>
                    <a:gd name="connsiteX76" fmla="*/ 4611 w 10000"/>
                    <a:gd name="connsiteY76" fmla="*/ 1384 h 10000"/>
                    <a:gd name="connsiteX77" fmla="*/ 4778 w 10000"/>
                    <a:gd name="connsiteY77" fmla="*/ 1296 h 10000"/>
                    <a:gd name="connsiteX78" fmla="*/ 5000 w 10000"/>
                    <a:gd name="connsiteY78" fmla="*/ 1222 h 10000"/>
                    <a:gd name="connsiteX79" fmla="*/ 5000 w 10000"/>
                    <a:gd name="connsiteY79" fmla="*/ 1222 h 10000"/>
                    <a:gd name="connsiteX80" fmla="*/ 5556 w 10000"/>
                    <a:gd name="connsiteY80" fmla="*/ 1075 h 10000"/>
                    <a:gd name="connsiteX81" fmla="*/ 6111 w 10000"/>
                    <a:gd name="connsiteY81" fmla="*/ 884 h 10000"/>
                    <a:gd name="connsiteX82" fmla="*/ 6667 w 10000"/>
                    <a:gd name="connsiteY82" fmla="*/ 707 h 10000"/>
                    <a:gd name="connsiteX83" fmla="*/ 7056 w 10000"/>
                    <a:gd name="connsiteY83" fmla="*/ 545 h 10000"/>
                    <a:gd name="connsiteX84" fmla="*/ 7056 w 10000"/>
                    <a:gd name="connsiteY84" fmla="*/ 545 h 10000"/>
                    <a:gd name="connsiteX85" fmla="*/ 7333 w 10000"/>
                    <a:gd name="connsiteY85" fmla="*/ 398 h 10000"/>
                    <a:gd name="connsiteX86" fmla="*/ 7667 w 10000"/>
                    <a:gd name="connsiteY86" fmla="*/ 221 h 10000"/>
                    <a:gd name="connsiteX87" fmla="*/ 8000 w 10000"/>
                    <a:gd name="connsiteY87" fmla="*/ 88 h 10000"/>
                    <a:gd name="connsiteX88" fmla="*/ 8167 w 10000"/>
                    <a:gd name="connsiteY88" fmla="*/ 29 h 10000"/>
                    <a:gd name="connsiteX89" fmla="*/ 8333 w 10000"/>
                    <a:gd name="connsiteY89" fmla="*/ 15 h 10000"/>
                    <a:gd name="connsiteX90" fmla="*/ 8333 w 10000"/>
                    <a:gd name="connsiteY90" fmla="*/ 15 h 10000"/>
                    <a:gd name="connsiteX91" fmla="*/ 8667 w 10000"/>
                    <a:gd name="connsiteY91" fmla="*/ 0 h 10000"/>
                    <a:gd name="connsiteX92" fmla="*/ 9111 w 10000"/>
                    <a:gd name="connsiteY92" fmla="*/ 0 h 10000"/>
                    <a:gd name="connsiteX93" fmla="*/ 10000 w 10000"/>
                    <a:gd name="connsiteY93" fmla="*/ 15 h 10000"/>
                    <a:gd name="connsiteX94" fmla="*/ 10000 w 10000"/>
                    <a:gd name="connsiteY94" fmla="*/ 9013 h 10000"/>
                    <a:gd name="connsiteX95" fmla="*/ 10000 w 10000"/>
                    <a:gd name="connsiteY95" fmla="*/ 9013 h 10000"/>
                    <a:gd name="connsiteX96" fmla="*/ 9722 w 10000"/>
                    <a:gd name="connsiteY96" fmla="*/ 8999 h 10000"/>
                    <a:gd name="connsiteX97" fmla="*/ 9389 w 10000"/>
                    <a:gd name="connsiteY97" fmla="*/ 9013 h 10000"/>
                    <a:gd name="connsiteX98" fmla="*/ 9389 w 10000"/>
                    <a:gd name="connsiteY98" fmla="*/ 9013 h 10000"/>
                    <a:gd name="connsiteX99" fmla="*/ 9278 w 10000"/>
                    <a:gd name="connsiteY99" fmla="*/ 9028 h 10000"/>
                    <a:gd name="connsiteX100" fmla="*/ 9056 w 10000"/>
                    <a:gd name="connsiteY100" fmla="*/ 9013 h 10000"/>
                    <a:gd name="connsiteX101" fmla="*/ 8889 w 10000"/>
                    <a:gd name="connsiteY101" fmla="*/ 8999 h 10000"/>
                    <a:gd name="connsiteX102" fmla="*/ 8722 w 10000"/>
                    <a:gd name="connsiteY102" fmla="*/ 8969 h 10000"/>
                    <a:gd name="connsiteX103" fmla="*/ 8611 w 10000"/>
                    <a:gd name="connsiteY103" fmla="*/ 8925 h 10000"/>
                    <a:gd name="connsiteX104" fmla="*/ 8444 w 10000"/>
                    <a:gd name="connsiteY104" fmla="*/ 8851 h 10000"/>
                    <a:gd name="connsiteX105" fmla="*/ 8444 w 10000"/>
                    <a:gd name="connsiteY105" fmla="*/ 8851 h 10000"/>
                    <a:gd name="connsiteX106" fmla="*/ 8222 w 10000"/>
                    <a:gd name="connsiteY106" fmla="*/ 8719 h 10000"/>
                    <a:gd name="connsiteX107" fmla="*/ 8111 w 10000"/>
                    <a:gd name="connsiteY107" fmla="*/ 8660 h 10000"/>
                    <a:gd name="connsiteX108" fmla="*/ 7944 w 10000"/>
                    <a:gd name="connsiteY108" fmla="*/ 8616 h 10000"/>
                    <a:gd name="connsiteX109" fmla="*/ 7778 w 10000"/>
                    <a:gd name="connsiteY109" fmla="*/ 8586 h 10000"/>
                    <a:gd name="connsiteX110" fmla="*/ 7556 w 10000"/>
                    <a:gd name="connsiteY110" fmla="*/ 8571 h 10000"/>
                    <a:gd name="connsiteX111" fmla="*/ 7333 w 10000"/>
                    <a:gd name="connsiteY111" fmla="*/ 8557 h 10000"/>
                    <a:gd name="connsiteX112" fmla="*/ 7000 w 10000"/>
                    <a:gd name="connsiteY112" fmla="*/ 8542 h 10000"/>
                    <a:gd name="connsiteX113" fmla="*/ 7000 w 10000"/>
                    <a:gd name="connsiteY113" fmla="*/ 8542 h 10000"/>
                    <a:gd name="connsiteX114" fmla="*/ 6556 w 10000"/>
                    <a:gd name="connsiteY114" fmla="*/ 8557 h 10000"/>
                    <a:gd name="connsiteX115" fmla="*/ 6222 w 10000"/>
                    <a:gd name="connsiteY115" fmla="*/ 8557 h 10000"/>
                    <a:gd name="connsiteX116" fmla="*/ 6111 w 10000"/>
                    <a:gd name="connsiteY116" fmla="*/ 8542 h 10000"/>
                    <a:gd name="connsiteX117" fmla="*/ 6056 w 10000"/>
                    <a:gd name="connsiteY117" fmla="*/ 8527 h 10000"/>
                    <a:gd name="connsiteX118" fmla="*/ 6056 w 10000"/>
                    <a:gd name="connsiteY118" fmla="*/ 8527 h 10000"/>
                    <a:gd name="connsiteX119" fmla="*/ 6056 w 10000"/>
                    <a:gd name="connsiteY119" fmla="*/ 8262 h 10000"/>
                    <a:gd name="connsiteX120" fmla="*/ 6056 w 10000"/>
                    <a:gd name="connsiteY120" fmla="*/ 8262 h 10000"/>
                    <a:gd name="connsiteX121" fmla="*/ 6056 w 10000"/>
                    <a:gd name="connsiteY121" fmla="*/ 8203 h 10000"/>
                    <a:gd name="connsiteX122" fmla="*/ 5944 w 10000"/>
                    <a:gd name="connsiteY122" fmla="*/ 8130 h 10000"/>
                    <a:gd name="connsiteX123" fmla="*/ 5889 w 10000"/>
                    <a:gd name="connsiteY123" fmla="*/ 8115 h 10000"/>
                    <a:gd name="connsiteX124" fmla="*/ 5778 w 10000"/>
                    <a:gd name="connsiteY124" fmla="*/ 8100 h 10000"/>
                    <a:gd name="connsiteX125" fmla="*/ 5667 w 10000"/>
                    <a:gd name="connsiteY125" fmla="*/ 8100 h 10000"/>
                    <a:gd name="connsiteX126" fmla="*/ 5500 w 10000"/>
                    <a:gd name="connsiteY126" fmla="*/ 8115 h 10000"/>
                    <a:gd name="connsiteX127" fmla="*/ 5500 w 10000"/>
                    <a:gd name="connsiteY127" fmla="*/ 8115 h 10000"/>
                    <a:gd name="connsiteX128" fmla="*/ 4889 w 10000"/>
                    <a:gd name="connsiteY128" fmla="*/ 8218 h 10000"/>
                    <a:gd name="connsiteX129" fmla="*/ 4611 w 10000"/>
                    <a:gd name="connsiteY129" fmla="*/ 8247 h 10000"/>
                    <a:gd name="connsiteX130" fmla="*/ 4556 w 10000"/>
                    <a:gd name="connsiteY130" fmla="*/ 8262 h 10000"/>
                    <a:gd name="connsiteX131" fmla="*/ 4500 w 10000"/>
                    <a:gd name="connsiteY131" fmla="*/ 8247 h 10000"/>
                    <a:gd name="connsiteX132" fmla="*/ 4500 w 10000"/>
                    <a:gd name="connsiteY132" fmla="*/ 8247 h 10000"/>
                    <a:gd name="connsiteX133" fmla="*/ 4222 w 10000"/>
                    <a:gd name="connsiteY133" fmla="*/ 8100 h 10000"/>
                    <a:gd name="connsiteX134" fmla="*/ 4222 w 10000"/>
                    <a:gd name="connsiteY134" fmla="*/ 8100 h 10000"/>
                    <a:gd name="connsiteX135" fmla="*/ 4111 w 10000"/>
                    <a:gd name="connsiteY135" fmla="*/ 8027 h 10000"/>
                    <a:gd name="connsiteX136" fmla="*/ 4111 w 10000"/>
                    <a:gd name="connsiteY136" fmla="*/ 7982 h 10000"/>
                    <a:gd name="connsiteX137" fmla="*/ 4111 w 10000"/>
                    <a:gd name="connsiteY137" fmla="*/ 7938 h 10000"/>
                    <a:gd name="connsiteX138" fmla="*/ 4111 w 10000"/>
                    <a:gd name="connsiteY138" fmla="*/ 7938 h 10000"/>
                    <a:gd name="connsiteX139" fmla="*/ 4278 w 10000"/>
                    <a:gd name="connsiteY139" fmla="*/ 7894 h 10000"/>
                    <a:gd name="connsiteX140" fmla="*/ 4389 w 10000"/>
                    <a:gd name="connsiteY140" fmla="*/ 7879 h 10000"/>
                    <a:gd name="connsiteX141" fmla="*/ 4389 w 10000"/>
                    <a:gd name="connsiteY141" fmla="*/ 7879 h 10000"/>
                    <a:gd name="connsiteX142" fmla="*/ 4000 w 10000"/>
                    <a:gd name="connsiteY142" fmla="*/ 7879 h 10000"/>
                    <a:gd name="connsiteX143" fmla="*/ 3722 w 10000"/>
                    <a:gd name="connsiteY143" fmla="*/ 7894 h 10000"/>
                    <a:gd name="connsiteX144" fmla="*/ 3611 w 10000"/>
                    <a:gd name="connsiteY144" fmla="*/ 7909 h 10000"/>
                    <a:gd name="connsiteX145" fmla="*/ 3556 w 10000"/>
                    <a:gd name="connsiteY145" fmla="*/ 7923 h 10000"/>
                    <a:gd name="connsiteX146" fmla="*/ 3556 w 10000"/>
                    <a:gd name="connsiteY146" fmla="*/ 7923 h 10000"/>
                    <a:gd name="connsiteX147" fmla="*/ 3444 w 10000"/>
                    <a:gd name="connsiteY147" fmla="*/ 7982 h 10000"/>
                    <a:gd name="connsiteX148" fmla="*/ 3278 w 10000"/>
                    <a:gd name="connsiteY148" fmla="*/ 8071 h 10000"/>
                    <a:gd name="connsiteX149" fmla="*/ 3000 w 10000"/>
                    <a:gd name="connsiteY149" fmla="*/ 8174 h 10000"/>
                    <a:gd name="connsiteX150" fmla="*/ 2667 w 10000"/>
                    <a:gd name="connsiteY150" fmla="*/ 8247 h 10000"/>
                    <a:gd name="connsiteX151" fmla="*/ 2667 w 10000"/>
                    <a:gd name="connsiteY151" fmla="*/ 8247 h 10000"/>
                    <a:gd name="connsiteX152" fmla="*/ 2333 w 10000"/>
                    <a:gd name="connsiteY152" fmla="*/ 8306 h 10000"/>
                    <a:gd name="connsiteX153" fmla="*/ 1833 w 10000"/>
                    <a:gd name="connsiteY153" fmla="*/ 8365 h 10000"/>
                    <a:gd name="connsiteX154" fmla="*/ 1389 w 10000"/>
                    <a:gd name="connsiteY154" fmla="*/ 8395 h 10000"/>
                    <a:gd name="connsiteX155" fmla="*/ 889 w 10000"/>
                    <a:gd name="connsiteY155" fmla="*/ 8409 h 10000"/>
                    <a:gd name="connsiteX156" fmla="*/ 889 w 10000"/>
                    <a:gd name="connsiteY156" fmla="*/ 8409 h 10000"/>
                    <a:gd name="connsiteX157" fmla="*/ 500 w 10000"/>
                    <a:gd name="connsiteY157" fmla="*/ 8424 h 10000"/>
                    <a:gd name="connsiteX158" fmla="*/ 222 w 10000"/>
                    <a:gd name="connsiteY158" fmla="*/ 8439 h 10000"/>
                    <a:gd name="connsiteX159" fmla="*/ 0 w 10000"/>
                    <a:gd name="connsiteY159" fmla="*/ 8454 h 10000"/>
                    <a:gd name="connsiteX160" fmla="*/ 0 w 10000"/>
                    <a:gd name="connsiteY160" fmla="*/ 8454 h 10000"/>
                    <a:gd name="connsiteX161" fmla="*/ 278 w 10000"/>
                    <a:gd name="connsiteY161" fmla="*/ 8689 h 10000"/>
                    <a:gd name="connsiteX162" fmla="*/ 500 w 10000"/>
                    <a:gd name="connsiteY162" fmla="*/ 8866 h 10000"/>
                    <a:gd name="connsiteX163" fmla="*/ 722 w 10000"/>
                    <a:gd name="connsiteY163" fmla="*/ 9013 h 10000"/>
                    <a:gd name="connsiteX164" fmla="*/ 722 w 10000"/>
                    <a:gd name="connsiteY164" fmla="*/ 9013 h 10000"/>
                    <a:gd name="connsiteX165" fmla="*/ 889 w 10000"/>
                    <a:gd name="connsiteY165" fmla="*/ 9102 h 10000"/>
                    <a:gd name="connsiteX166" fmla="*/ 944 w 10000"/>
                    <a:gd name="connsiteY166" fmla="*/ 9175 h 10000"/>
                    <a:gd name="connsiteX167" fmla="*/ 1111 w 10000"/>
                    <a:gd name="connsiteY167" fmla="*/ 9249 h 10000"/>
                    <a:gd name="connsiteX168" fmla="*/ 1333 w 10000"/>
                    <a:gd name="connsiteY168" fmla="*/ 9367 h 10000"/>
                    <a:gd name="connsiteX169" fmla="*/ 1333 w 10000"/>
                    <a:gd name="connsiteY169" fmla="*/ 9367 h 10000"/>
                    <a:gd name="connsiteX170" fmla="*/ 1444 w 10000"/>
                    <a:gd name="connsiteY170" fmla="*/ 9426 h 10000"/>
                    <a:gd name="connsiteX171" fmla="*/ 1500 w 10000"/>
                    <a:gd name="connsiteY171" fmla="*/ 9470 h 10000"/>
                    <a:gd name="connsiteX172" fmla="*/ 1500 w 10000"/>
                    <a:gd name="connsiteY172" fmla="*/ 9514 h 10000"/>
                    <a:gd name="connsiteX173" fmla="*/ 1556 w 10000"/>
                    <a:gd name="connsiteY173" fmla="*/ 9529 h 10000"/>
                    <a:gd name="connsiteX174" fmla="*/ 1722 w 10000"/>
                    <a:gd name="connsiteY174" fmla="*/ 9543 h 10000"/>
                    <a:gd name="connsiteX175" fmla="*/ 1944 w 10000"/>
                    <a:gd name="connsiteY175" fmla="*/ 9558 h 10000"/>
                    <a:gd name="connsiteX176" fmla="*/ 2944 w 10000"/>
                    <a:gd name="connsiteY176" fmla="*/ 9573 h 10000"/>
                    <a:gd name="connsiteX177" fmla="*/ 2944 w 10000"/>
                    <a:gd name="connsiteY177" fmla="*/ 9573 h 10000"/>
                    <a:gd name="connsiteX178" fmla="*/ 4167 w 10000"/>
                    <a:gd name="connsiteY178" fmla="*/ 9602 h 10000"/>
                    <a:gd name="connsiteX179" fmla="*/ 4889 w 10000"/>
                    <a:gd name="connsiteY179" fmla="*/ 9647 h 10000"/>
                    <a:gd name="connsiteX180" fmla="*/ 5278 w 10000"/>
                    <a:gd name="connsiteY180" fmla="*/ 9691 h 10000"/>
                    <a:gd name="connsiteX181" fmla="*/ 5444 w 10000"/>
                    <a:gd name="connsiteY181" fmla="*/ 9705 h 10000"/>
                    <a:gd name="connsiteX182" fmla="*/ 5444 w 10000"/>
                    <a:gd name="connsiteY182" fmla="*/ 9705 h 10000"/>
                    <a:gd name="connsiteX183" fmla="*/ 5722 w 10000"/>
                    <a:gd name="connsiteY183" fmla="*/ 9735 h 10000"/>
                    <a:gd name="connsiteX184" fmla="*/ 5833 w 10000"/>
                    <a:gd name="connsiteY184" fmla="*/ 9750 h 10000"/>
                    <a:gd name="connsiteX185" fmla="*/ 5833 w 10000"/>
                    <a:gd name="connsiteY185" fmla="*/ 9750 h 10000"/>
                    <a:gd name="connsiteX186" fmla="*/ 5833 w 10000"/>
                    <a:gd name="connsiteY186" fmla="*/ 9735 h 10000"/>
                    <a:gd name="connsiteX187" fmla="*/ 5889 w 10000"/>
                    <a:gd name="connsiteY187" fmla="*/ 9720 h 10000"/>
                    <a:gd name="connsiteX188" fmla="*/ 6000 w 10000"/>
                    <a:gd name="connsiteY188" fmla="*/ 9705 h 10000"/>
                    <a:gd name="connsiteX189" fmla="*/ 6167 w 10000"/>
                    <a:gd name="connsiteY189" fmla="*/ 9691 h 10000"/>
                    <a:gd name="connsiteX190" fmla="*/ 6444 w 10000"/>
                    <a:gd name="connsiteY190" fmla="*/ 9691 h 10000"/>
                    <a:gd name="connsiteX191" fmla="*/ 6833 w 10000"/>
                    <a:gd name="connsiteY191" fmla="*/ 9705 h 10000"/>
                    <a:gd name="connsiteX192" fmla="*/ 7278 w 10000"/>
                    <a:gd name="connsiteY192" fmla="*/ 9750 h 10000"/>
                    <a:gd name="connsiteX193" fmla="*/ 7278 w 10000"/>
                    <a:gd name="connsiteY193" fmla="*/ 9750 h 10000"/>
                    <a:gd name="connsiteX194" fmla="*/ 8722 w 10000"/>
                    <a:gd name="connsiteY194" fmla="*/ 9882 h 10000"/>
                    <a:gd name="connsiteX195" fmla="*/ 10000 w 10000"/>
                    <a:gd name="connsiteY19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444 w 10000"/>
                    <a:gd name="connsiteY71" fmla="*/ 1738 h 10000"/>
                    <a:gd name="connsiteX72" fmla="*/ 4444 w 10000"/>
                    <a:gd name="connsiteY72" fmla="*/ 1738 h 10000"/>
                    <a:gd name="connsiteX73" fmla="*/ 4444 w 10000"/>
                    <a:gd name="connsiteY73" fmla="*/ 1546 h 10000"/>
                    <a:gd name="connsiteX74" fmla="*/ 4500 w 10000"/>
                    <a:gd name="connsiteY74" fmla="*/ 1458 h 10000"/>
                    <a:gd name="connsiteX75" fmla="*/ 4611 w 10000"/>
                    <a:gd name="connsiteY75" fmla="*/ 1384 h 10000"/>
                    <a:gd name="connsiteX76" fmla="*/ 4778 w 10000"/>
                    <a:gd name="connsiteY76" fmla="*/ 1296 h 10000"/>
                    <a:gd name="connsiteX77" fmla="*/ 5000 w 10000"/>
                    <a:gd name="connsiteY77" fmla="*/ 1222 h 10000"/>
                    <a:gd name="connsiteX78" fmla="*/ 5000 w 10000"/>
                    <a:gd name="connsiteY78" fmla="*/ 1222 h 10000"/>
                    <a:gd name="connsiteX79" fmla="*/ 5556 w 10000"/>
                    <a:gd name="connsiteY79" fmla="*/ 1075 h 10000"/>
                    <a:gd name="connsiteX80" fmla="*/ 6111 w 10000"/>
                    <a:gd name="connsiteY80" fmla="*/ 884 h 10000"/>
                    <a:gd name="connsiteX81" fmla="*/ 6667 w 10000"/>
                    <a:gd name="connsiteY81" fmla="*/ 707 h 10000"/>
                    <a:gd name="connsiteX82" fmla="*/ 7056 w 10000"/>
                    <a:gd name="connsiteY82" fmla="*/ 545 h 10000"/>
                    <a:gd name="connsiteX83" fmla="*/ 7056 w 10000"/>
                    <a:gd name="connsiteY83" fmla="*/ 545 h 10000"/>
                    <a:gd name="connsiteX84" fmla="*/ 7333 w 10000"/>
                    <a:gd name="connsiteY84" fmla="*/ 398 h 10000"/>
                    <a:gd name="connsiteX85" fmla="*/ 7667 w 10000"/>
                    <a:gd name="connsiteY85" fmla="*/ 221 h 10000"/>
                    <a:gd name="connsiteX86" fmla="*/ 8000 w 10000"/>
                    <a:gd name="connsiteY86" fmla="*/ 88 h 10000"/>
                    <a:gd name="connsiteX87" fmla="*/ 8167 w 10000"/>
                    <a:gd name="connsiteY87" fmla="*/ 29 h 10000"/>
                    <a:gd name="connsiteX88" fmla="*/ 8333 w 10000"/>
                    <a:gd name="connsiteY88" fmla="*/ 15 h 10000"/>
                    <a:gd name="connsiteX89" fmla="*/ 8333 w 10000"/>
                    <a:gd name="connsiteY89" fmla="*/ 15 h 10000"/>
                    <a:gd name="connsiteX90" fmla="*/ 8667 w 10000"/>
                    <a:gd name="connsiteY90" fmla="*/ 0 h 10000"/>
                    <a:gd name="connsiteX91" fmla="*/ 9111 w 10000"/>
                    <a:gd name="connsiteY91" fmla="*/ 0 h 10000"/>
                    <a:gd name="connsiteX92" fmla="*/ 10000 w 10000"/>
                    <a:gd name="connsiteY92" fmla="*/ 15 h 10000"/>
                    <a:gd name="connsiteX93" fmla="*/ 10000 w 10000"/>
                    <a:gd name="connsiteY93" fmla="*/ 9013 h 10000"/>
                    <a:gd name="connsiteX94" fmla="*/ 10000 w 10000"/>
                    <a:gd name="connsiteY94" fmla="*/ 9013 h 10000"/>
                    <a:gd name="connsiteX95" fmla="*/ 9722 w 10000"/>
                    <a:gd name="connsiteY95" fmla="*/ 8999 h 10000"/>
                    <a:gd name="connsiteX96" fmla="*/ 9389 w 10000"/>
                    <a:gd name="connsiteY96" fmla="*/ 9013 h 10000"/>
                    <a:gd name="connsiteX97" fmla="*/ 9389 w 10000"/>
                    <a:gd name="connsiteY97" fmla="*/ 9013 h 10000"/>
                    <a:gd name="connsiteX98" fmla="*/ 9278 w 10000"/>
                    <a:gd name="connsiteY98" fmla="*/ 9028 h 10000"/>
                    <a:gd name="connsiteX99" fmla="*/ 9056 w 10000"/>
                    <a:gd name="connsiteY99" fmla="*/ 9013 h 10000"/>
                    <a:gd name="connsiteX100" fmla="*/ 8889 w 10000"/>
                    <a:gd name="connsiteY100" fmla="*/ 8999 h 10000"/>
                    <a:gd name="connsiteX101" fmla="*/ 8722 w 10000"/>
                    <a:gd name="connsiteY101" fmla="*/ 8969 h 10000"/>
                    <a:gd name="connsiteX102" fmla="*/ 8611 w 10000"/>
                    <a:gd name="connsiteY102" fmla="*/ 8925 h 10000"/>
                    <a:gd name="connsiteX103" fmla="*/ 8444 w 10000"/>
                    <a:gd name="connsiteY103" fmla="*/ 8851 h 10000"/>
                    <a:gd name="connsiteX104" fmla="*/ 8444 w 10000"/>
                    <a:gd name="connsiteY104" fmla="*/ 8851 h 10000"/>
                    <a:gd name="connsiteX105" fmla="*/ 8222 w 10000"/>
                    <a:gd name="connsiteY105" fmla="*/ 8719 h 10000"/>
                    <a:gd name="connsiteX106" fmla="*/ 8111 w 10000"/>
                    <a:gd name="connsiteY106" fmla="*/ 8660 h 10000"/>
                    <a:gd name="connsiteX107" fmla="*/ 7944 w 10000"/>
                    <a:gd name="connsiteY107" fmla="*/ 8616 h 10000"/>
                    <a:gd name="connsiteX108" fmla="*/ 7778 w 10000"/>
                    <a:gd name="connsiteY108" fmla="*/ 8586 h 10000"/>
                    <a:gd name="connsiteX109" fmla="*/ 7556 w 10000"/>
                    <a:gd name="connsiteY109" fmla="*/ 8571 h 10000"/>
                    <a:gd name="connsiteX110" fmla="*/ 7333 w 10000"/>
                    <a:gd name="connsiteY110" fmla="*/ 8557 h 10000"/>
                    <a:gd name="connsiteX111" fmla="*/ 7000 w 10000"/>
                    <a:gd name="connsiteY111" fmla="*/ 8542 h 10000"/>
                    <a:gd name="connsiteX112" fmla="*/ 7000 w 10000"/>
                    <a:gd name="connsiteY112" fmla="*/ 8542 h 10000"/>
                    <a:gd name="connsiteX113" fmla="*/ 6556 w 10000"/>
                    <a:gd name="connsiteY113" fmla="*/ 8557 h 10000"/>
                    <a:gd name="connsiteX114" fmla="*/ 6222 w 10000"/>
                    <a:gd name="connsiteY114" fmla="*/ 8557 h 10000"/>
                    <a:gd name="connsiteX115" fmla="*/ 6111 w 10000"/>
                    <a:gd name="connsiteY115" fmla="*/ 8542 h 10000"/>
                    <a:gd name="connsiteX116" fmla="*/ 6056 w 10000"/>
                    <a:gd name="connsiteY116" fmla="*/ 8527 h 10000"/>
                    <a:gd name="connsiteX117" fmla="*/ 6056 w 10000"/>
                    <a:gd name="connsiteY117" fmla="*/ 8527 h 10000"/>
                    <a:gd name="connsiteX118" fmla="*/ 6056 w 10000"/>
                    <a:gd name="connsiteY118" fmla="*/ 8262 h 10000"/>
                    <a:gd name="connsiteX119" fmla="*/ 6056 w 10000"/>
                    <a:gd name="connsiteY119" fmla="*/ 8262 h 10000"/>
                    <a:gd name="connsiteX120" fmla="*/ 6056 w 10000"/>
                    <a:gd name="connsiteY120" fmla="*/ 8203 h 10000"/>
                    <a:gd name="connsiteX121" fmla="*/ 5944 w 10000"/>
                    <a:gd name="connsiteY121" fmla="*/ 8130 h 10000"/>
                    <a:gd name="connsiteX122" fmla="*/ 5889 w 10000"/>
                    <a:gd name="connsiteY122" fmla="*/ 8115 h 10000"/>
                    <a:gd name="connsiteX123" fmla="*/ 5778 w 10000"/>
                    <a:gd name="connsiteY123" fmla="*/ 8100 h 10000"/>
                    <a:gd name="connsiteX124" fmla="*/ 5667 w 10000"/>
                    <a:gd name="connsiteY124" fmla="*/ 8100 h 10000"/>
                    <a:gd name="connsiteX125" fmla="*/ 5500 w 10000"/>
                    <a:gd name="connsiteY125" fmla="*/ 8115 h 10000"/>
                    <a:gd name="connsiteX126" fmla="*/ 5500 w 10000"/>
                    <a:gd name="connsiteY126" fmla="*/ 8115 h 10000"/>
                    <a:gd name="connsiteX127" fmla="*/ 4889 w 10000"/>
                    <a:gd name="connsiteY127" fmla="*/ 8218 h 10000"/>
                    <a:gd name="connsiteX128" fmla="*/ 4611 w 10000"/>
                    <a:gd name="connsiteY128" fmla="*/ 8247 h 10000"/>
                    <a:gd name="connsiteX129" fmla="*/ 4556 w 10000"/>
                    <a:gd name="connsiteY129" fmla="*/ 8262 h 10000"/>
                    <a:gd name="connsiteX130" fmla="*/ 4500 w 10000"/>
                    <a:gd name="connsiteY130" fmla="*/ 8247 h 10000"/>
                    <a:gd name="connsiteX131" fmla="*/ 4500 w 10000"/>
                    <a:gd name="connsiteY131" fmla="*/ 8247 h 10000"/>
                    <a:gd name="connsiteX132" fmla="*/ 4222 w 10000"/>
                    <a:gd name="connsiteY132" fmla="*/ 8100 h 10000"/>
                    <a:gd name="connsiteX133" fmla="*/ 4222 w 10000"/>
                    <a:gd name="connsiteY133" fmla="*/ 8100 h 10000"/>
                    <a:gd name="connsiteX134" fmla="*/ 4111 w 10000"/>
                    <a:gd name="connsiteY134" fmla="*/ 8027 h 10000"/>
                    <a:gd name="connsiteX135" fmla="*/ 4111 w 10000"/>
                    <a:gd name="connsiteY135" fmla="*/ 7982 h 10000"/>
                    <a:gd name="connsiteX136" fmla="*/ 4111 w 10000"/>
                    <a:gd name="connsiteY136" fmla="*/ 7938 h 10000"/>
                    <a:gd name="connsiteX137" fmla="*/ 4111 w 10000"/>
                    <a:gd name="connsiteY137" fmla="*/ 7938 h 10000"/>
                    <a:gd name="connsiteX138" fmla="*/ 4278 w 10000"/>
                    <a:gd name="connsiteY138" fmla="*/ 7894 h 10000"/>
                    <a:gd name="connsiteX139" fmla="*/ 4389 w 10000"/>
                    <a:gd name="connsiteY139" fmla="*/ 7879 h 10000"/>
                    <a:gd name="connsiteX140" fmla="*/ 4389 w 10000"/>
                    <a:gd name="connsiteY140" fmla="*/ 7879 h 10000"/>
                    <a:gd name="connsiteX141" fmla="*/ 4000 w 10000"/>
                    <a:gd name="connsiteY141" fmla="*/ 7879 h 10000"/>
                    <a:gd name="connsiteX142" fmla="*/ 3722 w 10000"/>
                    <a:gd name="connsiteY142" fmla="*/ 7894 h 10000"/>
                    <a:gd name="connsiteX143" fmla="*/ 3611 w 10000"/>
                    <a:gd name="connsiteY143" fmla="*/ 7909 h 10000"/>
                    <a:gd name="connsiteX144" fmla="*/ 3556 w 10000"/>
                    <a:gd name="connsiteY144" fmla="*/ 7923 h 10000"/>
                    <a:gd name="connsiteX145" fmla="*/ 3556 w 10000"/>
                    <a:gd name="connsiteY145" fmla="*/ 7923 h 10000"/>
                    <a:gd name="connsiteX146" fmla="*/ 3444 w 10000"/>
                    <a:gd name="connsiteY146" fmla="*/ 7982 h 10000"/>
                    <a:gd name="connsiteX147" fmla="*/ 3278 w 10000"/>
                    <a:gd name="connsiteY147" fmla="*/ 8071 h 10000"/>
                    <a:gd name="connsiteX148" fmla="*/ 3000 w 10000"/>
                    <a:gd name="connsiteY148" fmla="*/ 8174 h 10000"/>
                    <a:gd name="connsiteX149" fmla="*/ 2667 w 10000"/>
                    <a:gd name="connsiteY149" fmla="*/ 8247 h 10000"/>
                    <a:gd name="connsiteX150" fmla="*/ 2667 w 10000"/>
                    <a:gd name="connsiteY150" fmla="*/ 8247 h 10000"/>
                    <a:gd name="connsiteX151" fmla="*/ 2333 w 10000"/>
                    <a:gd name="connsiteY151" fmla="*/ 8306 h 10000"/>
                    <a:gd name="connsiteX152" fmla="*/ 1833 w 10000"/>
                    <a:gd name="connsiteY152" fmla="*/ 8365 h 10000"/>
                    <a:gd name="connsiteX153" fmla="*/ 1389 w 10000"/>
                    <a:gd name="connsiteY153" fmla="*/ 8395 h 10000"/>
                    <a:gd name="connsiteX154" fmla="*/ 889 w 10000"/>
                    <a:gd name="connsiteY154" fmla="*/ 8409 h 10000"/>
                    <a:gd name="connsiteX155" fmla="*/ 889 w 10000"/>
                    <a:gd name="connsiteY155" fmla="*/ 8409 h 10000"/>
                    <a:gd name="connsiteX156" fmla="*/ 500 w 10000"/>
                    <a:gd name="connsiteY156" fmla="*/ 8424 h 10000"/>
                    <a:gd name="connsiteX157" fmla="*/ 222 w 10000"/>
                    <a:gd name="connsiteY157" fmla="*/ 8439 h 10000"/>
                    <a:gd name="connsiteX158" fmla="*/ 0 w 10000"/>
                    <a:gd name="connsiteY158" fmla="*/ 8454 h 10000"/>
                    <a:gd name="connsiteX159" fmla="*/ 0 w 10000"/>
                    <a:gd name="connsiteY159" fmla="*/ 8454 h 10000"/>
                    <a:gd name="connsiteX160" fmla="*/ 278 w 10000"/>
                    <a:gd name="connsiteY160" fmla="*/ 8689 h 10000"/>
                    <a:gd name="connsiteX161" fmla="*/ 500 w 10000"/>
                    <a:gd name="connsiteY161" fmla="*/ 8866 h 10000"/>
                    <a:gd name="connsiteX162" fmla="*/ 722 w 10000"/>
                    <a:gd name="connsiteY162" fmla="*/ 9013 h 10000"/>
                    <a:gd name="connsiteX163" fmla="*/ 722 w 10000"/>
                    <a:gd name="connsiteY163" fmla="*/ 9013 h 10000"/>
                    <a:gd name="connsiteX164" fmla="*/ 889 w 10000"/>
                    <a:gd name="connsiteY164" fmla="*/ 9102 h 10000"/>
                    <a:gd name="connsiteX165" fmla="*/ 944 w 10000"/>
                    <a:gd name="connsiteY165" fmla="*/ 9175 h 10000"/>
                    <a:gd name="connsiteX166" fmla="*/ 1111 w 10000"/>
                    <a:gd name="connsiteY166" fmla="*/ 9249 h 10000"/>
                    <a:gd name="connsiteX167" fmla="*/ 1333 w 10000"/>
                    <a:gd name="connsiteY167" fmla="*/ 9367 h 10000"/>
                    <a:gd name="connsiteX168" fmla="*/ 1333 w 10000"/>
                    <a:gd name="connsiteY168" fmla="*/ 9367 h 10000"/>
                    <a:gd name="connsiteX169" fmla="*/ 1444 w 10000"/>
                    <a:gd name="connsiteY169" fmla="*/ 9426 h 10000"/>
                    <a:gd name="connsiteX170" fmla="*/ 1500 w 10000"/>
                    <a:gd name="connsiteY170" fmla="*/ 9470 h 10000"/>
                    <a:gd name="connsiteX171" fmla="*/ 1500 w 10000"/>
                    <a:gd name="connsiteY171" fmla="*/ 9514 h 10000"/>
                    <a:gd name="connsiteX172" fmla="*/ 1556 w 10000"/>
                    <a:gd name="connsiteY172" fmla="*/ 9529 h 10000"/>
                    <a:gd name="connsiteX173" fmla="*/ 1722 w 10000"/>
                    <a:gd name="connsiteY173" fmla="*/ 9543 h 10000"/>
                    <a:gd name="connsiteX174" fmla="*/ 1944 w 10000"/>
                    <a:gd name="connsiteY174" fmla="*/ 9558 h 10000"/>
                    <a:gd name="connsiteX175" fmla="*/ 2944 w 10000"/>
                    <a:gd name="connsiteY175" fmla="*/ 9573 h 10000"/>
                    <a:gd name="connsiteX176" fmla="*/ 2944 w 10000"/>
                    <a:gd name="connsiteY176" fmla="*/ 9573 h 10000"/>
                    <a:gd name="connsiteX177" fmla="*/ 4167 w 10000"/>
                    <a:gd name="connsiteY177" fmla="*/ 9602 h 10000"/>
                    <a:gd name="connsiteX178" fmla="*/ 4889 w 10000"/>
                    <a:gd name="connsiteY178" fmla="*/ 9647 h 10000"/>
                    <a:gd name="connsiteX179" fmla="*/ 5278 w 10000"/>
                    <a:gd name="connsiteY179" fmla="*/ 9691 h 10000"/>
                    <a:gd name="connsiteX180" fmla="*/ 5444 w 10000"/>
                    <a:gd name="connsiteY180" fmla="*/ 9705 h 10000"/>
                    <a:gd name="connsiteX181" fmla="*/ 5444 w 10000"/>
                    <a:gd name="connsiteY181" fmla="*/ 9705 h 10000"/>
                    <a:gd name="connsiteX182" fmla="*/ 5722 w 10000"/>
                    <a:gd name="connsiteY182" fmla="*/ 9735 h 10000"/>
                    <a:gd name="connsiteX183" fmla="*/ 5833 w 10000"/>
                    <a:gd name="connsiteY183" fmla="*/ 9750 h 10000"/>
                    <a:gd name="connsiteX184" fmla="*/ 5833 w 10000"/>
                    <a:gd name="connsiteY184" fmla="*/ 9750 h 10000"/>
                    <a:gd name="connsiteX185" fmla="*/ 5833 w 10000"/>
                    <a:gd name="connsiteY185" fmla="*/ 9735 h 10000"/>
                    <a:gd name="connsiteX186" fmla="*/ 5889 w 10000"/>
                    <a:gd name="connsiteY186" fmla="*/ 9720 h 10000"/>
                    <a:gd name="connsiteX187" fmla="*/ 6000 w 10000"/>
                    <a:gd name="connsiteY187" fmla="*/ 9705 h 10000"/>
                    <a:gd name="connsiteX188" fmla="*/ 6167 w 10000"/>
                    <a:gd name="connsiteY188" fmla="*/ 9691 h 10000"/>
                    <a:gd name="connsiteX189" fmla="*/ 6444 w 10000"/>
                    <a:gd name="connsiteY189" fmla="*/ 9691 h 10000"/>
                    <a:gd name="connsiteX190" fmla="*/ 6833 w 10000"/>
                    <a:gd name="connsiteY190" fmla="*/ 9705 h 10000"/>
                    <a:gd name="connsiteX191" fmla="*/ 7278 w 10000"/>
                    <a:gd name="connsiteY191" fmla="*/ 9750 h 10000"/>
                    <a:gd name="connsiteX192" fmla="*/ 7278 w 10000"/>
                    <a:gd name="connsiteY192" fmla="*/ 9750 h 10000"/>
                    <a:gd name="connsiteX193" fmla="*/ 8722 w 10000"/>
                    <a:gd name="connsiteY193" fmla="*/ 9882 h 10000"/>
                    <a:gd name="connsiteX194" fmla="*/ 10000 w 10000"/>
                    <a:gd name="connsiteY19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444 w 10000"/>
                    <a:gd name="connsiteY71" fmla="*/ 1738 h 10000"/>
                    <a:gd name="connsiteX72" fmla="*/ 4444 w 10000"/>
                    <a:gd name="connsiteY72" fmla="*/ 1546 h 10000"/>
                    <a:gd name="connsiteX73" fmla="*/ 4500 w 10000"/>
                    <a:gd name="connsiteY73" fmla="*/ 1458 h 10000"/>
                    <a:gd name="connsiteX74" fmla="*/ 4611 w 10000"/>
                    <a:gd name="connsiteY74" fmla="*/ 1384 h 10000"/>
                    <a:gd name="connsiteX75" fmla="*/ 4778 w 10000"/>
                    <a:gd name="connsiteY75" fmla="*/ 1296 h 10000"/>
                    <a:gd name="connsiteX76" fmla="*/ 5000 w 10000"/>
                    <a:gd name="connsiteY76" fmla="*/ 1222 h 10000"/>
                    <a:gd name="connsiteX77" fmla="*/ 5000 w 10000"/>
                    <a:gd name="connsiteY77" fmla="*/ 1222 h 10000"/>
                    <a:gd name="connsiteX78" fmla="*/ 5556 w 10000"/>
                    <a:gd name="connsiteY78" fmla="*/ 1075 h 10000"/>
                    <a:gd name="connsiteX79" fmla="*/ 6111 w 10000"/>
                    <a:gd name="connsiteY79" fmla="*/ 884 h 10000"/>
                    <a:gd name="connsiteX80" fmla="*/ 6667 w 10000"/>
                    <a:gd name="connsiteY80" fmla="*/ 707 h 10000"/>
                    <a:gd name="connsiteX81" fmla="*/ 7056 w 10000"/>
                    <a:gd name="connsiteY81" fmla="*/ 545 h 10000"/>
                    <a:gd name="connsiteX82" fmla="*/ 7056 w 10000"/>
                    <a:gd name="connsiteY82" fmla="*/ 545 h 10000"/>
                    <a:gd name="connsiteX83" fmla="*/ 7333 w 10000"/>
                    <a:gd name="connsiteY83" fmla="*/ 398 h 10000"/>
                    <a:gd name="connsiteX84" fmla="*/ 7667 w 10000"/>
                    <a:gd name="connsiteY84" fmla="*/ 221 h 10000"/>
                    <a:gd name="connsiteX85" fmla="*/ 8000 w 10000"/>
                    <a:gd name="connsiteY85" fmla="*/ 88 h 10000"/>
                    <a:gd name="connsiteX86" fmla="*/ 8167 w 10000"/>
                    <a:gd name="connsiteY86" fmla="*/ 29 h 10000"/>
                    <a:gd name="connsiteX87" fmla="*/ 8333 w 10000"/>
                    <a:gd name="connsiteY87" fmla="*/ 15 h 10000"/>
                    <a:gd name="connsiteX88" fmla="*/ 8333 w 10000"/>
                    <a:gd name="connsiteY88" fmla="*/ 15 h 10000"/>
                    <a:gd name="connsiteX89" fmla="*/ 8667 w 10000"/>
                    <a:gd name="connsiteY89" fmla="*/ 0 h 10000"/>
                    <a:gd name="connsiteX90" fmla="*/ 9111 w 10000"/>
                    <a:gd name="connsiteY90" fmla="*/ 0 h 10000"/>
                    <a:gd name="connsiteX91" fmla="*/ 10000 w 10000"/>
                    <a:gd name="connsiteY91" fmla="*/ 15 h 10000"/>
                    <a:gd name="connsiteX92" fmla="*/ 10000 w 10000"/>
                    <a:gd name="connsiteY92" fmla="*/ 9013 h 10000"/>
                    <a:gd name="connsiteX93" fmla="*/ 10000 w 10000"/>
                    <a:gd name="connsiteY93" fmla="*/ 9013 h 10000"/>
                    <a:gd name="connsiteX94" fmla="*/ 9722 w 10000"/>
                    <a:gd name="connsiteY94" fmla="*/ 8999 h 10000"/>
                    <a:gd name="connsiteX95" fmla="*/ 9389 w 10000"/>
                    <a:gd name="connsiteY95" fmla="*/ 9013 h 10000"/>
                    <a:gd name="connsiteX96" fmla="*/ 9389 w 10000"/>
                    <a:gd name="connsiteY96" fmla="*/ 9013 h 10000"/>
                    <a:gd name="connsiteX97" fmla="*/ 9278 w 10000"/>
                    <a:gd name="connsiteY97" fmla="*/ 9028 h 10000"/>
                    <a:gd name="connsiteX98" fmla="*/ 9056 w 10000"/>
                    <a:gd name="connsiteY98" fmla="*/ 9013 h 10000"/>
                    <a:gd name="connsiteX99" fmla="*/ 8889 w 10000"/>
                    <a:gd name="connsiteY99" fmla="*/ 8999 h 10000"/>
                    <a:gd name="connsiteX100" fmla="*/ 8722 w 10000"/>
                    <a:gd name="connsiteY100" fmla="*/ 8969 h 10000"/>
                    <a:gd name="connsiteX101" fmla="*/ 8611 w 10000"/>
                    <a:gd name="connsiteY101" fmla="*/ 8925 h 10000"/>
                    <a:gd name="connsiteX102" fmla="*/ 8444 w 10000"/>
                    <a:gd name="connsiteY102" fmla="*/ 8851 h 10000"/>
                    <a:gd name="connsiteX103" fmla="*/ 8444 w 10000"/>
                    <a:gd name="connsiteY103" fmla="*/ 8851 h 10000"/>
                    <a:gd name="connsiteX104" fmla="*/ 8222 w 10000"/>
                    <a:gd name="connsiteY104" fmla="*/ 8719 h 10000"/>
                    <a:gd name="connsiteX105" fmla="*/ 8111 w 10000"/>
                    <a:gd name="connsiteY105" fmla="*/ 8660 h 10000"/>
                    <a:gd name="connsiteX106" fmla="*/ 7944 w 10000"/>
                    <a:gd name="connsiteY106" fmla="*/ 8616 h 10000"/>
                    <a:gd name="connsiteX107" fmla="*/ 7778 w 10000"/>
                    <a:gd name="connsiteY107" fmla="*/ 8586 h 10000"/>
                    <a:gd name="connsiteX108" fmla="*/ 7556 w 10000"/>
                    <a:gd name="connsiteY108" fmla="*/ 8571 h 10000"/>
                    <a:gd name="connsiteX109" fmla="*/ 7333 w 10000"/>
                    <a:gd name="connsiteY109" fmla="*/ 8557 h 10000"/>
                    <a:gd name="connsiteX110" fmla="*/ 7000 w 10000"/>
                    <a:gd name="connsiteY110" fmla="*/ 8542 h 10000"/>
                    <a:gd name="connsiteX111" fmla="*/ 7000 w 10000"/>
                    <a:gd name="connsiteY111" fmla="*/ 8542 h 10000"/>
                    <a:gd name="connsiteX112" fmla="*/ 6556 w 10000"/>
                    <a:gd name="connsiteY112" fmla="*/ 8557 h 10000"/>
                    <a:gd name="connsiteX113" fmla="*/ 6222 w 10000"/>
                    <a:gd name="connsiteY113" fmla="*/ 8557 h 10000"/>
                    <a:gd name="connsiteX114" fmla="*/ 6111 w 10000"/>
                    <a:gd name="connsiteY114" fmla="*/ 8542 h 10000"/>
                    <a:gd name="connsiteX115" fmla="*/ 6056 w 10000"/>
                    <a:gd name="connsiteY115" fmla="*/ 8527 h 10000"/>
                    <a:gd name="connsiteX116" fmla="*/ 6056 w 10000"/>
                    <a:gd name="connsiteY116" fmla="*/ 8527 h 10000"/>
                    <a:gd name="connsiteX117" fmla="*/ 6056 w 10000"/>
                    <a:gd name="connsiteY117" fmla="*/ 8262 h 10000"/>
                    <a:gd name="connsiteX118" fmla="*/ 6056 w 10000"/>
                    <a:gd name="connsiteY118" fmla="*/ 8262 h 10000"/>
                    <a:gd name="connsiteX119" fmla="*/ 6056 w 10000"/>
                    <a:gd name="connsiteY119" fmla="*/ 8203 h 10000"/>
                    <a:gd name="connsiteX120" fmla="*/ 5944 w 10000"/>
                    <a:gd name="connsiteY120" fmla="*/ 8130 h 10000"/>
                    <a:gd name="connsiteX121" fmla="*/ 5889 w 10000"/>
                    <a:gd name="connsiteY121" fmla="*/ 8115 h 10000"/>
                    <a:gd name="connsiteX122" fmla="*/ 5778 w 10000"/>
                    <a:gd name="connsiteY122" fmla="*/ 8100 h 10000"/>
                    <a:gd name="connsiteX123" fmla="*/ 5667 w 10000"/>
                    <a:gd name="connsiteY123" fmla="*/ 8100 h 10000"/>
                    <a:gd name="connsiteX124" fmla="*/ 5500 w 10000"/>
                    <a:gd name="connsiteY124" fmla="*/ 8115 h 10000"/>
                    <a:gd name="connsiteX125" fmla="*/ 5500 w 10000"/>
                    <a:gd name="connsiteY125" fmla="*/ 8115 h 10000"/>
                    <a:gd name="connsiteX126" fmla="*/ 4889 w 10000"/>
                    <a:gd name="connsiteY126" fmla="*/ 8218 h 10000"/>
                    <a:gd name="connsiteX127" fmla="*/ 4611 w 10000"/>
                    <a:gd name="connsiteY127" fmla="*/ 8247 h 10000"/>
                    <a:gd name="connsiteX128" fmla="*/ 4556 w 10000"/>
                    <a:gd name="connsiteY128" fmla="*/ 8262 h 10000"/>
                    <a:gd name="connsiteX129" fmla="*/ 4500 w 10000"/>
                    <a:gd name="connsiteY129" fmla="*/ 8247 h 10000"/>
                    <a:gd name="connsiteX130" fmla="*/ 4500 w 10000"/>
                    <a:gd name="connsiteY130" fmla="*/ 8247 h 10000"/>
                    <a:gd name="connsiteX131" fmla="*/ 4222 w 10000"/>
                    <a:gd name="connsiteY131" fmla="*/ 8100 h 10000"/>
                    <a:gd name="connsiteX132" fmla="*/ 4222 w 10000"/>
                    <a:gd name="connsiteY132" fmla="*/ 8100 h 10000"/>
                    <a:gd name="connsiteX133" fmla="*/ 4111 w 10000"/>
                    <a:gd name="connsiteY133" fmla="*/ 8027 h 10000"/>
                    <a:gd name="connsiteX134" fmla="*/ 4111 w 10000"/>
                    <a:gd name="connsiteY134" fmla="*/ 7982 h 10000"/>
                    <a:gd name="connsiteX135" fmla="*/ 4111 w 10000"/>
                    <a:gd name="connsiteY135" fmla="*/ 7938 h 10000"/>
                    <a:gd name="connsiteX136" fmla="*/ 4111 w 10000"/>
                    <a:gd name="connsiteY136" fmla="*/ 7938 h 10000"/>
                    <a:gd name="connsiteX137" fmla="*/ 4278 w 10000"/>
                    <a:gd name="connsiteY137" fmla="*/ 7894 h 10000"/>
                    <a:gd name="connsiteX138" fmla="*/ 4389 w 10000"/>
                    <a:gd name="connsiteY138" fmla="*/ 7879 h 10000"/>
                    <a:gd name="connsiteX139" fmla="*/ 4389 w 10000"/>
                    <a:gd name="connsiteY139" fmla="*/ 7879 h 10000"/>
                    <a:gd name="connsiteX140" fmla="*/ 4000 w 10000"/>
                    <a:gd name="connsiteY140" fmla="*/ 7879 h 10000"/>
                    <a:gd name="connsiteX141" fmla="*/ 3722 w 10000"/>
                    <a:gd name="connsiteY141" fmla="*/ 7894 h 10000"/>
                    <a:gd name="connsiteX142" fmla="*/ 3611 w 10000"/>
                    <a:gd name="connsiteY142" fmla="*/ 7909 h 10000"/>
                    <a:gd name="connsiteX143" fmla="*/ 3556 w 10000"/>
                    <a:gd name="connsiteY143" fmla="*/ 7923 h 10000"/>
                    <a:gd name="connsiteX144" fmla="*/ 3556 w 10000"/>
                    <a:gd name="connsiteY144" fmla="*/ 7923 h 10000"/>
                    <a:gd name="connsiteX145" fmla="*/ 3444 w 10000"/>
                    <a:gd name="connsiteY145" fmla="*/ 7982 h 10000"/>
                    <a:gd name="connsiteX146" fmla="*/ 3278 w 10000"/>
                    <a:gd name="connsiteY146" fmla="*/ 8071 h 10000"/>
                    <a:gd name="connsiteX147" fmla="*/ 3000 w 10000"/>
                    <a:gd name="connsiteY147" fmla="*/ 8174 h 10000"/>
                    <a:gd name="connsiteX148" fmla="*/ 2667 w 10000"/>
                    <a:gd name="connsiteY148" fmla="*/ 8247 h 10000"/>
                    <a:gd name="connsiteX149" fmla="*/ 2667 w 10000"/>
                    <a:gd name="connsiteY149" fmla="*/ 8247 h 10000"/>
                    <a:gd name="connsiteX150" fmla="*/ 2333 w 10000"/>
                    <a:gd name="connsiteY150" fmla="*/ 8306 h 10000"/>
                    <a:gd name="connsiteX151" fmla="*/ 1833 w 10000"/>
                    <a:gd name="connsiteY151" fmla="*/ 8365 h 10000"/>
                    <a:gd name="connsiteX152" fmla="*/ 1389 w 10000"/>
                    <a:gd name="connsiteY152" fmla="*/ 8395 h 10000"/>
                    <a:gd name="connsiteX153" fmla="*/ 889 w 10000"/>
                    <a:gd name="connsiteY153" fmla="*/ 8409 h 10000"/>
                    <a:gd name="connsiteX154" fmla="*/ 889 w 10000"/>
                    <a:gd name="connsiteY154" fmla="*/ 8409 h 10000"/>
                    <a:gd name="connsiteX155" fmla="*/ 500 w 10000"/>
                    <a:gd name="connsiteY155" fmla="*/ 8424 h 10000"/>
                    <a:gd name="connsiteX156" fmla="*/ 222 w 10000"/>
                    <a:gd name="connsiteY156" fmla="*/ 8439 h 10000"/>
                    <a:gd name="connsiteX157" fmla="*/ 0 w 10000"/>
                    <a:gd name="connsiteY157" fmla="*/ 8454 h 10000"/>
                    <a:gd name="connsiteX158" fmla="*/ 0 w 10000"/>
                    <a:gd name="connsiteY158" fmla="*/ 8454 h 10000"/>
                    <a:gd name="connsiteX159" fmla="*/ 278 w 10000"/>
                    <a:gd name="connsiteY159" fmla="*/ 8689 h 10000"/>
                    <a:gd name="connsiteX160" fmla="*/ 500 w 10000"/>
                    <a:gd name="connsiteY160" fmla="*/ 8866 h 10000"/>
                    <a:gd name="connsiteX161" fmla="*/ 722 w 10000"/>
                    <a:gd name="connsiteY161" fmla="*/ 9013 h 10000"/>
                    <a:gd name="connsiteX162" fmla="*/ 722 w 10000"/>
                    <a:gd name="connsiteY162" fmla="*/ 9013 h 10000"/>
                    <a:gd name="connsiteX163" fmla="*/ 889 w 10000"/>
                    <a:gd name="connsiteY163" fmla="*/ 9102 h 10000"/>
                    <a:gd name="connsiteX164" fmla="*/ 944 w 10000"/>
                    <a:gd name="connsiteY164" fmla="*/ 9175 h 10000"/>
                    <a:gd name="connsiteX165" fmla="*/ 1111 w 10000"/>
                    <a:gd name="connsiteY165" fmla="*/ 9249 h 10000"/>
                    <a:gd name="connsiteX166" fmla="*/ 1333 w 10000"/>
                    <a:gd name="connsiteY166" fmla="*/ 9367 h 10000"/>
                    <a:gd name="connsiteX167" fmla="*/ 1333 w 10000"/>
                    <a:gd name="connsiteY167" fmla="*/ 9367 h 10000"/>
                    <a:gd name="connsiteX168" fmla="*/ 1444 w 10000"/>
                    <a:gd name="connsiteY168" fmla="*/ 9426 h 10000"/>
                    <a:gd name="connsiteX169" fmla="*/ 1500 w 10000"/>
                    <a:gd name="connsiteY169" fmla="*/ 9470 h 10000"/>
                    <a:gd name="connsiteX170" fmla="*/ 1500 w 10000"/>
                    <a:gd name="connsiteY170" fmla="*/ 9514 h 10000"/>
                    <a:gd name="connsiteX171" fmla="*/ 1556 w 10000"/>
                    <a:gd name="connsiteY171" fmla="*/ 9529 h 10000"/>
                    <a:gd name="connsiteX172" fmla="*/ 1722 w 10000"/>
                    <a:gd name="connsiteY172" fmla="*/ 9543 h 10000"/>
                    <a:gd name="connsiteX173" fmla="*/ 1944 w 10000"/>
                    <a:gd name="connsiteY173" fmla="*/ 9558 h 10000"/>
                    <a:gd name="connsiteX174" fmla="*/ 2944 w 10000"/>
                    <a:gd name="connsiteY174" fmla="*/ 9573 h 10000"/>
                    <a:gd name="connsiteX175" fmla="*/ 2944 w 10000"/>
                    <a:gd name="connsiteY175" fmla="*/ 9573 h 10000"/>
                    <a:gd name="connsiteX176" fmla="*/ 4167 w 10000"/>
                    <a:gd name="connsiteY176" fmla="*/ 9602 h 10000"/>
                    <a:gd name="connsiteX177" fmla="*/ 4889 w 10000"/>
                    <a:gd name="connsiteY177" fmla="*/ 9647 h 10000"/>
                    <a:gd name="connsiteX178" fmla="*/ 5278 w 10000"/>
                    <a:gd name="connsiteY178" fmla="*/ 9691 h 10000"/>
                    <a:gd name="connsiteX179" fmla="*/ 5444 w 10000"/>
                    <a:gd name="connsiteY179" fmla="*/ 9705 h 10000"/>
                    <a:gd name="connsiteX180" fmla="*/ 5444 w 10000"/>
                    <a:gd name="connsiteY180" fmla="*/ 9705 h 10000"/>
                    <a:gd name="connsiteX181" fmla="*/ 5722 w 10000"/>
                    <a:gd name="connsiteY181" fmla="*/ 9735 h 10000"/>
                    <a:gd name="connsiteX182" fmla="*/ 5833 w 10000"/>
                    <a:gd name="connsiteY182" fmla="*/ 9750 h 10000"/>
                    <a:gd name="connsiteX183" fmla="*/ 5833 w 10000"/>
                    <a:gd name="connsiteY183" fmla="*/ 9750 h 10000"/>
                    <a:gd name="connsiteX184" fmla="*/ 5833 w 10000"/>
                    <a:gd name="connsiteY184" fmla="*/ 9735 h 10000"/>
                    <a:gd name="connsiteX185" fmla="*/ 5889 w 10000"/>
                    <a:gd name="connsiteY185" fmla="*/ 9720 h 10000"/>
                    <a:gd name="connsiteX186" fmla="*/ 6000 w 10000"/>
                    <a:gd name="connsiteY186" fmla="*/ 9705 h 10000"/>
                    <a:gd name="connsiteX187" fmla="*/ 6167 w 10000"/>
                    <a:gd name="connsiteY187" fmla="*/ 9691 h 10000"/>
                    <a:gd name="connsiteX188" fmla="*/ 6444 w 10000"/>
                    <a:gd name="connsiteY188" fmla="*/ 9691 h 10000"/>
                    <a:gd name="connsiteX189" fmla="*/ 6833 w 10000"/>
                    <a:gd name="connsiteY189" fmla="*/ 9705 h 10000"/>
                    <a:gd name="connsiteX190" fmla="*/ 7278 w 10000"/>
                    <a:gd name="connsiteY190" fmla="*/ 9750 h 10000"/>
                    <a:gd name="connsiteX191" fmla="*/ 7278 w 10000"/>
                    <a:gd name="connsiteY191" fmla="*/ 9750 h 10000"/>
                    <a:gd name="connsiteX192" fmla="*/ 8722 w 10000"/>
                    <a:gd name="connsiteY192" fmla="*/ 9882 h 10000"/>
                    <a:gd name="connsiteX193" fmla="*/ 10000 w 10000"/>
                    <a:gd name="connsiteY19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444 w 10000"/>
                    <a:gd name="connsiteY71" fmla="*/ 1738 h 10000"/>
                    <a:gd name="connsiteX72" fmla="*/ 4444 w 10000"/>
                    <a:gd name="connsiteY72" fmla="*/ 1546 h 10000"/>
                    <a:gd name="connsiteX73" fmla="*/ 4611 w 10000"/>
                    <a:gd name="connsiteY73" fmla="*/ 1384 h 10000"/>
                    <a:gd name="connsiteX74" fmla="*/ 4778 w 10000"/>
                    <a:gd name="connsiteY74" fmla="*/ 1296 h 10000"/>
                    <a:gd name="connsiteX75" fmla="*/ 5000 w 10000"/>
                    <a:gd name="connsiteY75" fmla="*/ 1222 h 10000"/>
                    <a:gd name="connsiteX76" fmla="*/ 5000 w 10000"/>
                    <a:gd name="connsiteY76" fmla="*/ 1222 h 10000"/>
                    <a:gd name="connsiteX77" fmla="*/ 5556 w 10000"/>
                    <a:gd name="connsiteY77" fmla="*/ 1075 h 10000"/>
                    <a:gd name="connsiteX78" fmla="*/ 6111 w 10000"/>
                    <a:gd name="connsiteY78" fmla="*/ 884 h 10000"/>
                    <a:gd name="connsiteX79" fmla="*/ 6667 w 10000"/>
                    <a:gd name="connsiteY79" fmla="*/ 707 h 10000"/>
                    <a:gd name="connsiteX80" fmla="*/ 7056 w 10000"/>
                    <a:gd name="connsiteY80" fmla="*/ 545 h 10000"/>
                    <a:gd name="connsiteX81" fmla="*/ 7056 w 10000"/>
                    <a:gd name="connsiteY81" fmla="*/ 545 h 10000"/>
                    <a:gd name="connsiteX82" fmla="*/ 7333 w 10000"/>
                    <a:gd name="connsiteY82" fmla="*/ 398 h 10000"/>
                    <a:gd name="connsiteX83" fmla="*/ 7667 w 10000"/>
                    <a:gd name="connsiteY83" fmla="*/ 221 h 10000"/>
                    <a:gd name="connsiteX84" fmla="*/ 8000 w 10000"/>
                    <a:gd name="connsiteY84" fmla="*/ 88 h 10000"/>
                    <a:gd name="connsiteX85" fmla="*/ 8167 w 10000"/>
                    <a:gd name="connsiteY85" fmla="*/ 29 h 10000"/>
                    <a:gd name="connsiteX86" fmla="*/ 8333 w 10000"/>
                    <a:gd name="connsiteY86" fmla="*/ 15 h 10000"/>
                    <a:gd name="connsiteX87" fmla="*/ 8333 w 10000"/>
                    <a:gd name="connsiteY87" fmla="*/ 15 h 10000"/>
                    <a:gd name="connsiteX88" fmla="*/ 8667 w 10000"/>
                    <a:gd name="connsiteY88" fmla="*/ 0 h 10000"/>
                    <a:gd name="connsiteX89" fmla="*/ 9111 w 10000"/>
                    <a:gd name="connsiteY89" fmla="*/ 0 h 10000"/>
                    <a:gd name="connsiteX90" fmla="*/ 10000 w 10000"/>
                    <a:gd name="connsiteY90" fmla="*/ 15 h 10000"/>
                    <a:gd name="connsiteX91" fmla="*/ 10000 w 10000"/>
                    <a:gd name="connsiteY91" fmla="*/ 9013 h 10000"/>
                    <a:gd name="connsiteX92" fmla="*/ 10000 w 10000"/>
                    <a:gd name="connsiteY92" fmla="*/ 9013 h 10000"/>
                    <a:gd name="connsiteX93" fmla="*/ 9722 w 10000"/>
                    <a:gd name="connsiteY93" fmla="*/ 8999 h 10000"/>
                    <a:gd name="connsiteX94" fmla="*/ 9389 w 10000"/>
                    <a:gd name="connsiteY94" fmla="*/ 9013 h 10000"/>
                    <a:gd name="connsiteX95" fmla="*/ 9389 w 10000"/>
                    <a:gd name="connsiteY95" fmla="*/ 9013 h 10000"/>
                    <a:gd name="connsiteX96" fmla="*/ 9278 w 10000"/>
                    <a:gd name="connsiteY96" fmla="*/ 9028 h 10000"/>
                    <a:gd name="connsiteX97" fmla="*/ 9056 w 10000"/>
                    <a:gd name="connsiteY97" fmla="*/ 9013 h 10000"/>
                    <a:gd name="connsiteX98" fmla="*/ 8889 w 10000"/>
                    <a:gd name="connsiteY98" fmla="*/ 8999 h 10000"/>
                    <a:gd name="connsiteX99" fmla="*/ 8722 w 10000"/>
                    <a:gd name="connsiteY99" fmla="*/ 8969 h 10000"/>
                    <a:gd name="connsiteX100" fmla="*/ 8611 w 10000"/>
                    <a:gd name="connsiteY100" fmla="*/ 8925 h 10000"/>
                    <a:gd name="connsiteX101" fmla="*/ 8444 w 10000"/>
                    <a:gd name="connsiteY101" fmla="*/ 8851 h 10000"/>
                    <a:gd name="connsiteX102" fmla="*/ 8444 w 10000"/>
                    <a:gd name="connsiteY102" fmla="*/ 8851 h 10000"/>
                    <a:gd name="connsiteX103" fmla="*/ 8222 w 10000"/>
                    <a:gd name="connsiteY103" fmla="*/ 8719 h 10000"/>
                    <a:gd name="connsiteX104" fmla="*/ 8111 w 10000"/>
                    <a:gd name="connsiteY104" fmla="*/ 8660 h 10000"/>
                    <a:gd name="connsiteX105" fmla="*/ 7944 w 10000"/>
                    <a:gd name="connsiteY105" fmla="*/ 8616 h 10000"/>
                    <a:gd name="connsiteX106" fmla="*/ 7778 w 10000"/>
                    <a:gd name="connsiteY106" fmla="*/ 8586 h 10000"/>
                    <a:gd name="connsiteX107" fmla="*/ 7556 w 10000"/>
                    <a:gd name="connsiteY107" fmla="*/ 8571 h 10000"/>
                    <a:gd name="connsiteX108" fmla="*/ 7333 w 10000"/>
                    <a:gd name="connsiteY108" fmla="*/ 8557 h 10000"/>
                    <a:gd name="connsiteX109" fmla="*/ 7000 w 10000"/>
                    <a:gd name="connsiteY109" fmla="*/ 8542 h 10000"/>
                    <a:gd name="connsiteX110" fmla="*/ 7000 w 10000"/>
                    <a:gd name="connsiteY110" fmla="*/ 8542 h 10000"/>
                    <a:gd name="connsiteX111" fmla="*/ 6556 w 10000"/>
                    <a:gd name="connsiteY111" fmla="*/ 8557 h 10000"/>
                    <a:gd name="connsiteX112" fmla="*/ 6222 w 10000"/>
                    <a:gd name="connsiteY112" fmla="*/ 8557 h 10000"/>
                    <a:gd name="connsiteX113" fmla="*/ 6111 w 10000"/>
                    <a:gd name="connsiteY113" fmla="*/ 8542 h 10000"/>
                    <a:gd name="connsiteX114" fmla="*/ 6056 w 10000"/>
                    <a:gd name="connsiteY114" fmla="*/ 8527 h 10000"/>
                    <a:gd name="connsiteX115" fmla="*/ 6056 w 10000"/>
                    <a:gd name="connsiteY115" fmla="*/ 8527 h 10000"/>
                    <a:gd name="connsiteX116" fmla="*/ 6056 w 10000"/>
                    <a:gd name="connsiteY116" fmla="*/ 8262 h 10000"/>
                    <a:gd name="connsiteX117" fmla="*/ 6056 w 10000"/>
                    <a:gd name="connsiteY117" fmla="*/ 8262 h 10000"/>
                    <a:gd name="connsiteX118" fmla="*/ 6056 w 10000"/>
                    <a:gd name="connsiteY118" fmla="*/ 8203 h 10000"/>
                    <a:gd name="connsiteX119" fmla="*/ 5944 w 10000"/>
                    <a:gd name="connsiteY119" fmla="*/ 8130 h 10000"/>
                    <a:gd name="connsiteX120" fmla="*/ 5889 w 10000"/>
                    <a:gd name="connsiteY120" fmla="*/ 8115 h 10000"/>
                    <a:gd name="connsiteX121" fmla="*/ 5778 w 10000"/>
                    <a:gd name="connsiteY121" fmla="*/ 8100 h 10000"/>
                    <a:gd name="connsiteX122" fmla="*/ 5667 w 10000"/>
                    <a:gd name="connsiteY122" fmla="*/ 8100 h 10000"/>
                    <a:gd name="connsiteX123" fmla="*/ 5500 w 10000"/>
                    <a:gd name="connsiteY123" fmla="*/ 8115 h 10000"/>
                    <a:gd name="connsiteX124" fmla="*/ 5500 w 10000"/>
                    <a:gd name="connsiteY124" fmla="*/ 8115 h 10000"/>
                    <a:gd name="connsiteX125" fmla="*/ 4889 w 10000"/>
                    <a:gd name="connsiteY125" fmla="*/ 8218 h 10000"/>
                    <a:gd name="connsiteX126" fmla="*/ 4611 w 10000"/>
                    <a:gd name="connsiteY126" fmla="*/ 8247 h 10000"/>
                    <a:gd name="connsiteX127" fmla="*/ 4556 w 10000"/>
                    <a:gd name="connsiteY127" fmla="*/ 8262 h 10000"/>
                    <a:gd name="connsiteX128" fmla="*/ 4500 w 10000"/>
                    <a:gd name="connsiteY128" fmla="*/ 8247 h 10000"/>
                    <a:gd name="connsiteX129" fmla="*/ 4500 w 10000"/>
                    <a:gd name="connsiteY129" fmla="*/ 8247 h 10000"/>
                    <a:gd name="connsiteX130" fmla="*/ 4222 w 10000"/>
                    <a:gd name="connsiteY130" fmla="*/ 8100 h 10000"/>
                    <a:gd name="connsiteX131" fmla="*/ 4222 w 10000"/>
                    <a:gd name="connsiteY131" fmla="*/ 8100 h 10000"/>
                    <a:gd name="connsiteX132" fmla="*/ 4111 w 10000"/>
                    <a:gd name="connsiteY132" fmla="*/ 8027 h 10000"/>
                    <a:gd name="connsiteX133" fmla="*/ 4111 w 10000"/>
                    <a:gd name="connsiteY133" fmla="*/ 7982 h 10000"/>
                    <a:gd name="connsiteX134" fmla="*/ 4111 w 10000"/>
                    <a:gd name="connsiteY134" fmla="*/ 7938 h 10000"/>
                    <a:gd name="connsiteX135" fmla="*/ 4111 w 10000"/>
                    <a:gd name="connsiteY135" fmla="*/ 7938 h 10000"/>
                    <a:gd name="connsiteX136" fmla="*/ 4278 w 10000"/>
                    <a:gd name="connsiteY136" fmla="*/ 7894 h 10000"/>
                    <a:gd name="connsiteX137" fmla="*/ 4389 w 10000"/>
                    <a:gd name="connsiteY137" fmla="*/ 7879 h 10000"/>
                    <a:gd name="connsiteX138" fmla="*/ 4389 w 10000"/>
                    <a:gd name="connsiteY138" fmla="*/ 7879 h 10000"/>
                    <a:gd name="connsiteX139" fmla="*/ 4000 w 10000"/>
                    <a:gd name="connsiteY139" fmla="*/ 7879 h 10000"/>
                    <a:gd name="connsiteX140" fmla="*/ 3722 w 10000"/>
                    <a:gd name="connsiteY140" fmla="*/ 7894 h 10000"/>
                    <a:gd name="connsiteX141" fmla="*/ 3611 w 10000"/>
                    <a:gd name="connsiteY141" fmla="*/ 7909 h 10000"/>
                    <a:gd name="connsiteX142" fmla="*/ 3556 w 10000"/>
                    <a:gd name="connsiteY142" fmla="*/ 7923 h 10000"/>
                    <a:gd name="connsiteX143" fmla="*/ 3556 w 10000"/>
                    <a:gd name="connsiteY143" fmla="*/ 7923 h 10000"/>
                    <a:gd name="connsiteX144" fmla="*/ 3444 w 10000"/>
                    <a:gd name="connsiteY144" fmla="*/ 7982 h 10000"/>
                    <a:gd name="connsiteX145" fmla="*/ 3278 w 10000"/>
                    <a:gd name="connsiteY145" fmla="*/ 8071 h 10000"/>
                    <a:gd name="connsiteX146" fmla="*/ 3000 w 10000"/>
                    <a:gd name="connsiteY146" fmla="*/ 8174 h 10000"/>
                    <a:gd name="connsiteX147" fmla="*/ 2667 w 10000"/>
                    <a:gd name="connsiteY147" fmla="*/ 8247 h 10000"/>
                    <a:gd name="connsiteX148" fmla="*/ 2667 w 10000"/>
                    <a:gd name="connsiteY148" fmla="*/ 8247 h 10000"/>
                    <a:gd name="connsiteX149" fmla="*/ 2333 w 10000"/>
                    <a:gd name="connsiteY149" fmla="*/ 8306 h 10000"/>
                    <a:gd name="connsiteX150" fmla="*/ 1833 w 10000"/>
                    <a:gd name="connsiteY150" fmla="*/ 8365 h 10000"/>
                    <a:gd name="connsiteX151" fmla="*/ 1389 w 10000"/>
                    <a:gd name="connsiteY151" fmla="*/ 8395 h 10000"/>
                    <a:gd name="connsiteX152" fmla="*/ 889 w 10000"/>
                    <a:gd name="connsiteY152" fmla="*/ 8409 h 10000"/>
                    <a:gd name="connsiteX153" fmla="*/ 889 w 10000"/>
                    <a:gd name="connsiteY153" fmla="*/ 8409 h 10000"/>
                    <a:gd name="connsiteX154" fmla="*/ 500 w 10000"/>
                    <a:gd name="connsiteY154" fmla="*/ 8424 h 10000"/>
                    <a:gd name="connsiteX155" fmla="*/ 222 w 10000"/>
                    <a:gd name="connsiteY155" fmla="*/ 8439 h 10000"/>
                    <a:gd name="connsiteX156" fmla="*/ 0 w 10000"/>
                    <a:gd name="connsiteY156" fmla="*/ 8454 h 10000"/>
                    <a:gd name="connsiteX157" fmla="*/ 0 w 10000"/>
                    <a:gd name="connsiteY157" fmla="*/ 8454 h 10000"/>
                    <a:gd name="connsiteX158" fmla="*/ 278 w 10000"/>
                    <a:gd name="connsiteY158" fmla="*/ 8689 h 10000"/>
                    <a:gd name="connsiteX159" fmla="*/ 500 w 10000"/>
                    <a:gd name="connsiteY159" fmla="*/ 8866 h 10000"/>
                    <a:gd name="connsiteX160" fmla="*/ 722 w 10000"/>
                    <a:gd name="connsiteY160" fmla="*/ 9013 h 10000"/>
                    <a:gd name="connsiteX161" fmla="*/ 722 w 10000"/>
                    <a:gd name="connsiteY161" fmla="*/ 9013 h 10000"/>
                    <a:gd name="connsiteX162" fmla="*/ 889 w 10000"/>
                    <a:gd name="connsiteY162" fmla="*/ 9102 h 10000"/>
                    <a:gd name="connsiteX163" fmla="*/ 944 w 10000"/>
                    <a:gd name="connsiteY163" fmla="*/ 9175 h 10000"/>
                    <a:gd name="connsiteX164" fmla="*/ 1111 w 10000"/>
                    <a:gd name="connsiteY164" fmla="*/ 9249 h 10000"/>
                    <a:gd name="connsiteX165" fmla="*/ 1333 w 10000"/>
                    <a:gd name="connsiteY165" fmla="*/ 9367 h 10000"/>
                    <a:gd name="connsiteX166" fmla="*/ 1333 w 10000"/>
                    <a:gd name="connsiteY166" fmla="*/ 9367 h 10000"/>
                    <a:gd name="connsiteX167" fmla="*/ 1444 w 10000"/>
                    <a:gd name="connsiteY167" fmla="*/ 9426 h 10000"/>
                    <a:gd name="connsiteX168" fmla="*/ 1500 w 10000"/>
                    <a:gd name="connsiteY168" fmla="*/ 9470 h 10000"/>
                    <a:gd name="connsiteX169" fmla="*/ 1500 w 10000"/>
                    <a:gd name="connsiteY169" fmla="*/ 9514 h 10000"/>
                    <a:gd name="connsiteX170" fmla="*/ 1556 w 10000"/>
                    <a:gd name="connsiteY170" fmla="*/ 9529 h 10000"/>
                    <a:gd name="connsiteX171" fmla="*/ 1722 w 10000"/>
                    <a:gd name="connsiteY171" fmla="*/ 9543 h 10000"/>
                    <a:gd name="connsiteX172" fmla="*/ 1944 w 10000"/>
                    <a:gd name="connsiteY172" fmla="*/ 9558 h 10000"/>
                    <a:gd name="connsiteX173" fmla="*/ 2944 w 10000"/>
                    <a:gd name="connsiteY173" fmla="*/ 9573 h 10000"/>
                    <a:gd name="connsiteX174" fmla="*/ 2944 w 10000"/>
                    <a:gd name="connsiteY174" fmla="*/ 9573 h 10000"/>
                    <a:gd name="connsiteX175" fmla="*/ 4167 w 10000"/>
                    <a:gd name="connsiteY175" fmla="*/ 9602 h 10000"/>
                    <a:gd name="connsiteX176" fmla="*/ 4889 w 10000"/>
                    <a:gd name="connsiteY176" fmla="*/ 9647 h 10000"/>
                    <a:gd name="connsiteX177" fmla="*/ 5278 w 10000"/>
                    <a:gd name="connsiteY177" fmla="*/ 9691 h 10000"/>
                    <a:gd name="connsiteX178" fmla="*/ 5444 w 10000"/>
                    <a:gd name="connsiteY178" fmla="*/ 9705 h 10000"/>
                    <a:gd name="connsiteX179" fmla="*/ 5444 w 10000"/>
                    <a:gd name="connsiteY179" fmla="*/ 9705 h 10000"/>
                    <a:gd name="connsiteX180" fmla="*/ 5722 w 10000"/>
                    <a:gd name="connsiteY180" fmla="*/ 9735 h 10000"/>
                    <a:gd name="connsiteX181" fmla="*/ 5833 w 10000"/>
                    <a:gd name="connsiteY181" fmla="*/ 9750 h 10000"/>
                    <a:gd name="connsiteX182" fmla="*/ 5833 w 10000"/>
                    <a:gd name="connsiteY182" fmla="*/ 9750 h 10000"/>
                    <a:gd name="connsiteX183" fmla="*/ 5833 w 10000"/>
                    <a:gd name="connsiteY183" fmla="*/ 9735 h 10000"/>
                    <a:gd name="connsiteX184" fmla="*/ 5889 w 10000"/>
                    <a:gd name="connsiteY184" fmla="*/ 9720 h 10000"/>
                    <a:gd name="connsiteX185" fmla="*/ 6000 w 10000"/>
                    <a:gd name="connsiteY185" fmla="*/ 9705 h 10000"/>
                    <a:gd name="connsiteX186" fmla="*/ 6167 w 10000"/>
                    <a:gd name="connsiteY186" fmla="*/ 9691 h 10000"/>
                    <a:gd name="connsiteX187" fmla="*/ 6444 w 10000"/>
                    <a:gd name="connsiteY187" fmla="*/ 9691 h 10000"/>
                    <a:gd name="connsiteX188" fmla="*/ 6833 w 10000"/>
                    <a:gd name="connsiteY188" fmla="*/ 9705 h 10000"/>
                    <a:gd name="connsiteX189" fmla="*/ 7278 w 10000"/>
                    <a:gd name="connsiteY189" fmla="*/ 9750 h 10000"/>
                    <a:gd name="connsiteX190" fmla="*/ 7278 w 10000"/>
                    <a:gd name="connsiteY190" fmla="*/ 9750 h 10000"/>
                    <a:gd name="connsiteX191" fmla="*/ 8722 w 10000"/>
                    <a:gd name="connsiteY191" fmla="*/ 9882 h 10000"/>
                    <a:gd name="connsiteX192" fmla="*/ 10000 w 10000"/>
                    <a:gd name="connsiteY19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444 w 10000"/>
                    <a:gd name="connsiteY71" fmla="*/ 1738 h 10000"/>
                    <a:gd name="connsiteX72" fmla="*/ 4611 w 10000"/>
                    <a:gd name="connsiteY72" fmla="*/ 1384 h 10000"/>
                    <a:gd name="connsiteX73" fmla="*/ 4778 w 10000"/>
                    <a:gd name="connsiteY73" fmla="*/ 1296 h 10000"/>
                    <a:gd name="connsiteX74" fmla="*/ 5000 w 10000"/>
                    <a:gd name="connsiteY74" fmla="*/ 1222 h 10000"/>
                    <a:gd name="connsiteX75" fmla="*/ 5000 w 10000"/>
                    <a:gd name="connsiteY75" fmla="*/ 1222 h 10000"/>
                    <a:gd name="connsiteX76" fmla="*/ 5556 w 10000"/>
                    <a:gd name="connsiteY76" fmla="*/ 1075 h 10000"/>
                    <a:gd name="connsiteX77" fmla="*/ 6111 w 10000"/>
                    <a:gd name="connsiteY77" fmla="*/ 884 h 10000"/>
                    <a:gd name="connsiteX78" fmla="*/ 6667 w 10000"/>
                    <a:gd name="connsiteY78" fmla="*/ 707 h 10000"/>
                    <a:gd name="connsiteX79" fmla="*/ 7056 w 10000"/>
                    <a:gd name="connsiteY79" fmla="*/ 545 h 10000"/>
                    <a:gd name="connsiteX80" fmla="*/ 7056 w 10000"/>
                    <a:gd name="connsiteY80" fmla="*/ 545 h 10000"/>
                    <a:gd name="connsiteX81" fmla="*/ 7333 w 10000"/>
                    <a:gd name="connsiteY81" fmla="*/ 398 h 10000"/>
                    <a:gd name="connsiteX82" fmla="*/ 7667 w 10000"/>
                    <a:gd name="connsiteY82" fmla="*/ 221 h 10000"/>
                    <a:gd name="connsiteX83" fmla="*/ 8000 w 10000"/>
                    <a:gd name="connsiteY83" fmla="*/ 88 h 10000"/>
                    <a:gd name="connsiteX84" fmla="*/ 8167 w 10000"/>
                    <a:gd name="connsiteY84" fmla="*/ 29 h 10000"/>
                    <a:gd name="connsiteX85" fmla="*/ 8333 w 10000"/>
                    <a:gd name="connsiteY85" fmla="*/ 15 h 10000"/>
                    <a:gd name="connsiteX86" fmla="*/ 8333 w 10000"/>
                    <a:gd name="connsiteY86" fmla="*/ 15 h 10000"/>
                    <a:gd name="connsiteX87" fmla="*/ 8667 w 10000"/>
                    <a:gd name="connsiteY87" fmla="*/ 0 h 10000"/>
                    <a:gd name="connsiteX88" fmla="*/ 9111 w 10000"/>
                    <a:gd name="connsiteY88" fmla="*/ 0 h 10000"/>
                    <a:gd name="connsiteX89" fmla="*/ 10000 w 10000"/>
                    <a:gd name="connsiteY89" fmla="*/ 15 h 10000"/>
                    <a:gd name="connsiteX90" fmla="*/ 10000 w 10000"/>
                    <a:gd name="connsiteY90" fmla="*/ 9013 h 10000"/>
                    <a:gd name="connsiteX91" fmla="*/ 10000 w 10000"/>
                    <a:gd name="connsiteY91" fmla="*/ 9013 h 10000"/>
                    <a:gd name="connsiteX92" fmla="*/ 9722 w 10000"/>
                    <a:gd name="connsiteY92" fmla="*/ 8999 h 10000"/>
                    <a:gd name="connsiteX93" fmla="*/ 9389 w 10000"/>
                    <a:gd name="connsiteY93" fmla="*/ 9013 h 10000"/>
                    <a:gd name="connsiteX94" fmla="*/ 9389 w 10000"/>
                    <a:gd name="connsiteY94" fmla="*/ 9013 h 10000"/>
                    <a:gd name="connsiteX95" fmla="*/ 9278 w 10000"/>
                    <a:gd name="connsiteY95" fmla="*/ 9028 h 10000"/>
                    <a:gd name="connsiteX96" fmla="*/ 9056 w 10000"/>
                    <a:gd name="connsiteY96" fmla="*/ 9013 h 10000"/>
                    <a:gd name="connsiteX97" fmla="*/ 8889 w 10000"/>
                    <a:gd name="connsiteY97" fmla="*/ 8999 h 10000"/>
                    <a:gd name="connsiteX98" fmla="*/ 8722 w 10000"/>
                    <a:gd name="connsiteY98" fmla="*/ 8969 h 10000"/>
                    <a:gd name="connsiteX99" fmla="*/ 8611 w 10000"/>
                    <a:gd name="connsiteY99" fmla="*/ 8925 h 10000"/>
                    <a:gd name="connsiteX100" fmla="*/ 8444 w 10000"/>
                    <a:gd name="connsiteY100" fmla="*/ 8851 h 10000"/>
                    <a:gd name="connsiteX101" fmla="*/ 8444 w 10000"/>
                    <a:gd name="connsiteY101" fmla="*/ 8851 h 10000"/>
                    <a:gd name="connsiteX102" fmla="*/ 8222 w 10000"/>
                    <a:gd name="connsiteY102" fmla="*/ 8719 h 10000"/>
                    <a:gd name="connsiteX103" fmla="*/ 8111 w 10000"/>
                    <a:gd name="connsiteY103" fmla="*/ 8660 h 10000"/>
                    <a:gd name="connsiteX104" fmla="*/ 7944 w 10000"/>
                    <a:gd name="connsiteY104" fmla="*/ 8616 h 10000"/>
                    <a:gd name="connsiteX105" fmla="*/ 7778 w 10000"/>
                    <a:gd name="connsiteY105" fmla="*/ 8586 h 10000"/>
                    <a:gd name="connsiteX106" fmla="*/ 7556 w 10000"/>
                    <a:gd name="connsiteY106" fmla="*/ 8571 h 10000"/>
                    <a:gd name="connsiteX107" fmla="*/ 7333 w 10000"/>
                    <a:gd name="connsiteY107" fmla="*/ 8557 h 10000"/>
                    <a:gd name="connsiteX108" fmla="*/ 7000 w 10000"/>
                    <a:gd name="connsiteY108" fmla="*/ 8542 h 10000"/>
                    <a:gd name="connsiteX109" fmla="*/ 7000 w 10000"/>
                    <a:gd name="connsiteY109" fmla="*/ 8542 h 10000"/>
                    <a:gd name="connsiteX110" fmla="*/ 6556 w 10000"/>
                    <a:gd name="connsiteY110" fmla="*/ 8557 h 10000"/>
                    <a:gd name="connsiteX111" fmla="*/ 6222 w 10000"/>
                    <a:gd name="connsiteY111" fmla="*/ 8557 h 10000"/>
                    <a:gd name="connsiteX112" fmla="*/ 6111 w 10000"/>
                    <a:gd name="connsiteY112" fmla="*/ 8542 h 10000"/>
                    <a:gd name="connsiteX113" fmla="*/ 6056 w 10000"/>
                    <a:gd name="connsiteY113" fmla="*/ 8527 h 10000"/>
                    <a:gd name="connsiteX114" fmla="*/ 6056 w 10000"/>
                    <a:gd name="connsiteY114" fmla="*/ 8527 h 10000"/>
                    <a:gd name="connsiteX115" fmla="*/ 6056 w 10000"/>
                    <a:gd name="connsiteY115" fmla="*/ 8262 h 10000"/>
                    <a:gd name="connsiteX116" fmla="*/ 6056 w 10000"/>
                    <a:gd name="connsiteY116" fmla="*/ 8262 h 10000"/>
                    <a:gd name="connsiteX117" fmla="*/ 6056 w 10000"/>
                    <a:gd name="connsiteY117" fmla="*/ 8203 h 10000"/>
                    <a:gd name="connsiteX118" fmla="*/ 5944 w 10000"/>
                    <a:gd name="connsiteY118" fmla="*/ 8130 h 10000"/>
                    <a:gd name="connsiteX119" fmla="*/ 5889 w 10000"/>
                    <a:gd name="connsiteY119" fmla="*/ 8115 h 10000"/>
                    <a:gd name="connsiteX120" fmla="*/ 5778 w 10000"/>
                    <a:gd name="connsiteY120" fmla="*/ 8100 h 10000"/>
                    <a:gd name="connsiteX121" fmla="*/ 5667 w 10000"/>
                    <a:gd name="connsiteY121" fmla="*/ 8100 h 10000"/>
                    <a:gd name="connsiteX122" fmla="*/ 5500 w 10000"/>
                    <a:gd name="connsiteY122" fmla="*/ 8115 h 10000"/>
                    <a:gd name="connsiteX123" fmla="*/ 5500 w 10000"/>
                    <a:gd name="connsiteY123" fmla="*/ 8115 h 10000"/>
                    <a:gd name="connsiteX124" fmla="*/ 4889 w 10000"/>
                    <a:gd name="connsiteY124" fmla="*/ 8218 h 10000"/>
                    <a:gd name="connsiteX125" fmla="*/ 4611 w 10000"/>
                    <a:gd name="connsiteY125" fmla="*/ 8247 h 10000"/>
                    <a:gd name="connsiteX126" fmla="*/ 4556 w 10000"/>
                    <a:gd name="connsiteY126" fmla="*/ 8262 h 10000"/>
                    <a:gd name="connsiteX127" fmla="*/ 4500 w 10000"/>
                    <a:gd name="connsiteY127" fmla="*/ 8247 h 10000"/>
                    <a:gd name="connsiteX128" fmla="*/ 4500 w 10000"/>
                    <a:gd name="connsiteY128" fmla="*/ 8247 h 10000"/>
                    <a:gd name="connsiteX129" fmla="*/ 4222 w 10000"/>
                    <a:gd name="connsiteY129" fmla="*/ 8100 h 10000"/>
                    <a:gd name="connsiteX130" fmla="*/ 4222 w 10000"/>
                    <a:gd name="connsiteY130" fmla="*/ 8100 h 10000"/>
                    <a:gd name="connsiteX131" fmla="*/ 4111 w 10000"/>
                    <a:gd name="connsiteY131" fmla="*/ 8027 h 10000"/>
                    <a:gd name="connsiteX132" fmla="*/ 4111 w 10000"/>
                    <a:gd name="connsiteY132" fmla="*/ 7982 h 10000"/>
                    <a:gd name="connsiteX133" fmla="*/ 4111 w 10000"/>
                    <a:gd name="connsiteY133" fmla="*/ 7938 h 10000"/>
                    <a:gd name="connsiteX134" fmla="*/ 4111 w 10000"/>
                    <a:gd name="connsiteY134" fmla="*/ 7938 h 10000"/>
                    <a:gd name="connsiteX135" fmla="*/ 4278 w 10000"/>
                    <a:gd name="connsiteY135" fmla="*/ 7894 h 10000"/>
                    <a:gd name="connsiteX136" fmla="*/ 4389 w 10000"/>
                    <a:gd name="connsiteY136" fmla="*/ 7879 h 10000"/>
                    <a:gd name="connsiteX137" fmla="*/ 4389 w 10000"/>
                    <a:gd name="connsiteY137" fmla="*/ 7879 h 10000"/>
                    <a:gd name="connsiteX138" fmla="*/ 4000 w 10000"/>
                    <a:gd name="connsiteY138" fmla="*/ 7879 h 10000"/>
                    <a:gd name="connsiteX139" fmla="*/ 3722 w 10000"/>
                    <a:gd name="connsiteY139" fmla="*/ 7894 h 10000"/>
                    <a:gd name="connsiteX140" fmla="*/ 3611 w 10000"/>
                    <a:gd name="connsiteY140" fmla="*/ 7909 h 10000"/>
                    <a:gd name="connsiteX141" fmla="*/ 3556 w 10000"/>
                    <a:gd name="connsiteY141" fmla="*/ 7923 h 10000"/>
                    <a:gd name="connsiteX142" fmla="*/ 3556 w 10000"/>
                    <a:gd name="connsiteY142" fmla="*/ 7923 h 10000"/>
                    <a:gd name="connsiteX143" fmla="*/ 3444 w 10000"/>
                    <a:gd name="connsiteY143" fmla="*/ 7982 h 10000"/>
                    <a:gd name="connsiteX144" fmla="*/ 3278 w 10000"/>
                    <a:gd name="connsiteY144" fmla="*/ 8071 h 10000"/>
                    <a:gd name="connsiteX145" fmla="*/ 3000 w 10000"/>
                    <a:gd name="connsiteY145" fmla="*/ 8174 h 10000"/>
                    <a:gd name="connsiteX146" fmla="*/ 2667 w 10000"/>
                    <a:gd name="connsiteY146" fmla="*/ 8247 h 10000"/>
                    <a:gd name="connsiteX147" fmla="*/ 2667 w 10000"/>
                    <a:gd name="connsiteY147" fmla="*/ 8247 h 10000"/>
                    <a:gd name="connsiteX148" fmla="*/ 2333 w 10000"/>
                    <a:gd name="connsiteY148" fmla="*/ 8306 h 10000"/>
                    <a:gd name="connsiteX149" fmla="*/ 1833 w 10000"/>
                    <a:gd name="connsiteY149" fmla="*/ 8365 h 10000"/>
                    <a:gd name="connsiteX150" fmla="*/ 1389 w 10000"/>
                    <a:gd name="connsiteY150" fmla="*/ 8395 h 10000"/>
                    <a:gd name="connsiteX151" fmla="*/ 889 w 10000"/>
                    <a:gd name="connsiteY151" fmla="*/ 8409 h 10000"/>
                    <a:gd name="connsiteX152" fmla="*/ 889 w 10000"/>
                    <a:gd name="connsiteY152" fmla="*/ 8409 h 10000"/>
                    <a:gd name="connsiteX153" fmla="*/ 500 w 10000"/>
                    <a:gd name="connsiteY153" fmla="*/ 8424 h 10000"/>
                    <a:gd name="connsiteX154" fmla="*/ 222 w 10000"/>
                    <a:gd name="connsiteY154" fmla="*/ 8439 h 10000"/>
                    <a:gd name="connsiteX155" fmla="*/ 0 w 10000"/>
                    <a:gd name="connsiteY155" fmla="*/ 8454 h 10000"/>
                    <a:gd name="connsiteX156" fmla="*/ 0 w 10000"/>
                    <a:gd name="connsiteY156" fmla="*/ 8454 h 10000"/>
                    <a:gd name="connsiteX157" fmla="*/ 278 w 10000"/>
                    <a:gd name="connsiteY157" fmla="*/ 8689 h 10000"/>
                    <a:gd name="connsiteX158" fmla="*/ 500 w 10000"/>
                    <a:gd name="connsiteY158" fmla="*/ 8866 h 10000"/>
                    <a:gd name="connsiteX159" fmla="*/ 722 w 10000"/>
                    <a:gd name="connsiteY159" fmla="*/ 9013 h 10000"/>
                    <a:gd name="connsiteX160" fmla="*/ 722 w 10000"/>
                    <a:gd name="connsiteY160" fmla="*/ 9013 h 10000"/>
                    <a:gd name="connsiteX161" fmla="*/ 889 w 10000"/>
                    <a:gd name="connsiteY161" fmla="*/ 9102 h 10000"/>
                    <a:gd name="connsiteX162" fmla="*/ 944 w 10000"/>
                    <a:gd name="connsiteY162" fmla="*/ 9175 h 10000"/>
                    <a:gd name="connsiteX163" fmla="*/ 1111 w 10000"/>
                    <a:gd name="connsiteY163" fmla="*/ 9249 h 10000"/>
                    <a:gd name="connsiteX164" fmla="*/ 1333 w 10000"/>
                    <a:gd name="connsiteY164" fmla="*/ 9367 h 10000"/>
                    <a:gd name="connsiteX165" fmla="*/ 1333 w 10000"/>
                    <a:gd name="connsiteY165" fmla="*/ 9367 h 10000"/>
                    <a:gd name="connsiteX166" fmla="*/ 1444 w 10000"/>
                    <a:gd name="connsiteY166" fmla="*/ 9426 h 10000"/>
                    <a:gd name="connsiteX167" fmla="*/ 1500 w 10000"/>
                    <a:gd name="connsiteY167" fmla="*/ 9470 h 10000"/>
                    <a:gd name="connsiteX168" fmla="*/ 1500 w 10000"/>
                    <a:gd name="connsiteY168" fmla="*/ 9514 h 10000"/>
                    <a:gd name="connsiteX169" fmla="*/ 1556 w 10000"/>
                    <a:gd name="connsiteY169" fmla="*/ 9529 h 10000"/>
                    <a:gd name="connsiteX170" fmla="*/ 1722 w 10000"/>
                    <a:gd name="connsiteY170" fmla="*/ 9543 h 10000"/>
                    <a:gd name="connsiteX171" fmla="*/ 1944 w 10000"/>
                    <a:gd name="connsiteY171" fmla="*/ 9558 h 10000"/>
                    <a:gd name="connsiteX172" fmla="*/ 2944 w 10000"/>
                    <a:gd name="connsiteY172" fmla="*/ 9573 h 10000"/>
                    <a:gd name="connsiteX173" fmla="*/ 2944 w 10000"/>
                    <a:gd name="connsiteY173" fmla="*/ 9573 h 10000"/>
                    <a:gd name="connsiteX174" fmla="*/ 4167 w 10000"/>
                    <a:gd name="connsiteY174" fmla="*/ 9602 h 10000"/>
                    <a:gd name="connsiteX175" fmla="*/ 4889 w 10000"/>
                    <a:gd name="connsiteY175" fmla="*/ 9647 h 10000"/>
                    <a:gd name="connsiteX176" fmla="*/ 5278 w 10000"/>
                    <a:gd name="connsiteY176" fmla="*/ 9691 h 10000"/>
                    <a:gd name="connsiteX177" fmla="*/ 5444 w 10000"/>
                    <a:gd name="connsiteY177" fmla="*/ 9705 h 10000"/>
                    <a:gd name="connsiteX178" fmla="*/ 5444 w 10000"/>
                    <a:gd name="connsiteY178" fmla="*/ 9705 h 10000"/>
                    <a:gd name="connsiteX179" fmla="*/ 5722 w 10000"/>
                    <a:gd name="connsiteY179" fmla="*/ 9735 h 10000"/>
                    <a:gd name="connsiteX180" fmla="*/ 5833 w 10000"/>
                    <a:gd name="connsiteY180" fmla="*/ 9750 h 10000"/>
                    <a:gd name="connsiteX181" fmla="*/ 5833 w 10000"/>
                    <a:gd name="connsiteY181" fmla="*/ 9750 h 10000"/>
                    <a:gd name="connsiteX182" fmla="*/ 5833 w 10000"/>
                    <a:gd name="connsiteY182" fmla="*/ 9735 h 10000"/>
                    <a:gd name="connsiteX183" fmla="*/ 5889 w 10000"/>
                    <a:gd name="connsiteY183" fmla="*/ 9720 h 10000"/>
                    <a:gd name="connsiteX184" fmla="*/ 6000 w 10000"/>
                    <a:gd name="connsiteY184" fmla="*/ 9705 h 10000"/>
                    <a:gd name="connsiteX185" fmla="*/ 6167 w 10000"/>
                    <a:gd name="connsiteY185" fmla="*/ 9691 h 10000"/>
                    <a:gd name="connsiteX186" fmla="*/ 6444 w 10000"/>
                    <a:gd name="connsiteY186" fmla="*/ 9691 h 10000"/>
                    <a:gd name="connsiteX187" fmla="*/ 6833 w 10000"/>
                    <a:gd name="connsiteY187" fmla="*/ 9705 h 10000"/>
                    <a:gd name="connsiteX188" fmla="*/ 7278 w 10000"/>
                    <a:gd name="connsiteY188" fmla="*/ 9750 h 10000"/>
                    <a:gd name="connsiteX189" fmla="*/ 7278 w 10000"/>
                    <a:gd name="connsiteY189" fmla="*/ 9750 h 10000"/>
                    <a:gd name="connsiteX190" fmla="*/ 8722 w 10000"/>
                    <a:gd name="connsiteY190" fmla="*/ 9882 h 10000"/>
                    <a:gd name="connsiteX191" fmla="*/ 10000 w 10000"/>
                    <a:gd name="connsiteY19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611 w 10000"/>
                    <a:gd name="connsiteY71" fmla="*/ 1384 h 10000"/>
                    <a:gd name="connsiteX72" fmla="*/ 4778 w 10000"/>
                    <a:gd name="connsiteY72" fmla="*/ 1296 h 10000"/>
                    <a:gd name="connsiteX73" fmla="*/ 5000 w 10000"/>
                    <a:gd name="connsiteY73" fmla="*/ 1222 h 10000"/>
                    <a:gd name="connsiteX74" fmla="*/ 5000 w 10000"/>
                    <a:gd name="connsiteY74" fmla="*/ 1222 h 10000"/>
                    <a:gd name="connsiteX75" fmla="*/ 5556 w 10000"/>
                    <a:gd name="connsiteY75" fmla="*/ 1075 h 10000"/>
                    <a:gd name="connsiteX76" fmla="*/ 6111 w 10000"/>
                    <a:gd name="connsiteY76" fmla="*/ 884 h 10000"/>
                    <a:gd name="connsiteX77" fmla="*/ 6667 w 10000"/>
                    <a:gd name="connsiteY77" fmla="*/ 707 h 10000"/>
                    <a:gd name="connsiteX78" fmla="*/ 7056 w 10000"/>
                    <a:gd name="connsiteY78" fmla="*/ 545 h 10000"/>
                    <a:gd name="connsiteX79" fmla="*/ 7056 w 10000"/>
                    <a:gd name="connsiteY79" fmla="*/ 545 h 10000"/>
                    <a:gd name="connsiteX80" fmla="*/ 7333 w 10000"/>
                    <a:gd name="connsiteY80" fmla="*/ 398 h 10000"/>
                    <a:gd name="connsiteX81" fmla="*/ 7667 w 10000"/>
                    <a:gd name="connsiteY81" fmla="*/ 221 h 10000"/>
                    <a:gd name="connsiteX82" fmla="*/ 8000 w 10000"/>
                    <a:gd name="connsiteY82" fmla="*/ 88 h 10000"/>
                    <a:gd name="connsiteX83" fmla="*/ 8167 w 10000"/>
                    <a:gd name="connsiteY83" fmla="*/ 29 h 10000"/>
                    <a:gd name="connsiteX84" fmla="*/ 8333 w 10000"/>
                    <a:gd name="connsiteY84" fmla="*/ 15 h 10000"/>
                    <a:gd name="connsiteX85" fmla="*/ 8333 w 10000"/>
                    <a:gd name="connsiteY85" fmla="*/ 15 h 10000"/>
                    <a:gd name="connsiteX86" fmla="*/ 8667 w 10000"/>
                    <a:gd name="connsiteY86" fmla="*/ 0 h 10000"/>
                    <a:gd name="connsiteX87" fmla="*/ 9111 w 10000"/>
                    <a:gd name="connsiteY87" fmla="*/ 0 h 10000"/>
                    <a:gd name="connsiteX88" fmla="*/ 10000 w 10000"/>
                    <a:gd name="connsiteY88" fmla="*/ 15 h 10000"/>
                    <a:gd name="connsiteX89" fmla="*/ 10000 w 10000"/>
                    <a:gd name="connsiteY89" fmla="*/ 9013 h 10000"/>
                    <a:gd name="connsiteX90" fmla="*/ 10000 w 10000"/>
                    <a:gd name="connsiteY90" fmla="*/ 9013 h 10000"/>
                    <a:gd name="connsiteX91" fmla="*/ 9722 w 10000"/>
                    <a:gd name="connsiteY91" fmla="*/ 8999 h 10000"/>
                    <a:gd name="connsiteX92" fmla="*/ 9389 w 10000"/>
                    <a:gd name="connsiteY92" fmla="*/ 9013 h 10000"/>
                    <a:gd name="connsiteX93" fmla="*/ 9389 w 10000"/>
                    <a:gd name="connsiteY93" fmla="*/ 9013 h 10000"/>
                    <a:gd name="connsiteX94" fmla="*/ 9278 w 10000"/>
                    <a:gd name="connsiteY94" fmla="*/ 9028 h 10000"/>
                    <a:gd name="connsiteX95" fmla="*/ 9056 w 10000"/>
                    <a:gd name="connsiteY95" fmla="*/ 9013 h 10000"/>
                    <a:gd name="connsiteX96" fmla="*/ 8889 w 10000"/>
                    <a:gd name="connsiteY96" fmla="*/ 8999 h 10000"/>
                    <a:gd name="connsiteX97" fmla="*/ 8722 w 10000"/>
                    <a:gd name="connsiteY97" fmla="*/ 8969 h 10000"/>
                    <a:gd name="connsiteX98" fmla="*/ 8611 w 10000"/>
                    <a:gd name="connsiteY98" fmla="*/ 8925 h 10000"/>
                    <a:gd name="connsiteX99" fmla="*/ 8444 w 10000"/>
                    <a:gd name="connsiteY99" fmla="*/ 8851 h 10000"/>
                    <a:gd name="connsiteX100" fmla="*/ 8444 w 10000"/>
                    <a:gd name="connsiteY100" fmla="*/ 8851 h 10000"/>
                    <a:gd name="connsiteX101" fmla="*/ 8222 w 10000"/>
                    <a:gd name="connsiteY101" fmla="*/ 8719 h 10000"/>
                    <a:gd name="connsiteX102" fmla="*/ 8111 w 10000"/>
                    <a:gd name="connsiteY102" fmla="*/ 8660 h 10000"/>
                    <a:gd name="connsiteX103" fmla="*/ 7944 w 10000"/>
                    <a:gd name="connsiteY103" fmla="*/ 8616 h 10000"/>
                    <a:gd name="connsiteX104" fmla="*/ 7778 w 10000"/>
                    <a:gd name="connsiteY104" fmla="*/ 8586 h 10000"/>
                    <a:gd name="connsiteX105" fmla="*/ 7556 w 10000"/>
                    <a:gd name="connsiteY105" fmla="*/ 8571 h 10000"/>
                    <a:gd name="connsiteX106" fmla="*/ 7333 w 10000"/>
                    <a:gd name="connsiteY106" fmla="*/ 8557 h 10000"/>
                    <a:gd name="connsiteX107" fmla="*/ 7000 w 10000"/>
                    <a:gd name="connsiteY107" fmla="*/ 8542 h 10000"/>
                    <a:gd name="connsiteX108" fmla="*/ 7000 w 10000"/>
                    <a:gd name="connsiteY108" fmla="*/ 8542 h 10000"/>
                    <a:gd name="connsiteX109" fmla="*/ 6556 w 10000"/>
                    <a:gd name="connsiteY109" fmla="*/ 8557 h 10000"/>
                    <a:gd name="connsiteX110" fmla="*/ 6222 w 10000"/>
                    <a:gd name="connsiteY110" fmla="*/ 8557 h 10000"/>
                    <a:gd name="connsiteX111" fmla="*/ 6111 w 10000"/>
                    <a:gd name="connsiteY111" fmla="*/ 8542 h 10000"/>
                    <a:gd name="connsiteX112" fmla="*/ 6056 w 10000"/>
                    <a:gd name="connsiteY112" fmla="*/ 8527 h 10000"/>
                    <a:gd name="connsiteX113" fmla="*/ 6056 w 10000"/>
                    <a:gd name="connsiteY113" fmla="*/ 8527 h 10000"/>
                    <a:gd name="connsiteX114" fmla="*/ 6056 w 10000"/>
                    <a:gd name="connsiteY114" fmla="*/ 8262 h 10000"/>
                    <a:gd name="connsiteX115" fmla="*/ 6056 w 10000"/>
                    <a:gd name="connsiteY115" fmla="*/ 8262 h 10000"/>
                    <a:gd name="connsiteX116" fmla="*/ 6056 w 10000"/>
                    <a:gd name="connsiteY116" fmla="*/ 8203 h 10000"/>
                    <a:gd name="connsiteX117" fmla="*/ 5944 w 10000"/>
                    <a:gd name="connsiteY117" fmla="*/ 8130 h 10000"/>
                    <a:gd name="connsiteX118" fmla="*/ 5889 w 10000"/>
                    <a:gd name="connsiteY118" fmla="*/ 8115 h 10000"/>
                    <a:gd name="connsiteX119" fmla="*/ 5778 w 10000"/>
                    <a:gd name="connsiteY119" fmla="*/ 8100 h 10000"/>
                    <a:gd name="connsiteX120" fmla="*/ 5667 w 10000"/>
                    <a:gd name="connsiteY120" fmla="*/ 8100 h 10000"/>
                    <a:gd name="connsiteX121" fmla="*/ 5500 w 10000"/>
                    <a:gd name="connsiteY121" fmla="*/ 8115 h 10000"/>
                    <a:gd name="connsiteX122" fmla="*/ 5500 w 10000"/>
                    <a:gd name="connsiteY122" fmla="*/ 8115 h 10000"/>
                    <a:gd name="connsiteX123" fmla="*/ 4889 w 10000"/>
                    <a:gd name="connsiteY123" fmla="*/ 8218 h 10000"/>
                    <a:gd name="connsiteX124" fmla="*/ 4611 w 10000"/>
                    <a:gd name="connsiteY124" fmla="*/ 8247 h 10000"/>
                    <a:gd name="connsiteX125" fmla="*/ 4556 w 10000"/>
                    <a:gd name="connsiteY125" fmla="*/ 8262 h 10000"/>
                    <a:gd name="connsiteX126" fmla="*/ 4500 w 10000"/>
                    <a:gd name="connsiteY126" fmla="*/ 8247 h 10000"/>
                    <a:gd name="connsiteX127" fmla="*/ 4500 w 10000"/>
                    <a:gd name="connsiteY127" fmla="*/ 8247 h 10000"/>
                    <a:gd name="connsiteX128" fmla="*/ 4222 w 10000"/>
                    <a:gd name="connsiteY128" fmla="*/ 8100 h 10000"/>
                    <a:gd name="connsiteX129" fmla="*/ 4222 w 10000"/>
                    <a:gd name="connsiteY129" fmla="*/ 8100 h 10000"/>
                    <a:gd name="connsiteX130" fmla="*/ 4111 w 10000"/>
                    <a:gd name="connsiteY130" fmla="*/ 8027 h 10000"/>
                    <a:gd name="connsiteX131" fmla="*/ 4111 w 10000"/>
                    <a:gd name="connsiteY131" fmla="*/ 7982 h 10000"/>
                    <a:gd name="connsiteX132" fmla="*/ 4111 w 10000"/>
                    <a:gd name="connsiteY132" fmla="*/ 7938 h 10000"/>
                    <a:gd name="connsiteX133" fmla="*/ 4111 w 10000"/>
                    <a:gd name="connsiteY133" fmla="*/ 7938 h 10000"/>
                    <a:gd name="connsiteX134" fmla="*/ 4278 w 10000"/>
                    <a:gd name="connsiteY134" fmla="*/ 7894 h 10000"/>
                    <a:gd name="connsiteX135" fmla="*/ 4389 w 10000"/>
                    <a:gd name="connsiteY135" fmla="*/ 7879 h 10000"/>
                    <a:gd name="connsiteX136" fmla="*/ 4389 w 10000"/>
                    <a:gd name="connsiteY136" fmla="*/ 7879 h 10000"/>
                    <a:gd name="connsiteX137" fmla="*/ 4000 w 10000"/>
                    <a:gd name="connsiteY137" fmla="*/ 7879 h 10000"/>
                    <a:gd name="connsiteX138" fmla="*/ 3722 w 10000"/>
                    <a:gd name="connsiteY138" fmla="*/ 7894 h 10000"/>
                    <a:gd name="connsiteX139" fmla="*/ 3611 w 10000"/>
                    <a:gd name="connsiteY139" fmla="*/ 7909 h 10000"/>
                    <a:gd name="connsiteX140" fmla="*/ 3556 w 10000"/>
                    <a:gd name="connsiteY140" fmla="*/ 7923 h 10000"/>
                    <a:gd name="connsiteX141" fmla="*/ 3556 w 10000"/>
                    <a:gd name="connsiteY141" fmla="*/ 7923 h 10000"/>
                    <a:gd name="connsiteX142" fmla="*/ 3444 w 10000"/>
                    <a:gd name="connsiteY142" fmla="*/ 7982 h 10000"/>
                    <a:gd name="connsiteX143" fmla="*/ 3278 w 10000"/>
                    <a:gd name="connsiteY143" fmla="*/ 8071 h 10000"/>
                    <a:gd name="connsiteX144" fmla="*/ 3000 w 10000"/>
                    <a:gd name="connsiteY144" fmla="*/ 8174 h 10000"/>
                    <a:gd name="connsiteX145" fmla="*/ 2667 w 10000"/>
                    <a:gd name="connsiteY145" fmla="*/ 8247 h 10000"/>
                    <a:gd name="connsiteX146" fmla="*/ 2667 w 10000"/>
                    <a:gd name="connsiteY146" fmla="*/ 8247 h 10000"/>
                    <a:gd name="connsiteX147" fmla="*/ 2333 w 10000"/>
                    <a:gd name="connsiteY147" fmla="*/ 8306 h 10000"/>
                    <a:gd name="connsiteX148" fmla="*/ 1833 w 10000"/>
                    <a:gd name="connsiteY148" fmla="*/ 8365 h 10000"/>
                    <a:gd name="connsiteX149" fmla="*/ 1389 w 10000"/>
                    <a:gd name="connsiteY149" fmla="*/ 8395 h 10000"/>
                    <a:gd name="connsiteX150" fmla="*/ 889 w 10000"/>
                    <a:gd name="connsiteY150" fmla="*/ 8409 h 10000"/>
                    <a:gd name="connsiteX151" fmla="*/ 889 w 10000"/>
                    <a:gd name="connsiteY151" fmla="*/ 8409 h 10000"/>
                    <a:gd name="connsiteX152" fmla="*/ 500 w 10000"/>
                    <a:gd name="connsiteY152" fmla="*/ 8424 h 10000"/>
                    <a:gd name="connsiteX153" fmla="*/ 222 w 10000"/>
                    <a:gd name="connsiteY153" fmla="*/ 8439 h 10000"/>
                    <a:gd name="connsiteX154" fmla="*/ 0 w 10000"/>
                    <a:gd name="connsiteY154" fmla="*/ 8454 h 10000"/>
                    <a:gd name="connsiteX155" fmla="*/ 0 w 10000"/>
                    <a:gd name="connsiteY155" fmla="*/ 8454 h 10000"/>
                    <a:gd name="connsiteX156" fmla="*/ 278 w 10000"/>
                    <a:gd name="connsiteY156" fmla="*/ 8689 h 10000"/>
                    <a:gd name="connsiteX157" fmla="*/ 500 w 10000"/>
                    <a:gd name="connsiteY157" fmla="*/ 8866 h 10000"/>
                    <a:gd name="connsiteX158" fmla="*/ 722 w 10000"/>
                    <a:gd name="connsiteY158" fmla="*/ 9013 h 10000"/>
                    <a:gd name="connsiteX159" fmla="*/ 722 w 10000"/>
                    <a:gd name="connsiteY159" fmla="*/ 9013 h 10000"/>
                    <a:gd name="connsiteX160" fmla="*/ 889 w 10000"/>
                    <a:gd name="connsiteY160" fmla="*/ 9102 h 10000"/>
                    <a:gd name="connsiteX161" fmla="*/ 944 w 10000"/>
                    <a:gd name="connsiteY161" fmla="*/ 9175 h 10000"/>
                    <a:gd name="connsiteX162" fmla="*/ 1111 w 10000"/>
                    <a:gd name="connsiteY162" fmla="*/ 9249 h 10000"/>
                    <a:gd name="connsiteX163" fmla="*/ 1333 w 10000"/>
                    <a:gd name="connsiteY163" fmla="*/ 9367 h 10000"/>
                    <a:gd name="connsiteX164" fmla="*/ 1333 w 10000"/>
                    <a:gd name="connsiteY164" fmla="*/ 9367 h 10000"/>
                    <a:gd name="connsiteX165" fmla="*/ 1444 w 10000"/>
                    <a:gd name="connsiteY165" fmla="*/ 9426 h 10000"/>
                    <a:gd name="connsiteX166" fmla="*/ 1500 w 10000"/>
                    <a:gd name="connsiteY166" fmla="*/ 9470 h 10000"/>
                    <a:gd name="connsiteX167" fmla="*/ 1500 w 10000"/>
                    <a:gd name="connsiteY167" fmla="*/ 9514 h 10000"/>
                    <a:gd name="connsiteX168" fmla="*/ 1556 w 10000"/>
                    <a:gd name="connsiteY168" fmla="*/ 9529 h 10000"/>
                    <a:gd name="connsiteX169" fmla="*/ 1722 w 10000"/>
                    <a:gd name="connsiteY169" fmla="*/ 9543 h 10000"/>
                    <a:gd name="connsiteX170" fmla="*/ 1944 w 10000"/>
                    <a:gd name="connsiteY170" fmla="*/ 9558 h 10000"/>
                    <a:gd name="connsiteX171" fmla="*/ 2944 w 10000"/>
                    <a:gd name="connsiteY171" fmla="*/ 9573 h 10000"/>
                    <a:gd name="connsiteX172" fmla="*/ 2944 w 10000"/>
                    <a:gd name="connsiteY172" fmla="*/ 9573 h 10000"/>
                    <a:gd name="connsiteX173" fmla="*/ 4167 w 10000"/>
                    <a:gd name="connsiteY173" fmla="*/ 9602 h 10000"/>
                    <a:gd name="connsiteX174" fmla="*/ 4889 w 10000"/>
                    <a:gd name="connsiteY174" fmla="*/ 9647 h 10000"/>
                    <a:gd name="connsiteX175" fmla="*/ 5278 w 10000"/>
                    <a:gd name="connsiteY175" fmla="*/ 9691 h 10000"/>
                    <a:gd name="connsiteX176" fmla="*/ 5444 w 10000"/>
                    <a:gd name="connsiteY176" fmla="*/ 9705 h 10000"/>
                    <a:gd name="connsiteX177" fmla="*/ 5444 w 10000"/>
                    <a:gd name="connsiteY177" fmla="*/ 9705 h 10000"/>
                    <a:gd name="connsiteX178" fmla="*/ 5722 w 10000"/>
                    <a:gd name="connsiteY178" fmla="*/ 9735 h 10000"/>
                    <a:gd name="connsiteX179" fmla="*/ 5833 w 10000"/>
                    <a:gd name="connsiteY179" fmla="*/ 9750 h 10000"/>
                    <a:gd name="connsiteX180" fmla="*/ 5833 w 10000"/>
                    <a:gd name="connsiteY180" fmla="*/ 9750 h 10000"/>
                    <a:gd name="connsiteX181" fmla="*/ 5833 w 10000"/>
                    <a:gd name="connsiteY181" fmla="*/ 9735 h 10000"/>
                    <a:gd name="connsiteX182" fmla="*/ 5889 w 10000"/>
                    <a:gd name="connsiteY182" fmla="*/ 9720 h 10000"/>
                    <a:gd name="connsiteX183" fmla="*/ 6000 w 10000"/>
                    <a:gd name="connsiteY183" fmla="*/ 9705 h 10000"/>
                    <a:gd name="connsiteX184" fmla="*/ 6167 w 10000"/>
                    <a:gd name="connsiteY184" fmla="*/ 9691 h 10000"/>
                    <a:gd name="connsiteX185" fmla="*/ 6444 w 10000"/>
                    <a:gd name="connsiteY185" fmla="*/ 9691 h 10000"/>
                    <a:gd name="connsiteX186" fmla="*/ 6833 w 10000"/>
                    <a:gd name="connsiteY186" fmla="*/ 9705 h 10000"/>
                    <a:gd name="connsiteX187" fmla="*/ 7278 w 10000"/>
                    <a:gd name="connsiteY187" fmla="*/ 9750 h 10000"/>
                    <a:gd name="connsiteX188" fmla="*/ 7278 w 10000"/>
                    <a:gd name="connsiteY188" fmla="*/ 9750 h 10000"/>
                    <a:gd name="connsiteX189" fmla="*/ 8722 w 10000"/>
                    <a:gd name="connsiteY189" fmla="*/ 9882 h 10000"/>
                    <a:gd name="connsiteX190" fmla="*/ 10000 w 10000"/>
                    <a:gd name="connsiteY19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4778 w 10000"/>
                    <a:gd name="connsiteY71" fmla="*/ 1296 h 10000"/>
                    <a:gd name="connsiteX72" fmla="*/ 5000 w 10000"/>
                    <a:gd name="connsiteY72" fmla="*/ 1222 h 10000"/>
                    <a:gd name="connsiteX73" fmla="*/ 5000 w 10000"/>
                    <a:gd name="connsiteY73" fmla="*/ 1222 h 10000"/>
                    <a:gd name="connsiteX74" fmla="*/ 5556 w 10000"/>
                    <a:gd name="connsiteY74" fmla="*/ 1075 h 10000"/>
                    <a:gd name="connsiteX75" fmla="*/ 6111 w 10000"/>
                    <a:gd name="connsiteY75" fmla="*/ 884 h 10000"/>
                    <a:gd name="connsiteX76" fmla="*/ 6667 w 10000"/>
                    <a:gd name="connsiteY76" fmla="*/ 707 h 10000"/>
                    <a:gd name="connsiteX77" fmla="*/ 7056 w 10000"/>
                    <a:gd name="connsiteY77" fmla="*/ 545 h 10000"/>
                    <a:gd name="connsiteX78" fmla="*/ 7056 w 10000"/>
                    <a:gd name="connsiteY78" fmla="*/ 545 h 10000"/>
                    <a:gd name="connsiteX79" fmla="*/ 7333 w 10000"/>
                    <a:gd name="connsiteY79" fmla="*/ 398 h 10000"/>
                    <a:gd name="connsiteX80" fmla="*/ 7667 w 10000"/>
                    <a:gd name="connsiteY80" fmla="*/ 221 h 10000"/>
                    <a:gd name="connsiteX81" fmla="*/ 8000 w 10000"/>
                    <a:gd name="connsiteY81" fmla="*/ 88 h 10000"/>
                    <a:gd name="connsiteX82" fmla="*/ 8167 w 10000"/>
                    <a:gd name="connsiteY82" fmla="*/ 29 h 10000"/>
                    <a:gd name="connsiteX83" fmla="*/ 8333 w 10000"/>
                    <a:gd name="connsiteY83" fmla="*/ 15 h 10000"/>
                    <a:gd name="connsiteX84" fmla="*/ 8333 w 10000"/>
                    <a:gd name="connsiteY84" fmla="*/ 15 h 10000"/>
                    <a:gd name="connsiteX85" fmla="*/ 8667 w 10000"/>
                    <a:gd name="connsiteY85" fmla="*/ 0 h 10000"/>
                    <a:gd name="connsiteX86" fmla="*/ 9111 w 10000"/>
                    <a:gd name="connsiteY86" fmla="*/ 0 h 10000"/>
                    <a:gd name="connsiteX87" fmla="*/ 10000 w 10000"/>
                    <a:gd name="connsiteY87" fmla="*/ 15 h 10000"/>
                    <a:gd name="connsiteX88" fmla="*/ 10000 w 10000"/>
                    <a:gd name="connsiteY88" fmla="*/ 9013 h 10000"/>
                    <a:gd name="connsiteX89" fmla="*/ 10000 w 10000"/>
                    <a:gd name="connsiteY89" fmla="*/ 9013 h 10000"/>
                    <a:gd name="connsiteX90" fmla="*/ 9722 w 10000"/>
                    <a:gd name="connsiteY90" fmla="*/ 8999 h 10000"/>
                    <a:gd name="connsiteX91" fmla="*/ 9389 w 10000"/>
                    <a:gd name="connsiteY91" fmla="*/ 9013 h 10000"/>
                    <a:gd name="connsiteX92" fmla="*/ 9389 w 10000"/>
                    <a:gd name="connsiteY92" fmla="*/ 9013 h 10000"/>
                    <a:gd name="connsiteX93" fmla="*/ 9278 w 10000"/>
                    <a:gd name="connsiteY93" fmla="*/ 9028 h 10000"/>
                    <a:gd name="connsiteX94" fmla="*/ 9056 w 10000"/>
                    <a:gd name="connsiteY94" fmla="*/ 9013 h 10000"/>
                    <a:gd name="connsiteX95" fmla="*/ 8889 w 10000"/>
                    <a:gd name="connsiteY95" fmla="*/ 8999 h 10000"/>
                    <a:gd name="connsiteX96" fmla="*/ 8722 w 10000"/>
                    <a:gd name="connsiteY96" fmla="*/ 8969 h 10000"/>
                    <a:gd name="connsiteX97" fmla="*/ 8611 w 10000"/>
                    <a:gd name="connsiteY97" fmla="*/ 8925 h 10000"/>
                    <a:gd name="connsiteX98" fmla="*/ 8444 w 10000"/>
                    <a:gd name="connsiteY98" fmla="*/ 8851 h 10000"/>
                    <a:gd name="connsiteX99" fmla="*/ 8444 w 10000"/>
                    <a:gd name="connsiteY99" fmla="*/ 8851 h 10000"/>
                    <a:gd name="connsiteX100" fmla="*/ 8222 w 10000"/>
                    <a:gd name="connsiteY100" fmla="*/ 8719 h 10000"/>
                    <a:gd name="connsiteX101" fmla="*/ 8111 w 10000"/>
                    <a:gd name="connsiteY101" fmla="*/ 8660 h 10000"/>
                    <a:gd name="connsiteX102" fmla="*/ 7944 w 10000"/>
                    <a:gd name="connsiteY102" fmla="*/ 8616 h 10000"/>
                    <a:gd name="connsiteX103" fmla="*/ 7778 w 10000"/>
                    <a:gd name="connsiteY103" fmla="*/ 8586 h 10000"/>
                    <a:gd name="connsiteX104" fmla="*/ 7556 w 10000"/>
                    <a:gd name="connsiteY104" fmla="*/ 8571 h 10000"/>
                    <a:gd name="connsiteX105" fmla="*/ 7333 w 10000"/>
                    <a:gd name="connsiteY105" fmla="*/ 8557 h 10000"/>
                    <a:gd name="connsiteX106" fmla="*/ 7000 w 10000"/>
                    <a:gd name="connsiteY106" fmla="*/ 8542 h 10000"/>
                    <a:gd name="connsiteX107" fmla="*/ 7000 w 10000"/>
                    <a:gd name="connsiteY107" fmla="*/ 8542 h 10000"/>
                    <a:gd name="connsiteX108" fmla="*/ 6556 w 10000"/>
                    <a:gd name="connsiteY108" fmla="*/ 8557 h 10000"/>
                    <a:gd name="connsiteX109" fmla="*/ 6222 w 10000"/>
                    <a:gd name="connsiteY109" fmla="*/ 8557 h 10000"/>
                    <a:gd name="connsiteX110" fmla="*/ 6111 w 10000"/>
                    <a:gd name="connsiteY110" fmla="*/ 8542 h 10000"/>
                    <a:gd name="connsiteX111" fmla="*/ 6056 w 10000"/>
                    <a:gd name="connsiteY111" fmla="*/ 8527 h 10000"/>
                    <a:gd name="connsiteX112" fmla="*/ 6056 w 10000"/>
                    <a:gd name="connsiteY112" fmla="*/ 8527 h 10000"/>
                    <a:gd name="connsiteX113" fmla="*/ 6056 w 10000"/>
                    <a:gd name="connsiteY113" fmla="*/ 8262 h 10000"/>
                    <a:gd name="connsiteX114" fmla="*/ 6056 w 10000"/>
                    <a:gd name="connsiteY114" fmla="*/ 8262 h 10000"/>
                    <a:gd name="connsiteX115" fmla="*/ 6056 w 10000"/>
                    <a:gd name="connsiteY115" fmla="*/ 8203 h 10000"/>
                    <a:gd name="connsiteX116" fmla="*/ 5944 w 10000"/>
                    <a:gd name="connsiteY116" fmla="*/ 8130 h 10000"/>
                    <a:gd name="connsiteX117" fmla="*/ 5889 w 10000"/>
                    <a:gd name="connsiteY117" fmla="*/ 8115 h 10000"/>
                    <a:gd name="connsiteX118" fmla="*/ 5778 w 10000"/>
                    <a:gd name="connsiteY118" fmla="*/ 8100 h 10000"/>
                    <a:gd name="connsiteX119" fmla="*/ 5667 w 10000"/>
                    <a:gd name="connsiteY119" fmla="*/ 8100 h 10000"/>
                    <a:gd name="connsiteX120" fmla="*/ 5500 w 10000"/>
                    <a:gd name="connsiteY120" fmla="*/ 8115 h 10000"/>
                    <a:gd name="connsiteX121" fmla="*/ 5500 w 10000"/>
                    <a:gd name="connsiteY121" fmla="*/ 8115 h 10000"/>
                    <a:gd name="connsiteX122" fmla="*/ 4889 w 10000"/>
                    <a:gd name="connsiteY122" fmla="*/ 8218 h 10000"/>
                    <a:gd name="connsiteX123" fmla="*/ 4611 w 10000"/>
                    <a:gd name="connsiteY123" fmla="*/ 8247 h 10000"/>
                    <a:gd name="connsiteX124" fmla="*/ 4556 w 10000"/>
                    <a:gd name="connsiteY124" fmla="*/ 8262 h 10000"/>
                    <a:gd name="connsiteX125" fmla="*/ 4500 w 10000"/>
                    <a:gd name="connsiteY125" fmla="*/ 8247 h 10000"/>
                    <a:gd name="connsiteX126" fmla="*/ 4500 w 10000"/>
                    <a:gd name="connsiteY126" fmla="*/ 8247 h 10000"/>
                    <a:gd name="connsiteX127" fmla="*/ 4222 w 10000"/>
                    <a:gd name="connsiteY127" fmla="*/ 8100 h 10000"/>
                    <a:gd name="connsiteX128" fmla="*/ 4222 w 10000"/>
                    <a:gd name="connsiteY128" fmla="*/ 8100 h 10000"/>
                    <a:gd name="connsiteX129" fmla="*/ 4111 w 10000"/>
                    <a:gd name="connsiteY129" fmla="*/ 8027 h 10000"/>
                    <a:gd name="connsiteX130" fmla="*/ 4111 w 10000"/>
                    <a:gd name="connsiteY130" fmla="*/ 7982 h 10000"/>
                    <a:gd name="connsiteX131" fmla="*/ 4111 w 10000"/>
                    <a:gd name="connsiteY131" fmla="*/ 7938 h 10000"/>
                    <a:gd name="connsiteX132" fmla="*/ 4111 w 10000"/>
                    <a:gd name="connsiteY132" fmla="*/ 7938 h 10000"/>
                    <a:gd name="connsiteX133" fmla="*/ 4278 w 10000"/>
                    <a:gd name="connsiteY133" fmla="*/ 7894 h 10000"/>
                    <a:gd name="connsiteX134" fmla="*/ 4389 w 10000"/>
                    <a:gd name="connsiteY134" fmla="*/ 7879 h 10000"/>
                    <a:gd name="connsiteX135" fmla="*/ 4389 w 10000"/>
                    <a:gd name="connsiteY135" fmla="*/ 7879 h 10000"/>
                    <a:gd name="connsiteX136" fmla="*/ 4000 w 10000"/>
                    <a:gd name="connsiteY136" fmla="*/ 7879 h 10000"/>
                    <a:gd name="connsiteX137" fmla="*/ 3722 w 10000"/>
                    <a:gd name="connsiteY137" fmla="*/ 7894 h 10000"/>
                    <a:gd name="connsiteX138" fmla="*/ 3611 w 10000"/>
                    <a:gd name="connsiteY138" fmla="*/ 7909 h 10000"/>
                    <a:gd name="connsiteX139" fmla="*/ 3556 w 10000"/>
                    <a:gd name="connsiteY139" fmla="*/ 7923 h 10000"/>
                    <a:gd name="connsiteX140" fmla="*/ 3556 w 10000"/>
                    <a:gd name="connsiteY140" fmla="*/ 7923 h 10000"/>
                    <a:gd name="connsiteX141" fmla="*/ 3444 w 10000"/>
                    <a:gd name="connsiteY141" fmla="*/ 7982 h 10000"/>
                    <a:gd name="connsiteX142" fmla="*/ 3278 w 10000"/>
                    <a:gd name="connsiteY142" fmla="*/ 8071 h 10000"/>
                    <a:gd name="connsiteX143" fmla="*/ 3000 w 10000"/>
                    <a:gd name="connsiteY143" fmla="*/ 8174 h 10000"/>
                    <a:gd name="connsiteX144" fmla="*/ 2667 w 10000"/>
                    <a:gd name="connsiteY144" fmla="*/ 8247 h 10000"/>
                    <a:gd name="connsiteX145" fmla="*/ 2667 w 10000"/>
                    <a:gd name="connsiteY145" fmla="*/ 8247 h 10000"/>
                    <a:gd name="connsiteX146" fmla="*/ 2333 w 10000"/>
                    <a:gd name="connsiteY146" fmla="*/ 8306 h 10000"/>
                    <a:gd name="connsiteX147" fmla="*/ 1833 w 10000"/>
                    <a:gd name="connsiteY147" fmla="*/ 8365 h 10000"/>
                    <a:gd name="connsiteX148" fmla="*/ 1389 w 10000"/>
                    <a:gd name="connsiteY148" fmla="*/ 8395 h 10000"/>
                    <a:gd name="connsiteX149" fmla="*/ 889 w 10000"/>
                    <a:gd name="connsiteY149" fmla="*/ 8409 h 10000"/>
                    <a:gd name="connsiteX150" fmla="*/ 889 w 10000"/>
                    <a:gd name="connsiteY150" fmla="*/ 8409 h 10000"/>
                    <a:gd name="connsiteX151" fmla="*/ 500 w 10000"/>
                    <a:gd name="connsiteY151" fmla="*/ 8424 h 10000"/>
                    <a:gd name="connsiteX152" fmla="*/ 222 w 10000"/>
                    <a:gd name="connsiteY152" fmla="*/ 8439 h 10000"/>
                    <a:gd name="connsiteX153" fmla="*/ 0 w 10000"/>
                    <a:gd name="connsiteY153" fmla="*/ 8454 h 10000"/>
                    <a:gd name="connsiteX154" fmla="*/ 0 w 10000"/>
                    <a:gd name="connsiteY154" fmla="*/ 8454 h 10000"/>
                    <a:gd name="connsiteX155" fmla="*/ 278 w 10000"/>
                    <a:gd name="connsiteY155" fmla="*/ 8689 h 10000"/>
                    <a:gd name="connsiteX156" fmla="*/ 500 w 10000"/>
                    <a:gd name="connsiteY156" fmla="*/ 8866 h 10000"/>
                    <a:gd name="connsiteX157" fmla="*/ 722 w 10000"/>
                    <a:gd name="connsiteY157" fmla="*/ 9013 h 10000"/>
                    <a:gd name="connsiteX158" fmla="*/ 722 w 10000"/>
                    <a:gd name="connsiteY158" fmla="*/ 9013 h 10000"/>
                    <a:gd name="connsiteX159" fmla="*/ 889 w 10000"/>
                    <a:gd name="connsiteY159" fmla="*/ 9102 h 10000"/>
                    <a:gd name="connsiteX160" fmla="*/ 944 w 10000"/>
                    <a:gd name="connsiteY160" fmla="*/ 9175 h 10000"/>
                    <a:gd name="connsiteX161" fmla="*/ 1111 w 10000"/>
                    <a:gd name="connsiteY161" fmla="*/ 9249 h 10000"/>
                    <a:gd name="connsiteX162" fmla="*/ 1333 w 10000"/>
                    <a:gd name="connsiteY162" fmla="*/ 9367 h 10000"/>
                    <a:gd name="connsiteX163" fmla="*/ 1333 w 10000"/>
                    <a:gd name="connsiteY163" fmla="*/ 9367 h 10000"/>
                    <a:gd name="connsiteX164" fmla="*/ 1444 w 10000"/>
                    <a:gd name="connsiteY164" fmla="*/ 9426 h 10000"/>
                    <a:gd name="connsiteX165" fmla="*/ 1500 w 10000"/>
                    <a:gd name="connsiteY165" fmla="*/ 9470 h 10000"/>
                    <a:gd name="connsiteX166" fmla="*/ 1500 w 10000"/>
                    <a:gd name="connsiteY166" fmla="*/ 9514 h 10000"/>
                    <a:gd name="connsiteX167" fmla="*/ 1556 w 10000"/>
                    <a:gd name="connsiteY167" fmla="*/ 9529 h 10000"/>
                    <a:gd name="connsiteX168" fmla="*/ 1722 w 10000"/>
                    <a:gd name="connsiteY168" fmla="*/ 9543 h 10000"/>
                    <a:gd name="connsiteX169" fmla="*/ 1944 w 10000"/>
                    <a:gd name="connsiteY169" fmla="*/ 9558 h 10000"/>
                    <a:gd name="connsiteX170" fmla="*/ 2944 w 10000"/>
                    <a:gd name="connsiteY170" fmla="*/ 9573 h 10000"/>
                    <a:gd name="connsiteX171" fmla="*/ 2944 w 10000"/>
                    <a:gd name="connsiteY171" fmla="*/ 9573 h 10000"/>
                    <a:gd name="connsiteX172" fmla="*/ 4167 w 10000"/>
                    <a:gd name="connsiteY172" fmla="*/ 9602 h 10000"/>
                    <a:gd name="connsiteX173" fmla="*/ 4889 w 10000"/>
                    <a:gd name="connsiteY173" fmla="*/ 9647 h 10000"/>
                    <a:gd name="connsiteX174" fmla="*/ 5278 w 10000"/>
                    <a:gd name="connsiteY174" fmla="*/ 9691 h 10000"/>
                    <a:gd name="connsiteX175" fmla="*/ 5444 w 10000"/>
                    <a:gd name="connsiteY175" fmla="*/ 9705 h 10000"/>
                    <a:gd name="connsiteX176" fmla="*/ 5444 w 10000"/>
                    <a:gd name="connsiteY176" fmla="*/ 9705 h 10000"/>
                    <a:gd name="connsiteX177" fmla="*/ 5722 w 10000"/>
                    <a:gd name="connsiteY177" fmla="*/ 9735 h 10000"/>
                    <a:gd name="connsiteX178" fmla="*/ 5833 w 10000"/>
                    <a:gd name="connsiteY178" fmla="*/ 9750 h 10000"/>
                    <a:gd name="connsiteX179" fmla="*/ 5833 w 10000"/>
                    <a:gd name="connsiteY179" fmla="*/ 9750 h 10000"/>
                    <a:gd name="connsiteX180" fmla="*/ 5833 w 10000"/>
                    <a:gd name="connsiteY180" fmla="*/ 9735 h 10000"/>
                    <a:gd name="connsiteX181" fmla="*/ 5889 w 10000"/>
                    <a:gd name="connsiteY181" fmla="*/ 9720 h 10000"/>
                    <a:gd name="connsiteX182" fmla="*/ 6000 w 10000"/>
                    <a:gd name="connsiteY182" fmla="*/ 9705 h 10000"/>
                    <a:gd name="connsiteX183" fmla="*/ 6167 w 10000"/>
                    <a:gd name="connsiteY183" fmla="*/ 9691 h 10000"/>
                    <a:gd name="connsiteX184" fmla="*/ 6444 w 10000"/>
                    <a:gd name="connsiteY184" fmla="*/ 9691 h 10000"/>
                    <a:gd name="connsiteX185" fmla="*/ 6833 w 10000"/>
                    <a:gd name="connsiteY185" fmla="*/ 9705 h 10000"/>
                    <a:gd name="connsiteX186" fmla="*/ 7278 w 10000"/>
                    <a:gd name="connsiteY186" fmla="*/ 9750 h 10000"/>
                    <a:gd name="connsiteX187" fmla="*/ 7278 w 10000"/>
                    <a:gd name="connsiteY187" fmla="*/ 9750 h 10000"/>
                    <a:gd name="connsiteX188" fmla="*/ 8722 w 10000"/>
                    <a:gd name="connsiteY188" fmla="*/ 9882 h 10000"/>
                    <a:gd name="connsiteX189" fmla="*/ 10000 w 10000"/>
                    <a:gd name="connsiteY18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000 w 10000"/>
                    <a:gd name="connsiteY71" fmla="*/ 1222 h 10000"/>
                    <a:gd name="connsiteX72" fmla="*/ 5000 w 10000"/>
                    <a:gd name="connsiteY72" fmla="*/ 1222 h 10000"/>
                    <a:gd name="connsiteX73" fmla="*/ 5556 w 10000"/>
                    <a:gd name="connsiteY73" fmla="*/ 1075 h 10000"/>
                    <a:gd name="connsiteX74" fmla="*/ 6111 w 10000"/>
                    <a:gd name="connsiteY74" fmla="*/ 884 h 10000"/>
                    <a:gd name="connsiteX75" fmla="*/ 6667 w 10000"/>
                    <a:gd name="connsiteY75" fmla="*/ 707 h 10000"/>
                    <a:gd name="connsiteX76" fmla="*/ 7056 w 10000"/>
                    <a:gd name="connsiteY76" fmla="*/ 545 h 10000"/>
                    <a:gd name="connsiteX77" fmla="*/ 7056 w 10000"/>
                    <a:gd name="connsiteY77" fmla="*/ 545 h 10000"/>
                    <a:gd name="connsiteX78" fmla="*/ 7333 w 10000"/>
                    <a:gd name="connsiteY78" fmla="*/ 398 h 10000"/>
                    <a:gd name="connsiteX79" fmla="*/ 7667 w 10000"/>
                    <a:gd name="connsiteY79" fmla="*/ 221 h 10000"/>
                    <a:gd name="connsiteX80" fmla="*/ 8000 w 10000"/>
                    <a:gd name="connsiteY80" fmla="*/ 88 h 10000"/>
                    <a:gd name="connsiteX81" fmla="*/ 8167 w 10000"/>
                    <a:gd name="connsiteY81" fmla="*/ 29 h 10000"/>
                    <a:gd name="connsiteX82" fmla="*/ 8333 w 10000"/>
                    <a:gd name="connsiteY82" fmla="*/ 15 h 10000"/>
                    <a:gd name="connsiteX83" fmla="*/ 8333 w 10000"/>
                    <a:gd name="connsiteY83" fmla="*/ 15 h 10000"/>
                    <a:gd name="connsiteX84" fmla="*/ 8667 w 10000"/>
                    <a:gd name="connsiteY84" fmla="*/ 0 h 10000"/>
                    <a:gd name="connsiteX85" fmla="*/ 9111 w 10000"/>
                    <a:gd name="connsiteY85" fmla="*/ 0 h 10000"/>
                    <a:gd name="connsiteX86" fmla="*/ 10000 w 10000"/>
                    <a:gd name="connsiteY86" fmla="*/ 15 h 10000"/>
                    <a:gd name="connsiteX87" fmla="*/ 10000 w 10000"/>
                    <a:gd name="connsiteY87" fmla="*/ 9013 h 10000"/>
                    <a:gd name="connsiteX88" fmla="*/ 10000 w 10000"/>
                    <a:gd name="connsiteY88" fmla="*/ 9013 h 10000"/>
                    <a:gd name="connsiteX89" fmla="*/ 9722 w 10000"/>
                    <a:gd name="connsiteY89" fmla="*/ 8999 h 10000"/>
                    <a:gd name="connsiteX90" fmla="*/ 9389 w 10000"/>
                    <a:gd name="connsiteY90" fmla="*/ 9013 h 10000"/>
                    <a:gd name="connsiteX91" fmla="*/ 9389 w 10000"/>
                    <a:gd name="connsiteY91" fmla="*/ 9013 h 10000"/>
                    <a:gd name="connsiteX92" fmla="*/ 9278 w 10000"/>
                    <a:gd name="connsiteY92" fmla="*/ 9028 h 10000"/>
                    <a:gd name="connsiteX93" fmla="*/ 9056 w 10000"/>
                    <a:gd name="connsiteY93" fmla="*/ 9013 h 10000"/>
                    <a:gd name="connsiteX94" fmla="*/ 8889 w 10000"/>
                    <a:gd name="connsiteY94" fmla="*/ 8999 h 10000"/>
                    <a:gd name="connsiteX95" fmla="*/ 8722 w 10000"/>
                    <a:gd name="connsiteY95" fmla="*/ 8969 h 10000"/>
                    <a:gd name="connsiteX96" fmla="*/ 8611 w 10000"/>
                    <a:gd name="connsiteY96" fmla="*/ 8925 h 10000"/>
                    <a:gd name="connsiteX97" fmla="*/ 8444 w 10000"/>
                    <a:gd name="connsiteY97" fmla="*/ 8851 h 10000"/>
                    <a:gd name="connsiteX98" fmla="*/ 8444 w 10000"/>
                    <a:gd name="connsiteY98" fmla="*/ 8851 h 10000"/>
                    <a:gd name="connsiteX99" fmla="*/ 8222 w 10000"/>
                    <a:gd name="connsiteY99" fmla="*/ 8719 h 10000"/>
                    <a:gd name="connsiteX100" fmla="*/ 8111 w 10000"/>
                    <a:gd name="connsiteY100" fmla="*/ 8660 h 10000"/>
                    <a:gd name="connsiteX101" fmla="*/ 7944 w 10000"/>
                    <a:gd name="connsiteY101" fmla="*/ 8616 h 10000"/>
                    <a:gd name="connsiteX102" fmla="*/ 7778 w 10000"/>
                    <a:gd name="connsiteY102" fmla="*/ 8586 h 10000"/>
                    <a:gd name="connsiteX103" fmla="*/ 7556 w 10000"/>
                    <a:gd name="connsiteY103" fmla="*/ 8571 h 10000"/>
                    <a:gd name="connsiteX104" fmla="*/ 7333 w 10000"/>
                    <a:gd name="connsiteY104" fmla="*/ 8557 h 10000"/>
                    <a:gd name="connsiteX105" fmla="*/ 7000 w 10000"/>
                    <a:gd name="connsiteY105" fmla="*/ 8542 h 10000"/>
                    <a:gd name="connsiteX106" fmla="*/ 7000 w 10000"/>
                    <a:gd name="connsiteY106" fmla="*/ 8542 h 10000"/>
                    <a:gd name="connsiteX107" fmla="*/ 6556 w 10000"/>
                    <a:gd name="connsiteY107" fmla="*/ 8557 h 10000"/>
                    <a:gd name="connsiteX108" fmla="*/ 6222 w 10000"/>
                    <a:gd name="connsiteY108" fmla="*/ 8557 h 10000"/>
                    <a:gd name="connsiteX109" fmla="*/ 6111 w 10000"/>
                    <a:gd name="connsiteY109" fmla="*/ 8542 h 10000"/>
                    <a:gd name="connsiteX110" fmla="*/ 6056 w 10000"/>
                    <a:gd name="connsiteY110" fmla="*/ 8527 h 10000"/>
                    <a:gd name="connsiteX111" fmla="*/ 6056 w 10000"/>
                    <a:gd name="connsiteY111" fmla="*/ 8527 h 10000"/>
                    <a:gd name="connsiteX112" fmla="*/ 6056 w 10000"/>
                    <a:gd name="connsiteY112" fmla="*/ 8262 h 10000"/>
                    <a:gd name="connsiteX113" fmla="*/ 6056 w 10000"/>
                    <a:gd name="connsiteY113" fmla="*/ 8262 h 10000"/>
                    <a:gd name="connsiteX114" fmla="*/ 6056 w 10000"/>
                    <a:gd name="connsiteY114" fmla="*/ 8203 h 10000"/>
                    <a:gd name="connsiteX115" fmla="*/ 5944 w 10000"/>
                    <a:gd name="connsiteY115" fmla="*/ 8130 h 10000"/>
                    <a:gd name="connsiteX116" fmla="*/ 5889 w 10000"/>
                    <a:gd name="connsiteY116" fmla="*/ 8115 h 10000"/>
                    <a:gd name="connsiteX117" fmla="*/ 5778 w 10000"/>
                    <a:gd name="connsiteY117" fmla="*/ 8100 h 10000"/>
                    <a:gd name="connsiteX118" fmla="*/ 5667 w 10000"/>
                    <a:gd name="connsiteY118" fmla="*/ 8100 h 10000"/>
                    <a:gd name="connsiteX119" fmla="*/ 5500 w 10000"/>
                    <a:gd name="connsiteY119" fmla="*/ 8115 h 10000"/>
                    <a:gd name="connsiteX120" fmla="*/ 5500 w 10000"/>
                    <a:gd name="connsiteY120" fmla="*/ 8115 h 10000"/>
                    <a:gd name="connsiteX121" fmla="*/ 4889 w 10000"/>
                    <a:gd name="connsiteY121" fmla="*/ 8218 h 10000"/>
                    <a:gd name="connsiteX122" fmla="*/ 4611 w 10000"/>
                    <a:gd name="connsiteY122" fmla="*/ 8247 h 10000"/>
                    <a:gd name="connsiteX123" fmla="*/ 4556 w 10000"/>
                    <a:gd name="connsiteY123" fmla="*/ 8262 h 10000"/>
                    <a:gd name="connsiteX124" fmla="*/ 4500 w 10000"/>
                    <a:gd name="connsiteY124" fmla="*/ 8247 h 10000"/>
                    <a:gd name="connsiteX125" fmla="*/ 4500 w 10000"/>
                    <a:gd name="connsiteY125" fmla="*/ 8247 h 10000"/>
                    <a:gd name="connsiteX126" fmla="*/ 4222 w 10000"/>
                    <a:gd name="connsiteY126" fmla="*/ 8100 h 10000"/>
                    <a:gd name="connsiteX127" fmla="*/ 4222 w 10000"/>
                    <a:gd name="connsiteY127" fmla="*/ 8100 h 10000"/>
                    <a:gd name="connsiteX128" fmla="*/ 4111 w 10000"/>
                    <a:gd name="connsiteY128" fmla="*/ 8027 h 10000"/>
                    <a:gd name="connsiteX129" fmla="*/ 4111 w 10000"/>
                    <a:gd name="connsiteY129" fmla="*/ 7982 h 10000"/>
                    <a:gd name="connsiteX130" fmla="*/ 4111 w 10000"/>
                    <a:gd name="connsiteY130" fmla="*/ 7938 h 10000"/>
                    <a:gd name="connsiteX131" fmla="*/ 4111 w 10000"/>
                    <a:gd name="connsiteY131" fmla="*/ 7938 h 10000"/>
                    <a:gd name="connsiteX132" fmla="*/ 4278 w 10000"/>
                    <a:gd name="connsiteY132" fmla="*/ 7894 h 10000"/>
                    <a:gd name="connsiteX133" fmla="*/ 4389 w 10000"/>
                    <a:gd name="connsiteY133" fmla="*/ 7879 h 10000"/>
                    <a:gd name="connsiteX134" fmla="*/ 4389 w 10000"/>
                    <a:gd name="connsiteY134" fmla="*/ 7879 h 10000"/>
                    <a:gd name="connsiteX135" fmla="*/ 4000 w 10000"/>
                    <a:gd name="connsiteY135" fmla="*/ 7879 h 10000"/>
                    <a:gd name="connsiteX136" fmla="*/ 3722 w 10000"/>
                    <a:gd name="connsiteY136" fmla="*/ 7894 h 10000"/>
                    <a:gd name="connsiteX137" fmla="*/ 3611 w 10000"/>
                    <a:gd name="connsiteY137" fmla="*/ 7909 h 10000"/>
                    <a:gd name="connsiteX138" fmla="*/ 3556 w 10000"/>
                    <a:gd name="connsiteY138" fmla="*/ 7923 h 10000"/>
                    <a:gd name="connsiteX139" fmla="*/ 3556 w 10000"/>
                    <a:gd name="connsiteY139" fmla="*/ 7923 h 10000"/>
                    <a:gd name="connsiteX140" fmla="*/ 3444 w 10000"/>
                    <a:gd name="connsiteY140" fmla="*/ 7982 h 10000"/>
                    <a:gd name="connsiteX141" fmla="*/ 3278 w 10000"/>
                    <a:gd name="connsiteY141" fmla="*/ 8071 h 10000"/>
                    <a:gd name="connsiteX142" fmla="*/ 3000 w 10000"/>
                    <a:gd name="connsiteY142" fmla="*/ 8174 h 10000"/>
                    <a:gd name="connsiteX143" fmla="*/ 2667 w 10000"/>
                    <a:gd name="connsiteY143" fmla="*/ 8247 h 10000"/>
                    <a:gd name="connsiteX144" fmla="*/ 2667 w 10000"/>
                    <a:gd name="connsiteY144" fmla="*/ 8247 h 10000"/>
                    <a:gd name="connsiteX145" fmla="*/ 2333 w 10000"/>
                    <a:gd name="connsiteY145" fmla="*/ 8306 h 10000"/>
                    <a:gd name="connsiteX146" fmla="*/ 1833 w 10000"/>
                    <a:gd name="connsiteY146" fmla="*/ 8365 h 10000"/>
                    <a:gd name="connsiteX147" fmla="*/ 1389 w 10000"/>
                    <a:gd name="connsiteY147" fmla="*/ 8395 h 10000"/>
                    <a:gd name="connsiteX148" fmla="*/ 889 w 10000"/>
                    <a:gd name="connsiteY148" fmla="*/ 8409 h 10000"/>
                    <a:gd name="connsiteX149" fmla="*/ 889 w 10000"/>
                    <a:gd name="connsiteY149" fmla="*/ 8409 h 10000"/>
                    <a:gd name="connsiteX150" fmla="*/ 500 w 10000"/>
                    <a:gd name="connsiteY150" fmla="*/ 8424 h 10000"/>
                    <a:gd name="connsiteX151" fmla="*/ 222 w 10000"/>
                    <a:gd name="connsiteY151" fmla="*/ 8439 h 10000"/>
                    <a:gd name="connsiteX152" fmla="*/ 0 w 10000"/>
                    <a:gd name="connsiteY152" fmla="*/ 8454 h 10000"/>
                    <a:gd name="connsiteX153" fmla="*/ 0 w 10000"/>
                    <a:gd name="connsiteY153" fmla="*/ 8454 h 10000"/>
                    <a:gd name="connsiteX154" fmla="*/ 278 w 10000"/>
                    <a:gd name="connsiteY154" fmla="*/ 8689 h 10000"/>
                    <a:gd name="connsiteX155" fmla="*/ 500 w 10000"/>
                    <a:gd name="connsiteY155" fmla="*/ 8866 h 10000"/>
                    <a:gd name="connsiteX156" fmla="*/ 722 w 10000"/>
                    <a:gd name="connsiteY156" fmla="*/ 9013 h 10000"/>
                    <a:gd name="connsiteX157" fmla="*/ 722 w 10000"/>
                    <a:gd name="connsiteY157" fmla="*/ 9013 h 10000"/>
                    <a:gd name="connsiteX158" fmla="*/ 889 w 10000"/>
                    <a:gd name="connsiteY158" fmla="*/ 9102 h 10000"/>
                    <a:gd name="connsiteX159" fmla="*/ 944 w 10000"/>
                    <a:gd name="connsiteY159" fmla="*/ 9175 h 10000"/>
                    <a:gd name="connsiteX160" fmla="*/ 1111 w 10000"/>
                    <a:gd name="connsiteY160" fmla="*/ 9249 h 10000"/>
                    <a:gd name="connsiteX161" fmla="*/ 1333 w 10000"/>
                    <a:gd name="connsiteY161" fmla="*/ 9367 h 10000"/>
                    <a:gd name="connsiteX162" fmla="*/ 1333 w 10000"/>
                    <a:gd name="connsiteY162" fmla="*/ 9367 h 10000"/>
                    <a:gd name="connsiteX163" fmla="*/ 1444 w 10000"/>
                    <a:gd name="connsiteY163" fmla="*/ 9426 h 10000"/>
                    <a:gd name="connsiteX164" fmla="*/ 1500 w 10000"/>
                    <a:gd name="connsiteY164" fmla="*/ 9470 h 10000"/>
                    <a:gd name="connsiteX165" fmla="*/ 1500 w 10000"/>
                    <a:gd name="connsiteY165" fmla="*/ 9514 h 10000"/>
                    <a:gd name="connsiteX166" fmla="*/ 1556 w 10000"/>
                    <a:gd name="connsiteY166" fmla="*/ 9529 h 10000"/>
                    <a:gd name="connsiteX167" fmla="*/ 1722 w 10000"/>
                    <a:gd name="connsiteY167" fmla="*/ 9543 h 10000"/>
                    <a:gd name="connsiteX168" fmla="*/ 1944 w 10000"/>
                    <a:gd name="connsiteY168" fmla="*/ 9558 h 10000"/>
                    <a:gd name="connsiteX169" fmla="*/ 2944 w 10000"/>
                    <a:gd name="connsiteY169" fmla="*/ 9573 h 10000"/>
                    <a:gd name="connsiteX170" fmla="*/ 2944 w 10000"/>
                    <a:gd name="connsiteY170" fmla="*/ 9573 h 10000"/>
                    <a:gd name="connsiteX171" fmla="*/ 4167 w 10000"/>
                    <a:gd name="connsiteY171" fmla="*/ 9602 h 10000"/>
                    <a:gd name="connsiteX172" fmla="*/ 4889 w 10000"/>
                    <a:gd name="connsiteY172" fmla="*/ 9647 h 10000"/>
                    <a:gd name="connsiteX173" fmla="*/ 5278 w 10000"/>
                    <a:gd name="connsiteY173" fmla="*/ 9691 h 10000"/>
                    <a:gd name="connsiteX174" fmla="*/ 5444 w 10000"/>
                    <a:gd name="connsiteY174" fmla="*/ 9705 h 10000"/>
                    <a:gd name="connsiteX175" fmla="*/ 5444 w 10000"/>
                    <a:gd name="connsiteY175" fmla="*/ 9705 h 10000"/>
                    <a:gd name="connsiteX176" fmla="*/ 5722 w 10000"/>
                    <a:gd name="connsiteY176" fmla="*/ 9735 h 10000"/>
                    <a:gd name="connsiteX177" fmla="*/ 5833 w 10000"/>
                    <a:gd name="connsiteY177" fmla="*/ 9750 h 10000"/>
                    <a:gd name="connsiteX178" fmla="*/ 5833 w 10000"/>
                    <a:gd name="connsiteY178" fmla="*/ 9750 h 10000"/>
                    <a:gd name="connsiteX179" fmla="*/ 5833 w 10000"/>
                    <a:gd name="connsiteY179" fmla="*/ 9735 h 10000"/>
                    <a:gd name="connsiteX180" fmla="*/ 5889 w 10000"/>
                    <a:gd name="connsiteY180" fmla="*/ 9720 h 10000"/>
                    <a:gd name="connsiteX181" fmla="*/ 6000 w 10000"/>
                    <a:gd name="connsiteY181" fmla="*/ 9705 h 10000"/>
                    <a:gd name="connsiteX182" fmla="*/ 6167 w 10000"/>
                    <a:gd name="connsiteY182" fmla="*/ 9691 h 10000"/>
                    <a:gd name="connsiteX183" fmla="*/ 6444 w 10000"/>
                    <a:gd name="connsiteY183" fmla="*/ 9691 h 10000"/>
                    <a:gd name="connsiteX184" fmla="*/ 6833 w 10000"/>
                    <a:gd name="connsiteY184" fmla="*/ 9705 h 10000"/>
                    <a:gd name="connsiteX185" fmla="*/ 7278 w 10000"/>
                    <a:gd name="connsiteY185" fmla="*/ 9750 h 10000"/>
                    <a:gd name="connsiteX186" fmla="*/ 7278 w 10000"/>
                    <a:gd name="connsiteY186" fmla="*/ 9750 h 10000"/>
                    <a:gd name="connsiteX187" fmla="*/ 8722 w 10000"/>
                    <a:gd name="connsiteY187" fmla="*/ 9882 h 10000"/>
                    <a:gd name="connsiteX188" fmla="*/ 10000 w 10000"/>
                    <a:gd name="connsiteY18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000 w 10000"/>
                    <a:gd name="connsiteY71" fmla="*/ 1222 h 10000"/>
                    <a:gd name="connsiteX72" fmla="*/ 5556 w 10000"/>
                    <a:gd name="connsiteY72" fmla="*/ 1075 h 10000"/>
                    <a:gd name="connsiteX73" fmla="*/ 6111 w 10000"/>
                    <a:gd name="connsiteY73" fmla="*/ 884 h 10000"/>
                    <a:gd name="connsiteX74" fmla="*/ 6667 w 10000"/>
                    <a:gd name="connsiteY74" fmla="*/ 707 h 10000"/>
                    <a:gd name="connsiteX75" fmla="*/ 7056 w 10000"/>
                    <a:gd name="connsiteY75" fmla="*/ 545 h 10000"/>
                    <a:gd name="connsiteX76" fmla="*/ 7056 w 10000"/>
                    <a:gd name="connsiteY76" fmla="*/ 545 h 10000"/>
                    <a:gd name="connsiteX77" fmla="*/ 7333 w 10000"/>
                    <a:gd name="connsiteY77" fmla="*/ 398 h 10000"/>
                    <a:gd name="connsiteX78" fmla="*/ 7667 w 10000"/>
                    <a:gd name="connsiteY78" fmla="*/ 221 h 10000"/>
                    <a:gd name="connsiteX79" fmla="*/ 8000 w 10000"/>
                    <a:gd name="connsiteY79" fmla="*/ 88 h 10000"/>
                    <a:gd name="connsiteX80" fmla="*/ 8167 w 10000"/>
                    <a:gd name="connsiteY80" fmla="*/ 29 h 10000"/>
                    <a:gd name="connsiteX81" fmla="*/ 8333 w 10000"/>
                    <a:gd name="connsiteY81" fmla="*/ 15 h 10000"/>
                    <a:gd name="connsiteX82" fmla="*/ 8333 w 10000"/>
                    <a:gd name="connsiteY82" fmla="*/ 15 h 10000"/>
                    <a:gd name="connsiteX83" fmla="*/ 8667 w 10000"/>
                    <a:gd name="connsiteY83" fmla="*/ 0 h 10000"/>
                    <a:gd name="connsiteX84" fmla="*/ 9111 w 10000"/>
                    <a:gd name="connsiteY84" fmla="*/ 0 h 10000"/>
                    <a:gd name="connsiteX85" fmla="*/ 10000 w 10000"/>
                    <a:gd name="connsiteY85" fmla="*/ 15 h 10000"/>
                    <a:gd name="connsiteX86" fmla="*/ 10000 w 10000"/>
                    <a:gd name="connsiteY86" fmla="*/ 9013 h 10000"/>
                    <a:gd name="connsiteX87" fmla="*/ 10000 w 10000"/>
                    <a:gd name="connsiteY87" fmla="*/ 9013 h 10000"/>
                    <a:gd name="connsiteX88" fmla="*/ 9722 w 10000"/>
                    <a:gd name="connsiteY88" fmla="*/ 8999 h 10000"/>
                    <a:gd name="connsiteX89" fmla="*/ 9389 w 10000"/>
                    <a:gd name="connsiteY89" fmla="*/ 9013 h 10000"/>
                    <a:gd name="connsiteX90" fmla="*/ 9389 w 10000"/>
                    <a:gd name="connsiteY90" fmla="*/ 9013 h 10000"/>
                    <a:gd name="connsiteX91" fmla="*/ 9278 w 10000"/>
                    <a:gd name="connsiteY91" fmla="*/ 9028 h 10000"/>
                    <a:gd name="connsiteX92" fmla="*/ 9056 w 10000"/>
                    <a:gd name="connsiteY92" fmla="*/ 9013 h 10000"/>
                    <a:gd name="connsiteX93" fmla="*/ 8889 w 10000"/>
                    <a:gd name="connsiteY93" fmla="*/ 8999 h 10000"/>
                    <a:gd name="connsiteX94" fmla="*/ 8722 w 10000"/>
                    <a:gd name="connsiteY94" fmla="*/ 8969 h 10000"/>
                    <a:gd name="connsiteX95" fmla="*/ 8611 w 10000"/>
                    <a:gd name="connsiteY95" fmla="*/ 8925 h 10000"/>
                    <a:gd name="connsiteX96" fmla="*/ 8444 w 10000"/>
                    <a:gd name="connsiteY96" fmla="*/ 8851 h 10000"/>
                    <a:gd name="connsiteX97" fmla="*/ 8444 w 10000"/>
                    <a:gd name="connsiteY97" fmla="*/ 8851 h 10000"/>
                    <a:gd name="connsiteX98" fmla="*/ 8222 w 10000"/>
                    <a:gd name="connsiteY98" fmla="*/ 8719 h 10000"/>
                    <a:gd name="connsiteX99" fmla="*/ 8111 w 10000"/>
                    <a:gd name="connsiteY99" fmla="*/ 8660 h 10000"/>
                    <a:gd name="connsiteX100" fmla="*/ 7944 w 10000"/>
                    <a:gd name="connsiteY100" fmla="*/ 8616 h 10000"/>
                    <a:gd name="connsiteX101" fmla="*/ 7778 w 10000"/>
                    <a:gd name="connsiteY101" fmla="*/ 8586 h 10000"/>
                    <a:gd name="connsiteX102" fmla="*/ 7556 w 10000"/>
                    <a:gd name="connsiteY102" fmla="*/ 8571 h 10000"/>
                    <a:gd name="connsiteX103" fmla="*/ 7333 w 10000"/>
                    <a:gd name="connsiteY103" fmla="*/ 8557 h 10000"/>
                    <a:gd name="connsiteX104" fmla="*/ 7000 w 10000"/>
                    <a:gd name="connsiteY104" fmla="*/ 8542 h 10000"/>
                    <a:gd name="connsiteX105" fmla="*/ 7000 w 10000"/>
                    <a:gd name="connsiteY105" fmla="*/ 8542 h 10000"/>
                    <a:gd name="connsiteX106" fmla="*/ 6556 w 10000"/>
                    <a:gd name="connsiteY106" fmla="*/ 8557 h 10000"/>
                    <a:gd name="connsiteX107" fmla="*/ 6222 w 10000"/>
                    <a:gd name="connsiteY107" fmla="*/ 8557 h 10000"/>
                    <a:gd name="connsiteX108" fmla="*/ 6111 w 10000"/>
                    <a:gd name="connsiteY108" fmla="*/ 8542 h 10000"/>
                    <a:gd name="connsiteX109" fmla="*/ 6056 w 10000"/>
                    <a:gd name="connsiteY109" fmla="*/ 8527 h 10000"/>
                    <a:gd name="connsiteX110" fmla="*/ 6056 w 10000"/>
                    <a:gd name="connsiteY110" fmla="*/ 8527 h 10000"/>
                    <a:gd name="connsiteX111" fmla="*/ 6056 w 10000"/>
                    <a:gd name="connsiteY111" fmla="*/ 8262 h 10000"/>
                    <a:gd name="connsiteX112" fmla="*/ 6056 w 10000"/>
                    <a:gd name="connsiteY112" fmla="*/ 8262 h 10000"/>
                    <a:gd name="connsiteX113" fmla="*/ 6056 w 10000"/>
                    <a:gd name="connsiteY113" fmla="*/ 8203 h 10000"/>
                    <a:gd name="connsiteX114" fmla="*/ 5944 w 10000"/>
                    <a:gd name="connsiteY114" fmla="*/ 8130 h 10000"/>
                    <a:gd name="connsiteX115" fmla="*/ 5889 w 10000"/>
                    <a:gd name="connsiteY115" fmla="*/ 8115 h 10000"/>
                    <a:gd name="connsiteX116" fmla="*/ 5778 w 10000"/>
                    <a:gd name="connsiteY116" fmla="*/ 8100 h 10000"/>
                    <a:gd name="connsiteX117" fmla="*/ 5667 w 10000"/>
                    <a:gd name="connsiteY117" fmla="*/ 8100 h 10000"/>
                    <a:gd name="connsiteX118" fmla="*/ 5500 w 10000"/>
                    <a:gd name="connsiteY118" fmla="*/ 8115 h 10000"/>
                    <a:gd name="connsiteX119" fmla="*/ 5500 w 10000"/>
                    <a:gd name="connsiteY119" fmla="*/ 8115 h 10000"/>
                    <a:gd name="connsiteX120" fmla="*/ 4889 w 10000"/>
                    <a:gd name="connsiteY120" fmla="*/ 8218 h 10000"/>
                    <a:gd name="connsiteX121" fmla="*/ 4611 w 10000"/>
                    <a:gd name="connsiteY121" fmla="*/ 8247 h 10000"/>
                    <a:gd name="connsiteX122" fmla="*/ 4556 w 10000"/>
                    <a:gd name="connsiteY122" fmla="*/ 8262 h 10000"/>
                    <a:gd name="connsiteX123" fmla="*/ 4500 w 10000"/>
                    <a:gd name="connsiteY123" fmla="*/ 8247 h 10000"/>
                    <a:gd name="connsiteX124" fmla="*/ 4500 w 10000"/>
                    <a:gd name="connsiteY124" fmla="*/ 8247 h 10000"/>
                    <a:gd name="connsiteX125" fmla="*/ 4222 w 10000"/>
                    <a:gd name="connsiteY125" fmla="*/ 8100 h 10000"/>
                    <a:gd name="connsiteX126" fmla="*/ 4222 w 10000"/>
                    <a:gd name="connsiteY126" fmla="*/ 8100 h 10000"/>
                    <a:gd name="connsiteX127" fmla="*/ 4111 w 10000"/>
                    <a:gd name="connsiteY127" fmla="*/ 8027 h 10000"/>
                    <a:gd name="connsiteX128" fmla="*/ 4111 w 10000"/>
                    <a:gd name="connsiteY128" fmla="*/ 7982 h 10000"/>
                    <a:gd name="connsiteX129" fmla="*/ 4111 w 10000"/>
                    <a:gd name="connsiteY129" fmla="*/ 7938 h 10000"/>
                    <a:gd name="connsiteX130" fmla="*/ 4111 w 10000"/>
                    <a:gd name="connsiteY130" fmla="*/ 7938 h 10000"/>
                    <a:gd name="connsiteX131" fmla="*/ 4278 w 10000"/>
                    <a:gd name="connsiteY131" fmla="*/ 7894 h 10000"/>
                    <a:gd name="connsiteX132" fmla="*/ 4389 w 10000"/>
                    <a:gd name="connsiteY132" fmla="*/ 7879 h 10000"/>
                    <a:gd name="connsiteX133" fmla="*/ 4389 w 10000"/>
                    <a:gd name="connsiteY133" fmla="*/ 7879 h 10000"/>
                    <a:gd name="connsiteX134" fmla="*/ 4000 w 10000"/>
                    <a:gd name="connsiteY134" fmla="*/ 7879 h 10000"/>
                    <a:gd name="connsiteX135" fmla="*/ 3722 w 10000"/>
                    <a:gd name="connsiteY135" fmla="*/ 7894 h 10000"/>
                    <a:gd name="connsiteX136" fmla="*/ 3611 w 10000"/>
                    <a:gd name="connsiteY136" fmla="*/ 7909 h 10000"/>
                    <a:gd name="connsiteX137" fmla="*/ 3556 w 10000"/>
                    <a:gd name="connsiteY137" fmla="*/ 7923 h 10000"/>
                    <a:gd name="connsiteX138" fmla="*/ 3556 w 10000"/>
                    <a:gd name="connsiteY138" fmla="*/ 7923 h 10000"/>
                    <a:gd name="connsiteX139" fmla="*/ 3444 w 10000"/>
                    <a:gd name="connsiteY139" fmla="*/ 7982 h 10000"/>
                    <a:gd name="connsiteX140" fmla="*/ 3278 w 10000"/>
                    <a:gd name="connsiteY140" fmla="*/ 8071 h 10000"/>
                    <a:gd name="connsiteX141" fmla="*/ 3000 w 10000"/>
                    <a:gd name="connsiteY141" fmla="*/ 8174 h 10000"/>
                    <a:gd name="connsiteX142" fmla="*/ 2667 w 10000"/>
                    <a:gd name="connsiteY142" fmla="*/ 8247 h 10000"/>
                    <a:gd name="connsiteX143" fmla="*/ 2667 w 10000"/>
                    <a:gd name="connsiteY143" fmla="*/ 8247 h 10000"/>
                    <a:gd name="connsiteX144" fmla="*/ 2333 w 10000"/>
                    <a:gd name="connsiteY144" fmla="*/ 8306 h 10000"/>
                    <a:gd name="connsiteX145" fmla="*/ 1833 w 10000"/>
                    <a:gd name="connsiteY145" fmla="*/ 8365 h 10000"/>
                    <a:gd name="connsiteX146" fmla="*/ 1389 w 10000"/>
                    <a:gd name="connsiteY146" fmla="*/ 8395 h 10000"/>
                    <a:gd name="connsiteX147" fmla="*/ 889 w 10000"/>
                    <a:gd name="connsiteY147" fmla="*/ 8409 h 10000"/>
                    <a:gd name="connsiteX148" fmla="*/ 889 w 10000"/>
                    <a:gd name="connsiteY148" fmla="*/ 8409 h 10000"/>
                    <a:gd name="connsiteX149" fmla="*/ 500 w 10000"/>
                    <a:gd name="connsiteY149" fmla="*/ 8424 h 10000"/>
                    <a:gd name="connsiteX150" fmla="*/ 222 w 10000"/>
                    <a:gd name="connsiteY150" fmla="*/ 8439 h 10000"/>
                    <a:gd name="connsiteX151" fmla="*/ 0 w 10000"/>
                    <a:gd name="connsiteY151" fmla="*/ 8454 h 10000"/>
                    <a:gd name="connsiteX152" fmla="*/ 0 w 10000"/>
                    <a:gd name="connsiteY152" fmla="*/ 8454 h 10000"/>
                    <a:gd name="connsiteX153" fmla="*/ 278 w 10000"/>
                    <a:gd name="connsiteY153" fmla="*/ 8689 h 10000"/>
                    <a:gd name="connsiteX154" fmla="*/ 500 w 10000"/>
                    <a:gd name="connsiteY154" fmla="*/ 8866 h 10000"/>
                    <a:gd name="connsiteX155" fmla="*/ 722 w 10000"/>
                    <a:gd name="connsiteY155" fmla="*/ 9013 h 10000"/>
                    <a:gd name="connsiteX156" fmla="*/ 722 w 10000"/>
                    <a:gd name="connsiteY156" fmla="*/ 9013 h 10000"/>
                    <a:gd name="connsiteX157" fmla="*/ 889 w 10000"/>
                    <a:gd name="connsiteY157" fmla="*/ 9102 h 10000"/>
                    <a:gd name="connsiteX158" fmla="*/ 944 w 10000"/>
                    <a:gd name="connsiteY158" fmla="*/ 9175 h 10000"/>
                    <a:gd name="connsiteX159" fmla="*/ 1111 w 10000"/>
                    <a:gd name="connsiteY159" fmla="*/ 9249 h 10000"/>
                    <a:gd name="connsiteX160" fmla="*/ 1333 w 10000"/>
                    <a:gd name="connsiteY160" fmla="*/ 9367 h 10000"/>
                    <a:gd name="connsiteX161" fmla="*/ 1333 w 10000"/>
                    <a:gd name="connsiteY161" fmla="*/ 9367 h 10000"/>
                    <a:gd name="connsiteX162" fmla="*/ 1444 w 10000"/>
                    <a:gd name="connsiteY162" fmla="*/ 9426 h 10000"/>
                    <a:gd name="connsiteX163" fmla="*/ 1500 w 10000"/>
                    <a:gd name="connsiteY163" fmla="*/ 9470 h 10000"/>
                    <a:gd name="connsiteX164" fmla="*/ 1500 w 10000"/>
                    <a:gd name="connsiteY164" fmla="*/ 9514 h 10000"/>
                    <a:gd name="connsiteX165" fmla="*/ 1556 w 10000"/>
                    <a:gd name="connsiteY165" fmla="*/ 9529 h 10000"/>
                    <a:gd name="connsiteX166" fmla="*/ 1722 w 10000"/>
                    <a:gd name="connsiteY166" fmla="*/ 9543 h 10000"/>
                    <a:gd name="connsiteX167" fmla="*/ 1944 w 10000"/>
                    <a:gd name="connsiteY167" fmla="*/ 9558 h 10000"/>
                    <a:gd name="connsiteX168" fmla="*/ 2944 w 10000"/>
                    <a:gd name="connsiteY168" fmla="*/ 9573 h 10000"/>
                    <a:gd name="connsiteX169" fmla="*/ 2944 w 10000"/>
                    <a:gd name="connsiteY169" fmla="*/ 9573 h 10000"/>
                    <a:gd name="connsiteX170" fmla="*/ 4167 w 10000"/>
                    <a:gd name="connsiteY170" fmla="*/ 9602 h 10000"/>
                    <a:gd name="connsiteX171" fmla="*/ 4889 w 10000"/>
                    <a:gd name="connsiteY171" fmla="*/ 9647 h 10000"/>
                    <a:gd name="connsiteX172" fmla="*/ 5278 w 10000"/>
                    <a:gd name="connsiteY172" fmla="*/ 9691 h 10000"/>
                    <a:gd name="connsiteX173" fmla="*/ 5444 w 10000"/>
                    <a:gd name="connsiteY173" fmla="*/ 9705 h 10000"/>
                    <a:gd name="connsiteX174" fmla="*/ 5444 w 10000"/>
                    <a:gd name="connsiteY174" fmla="*/ 9705 h 10000"/>
                    <a:gd name="connsiteX175" fmla="*/ 5722 w 10000"/>
                    <a:gd name="connsiteY175" fmla="*/ 9735 h 10000"/>
                    <a:gd name="connsiteX176" fmla="*/ 5833 w 10000"/>
                    <a:gd name="connsiteY176" fmla="*/ 9750 h 10000"/>
                    <a:gd name="connsiteX177" fmla="*/ 5833 w 10000"/>
                    <a:gd name="connsiteY177" fmla="*/ 9750 h 10000"/>
                    <a:gd name="connsiteX178" fmla="*/ 5833 w 10000"/>
                    <a:gd name="connsiteY178" fmla="*/ 9735 h 10000"/>
                    <a:gd name="connsiteX179" fmla="*/ 5889 w 10000"/>
                    <a:gd name="connsiteY179" fmla="*/ 9720 h 10000"/>
                    <a:gd name="connsiteX180" fmla="*/ 6000 w 10000"/>
                    <a:gd name="connsiteY180" fmla="*/ 9705 h 10000"/>
                    <a:gd name="connsiteX181" fmla="*/ 6167 w 10000"/>
                    <a:gd name="connsiteY181" fmla="*/ 9691 h 10000"/>
                    <a:gd name="connsiteX182" fmla="*/ 6444 w 10000"/>
                    <a:gd name="connsiteY182" fmla="*/ 9691 h 10000"/>
                    <a:gd name="connsiteX183" fmla="*/ 6833 w 10000"/>
                    <a:gd name="connsiteY183" fmla="*/ 9705 h 10000"/>
                    <a:gd name="connsiteX184" fmla="*/ 7278 w 10000"/>
                    <a:gd name="connsiteY184" fmla="*/ 9750 h 10000"/>
                    <a:gd name="connsiteX185" fmla="*/ 7278 w 10000"/>
                    <a:gd name="connsiteY185" fmla="*/ 9750 h 10000"/>
                    <a:gd name="connsiteX186" fmla="*/ 8722 w 10000"/>
                    <a:gd name="connsiteY186" fmla="*/ 9882 h 10000"/>
                    <a:gd name="connsiteX187" fmla="*/ 10000 w 10000"/>
                    <a:gd name="connsiteY18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000 w 10000"/>
                    <a:gd name="connsiteY71" fmla="*/ 1222 h 10000"/>
                    <a:gd name="connsiteX72" fmla="*/ 6111 w 10000"/>
                    <a:gd name="connsiteY72" fmla="*/ 884 h 10000"/>
                    <a:gd name="connsiteX73" fmla="*/ 6667 w 10000"/>
                    <a:gd name="connsiteY73" fmla="*/ 707 h 10000"/>
                    <a:gd name="connsiteX74" fmla="*/ 7056 w 10000"/>
                    <a:gd name="connsiteY74" fmla="*/ 545 h 10000"/>
                    <a:gd name="connsiteX75" fmla="*/ 7056 w 10000"/>
                    <a:gd name="connsiteY75" fmla="*/ 545 h 10000"/>
                    <a:gd name="connsiteX76" fmla="*/ 7333 w 10000"/>
                    <a:gd name="connsiteY76" fmla="*/ 398 h 10000"/>
                    <a:gd name="connsiteX77" fmla="*/ 7667 w 10000"/>
                    <a:gd name="connsiteY77" fmla="*/ 221 h 10000"/>
                    <a:gd name="connsiteX78" fmla="*/ 8000 w 10000"/>
                    <a:gd name="connsiteY78" fmla="*/ 88 h 10000"/>
                    <a:gd name="connsiteX79" fmla="*/ 8167 w 10000"/>
                    <a:gd name="connsiteY79" fmla="*/ 29 h 10000"/>
                    <a:gd name="connsiteX80" fmla="*/ 8333 w 10000"/>
                    <a:gd name="connsiteY80" fmla="*/ 15 h 10000"/>
                    <a:gd name="connsiteX81" fmla="*/ 8333 w 10000"/>
                    <a:gd name="connsiteY81" fmla="*/ 15 h 10000"/>
                    <a:gd name="connsiteX82" fmla="*/ 8667 w 10000"/>
                    <a:gd name="connsiteY82" fmla="*/ 0 h 10000"/>
                    <a:gd name="connsiteX83" fmla="*/ 9111 w 10000"/>
                    <a:gd name="connsiteY83" fmla="*/ 0 h 10000"/>
                    <a:gd name="connsiteX84" fmla="*/ 10000 w 10000"/>
                    <a:gd name="connsiteY84" fmla="*/ 15 h 10000"/>
                    <a:gd name="connsiteX85" fmla="*/ 10000 w 10000"/>
                    <a:gd name="connsiteY85" fmla="*/ 9013 h 10000"/>
                    <a:gd name="connsiteX86" fmla="*/ 10000 w 10000"/>
                    <a:gd name="connsiteY86" fmla="*/ 9013 h 10000"/>
                    <a:gd name="connsiteX87" fmla="*/ 9722 w 10000"/>
                    <a:gd name="connsiteY87" fmla="*/ 8999 h 10000"/>
                    <a:gd name="connsiteX88" fmla="*/ 9389 w 10000"/>
                    <a:gd name="connsiteY88" fmla="*/ 9013 h 10000"/>
                    <a:gd name="connsiteX89" fmla="*/ 9389 w 10000"/>
                    <a:gd name="connsiteY89" fmla="*/ 9013 h 10000"/>
                    <a:gd name="connsiteX90" fmla="*/ 9278 w 10000"/>
                    <a:gd name="connsiteY90" fmla="*/ 9028 h 10000"/>
                    <a:gd name="connsiteX91" fmla="*/ 9056 w 10000"/>
                    <a:gd name="connsiteY91" fmla="*/ 9013 h 10000"/>
                    <a:gd name="connsiteX92" fmla="*/ 8889 w 10000"/>
                    <a:gd name="connsiteY92" fmla="*/ 8999 h 10000"/>
                    <a:gd name="connsiteX93" fmla="*/ 8722 w 10000"/>
                    <a:gd name="connsiteY93" fmla="*/ 8969 h 10000"/>
                    <a:gd name="connsiteX94" fmla="*/ 8611 w 10000"/>
                    <a:gd name="connsiteY94" fmla="*/ 8925 h 10000"/>
                    <a:gd name="connsiteX95" fmla="*/ 8444 w 10000"/>
                    <a:gd name="connsiteY95" fmla="*/ 8851 h 10000"/>
                    <a:gd name="connsiteX96" fmla="*/ 8444 w 10000"/>
                    <a:gd name="connsiteY96" fmla="*/ 8851 h 10000"/>
                    <a:gd name="connsiteX97" fmla="*/ 8222 w 10000"/>
                    <a:gd name="connsiteY97" fmla="*/ 8719 h 10000"/>
                    <a:gd name="connsiteX98" fmla="*/ 8111 w 10000"/>
                    <a:gd name="connsiteY98" fmla="*/ 8660 h 10000"/>
                    <a:gd name="connsiteX99" fmla="*/ 7944 w 10000"/>
                    <a:gd name="connsiteY99" fmla="*/ 8616 h 10000"/>
                    <a:gd name="connsiteX100" fmla="*/ 7778 w 10000"/>
                    <a:gd name="connsiteY100" fmla="*/ 8586 h 10000"/>
                    <a:gd name="connsiteX101" fmla="*/ 7556 w 10000"/>
                    <a:gd name="connsiteY101" fmla="*/ 8571 h 10000"/>
                    <a:gd name="connsiteX102" fmla="*/ 7333 w 10000"/>
                    <a:gd name="connsiteY102" fmla="*/ 8557 h 10000"/>
                    <a:gd name="connsiteX103" fmla="*/ 7000 w 10000"/>
                    <a:gd name="connsiteY103" fmla="*/ 8542 h 10000"/>
                    <a:gd name="connsiteX104" fmla="*/ 7000 w 10000"/>
                    <a:gd name="connsiteY104" fmla="*/ 8542 h 10000"/>
                    <a:gd name="connsiteX105" fmla="*/ 6556 w 10000"/>
                    <a:gd name="connsiteY105" fmla="*/ 8557 h 10000"/>
                    <a:gd name="connsiteX106" fmla="*/ 6222 w 10000"/>
                    <a:gd name="connsiteY106" fmla="*/ 8557 h 10000"/>
                    <a:gd name="connsiteX107" fmla="*/ 6111 w 10000"/>
                    <a:gd name="connsiteY107" fmla="*/ 8542 h 10000"/>
                    <a:gd name="connsiteX108" fmla="*/ 6056 w 10000"/>
                    <a:gd name="connsiteY108" fmla="*/ 8527 h 10000"/>
                    <a:gd name="connsiteX109" fmla="*/ 6056 w 10000"/>
                    <a:gd name="connsiteY109" fmla="*/ 8527 h 10000"/>
                    <a:gd name="connsiteX110" fmla="*/ 6056 w 10000"/>
                    <a:gd name="connsiteY110" fmla="*/ 8262 h 10000"/>
                    <a:gd name="connsiteX111" fmla="*/ 6056 w 10000"/>
                    <a:gd name="connsiteY111" fmla="*/ 8262 h 10000"/>
                    <a:gd name="connsiteX112" fmla="*/ 6056 w 10000"/>
                    <a:gd name="connsiteY112" fmla="*/ 8203 h 10000"/>
                    <a:gd name="connsiteX113" fmla="*/ 5944 w 10000"/>
                    <a:gd name="connsiteY113" fmla="*/ 8130 h 10000"/>
                    <a:gd name="connsiteX114" fmla="*/ 5889 w 10000"/>
                    <a:gd name="connsiteY114" fmla="*/ 8115 h 10000"/>
                    <a:gd name="connsiteX115" fmla="*/ 5778 w 10000"/>
                    <a:gd name="connsiteY115" fmla="*/ 8100 h 10000"/>
                    <a:gd name="connsiteX116" fmla="*/ 5667 w 10000"/>
                    <a:gd name="connsiteY116" fmla="*/ 8100 h 10000"/>
                    <a:gd name="connsiteX117" fmla="*/ 5500 w 10000"/>
                    <a:gd name="connsiteY117" fmla="*/ 8115 h 10000"/>
                    <a:gd name="connsiteX118" fmla="*/ 5500 w 10000"/>
                    <a:gd name="connsiteY118" fmla="*/ 8115 h 10000"/>
                    <a:gd name="connsiteX119" fmla="*/ 4889 w 10000"/>
                    <a:gd name="connsiteY119" fmla="*/ 8218 h 10000"/>
                    <a:gd name="connsiteX120" fmla="*/ 4611 w 10000"/>
                    <a:gd name="connsiteY120" fmla="*/ 8247 h 10000"/>
                    <a:gd name="connsiteX121" fmla="*/ 4556 w 10000"/>
                    <a:gd name="connsiteY121" fmla="*/ 8262 h 10000"/>
                    <a:gd name="connsiteX122" fmla="*/ 4500 w 10000"/>
                    <a:gd name="connsiteY122" fmla="*/ 8247 h 10000"/>
                    <a:gd name="connsiteX123" fmla="*/ 4500 w 10000"/>
                    <a:gd name="connsiteY123" fmla="*/ 8247 h 10000"/>
                    <a:gd name="connsiteX124" fmla="*/ 4222 w 10000"/>
                    <a:gd name="connsiteY124" fmla="*/ 8100 h 10000"/>
                    <a:gd name="connsiteX125" fmla="*/ 4222 w 10000"/>
                    <a:gd name="connsiteY125" fmla="*/ 8100 h 10000"/>
                    <a:gd name="connsiteX126" fmla="*/ 4111 w 10000"/>
                    <a:gd name="connsiteY126" fmla="*/ 8027 h 10000"/>
                    <a:gd name="connsiteX127" fmla="*/ 4111 w 10000"/>
                    <a:gd name="connsiteY127" fmla="*/ 7982 h 10000"/>
                    <a:gd name="connsiteX128" fmla="*/ 4111 w 10000"/>
                    <a:gd name="connsiteY128" fmla="*/ 7938 h 10000"/>
                    <a:gd name="connsiteX129" fmla="*/ 4111 w 10000"/>
                    <a:gd name="connsiteY129" fmla="*/ 7938 h 10000"/>
                    <a:gd name="connsiteX130" fmla="*/ 4278 w 10000"/>
                    <a:gd name="connsiteY130" fmla="*/ 7894 h 10000"/>
                    <a:gd name="connsiteX131" fmla="*/ 4389 w 10000"/>
                    <a:gd name="connsiteY131" fmla="*/ 7879 h 10000"/>
                    <a:gd name="connsiteX132" fmla="*/ 4389 w 10000"/>
                    <a:gd name="connsiteY132" fmla="*/ 7879 h 10000"/>
                    <a:gd name="connsiteX133" fmla="*/ 4000 w 10000"/>
                    <a:gd name="connsiteY133" fmla="*/ 7879 h 10000"/>
                    <a:gd name="connsiteX134" fmla="*/ 3722 w 10000"/>
                    <a:gd name="connsiteY134" fmla="*/ 7894 h 10000"/>
                    <a:gd name="connsiteX135" fmla="*/ 3611 w 10000"/>
                    <a:gd name="connsiteY135" fmla="*/ 7909 h 10000"/>
                    <a:gd name="connsiteX136" fmla="*/ 3556 w 10000"/>
                    <a:gd name="connsiteY136" fmla="*/ 7923 h 10000"/>
                    <a:gd name="connsiteX137" fmla="*/ 3556 w 10000"/>
                    <a:gd name="connsiteY137" fmla="*/ 7923 h 10000"/>
                    <a:gd name="connsiteX138" fmla="*/ 3444 w 10000"/>
                    <a:gd name="connsiteY138" fmla="*/ 7982 h 10000"/>
                    <a:gd name="connsiteX139" fmla="*/ 3278 w 10000"/>
                    <a:gd name="connsiteY139" fmla="*/ 8071 h 10000"/>
                    <a:gd name="connsiteX140" fmla="*/ 3000 w 10000"/>
                    <a:gd name="connsiteY140" fmla="*/ 8174 h 10000"/>
                    <a:gd name="connsiteX141" fmla="*/ 2667 w 10000"/>
                    <a:gd name="connsiteY141" fmla="*/ 8247 h 10000"/>
                    <a:gd name="connsiteX142" fmla="*/ 2667 w 10000"/>
                    <a:gd name="connsiteY142" fmla="*/ 8247 h 10000"/>
                    <a:gd name="connsiteX143" fmla="*/ 2333 w 10000"/>
                    <a:gd name="connsiteY143" fmla="*/ 8306 h 10000"/>
                    <a:gd name="connsiteX144" fmla="*/ 1833 w 10000"/>
                    <a:gd name="connsiteY144" fmla="*/ 8365 h 10000"/>
                    <a:gd name="connsiteX145" fmla="*/ 1389 w 10000"/>
                    <a:gd name="connsiteY145" fmla="*/ 8395 h 10000"/>
                    <a:gd name="connsiteX146" fmla="*/ 889 w 10000"/>
                    <a:gd name="connsiteY146" fmla="*/ 8409 h 10000"/>
                    <a:gd name="connsiteX147" fmla="*/ 889 w 10000"/>
                    <a:gd name="connsiteY147" fmla="*/ 8409 h 10000"/>
                    <a:gd name="connsiteX148" fmla="*/ 500 w 10000"/>
                    <a:gd name="connsiteY148" fmla="*/ 8424 h 10000"/>
                    <a:gd name="connsiteX149" fmla="*/ 222 w 10000"/>
                    <a:gd name="connsiteY149" fmla="*/ 8439 h 10000"/>
                    <a:gd name="connsiteX150" fmla="*/ 0 w 10000"/>
                    <a:gd name="connsiteY150" fmla="*/ 8454 h 10000"/>
                    <a:gd name="connsiteX151" fmla="*/ 0 w 10000"/>
                    <a:gd name="connsiteY151" fmla="*/ 8454 h 10000"/>
                    <a:gd name="connsiteX152" fmla="*/ 278 w 10000"/>
                    <a:gd name="connsiteY152" fmla="*/ 8689 h 10000"/>
                    <a:gd name="connsiteX153" fmla="*/ 500 w 10000"/>
                    <a:gd name="connsiteY153" fmla="*/ 8866 h 10000"/>
                    <a:gd name="connsiteX154" fmla="*/ 722 w 10000"/>
                    <a:gd name="connsiteY154" fmla="*/ 9013 h 10000"/>
                    <a:gd name="connsiteX155" fmla="*/ 722 w 10000"/>
                    <a:gd name="connsiteY155" fmla="*/ 9013 h 10000"/>
                    <a:gd name="connsiteX156" fmla="*/ 889 w 10000"/>
                    <a:gd name="connsiteY156" fmla="*/ 9102 h 10000"/>
                    <a:gd name="connsiteX157" fmla="*/ 944 w 10000"/>
                    <a:gd name="connsiteY157" fmla="*/ 9175 h 10000"/>
                    <a:gd name="connsiteX158" fmla="*/ 1111 w 10000"/>
                    <a:gd name="connsiteY158" fmla="*/ 9249 h 10000"/>
                    <a:gd name="connsiteX159" fmla="*/ 1333 w 10000"/>
                    <a:gd name="connsiteY159" fmla="*/ 9367 h 10000"/>
                    <a:gd name="connsiteX160" fmla="*/ 1333 w 10000"/>
                    <a:gd name="connsiteY160" fmla="*/ 9367 h 10000"/>
                    <a:gd name="connsiteX161" fmla="*/ 1444 w 10000"/>
                    <a:gd name="connsiteY161" fmla="*/ 9426 h 10000"/>
                    <a:gd name="connsiteX162" fmla="*/ 1500 w 10000"/>
                    <a:gd name="connsiteY162" fmla="*/ 9470 h 10000"/>
                    <a:gd name="connsiteX163" fmla="*/ 1500 w 10000"/>
                    <a:gd name="connsiteY163" fmla="*/ 9514 h 10000"/>
                    <a:gd name="connsiteX164" fmla="*/ 1556 w 10000"/>
                    <a:gd name="connsiteY164" fmla="*/ 9529 h 10000"/>
                    <a:gd name="connsiteX165" fmla="*/ 1722 w 10000"/>
                    <a:gd name="connsiteY165" fmla="*/ 9543 h 10000"/>
                    <a:gd name="connsiteX166" fmla="*/ 1944 w 10000"/>
                    <a:gd name="connsiteY166" fmla="*/ 9558 h 10000"/>
                    <a:gd name="connsiteX167" fmla="*/ 2944 w 10000"/>
                    <a:gd name="connsiteY167" fmla="*/ 9573 h 10000"/>
                    <a:gd name="connsiteX168" fmla="*/ 2944 w 10000"/>
                    <a:gd name="connsiteY168" fmla="*/ 9573 h 10000"/>
                    <a:gd name="connsiteX169" fmla="*/ 4167 w 10000"/>
                    <a:gd name="connsiteY169" fmla="*/ 9602 h 10000"/>
                    <a:gd name="connsiteX170" fmla="*/ 4889 w 10000"/>
                    <a:gd name="connsiteY170" fmla="*/ 9647 h 10000"/>
                    <a:gd name="connsiteX171" fmla="*/ 5278 w 10000"/>
                    <a:gd name="connsiteY171" fmla="*/ 9691 h 10000"/>
                    <a:gd name="connsiteX172" fmla="*/ 5444 w 10000"/>
                    <a:gd name="connsiteY172" fmla="*/ 9705 h 10000"/>
                    <a:gd name="connsiteX173" fmla="*/ 5444 w 10000"/>
                    <a:gd name="connsiteY173" fmla="*/ 9705 h 10000"/>
                    <a:gd name="connsiteX174" fmla="*/ 5722 w 10000"/>
                    <a:gd name="connsiteY174" fmla="*/ 9735 h 10000"/>
                    <a:gd name="connsiteX175" fmla="*/ 5833 w 10000"/>
                    <a:gd name="connsiteY175" fmla="*/ 9750 h 10000"/>
                    <a:gd name="connsiteX176" fmla="*/ 5833 w 10000"/>
                    <a:gd name="connsiteY176" fmla="*/ 9750 h 10000"/>
                    <a:gd name="connsiteX177" fmla="*/ 5833 w 10000"/>
                    <a:gd name="connsiteY177" fmla="*/ 9735 h 10000"/>
                    <a:gd name="connsiteX178" fmla="*/ 5889 w 10000"/>
                    <a:gd name="connsiteY178" fmla="*/ 9720 h 10000"/>
                    <a:gd name="connsiteX179" fmla="*/ 6000 w 10000"/>
                    <a:gd name="connsiteY179" fmla="*/ 9705 h 10000"/>
                    <a:gd name="connsiteX180" fmla="*/ 6167 w 10000"/>
                    <a:gd name="connsiteY180" fmla="*/ 9691 h 10000"/>
                    <a:gd name="connsiteX181" fmla="*/ 6444 w 10000"/>
                    <a:gd name="connsiteY181" fmla="*/ 9691 h 10000"/>
                    <a:gd name="connsiteX182" fmla="*/ 6833 w 10000"/>
                    <a:gd name="connsiteY182" fmla="*/ 9705 h 10000"/>
                    <a:gd name="connsiteX183" fmla="*/ 7278 w 10000"/>
                    <a:gd name="connsiteY183" fmla="*/ 9750 h 10000"/>
                    <a:gd name="connsiteX184" fmla="*/ 7278 w 10000"/>
                    <a:gd name="connsiteY184" fmla="*/ 9750 h 10000"/>
                    <a:gd name="connsiteX185" fmla="*/ 8722 w 10000"/>
                    <a:gd name="connsiteY185" fmla="*/ 9882 h 10000"/>
                    <a:gd name="connsiteX186" fmla="*/ 10000 w 10000"/>
                    <a:gd name="connsiteY186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5000 w 10000"/>
                    <a:gd name="connsiteY71" fmla="*/ 1222 h 10000"/>
                    <a:gd name="connsiteX72" fmla="*/ 6667 w 10000"/>
                    <a:gd name="connsiteY72" fmla="*/ 707 h 10000"/>
                    <a:gd name="connsiteX73" fmla="*/ 7056 w 10000"/>
                    <a:gd name="connsiteY73" fmla="*/ 545 h 10000"/>
                    <a:gd name="connsiteX74" fmla="*/ 7056 w 10000"/>
                    <a:gd name="connsiteY74" fmla="*/ 545 h 10000"/>
                    <a:gd name="connsiteX75" fmla="*/ 7333 w 10000"/>
                    <a:gd name="connsiteY75" fmla="*/ 398 h 10000"/>
                    <a:gd name="connsiteX76" fmla="*/ 7667 w 10000"/>
                    <a:gd name="connsiteY76" fmla="*/ 221 h 10000"/>
                    <a:gd name="connsiteX77" fmla="*/ 8000 w 10000"/>
                    <a:gd name="connsiteY77" fmla="*/ 88 h 10000"/>
                    <a:gd name="connsiteX78" fmla="*/ 8167 w 10000"/>
                    <a:gd name="connsiteY78" fmla="*/ 29 h 10000"/>
                    <a:gd name="connsiteX79" fmla="*/ 8333 w 10000"/>
                    <a:gd name="connsiteY79" fmla="*/ 15 h 10000"/>
                    <a:gd name="connsiteX80" fmla="*/ 8333 w 10000"/>
                    <a:gd name="connsiteY80" fmla="*/ 15 h 10000"/>
                    <a:gd name="connsiteX81" fmla="*/ 8667 w 10000"/>
                    <a:gd name="connsiteY81" fmla="*/ 0 h 10000"/>
                    <a:gd name="connsiteX82" fmla="*/ 9111 w 10000"/>
                    <a:gd name="connsiteY82" fmla="*/ 0 h 10000"/>
                    <a:gd name="connsiteX83" fmla="*/ 10000 w 10000"/>
                    <a:gd name="connsiteY83" fmla="*/ 15 h 10000"/>
                    <a:gd name="connsiteX84" fmla="*/ 10000 w 10000"/>
                    <a:gd name="connsiteY84" fmla="*/ 9013 h 10000"/>
                    <a:gd name="connsiteX85" fmla="*/ 10000 w 10000"/>
                    <a:gd name="connsiteY85" fmla="*/ 9013 h 10000"/>
                    <a:gd name="connsiteX86" fmla="*/ 9722 w 10000"/>
                    <a:gd name="connsiteY86" fmla="*/ 8999 h 10000"/>
                    <a:gd name="connsiteX87" fmla="*/ 9389 w 10000"/>
                    <a:gd name="connsiteY87" fmla="*/ 9013 h 10000"/>
                    <a:gd name="connsiteX88" fmla="*/ 9389 w 10000"/>
                    <a:gd name="connsiteY88" fmla="*/ 9013 h 10000"/>
                    <a:gd name="connsiteX89" fmla="*/ 9278 w 10000"/>
                    <a:gd name="connsiteY89" fmla="*/ 9028 h 10000"/>
                    <a:gd name="connsiteX90" fmla="*/ 9056 w 10000"/>
                    <a:gd name="connsiteY90" fmla="*/ 9013 h 10000"/>
                    <a:gd name="connsiteX91" fmla="*/ 8889 w 10000"/>
                    <a:gd name="connsiteY91" fmla="*/ 8999 h 10000"/>
                    <a:gd name="connsiteX92" fmla="*/ 8722 w 10000"/>
                    <a:gd name="connsiteY92" fmla="*/ 8969 h 10000"/>
                    <a:gd name="connsiteX93" fmla="*/ 8611 w 10000"/>
                    <a:gd name="connsiteY93" fmla="*/ 8925 h 10000"/>
                    <a:gd name="connsiteX94" fmla="*/ 8444 w 10000"/>
                    <a:gd name="connsiteY94" fmla="*/ 8851 h 10000"/>
                    <a:gd name="connsiteX95" fmla="*/ 8444 w 10000"/>
                    <a:gd name="connsiteY95" fmla="*/ 8851 h 10000"/>
                    <a:gd name="connsiteX96" fmla="*/ 8222 w 10000"/>
                    <a:gd name="connsiteY96" fmla="*/ 8719 h 10000"/>
                    <a:gd name="connsiteX97" fmla="*/ 8111 w 10000"/>
                    <a:gd name="connsiteY97" fmla="*/ 8660 h 10000"/>
                    <a:gd name="connsiteX98" fmla="*/ 7944 w 10000"/>
                    <a:gd name="connsiteY98" fmla="*/ 8616 h 10000"/>
                    <a:gd name="connsiteX99" fmla="*/ 7778 w 10000"/>
                    <a:gd name="connsiteY99" fmla="*/ 8586 h 10000"/>
                    <a:gd name="connsiteX100" fmla="*/ 7556 w 10000"/>
                    <a:gd name="connsiteY100" fmla="*/ 8571 h 10000"/>
                    <a:gd name="connsiteX101" fmla="*/ 7333 w 10000"/>
                    <a:gd name="connsiteY101" fmla="*/ 8557 h 10000"/>
                    <a:gd name="connsiteX102" fmla="*/ 7000 w 10000"/>
                    <a:gd name="connsiteY102" fmla="*/ 8542 h 10000"/>
                    <a:gd name="connsiteX103" fmla="*/ 7000 w 10000"/>
                    <a:gd name="connsiteY103" fmla="*/ 8542 h 10000"/>
                    <a:gd name="connsiteX104" fmla="*/ 6556 w 10000"/>
                    <a:gd name="connsiteY104" fmla="*/ 8557 h 10000"/>
                    <a:gd name="connsiteX105" fmla="*/ 6222 w 10000"/>
                    <a:gd name="connsiteY105" fmla="*/ 8557 h 10000"/>
                    <a:gd name="connsiteX106" fmla="*/ 6111 w 10000"/>
                    <a:gd name="connsiteY106" fmla="*/ 8542 h 10000"/>
                    <a:gd name="connsiteX107" fmla="*/ 6056 w 10000"/>
                    <a:gd name="connsiteY107" fmla="*/ 8527 h 10000"/>
                    <a:gd name="connsiteX108" fmla="*/ 6056 w 10000"/>
                    <a:gd name="connsiteY108" fmla="*/ 8527 h 10000"/>
                    <a:gd name="connsiteX109" fmla="*/ 6056 w 10000"/>
                    <a:gd name="connsiteY109" fmla="*/ 8262 h 10000"/>
                    <a:gd name="connsiteX110" fmla="*/ 6056 w 10000"/>
                    <a:gd name="connsiteY110" fmla="*/ 8262 h 10000"/>
                    <a:gd name="connsiteX111" fmla="*/ 6056 w 10000"/>
                    <a:gd name="connsiteY111" fmla="*/ 8203 h 10000"/>
                    <a:gd name="connsiteX112" fmla="*/ 5944 w 10000"/>
                    <a:gd name="connsiteY112" fmla="*/ 8130 h 10000"/>
                    <a:gd name="connsiteX113" fmla="*/ 5889 w 10000"/>
                    <a:gd name="connsiteY113" fmla="*/ 8115 h 10000"/>
                    <a:gd name="connsiteX114" fmla="*/ 5778 w 10000"/>
                    <a:gd name="connsiteY114" fmla="*/ 8100 h 10000"/>
                    <a:gd name="connsiteX115" fmla="*/ 5667 w 10000"/>
                    <a:gd name="connsiteY115" fmla="*/ 8100 h 10000"/>
                    <a:gd name="connsiteX116" fmla="*/ 5500 w 10000"/>
                    <a:gd name="connsiteY116" fmla="*/ 8115 h 10000"/>
                    <a:gd name="connsiteX117" fmla="*/ 5500 w 10000"/>
                    <a:gd name="connsiteY117" fmla="*/ 8115 h 10000"/>
                    <a:gd name="connsiteX118" fmla="*/ 4889 w 10000"/>
                    <a:gd name="connsiteY118" fmla="*/ 8218 h 10000"/>
                    <a:gd name="connsiteX119" fmla="*/ 4611 w 10000"/>
                    <a:gd name="connsiteY119" fmla="*/ 8247 h 10000"/>
                    <a:gd name="connsiteX120" fmla="*/ 4556 w 10000"/>
                    <a:gd name="connsiteY120" fmla="*/ 8262 h 10000"/>
                    <a:gd name="connsiteX121" fmla="*/ 4500 w 10000"/>
                    <a:gd name="connsiteY121" fmla="*/ 8247 h 10000"/>
                    <a:gd name="connsiteX122" fmla="*/ 4500 w 10000"/>
                    <a:gd name="connsiteY122" fmla="*/ 8247 h 10000"/>
                    <a:gd name="connsiteX123" fmla="*/ 4222 w 10000"/>
                    <a:gd name="connsiteY123" fmla="*/ 8100 h 10000"/>
                    <a:gd name="connsiteX124" fmla="*/ 4222 w 10000"/>
                    <a:gd name="connsiteY124" fmla="*/ 8100 h 10000"/>
                    <a:gd name="connsiteX125" fmla="*/ 4111 w 10000"/>
                    <a:gd name="connsiteY125" fmla="*/ 8027 h 10000"/>
                    <a:gd name="connsiteX126" fmla="*/ 4111 w 10000"/>
                    <a:gd name="connsiteY126" fmla="*/ 7982 h 10000"/>
                    <a:gd name="connsiteX127" fmla="*/ 4111 w 10000"/>
                    <a:gd name="connsiteY127" fmla="*/ 7938 h 10000"/>
                    <a:gd name="connsiteX128" fmla="*/ 4111 w 10000"/>
                    <a:gd name="connsiteY128" fmla="*/ 7938 h 10000"/>
                    <a:gd name="connsiteX129" fmla="*/ 4278 w 10000"/>
                    <a:gd name="connsiteY129" fmla="*/ 7894 h 10000"/>
                    <a:gd name="connsiteX130" fmla="*/ 4389 w 10000"/>
                    <a:gd name="connsiteY130" fmla="*/ 7879 h 10000"/>
                    <a:gd name="connsiteX131" fmla="*/ 4389 w 10000"/>
                    <a:gd name="connsiteY131" fmla="*/ 7879 h 10000"/>
                    <a:gd name="connsiteX132" fmla="*/ 4000 w 10000"/>
                    <a:gd name="connsiteY132" fmla="*/ 7879 h 10000"/>
                    <a:gd name="connsiteX133" fmla="*/ 3722 w 10000"/>
                    <a:gd name="connsiteY133" fmla="*/ 7894 h 10000"/>
                    <a:gd name="connsiteX134" fmla="*/ 3611 w 10000"/>
                    <a:gd name="connsiteY134" fmla="*/ 7909 h 10000"/>
                    <a:gd name="connsiteX135" fmla="*/ 3556 w 10000"/>
                    <a:gd name="connsiteY135" fmla="*/ 7923 h 10000"/>
                    <a:gd name="connsiteX136" fmla="*/ 3556 w 10000"/>
                    <a:gd name="connsiteY136" fmla="*/ 7923 h 10000"/>
                    <a:gd name="connsiteX137" fmla="*/ 3444 w 10000"/>
                    <a:gd name="connsiteY137" fmla="*/ 7982 h 10000"/>
                    <a:gd name="connsiteX138" fmla="*/ 3278 w 10000"/>
                    <a:gd name="connsiteY138" fmla="*/ 8071 h 10000"/>
                    <a:gd name="connsiteX139" fmla="*/ 3000 w 10000"/>
                    <a:gd name="connsiteY139" fmla="*/ 8174 h 10000"/>
                    <a:gd name="connsiteX140" fmla="*/ 2667 w 10000"/>
                    <a:gd name="connsiteY140" fmla="*/ 8247 h 10000"/>
                    <a:gd name="connsiteX141" fmla="*/ 2667 w 10000"/>
                    <a:gd name="connsiteY141" fmla="*/ 8247 h 10000"/>
                    <a:gd name="connsiteX142" fmla="*/ 2333 w 10000"/>
                    <a:gd name="connsiteY142" fmla="*/ 8306 h 10000"/>
                    <a:gd name="connsiteX143" fmla="*/ 1833 w 10000"/>
                    <a:gd name="connsiteY143" fmla="*/ 8365 h 10000"/>
                    <a:gd name="connsiteX144" fmla="*/ 1389 w 10000"/>
                    <a:gd name="connsiteY144" fmla="*/ 8395 h 10000"/>
                    <a:gd name="connsiteX145" fmla="*/ 889 w 10000"/>
                    <a:gd name="connsiteY145" fmla="*/ 8409 h 10000"/>
                    <a:gd name="connsiteX146" fmla="*/ 889 w 10000"/>
                    <a:gd name="connsiteY146" fmla="*/ 8409 h 10000"/>
                    <a:gd name="connsiteX147" fmla="*/ 500 w 10000"/>
                    <a:gd name="connsiteY147" fmla="*/ 8424 h 10000"/>
                    <a:gd name="connsiteX148" fmla="*/ 222 w 10000"/>
                    <a:gd name="connsiteY148" fmla="*/ 8439 h 10000"/>
                    <a:gd name="connsiteX149" fmla="*/ 0 w 10000"/>
                    <a:gd name="connsiteY149" fmla="*/ 8454 h 10000"/>
                    <a:gd name="connsiteX150" fmla="*/ 0 w 10000"/>
                    <a:gd name="connsiteY150" fmla="*/ 8454 h 10000"/>
                    <a:gd name="connsiteX151" fmla="*/ 278 w 10000"/>
                    <a:gd name="connsiteY151" fmla="*/ 8689 h 10000"/>
                    <a:gd name="connsiteX152" fmla="*/ 500 w 10000"/>
                    <a:gd name="connsiteY152" fmla="*/ 8866 h 10000"/>
                    <a:gd name="connsiteX153" fmla="*/ 722 w 10000"/>
                    <a:gd name="connsiteY153" fmla="*/ 9013 h 10000"/>
                    <a:gd name="connsiteX154" fmla="*/ 722 w 10000"/>
                    <a:gd name="connsiteY154" fmla="*/ 9013 h 10000"/>
                    <a:gd name="connsiteX155" fmla="*/ 889 w 10000"/>
                    <a:gd name="connsiteY155" fmla="*/ 9102 h 10000"/>
                    <a:gd name="connsiteX156" fmla="*/ 944 w 10000"/>
                    <a:gd name="connsiteY156" fmla="*/ 9175 h 10000"/>
                    <a:gd name="connsiteX157" fmla="*/ 1111 w 10000"/>
                    <a:gd name="connsiteY157" fmla="*/ 9249 h 10000"/>
                    <a:gd name="connsiteX158" fmla="*/ 1333 w 10000"/>
                    <a:gd name="connsiteY158" fmla="*/ 9367 h 10000"/>
                    <a:gd name="connsiteX159" fmla="*/ 1333 w 10000"/>
                    <a:gd name="connsiteY159" fmla="*/ 9367 h 10000"/>
                    <a:gd name="connsiteX160" fmla="*/ 1444 w 10000"/>
                    <a:gd name="connsiteY160" fmla="*/ 9426 h 10000"/>
                    <a:gd name="connsiteX161" fmla="*/ 1500 w 10000"/>
                    <a:gd name="connsiteY161" fmla="*/ 9470 h 10000"/>
                    <a:gd name="connsiteX162" fmla="*/ 1500 w 10000"/>
                    <a:gd name="connsiteY162" fmla="*/ 9514 h 10000"/>
                    <a:gd name="connsiteX163" fmla="*/ 1556 w 10000"/>
                    <a:gd name="connsiteY163" fmla="*/ 9529 h 10000"/>
                    <a:gd name="connsiteX164" fmla="*/ 1722 w 10000"/>
                    <a:gd name="connsiteY164" fmla="*/ 9543 h 10000"/>
                    <a:gd name="connsiteX165" fmla="*/ 1944 w 10000"/>
                    <a:gd name="connsiteY165" fmla="*/ 9558 h 10000"/>
                    <a:gd name="connsiteX166" fmla="*/ 2944 w 10000"/>
                    <a:gd name="connsiteY166" fmla="*/ 9573 h 10000"/>
                    <a:gd name="connsiteX167" fmla="*/ 2944 w 10000"/>
                    <a:gd name="connsiteY167" fmla="*/ 9573 h 10000"/>
                    <a:gd name="connsiteX168" fmla="*/ 4167 w 10000"/>
                    <a:gd name="connsiteY168" fmla="*/ 9602 h 10000"/>
                    <a:gd name="connsiteX169" fmla="*/ 4889 w 10000"/>
                    <a:gd name="connsiteY169" fmla="*/ 9647 h 10000"/>
                    <a:gd name="connsiteX170" fmla="*/ 5278 w 10000"/>
                    <a:gd name="connsiteY170" fmla="*/ 9691 h 10000"/>
                    <a:gd name="connsiteX171" fmla="*/ 5444 w 10000"/>
                    <a:gd name="connsiteY171" fmla="*/ 9705 h 10000"/>
                    <a:gd name="connsiteX172" fmla="*/ 5444 w 10000"/>
                    <a:gd name="connsiteY172" fmla="*/ 9705 h 10000"/>
                    <a:gd name="connsiteX173" fmla="*/ 5722 w 10000"/>
                    <a:gd name="connsiteY173" fmla="*/ 9735 h 10000"/>
                    <a:gd name="connsiteX174" fmla="*/ 5833 w 10000"/>
                    <a:gd name="connsiteY174" fmla="*/ 9750 h 10000"/>
                    <a:gd name="connsiteX175" fmla="*/ 5833 w 10000"/>
                    <a:gd name="connsiteY175" fmla="*/ 9750 h 10000"/>
                    <a:gd name="connsiteX176" fmla="*/ 5833 w 10000"/>
                    <a:gd name="connsiteY176" fmla="*/ 9735 h 10000"/>
                    <a:gd name="connsiteX177" fmla="*/ 5889 w 10000"/>
                    <a:gd name="connsiteY177" fmla="*/ 9720 h 10000"/>
                    <a:gd name="connsiteX178" fmla="*/ 6000 w 10000"/>
                    <a:gd name="connsiteY178" fmla="*/ 9705 h 10000"/>
                    <a:gd name="connsiteX179" fmla="*/ 6167 w 10000"/>
                    <a:gd name="connsiteY179" fmla="*/ 9691 h 10000"/>
                    <a:gd name="connsiteX180" fmla="*/ 6444 w 10000"/>
                    <a:gd name="connsiteY180" fmla="*/ 9691 h 10000"/>
                    <a:gd name="connsiteX181" fmla="*/ 6833 w 10000"/>
                    <a:gd name="connsiteY181" fmla="*/ 9705 h 10000"/>
                    <a:gd name="connsiteX182" fmla="*/ 7278 w 10000"/>
                    <a:gd name="connsiteY182" fmla="*/ 9750 h 10000"/>
                    <a:gd name="connsiteX183" fmla="*/ 7278 w 10000"/>
                    <a:gd name="connsiteY183" fmla="*/ 9750 h 10000"/>
                    <a:gd name="connsiteX184" fmla="*/ 8722 w 10000"/>
                    <a:gd name="connsiteY184" fmla="*/ 9882 h 10000"/>
                    <a:gd name="connsiteX185" fmla="*/ 10000 w 10000"/>
                    <a:gd name="connsiteY185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6667 w 10000"/>
                    <a:gd name="connsiteY71" fmla="*/ 707 h 10000"/>
                    <a:gd name="connsiteX72" fmla="*/ 7056 w 10000"/>
                    <a:gd name="connsiteY72" fmla="*/ 545 h 10000"/>
                    <a:gd name="connsiteX73" fmla="*/ 7056 w 10000"/>
                    <a:gd name="connsiteY73" fmla="*/ 545 h 10000"/>
                    <a:gd name="connsiteX74" fmla="*/ 7333 w 10000"/>
                    <a:gd name="connsiteY74" fmla="*/ 398 h 10000"/>
                    <a:gd name="connsiteX75" fmla="*/ 7667 w 10000"/>
                    <a:gd name="connsiteY75" fmla="*/ 221 h 10000"/>
                    <a:gd name="connsiteX76" fmla="*/ 8000 w 10000"/>
                    <a:gd name="connsiteY76" fmla="*/ 88 h 10000"/>
                    <a:gd name="connsiteX77" fmla="*/ 8167 w 10000"/>
                    <a:gd name="connsiteY77" fmla="*/ 29 h 10000"/>
                    <a:gd name="connsiteX78" fmla="*/ 8333 w 10000"/>
                    <a:gd name="connsiteY78" fmla="*/ 15 h 10000"/>
                    <a:gd name="connsiteX79" fmla="*/ 8333 w 10000"/>
                    <a:gd name="connsiteY79" fmla="*/ 15 h 10000"/>
                    <a:gd name="connsiteX80" fmla="*/ 8667 w 10000"/>
                    <a:gd name="connsiteY80" fmla="*/ 0 h 10000"/>
                    <a:gd name="connsiteX81" fmla="*/ 9111 w 10000"/>
                    <a:gd name="connsiteY81" fmla="*/ 0 h 10000"/>
                    <a:gd name="connsiteX82" fmla="*/ 10000 w 10000"/>
                    <a:gd name="connsiteY82" fmla="*/ 15 h 10000"/>
                    <a:gd name="connsiteX83" fmla="*/ 10000 w 10000"/>
                    <a:gd name="connsiteY83" fmla="*/ 9013 h 10000"/>
                    <a:gd name="connsiteX84" fmla="*/ 10000 w 10000"/>
                    <a:gd name="connsiteY84" fmla="*/ 9013 h 10000"/>
                    <a:gd name="connsiteX85" fmla="*/ 9722 w 10000"/>
                    <a:gd name="connsiteY85" fmla="*/ 8999 h 10000"/>
                    <a:gd name="connsiteX86" fmla="*/ 9389 w 10000"/>
                    <a:gd name="connsiteY86" fmla="*/ 9013 h 10000"/>
                    <a:gd name="connsiteX87" fmla="*/ 9389 w 10000"/>
                    <a:gd name="connsiteY87" fmla="*/ 9013 h 10000"/>
                    <a:gd name="connsiteX88" fmla="*/ 9278 w 10000"/>
                    <a:gd name="connsiteY88" fmla="*/ 9028 h 10000"/>
                    <a:gd name="connsiteX89" fmla="*/ 9056 w 10000"/>
                    <a:gd name="connsiteY89" fmla="*/ 9013 h 10000"/>
                    <a:gd name="connsiteX90" fmla="*/ 8889 w 10000"/>
                    <a:gd name="connsiteY90" fmla="*/ 8999 h 10000"/>
                    <a:gd name="connsiteX91" fmla="*/ 8722 w 10000"/>
                    <a:gd name="connsiteY91" fmla="*/ 8969 h 10000"/>
                    <a:gd name="connsiteX92" fmla="*/ 8611 w 10000"/>
                    <a:gd name="connsiteY92" fmla="*/ 8925 h 10000"/>
                    <a:gd name="connsiteX93" fmla="*/ 8444 w 10000"/>
                    <a:gd name="connsiteY93" fmla="*/ 8851 h 10000"/>
                    <a:gd name="connsiteX94" fmla="*/ 8444 w 10000"/>
                    <a:gd name="connsiteY94" fmla="*/ 8851 h 10000"/>
                    <a:gd name="connsiteX95" fmla="*/ 8222 w 10000"/>
                    <a:gd name="connsiteY95" fmla="*/ 8719 h 10000"/>
                    <a:gd name="connsiteX96" fmla="*/ 8111 w 10000"/>
                    <a:gd name="connsiteY96" fmla="*/ 8660 h 10000"/>
                    <a:gd name="connsiteX97" fmla="*/ 7944 w 10000"/>
                    <a:gd name="connsiteY97" fmla="*/ 8616 h 10000"/>
                    <a:gd name="connsiteX98" fmla="*/ 7778 w 10000"/>
                    <a:gd name="connsiteY98" fmla="*/ 8586 h 10000"/>
                    <a:gd name="connsiteX99" fmla="*/ 7556 w 10000"/>
                    <a:gd name="connsiteY99" fmla="*/ 8571 h 10000"/>
                    <a:gd name="connsiteX100" fmla="*/ 7333 w 10000"/>
                    <a:gd name="connsiteY100" fmla="*/ 8557 h 10000"/>
                    <a:gd name="connsiteX101" fmla="*/ 7000 w 10000"/>
                    <a:gd name="connsiteY101" fmla="*/ 8542 h 10000"/>
                    <a:gd name="connsiteX102" fmla="*/ 7000 w 10000"/>
                    <a:gd name="connsiteY102" fmla="*/ 8542 h 10000"/>
                    <a:gd name="connsiteX103" fmla="*/ 6556 w 10000"/>
                    <a:gd name="connsiteY103" fmla="*/ 8557 h 10000"/>
                    <a:gd name="connsiteX104" fmla="*/ 6222 w 10000"/>
                    <a:gd name="connsiteY104" fmla="*/ 8557 h 10000"/>
                    <a:gd name="connsiteX105" fmla="*/ 6111 w 10000"/>
                    <a:gd name="connsiteY105" fmla="*/ 8542 h 10000"/>
                    <a:gd name="connsiteX106" fmla="*/ 6056 w 10000"/>
                    <a:gd name="connsiteY106" fmla="*/ 8527 h 10000"/>
                    <a:gd name="connsiteX107" fmla="*/ 6056 w 10000"/>
                    <a:gd name="connsiteY107" fmla="*/ 8527 h 10000"/>
                    <a:gd name="connsiteX108" fmla="*/ 6056 w 10000"/>
                    <a:gd name="connsiteY108" fmla="*/ 8262 h 10000"/>
                    <a:gd name="connsiteX109" fmla="*/ 6056 w 10000"/>
                    <a:gd name="connsiteY109" fmla="*/ 8262 h 10000"/>
                    <a:gd name="connsiteX110" fmla="*/ 6056 w 10000"/>
                    <a:gd name="connsiteY110" fmla="*/ 8203 h 10000"/>
                    <a:gd name="connsiteX111" fmla="*/ 5944 w 10000"/>
                    <a:gd name="connsiteY111" fmla="*/ 8130 h 10000"/>
                    <a:gd name="connsiteX112" fmla="*/ 5889 w 10000"/>
                    <a:gd name="connsiteY112" fmla="*/ 8115 h 10000"/>
                    <a:gd name="connsiteX113" fmla="*/ 5778 w 10000"/>
                    <a:gd name="connsiteY113" fmla="*/ 8100 h 10000"/>
                    <a:gd name="connsiteX114" fmla="*/ 5667 w 10000"/>
                    <a:gd name="connsiteY114" fmla="*/ 8100 h 10000"/>
                    <a:gd name="connsiteX115" fmla="*/ 5500 w 10000"/>
                    <a:gd name="connsiteY115" fmla="*/ 8115 h 10000"/>
                    <a:gd name="connsiteX116" fmla="*/ 5500 w 10000"/>
                    <a:gd name="connsiteY116" fmla="*/ 8115 h 10000"/>
                    <a:gd name="connsiteX117" fmla="*/ 4889 w 10000"/>
                    <a:gd name="connsiteY117" fmla="*/ 8218 h 10000"/>
                    <a:gd name="connsiteX118" fmla="*/ 4611 w 10000"/>
                    <a:gd name="connsiteY118" fmla="*/ 8247 h 10000"/>
                    <a:gd name="connsiteX119" fmla="*/ 4556 w 10000"/>
                    <a:gd name="connsiteY119" fmla="*/ 8262 h 10000"/>
                    <a:gd name="connsiteX120" fmla="*/ 4500 w 10000"/>
                    <a:gd name="connsiteY120" fmla="*/ 8247 h 10000"/>
                    <a:gd name="connsiteX121" fmla="*/ 4500 w 10000"/>
                    <a:gd name="connsiteY121" fmla="*/ 8247 h 10000"/>
                    <a:gd name="connsiteX122" fmla="*/ 4222 w 10000"/>
                    <a:gd name="connsiteY122" fmla="*/ 8100 h 10000"/>
                    <a:gd name="connsiteX123" fmla="*/ 4222 w 10000"/>
                    <a:gd name="connsiteY123" fmla="*/ 8100 h 10000"/>
                    <a:gd name="connsiteX124" fmla="*/ 4111 w 10000"/>
                    <a:gd name="connsiteY124" fmla="*/ 8027 h 10000"/>
                    <a:gd name="connsiteX125" fmla="*/ 4111 w 10000"/>
                    <a:gd name="connsiteY125" fmla="*/ 7982 h 10000"/>
                    <a:gd name="connsiteX126" fmla="*/ 4111 w 10000"/>
                    <a:gd name="connsiteY126" fmla="*/ 7938 h 10000"/>
                    <a:gd name="connsiteX127" fmla="*/ 4111 w 10000"/>
                    <a:gd name="connsiteY127" fmla="*/ 7938 h 10000"/>
                    <a:gd name="connsiteX128" fmla="*/ 4278 w 10000"/>
                    <a:gd name="connsiteY128" fmla="*/ 7894 h 10000"/>
                    <a:gd name="connsiteX129" fmla="*/ 4389 w 10000"/>
                    <a:gd name="connsiteY129" fmla="*/ 7879 h 10000"/>
                    <a:gd name="connsiteX130" fmla="*/ 4389 w 10000"/>
                    <a:gd name="connsiteY130" fmla="*/ 7879 h 10000"/>
                    <a:gd name="connsiteX131" fmla="*/ 4000 w 10000"/>
                    <a:gd name="connsiteY131" fmla="*/ 7879 h 10000"/>
                    <a:gd name="connsiteX132" fmla="*/ 3722 w 10000"/>
                    <a:gd name="connsiteY132" fmla="*/ 7894 h 10000"/>
                    <a:gd name="connsiteX133" fmla="*/ 3611 w 10000"/>
                    <a:gd name="connsiteY133" fmla="*/ 7909 h 10000"/>
                    <a:gd name="connsiteX134" fmla="*/ 3556 w 10000"/>
                    <a:gd name="connsiteY134" fmla="*/ 7923 h 10000"/>
                    <a:gd name="connsiteX135" fmla="*/ 3556 w 10000"/>
                    <a:gd name="connsiteY135" fmla="*/ 7923 h 10000"/>
                    <a:gd name="connsiteX136" fmla="*/ 3444 w 10000"/>
                    <a:gd name="connsiteY136" fmla="*/ 7982 h 10000"/>
                    <a:gd name="connsiteX137" fmla="*/ 3278 w 10000"/>
                    <a:gd name="connsiteY137" fmla="*/ 8071 h 10000"/>
                    <a:gd name="connsiteX138" fmla="*/ 3000 w 10000"/>
                    <a:gd name="connsiteY138" fmla="*/ 8174 h 10000"/>
                    <a:gd name="connsiteX139" fmla="*/ 2667 w 10000"/>
                    <a:gd name="connsiteY139" fmla="*/ 8247 h 10000"/>
                    <a:gd name="connsiteX140" fmla="*/ 2667 w 10000"/>
                    <a:gd name="connsiteY140" fmla="*/ 8247 h 10000"/>
                    <a:gd name="connsiteX141" fmla="*/ 2333 w 10000"/>
                    <a:gd name="connsiteY141" fmla="*/ 8306 h 10000"/>
                    <a:gd name="connsiteX142" fmla="*/ 1833 w 10000"/>
                    <a:gd name="connsiteY142" fmla="*/ 8365 h 10000"/>
                    <a:gd name="connsiteX143" fmla="*/ 1389 w 10000"/>
                    <a:gd name="connsiteY143" fmla="*/ 8395 h 10000"/>
                    <a:gd name="connsiteX144" fmla="*/ 889 w 10000"/>
                    <a:gd name="connsiteY144" fmla="*/ 8409 h 10000"/>
                    <a:gd name="connsiteX145" fmla="*/ 889 w 10000"/>
                    <a:gd name="connsiteY145" fmla="*/ 8409 h 10000"/>
                    <a:gd name="connsiteX146" fmla="*/ 500 w 10000"/>
                    <a:gd name="connsiteY146" fmla="*/ 8424 h 10000"/>
                    <a:gd name="connsiteX147" fmla="*/ 222 w 10000"/>
                    <a:gd name="connsiteY147" fmla="*/ 8439 h 10000"/>
                    <a:gd name="connsiteX148" fmla="*/ 0 w 10000"/>
                    <a:gd name="connsiteY148" fmla="*/ 8454 h 10000"/>
                    <a:gd name="connsiteX149" fmla="*/ 0 w 10000"/>
                    <a:gd name="connsiteY149" fmla="*/ 8454 h 10000"/>
                    <a:gd name="connsiteX150" fmla="*/ 278 w 10000"/>
                    <a:gd name="connsiteY150" fmla="*/ 8689 h 10000"/>
                    <a:gd name="connsiteX151" fmla="*/ 500 w 10000"/>
                    <a:gd name="connsiteY151" fmla="*/ 8866 h 10000"/>
                    <a:gd name="connsiteX152" fmla="*/ 722 w 10000"/>
                    <a:gd name="connsiteY152" fmla="*/ 9013 h 10000"/>
                    <a:gd name="connsiteX153" fmla="*/ 722 w 10000"/>
                    <a:gd name="connsiteY153" fmla="*/ 9013 h 10000"/>
                    <a:gd name="connsiteX154" fmla="*/ 889 w 10000"/>
                    <a:gd name="connsiteY154" fmla="*/ 9102 h 10000"/>
                    <a:gd name="connsiteX155" fmla="*/ 944 w 10000"/>
                    <a:gd name="connsiteY155" fmla="*/ 9175 h 10000"/>
                    <a:gd name="connsiteX156" fmla="*/ 1111 w 10000"/>
                    <a:gd name="connsiteY156" fmla="*/ 9249 h 10000"/>
                    <a:gd name="connsiteX157" fmla="*/ 1333 w 10000"/>
                    <a:gd name="connsiteY157" fmla="*/ 9367 h 10000"/>
                    <a:gd name="connsiteX158" fmla="*/ 1333 w 10000"/>
                    <a:gd name="connsiteY158" fmla="*/ 9367 h 10000"/>
                    <a:gd name="connsiteX159" fmla="*/ 1444 w 10000"/>
                    <a:gd name="connsiteY159" fmla="*/ 9426 h 10000"/>
                    <a:gd name="connsiteX160" fmla="*/ 1500 w 10000"/>
                    <a:gd name="connsiteY160" fmla="*/ 9470 h 10000"/>
                    <a:gd name="connsiteX161" fmla="*/ 1500 w 10000"/>
                    <a:gd name="connsiteY161" fmla="*/ 9514 h 10000"/>
                    <a:gd name="connsiteX162" fmla="*/ 1556 w 10000"/>
                    <a:gd name="connsiteY162" fmla="*/ 9529 h 10000"/>
                    <a:gd name="connsiteX163" fmla="*/ 1722 w 10000"/>
                    <a:gd name="connsiteY163" fmla="*/ 9543 h 10000"/>
                    <a:gd name="connsiteX164" fmla="*/ 1944 w 10000"/>
                    <a:gd name="connsiteY164" fmla="*/ 9558 h 10000"/>
                    <a:gd name="connsiteX165" fmla="*/ 2944 w 10000"/>
                    <a:gd name="connsiteY165" fmla="*/ 9573 h 10000"/>
                    <a:gd name="connsiteX166" fmla="*/ 2944 w 10000"/>
                    <a:gd name="connsiteY166" fmla="*/ 9573 h 10000"/>
                    <a:gd name="connsiteX167" fmla="*/ 4167 w 10000"/>
                    <a:gd name="connsiteY167" fmla="*/ 9602 h 10000"/>
                    <a:gd name="connsiteX168" fmla="*/ 4889 w 10000"/>
                    <a:gd name="connsiteY168" fmla="*/ 9647 h 10000"/>
                    <a:gd name="connsiteX169" fmla="*/ 5278 w 10000"/>
                    <a:gd name="connsiteY169" fmla="*/ 9691 h 10000"/>
                    <a:gd name="connsiteX170" fmla="*/ 5444 w 10000"/>
                    <a:gd name="connsiteY170" fmla="*/ 9705 h 10000"/>
                    <a:gd name="connsiteX171" fmla="*/ 5444 w 10000"/>
                    <a:gd name="connsiteY171" fmla="*/ 9705 h 10000"/>
                    <a:gd name="connsiteX172" fmla="*/ 5722 w 10000"/>
                    <a:gd name="connsiteY172" fmla="*/ 9735 h 10000"/>
                    <a:gd name="connsiteX173" fmla="*/ 5833 w 10000"/>
                    <a:gd name="connsiteY173" fmla="*/ 9750 h 10000"/>
                    <a:gd name="connsiteX174" fmla="*/ 5833 w 10000"/>
                    <a:gd name="connsiteY174" fmla="*/ 9750 h 10000"/>
                    <a:gd name="connsiteX175" fmla="*/ 5833 w 10000"/>
                    <a:gd name="connsiteY175" fmla="*/ 9735 h 10000"/>
                    <a:gd name="connsiteX176" fmla="*/ 5889 w 10000"/>
                    <a:gd name="connsiteY176" fmla="*/ 9720 h 10000"/>
                    <a:gd name="connsiteX177" fmla="*/ 6000 w 10000"/>
                    <a:gd name="connsiteY177" fmla="*/ 9705 h 10000"/>
                    <a:gd name="connsiteX178" fmla="*/ 6167 w 10000"/>
                    <a:gd name="connsiteY178" fmla="*/ 9691 h 10000"/>
                    <a:gd name="connsiteX179" fmla="*/ 6444 w 10000"/>
                    <a:gd name="connsiteY179" fmla="*/ 9691 h 10000"/>
                    <a:gd name="connsiteX180" fmla="*/ 6833 w 10000"/>
                    <a:gd name="connsiteY180" fmla="*/ 9705 h 10000"/>
                    <a:gd name="connsiteX181" fmla="*/ 7278 w 10000"/>
                    <a:gd name="connsiteY181" fmla="*/ 9750 h 10000"/>
                    <a:gd name="connsiteX182" fmla="*/ 7278 w 10000"/>
                    <a:gd name="connsiteY182" fmla="*/ 9750 h 10000"/>
                    <a:gd name="connsiteX183" fmla="*/ 8722 w 10000"/>
                    <a:gd name="connsiteY183" fmla="*/ 9882 h 10000"/>
                    <a:gd name="connsiteX184" fmla="*/ 10000 w 10000"/>
                    <a:gd name="connsiteY184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056 w 10000"/>
                    <a:gd name="connsiteY71" fmla="*/ 545 h 10000"/>
                    <a:gd name="connsiteX72" fmla="*/ 7056 w 10000"/>
                    <a:gd name="connsiteY72" fmla="*/ 545 h 10000"/>
                    <a:gd name="connsiteX73" fmla="*/ 7333 w 10000"/>
                    <a:gd name="connsiteY73" fmla="*/ 398 h 10000"/>
                    <a:gd name="connsiteX74" fmla="*/ 7667 w 10000"/>
                    <a:gd name="connsiteY74" fmla="*/ 221 h 10000"/>
                    <a:gd name="connsiteX75" fmla="*/ 8000 w 10000"/>
                    <a:gd name="connsiteY75" fmla="*/ 88 h 10000"/>
                    <a:gd name="connsiteX76" fmla="*/ 8167 w 10000"/>
                    <a:gd name="connsiteY76" fmla="*/ 29 h 10000"/>
                    <a:gd name="connsiteX77" fmla="*/ 8333 w 10000"/>
                    <a:gd name="connsiteY77" fmla="*/ 15 h 10000"/>
                    <a:gd name="connsiteX78" fmla="*/ 8333 w 10000"/>
                    <a:gd name="connsiteY78" fmla="*/ 15 h 10000"/>
                    <a:gd name="connsiteX79" fmla="*/ 8667 w 10000"/>
                    <a:gd name="connsiteY79" fmla="*/ 0 h 10000"/>
                    <a:gd name="connsiteX80" fmla="*/ 9111 w 10000"/>
                    <a:gd name="connsiteY80" fmla="*/ 0 h 10000"/>
                    <a:gd name="connsiteX81" fmla="*/ 10000 w 10000"/>
                    <a:gd name="connsiteY81" fmla="*/ 15 h 10000"/>
                    <a:gd name="connsiteX82" fmla="*/ 10000 w 10000"/>
                    <a:gd name="connsiteY82" fmla="*/ 9013 h 10000"/>
                    <a:gd name="connsiteX83" fmla="*/ 10000 w 10000"/>
                    <a:gd name="connsiteY83" fmla="*/ 9013 h 10000"/>
                    <a:gd name="connsiteX84" fmla="*/ 9722 w 10000"/>
                    <a:gd name="connsiteY84" fmla="*/ 8999 h 10000"/>
                    <a:gd name="connsiteX85" fmla="*/ 9389 w 10000"/>
                    <a:gd name="connsiteY85" fmla="*/ 9013 h 10000"/>
                    <a:gd name="connsiteX86" fmla="*/ 9389 w 10000"/>
                    <a:gd name="connsiteY86" fmla="*/ 9013 h 10000"/>
                    <a:gd name="connsiteX87" fmla="*/ 9278 w 10000"/>
                    <a:gd name="connsiteY87" fmla="*/ 9028 h 10000"/>
                    <a:gd name="connsiteX88" fmla="*/ 9056 w 10000"/>
                    <a:gd name="connsiteY88" fmla="*/ 9013 h 10000"/>
                    <a:gd name="connsiteX89" fmla="*/ 8889 w 10000"/>
                    <a:gd name="connsiteY89" fmla="*/ 8999 h 10000"/>
                    <a:gd name="connsiteX90" fmla="*/ 8722 w 10000"/>
                    <a:gd name="connsiteY90" fmla="*/ 8969 h 10000"/>
                    <a:gd name="connsiteX91" fmla="*/ 8611 w 10000"/>
                    <a:gd name="connsiteY91" fmla="*/ 8925 h 10000"/>
                    <a:gd name="connsiteX92" fmla="*/ 8444 w 10000"/>
                    <a:gd name="connsiteY92" fmla="*/ 8851 h 10000"/>
                    <a:gd name="connsiteX93" fmla="*/ 8444 w 10000"/>
                    <a:gd name="connsiteY93" fmla="*/ 8851 h 10000"/>
                    <a:gd name="connsiteX94" fmla="*/ 8222 w 10000"/>
                    <a:gd name="connsiteY94" fmla="*/ 8719 h 10000"/>
                    <a:gd name="connsiteX95" fmla="*/ 8111 w 10000"/>
                    <a:gd name="connsiteY95" fmla="*/ 8660 h 10000"/>
                    <a:gd name="connsiteX96" fmla="*/ 7944 w 10000"/>
                    <a:gd name="connsiteY96" fmla="*/ 8616 h 10000"/>
                    <a:gd name="connsiteX97" fmla="*/ 7778 w 10000"/>
                    <a:gd name="connsiteY97" fmla="*/ 8586 h 10000"/>
                    <a:gd name="connsiteX98" fmla="*/ 7556 w 10000"/>
                    <a:gd name="connsiteY98" fmla="*/ 8571 h 10000"/>
                    <a:gd name="connsiteX99" fmla="*/ 7333 w 10000"/>
                    <a:gd name="connsiteY99" fmla="*/ 8557 h 10000"/>
                    <a:gd name="connsiteX100" fmla="*/ 7000 w 10000"/>
                    <a:gd name="connsiteY100" fmla="*/ 8542 h 10000"/>
                    <a:gd name="connsiteX101" fmla="*/ 7000 w 10000"/>
                    <a:gd name="connsiteY101" fmla="*/ 8542 h 10000"/>
                    <a:gd name="connsiteX102" fmla="*/ 6556 w 10000"/>
                    <a:gd name="connsiteY102" fmla="*/ 8557 h 10000"/>
                    <a:gd name="connsiteX103" fmla="*/ 6222 w 10000"/>
                    <a:gd name="connsiteY103" fmla="*/ 8557 h 10000"/>
                    <a:gd name="connsiteX104" fmla="*/ 6111 w 10000"/>
                    <a:gd name="connsiteY104" fmla="*/ 8542 h 10000"/>
                    <a:gd name="connsiteX105" fmla="*/ 6056 w 10000"/>
                    <a:gd name="connsiteY105" fmla="*/ 8527 h 10000"/>
                    <a:gd name="connsiteX106" fmla="*/ 6056 w 10000"/>
                    <a:gd name="connsiteY106" fmla="*/ 8527 h 10000"/>
                    <a:gd name="connsiteX107" fmla="*/ 6056 w 10000"/>
                    <a:gd name="connsiteY107" fmla="*/ 8262 h 10000"/>
                    <a:gd name="connsiteX108" fmla="*/ 6056 w 10000"/>
                    <a:gd name="connsiteY108" fmla="*/ 8262 h 10000"/>
                    <a:gd name="connsiteX109" fmla="*/ 6056 w 10000"/>
                    <a:gd name="connsiteY109" fmla="*/ 8203 h 10000"/>
                    <a:gd name="connsiteX110" fmla="*/ 5944 w 10000"/>
                    <a:gd name="connsiteY110" fmla="*/ 8130 h 10000"/>
                    <a:gd name="connsiteX111" fmla="*/ 5889 w 10000"/>
                    <a:gd name="connsiteY111" fmla="*/ 8115 h 10000"/>
                    <a:gd name="connsiteX112" fmla="*/ 5778 w 10000"/>
                    <a:gd name="connsiteY112" fmla="*/ 8100 h 10000"/>
                    <a:gd name="connsiteX113" fmla="*/ 5667 w 10000"/>
                    <a:gd name="connsiteY113" fmla="*/ 8100 h 10000"/>
                    <a:gd name="connsiteX114" fmla="*/ 5500 w 10000"/>
                    <a:gd name="connsiteY114" fmla="*/ 8115 h 10000"/>
                    <a:gd name="connsiteX115" fmla="*/ 5500 w 10000"/>
                    <a:gd name="connsiteY115" fmla="*/ 8115 h 10000"/>
                    <a:gd name="connsiteX116" fmla="*/ 4889 w 10000"/>
                    <a:gd name="connsiteY116" fmla="*/ 8218 h 10000"/>
                    <a:gd name="connsiteX117" fmla="*/ 4611 w 10000"/>
                    <a:gd name="connsiteY117" fmla="*/ 8247 h 10000"/>
                    <a:gd name="connsiteX118" fmla="*/ 4556 w 10000"/>
                    <a:gd name="connsiteY118" fmla="*/ 8262 h 10000"/>
                    <a:gd name="connsiteX119" fmla="*/ 4500 w 10000"/>
                    <a:gd name="connsiteY119" fmla="*/ 8247 h 10000"/>
                    <a:gd name="connsiteX120" fmla="*/ 4500 w 10000"/>
                    <a:gd name="connsiteY120" fmla="*/ 8247 h 10000"/>
                    <a:gd name="connsiteX121" fmla="*/ 4222 w 10000"/>
                    <a:gd name="connsiteY121" fmla="*/ 8100 h 10000"/>
                    <a:gd name="connsiteX122" fmla="*/ 4222 w 10000"/>
                    <a:gd name="connsiteY122" fmla="*/ 8100 h 10000"/>
                    <a:gd name="connsiteX123" fmla="*/ 4111 w 10000"/>
                    <a:gd name="connsiteY123" fmla="*/ 8027 h 10000"/>
                    <a:gd name="connsiteX124" fmla="*/ 4111 w 10000"/>
                    <a:gd name="connsiteY124" fmla="*/ 7982 h 10000"/>
                    <a:gd name="connsiteX125" fmla="*/ 4111 w 10000"/>
                    <a:gd name="connsiteY125" fmla="*/ 7938 h 10000"/>
                    <a:gd name="connsiteX126" fmla="*/ 4111 w 10000"/>
                    <a:gd name="connsiteY126" fmla="*/ 7938 h 10000"/>
                    <a:gd name="connsiteX127" fmla="*/ 4278 w 10000"/>
                    <a:gd name="connsiteY127" fmla="*/ 7894 h 10000"/>
                    <a:gd name="connsiteX128" fmla="*/ 4389 w 10000"/>
                    <a:gd name="connsiteY128" fmla="*/ 7879 h 10000"/>
                    <a:gd name="connsiteX129" fmla="*/ 4389 w 10000"/>
                    <a:gd name="connsiteY129" fmla="*/ 7879 h 10000"/>
                    <a:gd name="connsiteX130" fmla="*/ 4000 w 10000"/>
                    <a:gd name="connsiteY130" fmla="*/ 7879 h 10000"/>
                    <a:gd name="connsiteX131" fmla="*/ 3722 w 10000"/>
                    <a:gd name="connsiteY131" fmla="*/ 7894 h 10000"/>
                    <a:gd name="connsiteX132" fmla="*/ 3611 w 10000"/>
                    <a:gd name="connsiteY132" fmla="*/ 7909 h 10000"/>
                    <a:gd name="connsiteX133" fmla="*/ 3556 w 10000"/>
                    <a:gd name="connsiteY133" fmla="*/ 7923 h 10000"/>
                    <a:gd name="connsiteX134" fmla="*/ 3556 w 10000"/>
                    <a:gd name="connsiteY134" fmla="*/ 7923 h 10000"/>
                    <a:gd name="connsiteX135" fmla="*/ 3444 w 10000"/>
                    <a:gd name="connsiteY135" fmla="*/ 7982 h 10000"/>
                    <a:gd name="connsiteX136" fmla="*/ 3278 w 10000"/>
                    <a:gd name="connsiteY136" fmla="*/ 8071 h 10000"/>
                    <a:gd name="connsiteX137" fmla="*/ 3000 w 10000"/>
                    <a:gd name="connsiteY137" fmla="*/ 8174 h 10000"/>
                    <a:gd name="connsiteX138" fmla="*/ 2667 w 10000"/>
                    <a:gd name="connsiteY138" fmla="*/ 8247 h 10000"/>
                    <a:gd name="connsiteX139" fmla="*/ 2667 w 10000"/>
                    <a:gd name="connsiteY139" fmla="*/ 8247 h 10000"/>
                    <a:gd name="connsiteX140" fmla="*/ 2333 w 10000"/>
                    <a:gd name="connsiteY140" fmla="*/ 8306 h 10000"/>
                    <a:gd name="connsiteX141" fmla="*/ 1833 w 10000"/>
                    <a:gd name="connsiteY141" fmla="*/ 8365 h 10000"/>
                    <a:gd name="connsiteX142" fmla="*/ 1389 w 10000"/>
                    <a:gd name="connsiteY142" fmla="*/ 8395 h 10000"/>
                    <a:gd name="connsiteX143" fmla="*/ 889 w 10000"/>
                    <a:gd name="connsiteY143" fmla="*/ 8409 h 10000"/>
                    <a:gd name="connsiteX144" fmla="*/ 889 w 10000"/>
                    <a:gd name="connsiteY144" fmla="*/ 8409 h 10000"/>
                    <a:gd name="connsiteX145" fmla="*/ 500 w 10000"/>
                    <a:gd name="connsiteY145" fmla="*/ 8424 h 10000"/>
                    <a:gd name="connsiteX146" fmla="*/ 222 w 10000"/>
                    <a:gd name="connsiteY146" fmla="*/ 8439 h 10000"/>
                    <a:gd name="connsiteX147" fmla="*/ 0 w 10000"/>
                    <a:gd name="connsiteY147" fmla="*/ 8454 h 10000"/>
                    <a:gd name="connsiteX148" fmla="*/ 0 w 10000"/>
                    <a:gd name="connsiteY148" fmla="*/ 8454 h 10000"/>
                    <a:gd name="connsiteX149" fmla="*/ 278 w 10000"/>
                    <a:gd name="connsiteY149" fmla="*/ 8689 h 10000"/>
                    <a:gd name="connsiteX150" fmla="*/ 500 w 10000"/>
                    <a:gd name="connsiteY150" fmla="*/ 8866 h 10000"/>
                    <a:gd name="connsiteX151" fmla="*/ 722 w 10000"/>
                    <a:gd name="connsiteY151" fmla="*/ 9013 h 10000"/>
                    <a:gd name="connsiteX152" fmla="*/ 722 w 10000"/>
                    <a:gd name="connsiteY152" fmla="*/ 9013 h 10000"/>
                    <a:gd name="connsiteX153" fmla="*/ 889 w 10000"/>
                    <a:gd name="connsiteY153" fmla="*/ 9102 h 10000"/>
                    <a:gd name="connsiteX154" fmla="*/ 944 w 10000"/>
                    <a:gd name="connsiteY154" fmla="*/ 9175 h 10000"/>
                    <a:gd name="connsiteX155" fmla="*/ 1111 w 10000"/>
                    <a:gd name="connsiteY155" fmla="*/ 9249 h 10000"/>
                    <a:gd name="connsiteX156" fmla="*/ 1333 w 10000"/>
                    <a:gd name="connsiteY156" fmla="*/ 9367 h 10000"/>
                    <a:gd name="connsiteX157" fmla="*/ 1333 w 10000"/>
                    <a:gd name="connsiteY157" fmla="*/ 9367 h 10000"/>
                    <a:gd name="connsiteX158" fmla="*/ 1444 w 10000"/>
                    <a:gd name="connsiteY158" fmla="*/ 9426 h 10000"/>
                    <a:gd name="connsiteX159" fmla="*/ 1500 w 10000"/>
                    <a:gd name="connsiteY159" fmla="*/ 9470 h 10000"/>
                    <a:gd name="connsiteX160" fmla="*/ 1500 w 10000"/>
                    <a:gd name="connsiteY160" fmla="*/ 9514 h 10000"/>
                    <a:gd name="connsiteX161" fmla="*/ 1556 w 10000"/>
                    <a:gd name="connsiteY161" fmla="*/ 9529 h 10000"/>
                    <a:gd name="connsiteX162" fmla="*/ 1722 w 10000"/>
                    <a:gd name="connsiteY162" fmla="*/ 9543 h 10000"/>
                    <a:gd name="connsiteX163" fmla="*/ 1944 w 10000"/>
                    <a:gd name="connsiteY163" fmla="*/ 9558 h 10000"/>
                    <a:gd name="connsiteX164" fmla="*/ 2944 w 10000"/>
                    <a:gd name="connsiteY164" fmla="*/ 9573 h 10000"/>
                    <a:gd name="connsiteX165" fmla="*/ 2944 w 10000"/>
                    <a:gd name="connsiteY165" fmla="*/ 9573 h 10000"/>
                    <a:gd name="connsiteX166" fmla="*/ 4167 w 10000"/>
                    <a:gd name="connsiteY166" fmla="*/ 9602 h 10000"/>
                    <a:gd name="connsiteX167" fmla="*/ 4889 w 10000"/>
                    <a:gd name="connsiteY167" fmla="*/ 9647 h 10000"/>
                    <a:gd name="connsiteX168" fmla="*/ 5278 w 10000"/>
                    <a:gd name="connsiteY168" fmla="*/ 9691 h 10000"/>
                    <a:gd name="connsiteX169" fmla="*/ 5444 w 10000"/>
                    <a:gd name="connsiteY169" fmla="*/ 9705 h 10000"/>
                    <a:gd name="connsiteX170" fmla="*/ 5444 w 10000"/>
                    <a:gd name="connsiteY170" fmla="*/ 9705 h 10000"/>
                    <a:gd name="connsiteX171" fmla="*/ 5722 w 10000"/>
                    <a:gd name="connsiteY171" fmla="*/ 9735 h 10000"/>
                    <a:gd name="connsiteX172" fmla="*/ 5833 w 10000"/>
                    <a:gd name="connsiteY172" fmla="*/ 9750 h 10000"/>
                    <a:gd name="connsiteX173" fmla="*/ 5833 w 10000"/>
                    <a:gd name="connsiteY173" fmla="*/ 9750 h 10000"/>
                    <a:gd name="connsiteX174" fmla="*/ 5833 w 10000"/>
                    <a:gd name="connsiteY174" fmla="*/ 9735 h 10000"/>
                    <a:gd name="connsiteX175" fmla="*/ 5889 w 10000"/>
                    <a:gd name="connsiteY175" fmla="*/ 9720 h 10000"/>
                    <a:gd name="connsiteX176" fmla="*/ 6000 w 10000"/>
                    <a:gd name="connsiteY176" fmla="*/ 9705 h 10000"/>
                    <a:gd name="connsiteX177" fmla="*/ 6167 w 10000"/>
                    <a:gd name="connsiteY177" fmla="*/ 9691 h 10000"/>
                    <a:gd name="connsiteX178" fmla="*/ 6444 w 10000"/>
                    <a:gd name="connsiteY178" fmla="*/ 9691 h 10000"/>
                    <a:gd name="connsiteX179" fmla="*/ 6833 w 10000"/>
                    <a:gd name="connsiteY179" fmla="*/ 9705 h 10000"/>
                    <a:gd name="connsiteX180" fmla="*/ 7278 w 10000"/>
                    <a:gd name="connsiteY180" fmla="*/ 9750 h 10000"/>
                    <a:gd name="connsiteX181" fmla="*/ 7278 w 10000"/>
                    <a:gd name="connsiteY181" fmla="*/ 9750 h 10000"/>
                    <a:gd name="connsiteX182" fmla="*/ 8722 w 10000"/>
                    <a:gd name="connsiteY182" fmla="*/ 9882 h 10000"/>
                    <a:gd name="connsiteX183" fmla="*/ 10000 w 10000"/>
                    <a:gd name="connsiteY183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056 w 10000"/>
                    <a:gd name="connsiteY71" fmla="*/ 545 h 10000"/>
                    <a:gd name="connsiteX72" fmla="*/ 7333 w 10000"/>
                    <a:gd name="connsiteY72" fmla="*/ 398 h 10000"/>
                    <a:gd name="connsiteX73" fmla="*/ 7667 w 10000"/>
                    <a:gd name="connsiteY73" fmla="*/ 221 h 10000"/>
                    <a:gd name="connsiteX74" fmla="*/ 8000 w 10000"/>
                    <a:gd name="connsiteY74" fmla="*/ 88 h 10000"/>
                    <a:gd name="connsiteX75" fmla="*/ 8167 w 10000"/>
                    <a:gd name="connsiteY75" fmla="*/ 29 h 10000"/>
                    <a:gd name="connsiteX76" fmla="*/ 8333 w 10000"/>
                    <a:gd name="connsiteY76" fmla="*/ 15 h 10000"/>
                    <a:gd name="connsiteX77" fmla="*/ 8333 w 10000"/>
                    <a:gd name="connsiteY77" fmla="*/ 15 h 10000"/>
                    <a:gd name="connsiteX78" fmla="*/ 8667 w 10000"/>
                    <a:gd name="connsiteY78" fmla="*/ 0 h 10000"/>
                    <a:gd name="connsiteX79" fmla="*/ 9111 w 10000"/>
                    <a:gd name="connsiteY79" fmla="*/ 0 h 10000"/>
                    <a:gd name="connsiteX80" fmla="*/ 10000 w 10000"/>
                    <a:gd name="connsiteY80" fmla="*/ 15 h 10000"/>
                    <a:gd name="connsiteX81" fmla="*/ 10000 w 10000"/>
                    <a:gd name="connsiteY81" fmla="*/ 9013 h 10000"/>
                    <a:gd name="connsiteX82" fmla="*/ 10000 w 10000"/>
                    <a:gd name="connsiteY82" fmla="*/ 9013 h 10000"/>
                    <a:gd name="connsiteX83" fmla="*/ 9722 w 10000"/>
                    <a:gd name="connsiteY83" fmla="*/ 8999 h 10000"/>
                    <a:gd name="connsiteX84" fmla="*/ 9389 w 10000"/>
                    <a:gd name="connsiteY84" fmla="*/ 9013 h 10000"/>
                    <a:gd name="connsiteX85" fmla="*/ 9389 w 10000"/>
                    <a:gd name="connsiteY85" fmla="*/ 9013 h 10000"/>
                    <a:gd name="connsiteX86" fmla="*/ 9278 w 10000"/>
                    <a:gd name="connsiteY86" fmla="*/ 9028 h 10000"/>
                    <a:gd name="connsiteX87" fmla="*/ 9056 w 10000"/>
                    <a:gd name="connsiteY87" fmla="*/ 9013 h 10000"/>
                    <a:gd name="connsiteX88" fmla="*/ 8889 w 10000"/>
                    <a:gd name="connsiteY88" fmla="*/ 8999 h 10000"/>
                    <a:gd name="connsiteX89" fmla="*/ 8722 w 10000"/>
                    <a:gd name="connsiteY89" fmla="*/ 8969 h 10000"/>
                    <a:gd name="connsiteX90" fmla="*/ 8611 w 10000"/>
                    <a:gd name="connsiteY90" fmla="*/ 8925 h 10000"/>
                    <a:gd name="connsiteX91" fmla="*/ 8444 w 10000"/>
                    <a:gd name="connsiteY91" fmla="*/ 8851 h 10000"/>
                    <a:gd name="connsiteX92" fmla="*/ 8444 w 10000"/>
                    <a:gd name="connsiteY92" fmla="*/ 8851 h 10000"/>
                    <a:gd name="connsiteX93" fmla="*/ 8222 w 10000"/>
                    <a:gd name="connsiteY93" fmla="*/ 8719 h 10000"/>
                    <a:gd name="connsiteX94" fmla="*/ 8111 w 10000"/>
                    <a:gd name="connsiteY94" fmla="*/ 8660 h 10000"/>
                    <a:gd name="connsiteX95" fmla="*/ 7944 w 10000"/>
                    <a:gd name="connsiteY95" fmla="*/ 8616 h 10000"/>
                    <a:gd name="connsiteX96" fmla="*/ 7778 w 10000"/>
                    <a:gd name="connsiteY96" fmla="*/ 8586 h 10000"/>
                    <a:gd name="connsiteX97" fmla="*/ 7556 w 10000"/>
                    <a:gd name="connsiteY97" fmla="*/ 8571 h 10000"/>
                    <a:gd name="connsiteX98" fmla="*/ 7333 w 10000"/>
                    <a:gd name="connsiteY98" fmla="*/ 8557 h 10000"/>
                    <a:gd name="connsiteX99" fmla="*/ 7000 w 10000"/>
                    <a:gd name="connsiteY99" fmla="*/ 8542 h 10000"/>
                    <a:gd name="connsiteX100" fmla="*/ 7000 w 10000"/>
                    <a:gd name="connsiteY100" fmla="*/ 8542 h 10000"/>
                    <a:gd name="connsiteX101" fmla="*/ 6556 w 10000"/>
                    <a:gd name="connsiteY101" fmla="*/ 8557 h 10000"/>
                    <a:gd name="connsiteX102" fmla="*/ 6222 w 10000"/>
                    <a:gd name="connsiteY102" fmla="*/ 8557 h 10000"/>
                    <a:gd name="connsiteX103" fmla="*/ 6111 w 10000"/>
                    <a:gd name="connsiteY103" fmla="*/ 8542 h 10000"/>
                    <a:gd name="connsiteX104" fmla="*/ 6056 w 10000"/>
                    <a:gd name="connsiteY104" fmla="*/ 8527 h 10000"/>
                    <a:gd name="connsiteX105" fmla="*/ 6056 w 10000"/>
                    <a:gd name="connsiteY105" fmla="*/ 8527 h 10000"/>
                    <a:gd name="connsiteX106" fmla="*/ 6056 w 10000"/>
                    <a:gd name="connsiteY106" fmla="*/ 8262 h 10000"/>
                    <a:gd name="connsiteX107" fmla="*/ 6056 w 10000"/>
                    <a:gd name="connsiteY107" fmla="*/ 8262 h 10000"/>
                    <a:gd name="connsiteX108" fmla="*/ 6056 w 10000"/>
                    <a:gd name="connsiteY108" fmla="*/ 8203 h 10000"/>
                    <a:gd name="connsiteX109" fmla="*/ 5944 w 10000"/>
                    <a:gd name="connsiteY109" fmla="*/ 8130 h 10000"/>
                    <a:gd name="connsiteX110" fmla="*/ 5889 w 10000"/>
                    <a:gd name="connsiteY110" fmla="*/ 8115 h 10000"/>
                    <a:gd name="connsiteX111" fmla="*/ 5778 w 10000"/>
                    <a:gd name="connsiteY111" fmla="*/ 8100 h 10000"/>
                    <a:gd name="connsiteX112" fmla="*/ 5667 w 10000"/>
                    <a:gd name="connsiteY112" fmla="*/ 8100 h 10000"/>
                    <a:gd name="connsiteX113" fmla="*/ 5500 w 10000"/>
                    <a:gd name="connsiteY113" fmla="*/ 8115 h 10000"/>
                    <a:gd name="connsiteX114" fmla="*/ 5500 w 10000"/>
                    <a:gd name="connsiteY114" fmla="*/ 8115 h 10000"/>
                    <a:gd name="connsiteX115" fmla="*/ 4889 w 10000"/>
                    <a:gd name="connsiteY115" fmla="*/ 8218 h 10000"/>
                    <a:gd name="connsiteX116" fmla="*/ 4611 w 10000"/>
                    <a:gd name="connsiteY116" fmla="*/ 8247 h 10000"/>
                    <a:gd name="connsiteX117" fmla="*/ 4556 w 10000"/>
                    <a:gd name="connsiteY117" fmla="*/ 8262 h 10000"/>
                    <a:gd name="connsiteX118" fmla="*/ 4500 w 10000"/>
                    <a:gd name="connsiteY118" fmla="*/ 8247 h 10000"/>
                    <a:gd name="connsiteX119" fmla="*/ 4500 w 10000"/>
                    <a:gd name="connsiteY119" fmla="*/ 8247 h 10000"/>
                    <a:gd name="connsiteX120" fmla="*/ 4222 w 10000"/>
                    <a:gd name="connsiteY120" fmla="*/ 8100 h 10000"/>
                    <a:gd name="connsiteX121" fmla="*/ 4222 w 10000"/>
                    <a:gd name="connsiteY121" fmla="*/ 8100 h 10000"/>
                    <a:gd name="connsiteX122" fmla="*/ 4111 w 10000"/>
                    <a:gd name="connsiteY122" fmla="*/ 8027 h 10000"/>
                    <a:gd name="connsiteX123" fmla="*/ 4111 w 10000"/>
                    <a:gd name="connsiteY123" fmla="*/ 7982 h 10000"/>
                    <a:gd name="connsiteX124" fmla="*/ 4111 w 10000"/>
                    <a:gd name="connsiteY124" fmla="*/ 7938 h 10000"/>
                    <a:gd name="connsiteX125" fmla="*/ 4111 w 10000"/>
                    <a:gd name="connsiteY125" fmla="*/ 7938 h 10000"/>
                    <a:gd name="connsiteX126" fmla="*/ 4278 w 10000"/>
                    <a:gd name="connsiteY126" fmla="*/ 7894 h 10000"/>
                    <a:gd name="connsiteX127" fmla="*/ 4389 w 10000"/>
                    <a:gd name="connsiteY127" fmla="*/ 7879 h 10000"/>
                    <a:gd name="connsiteX128" fmla="*/ 4389 w 10000"/>
                    <a:gd name="connsiteY128" fmla="*/ 7879 h 10000"/>
                    <a:gd name="connsiteX129" fmla="*/ 4000 w 10000"/>
                    <a:gd name="connsiteY129" fmla="*/ 7879 h 10000"/>
                    <a:gd name="connsiteX130" fmla="*/ 3722 w 10000"/>
                    <a:gd name="connsiteY130" fmla="*/ 7894 h 10000"/>
                    <a:gd name="connsiteX131" fmla="*/ 3611 w 10000"/>
                    <a:gd name="connsiteY131" fmla="*/ 7909 h 10000"/>
                    <a:gd name="connsiteX132" fmla="*/ 3556 w 10000"/>
                    <a:gd name="connsiteY132" fmla="*/ 7923 h 10000"/>
                    <a:gd name="connsiteX133" fmla="*/ 3556 w 10000"/>
                    <a:gd name="connsiteY133" fmla="*/ 7923 h 10000"/>
                    <a:gd name="connsiteX134" fmla="*/ 3444 w 10000"/>
                    <a:gd name="connsiteY134" fmla="*/ 7982 h 10000"/>
                    <a:gd name="connsiteX135" fmla="*/ 3278 w 10000"/>
                    <a:gd name="connsiteY135" fmla="*/ 8071 h 10000"/>
                    <a:gd name="connsiteX136" fmla="*/ 3000 w 10000"/>
                    <a:gd name="connsiteY136" fmla="*/ 8174 h 10000"/>
                    <a:gd name="connsiteX137" fmla="*/ 2667 w 10000"/>
                    <a:gd name="connsiteY137" fmla="*/ 8247 h 10000"/>
                    <a:gd name="connsiteX138" fmla="*/ 2667 w 10000"/>
                    <a:gd name="connsiteY138" fmla="*/ 8247 h 10000"/>
                    <a:gd name="connsiteX139" fmla="*/ 2333 w 10000"/>
                    <a:gd name="connsiteY139" fmla="*/ 8306 h 10000"/>
                    <a:gd name="connsiteX140" fmla="*/ 1833 w 10000"/>
                    <a:gd name="connsiteY140" fmla="*/ 8365 h 10000"/>
                    <a:gd name="connsiteX141" fmla="*/ 1389 w 10000"/>
                    <a:gd name="connsiteY141" fmla="*/ 8395 h 10000"/>
                    <a:gd name="connsiteX142" fmla="*/ 889 w 10000"/>
                    <a:gd name="connsiteY142" fmla="*/ 8409 h 10000"/>
                    <a:gd name="connsiteX143" fmla="*/ 889 w 10000"/>
                    <a:gd name="connsiteY143" fmla="*/ 8409 h 10000"/>
                    <a:gd name="connsiteX144" fmla="*/ 500 w 10000"/>
                    <a:gd name="connsiteY144" fmla="*/ 8424 h 10000"/>
                    <a:gd name="connsiteX145" fmla="*/ 222 w 10000"/>
                    <a:gd name="connsiteY145" fmla="*/ 8439 h 10000"/>
                    <a:gd name="connsiteX146" fmla="*/ 0 w 10000"/>
                    <a:gd name="connsiteY146" fmla="*/ 8454 h 10000"/>
                    <a:gd name="connsiteX147" fmla="*/ 0 w 10000"/>
                    <a:gd name="connsiteY147" fmla="*/ 8454 h 10000"/>
                    <a:gd name="connsiteX148" fmla="*/ 278 w 10000"/>
                    <a:gd name="connsiteY148" fmla="*/ 8689 h 10000"/>
                    <a:gd name="connsiteX149" fmla="*/ 500 w 10000"/>
                    <a:gd name="connsiteY149" fmla="*/ 8866 h 10000"/>
                    <a:gd name="connsiteX150" fmla="*/ 722 w 10000"/>
                    <a:gd name="connsiteY150" fmla="*/ 9013 h 10000"/>
                    <a:gd name="connsiteX151" fmla="*/ 722 w 10000"/>
                    <a:gd name="connsiteY151" fmla="*/ 9013 h 10000"/>
                    <a:gd name="connsiteX152" fmla="*/ 889 w 10000"/>
                    <a:gd name="connsiteY152" fmla="*/ 9102 h 10000"/>
                    <a:gd name="connsiteX153" fmla="*/ 944 w 10000"/>
                    <a:gd name="connsiteY153" fmla="*/ 9175 h 10000"/>
                    <a:gd name="connsiteX154" fmla="*/ 1111 w 10000"/>
                    <a:gd name="connsiteY154" fmla="*/ 9249 h 10000"/>
                    <a:gd name="connsiteX155" fmla="*/ 1333 w 10000"/>
                    <a:gd name="connsiteY155" fmla="*/ 9367 h 10000"/>
                    <a:gd name="connsiteX156" fmla="*/ 1333 w 10000"/>
                    <a:gd name="connsiteY156" fmla="*/ 9367 h 10000"/>
                    <a:gd name="connsiteX157" fmla="*/ 1444 w 10000"/>
                    <a:gd name="connsiteY157" fmla="*/ 9426 h 10000"/>
                    <a:gd name="connsiteX158" fmla="*/ 1500 w 10000"/>
                    <a:gd name="connsiteY158" fmla="*/ 9470 h 10000"/>
                    <a:gd name="connsiteX159" fmla="*/ 1500 w 10000"/>
                    <a:gd name="connsiteY159" fmla="*/ 9514 h 10000"/>
                    <a:gd name="connsiteX160" fmla="*/ 1556 w 10000"/>
                    <a:gd name="connsiteY160" fmla="*/ 9529 h 10000"/>
                    <a:gd name="connsiteX161" fmla="*/ 1722 w 10000"/>
                    <a:gd name="connsiteY161" fmla="*/ 9543 h 10000"/>
                    <a:gd name="connsiteX162" fmla="*/ 1944 w 10000"/>
                    <a:gd name="connsiteY162" fmla="*/ 9558 h 10000"/>
                    <a:gd name="connsiteX163" fmla="*/ 2944 w 10000"/>
                    <a:gd name="connsiteY163" fmla="*/ 9573 h 10000"/>
                    <a:gd name="connsiteX164" fmla="*/ 2944 w 10000"/>
                    <a:gd name="connsiteY164" fmla="*/ 9573 h 10000"/>
                    <a:gd name="connsiteX165" fmla="*/ 4167 w 10000"/>
                    <a:gd name="connsiteY165" fmla="*/ 9602 h 10000"/>
                    <a:gd name="connsiteX166" fmla="*/ 4889 w 10000"/>
                    <a:gd name="connsiteY166" fmla="*/ 9647 h 10000"/>
                    <a:gd name="connsiteX167" fmla="*/ 5278 w 10000"/>
                    <a:gd name="connsiteY167" fmla="*/ 9691 h 10000"/>
                    <a:gd name="connsiteX168" fmla="*/ 5444 w 10000"/>
                    <a:gd name="connsiteY168" fmla="*/ 9705 h 10000"/>
                    <a:gd name="connsiteX169" fmla="*/ 5444 w 10000"/>
                    <a:gd name="connsiteY169" fmla="*/ 9705 h 10000"/>
                    <a:gd name="connsiteX170" fmla="*/ 5722 w 10000"/>
                    <a:gd name="connsiteY170" fmla="*/ 9735 h 10000"/>
                    <a:gd name="connsiteX171" fmla="*/ 5833 w 10000"/>
                    <a:gd name="connsiteY171" fmla="*/ 9750 h 10000"/>
                    <a:gd name="connsiteX172" fmla="*/ 5833 w 10000"/>
                    <a:gd name="connsiteY172" fmla="*/ 9750 h 10000"/>
                    <a:gd name="connsiteX173" fmla="*/ 5833 w 10000"/>
                    <a:gd name="connsiteY173" fmla="*/ 9735 h 10000"/>
                    <a:gd name="connsiteX174" fmla="*/ 5889 w 10000"/>
                    <a:gd name="connsiteY174" fmla="*/ 9720 h 10000"/>
                    <a:gd name="connsiteX175" fmla="*/ 6000 w 10000"/>
                    <a:gd name="connsiteY175" fmla="*/ 9705 h 10000"/>
                    <a:gd name="connsiteX176" fmla="*/ 6167 w 10000"/>
                    <a:gd name="connsiteY176" fmla="*/ 9691 h 10000"/>
                    <a:gd name="connsiteX177" fmla="*/ 6444 w 10000"/>
                    <a:gd name="connsiteY177" fmla="*/ 9691 h 10000"/>
                    <a:gd name="connsiteX178" fmla="*/ 6833 w 10000"/>
                    <a:gd name="connsiteY178" fmla="*/ 9705 h 10000"/>
                    <a:gd name="connsiteX179" fmla="*/ 7278 w 10000"/>
                    <a:gd name="connsiteY179" fmla="*/ 9750 h 10000"/>
                    <a:gd name="connsiteX180" fmla="*/ 7278 w 10000"/>
                    <a:gd name="connsiteY180" fmla="*/ 9750 h 10000"/>
                    <a:gd name="connsiteX181" fmla="*/ 8722 w 10000"/>
                    <a:gd name="connsiteY181" fmla="*/ 9882 h 10000"/>
                    <a:gd name="connsiteX182" fmla="*/ 10000 w 10000"/>
                    <a:gd name="connsiteY182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333 w 10000"/>
                    <a:gd name="connsiteY71" fmla="*/ 398 h 10000"/>
                    <a:gd name="connsiteX72" fmla="*/ 7667 w 10000"/>
                    <a:gd name="connsiteY72" fmla="*/ 221 h 10000"/>
                    <a:gd name="connsiteX73" fmla="*/ 8000 w 10000"/>
                    <a:gd name="connsiteY73" fmla="*/ 88 h 10000"/>
                    <a:gd name="connsiteX74" fmla="*/ 8167 w 10000"/>
                    <a:gd name="connsiteY74" fmla="*/ 29 h 10000"/>
                    <a:gd name="connsiteX75" fmla="*/ 8333 w 10000"/>
                    <a:gd name="connsiteY75" fmla="*/ 15 h 10000"/>
                    <a:gd name="connsiteX76" fmla="*/ 8333 w 10000"/>
                    <a:gd name="connsiteY76" fmla="*/ 15 h 10000"/>
                    <a:gd name="connsiteX77" fmla="*/ 8667 w 10000"/>
                    <a:gd name="connsiteY77" fmla="*/ 0 h 10000"/>
                    <a:gd name="connsiteX78" fmla="*/ 9111 w 10000"/>
                    <a:gd name="connsiteY78" fmla="*/ 0 h 10000"/>
                    <a:gd name="connsiteX79" fmla="*/ 10000 w 10000"/>
                    <a:gd name="connsiteY79" fmla="*/ 15 h 10000"/>
                    <a:gd name="connsiteX80" fmla="*/ 10000 w 10000"/>
                    <a:gd name="connsiteY80" fmla="*/ 9013 h 10000"/>
                    <a:gd name="connsiteX81" fmla="*/ 10000 w 10000"/>
                    <a:gd name="connsiteY81" fmla="*/ 9013 h 10000"/>
                    <a:gd name="connsiteX82" fmla="*/ 9722 w 10000"/>
                    <a:gd name="connsiteY82" fmla="*/ 8999 h 10000"/>
                    <a:gd name="connsiteX83" fmla="*/ 9389 w 10000"/>
                    <a:gd name="connsiteY83" fmla="*/ 9013 h 10000"/>
                    <a:gd name="connsiteX84" fmla="*/ 9389 w 10000"/>
                    <a:gd name="connsiteY84" fmla="*/ 9013 h 10000"/>
                    <a:gd name="connsiteX85" fmla="*/ 9278 w 10000"/>
                    <a:gd name="connsiteY85" fmla="*/ 9028 h 10000"/>
                    <a:gd name="connsiteX86" fmla="*/ 9056 w 10000"/>
                    <a:gd name="connsiteY86" fmla="*/ 9013 h 10000"/>
                    <a:gd name="connsiteX87" fmla="*/ 8889 w 10000"/>
                    <a:gd name="connsiteY87" fmla="*/ 8999 h 10000"/>
                    <a:gd name="connsiteX88" fmla="*/ 8722 w 10000"/>
                    <a:gd name="connsiteY88" fmla="*/ 8969 h 10000"/>
                    <a:gd name="connsiteX89" fmla="*/ 8611 w 10000"/>
                    <a:gd name="connsiteY89" fmla="*/ 8925 h 10000"/>
                    <a:gd name="connsiteX90" fmla="*/ 8444 w 10000"/>
                    <a:gd name="connsiteY90" fmla="*/ 8851 h 10000"/>
                    <a:gd name="connsiteX91" fmla="*/ 8444 w 10000"/>
                    <a:gd name="connsiteY91" fmla="*/ 8851 h 10000"/>
                    <a:gd name="connsiteX92" fmla="*/ 8222 w 10000"/>
                    <a:gd name="connsiteY92" fmla="*/ 8719 h 10000"/>
                    <a:gd name="connsiteX93" fmla="*/ 8111 w 10000"/>
                    <a:gd name="connsiteY93" fmla="*/ 8660 h 10000"/>
                    <a:gd name="connsiteX94" fmla="*/ 7944 w 10000"/>
                    <a:gd name="connsiteY94" fmla="*/ 8616 h 10000"/>
                    <a:gd name="connsiteX95" fmla="*/ 7778 w 10000"/>
                    <a:gd name="connsiteY95" fmla="*/ 8586 h 10000"/>
                    <a:gd name="connsiteX96" fmla="*/ 7556 w 10000"/>
                    <a:gd name="connsiteY96" fmla="*/ 8571 h 10000"/>
                    <a:gd name="connsiteX97" fmla="*/ 7333 w 10000"/>
                    <a:gd name="connsiteY97" fmla="*/ 8557 h 10000"/>
                    <a:gd name="connsiteX98" fmla="*/ 7000 w 10000"/>
                    <a:gd name="connsiteY98" fmla="*/ 8542 h 10000"/>
                    <a:gd name="connsiteX99" fmla="*/ 7000 w 10000"/>
                    <a:gd name="connsiteY99" fmla="*/ 8542 h 10000"/>
                    <a:gd name="connsiteX100" fmla="*/ 6556 w 10000"/>
                    <a:gd name="connsiteY100" fmla="*/ 8557 h 10000"/>
                    <a:gd name="connsiteX101" fmla="*/ 6222 w 10000"/>
                    <a:gd name="connsiteY101" fmla="*/ 8557 h 10000"/>
                    <a:gd name="connsiteX102" fmla="*/ 6111 w 10000"/>
                    <a:gd name="connsiteY102" fmla="*/ 8542 h 10000"/>
                    <a:gd name="connsiteX103" fmla="*/ 6056 w 10000"/>
                    <a:gd name="connsiteY103" fmla="*/ 8527 h 10000"/>
                    <a:gd name="connsiteX104" fmla="*/ 6056 w 10000"/>
                    <a:gd name="connsiteY104" fmla="*/ 8527 h 10000"/>
                    <a:gd name="connsiteX105" fmla="*/ 6056 w 10000"/>
                    <a:gd name="connsiteY105" fmla="*/ 8262 h 10000"/>
                    <a:gd name="connsiteX106" fmla="*/ 6056 w 10000"/>
                    <a:gd name="connsiteY106" fmla="*/ 8262 h 10000"/>
                    <a:gd name="connsiteX107" fmla="*/ 6056 w 10000"/>
                    <a:gd name="connsiteY107" fmla="*/ 8203 h 10000"/>
                    <a:gd name="connsiteX108" fmla="*/ 5944 w 10000"/>
                    <a:gd name="connsiteY108" fmla="*/ 8130 h 10000"/>
                    <a:gd name="connsiteX109" fmla="*/ 5889 w 10000"/>
                    <a:gd name="connsiteY109" fmla="*/ 8115 h 10000"/>
                    <a:gd name="connsiteX110" fmla="*/ 5778 w 10000"/>
                    <a:gd name="connsiteY110" fmla="*/ 8100 h 10000"/>
                    <a:gd name="connsiteX111" fmla="*/ 5667 w 10000"/>
                    <a:gd name="connsiteY111" fmla="*/ 8100 h 10000"/>
                    <a:gd name="connsiteX112" fmla="*/ 5500 w 10000"/>
                    <a:gd name="connsiteY112" fmla="*/ 8115 h 10000"/>
                    <a:gd name="connsiteX113" fmla="*/ 5500 w 10000"/>
                    <a:gd name="connsiteY113" fmla="*/ 8115 h 10000"/>
                    <a:gd name="connsiteX114" fmla="*/ 4889 w 10000"/>
                    <a:gd name="connsiteY114" fmla="*/ 8218 h 10000"/>
                    <a:gd name="connsiteX115" fmla="*/ 4611 w 10000"/>
                    <a:gd name="connsiteY115" fmla="*/ 8247 h 10000"/>
                    <a:gd name="connsiteX116" fmla="*/ 4556 w 10000"/>
                    <a:gd name="connsiteY116" fmla="*/ 8262 h 10000"/>
                    <a:gd name="connsiteX117" fmla="*/ 4500 w 10000"/>
                    <a:gd name="connsiteY117" fmla="*/ 8247 h 10000"/>
                    <a:gd name="connsiteX118" fmla="*/ 4500 w 10000"/>
                    <a:gd name="connsiteY118" fmla="*/ 8247 h 10000"/>
                    <a:gd name="connsiteX119" fmla="*/ 4222 w 10000"/>
                    <a:gd name="connsiteY119" fmla="*/ 8100 h 10000"/>
                    <a:gd name="connsiteX120" fmla="*/ 4222 w 10000"/>
                    <a:gd name="connsiteY120" fmla="*/ 8100 h 10000"/>
                    <a:gd name="connsiteX121" fmla="*/ 4111 w 10000"/>
                    <a:gd name="connsiteY121" fmla="*/ 8027 h 10000"/>
                    <a:gd name="connsiteX122" fmla="*/ 4111 w 10000"/>
                    <a:gd name="connsiteY122" fmla="*/ 7982 h 10000"/>
                    <a:gd name="connsiteX123" fmla="*/ 4111 w 10000"/>
                    <a:gd name="connsiteY123" fmla="*/ 7938 h 10000"/>
                    <a:gd name="connsiteX124" fmla="*/ 4111 w 10000"/>
                    <a:gd name="connsiteY124" fmla="*/ 7938 h 10000"/>
                    <a:gd name="connsiteX125" fmla="*/ 4278 w 10000"/>
                    <a:gd name="connsiteY125" fmla="*/ 7894 h 10000"/>
                    <a:gd name="connsiteX126" fmla="*/ 4389 w 10000"/>
                    <a:gd name="connsiteY126" fmla="*/ 7879 h 10000"/>
                    <a:gd name="connsiteX127" fmla="*/ 4389 w 10000"/>
                    <a:gd name="connsiteY127" fmla="*/ 7879 h 10000"/>
                    <a:gd name="connsiteX128" fmla="*/ 4000 w 10000"/>
                    <a:gd name="connsiteY128" fmla="*/ 7879 h 10000"/>
                    <a:gd name="connsiteX129" fmla="*/ 3722 w 10000"/>
                    <a:gd name="connsiteY129" fmla="*/ 7894 h 10000"/>
                    <a:gd name="connsiteX130" fmla="*/ 3611 w 10000"/>
                    <a:gd name="connsiteY130" fmla="*/ 7909 h 10000"/>
                    <a:gd name="connsiteX131" fmla="*/ 3556 w 10000"/>
                    <a:gd name="connsiteY131" fmla="*/ 7923 h 10000"/>
                    <a:gd name="connsiteX132" fmla="*/ 3556 w 10000"/>
                    <a:gd name="connsiteY132" fmla="*/ 7923 h 10000"/>
                    <a:gd name="connsiteX133" fmla="*/ 3444 w 10000"/>
                    <a:gd name="connsiteY133" fmla="*/ 7982 h 10000"/>
                    <a:gd name="connsiteX134" fmla="*/ 3278 w 10000"/>
                    <a:gd name="connsiteY134" fmla="*/ 8071 h 10000"/>
                    <a:gd name="connsiteX135" fmla="*/ 3000 w 10000"/>
                    <a:gd name="connsiteY135" fmla="*/ 8174 h 10000"/>
                    <a:gd name="connsiteX136" fmla="*/ 2667 w 10000"/>
                    <a:gd name="connsiteY136" fmla="*/ 8247 h 10000"/>
                    <a:gd name="connsiteX137" fmla="*/ 2667 w 10000"/>
                    <a:gd name="connsiteY137" fmla="*/ 8247 h 10000"/>
                    <a:gd name="connsiteX138" fmla="*/ 2333 w 10000"/>
                    <a:gd name="connsiteY138" fmla="*/ 8306 h 10000"/>
                    <a:gd name="connsiteX139" fmla="*/ 1833 w 10000"/>
                    <a:gd name="connsiteY139" fmla="*/ 8365 h 10000"/>
                    <a:gd name="connsiteX140" fmla="*/ 1389 w 10000"/>
                    <a:gd name="connsiteY140" fmla="*/ 8395 h 10000"/>
                    <a:gd name="connsiteX141" fmla="*/ 889 w 10000"/>
                    <a:gd name="connsiteY141" fmla="*/ 8409 h 10000"/>
                    <a:gd name="connsiteX142" fmla="*/ 889 w 10000"/>
                    <a:gd name="connsiteY142" fmla="*/ 8409 h 10000"/>
                    <a:gd name="connsiteX143" fmla="*/ 500 w 10000"/>
                    <a:gd name="connsiteY143" fmla="*/ 8424 h 10000"/>
                    <a:gd name="connsiteX144" fmla="*/ 222 w 10000"/>
                    <a:gd name="connsiteY144" fmla="*/ 8439 h 10000"/>
                    <a:gd name="connsiteX145" fmla="*/ 0 w 10000"/>
                    <a:gd name="connsiteY145" fmla="*/ 8454 h 10000"/>
                    <a:gd name="connsiteX146" fmla="*/ 0 w 10000"/>
                    <a:gd name="connsiteY146" fmla="*/ 8454 h 10000"/>
                    <a:gd name="connsiteX147" fmla="*/ 278 w 10000"/>
                    <a:gd name="connsiteY147" fmla="*/ 8689 h 10000"/>
                    <a:gd name="connsiteX148" fmla="*/ 500 w 10000"/>
                    <a:gd name="connsiteY148" fmla="*/ 8866 h 10000"/>
                    <a:gd name="connsiteX149" fmla="*/ 722 w 10000"/>
                    <a:gd name="connsiteY149" fmla="*/ 9013 h 10000"/>
                    <a:gd name="connsiteX150" fmla="*/ 722 w 10000"/>
                    <a:gd name="connsiteY150" fmla="*/ 9013 h 10000"/>
                    <a:gd name="connsiteX151" fmla="*/ 889 w 10000"/>
                    <a:gd name="connsiteY151" fmla="*/ 9102 h 10000"/>
                    <a:gd name="connsiteX152" fmla="*/ 944 w 10000"/>
                    <a:gd name="connsiteY152" fmla="*/ 9175 h 10000"/>
                    <a:gd name="connsiteX153" fmla="*/ 1111 w 10000"/>
                    <a:gd name="connsiteY153" fmla="*/ 9249 h 10000"/>
                    <a:gd name="connsiteX154" fmla="*/ 1333 w 10000"/>
                    <a:gd name="connsiteY154" fmla="*/ 9367 h 10000"/>
                    <a:gd name="connsiteX155" fmla="*/ 1333 w 10000"/>
                    <a:gd name="connsiteY155" fmla="*/ 9367 h 10000"/>
                    <a:gd name="connsiteX156" fmla="*/ 1444 w 10000"/>
                    <a:gd name="connsiteY156" fmla="*/ 9426 h 10000"/>
                    <a:gd name="connsiteX157" fmla="*/ 1500 w 10000"/>
                    <a:gd name="connsiteY157" fmla="*/ 9470 h 10000"/>
                    <a:gd name="connsiteX158" fmla="*/ 1500 w 10000"/>
                    <a:gd name="connsiteY158" fmla="*/ 9514 h 10000"/>
                    <a:gd name="connsiteX159" fmla="*/ 1556 w 10000"/>
                    <a:gd name="connsiteY159" fmla="*/ 9529 h 10000"/>
                    <a:gd name="connsiteX160" fmla="*/ 1722 w 10000"/>
                    <a:gd name="connsiteY160" fmla="*/ 9543 h 10000"/>
                    <a:gd name="connsiteX161" fmla="*/ 1944 w 10000"/>
                    <a:gd name="connsiteY161" fmla="*/ 9558 h 10000"/>
                    <a:gd name="connsiteX162" fmla="*/ 2944 w 10000"/>
                    <a:gd name="connsiteY162" fmla="*/ 9573 h 10000"/>
                    <a:gd name="connsiteX163" fmla="*/ 2944 w 10000"/>
                    <a:gd name="connsiteY163" fmla="*/ 9573 h 10000"/>
                    <a:gd name="connsiteX164" fmla="*/ 4167 w 10000"/>
                    <a:gd name="connsiteY164" fmla="*/ 9602 h 10000"/>
                    <a:gd name="connsiteX165" fmla="*/ 4889 w 10000"/>
                    <a:gd name="connsiteY165" fmla="*/ 9647 h 10000"/>
                    <a:gd name="connsiteX166" fmla="*/ 5278 w 10000"/>
                    <a:gd name="connsiteY166" fmla="*/ 9691 h 10000"/>
                    <a:gd name="connsiteX167" fmla="*/ 5444 w 10000"/>
                    <a:gd name="connsiteY167" fmla="*/ 9705 h 10000"/>
                    <a:gd name="connsiteX168" fmla="*/ 5444 w 10000"/>
                    <a:gd name="connsiteY168" fmla="*/ 9705 h 10000"/>
                    <a:gd name="connsiteX169" fmla="*/ 5722 w 10000"/>
                    <a:gd name="connsiteY169" fmla="*/ 9735 h 10000"/>
                    <a:gd name="connsiteX170" fmla="*/ 5833 w 10000"/>
                    <a:gd name="connsiteY170" fmla="*/ 9750 h 10000"/>
                    <a:gd name="connsiteX171" fmla="*/ 5833 w 10000"/>
                    <a:gd name="connsiteY171" fmla="*/ 9750 h 10000"/>
                    <a:gd name="connsiteX172" fmla="*/ 5833 w 10000"/>
                    <a:gd name="connsiteY172" fmla="*/ 9735 h 10000"/>
                    <a:gd name="connsiteX173" fmla="*/ 5889 w 10000"/>
                    <a:gd name="connsiteY173" fmla="*/ 9720 h 10000"/>
                    <a:gd name="connsiteX174" fmla="*/ 6000 w 10000"/>
                    <a:gd name="connsiteY174" fmla="*/ 9705 h 10000"/>
                    <a:gd name="connsiteX175" fmla="*/ 6167 w 10000"/>
                    <a:gd name="connsiteY175" fmla="*/ 9691 h 10000"/>
                    <a:gd name="connsiteX176" fmla="*/ 6444 w 10000"/>
                    <a:gd name="connsiteY176" fmla="*/ 9691 h 10000"/>
                    <a:gd name="connsiteX177" fmla="*/ 6833 w 10000"/>
                    <a:gd name="connsiteY177" fmla="*/ 9705 h 10000"/>
                    <a:gd name="connsiteX178" fmla="*/ 7278 w 10000"/>
                    <a:gd name="connsiteY178" fmla="*/ 9750 h 10000"/>
                    <a:gd name="connsiteX179" fmla="*/ 7278 w 10000"/>
                    <a:gd name="connsiteY179" fmla="*/ 9750 h 10000"/>
                    <a:gd name="connsiteX180" fmla="*/ 8722 w 10000"/>
                    <a:gd name="connsiteY180" fmla="*/ 9882 h 10000"/>
                    <a:gd name="connsiteX181" fmla="*/ 10000 w 10000"/>
                    <a:gd name="connsiteY181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7667 w 10000"/>
                    <a:gd name="connsiteY71" fmla="*/ 221 h 10000"/>
                    <a:gd name="connsiteX72" fmla="*/ 8000 w 10000"/>
                    <a:gd name="connsiteY72" fmla="*/ 88 h 10000"/>
                    <a:gd name="connsiteX73" fmla="*/ 8167 w 10000"/>
                    <a:gd name="connsiteY73" fmla="*/ 29 h 10000"/>
                    <a:gd name="connsiteX74" fmla="*/ 8333 w 10000"/>
                    <a:gd name="connsiteY74" fmla="*/ 15 h 10000"/>
                    <a:gd name="connsiteX75" fmla="*/ 8333 w 10000"/>
                    <a:gd name="connsiteY75" fmla="*/ 15 h 10000"/>
                    <a:gd name="connsiteX76" fmla="*/ 8667 w 10000"/>
                    <a:gd name="connsiteY76" fmla="*/ 0 h 10000"/>
                    <a:gd name="connsiteX77" fmla="*/ 9111 w 10000"/>
                    <a:gd name="connsiteY77" fmla="*/ 0 h 10000"/>
                    <a:gd name="connsiteX78" fmla="*/ 10000 w 10000"/>
                    <a:gd name="connsiteY78" fmla="*/ 15 h 10000"/>
                    <a:gd name="connsiteX79" fmla="*/ 10000 w 10000"/>
                    <a:gd name="connsiteY79" fmla="*/ 9013 h 10000"/>
                    <a:gd name="connsiteX80" fmla="*/ 10000 w 10000"/>
                    <a:gd name="connsiteY80" fmla="*/ 9013 h 10000"/>
                    <a:gd name="connsiteX81" fmla="*/ 9722 w 10000"/>
                    <a:gd name="connsiteY81" fmla="*/ 8999 h 10000"/>
                    <a:gd name="connsiteX82" fmla="*/ 9389 w 10000"/>
                    <a:gd name="connsiteY82" fmla="*/ 9013 h 10000"/>
                    <a:gd name="connsiteX83" fmla="*/ 9389 w 10000"/>
                    <a:gd name="connsiteY83" fmla="*/ 9013 h 10000"/>
                    <a:gd name="connsiteX84" fmla="*/ 9278 w 10000"/>
                    <a:gd name="connsiteY84" fmla="*/ 9028 h 10000"/>
                    <a:gd name="connsiteX85" fmla="*/ 9056 w 10000"/>
                    <a:gd name="connsiteY85" fmla="*/ 9013 h 10000"/>
                    <a:gd name="connsiteX86" fmla="*/ 8889 w 10000"/>
                    <a:gd name="connsiteY86" fmla="*/ 8999 h 10000"/>
                    <a:gd name="connsiteX87" fmla="*/ 8722 w 10000"/>
                    <a:gd name="connsiteY87" fmla="*/ 8969 h 10000"/>
                    <a:gd name="connsiteX88" fmla="*/ 8611 w 10000"/>
                    <a:gd name="connsiteY88" fmla="*/ 8925 h 10000"/>
                    <a:gd name="connsiteX89" fmla="*/ 8444 w 10000"/>
                    <a:gd name="connsiteY89" fmla="*/ 8851 h 10000"/>
                    <a:gd name="connsiteX90" fmla="*/ 8444 w 10000"/>
                    <a:gd name="connsiteY90" fmla="*/ 8851 h 10000"/>
                    <a:gd name="connsiteX91" fmla="*/ 8222 w 10000"/>
                    <a:gd name="connsiteY91" fmla="*/ 8719 h 10000"/>
                    <a:gd name="connsiteX92" fmla="*/ 8111 w 10000"/>
                    <a:gd name="connsiteY92" fmla="*/ 8660 h 10000"/>
                    <a:gd name="connsiteX93" fmla="*/ 7944 w 10000"/>
                    <a:gd name="connsiteY93" fmla="*/ 8616 h 10000"/>
                    <a:gd name="connsiteX94" fmla="*/ 7778 w 10000"/>
                    <a:gd name="connsiteY94" fmla="*/ 8586 h 10000"/>
                    <a:gd name="connsiteX95" fmla="*/ 7556 w 10000"/>
                    <a:gd name="connsiteY95" fmla="*/ 8571 h 10000"/>
                    <a:gd name="connsiteX96" fmla="*/ 7333 w 10000"/>
                    <a:gd name="connsiteY96" fmla="*/ 8557 h 10000"/>
                    <a:gd name="connsiteX97" fmla="*/ 7000 w 10000"/>
                    <a:gd name="connsiteY97" fmla="*/ 8542 h 10000"/>
                    <a:gd name="connsiteX98" fmla="*/ 7000 w 10000"/>
                    <a:gd name="connsiteY98" fmla="*/ 8542 h 10000"/>
                    <a:gd name="connsiteX99" fmla="*/ 6556 w 10000"/>
                    <a:gd name="connsiteY99" fmla="*/ 8557 h 10000"/>
                    <a:gd name="connsiteX100" fmla="*/ 6222 w 10000"/>
                    <a:gd name="connsiteY100" fmla="*/ 8557 h 10000"/>
                    <a:gd name="connsiteX101" fmla="*/ 6111 w 10000"/>
                    <a:gd name="connsiteY101" fmla="*/ 8542 h 10000"/>
                    <a:gd name="connsiteX102" fmla="*/ 6056 w 10000"/>
                    <a:gd name="connsiteY102" fmla="*/ 8527 h 10000"/>
                    <a:gd name="connsiteX103" fmla="*/ 6056 w 10000"/>
                    <a:gd name="connsiteY103" fmla="*/ 8527 h 10000"/>
                    <a:gd name="connsiteX104" fmla="*/ 6056 w 10000"/>
                    <a:gd name="connsiteY104" fmla="*/ 8262 h 10000"/>
                    <a:gd name="connsiteX105" fmla="*/ 6056 w 10000"/>
                    <a:gd name="connsiteY105" fmla="*/ 8262 h 10000"/>
                    <a:gd name="connsiteX106" fmla="*/ 6056 w 10000"/>
                    <a:gd name="connsiteY106" fmla="*/ 8203 h 10000"/>
                    <a:gd name="connsiteX107" fmla="*/ 5944 w 10000"/>
                    <a:gd name="connsiteY107" fmla="*/ 8130 h 10000"/>
                    <a:gd name="connsiteX108" fmla="*/ 5889 w 10000"/>
                    <a:gd name="connsiteY108" fmla="*/ 8115 h 10000"/>
                    <a:gd name="connsiteX109" fmla="*/ 5778 w 10000"/>
                    <a:gd name="connsiteY109" fmla="*/ 8100 h 10000"/>
                    <a:gd name="connsiteX110" fmla="*/ 5667 w 10000"/>
                    <a:gd name="connsiteY110" fmla="*/ 8100 h 10000"/>
                    <a:gd name="connsiteX111" fmla="*/ 5500 w 10000"/>
                    <a:gd name="connsiteY111" fmla="*/ 8115 h 10000"/>
                    <a:gd name="connsiteX112" fmla="*/ 5500 w 10000"/>
                    <a:gd name="connsiteY112" fmla="*/ 8115 h 10000"/>
                    <a:gd name="connsiteX113" fmla="*/ 4889 w 10000"/>
                    <a:gd name="connsiteY113" fmla="*/ 8218 h 10000"/>
                    <a:gd name="connsiteX114" fmla="*/ 4611 w 10000"/>
                    <a:gd name="connsiteY114" fmla="*/ 8247 h 10000"/>
                    <a:gd name="connsiteX115" fmla="*/ 4556 w 10000"/>
                    <a:gd name="connsiteY115" fmla="*/ 8262 h 10000"/>
                    <a:gd name="connsiteX116" fmla="*/ 4500 w 10000"/>
                    <a:gd name="connsiteY116" fmla="*/ 8247 h 10000"/>
                    <a:gd name="connsiteX117" fmla="*/ 4500 w 10000"/>
                    <a:gd name="connsiteY117" fmla="*/ 8247 h 10000"/>
                    <a:gd name="connsiteX118" fmla="*/ 4222 w 10000"/>
                    <a:gd name="connsiteY118" fmla="*/ 8100 h 10000"/>
                    <a:gd name="connsiteX119" fmla="*/ 4222 w 10000"/>
                    <a:gd name="connsiteY119" fmla="*/ 8100 h 10000"/>
                    <a:gd name="connsiteX120" fmla="*/ 4111 w 10000"/>
                    <a:gd name="connsiteY120" fmla="*/ 8027 h 10000"/>
                    <a:gd name="connsiteX121" fmla="*/ 4111 w 10000"/>
                    <a:gd name="connsiteY121" fmla="*/ 7982 h 10000"/>
                    <a:gd name="connsiteX122" fmla="*/ 4111 w 10000"/>
                    <a:gd name="connsiteY122" fmla="*/ 7938 h 10000"/>
                    <a:gd name="connsiteX123" fmla="*/ 4111 w 10000"/>
                    <a:gd name="connsiteY123" fmla="*/ 7938 h 10000"/>
                    <a:gd name="connsiteX124" fmla="*/ 4278 w 10000"/>
                    <a:gd name="connsiteY124" fmla="*/ 7894 h 10000"/>
                    <a:gd name="connsiteX125" fmla="*/ 4389 w 10000"/>
                    <a:gd name="connsiteY125" fmla="*/ 7879 h 10000"/>
                    <a:gd name="connsiteX126" fmla="*/ 4389 w 10000"/>
                    <a:gd name="connsiteY126" fmla="*/ 7879 h 10000"/>
                    <a:gd name="connsiteX127" fmla="*/ 4000 w 10000"/>
                    <a:gd name="connsiteY127" fmla="*/ 7879 h 10000"/>
                    <a:gd name="connsiteX128" fmla="*/ 3722 w 10000"/>
                    <a:gd name="connsiteY128" fmla="*/ 7894 h 10000"/>
                    <a:gd name="connsiteX129" fmla="*/ 3611 w 10000"/>
                    <a:gd name="connsiteY129" fmla="*/ 7909 h 10000"/>
                    <a:gd name="connsiteX130" fmla="*/ 3556 w 10000"/>
                    <a:gd name="connsiteY130" fmla="*/ 7923 h 10000"/>
                    <a:gd name="connsiteX131" fmla="*/ 3556 w 10000"/>
                    <a:gd name="connsiteY131" fmla="*/ 7923 h 10000"/>
                    <a:gd name="connsiteX132" fmla="*/ 3444 w 10000"/>
                    <a:gd name="connsiteY132" fmla="*/ 7982 h 10000"/>
                    <a:gd name="connsiteX133" fmla="*/ 3278 w 10000"/>
                    <a:gd name="connsiteY133" fmla="*/ 8071 h 10000"/>
                    <a:gd name="connsiteX134" fmla="*/ 3000 w 10000"/>
                    <a:gd name="connsiteY134" fmla="*/ 8174 h 10000"/>
                    <a:gd name="connsiteX135" fmla="*/ 2667 w 10000"/>
                    <a:gd name="connsiteY135" fmla="*/ 8247 h 10000"/>
                    <a:gd name="connsiteX136" fmla="*/ 2667 w 10000"/>
                    <a:gd name="connsiteY136" fmla="*/ 8247 h 10000"/>
                    <a:gd name="connsiteX137" fmla="*/ 2333 w 10000"/>
                    <a:gd name="connsiteY137" fmla="*/ 8306 h 10000"/>
                    <a:gd name="connsiteX138" fmla="*/ 1833 w 10000"/>
                    <a:gd name="connsiteY138" fmla="*/ 8365 h 10000"/>
                    <a:gd name="connsiteX139" fmla="*/ 1389 w 10000"/>
                    <a:gd name="connsiteY139" fmla="*/ 8395 h 10000"/>
                    <a:gd name="connsiteX140" fmla="*/ 889 w 10000"/>
                    <a:gd name="connsiteY140" fmla="*/ 8409 h 10000"/>
                    <a:gd name="connsiteX141" fmla="*/ 889 w 10000"/>
                    <a:gd name="connsiteY141" fmla="*/ 8409 h 10000"/>
                    <a:gd name="connsiteX142" fmla="*/ 500 w 10000"/>
                    <a:gd name="connsiteY142" fmla="*/ 8424 h 10000"/>
                    <a:gd name="connsiteX143" fmla="*/ 222 w 10000"/>
                    <a:gd name="connsiteY143" fmla="*/ 8439 h 10000"/>
                    <a:gd name="connsiteX144" fmla="*/ 0 w 10000"/>
                    <a:gd name="connsiteY144" fmla="*/ 8454 h 10000"/>
                    <a:gd name="connsiteX145" fmla="*/ 0 w 10000"/>
                    <a:gd name="connsiteY145" fmla="*/ 8454 h 10000"/>
                    <a:gd name="connsiteX146" fmla="*/ 278 w 10000"/>
                    <a:gd name="connsiteY146" fmla="*/ 8689 h 10000"/>
                    <a:gd name="connsiteX147" fmla="*/ 500 w 10000"/>
                    <a:gd name="connsiteY147" fmla="*/ 8866 h 10000"/>
                    <a:gd name="connsiteX148" fmla="*/ 722 w 10000"/>
                    <a:gd name="connsiteY148" fmla="*/ 9013 h 10000"/>
                    <a:gd name="connsiteX149" fmla="*/ 722 w 10000"/>
                    <a:gd name="connsiteY149" fmla="*/ 9013 h 10000"/>
                    <a:gd name="connsiteX150" fmla="*/ 889 w 10000"/>
                    <a:gd name="connsiteY150" fmla="*/ 9102 h 10000"/>
                    <a:gd name="connsiteX151" fmla="*/ 944 w 10000"/>
                    <a:gd name="connsiteY151" fmla="*/ 9175 h 10000"/>
                    <a:gd name="connsiteX152" fmla="*/ 1111 w 10000"/>
                    <a:gd name="connsiteY152" fmla="*/ 9249 h 10000"/>
                    <a:gd name="connsiteX153" fmla="*/ 1333 w 10000"/>
                    <a:gd name="connsiteY153" fmla="*/ 9367 h 10000"/>
                    <a:gd name="connsiteX154" fmla="*/ 1333 w 10000"/>
                    <a:gd name="connsiteY154" fmla="*/ 9367 h 10000"/>
                    <a:gd name="connsiteX155" fmla="*/ 1444 w 10000"/>
                    <a:gd name="connsiteY155" fmla="*/ 9426 h 10000"/>
                    <a:gd name="connsiteX156" fmla="*/ 1500 w 10000"/>
                    <a:gd name="connsiteY156" fmla="*/ 9470 h 10000"/>
                    <a:gd name="connsiteX157" fmla="*/ 1500 w 10000"/>
                    <a:gd name="connsiteY157" fmla="*/ 9514 h 10000"/>
                    <a:gd name="connsiteX158" fmla="*/ 1556 w 10000"/>
                    <a:gd name="connsiteY158" fmla="*/ 9529 h 10000"/>
                    <a:gd name="connsiteX159" fmla="*/ 1722 w 10000"/>
                    <a:gd name="connsiteY159" fmla="*/ 9543 h 10000"/>
                    <a:gd name="connsiteX160" fmla="*/ 1944 w 10000"/>
                    <a:gd name="connsiteY160" fmla="*/ 9558 h 10000"/>
                    <a:gd name="connsiteX161" fmla="*/ 2944 w 10000"/>
                    <a:gd name="connsiteY161" fmla="*/ 9573 h 10000"/>
                    <a:gd name="connsiteX162" fmla="*/ 2944 w 10000"/>
                    <a:gd name="connsiteY162" fmla="*/ 9573 h 10000"/>
                    <a:gd name="connsiteX163" fmla="*/ 4167 w 10000"/>
                    <a:gd name="connsiteY163" fmla="*/ 9602 h 10000"/>
                    <a:gd name="connsiteX164" fmla="*/ 4889 w 10000"/>
                    <a:gd name="connsiteY164" fmla="*/ 9647 h 10000"/>
                    <a:gd name="connsiteX165" fmla="*/ 5278 w 10000"/>
                    <a:gd name="connsiteY165" fmla="*/ 9691 h 10000"/>
                    <a:gd name="connsiteX166" fmla="*/ 5444 w 10000"/>
                    <a:gd name="connsiteY166" fmla="*/ 9705 h 10000"/>
                    <a:gd name="connsiteX167" fmla="*/ 5444 w 10000"/>
                    <a:gd name="connsiteY167" fmla="*/ 9705 h 10000"/>
                    <a:gd name="connsiteX168" fmla="*/ 5722 w 10000"/>
                    <a:gd name="connsiteY168" fmla="*/ 9735 h 10000"/>
                    <a:gd name="connsiteX169" fmla="*/ 5833 w 10000"/>
                    <a:gd name="connsiteY169" fmla="*/ 9750 h 10000"/>
                    <a:gd name="connsiteX170" fmla="*/ 5833 w 10000"/>
                    <a:gd name="connsiteY170" fmla="*/ 9750 h 10000"/>
                    <a:gd name="connsiteX171" fmla="*/ 5833 w 10000"/>
                    <a:gd name="connsiteY171" fmla="*/ 9735 h 10000"/>
                    <a:gd name="connsiteX172" fmla="*/ 5889 w 10000"/>
                    <a:gd name="connsiteY172" fmla="*/ 9720 h 10000"/>
                    <a:gd name="connsiteX173" fmla="*/ 6000 w 10000"/>
                    <a:gd name="connsiteY173" fmla="*/ 9705 h 10000"/>
                    <a:gd name="connsiteX174" fmla="*/ 6167 w 10000"/>
                    <a:gd name="connsiteY174" fmla="*/ 9691 h 10000"/>
                    <a:gd name="connsiteX175" fmla="*/ 6444 w 10000"/>
                    <a:gd name="connsiteY175" fmla="*/ 9691 h 10000"/>
                    <a:gd name="connsiteX176" fmla="*/ 6833 w 10000"/>
                    <a:gd name="connsiteY176" fmla="*/ 9705 h 10000"/>
                    <a:gd name="connsiteX177" fmla="*/ 7278 w 10000"/>
                    <a:gd name="connsiteY177" fmla="*/ 9750 h 10000"/>
                    <a:gd name="connsiteX178" fmla="*/ 7278 w 10000"/>
                    <a:gd name="connsiteY178" fmla="*/ 9750 h 10000"/>
                    <a:gd name="connsiteX179" fmla="*/ 8722 w 10000"/>
                    <a:gd name="connsiteY179" fmla="*/ 9882 h 10000"/>
                    <a:gd name="connsiteX180" fmla="*/ 10000 w 10000"/>
                    <a:gd name="connsiteY180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8000 w 10000"/>
                    <a:gd name="connsiteY71" fmla="*/ 88 h 10000"/>
                    <a:gd name="connsiteX72" fmla="*/ 8167 w 10000"/>
                    <a:gd name="connsiteY72" fmla="*/ 29 h 10000"/>
                    <a:gd name="connsiteX73" fmla="*/ 8333 w 10000"/>
                    <a:gd name="connsiteY73" fmla="*/ 15 h 10000"/>
                    <a:gd name="connsiteX74" fmla="*/ 8333 w 10000"/>
                    <a:gd name="connsiteY74" fmla="*/ 15 h 10000"/>
                    <a:gd name="connsiteX75" fmla="*/ 8667 w 10000"/>
                    <a:gd name="connsiteY75" fmla="*/ 0 h 10000"/>
                    <a:gd name="connsiteX76" fmla="*/ 9111 w 10000"/>
                    <a:gd name="connsiteY76" fmla="*/ 0 h 10000"/>
                    <a:gd name="connsiteX77" fmla="*/ 10000 w 10000"/>
                    <a:gd name="connsiteY77" fmla="*/ 15 h 10000"/>
                    <a:gd name="connsiteX78" fmla="*/ 10000 w 10000"/>
                    <a:gd name="connsiteY78" fmla="*/ 9013 h 10000"/>
                    <a:gd name="connsiteX79" fmla="*/ 10000 w 10000"/>
                    <a:gd name="connsiteY79" fmla="*/ 9013 h 10000"/>
                    <a:gd name="connsiteX80" fmla="*/ 9722 w 10000"/>
                    <a:gd name="connsiteY80" fmla="*/ 8999 h 10000"/>
                    <a:gd name="connsiteX81" fmla="*/ 9389 w 10000"/>
                    <a:gd name="connsiteY81" fmla="*/ 9013 h 10000"/>
                    <a:gd name="connsiteX82" fmla="*/ 9389 w 10000"/>
                    <a:gd name="connsiteY82" fmla="*/ 9013 h 10000"/>
                    <a:gd name="connsiteX83" fmla="*/ 9278 w 10000"/>
                    <a:gd name="connsiteY83" fmla="*/ 9028 h 10000"/>
                    <a:gd name="connsiteX84" fmla="*/ 9056 w 10000"/>
                    <a:gd name="connsiteY84" fmla="*/ 9013 h 10000"/>
                    <a:gd name="connsiteX85" fmla="*/ 8889 w 10000"/>
                    <a:gd name="connsiteY85" fmla="*/ 8999 h 10000"/>
                    <a:gd name="connsiteX86" fmla="*/ 8722 w 10000"/>
                    <a:gd name="connsiteY86" fmla="*/ 8969 h 10000"/>
                    <a:gd name="connsiteX87" fmla="*/ 8611 w 10000"/>
                    <a:gd name="connsiteY87" fmla="*/ 8925 h 10000"/>
                    <a:gd name="connsiteX88" fmla="*/ 8444 w 10000"/>
                    <a:gd name="connsiteY88" fmla="*/ 8851 h 10000"/>
                    <a:gd name="connsiteX89" fmla="*/ 8444 w 10000"/>
                    <a:gd name="connsiteY89" fmla="*/ 8851 h 10000"/>
                    <a:gd name="connsiteX90" fmla="*/ 8222 w 10000"/>
                    <a:gd name="connsiteY90" fmla="*/ 8719 h 10000"/>
                    <a:gd name="connsiteX91" fmla="*/ 8111 w 10000"/>
                    <a:gd name="connsiteY91" fmla="*/ 8660 h 10000"/>
                    <a:gd name="connsiteX92" fmla="*/ 7944 w 10000"/>
                    <a:gd name="connsiteY92" fmla="*/ 8616 h 10000"/>
                    <a:gd name="connsiteX93" fmla="*/ 7778 w 10000"/>
                    <a:gd name="connsiteY93" fmla="*/ 8586 h 10000"/>
                    <a:gd name="connsiteX94" fmla="*/ 7556 w 10000"/>
                    <a:gd name="connsiteY94" fmla="*/ 8571 h 10000"/>
                    <a:gd name="connsiteX95" fmla="*/ 7333 w 10000"/>
                    <a:gd name="connsiteY95" fmla="*/ 8557 h 10000"/>
                    <a:gd name="connsiteX96" fmla="*/ 7000 w 10000"/>
                    <a:gd name="connsiteY96" fmla="*/ 8542 h 10000"/>
                    <a:gd name="connsiteX97" fmla="*/ 7000 w 10000"/>
                    <a:gd name="connsiteY97" fmla="*/ 8542 h 10000"/>
                    <a:gd name="connsiteX98" fmla="*/ 6556 w 10000"/>
                    <a:gd name="connsiteY98" fmla="*/ 8557 h 10000"/>
                    <a:gd name="connsiteX99" fmla="*/ 6222 w 10000"/>
                    <a:gd name="connsiteY99" fmla="*/ 8557 h 10000"/>
                    <a:gd name="connsiteX100" fmla="*/ 6111 w 10000"/>
                    <a:gd name="connsiteY100" fmla="*/ 8542 h 10000"/>
                    <a:gd name="connsiteX101" fmla="*/ 6056 w 10000"/>
                    <a:gd name="connsiteY101" fmla="*/ 8527 h 10000"/>
                    <a:gd name="connsiteX102" fmla="*/ 6056 w 10000"/>
                    <a:gd name="connsiteY102" fmla="*/ 8527 h 10000"/>
                    <a:gd name="connsiteX103" fmla="*/ 6056 w 10000"/>
                    <a:gd name="connsiteY103" fmla="*/ 8262 h 10000"/>
                    <a:gd name="connsiteX104" fmla="*/ 6056 w 10000"/>
                    <a:gd name="connsiteY104" fmla="*/ 8262 h 10000"/>
                    <a:gd name="connsiteX105" fmla="*/ 6056 w 10000"/>
                    <a:gd name="connsiteY105" fmla="*/ 8203 h 10000"/>
                    <a:gd name="connsiteX106" fmla="*/ 5944 w 10000"/>
                    <a:gd name="connsiteY106" fmla="*/ 8130 h 10000"/>
                    <a:gd name="connsiteX107" fmla="*/ 5889 w 10000"/>
                    <a:gd name="connsiteY107" fmla="*/ 8115 h 10000"/>
                    <a:gd name="connsiteX108" fmla="*/ 5778 w 10000"/>
                    <a:gd name="connsiteY108" fmla="*/ 8100 h 10000"/>
                    <a:gd name="connsiteX109" fmla="*/ 5667 w 10000"/>
                    <a:gd name="connsiteY109" fmla="*/ 8100 h 10000"/>
                    <a:gd name="connsiteX110" fmla="*/ 5500 w 10000"/>
                    <a:gd name="connsiteY110" fmla="*/ 8115 h 10000"/>
                    <a:gd name="connsiteX111" fmla="*/ 5500 w 10000"/>
                    <a:gd name="connsiteY111" fmla="*/ 8115 h 10000"/>
                    <a:gd name="connsiteX112" fmla="*/ 4889 w 10000"/>
                    <a:gd name="connsiteY112" fmla="*/ 8218 h 10000"/>
                    <a:gd name="connsiteX113" fmla="*/ 4611 w 10000"/>
                    <a:gd name="connsiteY113" fmla="*/ 8247 h 10000"/>
                    <a:gd name="connsiteX114" fmla="*/ 4556 w 10000"/>
                    <a:gd name="connsiteY114" fmla="*/ 8262 h 10000"/>
                    <a:gd name="connsiteX115" fmla="*/ 4500 w 10000"/>
                    <a:gd name="connsiteY115" fmla="*/ 8247 h 10000"/>
                    <a:gd name="connsiteX116" fmla="*/ 4500 w 10000"/>
                    <a:gd name="connsiteY116" fmla="*/ 8247 h 10000"/>
                    <a:gd name="connsiteX117" fmla="*/ 4222 w 10000"/>
                    <a:gd name="connsiteY117" fmla="*/ 8100 h 10000"/>
                    <a:gd name="connsiteX118" fmla="*/ 4222 w 10000"/>
                    <a:gd name="connsiteY118" fmla="*/ 8100 h 10000"/>
                    <a:gd name="connsiteX119" fmla="*/ 4111 w 10000"/>
                    <a:gd name="connsiteY119" fmla="*/ 8027 h 10000"/>
                    <a:gd name="connsiteX120" fmla="*/ 4111 w 10000"/>
                    <a:gd name="connsiteY120" fmla="*/ 7982 h 10000"/>
                    <a:gd name="connsiteX121" fmla="*/ 4111 w 10000"/>
                    <a:gd name="connsiteY121" fmla="*/ 7938 h 10000"/>
                    <a:gd name="connsiteX122" fmla="*/ 4111 w 10000"/>
                    <a:gd name="connsiteY122" fmla="*/ 7938 h 10000"/>
                    <a:gd name="connsiteX123" fmla="*/ 4278 w 10000"/>
                    <a:gd name="connsiteY123" fmla="*/ 7894 h 10000"/>
                    <a:gd name="connsiteX124" fmla="*/ 4389 w 10000"/>
                    <a:gd name="connsiteY124" fmla="*/ 7879 h 10000"/>
                    <a:gd name="connsiteX125" fmla="*/ 4389 w 10000"/>
                    <a:gd name="connsiteY125" fmla="*/ 7879 h 10000"/>
                    <a:gd name="connsiteX126" fmla="*/ 4000 w 10000"/>
                    <a:gd name="connsiteY126" fmla="*/ 7879 h 10000"/>
                    <a:gd name="connsiteX127" fmla="*/ 3722 w 10000"/>
                    <a:gd name="connsiteY127" fmla="*/ 7894 h 10000"/>
                    <a:gd name="connsiteX128" fmla="*/ 3611 w 10000"/>
                    <a:gd name="connsiteY128" fmla="*/ 7909 h 10000"/>
                    <a:gd name="connsiteX129" fmla="*/ 3556 w 10000"/>
                    <a:gd name="connsiteY129" fmla="*/ 7923 h 10000"/>
                    <a:gd name="connsiteX130" fmla="*/ 3556 w 10000"/>
                    <a:gd name="connsiteY130" fmla="*/ 7923 h 10000"/>
                    <a:gd name="connsiteX131" fmla="*/ 3444 w 10000"/>
                    <a:gd name="connsiteY131" fmla="*/ 7982 h 10000"/>
                    <a:gd name="connsiteX132" fmla="*/ 3278 w 10000"/>
                    <a:gd name="connsiteY132" fmla="*/ 8071 h 10000"/>
                    <a:gd name="connsiteX133" fmla="*/ 3000 w 10000"/>
                    <a:gd name="connsiteY133" fmla="*/ 8174 h 10000"/>
                    <a:gd name="connsiteX134" fmla="*/ 2667 w 10000"/>
                    <a:gd name="connsiteY134" fmla="*/ 8247 h 10000"/>
                    <a:gd name="connsiteX135" fmla="*/ 2667 w 10000"/>
                    <a:gd name="connsiteY135" fmla="*/ 8247 h 10000"/>
                    <a:gd name="connsiteX136" fmla="*/ 2333 w 10000"/>
                    <a:gd name="connsiteY136" fmla="*/ 8306 h 10000"/>
                    <a:gd name="connsiteX137" fmla="*/ 1833 w 10000"/>
                    <a:gd name="connsiteY137" fmla="*/ 8365 h 10000"/>
                    <a:gd name="connsiteX138" fmla="*/ 1389 w 10000"/>
                    <a:gd name="connsiteY138" fmla="*/ 8395 h 10000"/>
                    <a:gd name="connsiteX139" fmla="*/ 889 w 10000"/>
                    <a:gd name="connsiteY139" fmla="*/ 8409 h 10000"/>
                    <a:gd name="connsiteX140" fmla="*/ 889 w 10000"/>
                    <a:gd name="connsiteY140" fmla="*/ 8409 h 10000"/>
                    <a:gd name="connsiteX141" fmla="*/ 500 w 10000"/>
                    <a:gd name="connsiteY141" fmla="*/ 8424 h 10000"/>
                    <a:gd name="connsiteX142" fmla="*/ 222 w 10000"/>
                    <a:gd name="connsiteY142" fmla="*/ 8439 h 10000"/>
                    <a:gd name="connsiteX143" fmla="*/ 0 w 10000"/>
                    <a:gd name="connsiteY143" fmla="*/ 8454 h 10000"/>
                    <a:gd name="connsiteX144" fmla="*/ 0 w 10000"/>
                    <a:gd name="connsiteY144" fmla="*/ 8454 h 10000"/>
                    <a:gd name="connsiteX145" fmla="*/ 278 w 10000"/>
                    <a:gd name="connsiteY145" fmla="*/ 8689 h 10000"/>
                    <a:gd name="connsiteX146" fmla="*/ 500 w 10000"/>
                    <a:gd name="connsiteY146" fmla="*/ 8866 h 10000"/>
                    <a:gd name="connsiteX147" fmla="*/ 722 w 10000"/>
                    <a:gd name="connsiteY147" fmla="*/ 9013 h 10000"/>
                    <a:gd name="connsiteX148" fmla="*/ 722 w 10000"/>
                    <a:gd name="connsiteY148" fmla="*/ 9013 h 10000"/>
                    <a:gd name="connsiteX149" fmla="*/ 889 w 10000"/>
                    <a:gd name="connsiteY149" fmla="*/ 9102 h 10000"/>
                    <a:gd name="connsiteX150" fmla="*/ 944 w 10000"/>
                    <a:gd name="connsiteY150" fmla="*/ 9175 h 10000"/>
                    <a:gd name="connsiteX151" fmla="*/ 1111 w 10000"/>
                    <a:gd name="connsiteY151" fmla="*/ 9249 h 10000"/>
                    <a:gd name="connsiteX152" fmla="*/ 1333 w 10000"/>
                    <a:gd name="connsiteY152" fmla="*/ 9367 h 10000"/>
                    <a:gd name="connsiteX153" fmla="*/ 1333 w 10000"/>
                    <a:gd name="connsiteY153" fmla="*/ 9367 h 10000"/>
                    <a:gd name="connsiteX154" fmla="*/ 1444 w 10000"/>
                    <a:gd name="connsiteY154" fmla="*/ 9426 h 10000"/>
                    <a:gd name="connsiteX155" fmla="*/ 1500 w 10000"/>
                    <a:gd name="connsiteY155" fmla="*/ 9470 h 10000"/>
                    <a:gd name="connsiteX156" fmla="*/ 1500 w 10000"/>
                    <a:gd name="connsiteY156" fmla="*/ 9514 h 10000"/>
                    <a:gd name="connsiteX157" fmla="*/ 1556 w 10000"/>
                    <a:gd name="connsiteY157" fmla="*/ 9529 h 10000"/>
                    <a:gd name="connsiteX158" fmla="*/ 1722 w 10000"/>
                    <a:gd name="connsiteY158" fmla="*/ 9543 h 10000"/>
                    <a:gd name="connsiteX159" fmla="*/ 1944 w 10000"/>
                    <a:gd name="connsiteY159" fmla="*/ 9558 h 10000"/>
                    <a:gd name="connsiteX160" fmla="*/ 2944 w 10000"/>
                    <a:gd name="connsiteY160" fmla="*/ 9573 h 10000"/>
                    <a:gd name="connsiteX161" fmla="*/ 2944 w 10000"/>
                    <a:gd name="connsiteY161" fmla="*/ 9573 h 10000"/>
                    <a:gd name="connsiteX162" fmla="*/ 4167 w 10000"/>
                    <a:gd name="connsiteY162" fmla="*/ 9602 h 10000"/>
                    <a:gd name="connsiteX163" fmla="*/ 4889 w 10000"/>
                    <a:gd name="connsiteY163" fmla="*/ 9647 h 10000"/>
                    <a:gd name="connsiteX164" fmla="*/ 5278 w 10000"/>
                    <a:gd name="connsiteY164" fmla="*/ 9691 h 10000"/>
                    <a:gd name="connsiteX165" fmla="*/ 5444 w 10000"/>
                    <a:gd name="connsiteY165" fmla="*/ 9705 h 10000"/>
                    <a:gd name="connsiteX166" fmla="*/ 5444 w 10000"/>
                    <a:gd name="connsiteY166" fmla="*/ 9705 h 10000"/>
                    <a:gd name="connsiteX167" fmla="*/ 5722 w 10000"/>
                    <a:gd name="connsiteY167" fmla="*/ 9735 h 10000"/>
                    <a:gd name="connsiteX168" fmla="*/ 5833 w 10000"/>
                    <a:gd name="connsiteY168" fmla="*/ 9750 h 10000"/>
                    <a:gd name="connsiteX169" fmla="*/ 5833 w 10000"/>
                    <a:gd name="connsiteY169" fmla="*/ 9750 h 10000"/>
                    <a:gd name="connsiteX170" fmla="*/ 5833 w 10000"/>
                    <a:gd name="connsiteY170" fmla="*/ 9735 h 10000"/>
                    <a:gd name="connsiteX171" fmla="*/ 5889 w 10000"/>
                    <a:gd name="connsiteY171" fmla="*/ 9720 h 10000"/>
                    <a:gd name="connsiteX172" fmla="*/ 6000 w 10000"/>
                    <a:gd name="connsiteY172" fmla="*/ 9705 h 10000"/>
                    <a:gd name="connsiteX173" fmla="*/ 6167 w 10000"/>
                    <a:gd name="connsiteY173" fmla="*/ 9691 h 10000"/>
                    <a:gd name="connsiteX174" fmla="*/ 6444 w 10000"/>
                    <a:gd name="connsiteY174" fmla="*/ 9691 h 10000"/>
                    <a:gd name="connsiteX175" fmla="*/ 6833 w 10000"/>
                    <a:gd name="connsiteY175" fmla="*/ 9705 h 10000"/>
                    <a:gd name="connsiteX176" fmla="*/ 7278 w 10000"/>
                    <a:gd name="connsiteY176" fmla="*/ 9750 h 10000"/>
                    <a:gd name="connsiteX177" fmla="*/ 7278 w 10000"/>
                    <a:gd name="connsiteY177" fmla="*/ 9750 h 10000"/>
                    <a:gd name="connsiteX178" fmla="*/ 8722 w 10000"/>
                    <a:gd name="connsiteY178" fmla="*/ 9882 h 10000"/>
                    <a:gd name="connsiteX179" fmla="*/ 10000 w 10000"/>
                    <a:gd name="connsiteY179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8000 w 10000"/>
                    <a:gd name="connsiteY71" fmla="*/ 88 h 10000"/>
                    <a:gd name="connsiteX72" fmla="*/ 8333 w 10000"/>
                    <a:gd name="connsiteY72" fmla="*/ 15 h 10000"/>
                    <a:gd name="connsiteX73" fmla="*/ 8333 w 10000"/>
                    <a:gd name="connsiteY73" fmla="*/ 15 h 10000"/>
                    <a:gd name="connsiteX74" fmla="*/ 8667 w 10000"/>
                    <a:gd name="connsiteY74" fmla="*/ 0 h 10000"/>
                    <a:gd name="connsiteX75" fmla="*/ 9111 w 10000"/>
                    <a:gd name="connsiteY75" fmla="*/ 0 h 10000"/>
                    <a:gd name="connsiteX76" fmla="*/ 10000 w 10000"/>
                    <a:gd name="connsiteY76" fmla="*/ 15 h 10000"/>
                    <a:gd name="connsiteX77" fmla="*/ 10000 w 10000"/>
                    <a:gd name="connsiteY77" fmla="*/ 9013 h 10000"/>
                    <a:gd name="connsiteX78" fmla="*/ 10000 w 10000"/>
                    <a:gd name="connsiteY78" fmla="*/ 9013 h 10000"/>
                    <a:gd name="connsiteX79" fmla="*/ 9722 w 10000"/>
                    <a:gd name="connsiteY79" fmla="*/ 8999 h 10000"/>
                    <a:gd name="connsiteX80" fmla="*/ 9389 w 10000"/>
                    <a:gd name="connsiteY80" fmla="*/ 9013 h 10000"/>
                    <a:gd name="connsiteX81" fmla="*/ 9389 w 10000"/>
                    <a:gd name="connsiteY81" fmla="*/ 9013 h 10000"/>
                    <a:gd name="connsiteX82" fmla="*/ 9278 w 10000"/>
                    <a:gd name="connsiteY82" fmla="*/ 9028 h 10000"/>
                    <a:gd name="connsiteX83" fmla="*/ 9056 w 10000"/>
                    <a:gd name="connsiteY83" fmla="*/ 9013 h 10000"/>
                    <a:gd name="connsiteX84" fmla="*/ 8889 w 10000"/>
                    <a:gd name="connsiteY84" fmla="*/ 8999 h 10000"/>
                    <a:gd name="connsiteX85" fmla="*/ 8722 w 10000"/>
                    <a:gd name="connsiteY85" fmla="*/ 8969 h 10000"/>
                    <a:gd name="connsiteX86" fmla="*/ 8611 w 10000"/>
                    <a:gd name="connsiteY86" fmla="*/ 8925 h 10000"/>
                    <a:gd name="connsiteX87" fmla="*/ 8444 w 10000"/>
                    <a:gd name="connsiteY87" fmla="*/ 8851 h 10000"/>
                    <a:gd name="connsiteX88" fmla="*/ 8444 w 10000"/>
                    <a:gd name="connsiteY88" fmla="*/ 8851 h 10000"/>
                    <a:gd name="connsiteX89" fmla="*/ 8222 w 10000"/>
                    <a:gd name="connsiteY89" fmla="*/ 8719 h 10000"/>
                    <a:gd name="connsiteX90" fmla="*/ 8111 w 10000"/>
                    <a:gd name="connsiteY90" fmla="*/ 8660 h 10000"/>
                    <a:gd name="connsiteX91" fmla="*/ 7944 w 10000"/>
                    <a:gd name="connsiteY91" fmla="*/ 8616 h 10000"/>
                    <a:gd name="connsiteX92" fmla="*/ 7778 w 10000"/>
                    <a:gd name="connsiteY92" fmla="*/ 8586 h 10000"/>
                    <a:gd name="connsiteX93" fmla="*/ 7556 w 10000"/>
                    <a:gd name="connsiteY93" fmla="*/ 8571 h 10000"/>
                    <a:gd name="connsiteX94" fmla="*/ 7333 w 10000"/>
                    <a:gd name="connsiteY94" fmla="*/ 8557 h 10000"/>
                    <a:gd name="connsiteX95" fmla="*/ 7000 w 10000"/>
                    <a:gd name="connsiteY95" fmla="*/ 8542 h 10000"/>
                    <a:gd name="connsiteX96" fmla="*/ 7000 w 10000"/>
                    <a:gd name="connsiteY96" fmla="*/ 8542 h 10000"/>
                    <a:gd name="connsiteX97" fmla="*/ 6556 w 10000"/>
                    <a:gd name="connsiteY97" fmla="*/ 8557 h 10000"/>
                    <a:gd name="connsiteX98" fmla="*/ 6222 w 10000"/>
                    <a:gd name="connsiteY98" fmla="*/ 8557 h 10000"/>
                    <a:gd name="connsiteX99" fmla="*/ 6111 w 10000"/>
                    <a:gd name="connsiteY99" fmla="*/ 8542 h 10000"/>
                    <a:gd name="connsiteX100" fmla="*/ 6056 w 10000"/>
                    <a:gd name="connsiteY100" fmla="*/ 8527 h 10000"/>
                    <a:gd name="connsiteX101" fmla="*/ 6056 w 10000"/>
                    <a:gd name="connsiteY101" fmla="*/ 8527 h 10000"/>
                    <a:gd name="connsiteX102" fmla="*/ 6056 w 10000"/>
                    <a:gd name="connsiteY102" fmla="*/ 8262 h 10000"/>
                    <a:gd name="connsiteX103" fmla="*/ 6056 w 10000"/>
                    <a:gd name="connsiteY103" fmla="*/ 8262 h 10000"/>
                    <a:gd name="connsiteX104" fmla="*/ 6056 w 10000"/>
                    <a:gd name="connsiteY104" fmla="*/ 8203 h 10000"/>
                    <a:gd name="connsiteX105" fmla="*/ 5944 w 10000"/>
                    <a:gd name="connsiteY105" fmla="*/ 8130 h 10000"/>
                    <a:gd name="connsiteX106" fmla="*/ 5889 w 10000"/>
                    <a:gd name="connsiteY106" fmla="*/ 8115 h 10000"/>
                    <a:gd name="connsiteX107" fmla="*/ 5778 w 10000"/>
                    <a:gd name="connsiteY107" fmla="*/ 8100 h 10000"/>
                    <a:gd name="connsiteX108" fmla="*/ 5667 w 10000"/>
                    <a:gd name="connsiteY108" fmla="*/ 8100 h 10000"/>
                    <a:gd name="connsiteX109" fmla="*/ 5500 w 10000"/>
                    <a:gd name="connsiteY109" fmla="*/ 8115 h 10000"/>
                    <a:gd name="connsiteX110" fmla="*/ 5500 w 10000"/>
                    <a:gd name="connsiteY110" fmla="*/ 8115 h 10000"/>
                    <a:gd name="connsiteX111" fmla="*/ 4889 w 10000"/>
                    <a:gd name="connsiteY111" fmla="*/ 8218 h 10000"/>
                    <a:gd name="connsiteX112" fmla="*/ 4611 w 10000"/>
                    <a:gd name="connsiteY112" fmla="*/ 8247 h 10000"/>
                    <a:gd name="connsiteX113" fmla="*/ 4556 w 10000"/>
                    <a:gd name="connsiteY113" fmla="*/ 8262 h 10000"/>
                    <a:gd name="connsiteX114" fmla="*/ 4500 w 10000"/>
                    <a:gd name="connsiteY114" fmla="*/ 8247 h 10000"/>
                    <a:gd name="connsiteX115" fmla="*/ 4500 w 10000"/>
                    <a:gd name="connsiteY115" fmla="*/ 8247 h 10000"/>
                    <a:gd name="connsiteX116" fmla="*/ 4222 w 10000"/>
                    <a:gd name="connsiteY116" fmla="*/ 8100 h 10000"/>
                    <a:gd name="connsiteX117" fmla="*/ 4222 w 10000"/>
                    <a:gd name="connsiteY117" fmla="*/ 8100 h 10000"/>
                    <a:gd name="connsiteX118" fmla="*/ 4111 w 10000"/>
                    <a:gd name="connsiteY118" fmla="*/ 8027 h 10000"/>
                    <a:gd name="connsiteX119" fmla="*/ 4111 w 10000"/>
                    <a:gd name="connsiteY119" fmla="*/ 7982 h 10000"/>
                    <a:gd name="connsiteX120" fmla="*/ 4111 w 10000"/>
                    <a:gd name="connsiteY120" fmla="*/ 7938 h 10000"/>
                    <a:gd name="connsiteX121" fmla="*/ 4111 w 10000"/>
                    <a:gd name="connsiteY121" fmla="*/ 7938 h 10000"/>
                    <a:gd name="connsiteX122" fmla="*/ 4278 w 10000"/>
                    <a:gd name="connsiteY122" fmla="*/ 7894 h 10000"/>
                    <a:gd name="connsiteX123" fmla="*/ 4389 w 10000"/>
                    <a:gd name="connsiteY123" fmla="*/ 7879 h 10000"/>
                    <a:gd name="connsiteX124" fmla="*/ 4389 w 10000"/>
                    <a:gd name="connsiteY124" fmla="*/ 7879 h 10000"/>
                    <a:gd name="connsiteX125" fmla="*/ 4000 w 10000"/>
                    <a:gd name="connsiteY125" fmla="*/ 7879 h 10000"/>
                    <a:gd name="connsiteX126" fmla="*/ 3722 w 10000"/>
                    <a:gd name="connsiteY126" fmla="*/ 7894 h 10000"/>
                    <a:gd name="connsiteX127" fmla="*/ 3611 w 10000"/>
                    <a:gd name="connsiteY127" fmla="*/ 7909 h 10000"/>
                    <a:gd name="connsiteX128" fmla="*/ 3556 w 10000"/>
                    <a:gd name="connsiteY128" fmla="*/ 7923 h 10000"/>
                    <a:gd name="connsiteX129" fmla="*/ 3556 w 10000"/>
                    <a:gd name="connsiteY129" fmla="*/ 7923 h 10000"/>
                    <a:gd name="connsiteX130" fmla="*/ 3444 w 10000"/>
                    <a:gd name="connsiteY130" fmla="*/ 7982 h 10000"/>
                    <a:gd name="connsiteX131" fmla="*/ 3278 w 10000"/>
                    <a:gd name="connsiteY131" fmla="*/ 8071 h 10000"/>
                    <a:gd name="connsiteX132" fmla="*/ 3000 w 10000"/>
                    <a:gd name="connsiteY132" fmla="*/ 8174 h 10000"/>
                    <a:gd name="connsiteX133" fmla="*/ 2667 w 10000"/>
                    <a:gd name="connsiteY133" fmla="*/ 8247 h 10000"/>
                    <a:gd name="connsiteX134" fmla="*/ 2667 w 10000"/>
                    <a:gd name="connsiteY134" fmla="*/ 8247 h 10000"/>
                    <a:gd name="connsiteX135" fmla="*/ 2333 w 10000"/>
                    <a:gd name="connsiteY135" fmla="*/ 8306 h 10000"/>
                    <a:gd name="connsiteX136" fmla="*/ 1833 w 10000"/>
                    <a:gd name="connsiteY136" fmla="*/ 8365 h 10000"/>
                    <a:gd name="connsiteX137" fmla="*/ 1389 w 10000"/>
                    <a:gd name="connsiteY137" fmla="*/ 8395 h 10000"/>
                    <a:gd name="connsiteX138" fmla="*/ 889 w 10000"/>
                    <a:gd name="connsiteY138" fmla="*/ 8409 h 10000"/>
                    <a:gd name="connsiteX139" fmla="*/ 889 w 10000"/>
                    <a:gd name="connsiteY139" fmla="*/ 8409 h 10000"/>
                    <a:gd name="connsiteX140" fmla="*/ 500 w 10000"/>
                    <a:gd name="connsiteY140" fmla="*/ 8424 h 10000"/>
                    <a:gd name="connsiteX141" fmla="*/ 222 w 10000"/>
                    <a:gd name="connsiteY141" fmla="*/ 8439 h 10000"/>
                    <a:gd name="connsiteX142" fmla="*/ 0 w 10000"/>
                    <a:gd name="connsiteY142" fmla="*/ 8454 h 10000"/>
                    <a:gd name="connsiteX143" fmla="*/ 0 w 10000"/>
                    <a:gd name="connsiteY143" fmla="*/ 8454 h 10000"/>
                    <a:gd name="connsiteX144" fmla="*/ 278 w 10000"/>
                    <a:gd name="connsiteY144" fmla="*/ 8689 h 10000"/>
                    <a:gd name="connsiteX145" fmla="*/ 500 w 10000"/>
                    <a:gd name="connsiteY145" fmla="*/ 8866 h 10000"/>
                    <a:gd name="connsiteX146" fmla="*/ 722 w 10000"/>
                    <a:gd name="connsiteY146" fmla="*/ 9013 h 10000"/>
                    <a:gd name="connsiteX147" fmla="*/ 722 w 10000"/>
                    <a:gd name="connsiteY147" fmla="*/ 9013 h 10000"/>
                    <a:gd name="connsiteX148" fmla="*/ 889 w 10000"/>
                    <a:gd name="connsiteY148" fmla="*/ 9102 h 10000"/>
                    <a:gd name="connsiteX149" fmla="*/ 944 w 10000"/>
                    <a:gd name="connsiteY149" fmla="*/ 9175 h 10000"/>
                    <a:gd name="connsiteX150" fmla="*/ 1111 w 10000"/>
                    <a:gd name="connsiteY150" fmla="*/ 9249 h 10000"/>
                    <a:gd name="connsiteX151" fmla="*/ 1333 w 10000"/>
                    <a:gd name="connsiteY151" fmla="*/ 9367 h 10000"/>
                    <a:gd name="connsiteX152" fmla="*/ 1333 w 10000"/>
                    <a:gd name="connsiteY152" fmla="*/ 9367 h 10000"/>
                    <a:gd name="connsiteX153" fmla="*/ 1444 w 10000"/>
                    <a:gd name="connsiteY153" fmla="*/ 9426 h 10000"/>
                    <a:gd name="connsiteX154" fmla="*/ 1500 w 10000"/>
                    <a:gd name="connsiteY154" fmla="*/ 9470 h 10000"/>
                    <a:gd name="connsiteX155" fmla="*/ 1500 w 10000"/>
                    <a:gd name="connsiteY155" fmla="*/ 9514 h 10000"/>
                    <a:gd name="connsiteX156" fmla="*/ 1556 w 10000"/>
                    <a:gd name="connsiteY156" fmla="*/ 9529 h 10000"/>
                    <a:gd name="connsiteX157" fmla="*/ 1722 w 10000"/>
                    <a:gd name="connsiteY157" fmla="*/ 9543 h 10000"/>
                    <a:gd name="connsiteX158" fmla="*/ 1944 w 10000"/>
                    <a:gd name="connsiteY158" fmla="*/ 9558 h 10000"/>
                    <a:gd name="connsiteX159" fmla="*/ 2944 w 10000"/>
                    <a:gd name="connsiteY159" fmla="*/ 9573 h 10000"/>
                    <a:gd name="connsiteX160" fmla="*/ 2944 w 10000"/>
                    <a:gd name="connsiteY160" fmla="*/ 9573 h 10000"/>
                    <a:gd name="connsiteX161" fmla="*/ 4167 w 10000"/>
                    <a:gd name="connsiteY161" fmla="*/ 9602 h 10000"/>
                    <a:gd name="connsiteX162" fmla="*/ 4889 w 10000"/>
                    <a:gd name="connsiteY162" fmla="*/ 9647 h 10000"/>
                    <a:gd name="connsiteX163" fmla="*/ 5278 w 10000"/>
                    <a:gd name="connsiteY163" fmla="*/ 9691 h 10000"/>
                    <a:gd name="connsiteX164" fmla="*/ 5444 w 10000"/>
                    <a:gd name="connsiteY164" fmla="*/ 9705 h 10000"/>
                    <a:gd name="connsiteX165" fmla="*/ 5444 w 10000"/>
                    <a:gd name="connsiteY165" fmla="*/ 9705 h 10000"/>
                    <a:gd name="connsiteX166" fmla="*/ 5722 w 10000"/>
                    <a:gd name="connsiteY166" fmla="*/ 9735 h 10000"/>
                    <a:gd name="connsiteX167" fmla="*/ 5833 w 10000"/>
                    <a:gd name="connsiteY167" fmla="*/ 9750 h 10000"/>
                    <a:gd name="connsiteX168" fmla="*/ 5833 w 10000"/>
                    <a:gd name="connsiteY168" fmla="*/ 9750 h 10000"/>
                    <a:gd name="connsiteX169" fmla="*/ 5833 w 10000"/>
                    <a:gd name="connsiteY169" fmla="*/ 9735 h 10000"/>
                    <a:gd name="connsiteX170" fmla="*/ 5889 w 10000"/>
                    <a:gd name="connsiteY170" fmla="*/ 9720 h 10000"/>
                    <a:gd name="connsiteX171" fmla="*/ 6000 w 10000"/>
                    <a:gd name="connsiteY171" fmla="*/ 9705 h 10000"/>
                    <a:gd name="connsiteX172" fmla="*/ 6167 w 10000"/>
                    <a:gd name="connsiteY172" fmla="*/ 9691 h 10000"/>
                    <a:gd name="connsiteX173" fmla="*/ 6444 w 10000"/>
                    <a:gd name="connsiteY173" fmla="*/ 9691 h 10000"/>
                    <a:gd name="connsiteX174" fmla="*/ 6833 w 10000"/>
                    <a:gd name="connsiteY174" fmla="*/ 9705 h 10000"/>
                    <a:gd name="connsiteX175" fmla="*/ 7278 w 10000"/>
                    <a:gd name="connsiteY175" fmla="*/ 9750 h 10000"/>
                    <a:gd name="connsiteX176" fmla="*/ 7278 w 10000"/>
                    <a:gd name="connsiteY176" fmla="*/ 9750 h 10000"/>
                    <a:gd name="connsiteX177" fmla="*/ 8722 w 10000"/>
                    <a:gd name="connsiteY177" fmla="*/ 9882 h 10000"/>
                    <a:gd name="connsiteX178" fmla="*/ 10000 w 10000"/>
                    <a:gd name="connsiteY178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8000 w 10000"/>
                    <a:gd name="connsiteY71" fmla="*/ 88 h 10000"/>
                    <a:gd name="connsiteX72" fmla="*/ 8333 w 10000"/>
                    <a:gd name="connsiteY72" fmla="*/ 15 h 10000"/>
                    <a:gd name="connsiteX73" fmla="*/ 8667 w 10000"/>
                    <a:gd name="connsiteY73" fmla="*/ 0 h 10000"/>
                    <a:gd name="connsiteX74" fmla="*/ 9111 w 10000"/>
                    <a:gd name="connsiteY74" fmla="*/ 0 h 10000"/>
                    <a:gd name="connsiteX75" fmla="*/ 10000 w 10000"/>
                    <a:gd name="connsiteY75" fmla="*/ 15 h 10000"/>
                    <a:gd name="connsiteX76" fmla="*/ 10000 w 10000"/>
                    <a:gd name="connsiteY76" fmla="*/ 9013 h 10000"/>
                    <a:gd name="connsiteX77" fmla="*/ 10000 w 10000"/>
                    <a:gd name="connsiteY77" fmla="*/ 9013 h 10000"/>
                    <a:gd name="connsiteX78" fmla="*/ 9722 w 10000"/>
                    <a:gd name="connsiteY78" fmla="*/ 8999 h 10000"/>
                    <a:gd name="connsiteX79" fmla="*/ 9389 w 10000"/>
                    <a:gd name="connsiteY79" fmla="*/ 9013 h 10000"/>
                    <a:gd name="connsiteX80" fmla="*/ 9389 w 10000"/>
                    <a:gd name="connsiteY80" fmla="*/ 9013 h 10000"/>
                    <a:gd name="connsiteX81" fmla="*/ 9278 w 10000"/>
                    <a:gd name="connsiteY81" fmla="*/ 9028 h 10000"/>
                    <a:gd name="connsiteX82" fmla="*/ 9056 w 10000"/>
                    <a:gd name="connsiteY82" fmla="*/ 9013 h 10000"/>
                    <a:gd name="connsiteX83" fmla="*/ 8889 w 10000"/>
                    <a:gd name="connsiteY83" fmla="*/ 8999 h 10000"/>
                    <a:gd name="connsiteX84" fmla="*/ 8722 w 10000"/>
                    <a:gd name="connsiteY84" fmla="*/ 8969 h 10000"/>
                    <a:gd name="connsiteX85" fmla="*/ 8611 w 10000"/>
                    <a:gd name="connsiteY85" fmla="*/ 8925 h 10000"/>
                    <a:gd name="connsiteX86" fmla="*/ 8444 w 10000"/>
                    <a:gd name="connsiteY86" fmla="*/ 8851 h 10000"/>
                    <a:gd name="connsiteX87" fmla="*/ 8444 w 10000"/>
                    <a:gd name="connsiteY87" fmla="*/ 8851 h 10000"/>
                    <a:gd name="connsiteX88" fmla="*/ 8222 w 10000"/>
                    <a:gd name="connsiteY88" fmla="*/ 8719 h 10000"/>
                    <a:gd name="connsiteX89" fmla="*/ 8111 w 10000"/>
                    <a:gd name="connsiteY89" fmla="*/ 8660 h 10000"/>
                    <a:gd name="connsiteX90" fmla="*/ 7944 w 10000"/>
                    <a:gd name="connsiteY90" fmla="*/ 8616 h 10000"/>
                    <a:gd name="connsiteX91" fmla="*/ 7778 w 10000"/>
                    <a:gd name="connsiteY91" fmla="*/ 8586 h 10000"/>
                    <a:gd name="connsiteX92" fmla="*/ 7556 w 10000"/>
                    <a:gd name="connsiteY92" fmla="*/ 8571 h 10000"/>
                    <a:gd name="connsiteX93" fmla="*/ 7333 w 10000"/>
                    <a:gd name="connsiteY93" fmla="*/ 8557 h 10000"/>
                    <a:gd name="connsiteX94" fmla="*/ 7000 w 10000"/>
                    <a:gd name="connsiteY94" fmla="*/ 8542 h 10000"/>
                    <a:gd name="connsiteX95" fmla="*/ 7000 w 10000"/>
                    <a:gd name="connsiteY95" fmla="*/ 8542 h 10000"/>
                    <a:gd name="connsiteX96" fmla="*/ 6556 w 10000"/>
                    <a:gd name="connsiteY96" fmla="*/ 8557 h 10000"/>
                    <a:gd name="connsiteX97" fmla="*/ 6222 w 10000"/>
                    <a:gd name="connsiteY97" fmla="*/ 8557 h 10000"/>
                    <a:gd name="connsiteX98" fmla="*/ 6111 w 10000"/>
                    <a:gd name="connsiteY98" fmla="*/ 8542 h 10000"/>
                    <a:gd name="connsiteX99" fmla="*/ 6056 w 10000"/>
                    <a:gd name="connsiteY99" fmla="*/ 8527 h 10000"/>
                    <a:gd name="connsiteX100" fmla="*/ 6056 w 10000"/>
                    <a:gd name="connsiteY100" fmla="*/ 8527 h 10000"/>
                    <a:gd name="connsiteX101" fmla="*/ 6056 w 10000"/>
                    <a:gd name="connsiteY101" fmla="*/ 8262 h 10000"/>
                    <a:gd name="connsiteX102" fmla="*/ 6056 w 10000"/>
                    <a:gd name="connsiteY102" fmla="*/ 8262 h 10000"/>
                    <a:gd name="connsiteX103" fmla="*/ 6056 w 10000"/>
                    <a:gd name="connsiteY103" fmla="*/ 8203 h 10000"/>
                    <a:gd name="connsiteX104" fmla="*/ 5944 w 10000"/>
                    <a:gd name="connsiteY104" fmla="*/ 8130 h 10000"/>
                    <a:gd name="connsiteX105" fmla="*/ 5889 w 10000"/>
                    <a:gd name="connsiteY105" fmla="*/ 8115 h 10000"/>
                    <a:gd name="connsiteX106" fmla="*/ 5778 w 10000"/>
                    <a:gd name="connsiteY106" fmla="*/ 8100 h 10000"/>
                    <a:gd name="connsiteX107" fmla="*/ 5667 w 10000"/>
                    <a:gd name="connsiteY107" fmla="*/ 8100 h 10000"/>
                    <a:gd name="connsiteX108" fmla="*/ 5500 w 10000"/>
                    <a:gd name="connsiteY108" fmla="*/ 8115 h 10000"/>
                    <a:gd name="connsiteX109" fmla="*/ 5500 w 10000"/>
                    <a:gd name="connsiteY109" fmla="*/ 8115 h 10000"/>
                    <a:gd name="connsiteX110" fmla="*/ 4889 w 10000"/>
                    <a:gd name="connsiteY110" fmla="*/ 8218 h 10000"/>
                    <a:gd name="connsiteX111" fmla="*/ 4611 w 10000"/>
                    <a:gd name="connsiteY111" fmla="*/ 8247 h 10000"/>
                    <a:gd name="connsiteX112" fmla="*/ 4556 w 10000"/>
                    <a:gd name="connsiteY112" fmla="*/ 8262 h 10000"/>
                    <a:gd name="connsiteX113" fmla="*/ 4500 w 10000"/>
                    <a:gd name="connsiteY113" fmla="*/ 8247 h 10000"/>
                    <a:gd name="connsiteX114" fmla="*/ 4500 w 10000"/>
                    <a:gd name="connsiteY114" fmla="*/ 8247 h 10000"/>
                    <a:gd name="connsiteX115" fmla="*/ 4222 w 10000"/>
                    <a:gd name="connsiteY115" fmla="*/ 8100 h 10000"/>
                    <a:gd name="connsiteX116" fmla="*/ 4222 w 10000"/>
                    <a:gd name="connsiteY116" fmla="*/ 8100 h 10000"/>
                    <a:gd name="connsiteX117" fmla="*/ 4111 w 10000"/>
                    <a:gd name="connsiteY117" fmla="*/ 8027 h 10000"/>
                    <a:gd name="connsiteX118" fmla="*/ 4111 w 10000"/>
                    <a:gd name="connsiteY118" fmla="*/ 7982 h 10000"/>
                    <a:gd name="connsiteX119" fmla="*/ 4111 w 10000"/>
                    <a:gd name="connsiteY119" fmla="*/ 7938 h 10000"/>
                    <a:gd name="connsiteX120" fmla="*/ 4111 w 10000"/>
                    <a:gd name="connsiteY120" fmla="*/ 7938 h 10000"/>
                    <a:gd name="connsiteX121" fmla="*/ 4278 w 10000"/>
                    <a:gd name="connsiteY121" fmla="*/ 7894 h 10000"/>
                    <a:gd name="connsiteX122" fmla="*/ 4389 w 10000"/>
                    <a:gd name="connsiteY122" fmla="*/ 7879 h 10000"/>
                    <a:gd name="connsiteX123" fmla="*/ 4389 w 10000"/>
                    <a:gd name="connsiteY123" fmla="*/ 7879 h 10000"/>
                    <a:gd name="connsiteX124" fmla="*/ 4000 w 10000"/>
                    <a:gd name="connsiteY124" fmla="*/ 7879 h 10000"/>
                    <a:gd name="connsiteX125" fmla="*/ 3722 w 10000"/>
                    <a:gd name="connsiteY125" fmla="*/ 7894 h 10000"/>
                    <a:gd name="connsiteX126" fmla="*/ 3611 w 10000"/>
                    <a:gd name="connsiteY126" fmla="*/ 7909 h 10000"/>
                    <a:gd name="connsiteX127" fmla="*/ 3556 w 10000"/>
                    <a:gd name="connsiteY127" fmla="*/ 7923 h 10000"/>
                    <a:gd name="connsiteX128" fmla="*/ 3556 w 10000"/>
                    <a:gd name="connsiteY128" fmla="*/ 7923 h 10000"/>
                    <a:gd name="connsiteX129" fmla="*/ 3444 w 10000"/>
                    <a:gd name="connsiteY129" fmla="*/ 7982 h 10000"/>
                    <a:gd name="connsiteX130" fmla="*/ 3278 w 10000"/>
                    <a:gd name="connsiteY130" fmla="*/ 8071 h 10000"/>
                    <a:gd name="connsiteX131" fmla="*/ 3000 w 10000"/>
                    <a:gd name="connsiteY131" fmla="*/ 8174 h 10000"/>
                    <a:gd name="connsiteX132" fmla="*/ 2667 w 10000"/>
                    <a:gd name="connsiteY132" fmla="*/ 8247 h 10000"/>
                    <a:gd name="connsiteX133" fmla="*/ 2667 w 10000"/>
                    <a:gd name="connsiteY133" fmla="*/ 8247 h 10000"/>
                    <a:gd name="connsiteX134" fmla="*/ 2333 w 10000"/>
                    <a:gd name="connsiteY134" fmla="*/ 8306 h 10000"/>
                    <a:gd name="connsiteX135" fmla="*/ 1833 w 10000"/>
                    <a:gd name="connsiteY135" fmla="*/ 8365 h 10000"/>
                    <a:gd name="connsiteX136" fmla="*/ 1389 w 10000"/>
                    <a:gd name="connsiteY136" fmla="*/ 8395 h 10000"/>
                    <a:gd name="connsiteX137" fmla="*/ 889 w 10000"/>
                    <a:gd name="connsiteY137" fmla="*/ 8409 h 10000"/>
                    <a:gd name="connsiteX138" fmla="*/ 889 w 10000"/>
                    <a:gd name="connsiteY138" fmla="*/ 8409 h 10000"/>
                    <a:gd name="connsiteX139" fmla="*/ 500 w 10000"/>
                    <a:gd name="connsiteY139" fmla="*/ 8424 h 10000"/>
                    <a:gd name="connsiteX140" fmla="*/ 222 w 10000"/>
                    <a:gd name="connsiteY140" fmla="*/ 8439 h 10000"/>
                    <a:gd name="connsiteX141" fmla="*/ 0 w 10000"/>
                    <a:gd name="connsiteY141" fmla="*/ 8454 h 10000"/>
                    <a:gd name="connsiteX142" fmla="*/ 0 w 10000"/>
                    <a:gd name="connsiteY142" fmla="*/ 8454 h 10000"/>
                    <a:gd name="connsiteX143" fmla="*/ 278 w 10000"/>
                    <a:gd name="connsiteY143" fmla="*/ 8689 h 10000"/>
                    <a:gd name="connsiteX144" fmla="*/ 500 w 10000"/>
                    <a:gd name="connsiteY144" fmla="*/ 8866 h 10000"/>
                    <a:gd name="connsiteX145" fmla="*/ 722 w 10000"/>
                    <a:gd name="connsiteY145" fmla="*/ 9013 h 10000"/>
                    <a:gd name="connsiteX146" fmla="*/ 722 w 10000"/>
                    <a:gd name="connsiteY146" fmla="*/ 9013 h 10000"/>
                    <a:gd name="connsiteX147" fmla="*/ 889 w 10000"/>
                    <a:gd name="connsiteY147" fmla="*/ 9102 h 10000"/>
                    <a:gd name="connsiteX148" fmla="*/ 944 w 10000"/>
                    <a:gd name="connsiteY148" fmla="*/ 9175 h 10000"/>
                    <a:gd name="connsiteX149" fmla="*/ 1111 w 10000"/>
                    <a:gd name="connsiteY149" fmla="*/ 9249 h 10000"/>
                    <a:gd name="connsiteX150" fmla="*/ 1333 w 10000"/>
                    <a:gd name="connsiteY150" fmla="*/ 9367 h 10000"/>
                    <a:gd name="connsiteX151" fmla="*/ 1333 w 10000"/>
                    <a:gd name="connsiteY151" fmla="*/ 9367 h 10000"/>
                    <a:gd name="connsiteX152" fmla="*/ 1444 w 10000"/>
                    <a:gd name="connsiteY152" fmla="*/ 9426 h 10000"/>
                    <a:gd name="connsiteX153" fmla="*/ 1500 w 10000"/>
                    <a:gd name="connsiteY153" fmla="*/ 9470 h 10000"/>
                    <a:gd name="connsiteX154" fmla="*/ 1500 w 10000"/>
                    <a:gd name="connsiteY154" fmla="*/ 9514 h 10000"/>
                    <a:gd name="connsiteX155" fmla="*/ 1556 w 10000"/>
                    <a:gd name="connsiteY155" fmla="*/ 9529 h 10000"/>
                    <a:gd name="connsiteX156" fmla="*/ 1722 w 10000"/>
                    <a:gd name="connsiteY156" fmla="*/ 9543 h 10000"/>
                    <a:gd name="connsiteX157" fmla="*/ 1944 w 10000"/>
                    <a:gd name="connsiteY157" fmla="*/ 9558 h 10000"/>
                    <a:gd name="connsiteX158" fmla="*/ 2944 w 10000"/>
                    <a:gd name="connsiteY158" fmla="*/ 9573 h 10000"/>
                    <a:gd name="connsiteX159" fmla="*/ 2944 w 10000"/>
                    <a:gd name="connsiteY159" fmla="*/ 9573 h 10000"/>
                    <a:gd name="connsiteX160" fmla="*/ 4167 w 10000"/>
                    <a:gd name="connsiteY160" fmla="*/ 9602 h 10000"/>
                    <a:gd name="connsiteX161" fmla="*/ 4889 w 10000"/>
                    <a:gd name="connsiteY161" fmla="*/ 9647 h 10000"/>
                    <a:gd name="connsiteX162" fmla="*/ 5278 w 10000"/>
                    <a:gd name="connsiteY162" fmla="*/ 9691 h 10000"/>
                    <a:gd name="connsiteX163" fmla="*/ 5444 w 10000"/>
                    <a:gd name="connsiteY163" fmla="*/ 9705 h 10000"/>
                    <a:gd name="connsiteX164" fmla="*/ 5444 w 10000"/>
                    <a:gd name="connsiteY164" fmla="*/ 9705 h 10000"/>
                    <a:gd name="connsiteX165" fmla="*/ 5722 w 10000"/>
                    <a:gd name="connsiteY165" fmla="*/ 9735 h 10000"/>
                    <a:gd name="connsiteX166" fmla="*/ 5833 w 10000"/>
                    <a:gd name="connsiteY166" fmla="*/ 9750 h 10000"/>
                    <a:gd name="connsiteX167" fmla="*/ 5833 w 10000"/>
                    <a:gd name="connsiteY167" fmla="*/ 9750 h 10000"/>
                    <a:gd name="connsiteX168" fmla="*/ 5833 w 10000"/>
                    <a:gd name="connsiteY168" fmla="*/ 9735 h 10000"/>
                    <a:gd name="connsiteX169" fmla="*/ 5889 w 10000"/>
                    <a:gd name="connsiteY169" fmla="*/ 9720 h 10000"/>
                    <a:gd name="connsiteX170" fmla="*/ 6000 w 10000"/>
                    <a:gd name="connsiteY170" fmla="*/ 9705 h 10000"/>
                    <a:gd name="connsiteX171" fmla="*/ 6167 w 10000"/>
                    <a:gd name="connsiteY171" fmla="*/ 9691 h 10000"/>
                    <a:gd name="connsiteX172" fmla="*/ 6444 w 10000"/>
                    <a:gd name="connsiteY172" fmla="*/ 9691 h 10000"/>
                    <a:gd name="connsiteX173" fmla="*/ 6833 w 10000"/>
                    <a:gd name="connsiteY173" fmla="*/ 9705 h 10000"/>
                    <a:gd name="connsiteX174" fmla="*/ 7278 w 10000"/>
                    <a:gd name="connsiteY174" fmla="*/ 9750 h 10000"/>
                    <a:gd name="connsiteX175" fmla="*/ 7278 w 10000"/>
                    <a:gd name="connsiteY175" fmla="*/ 9750 h 10000"/>
                    <a:gd name="connsiteX176" fmla="*/ 8722 w 10000"/>
                    <a:gd name="connsiteY176" fmla="*/ 9882 h 10000"/>
                    <a:gd name="connsiteX177" fmla="*/ 10000 w 10000"/>
                    <a:gd name="connsiteY177" fmla="*/ 10000 h 10000"/>
                    <a:gd name="connsiteX0" fmla="*/ 10000 w 10000"/>
                    <a:gd name="connsiteY0" fmla="*/ 8999 h 10000"/>
                    <a:gd name="connsiteX1" fmla="*/ 10000 w 10000"/>
                    <a:gd name="connsiteY1" fmla="*/ 8999 h 10000"/>
                    <a:gd name="connsiteX2" fmla="*/ 9222 w 10000"/>
                    <a:gd name="connsiteY2" fmla="*/ 9013 h 10000"/>
                    <a:gd name="connsiteX3" fmla="*/ 8944 w 10000"/>
                    <a:gd name="connsiteY3" fmla="*/ 9013 h 10000"/>
                    <a:gd name="connsiteX4" fmla="*/ 8833 w 10000"/>
                    <a:gd name="connsiteY4" fmla="*/ 8999 h 10000"/>
                    <a:gd name="connsiteX5" fmla="*/ 8778 w 10000"/>
                    <a:gd name="connsiteY5" fmla="*/ 8984 h 10000"/>
                    <a:gd name="connsiteX6" fmla="*/ 8778 w 10000"/>
                    <a:gd name="connsiteY6" fmla="*/ 8984 h 10000"/>
                    <a:gd name="connsiteX7" fmla="*/ 8444 w 10000"/>
                    <a:gd name="connsiteY7" fmla="*/ 8807 h 10000"/>
                    <a:gd name="connsiteX8" fmla="*/ 8167 w 10000"/>
                    <a:gd name="connsiteY8" fmla="*/ 8645 h 10000"/>
                    <a:gd name="connsiteX9" fmla="*/ 8167 w 10000"/>
                    <a:gd name="connsiteY9" fmla="*/ 8645 h 10000"/>
                    <a:gd name="connsiteX10" fmla="*/ 8056 w 10000"/>
                    <a:gd name="connsiteY10" fmla="*/ 8616 h 10000"/>
                    <a:gd name="connsiteX11" fmla="*/ 7889 w 10000"/>
                    <a:gd name="connsiteY11" fmla="*/ 8586 h 10000"/>
                    <a:gd name="connsiteX12" fmla="*/ 7444 w 10000"/>
                    <a:gd name="connsiteY12" fmla="*/ 8571 h 10000"/>
                    <a:gd name="connsiteX13" fmla="*/ 6889 w 10000"/>
                    <a:gd name="connsiteY13" fmla="*/ 8557 h 10000"/>
                    <a:gd name="connsiteX14" fmla="*/ 6389 w 10000"/>
                    <a:gd name="connsiteY14" fmla="*/ 8557 h 10000"/>
                    <a:gd name="connsiteX15" fmla="*/ 6389 w 10000"/>
                    <a:gd name="connsiteY15" fmla="*/ 8557 h 10000"/>
                    <a:gd name="connsiteX16" fmla="*/ 6167 w 10000"/>
                    <a:gd name="connsiteY16" fmla="*/ 8542 h 10000"/>
                    <a:gd name="connsiteX17" fmla="*/ 6056 w 10000"/>
                    <a:gd name="connsiteY17" fmla="*/ 8513 h 10000"/>
                    <a:gd name="connsiteX18" fmla="*/ 6000 w 10000"/>
                    <a:gd name="connsiteY18" fmla="*/ 8483 h 10000"/>
                    <a:gd name="connsiteX19" fmla="*/ 6000 w 10000"/>
                    <a:gd name="connsiteY19" fmla="*/ 8424 h 10000"/>
                    <a:gd name="connsiteX20" fmla="*/ 6056 w 10000"/>
                    <a:gd name="connsiteY20" fmla="*/ 8306 h 10000"/>
                    <a:gd name="connsiteX21" fmla="*/ 6111 w 10000"/>
                    <a:gd name="connsiteY21" fmla="*/ 8247 h 10000"/>
                    <a:gd name="connsiteX22" fmla="*/ 6056 w 10000"/>
                    <a:gd name="connsiteY22" fmla="*/ 8174 h 10000"/>
                    <a:gd name="connsiteX23" fmla="*/ 6056 w 10000"/>
                    <a:gd name="connsiteY23" fmla="*/ 8174 h 10000"/>
                    <a:gd name="connsiteX24" fmla="*/ 6000 w 10000"/>
                    <a:gd name="connsiteY24" fmla="*/ 8130 h 10000"/>
                    <a:gd name="connsiteX25" fmla="*/ 5944 w 10000"/>
                    <a:gd name="connsiteY25" fmla="*/ 8100 h 10000"/>
                    <a:gd name="connsiteX26" fmla="*/ 5833 w 10000"/>
                    <a:gd name="connsiteY26" fmla="*/ 8100 h 10000"/>
                    <a:gd name="connsiteX27" fmla="*/ 5667 w 10000"/>
                    <a:gd name="connsiteY27" fmla="*/ 8115 h 10000"/>
                    <a:gd name="connsiteX28" fmla="*/ 5333 w 10000"/>
                    <a:gd name="connsiteY28" fmla="*/ 8159 h 10000"/>
                    <a:gd name="connsiteX29" fmla="*/ 4889 w 10000"/>
                    <a:gd name="connsiteY29" fmla="*/ 8233 h 10000"/>
                    <a:gd name="connsiteX30" fmla="*/ 4889 w 10000"/>
                    <a:gd name="connsiteY30" fmla="*/ 8233 h 10000"/>
                    <a:gd name="connsiteX31" fmla="*/ 4611 w 10000"/>
                    <a:gd name="connsiteY31" fmla="*/ 8247 h 10000"/>
                    <a:gd name="connsiteX32" fmla="*/ 4500 w 10000"/>
                    <a:gd name="connsiteY32" fmla="*/ 8247 h 10000"/>
                    <a:gd name="connsiteX33" fmla="*/ 4444 w 10000"/>
                    <a:gd name="connsiteY33" fmla="*/ 8233 h 10000"/>
                    <a:gd name="connsiteX34" fmla="*/ 4389 w 10000"/>
                    <a:gd name="connsiteY34" fmla="*/ 8174 h 10000"/>
                    <a:gd name="connsiteX35" fmla="*/ 4222 w 10000"/>
                    <a:gd name="connsiteY35" fmla="*/ 8100 h 10000"/>
                    <a:gd name="connsiteX36" fmla="*/ 4222 w 10000"/>
                    <a:gd name="connsiteY36" fmla="*/ 8100 h 10000"/>
                    <a:gd name="connsiteX37" fmla="*/ 4111 w 10000"/>
                    <a:gd name="connsiteY37" fmla="*/ 8056 h 10000"/>
                    <a:gd name="connsiteX38" fmla="*/ 4111 w 10000"/>
                    <a:gd name="connsiteY38" fmla="*/ 8012 h 10000"/>
                    <a:gd name="connsiteX39" fmla="*/ 4111 w 10000"/>
                    <a:gd name="connsiteY39" fmla="*/ 7982 h 10000"/>
                    <a:gd name="connsiteX40" fmla="*/ 4167 w 10000"/>
                    <a:gd name="connsiteY40" fmla="*/ 7953 h 10000"/>
                    <a:gd name="connsiteX41" fmla="*/ 4278 w 10000"/>
                    <a:gd name="connsiteY41" fmla="*/ 7894 h 10000"/>
                    <a:gd name="connsiteX42" fmla="*/ 4389 w 10000"/>
                    <a:gd name="connsiteY42" fmla="*/ 7879 h 10000"/>
                    <a:gd name="connsiteX43" fmla="*/ 4389 w 10000"/>
                    <a:gd name="connsiteY43" fmla="*/ 7879 h 10000"/>
                    <a:gd name="connsiteX44" fmla="*/ 4389 w 10000"/>
                    <a:gd name="connsiteY44" fmla="*/ 7865 h 10000"/>
                    <a:gd name="connsiteX45" fmla="*/ 4444 w 10000"/>
                    <a:gd name="connsiteY45" fmla="*/ 7850 h 10000"/>
                    <a:gd name="connsiteX46" fmla="*/ 4667 w 10000"/>
                    <a:gd name="connsiteY46" fmla="*/ 7835 h 10000"/>
                    <a:gd name="connsiteX47" fmla="*/ 5333 w 10000"/>
                    <a:gd name="connsiteY47" fmla="*/ 7806 h 10000"/>
                    <a:gd name="connsiteX48" fmla="*/ 6500 w 10000"/>
                    <a:gd name="connsiteY48" fmla="*/ 7761 h 10000"/>
                    <a:gd name="connsiteX49" fmla="*/ 6500 w 10000"/>
                    <a:gd name="connsiteY49" fmla="*/ 7761 h 10000"/>
                    <a:gd name="connsiteX50" fmla="*/ 7167 w 10000"/>
                    <a:gd name="connsiteY50" fmla="*/ 7717 h 10000"/>
                    <a:gd name="connsiteX51" fmla="*/ 8389 w 10000"/>
                    <a:gd name="connsiteY51" fmla="*/ 7629 h 10000"/>
                    <a:gd name="connsiteX52" fmla="*/ 8389 w 10000"/>
                    <a:gd name="connsiteY52" fmla="*/ 7629 h 10000"/>
                    <a:gd name="connsiteX53" fmla="*/ 8667 w 10000"/>
                    <a:gd name="connsiteY53" fmla="*/ 7599 h 10000"/>
                    <a:gd name="connsiteX54" fmla="*/ 8778 w 10000"/>
                    <a:gd name="connsiteY54" fmla="*/ 7555 h 10000"/>
                    <a:gd name="connsiteX55" fmla="*/ 8889 w 10000"/>
                    <a:gd name="connsiteY55" fmla="*/ 7526 h 10000"/>
                    <a:gd name="connsiteX56" fmla="*/ 8833 w 10000"/>
                    <a:gd name="connsiteY56" fmla="*/ 7496 h 10000"/>
                    <a:gd name="connsiteX57" fmla="*/ 8833 w 10000"/>
                    <a:gd name="connsiteY57" fmla="*/ 7467 h 10000"/>
                    <a:gd name="connsiteX58" fmla="*/ 8722 w 10000"/>
                    <a:gd name="connsiteY58" fmla="*/ 7437 h 10000"/>
                    <a:gd name="connsiteX59" fmla="*/ 8556 w 10000"/>
                    <a:gd name="connsiteY59" fmla="*/ 7393 h 10000"/>
                    <a:gd name="connsiteX60" fmla="*/ 8556 w 10000"/>
                    <a:gd name="connsiteY60" fmla="*/ 7393 h 10000"/>
                    <a:gd name="connsiteX61" fmla="*/ 6556 w 10000"/>
                    <a:gd name="connsiteY61" fmla="*/ 7128 h 10000"/>
                    <a:gd name="connsiteX62" fmla="*/ 6556 w 10000"/>
                    <a:gd name="connsiteY62" fmla="*/ 7128 h 10000"/>
                    <a:gd name="connsiteX63" fmla="*/ 6333 w 10000"/>
                    <a:gd name="connsiteY63" fmla="*/ 7084 h 10000"/>
                    <a:gd name="connsiteX64" fmla="*/ 6167 w 10000"/>
                    <a:gd name="connsiteY64" fmla="*/ 7040 h 10000"/>
                    <a:gd name="connsiteX65" fmla="*/ 6056 w 10000"/>
                    <a:gd name="connsiteY65" fmla="*/ 6996 h 10000"/>
                    <a:gd name="connsiteX66" fmla="*/ 6056 w 10000"/>
                    <a:gd name="connsiteY66" fmla="*/ 6996 h 10000"/>
                    <a:gd name="connsiteX67" fmla="*/ 8056 w 10000"/>
                    <a:gd name="connsiteY67" fmla="*/ 6981 h 10000"/>
                    <a:gd name="connsiteX68" fmla="*/ 10000 w 10000"/>
                    <a:gd name="connsiteY68" fmla="*/ 7128 h 10000"/>
                    <a:gd name="connsiteX69" fmla="*/ 10000 w 10000"/>
                    <a:gd name="connsiteY69" fmla="*/ 5788 h 10000"/>
                    <a:gd name="connsiteX70" fmla="*/ 10000 w 10000"/>
                    <a:gd name="connsiteY70" fmla="*/ 5788 h 10000"/>
                    <a:gd name="connsiteX71" fmla="*/ 8000 w 10000"/>
                    <a:gd name="connsiteY71" fmla="*/ 88 h 10000"/>
                    <a:gd name="connsiteX72" fmla="*/ 8333 w 10000"/>
                    <a:gd name="connsiteY72" fmla="*/ 15 h 10000"/>
                    <a:gd name="connsiteX73" fmla="*/ 9111 w 10000"/>
                    <a:gd name="connsiteY73" fmla="*/ 0 h 10000"/>
                    <a:gd name="connsiteX74" fmla="*/ 10000 w 10000"/>
                    <a:gd name="connsiteY74" fmla="*/ 15 h 10000"/>
                    <a:gd name="connsiteX75" fmla="*/ 10000 w 10000"/>
                    <a:gd name="connsiteY75" fmla="*/ 9013 h 10000"/>
                    <a:gd name="connsiteX76" fmla="*/ 10000 w 10000"/>
                    <a:gd name="connsiteY76" fmla="*/ 9013 h 10000"/>
                    <a:gd name="connsiteX77" fmla="*/ 9722 w 10000"/>
                    <a:gd name="connsiteY77" fmla="*/ 8999 h 10000"/>
                    <a:gd name="connsiteX78" fmla="*/ 9389 w 10000"/>
                    <a:gd name="connsiteY78" fmla="*/ 9013 h 10000"/>
                    <a:gd name="connsiteX79" fmla="*/ 9389 w 10000"/>
                    <a:gd name="connsiteY79" fmla="*/ 9013 h 10000"/>
                    <a:gd name="connsiteX80" fmla="*/ 9278 w 10000"/>
                    <a:gd name="connsiteY80" fmla="*/ 9028 h 10000"/>
                    <a:gd name="connsiteX81" fmla="*/ 9056 w 10000"/>
                    <a:gd name="connsiteY81" fmla="*/ 9013 h 10000"/>
                    <a:gd name="connsiteX82" fmla="*/ 8889 w 10000"/>
                    <a:gd name="connsiteY82" fmla="*/ 8999 h 10000"/>
                    <a:gd name="connsiteX83" fmla="*/ 8722 w 10000"/>
                    <a:gd name="connsiteY83" fmla="*/ 8969 h 10000"/>
                    <a:gd name="connsiteX84" fmla="*/ 8611 w 10000"/>
                    <a:gd name="connsiteY84" fmla="*/ 8925 h 10000"/>
                    <a:gd name="connsiteX85" fmla="*/ 8444 w 10000"/>
                    <a:gd name="connsiteY85" fmla="*/ 8851 h 10000"/>
                    <a:gd name="connsiteX86" fmla="*/ 8444 w 10000"/>
                    <a:gd name="connsiteY86" fmla="*/ 8851 h 10000"/>
                    <a:gd name="connsiteX87" fmla="*/ 8222 w 10000"/>
                    <a:gd name="connsiteY87" fmla="*/ 8719 h 10000"/>
                    <a:gd name="connsiteX88" fmla="*/ 8111 w 10000"/>
                    <a:gd name="connsiteY88" fmla="*/ 8660 h 10000"/>
                    <a:gd name="connsiteX89" fmla="*/ 7944 w 10000"/>
                    <a:gd name="connsiteY89" fmla="*/ 8616 h 10000"/>
                    <a:gd name="connsiteX90" fmla="*/ 7778 w 10000"/>
                    <a:gd name="connsiteY90" fmla="*/ 8586 h 10000"/>
                    <a:gd name="connsiteX91" fmla="*/ 7556 w 10000"/>
                    <a:gd name="connsiteY91" fmla="*/ 8571 h 10000"/>
                    <a:gd name="connsiteX92" fmla="*/ 7333 w 10000"/>
                    <a:gd name="connsiteY92" fmla="*/ 8557 h 10000"/>
                    <a:gd name="connsiteX93" fmla="*/ 7000 w 10000"/>
                    <a:gd name="connsiteY93" fmla="*/ 8542 h 10000"/>
                    <a:gd name="connsiteX94" fmla="*/ 7000 w 10000"/>
                    <a:gd name="connsiteY94" fmla="*/ 8542 h 10000"/>
                    <a:gd name="connsiteX95" fmla="*/ 6556 w 10000"/>
                    <a:gd name="connsiteY95" fmla="*/ 8557 h 10000"/>
                    <a:gd name="connsiteX96" fmla="*/ 6222 w 10000"/>
                    <a:gd name="connsiteY96" fmla="*/ 8557 h 10000"/>
                    <a:gd name="connsiteX97" fmla="*/ 6111 w 10000"/>
                    <a:gd name="connsiteY97" fmla="*/ 8542 h 10000"/>
                    <a:gd name="connsiteX98" fmla="*/ 6056 w 10000"/>
                    <a:gd name="connsiteY98" fmla="*/ 8527 h 10000"/>
                    <a:gd name="connsiteX99" fmla="*/ 6056 w 10000"/>
                    <a:gd name="connsiteY99" fmla="*/ 8527 h 10000"/>
                    <a:gd name="connsiteX100" fmla="*/ 6056 w 10000"/>
                    <a:gd name="connsiteY100" fmla="*/ 8262 h 10000"/>
                    <a:gd name="connsiteX101" fmla="*/ 6056 w 10000"/>
                    <a:gd name="connsiteY101" fmla="*/ 8262 h 10000"/>
                    <a:gd name="connsiteX102" fmla="*/ 6056 w 10000"/>
                    <a:gd name="connsiteY102" fmla="*/ 8203 h 10000"/>
                    <a:gd name="connsiteX103" fmla="*/ 5944 w 10000"/>
                    <a:gd name="connsiteY103" fmla="*/ 8130 h 10000"/>
                    <a:gd name="connsiteX104" fmla="*/ 5889 w 10000"/>
                    <a:gd name="connsiteY104" fmla="*/ 8115 h 10000"/>
                    <a:gd name="connsiteX105" fmla="*/ 5778 w 10000"/>
                    <a:gd name="connsiteY105" fmla="*/ 8100 h 10000"/>
                    <a:gd name="connsiteX106" fmla="*/ 5667 w 10000"/>
                    <a:gd name="connsiteY106" fmla="*/ 8100 h 10000"/>
                    <a:gd name="connsiteX107" fmla="*/ 5500 w 10000"/>
                    <a:gd name="connsiteY107" fmla="*/ 8115 h 10000"/>
                    <a:gd name="connsiteX108" fmla="*/ 5500 w 10000"/>
                    <a:gd name="connsiteY108" fmla="*/ 8115 h 10000"/>
                    <a:gd name="connsiteX109" fmla="*/ 4889 w 10000"/>
                    <a:gd name="connsiteY109" fmla="*/ 8218 h 10000"/>
                    <a:gd name="connsiteX110" fmla="*/ 4611 w 10000"/>
                    <a:gd name="connsiteY110" fmla="*/ 8247 h 10000"/>
                    <a:gd name="connsiteX111" fmla="*/ 4556 w 10000"/>
                    <a:gd name="connsiteY111" fmla="*/ 8262 h 10000"/>
                    <a:gd name="connsiteX112" fmla="*/ 4500 w 10000"/>
                    <a:gd name="connsiteY112" fmla="*/ 8247 h 10000"/>
                    <a:gd name="connsiteX113" fmla="*/ 4500 w 10000"/>
                    <a:gd name="connsiteY113" fmla="*/ 8247 h 10000"/>
                    <a:gd name="connsiteX114" fmla="*/ 4222 w 10000"/>
                    <a:gd name="connsiteY114" fmla="*/ 8100 h 10000"/>
                    <a:gd name="connsiteX115" fmla="*/ 4222 w 10000"/>
                    <a:gd name="connsiteY115" fmla="*/ 8100 h 10000"/>
                    <a:gd name="connsiteX116" fmla="*/ 4111 w 10000"/>
                    <a:gd name="connsiteY116" fmla="*/ 8027 h 10000"/>
                    <a:gd name="connsiteX117" fmla="*/ 4111 w 10000"/>
                    <a:gd name="connsiteY117" fmla="*/ 7982 h 10000"/>
                    <a:gd name="connsiteX118" fmla="*/ 4111 w 10000"/>
                    <a:gd name="connsiteY118" fmla="*/ 7938 h 10000"/>
                    <a:gd name="connsiteX119" fmla="*/ 4111 w 10000"/>
                    <a:gd name="connsiteY119" fmla="*/ 7938 h 10000"/>
                    <a:gd name="connsiteX120" fmla="*/ 4278 w 10000"/>
                    <a:gd name="connsiteY120" fmla="*/ 7894 h 10000"/>
                    <a:gd name="connsiteX121" fmla="*/ 4389 w 10000"/>
                    <a:gd name="connsiteY121" fmla="*/ 7879 h 10000"/>
                    <a:gd name="connsiteX122" fmla="*/ 4389 w 10000"/>
                    <a:gd name="connsiteY122" fmla="*/ 7879 h 10000"/>
                    <a:gd name="connsiteX123" fmla="*/ 4000 w 10000"/>
                    <a:gd name="connsiteY123" fmla="*/ 7879 h 10000"/>
                    <a:gd name="connsiteX124" fmla="*/ 3722 w 10000"/>
                    <a:gd name="connsiteY124" fmla="*/ 7894 h 10000"/>
                    <a:gd name="connsiteX125" fmla="*/ 3611 w 10000"/>
                    <a:gd name="connsiteY125" fmla="*/ 7909 h 10000"/>
                    <a:gd name="connsiteX126" fmla="*/ 3556 w 10000"/>
                    <a:gd name="connsiteY126" fmla="*/ 7923 h 10000"/>
                    <a:gd name="connsiteX127" fmla="*/ 3556 w 10000"/>
                    <a:gd name="connsiteY127" fmla="*/ 7923 h 10000"/>
                    <a:gd name="connsiteX128" fmla="*/ 3444 w 10000"/>
                    <a:gd name="connsiteY128" fmla="*/ 7982 h 10000"/>
                    <a:gd name="connsiteX129" fmla="*/ 3278 w 10000"/>
                    <a:gd name="connsiteY129" fmla="*/ 8071 h 10000"/>
                    <a:gd name="connsiteX130" fmla="*/ 3000 w 10000"/>
                    <a:gd name="connsiteY130" fmla="*/ 8174 h 10000"/>
                    <a:gd name="connsiteX131" fmla="*/ 2667 w 10000"/>
                    <a:gd name="connsiteY131" fmla="*/ 8247 h 10000"/>
                    <a:gd name="connsiteX132" fmla="*/ 2667 w 10000"/>
                    <a:gd name="connsiteY132" fmla="*/ 8247 h 10000"/>
                    <a:gd name="connsiteX133" fmla="*/ 2333 w 10000"/>
                    <a:gd name="connsiteY133" fmla="*/ 8306 h 10000"/>
                    <a:gd name="connsiteX134" fmla="*/ 1833 w 10000"/>
                    <a:gd name="connsiteY134" fmla="*/ 8365 h 10000"/>
                    <a:gd name="connsiteX135" fmla="*/ 1389 w 10000"/>
                    <a:gd name="connsiteY135" fmla="*/ 8395 h 10000"/>
                    <a:gd name="connsiteX136" fmla="*/ 889 w 10000"/>
                    <a:gd name="connsiteY136" fmla="*/ 8409 h 10000"/>
                    <a:gd name="connsiteX137" fmla="*/ 889 w 10000"/>
                    <a:gd name="connsiteY137" fmla="*/ 8409 h 10000"/>
                    <a:gd name="connsiteX138" fmla="*/ 500 w 10000"/>
                    <a:gd name="connsiteY138" fmla="*/ 8424 h 10000"/>
                    <a:gd name="connsiteX139" fmla="*/ 222 w 10000"/>
                    <a:gd name="connsiteY139" fmla="*/ 8439 h 10000"/>
                    <a:gd name="connsiteX140" fmla="*/ 0 w 10000"/>
                    <a:gd name="connsiteY140" fmla="*/ 8454 h 10000"/>
                    <a:gd name="connsiteX141" fmla="*/ 0 w 10000"/>
                    <a:gd name="connsiteY141" fmla="*/ 8454 h 10000"/>
                    <a:gd name="connsiteX142" fmla="*/ 278 w 10000"/>
                    <a:gd name="connsiteY142" fmla="*/ 8689 h 10000"/>
                    <a:gd name="connsiteX143" fmla="*/ 500 w 10000"/>
                    <a:gd name="connsiteY143" fmla="*/ 8866 h 10000"/>
                    <a:gd name="connsiteX144" fmla="*/ 722 w 10000"/>
                    <a:gd name="connsiteY144" fmla="*/ 9013 h 10000"/>
                    <a:gd name="connsiteX145" fmla="*/ 722 w 10000"/>
                    <a:gd name="connsiteY145" fmla="*/ 9013 h 10000"/>
                    <a:gd name="connsiteX146" fmla="*/ 889 w 10000"/>
                    <a:gd name="connsiteY146" fmla="*/ 9102 h 10000"/>
                    <a:gd name="connsiteX147" fmla="*/ 944 w 10000"/>
                    <a:gd name="connsiteY147" fmla="*/ 9175 h 10000"/>
                    <a:gd name="connsiteX148" fmla="*/ 1111 w 10000"/>
                    <a:gd name="connsiteY148" fmla="*/ 9249 h 10000"/>
                    <a:gd name="connsiteX149" fmla="*/ 1333 w 10000"/>
                    <a:gd name="connsiteY149" fmla="*/ 9367 h 10000"/>
                    <a:gd name="connsiteX150" fmla="*/ 1333 w 10000"/>
                    <a:gd name="connsiteY150" fmla="*/ 9367 h 10000"/>
                    <a:gd name="connsiteX151" fmla="*/ 1444 w 10000"/>
                    <a:gd name="connsiteY151" fmla="*/ 9426 h 10000"/>
                    <a:gd name="connsiteX152" fmla="*/ 1500 w 10000"/>
                    <a:gd name="connsiteY152" fmla="*/ 9470 h 10000"/>
                    <a:gd name="connsiteX153" fmla="*/ 1500 w 10000"/>
                    <a:gd name="connsiteY153" fmla="*/ 9514 h 10000"/>
                    <a:gd name="connsiteX154" fmla="*/ 1556 w 10000"/>
                    <a:gd name="connsiteY154" fmla="*/ 9529 h 10000"/>
                    <a:gd name="connsiteX155" fmla="*/ 1722 w 10000"/>
                    <a:gd name="connsiteY155" fmla="*/ 9543 h 10000"/>
                    <a:gd name="connsiteX156" fmla="*/ 1944 w 10000"/>
                    <a:gd name="connsiteY156" fmla="*/ 9558 h 10000"/>
                    <a:gd name="connsiteX157" fmla="*/ 2944 w 10000"/>
                    <a:gd name="connsiteY157" fmla="*/ 9573 h 10000"/>
                    <a:gd name="connsiteX158" fmla="*/ 2944 w 10000"/>
                    <a:gd name="connsiteY158" fmla="*/ 9573 h 10000"/>
                    <a:gd name="connsiteX159" fmla="*/ 4167 w 10000"/>
                    <a:gd name="connsiteY159" fmla="*/ 9602 h 10000"/>
                    <a:gd name="connsiteX160" fmla="*/ 4889 w 10000"/>
                    <a:gd name="connsiteY160" fmla="*/ 9647 h 10000"/>
                    <a:gd name="connsiteX161" fmla="*/ 5278 w 10000"/>
                    <a:gd name="connsiteY161" fmla="*/ 9691 h 10000"/>
                    <a:gd name="connsiteX162" fmla="*/ 5444 w 10000"/>
                    <a:gd name="connsiteY162" fmla="*/ 9705 h 10000"/>
                    <a:gd name="connsiteX163" fmla="*/ 5444 w 10000"/>
                    <a:gd name="connsiteY163" fmla="*/ 9705 h 10000"/>
                    <a:gd name="connsiteX164" fmla="*/ 5722 w 10000"/>
                    <a:gd name="connsiteY164" fmla="*/ 9735 h 10000"/>
                    <a:gd name="connsiteX165" fmla="*/ 5833 w 10000"/>
                    <a:gd name="connsiteY165" fmla="*/ 9750 h 10000"/>
                    <a:gd name="connsiteX166" fmla="*/ 5833 w 10000"/>
                    <a:gd name="connsiteY166" fmla="*/ 9750 h 10000"/>
                    <a:gd name="connsiteX167" fmla="*/ 5833 w 10000"/>
                    <a:gd name="connsiteY167" fmla="*/ 9735 h 10000"/>
                    <a:gd name="connsiteX168" fmla="*/ 5889 w 10000"/>
                    <a:gd name="connsiteY168" fmla="*/ 9720 h 10000"/>
                    <a:gd name="connsiteX169" fmla="*/ 6000 w 10000"/>
                    <a:gd name="connsiteY169" fmla="*/ 9705 h 10000"/>
                    <a:gd name="connsiteX170" fmla="*/ 6167 w 10000"/>
                    <a:gd name="connsiteY170" fmla="*/ 9691 h 10000"/>
                    <a:gd name="connsiteX171" fmla="*/ 6444 w 10000"/>
                    <a:gd name="connsiteY171" fmla="*/ 9691 h 10000"/>
                    <a:gd name="connsiteX172" fmla="*/ 6833 w 10000"/>
                    <a:gd name="connsiteY172" fmla="*/ 9705 h 10000"/>
                    <a:gd name="connsiteX173" fmla="*/ 7278 w 10000"/>
                    <a:gd name="connsiteY173" fmla="*/ 9750 h 10000"/>
                    <a:gd name="connsiteX174" fmla="*/ 7278 w 10000"/>
                    <a:gd name="connsiteY174" fmla="*/ 9750 h 10000"/>
                    <a:gd name="connsiteX175" fmla="*/ 8722 w 10000"/>
                    <a:gd name="connsiteY175" fmla="*/ 9882 h 10000"/>
                    <a:gd name="connsiteX176" fmla="*/ 10000 w 10000"/>
                    <a:gd name="connsiteY176" fmla="*/ 10000 h 10000"/>
                    <a:gd name="connsiteX0" fmla="*/ 10000 w 10000"/>
                    <a:gd name="connsiteY0" fmla="*/ 8984 h 9985"/>
                    <a:gd name="connsiteX1" fmla="*/ 10000 w 10000"/>
                    <a:gd name="connsiteY1" fmla="*/ 8984 h 9985"/>
                    <a:gd name="connsiteX2" fmla="*/ 9222 w 10000"/>
                    <a:gd name="connsiteY2" fmla="*/ 8998 h 9985"/>
                    <a:gd name="connsiteX3" fmla="*/ 8944 w 10000"/>
                    <a:gd name="connsiteY3" fmla="*/ 8998 h 9985"/>
                    <a:gd name="connsiteX4" fmla="*/ 8833 w 10000"/>
                    <a:gd name="connsiteY4" fmla="*/ 8984 h 9985"/>
                    <a:gd name="connsiteX5" fmla="*/ 8778 w 10000"/>
                    <a:gd name="connsiteY5" fmla="*/ 8969 h 9985"/>
                    <a:gd name="connsiteX6" fmla="*/ 8778 w 10000"/>
                    <a:gd name="connsiteY6" fmla="*/ 8969 h 9985"/>
                    <a:gd name="connsiteX7" fmla="*/ 8444 w 10000"/>
                    <a:gd name="connsiteY7" fmla="*/ 8792 h 9985"/>
                    <a:gd name="connsiteX8" fmla="*/ 8167 w 10000"/>
                    <a:gd name="connsiteY8" fmla="*/ 8630 h 9985"/>
                    <a:gd name="connsiteX9" fmla="*/ 8167 w 10000"/>
                    <a:gd name="connsiteY9" fmla="*/ 8630 h 9985"/>
                    <a:gd name="connsiteX10" fmla="*/ 8056 w 10000"/>
                    <a:gd name="connsiteY10" fmla="*/ 8601 h 9985"/>
                    <a:gd name="connsiteX11" fmla="*/ 7889 w 10000"/>
                    <a:gd name="connsiteY11" fmla="*/ 8571 h 9985"/>
                    <a:gd name="connsiteX12" fmla="*/ 7444 w 10000"/>
                    <a:gd name="connsiteY12" fmla="*/ 8556 h 9985"/>
                    <a:gd name="connsiteX13" fmla="*/ 6889 w 10000"/>
                    <a:gd name="connsiteY13" fmla="*/ 8542 h 9985"/>
                    <a:gd name="connsiteX14" fmla="*/ 6389 w 10000"/>
                    <a:gd name="connsiteY14" fmla="*/ 8542 h 9985"/>
                    <a:gd name="connsiteX15" fmla="*/ 6389 w 10000"/>
                    <a:gd name="connsiteY15" fmla="*/ 8542 h 9985"/>
                    <a:gd name="connsiteX16" fmla="*/ 6167 w 10000"/>
                    <a:gd name="connsiteY16" fmla="*/ 8527 h 9985"/>
                    <a:gd name="connsiteX17" fmla="*/ 6056 w 10000"/>
                    <a:gd name="connsiteY17" fmla="*/ 8498 h 9985"/>
                    <a:gd name="connsiteX18" fmla="*/ 6000 w 10000"/>
                    <a:gd name="connsiteY18" fmla="*/ 8468 h 9985"/>
                    <a:gd name="connsiteX19" fmla="*/ 6000 w 10000"/>
                    <a:gd name="connsiteY19" fmla="*/ 8409 h 9985"/>
                    <a:gd name="connsiteX20" fmla="*/ 6056 w 10000"/>
                    <a:gd name="connsiteY20" fmla="*/ 8291 h 9985"/>
                    <a:gd name="connsiteX21" fmla="*/ 6111 w 10000"/>
                    <a:gd name="connsiteY21" fmla="*/ 8232 h 9985"/>
                    <a:gd name="connsiteX22" fmla="*/ 6056 w 10000"/>
                    <a:gd name="connsiteY22" fmla="*/ 8159 h 9985"/>
                    <a:gd name="connsiteX23" fmla="*/ 6056 w 10000"/>
                    <a:gd name="connsiteY23" fmla="*/ 8159 h 9985"/>
                    <a:gd name="connsiteX24" fmla="*/ 6000 w 10000"/>
                    <a:gd name="connsiteY24" fmla="*/ 8115 h 9985"/>
                    <a:gd name="connsiteX25" fmla="*/ 5944 w 10000"/>
                    <a:gd name="connsiteY25" fmla="*/ 8085 h 9985"/>
                    <a:gd name="connsiteX26" fmla="*/ 5833 w 10000"/>
                    <a:gd name="connsiteY26" fmla="*/ 8085 h 9985"/>
                    <a:gd name="connsiteX27" fmla="*/ 5667 w 10000"/>
                    <a:gd name="connsiteY27" fmla="*/ 8100 h 9985"/>
                    <a:gd name="connsiteX28" fmla="*/ 5333 w 10000"/>
                    <a:gd name="connsiteY28" fmla="*/ 8144 h 9985"/>
                    <a:gd name="connsiteX29" fmla="*/ 4889 w 10000"/>
                    <a:gd name="connsiteY29" fmla="*/ 8218 h 9985"/>
                    <a:gd name="connsiteX30" fmla="*/ 4889 w 10000"/>
                    <a:gd name="connsiteY30" fmla="*/ 8218 h 9985"/>
                    <a:gd name="connsiteX31" fmla="*/ 4611 w 10000"/>
                    <a:gd name="connsiteY31" fmla="*/ 8232 h 9985"/>
                    <a:gd name="connsiteX32" fmla="*/ 4500 w 10000"/>
                    <a:gd name="connsiteY32" fmla="*/ 8232 h 9985"/>
                    <a:gd name="connsiteX33" fmla="*/ 4444 w 10000"/>
                    <a:gd name="connsiteY33" fmla="*/ 8218 h 9985"/>
                    <a:gd name="connsiteX34" fmla="*/ 4389 w 10000"/>
                    <a:gd name="connsiteY34" fmla="*/ 8159 h 9985"/>
                    <a:gd name="connsiteX35" fmla="*/ 4222 w 10000"/>
                    <a:gd name="connsiteY35" fmla="*/ 8085 h 9985"/>
                    <a:gd name="connsiteX36" fmla="*/ 4222 w 10000"/>
                    <a:gd name="connsiteY36" fmla="*/ 8085 h 9985"/>
                    <a:gd name="connsiteX37" fmla="*/ 4111 w 10000"/>
                    <a:gd name="connsiteY37" fmla="*/ 8041 h 9985"/>
                    <a:gd name="connsiteX38" fmla="*/ 4111 w 10000"/>
                    <a:gd name="connsiteY38" fmla="*/ 7997 h 9985"/>
                    <a:gd name="connsiteX39" fmla="*/ 4111 w 10000"/>
                    <a:gd name="connsiteY39" fmla="*/ 7967 h 9985"/>
                    <a:gd name="connsiteX40" fmla="*/ 4167 w 10000"/>
                    <a:gd name="connsiteY40" fmla="*/ 7938 h 9985"/>
                    <a:gd name="connsiteX41" fmla="*/ 4278 w 10000"/>
                    <a:gd name="connsiteY41" fmla="*/ 7879 h 9985"/>
                    <a:gd name="connsiteX42" fmla="*/ 4389 w 10000"/>
                    <a:gd name="connsiteY42" fmla="*/ 7864 h 9985"/>
                    <a:gd name="connsiteX43" fmla="*/ 4389 w 10000"/>
                    <a:gd name="connsiteY43" fmla="*/ 7864 h 9985"/>
                    <a:gd name="connsiteX44" fmla="*/ 4389 w 10000"/>
                    <a:gd name="connsiteY44" fmla="*/ 7850 h 9985"/>
                    <a:gd name="connsiteX45" fmla="*/ 4444 w 10000"/>
                    <a:gd name="connsiteY45" fmla="*/ 7835 h 9985"/>
                    <a:gd name="connsiteX46" fmla="*/ 4667 w 10000"/>
                    <a:gd name="connsiteY46" fmla="*/ 7820 h 9985"/>
                    <a:gd name="connsiteX47" fmla="*/ 5333 w 10000"/>
                    <a:gd name="connsiteY47" fmla="*/ 7791 h 9985"/>
                    <a:gd name="connsiteX48" fmla="*/ 6500 w 10000"/>
                    <a:gd name="connsiteY48" fmla="*/ 7746 h 9985"/>
                    <a:gd name="connsiteX49" fmla="*/ 6500 w 10000"/>
                    <a:gd name="connsiteY49" fmla="*/ 7746 h 9985"/>
                    <a:gd name="connsiteX50" fmla="*/ 7167 w 10000"/>
                    <a:gd name="connsiteY50" fmla="*/ 7702 h 9985"/>
                    <a:gd name="connsiteX51" fmla="*/ 8389 w 10000"/>
                    <a:gd name="connsiteY51" fmla="*/ 7614 h 9985"/>
                    <a:gd name="connsiteX52" fmla="*/ 8389 w 10000"/>
                    <a:gd name="connsiteY52" fmla="*/ 7614 h 9985"/>
                    <a:gd name="connsiteX53" fmla="*/ 8667 w 10000"/>
                    <a:gd name="connsiteY53" fmla="*/ 7584 h 9985"/>
                    <a:gd name="connsiteX54" fmla="*/ 8778 w 10000"/>
                    <a:gd name="connsiteY54" fmla="*/ 7540 h 9985"/>
                    <a:gd name="connsiteX55" fmla="*/ 8889 w 10000"/>
                    <a:gd name="connsiteY55" fmla="*/ 7511 h 9985"/>
                    <a:gd name="connsiteX56" fmla="*/ 8833 w 10000"/>
                    <a:gd name="connsiteY56" fmla="*/ 7481 h 9985"/>
                    <a:gd name="connsiteX57" fmla="*/ 8833 w 10000"/>
                    <a:gd name="connsiteY57" fmla="*/ 7452 h 9985"/>
                    <a:gd name="connsiteX58" fmla="*/ 8722 w 10000"/>
                    <a:gd name="connsiteY58" fmla="*/ 7422 h 9985"/>
                    <a:gd name="connsiteX59" fmla="*/ 8556 w 10000"/>
                    <a:gd name="connsiteY59" fmla="*/ 7378 h 9985"/>
                    <a:gd name="connsiteX60" fmla="*/ 8556 w 10000"/>
                    <a:gd name="connsiteY60" fmla="*/ 7378 h 9985"/>
                    <a:gd name="connsiteX61" fmla="*/ 6556 w 10000"/>
                    <a:gd name="connsiteY61" fmla="*/ 7113 h 9985"/>
                    <a:gd name="connsiteX62" fmla="*/ 6556 w 10000"/>
                    <a:gd name="connsiteY62" fmla="*/ 7113 h 9985"/>
                    <a:gd name="connsiteX63" fmla="*/ 6333 w 10000"/>
                    <a:gd name="connsiteY63" fmla="*/ 7069 h 9985"/>
                    <a:gd name="connsiteX64" fmla="*/ 6167 w 10000"/>
                    <a:gd name="connsiteY64" fmla="*/ 7025 h 9985"/>
                    <a:gd name="connsiteX65" fmla="*/ 6056 w 10000"/>
                    <a:gd name="connsiteY65" fmla="*/ 6981 h 9985"/>
                    <a:gd name="connsiteX66" fmla="*/ 6056 w 10000"/>
                    <a:gd name="connsiteY66" fmla="*/ 6981 h 9985"/>
                    <a:gd name="connsiteX67" fmla="*/ 8056 w 10000"/>
                    <a:gd name="connsiteY67" fmla="*/ 6966 h 9985"/>
                    <a:gd name="connsiteX68" fmla="*/ 10000 w 10000"/>
                    <a:gd name="connsiteY68" fmla="*/ 7113 h 9985"/>
                    <a:gd name="connsiteX69" fmla="*/ 10000 w 10000"/>
                    <a:gd name="connsiteY69" fmla="*/ 5773 h 9985"/>
                    <a:gd name="connsiteX70" fmla="*/ 10000 w 10000"/>
                    <a:gd name="connsiteY70" fmla="*/ 5773 h 9985"/>
                    <a:gd name="connsiteX71" fmla="*/ 8000 w 10000"/>
                    <a:gd name="connsiteY71" fmla="*/ 73 h 9985"/>
                    <a:gd name="connsiteX72" fmla="*/ 8333 w 10000"/>
                    <a:gd name="connsiteY72" fmla="*/ 0 h 9985"/>
                    <a:gd name="connsiteX73" fmla="*/ 10000 w 10000"/>
                    <a:gd name="connsiteY73" fmla="*/ 0 h 9985"/>
                    <a:gd name="connsiteX74" fmla="*/ 10000 w 10000"/>
                    <a:gd name="connsiteY74" fmla="*/ 8998 h 9985"/>
                    <a:gd name="connsiteX75" fmla="*/ 10000 w 10000"/>
                    <a:gd name="connsiteY75" fmla="*/ 8998 h 9985"/>
                    <a:gd name="connsiteX76" fmla="*/ 9722 w 10000"/>
                    <a:gd name="connsiteY76" fmla="*/ 8984 h 9985"/>
                    <a:gd name="connsiteX77" fmla="*/ 9389 w 10000"/>
                    <a:gd name="connsiteY77" fmla="*/ 8998 h 9985"/>
                    <a:gd name="connsiteX78" fmla="*/ 9389 w 10000"/>
                    <a:gd name="connsiteY78" fmla="*/ 8998 h 9985"/>
                    <a:gd name="connsiteX79" fmla="*/ 9278 w 10000"/>
                    <a:gd name="connsiteY79" fmla="*/ 9013 h 9985"/>
                    <a:gd name="connsiteX80" fmla="*/ 9056 w 10000"/>
                    <a:gd name="connsiteY80" fmla="*/ 8998 h 9985"/>
                    <a:gd name="connsiteX81" fmla="*/ 8889 w 10000"/>
                    <a:gd name="connsiteY81" fmla="*/ 8984 h 9985"/>
                    <a:gd name="connsiteX82" fmla="*/ 8722 w 10000"/>
                    <a:gd name="connsiteY82" fmla="*/ 8954 h 9985"/>
                    <a:gd name="connsiteX83" fmla="*/ 8611 w 10000"/>
                    <a:gd name="connsiteY83" fmla="*/ 8910 h 9985"/>
                    <a:gd name="connsiteX84" fmla="*/ 8444 w 10000"/>
                    <a:gd name="connsiteY84" fmla="*/ 8836 h 9985"/>
                    <a:gd name="connsiteX85" fmla="*/ 8444 w 10000"/>
                    <a:gd name="connsiteY85" fmla="*/ 8836 h 9985"/>
                    <a:gd name="connsiteX86" fmla="*/ 8222 w 10000"/>
                    <a:gd name="connsiteY86" fmla="*/ 8704 h 9985"/>
                    <a:gd name="connsiteX87" fmla="*/ 8111 w 10000"/>
                    <a:gd name="connsiteY87" fmla="*/ 8645 h 9985"/>
                    <a:gd name="connsiteX88" fmla="*/ 7944 w 10000"/>
                    <a:gd name="connsiteY88" fmla="*/ 8601 h 9985"/>
                    <a:gd name="connsiteX89" fmla="*/ 7778 w 10000"/>
                    <a:gd name="connsiteY89" fmla="*/ 8571 h 9985"/>
                    <a:gd name="connsiteX90" fmla="*/ 7556 w 10000"/>
                    <a:gd name="connsiteY90" fmla="*/ 8556 h 9985"/>
                    <a:gd name="connsiteX91" fmla="*/ 7333 w 10000"/>
                    <a:gd name="connsiteY91" fmla="*/ 8542 h 9985"/>
                    <a:gd name="connsiteX92" fmla="*/ 7000 w 10000"/>
                    <a:gd name="connsiteY92" fmla="*/ 8527 h 9985"/>
                    <a:gd name="connsiteX93" fmla="*/ 7000 w 10000"/>
                    <a:gd name="connsiteY93" fmla="*/ 8527 h 9985"/>
                    <a:gd name="connsiteX94" fmla="*/ 6556 w 10000"/>
                    <a:gd name="connsiteY94" fmla="*/ 8542 h 9985"/>
                    <a:gd name="connsiteX95" fmla="*/ 6222 w 10000"/>
                    <a:gd name="connsiteY95" fmla="*/ 8542 h 9985"/>
                    <a:gd name="connsiteX96" fmla="*/ 6111 w 10000"/>
                    <a:gd name="connsiteY96" fmla="*/ 8527 h 9985"/>
                    <a:gd name="connsiteX97" fmla="*/ 6056 w 10000"/>
                    <a:gd name="connsiteY97" fmla="*/ 8512 h 9985"/>
                    <a:gd name="connsiteX98" fmla="*/ 6056 w 10000"/>
                    <a:gd name="connsiteY98" fmla="*/ 8512 h 9985"/>
                    <a:gd name="connsiteX99" fmla="*/ 6056 w 10000"/>
                    <a:gd name="connsiteY99" fmla="*/ 8247 h 9985"/>
                    <a:gd name="connsiteX100" fmla="*/ 6056 w 10000"/>
                    <a:gd name="connsiteY100" fmla="*/ 8247 h 9985"/>
                    <a:gd name="connsiteX101" fmla="*/ 6056 w 10000"/>
                    <a:gd name="connsiteY101" fmla="*/ 8188 h 9985"/>
                    <a:gd name="connsiteX102" fmla="*/ 5944 w 10000"/>
                    <a:gd name="connsiteY102" fmla="*/ 8115 h 9985"/>
                    <a:gd name="connsiteX103" fmla="*/ 5889 w 10000"/>
                    <a:gd name="connsiteY103" fmla="*/ 8100 h 9985"/>
                    <a:gd name="connsiteX104" fmla="*/ 5778 w 10000"/>
                    <a:gd name="connsiteY104" fmla="*/ 8085 h 9985"/>
                    <a:gd name="connsiteX105" fmla="*/ 5667 w 10000"/>
                    <a:gd name="connsiteY105" fmla="*/ 8085 h 9985"/>
                    <a:gd name="connsiteX106" fmla="*/ 5500 w 10000"/>
                    <a:gd name="connsiteY106" fmla="*/ 8100 h 9985"/>
                    <a:gd name="connsiteX107" fmla="*/ 5500 w 10000"/>
                    <a:gd name="connsiteY107" fmla="*/ 8100 h 9985"/>
                    <a:gd name="connsiteX108" fmla="*/ 4889 w 10000"/>
                    <a:gd name="connsiteY108" fmla="*/ 8203 h 9985"/>
                    <a:gd name="connsiteX109" fmla="*/ 4611 w 10000"/>
                    <a:gd name="connsiteY109" fmla="*/ 8232 h 9985"/>
                    <a:gd name="connsiteX110" fmla="*/ 4556 w 10000"/>
                    <a:gd name="connsiteY110" fmla="*/ 8247 h 9985"/>
                    <a:gd name="connsiteX111" fmla="*/ 4500 w 10000"/>
                    <a:gd name="connsiteY111" fmla="*/ 8232 h 9985"/>
                    <a:gd name="connsiteX112" fmla="*/ 4500 w 10000"/>
                    <a:gd name="connsiteY112" fmla="*/ 8232 h 9985"/>
                    <a:gd name="connsiteX113" fmla="*/ 4222 w 10000"/>
                    <a:gd name="connsiteY113" fmla="*/ 8085 h 9985"/>
                    <a:gd name="connsiteX114" fmla="*/ 4222 w 10000"/>
                    <a:gd name="connsiteY114" fmla="*/ 8085 h 9985"/>
                    <a:gd name="connsiteX115" fmla="*/ 4111 w 10000"/>
                    <a:gd name="connsiteY115" fmla="*/ 8012 h 9985"/>
                    <a:gd name="connsiteX116" fmla="*/ 4111 w 10000"/>
                    <a:gd name="connsiteY116" fmla="*/ 7967 h 9985"/>
                    <a:gd name="connsiteX117" fmla="*/ 4111 w 10000"/>
                    <a:gd name="connsiteY117" fmla="*/ 7923 h 9985"/>
                    <a:gd name="connsiteX118" fmla="*/ 4111 w 10000"/>
                    <a:gd name="connsiteY118" fmla="*/ 7923 h 9985"/>
                    <a:gd name="connsiteX119" fmla="*/ 4278 w 10000"/>
                    <a:gd name="connsiteY119" fmla="*/ 7879 h 9985"/>
                    <a:gd name="connsiteX120" fmla="*/ 4389 w 10000"/>
                    <a:gd name="connsiteY120" fmla="*/ 7864 h 9985"/>
                    <a:gd name="connsiteX121" fmla="*/ 4389 w 10000"/>
                    <a:gd name="connsiteY121" fmla="*/ 7864 h 9985"/>
                    <a:gd name="connsiteX122" fmla="*/ 4000 w 10000"/>
                    <a:gd name="connsiteY122" fmla="*/ 7864 h 9985"/>
                    <a:gd name="connsiteX123" fmla="*/ 3722 w 10000"/>
                    <a:gd name="connsiteY123" fmla="*/ 7879 h 9985"/>
                    <a:gd name="connsiteX124" fmla="*/ 3611 w 10000"/>
                    <a:gd name="connsiteY124" fmla="*/ 7894 h 9985"/>
                    <a:gd name="connsiteX125" fmla="*/ 3556 w 10000"/>
                    <a:gd name="connsiteY125" fmla="*/ 7908 h 9985"/>
                    <a:gd name="connsiteX126" fmla="*/ 3556 w 10000"/>
                    <a:gd name="connsiteY126" fmla="*/ 7908 h 9985"/>
                    <a:gd name="connsiteX127" fmla="*/ 3444 w 10000"/>
                    <a:gd name="connsiteY127" fmla="*/ 7967 h 9985"/>
                    <a:gd name="connsiteX128" fmla="*/ 3278 w 10000"/>
                    <a:gd name="connsiteY128" fmla="*/ 8056 h 9985"/>
                    <a:gd name="connsiteX129" fmla="*/ 3000 w 10000"/>
                    <a:gd name="connsiteY129" fmla="*/ 8159 h 9985"/>
                    <a:gd name="connsiteX130" fmla="*/ 2667 w 10000"/>
                    <a:gd name="connsiteY130" fmla="*/ 8232 h 9985"/>
                    <a:gd name="connsiteX131" fmla="*/ 2667 w 10000"/>
                    <a:gd name="connsiteY131" fmla="*/ 8232 h 9985"/>
                    <a:gd name="connsiteX132" fmla="*/ 2333 w 10000"/>
                    <a:gd name="connsiteY132" fmla="*/ 8291 h 9985"/>
                    <a:gd name="connsiteX133" fmla="*/ 1833 w 10000"/>
                    <a:gd name="connsiteY133" fmla="*/ 8350 h 9985"/>
                    <a:gd name="connsiteX134" fmla="*/ 1389 w 10000"/>
                    <a:gd name="connsiteY134" fmla="*/ 8380 h 9985"/>
                    <a:gd name="connsiteX135" fmla="*/ 889 w 10000"/>
                    <a:gd name="connsiteY135" fmla="*/ 8394 h 9985"/>
                    <a:gd name="connsiteX136" fmla="*/ 889 w 10000"/>
                    <a:gd name="connsiteY136" fmla="*/ 8394 h 9985"/>
                    <a:gd name="connsiteX137" fmla="*/ 500 w 10000"/>
                    <a:gd name="connsiteY137" fmla="*/ 8409 h 9985"/>
                    <a:gd name="connsiteX138" fmla="*/ 222 w 10000"/>
                    <a:gd name="connsiteY138" fmla="*/ 8424 h 9985"/>
                    <a:gd name="connsiteX139" fmla="*/ 0 w 10000"/>
                    <a:gd name="connsiteY139" fmla="*/ 8439 h 9985"/>
                    <a:gd name="connsiteX140" fmla="*/ 0 w 10000"/>
                    <a:gd name="connsiteY140" fmla="*/ 8439 h 9985"/>
                    <a:gd name="connsiteX141" fmla="*/ 278 w 10000"/>
                    <a:gd name="connsiteY141" fmla="*/ 8674 h 9985"/>
                    <a:gd name="connsiteX142" fmla="*/ 500 w 10000"/>
                    <a:gd name="connsiteY142" fmla="*/ 8851 h 9985"/>
                    <a:gd name="connsiteX143" fmla="*/ 722 w 10000"/>
                    <a:gd name="connsiteY143" fmla="*/ 8998 h 9985"/>
                    <a:gd name="connsiteX144" fmla="*/ 722 w 10000"/>
                    <a:gd name="connsiteY144" fmla="*/ 8998 h 9985"/>
                    <a:gd name="connsiteX145" fmla="*/ 889 w 10000"/>
                    <a:gd name="connsiteY145" fmla="*/ 9087 h 9985"/>
                    <a:gd name="connsiteX146" fmla="*/ 944 w 10000"/>
                    <a:gd name="connsiteY146" fmla="*/ 9160 h 9985"/>
                    <a:gd name="connsiteX147" fmla="*/ 1111 w 10000"/>
                    <a:gd name="connsiteY147" fmla="*/ 9234 h 9985"/>
                    <a:gd name="connsiteX148" fmla="*/ 1333 w 10000"/>
                    <a:gd name="connsiteY148" fmla="*/ 9352 h 9985"/>
                    <a:gd name="connsiteX149" fmla="*/ 1333 w 10000"/>
                    <a:gd name="connsiteY149" fmla="*/ 9352 h 9985"/>
                    <a:gd name="connsiteX150" fmla="*/ 1444 w 10000"/>
                    <a:gd name="connsiteY150" fmla="*/ 9411 h 9985"/>
                    <a:gd name="connsiteX151" fmla="*/ 1500 w 10000"/>
                    <a:gd name="connsiteY151" fmla="*/ 9455 h 9985"/>
                    <a:gd name="connsiteX152" fmla="*/ 1500 w 10000"/>
                    <a:gd name="connsiteY152" fmla="*/ 9499 h 9985"/>
                    <a:gd name="connsiteX153" fmla="*/ 1556 w 10000"/>
                    <a:gd name="connsiteY153" fmla="*/ 9514 h 9985"/>
                    <a:gd name="connsiteX154" fmla="*/ 1722 w 10000"/>
                    <a:gd name="connsiteY154" fmla="*/ 9528 h 9985"/>
                    <a:gd name="connsiteX155" fmla="*/ 1944 w 10000"/>
                    <a:gd name="connsiteY155" fmla="*/ 9543 h 9985"/>
                    <a:gd name="connsiteX156" fmla="*/ 2944 w 10000"/>
                    <a:gd name="connsiteY156" fmla="*/ 9558 h 9985"/>
                    <a:gd name="connsiteX157" fmla="*/ 2944 w 10000"/>
                    <a:gd name="connsiteY157" fmla="*/ 9558 h 9985"/>
                    <a:gd name="connsiteX158" fmla="*/ 4167 w 10000"/>
                    <a:gd name="connsiteY158" fmla="*/ 9587 h 9985"/>
                    <a:gd name="connsiteX159" fmla="*/ 4889 w 10000"/>
                    <a:gd name="connsiteY159" fmla="*/ 9632 h 9985"/>
                    <a:gd name="connsiteX160" fmla="*/ 5278 w 10000"/>
                    <a:gd name="connsiteY160" fmla="*/ 9676 h 9985"/>
                    <a:gd name="connsiteX161" fmla="*/ 5444 w 10000"/>
                    <a:gd name="connsiteY161" fmla="*/ 9690 h 9985"/>
                    <a:gd name="connsiteX162" fmla="*/ 5444 w 10000"/>
                    <a:gd name="connsiteY162" fmla="*/ 9690 h 9985"/>
                    <a:gd name="connsiteX163" fmla="*/ 5722 w 10000"/>
                    <a:gd name="connsiteY163" fmla="*/ 9720 h 9985"/>
                    <a:gd name="connsiteX164" fmla="*/ 5833 w 10000"/>
                    <a:gd name="connsiteY164" fmla="*/ 9735 h 9985"/>
                    <a:gd name="connsiteX165" fmla="*/ 5833 w 10000"/>
                    <a:gd name="connsiteY165" fmla="*/ 9735 h 9985"/>
                    <a:gd name="connsiteX166" fmla="*/ 5833 w 10000"/>
                    <a:gd name="connsiteY166" fmla="*/ 9720 h 9985"/>
                    <a:gd name="connsiteX167" fmla="*/ 5889 w 10000"/>
                    <a:gd name="connsiteY167" fmla="*/ 9705 h 9985"/>
                    <a:gd name="connsiteX168" fmla="*/ 6000 w 10000"/>
                    <a:gd name="connsiteY168" fmla="*/ 9690 h 9985"/>
                    <a:gd name="connsiteX169" fmla="*/ 6167 w 10000"/>
                    <a:gd name="connsiteY169" fmla="*/ 9676 h 9985"/>
                    <a:gd name="connsiteX170" fmla="*/ 6444 w 10000"/>
                    <a:gd name="connsiteY170" fmla="*/ 9676 h 9985"/>
                    <a:gd name="connsiteX171" fmla="*/ 6833 w 10000"/>
                    <a:gd name="connsiteY171" fmla="*/ 9690 h 9985"/>
                    <a:gd name="connsiteX172" fmla="*/ 7278 w 10000"/>
                    <a:gd name="connsiteY172" fmla="*/ 9735 h 9985"/>
                    <a:gd name="connsiteX173" fmla="*/ 7278 w 10000"/>
                    <a:gd name="connsiteY173" fmla="*/ 9735 h 9985"/>
                    <a:gd name="connsiteX174" fmla="*/ 8722 w 10000"/>
                    <a:gd name="connsiteY174" fmla="*/ 9867 h 9985"/>
                    <a:gd name="connsiteX175" fmla="*/ 10000 w 10000"/>
                    <a:gd name="connsiteY175" fmla="*/ 9985 h 9985"/>
                    <a:gd name="connsiteX0" fmla="*/ 10000 w 10000"/>
                    <a:gd name="connsiteY0" fmla="*/ 8997 h 10000"/>
                    <a:gd name="connsiteX1" fmla="*/ 10000 w 10000"/>
                    <a:gd name="connsiteY1" fmla="*/ 8997 h 10000"/>
                    <a:gd name="connsiteX2" fmla="*/ 9222 w 10000"/>
                    <a:gd name="connsiteY2" fmla="*/ 9012 h 10000"/>
                    <a:gd name="connsiteX3" fmla="*/ 8944 w 10000"/>
                    <a:gd name="connsiteY3" fmla="*/ 9012 h 10000"/>
                    <a:gd name="connsiteX4" fmla="*/ 8833 w 10000"/>
                    <a:gd name="connsiteY4" fmla="*/ 8997 h 10000"/>
                    <a:gd name="connsiteX5" fmla="*/ 8778 w 10000"/>
                    <a:gd name="connsiteY5" fmla="*/ 8982 h 10000"/>
                    <a:gd name="connsiteX6" fmla="*/ 8778 w 10000"/>
                    <a:gd name="connsiteY6" fmla="*/ 8982 h 10000"/>
                    <a:gd name="connsiteX7" fmla="*/ 8444 w 10000"/>
                    <a:gd name="connsiteY7" fmla="*/ 8805 h 10000"/>
                    <a:gd name="connsiteX8" fmla="*/ 8167 w 10000"/>
                    <a:gd name="connsiteY8" fmla="*/ 8643 h 10000"/>
                    <a:gd name="connsiteX9" fmla="*/ 8167 w 10000"/>
                    <a:gd name="connsiteY9" fmla="*/ 8643 h 10000"/>
                    <a:gd name="connsiteX10" fmla="*/ 8056 w 10000"/>
                    <a:gd name="connsiteY10" fmla="*/ 8614 h 10000"/>
                    <a:gd name="connsiteX11" fmla="*/ 7889 w 10000"/>
                    <a:gd name="connsiteY11" fmla="*/ 8584 h 10000"/>
                    <a:gd name="connsiteX12" fmla="*/ 7444 w 10000"/>
                    <a:gd name="connsiteY12" fmla="*/ 8569 h 10000"/>
                    <a:gd name="connsiteX13" fmla="*/ 6889 w 10000"/>
                    <a:gd name="connsiteY13" fmla="*/ 8555 h 10000"/>
                    <a:gd name="connsiteX14" fmla="*/ 6389 w 10000"/>
                    <a:gd name="connsiteY14" fmla="*/ 8555 h 10000"/>
                    <a:gd name="connsiteX15" fmla="*/ 6389 w 10000"/>
                    <a:gd name="connsiteY15" fmla="*/ 8555 h 10000"/>
                    <a:gd name="connsiteX16" fmla="*/ 6167 w 10000"/>
                    <a:gd name="connsiteY16" fmla="*/ 8540 h 10000"/>
                    <a:gd name="connsiteX17" fmla="*/ 6056 w 10000"/>
                    <a:gd name="connsiteY17" fmla="*/ 8511 h 10000"/>
                    <a:gd name="connsiteX18" fmla="*/ 6000 w 10000"/>
                    <a:gd name="connsiteY18" fmla="*/ 8481 h 10000"/>
                    <a:gd name="connsiteX19" fmla="*/ 6000 w 10000"/>
                    <a:gd name="connsiteY19" fmla="*/ 8422 h 10000"/>
                    <a:gd name="connsiteX20" fmla="*/ 6056 w 10000"/>
                    <a:gd name="connsiteY20" fmla="*/ 8303 h 10000"/>
                    <a:gd name="connsiteX21" fmla="*/ 6111 w 10000"/>
                    <a:gd name="connsiteY21" fmla="*/ 8244 h 10000"/>
                    <a:gd name="connsiteX22" fmla="*/ 6056 w 10000"/>
                    <a:gd name="connsiteY22" fmla="*/ 8171 h 10000"/>
                    <a:gd name="connsiteX23" fmla="*/ 6056 w 10000"/>
                    <a:gd name="connsiteY23" fmla="*/ 8171 h 10000"/>
                    <a:gd name="connsiteX24" fmla="*/ 6000 w 10000"/>
                    <a:gd name="connsiteY24" fmla="*/ 8127 h 10000"/>
                    <a:gd name="connsiteX25" fmla="*/ 5944 w 10000"/>
                    <a:gd name="connsiteY25" fmla="*/ 8097 h 10000"/>
                    <a:gd name="connsiteX26" fmla="*/ 5833 w 10000"/>
                    <a:gd name="connsiteY26" fmla="*/ 8097 h 10000"/>
                    <a:gd name="connsiteX27" fmla="*/ 5667 w 10000"/>
                    <a:gd name="connsiteY27" fmla="*/ 8112 h 10000"/>
                    <a:gd name="connsiteX28" fmla="*/ 5333 w 10000"/>
                    <a:gd name="connsiteY28" fmla="*/ 8156 h 10000"/>
                    <a:gd name="connsiteX29" fmla="*/ 4889 w 10000"/>
                    <a:gd name="connsiteY29" fmla="*/ 8230 h 10000"/>
                    <a:gd name="connsiteX30" fmla="*/ 4889 w 10000"/>
                    <a:gd name="connsiteY30" fmla="*/ 8230 h 10000"/>
                    <a:gd name="connsiteX31" fmla="*/ 4611 w 10000"/>
                    <a:gd name="connsiteY31" fmla="*/ 8244 h 10000"/>
                    <a:gd name="connsiteX32" fmla="*/ 4500 w 10000"/>
                    <a:gd name="connsiteY32" fmla="*/ 8244 h 10000"/>
                    <a:gd name="connsiteX33" fmla="*/ 4444 w 10000"/>
                    <a:gd name="connsiteY33" fmla="*/ 8230 h 10000"/>
                    <a:gd name="connsiteX34" fmla="*/ 4389 w 10000"/>
                    <a:gd name="connsiteY34" fmla="*/ 8171 h 10000"/>
                    <a:gd name="connsiteX35" fmla="*/ 4222 w 10000"/>
                    <a:gd name="connsiteY35" fmla="*/ 8097 h 10000"/>
                    <a:gd name="connsiteX36" fmla="*/ 4222 w 10000"/>
                    <a:gd name="connsiteY36" fmla="*/ 8097 h 10000"/>
                    <a:gd name="connsiteX37" fmla="*/ 4111 w 10000"/>
                    <a:gd name="connsiteY37" fmla="*/ 8053 h 10000"/>
                    <a:gd name="connsiteX38" fmla="*/ 4111 w 10000"/>
                    <a:gd name="connsiteY38" fmla="*/ 8009 h 10000"/>
                    <a:gd name="connsiteX39" fmla="*/ 4111 w 10000"/>
                    <a:gd name="connsiteY39" fmla="*/ 7979 h 10000"/>
                    <a:gd name="connsiteX40" fmla="*/ 4167 w 10000"/>
                    <a:gd name="connsiteY40" fmla="*/ 7950 h 10000"/>
                    <a:gd name="connsiteX41" fmla="*/ 4278 w 10000"/>
                    <a:gd name="connsiteY41" fmla="*/ 7891 h 10000"/>
                    <a:gd name="connsiteX42" fmla="*/ 4389 w 10000"/>
                    <a:gd name="connsiteY42" fmla="*/ 7876 h 10000"/>
                    <a:gd name="connsiteX43" fmla="*/ 4389 w 10000"/>
                    <a:gd name="connsiteY43" fmla="*/ 7876 h 10000"/>
                    <a:gd name="connsiteX44" fmla="*/ 4389 w 10000"/>
                    <a:gd name="connsiteY44" fmla="*/ 7862 h 10000"/>
                    <a:gd name="connsiteX45" fmla="*/ 4444 w 10000"/>
                    <a:gd name="connsiteY45" fmla="*/ 7847 h 10000"/>
                    <a:gd name="connsiteX46" fmla="*/ 4667 w 10000"/>
                    <a:gd name="connsiteY46" fmla="*/ 7832 h 10000"/>
                    <a:gd name="connsiteX47" fmla="*/ 5333 w 10000"/>
                    <a:gd name="connsiteY47" fmla="*/ 7803 h 10000"/>
                    <a:gd name="connsiteX48" fmla="*/ 6500 w 10000"/>
                    <a:gd name="connsiteY48" fmla="*/ 7758 h 10000"/>
                    <a:gd name="connsiteX49" fmla="*/ 6500 w 10000"/>
                    <a:gd name="connsiteY49" fmla="*/ 7758 h 10000"/>
                    <a:gd name="connsiteX50" fmla="*/ 7167 w 10000"/>
                    <a:gd name="connsiteY50" fmla="*/ 7714 h 10000"/>
                    <a:gd name="connsiteX51" fmla="*/ 8389 w 10000"/>
                    <a:gd name="connsiteY51" fmla="*/ 7625 h 10000"/>
                    <a:gd name="connsiteX52" fmla="*/ 8389 w 10000"/>
                    <a:gd name="connsiteY52" fmla="*/ 7625 h 10000"/>
                    <a:gd name="connsiteX53" fmla="*/ 8667 w 10000"/>
                    <a:gd name="connsiteY53" fmla="*/ 7595 h 10000"/>
                    <a:gd name="connsiteX54" fmla="*/ 8778 w 10000"/>
                    <a:gd name="connsiteY54" fmla="*/ 7551 h 10000"/>
                    <a:gd name="connsiteX55" fmla="*/ 8889 w 10000"/>
                    <a:gd name="connsiteY55" fmla="*/ 7522 h 10000"/>
                    <a:gd name="connsiteX56" fmla="*/ 8833 w 10000"/>
                    <a:gd name="connsiteY56" fmla="*/ 7492 h 10000"/>
                    <a:gd name="connsiteX57" fmla="*/ 8833 w 10000"/>
                    <a:gd name="connsiteY57" fmla="*/ 7463 h 10000"/>
                    <a:gd name="connsiteX58" fmla="*/ 8722 w 10000"/>
                    <a:gd name="connsiteY58" fmla="*/ 7433 h 10000"/>
                    <a:gd name="connsiteX59" fmla="*/ 8556 w 10000"/>
                    <a:gd name="connsiteY59" fmla="*/ 7389 h 10000"/>
                    <a:gd name="connsiteX60" fmla="*/ 8556 w 10000"/>
                    <a:gd name="connsiteY60" fmla="*/ 7389 h 10000"/>
                    <a:gd name="connsiteX61" fmla="*/ 6556 w 10000"/>
                    <a:gd name="connsiteY61" fmla="*/ 7124 h 10000"/>
                    <a:gd name="connsiteX62" fmla="*/ 6556 w 10000"/>
                    <a:gd name="connsiteY62" fmla="*/ 7124 h 10000"/>
                    <a:gd name="connsiteX63" fmla="*/ 6333 w 10000"/>
                    <a:gd name="connsiteY63" fmla="*/ 7080 h 10000"/>
                    <a:gd name="connsiteX64" fmla="*/ 6167 w 10000"/>
                    <a:gd name="connsiteY64" fmla="*/ 7036 h 10000"/>
                    <a:gd name="connsiteX65" fmla="*/ 6056 w 10000"/>
                    <a:gd name="connsiteY65" fmla="*/ 6991 h 10000"/>
                    <a:gd name="connsiteX66" fmla="*/ 6056 w 10000"/>
                    <a:gd name="connsiteY66" fmla="*/ 6991 h 10000"/>
                    <a:gd name="connsiteX67" fmla="*/ 8056 w 10000"/>
                    <a:gd name="connsiteY67" fmla="*/ 6976 h 10000"/>
                    <a:gd name="connsiteX68" fmla="*/ 10000 w 10000"/>
                    <a:gd name="connsiteY68" fmla="*/ 7124 h 10000"/>
                    <a:gd name="connsiteX69" fmla="*/ 10000 w 10000"/>
                    <a:gd name="connsiteY69" fmla="*/ 5782 h 10000"/>
                    <a:gd name="connsiteX70" fmla="*/ 10000 w 10000"/>
                    <a:gd name="connsiteY70" fmla="*/ 5782 h 10000"/>
                    <a:gd name="connsiteX71" fmla="*/ 8000 w 10000"/>
                    <a:gd name="connsiteY71" fmla="*/ 73 h 10000"/>
                    <a:gd name="connsiteX72" fmla="*/ 8333 w 10000"/>
                    <a:gd name="connsiteY72" fmla="*/ 0 h 10000"/>
                    <a:gd name="connsiteX73" fmla="*/ 10000 w 10000"/>
                    <a:gd name="connsiteY73" fmla="*/ 9012 h 10000"/>
                    <a:gd name="connsiteX74" fmla="*/ 10000 w 10000"/>
                    <a:gd name="connsiteY74" fmla="*/ 9012 h 10000"/>
                    <a:gd name="connsiteX75" fmla="*/ 9722 w 10000"/>
                    <a:gd name="connsiteY75" fmla="*/ 8997 h 10000"/>
                    <a:gd name="connsiteX76" fmla="*/ 9389 w 10000"/>
                    <a:gd name="connsiteY76" fmla="*/ 9012 h 10000"/>
                    <a:gd name="connsiteX77" fmla="*/ 9389 w 10000"/>
                    <a:gd name="connsiteY77" fmla="*/ 9012 h 10000"/>
                    <a:gd name="connsiteX78" fmla="*/ 9278 w 10000"/>
                    <a:gd name="connsiteY78" fmla="*/ 9027 h 10000"/>
                    <a:gd name="connsiteX79" fmla="*/ 9056 w 10000"/>
                    <a:gd name="connsiteY79" fmla="*/ 9012 h 10000"/>
                    <a:gd name="connsiteX80" fmla="*/ 8889 w 10000"/>
                    <a:gd name="connsiteY80" fmla="*/ 8997 h 10000"/>
                    <a:gd name="connsiteX81" fmla="*/ 8722 w 10000"/>
                    <a:gd name="connsiteY81" fmla="*/ 8967 h 10000"/>
                    <a:gd name="connsiteX82" fmla="*/ 8611 w 10000"/>
                    <a:gd name="connsiteY82" fmla="*/ 8923 h 10000"/>
                    <a:gd name="connsiteX83" fmla="*/ 8444 w 10000"/>
                    <a:gd name="connsiteY83" fmla="*/ 8849 h 10000"/>
                    <a:gd name="connsiteX84" fmla="*/ 8444 w 10000"/>
                    <a:gd name="connsiteY84" fmla="*/ 8849 h 10000"/>
                    <a:gd name="connsiteX85" fmla="*/ 8222 w 10000"/>
                    <a:gd name="connsiteY85" fmla="*/ 8717 h 10000"/>
                    <a:gd name="connsiteX86" fmla="*/ 8111 w 10000"/>
                    <a:gd name="connsiteY86" fmla="*/ 8658 h 10000"/>
                    <a:gd name="connsiteX87" fmla="*/ 7944 w 10000"/>
                    <a:gd name="connsiteY87" fmla="*/ 8614 h 10000"/>
                    <a:gd name="connsiteX88" fmla="*/ 7778 w 10000"/>
                    <a:gd name="connsiteY88" fmla="*/ 8584 h 10000"/>
                    <a:gd name="connsiteX89" fmla="*/ 7556 w 10000"/>
                    <a:gd name="connsiteY89" fmla="*/ 8569 h 10000"/>
                    <a:gd name="connsiteX90" fmla="*/ 7333 w 10000"/>
                    <a:gd name="connsiteY90" fmla="*/ 8555 h 10000"/>
                    <a:gd name="connsiteX91" fmla="*/ 7000 w 10000"/>
                    <a:gd name="connsiteY91" fmla="*/ 8540 h 10000"/>
                    <a:gd name="connsiteX92" fmla="*/ 7000 w 10000"/>
                    <a:gd name="connsiteY92" fmla="*/ 8540 h 10000"/>
                    <a:gd name="connsiteX93" fmla="*/ 6556 w 10000"/>
                    <a:gd name="connsiteY93" fmla="*/ 8555 h 10000"/>
                    <a:gd name="connsiteX94" fmla="*/ 6222 w 10000"/>
                    <a:gd name="connsiteY94" fmla="*/ 8555 h 10000"/>
                    <a:gd name="connsiteX95" fmla="*/ 6111 w 10000"/>
                    <a:gd name="connsiteY95" fmla="*/ 8540 h 10000"/>
                    <a:gd name="connsiteX96" fmla="*/ 6056 w 10000"/>
                    <a:gd name="connsiteY96" fmla="*/ 8525 h 10000"/>
                    <a:gd name="connsiteX97" fmla="*/ 6056 w 10000"/>
                    <a:gd name="connsiteY97" fmla="*/ 8525 h 10000"/>
                    <a:gd name="connsiteX98" fmla="*/ 6056 w 10000"/>
                    <a:gd name="connsiteY98" fmla="*/ 8259 h 10000"/>
                    <a:gd name="connsiteX99" fmla="*/ 6056 w 10000"/>
                    <a:gd name="connsiteY99" fmla="*/ 8259 h 10000"/>
                    <a:gd name="connsiteX100" fmla="*/ 6056 w 10000"/>
                    <a:gd name="connsiteY100" fmla="*/ 8200 h 10000"/>
                    <a:gd name="connsiteX101" fmla="*/ 5944 w 10000"/>
                    <a:gd name="connsiteY101" fmla="*/ 8127 h 10000"/>
                    <a:gd name="connsiteX102" fmla="*/ 5889 w 10000"/>
                    <a:gd name="connsiteY102" fmla="*/ 8112 h 10000"/>
                    <a:gd name="connsiteX103" fmla="*/ 5778 w 10000"/>
                    <a:gd name="connsiteY103" fmla="*/ 8097 h 10000"/>
                    <a:gd name="connsiteX104" fmla="*/ 5667 w 10000"/>
                    <a:gd name="connsiteY104" fmla="*/ 8097 h 10000"/>
                    <a:gd name="connsiteX105" fmla="*/ 5500 w 10000"/>
                    <a:gd name="connsiteY105" fmla="*/ 8112 h 10000"/>
                    <a:gd name="connsiteX106" fmla="*/ 5500 w 10000"/>
                    <a:gd name="connsiteY106" fmla="*/ 8112 h 10000"/>
                    <a:gd name="connsiteX107" fmla="*/ 4889 w 10000"/>
                    <a:gd name="connsiteY107" fmla="*/ 8215 h 10000"/>
                    <a:gd name="connsiteX108" fmla="*/ 4611 w 10000"/>
                    <a:gd name="connsiteY108" fmla="*/ 8244 h 10000"/>
                    <a:gd name="connsiteX109" fmla="*/ 4556 w 10000"/>
                    <a:gd name="connsiteY109" fmla="*/ 8259 h 10000"/>
                    <a:gd name="connsiteX110" fmla="*/ 4500 w 10000"/>
                    <a:gd name="connsiteY110" fmla="*/ 8244 h 10000"/>
                    <a:gd name="connsiteX111" fmla="*/ 4500 w 10000"/>
                    <a:gd name="connsiteY111" fmla="*/ 8244 h 10000"/>
                    <a:gd name="connsiteX112" fmla="*/ 4222 w 10000"/>
                    <a:gd name="connsiteY112" fmla="*/ 8097 h 10000"/>
                    <a:gd name="connsiteX113" fmla="*/ 4222 w 10000"/>
                    <a:gd name="connsiteY113" fmla="*/ 8097 h 10000"/>
                    <a:gd name="connsiteX114" fmla="*/ 4111 w 10000"/>
                    <a:gd name="connsiteY114" fmla="*/ 8024 h 10000"/>
                    <a:gd name="connsiteX115" fmla="*/ 4111 w 10000"/>
                    <a:gd name="connsiteY115" fmla="*/ 7979 h 10000"/>
                    <a:gd name="connsiteX116" fmla="*/ 4111 w 10000"/>
                    <a:gd name="connsiteY116" fmla="*/ 7935 h 10000"/>
                    <a:gd name="connsiteX117" fmla="*/ 4111 w 10000"/>
                    <a:gd name="connsiteY117" fmla="*/ 7935 h 10000"/>
                    <a:gd name="connsiteX118" fmla="*/ 4278 w 10000"/>
                    <a:gd name="connsiteY118" fmla="*/ 7891 h 10000"/>
                    <a:gd name="connsiteX119" fmla="*/ 4389 w 10000"/>
                    <a:gd name="connsiteY119" fmla="*/ 7876 h 10000"/>
                    <a:gd name="connsiteX120" fmla="*/ 4389 w 10000"/>
                    <a:gd name="connsiteY120" fmla="*/ 7876 h 10000"/>
                    <a:gd name="connsiteX121" fmla="*/ 4000 w 10000"/>
                    <a:gd name="connsiteY121" fmla="*/ 7876 h 10000"/>
                    <a:gd name="connsiteX122" fmla="*/ 3722 w 10000"/>
                    <a:gd name="connsiteY122" fmla="*/ 7891 h 10000"/>
                    <a:gd name="connsiteX123" fmla="*/ 3611 w 10000"/>
                    <a:gd name="connsiteY123" fmla="*/ 7906 h 10000"/>
                    <a:gd name="connsiteX124" fmla="*/ 3556 w 10000"/>
                    <a:gd name="connsiteY124" fmla="*/ 7920 h 10000"/>
                    <a:gd name="connsiteX125" fmla="*/ 3556 w 10000"/>
                    <a:gd name="connsiteY125" fmla="*/ 7920 h 10000"/>
                    <a:gd name="connsiteX126" fmla="*/ 3444 w 10000"/>
                    <a:gd name="connsiteY126" fmla="*/ 7979 h 10000"/>
                    <a:gd name="connsiteX127" fmla="*/ 3278 w 10000"/>
                    <a:gd name="connsiteY127" fmla="*/ 8068 h 10000"/>
                    <a:gd name="connsiteX128" fmla="*/ 3000 w 10000"/>
                    <a:gd name="connsiteY128" fmla="*/ 8171 h 10000"/>
                    <a:gd name="connsiteX129" fmla="*/ 2667 w 10000"/>
                    <a:gd name="connsiteY129" fmla="*/ 8244 h 10000"/>
                    <a:gd name="connsiteX130" fmla="*/ 2667 w 10000"/>
                    <a:gd name="connsiteY130" fmla="*/ 8244 h 10000"/>
                    <a:gd name="connsiteX131" fmla="*/ 2333 w 10000"/>
                    <a:gd name="connsiteY131" fmla="*/ 8303 h 10000"/>
                    <a:gd name="connsiteX132" fmla="*/ 1833 w 10000"/>
                    <a:gd name="connsiteY132" fmla="*/ 8363 h 10000"/>
                    <a:gd name="connsiteX133" fmla="*/ 1389 w 10000"/>
                    <a:gd name="connsiteY133" fmla="*/ 8393 h 10000"/>
                    <a:gd name="connsiteX134" fmla="*/ 889 w 10000"/>
                    <a:gd name="connsiteY134" fmla="*/ 8407 h 10000"/>
                    <a:gd name="connsiteX135" fmla="*/ 889 w 10000"/>
                    <a:gd name="connsiteY135" fmla="*/ 8407 h 10000"/>
                    <a:gd name="connsiteX136" fmla="*/ 500 w 10000"/>
                    <a:gd name="connsiteY136" fmla="*/ 8422 h 10000"/>
                    <a:gd name="connsiteX137" fmla="*/ 222 w 10000"/>
                    <a:gd name="connsiteY137" fmla="*/ 8437 h 10000"/>
                    <a:gd name="connsiteX138" fmla="*/ 0 w 10000"/>
                    <a:gd name="connsiteY138" fmla="*/ 8452 h 10000"/>
                    <a:gd name="connsiteX139" fmla="*/ 0 w 10000"/>
                    <a:gd name="connsiteY139" fmla="*/ 8452 h 10000"/>
                    <a:gd name="connsiteX140" fmla="*/ 278 w 10000"/>
                    <a:gd name="connsiteY140" fmla="*/ 8687 h 10000"/>
                    <a:gd name="connsiteX141" fmla="*/ 500 w 10000"/>
                    <a:gd name="connsiteY141" fmla="*/ 8864 h 10000"/>
                    <a:gd name="connsiteX142" fmla="*/ 722 w 10000"/>
                    <a:gd name="connsiteY142" fmla="*/ 9012 h 10000"/>
                    <a:gd name="connsiteX143" fmla="*/ 722 w 10000"/>
                    <a:gd name="connsiteY143" fmla="*/ 9012 h 10000"/>
                    <a:gd name="connsiteX144" fmla="*/ 889 w 10000"/>
                    <a:gd name="connsiteY144" fmla="*/ 9101 h 10000"/>
                    <a:gd name="connsiteX145" fmla="*/ 944 w 10000"/>
                    <a:gd name="connsiteY145" fmla="*/ 9174 h 10000"/>
                    <a:gd name="connsiteX146" fmla="*/ 1111 w 10000"/>
                    <a:gd name="connsiteY146" fmla="*/ 9248 h 10000"/>
                    <a:gd name="connsiteX147" fmla="*/ 1333 w 10000"/>
                    <a:gd name="connsiteY147" fmla="*/ 9366 h 10000"/>
                    <a:gd name="connsiteX148" fmla="*/ 1333 w 10000"/>
                    <a:gd name="connsiteY148" fmla="*/ 9366 h 10000"/>
                    <a:gd name="connsiteX149" fmla="*/ 1444 w 10000"/>
                    <a:gd name="connsiteY149" fmla="*/ 9425 h 10000"/>
                    <a:gd name="connsiteX150" fmla="*/ 1500 w 10000"/>
                    <a:gd name="connsiteY150" fmla="*/ 9469 h 10000"/>
                    <a:gd name="connsiteX151" fmla="*/ 1500 w 10000"/>
                    <a:gd name="connsiteY151" fmla="*/ 9513 h 10000"/>
                    <a:gd name="connsiteX152" fmla="*/ 1556 w 10000"/>
                    <a:gd name="connsiteY152" fmla="*/ 9528 h 10000"/>
                    <a:gd name="connsiteX153" fmla="*/ 1722 w 10000"/>
                    <a:gd name="connsiteY153" fmla="*/ 9542 h 10000"/>
                    <a:gd name="connsiteX154" fmla="*/ 1944 w 10000"/>
                    <a:gd name="connsiteY154" fmla="*/ 9557 h 10000"/>
                    <a:gd name="connsiteX155" fmla="*/ 2944 w 10000"/>
                    <a:gd name="connsiteY155" fmla="*/ 9572 h 10000"/>
                    <a:gd name="connsiteX156" fmla="*/ 2944 w 10000"/>
                    <a:gd name="connsiteY156" fmla="*/ 9572 h 10000"/>
                    <a:gd name="connsiteX157" fmla="*/ 4167 w 10000"/>
                    <a:gd name="connsiteY157" fmla="*/ 9601 h 10000"/>
                    <a:gd name="connsiteX158" fmla="*/ 4889 w 10000"/>
                    <a:gd name="connsiteY158" fmla="*/ 9646 h 10000"/>
                    <a:gd name="connsiteX159" fmla="*/ 5278 w 10000"/>
                    <a:gd name="connsiteY159" fmla="*/ 9691 h 10000"/>
                    <a:gd name="connsiteX160" fmla="*/ 5444 w 10000"/>
                    <a:gd name="connsiteY160" fmla="*/ 9705 h 10000"/>
                    <a:gd name="connsiteX161" fmla="*/ 5444 w 10000"/>
                    <a:gd name="connsiteY161" fmla="*/ 9705 h 10000"/>
                    <a:gd name="connsiteX162" fmla="*/ 5722 w 10000"/>
                    <a:gd name="connsiteY162" fmla="*/ 9735 h 10000"/>
                    <a:gd name="connsiteX163" fmla="*/ 5833 w 10000"/>
                    <a:gd name="connsiteY163" fmla="*/ 9750 h 10000"/>
                    <a:gd name="connsiteX164" fmla="*/ 5833 w 10000"/>
                    <a:gd name="connsiteY164" fmla="*/ 9750 h 10000"/>
                    <a:gd name="connsiteX165" fmla="*/ 5833 w 10000"/>
                    <a:gd name="connsiteY165" fmla="*/ 9735 h 10000"/>
                    <a:gd name="connsiteX166" fmla="*/ 5889 w 10000"/>
                    <a:gd name="connsiteY166" fmla="*/ 9720 h 10000"/>
                    <a:gd name="connsiteX167" fmla="*/ 6000 w 10000"/>
                    <a:gd name="connsiteY167" fmla="*/ 9705 h 10000"/>
                    <a:gd name="connsiteX168" fmla="*/ 6167 w 10000"/>
                    <a:gd name="connsiteY168" fmla="*/ 9691 h 10000"/>
                    <a:gd name="connsiteX169" fmla="*/ 6444 w 10000"/>
                    <a:gd name="connsiteY169" fmla="*/ 9691 h 10000"/>
                    <a:gd name="connsiteX170" fmla="*/ 6833 w 10000"/>
                    <a:gd name="connsiteY170" fmla="*/ 9705 h 10000"/>
                    <a:gd name="connsiteX171" fmla="*/ 7278 w 10000"/>
                    <a:gd name="connsiteY171" fmla="*/ 9750 h 10000"/>
                    <a:gd name="connsiteX172" fmla="*/ 7278 w 10000"/>
                    <a:gd name="connsiteY172" fmla="*/ 9750 h 10000"/>
                    <a:gd name="connsiteX173" fmla="*/ 8722 w 10000"/>
                    <a:gd name="connsiteY173" fmla="*/ 9882 h 10000"/>
                    <a:gd name="connsiteX174" fmla="*/ 10000 w 10000"/>
                    <a:gd name="connsiteY174" fmla="*/ 10000 h 10000"/>
                    <a:gd name="connsiteX0" fmla="*/ 10000 w 10000"/>
                    <a:gd name="connsiteY0" fmla="*/ 8924 h 9927"/>
                    <a:gd name="connsiteX1" fmla="*/ 10000 w 10000"/>
                    <a:gd name="connsiteY1" fmla="*/ 8924 h 9927"/>
                    <a:gd name="connsiteX2" fmla="*/ 9222 w 10000"/>
                    <a:gd name="connsiteY2" fmla="*/ 8939 h 9927"/>
                    <a:gd name="connsiteX3" fmla="*/ 8944 w 10000"/>
                    <a:gd name="connsiteY3" fmla="*/ 8939 h 9927"/>
                    <a:gd name="connsiteX4" fmla="*/ 8833 w 10000"/>
                    <a:gd name="connsiteY4" fmla="*/ 8924 h 9927"/>
                    <a:gd name="connsiteX5" fmla="*/ 8778 w 10000"/>
                    <a:gd name="connsiteY5" fmla="*/ 8909 h 9927"/>
                    <a:gd name="connsiteX6" fmla="*/ 8778 w 10000"/>
                    <a:gd name="connsiteY6" fmla="*/ 8909 h 9927"/>
                    <a:gd name="connsiteX7" fmla="*/ 8444 w 10000"/>
                    <a:gd name="connsiteY7" fmla="*/ 8732 h 9927"/>
                    <a:gd name="connsiteX8" fmla="*/ 8167 w 10000"/>
                    <a:gd name="connsiteY8" fmla="*/ 8570 h 9927"/>
                    <a:gd name="connsiteX9" fmla="*/ 8167 w 10000"/>
                    <a:gd name="connsiteY9" fmla="*/ 8570 h 9927"/>
                    <a:gd name="connsiteX10" fmla="*/ 8056 w 10000"/>
                    <a:gd name="connsiteY10" fmla="*/ 8541 h 9927"/>
                    <a:gd name="connsiteX11" fmla="*/ 7889 w 10000"/>
                    <a:gd name="connsiteY11" fmla="*/ 8511 h 9927"/>
                    <a:gd name="connsiteX12" fmla="*/ 7444 w 10000"/>
                    <a:gd name="connsiteY12" fmla="*/ 8496 h 9927"/>
                    <a:gd name="connsiteX13" fmla="*/ 6889 w 10000"/>
                    <a:gd name="connsiteY13" fmla="*/ 8482 h 9927"/>
                    <a:gd name="connsiteX14" fmla="*/ 6389 w 10000"/>
                    <a:gd name="connsiteY14" fmla="*/ 8482 h 9927"/>
                    <a:gd name="connsiteX15" fmla="*/ 6389 w 10000"/>
                    <a:gd name="connsiteY15" fmla="*/ 8482 h 9927"/>
                    <a:gd name="connsiteX16" fmla="*/ 6167 w 10000"/>
                    <a:gd name="connsiteY16" fmla="*/ 8467 h 9927"/>
                    <a:gd name="connsiteX17" fmla="*/ 6056 w 10000"/>
                    <a:gd name="connsiteY17" fmla="*/ 8438 h 9927"/>
                    <a:gd name="connsiteX18" fmla="*/ 6000 w 10000"/>
                    <a:gd name="connsiteY18" fmla="*/ 8408 h 9927"/>
                    <a:gd name="connsiteX19" fmla="*/ 6000 w 10000"/>
                    <a:gd name="connsiteY19" fmla="*/ 8349 h 9927"/>
                    <a:gd name="connsiteX20" fmla="*/ 6056 w 10000"/>
                    <a:gd name="connsiteY20" fmla="*/ 8230 h 9927"/>
                    <a:gd name="connsiteX21" fmla="*/ 6111 w 10000"/>
                    <a:gd name="connsiteY21" fmla="*/ 8171 h 9927"/>
                    <a:gd name="connsiteX22" fmla="*/ 6056 w 10000"/>
                    <a:gd name="connsiteY22" fmla="*/ 8098 h 9927"/>
                    <a:gd name="connsiteX23" fmla="*/ 6056 w 10000"/>
                    <a:gd name="connsiteY23" fmla="*/ 8098 h 9927"/>
                    <a:gd name="connsiteX24" fmla="*/ 6000 w 10000"/>
                    <a:gd name="connsiteY24" fmla="*/ 8054 h 9927"/>
                    <a:gd name="connsiteX25" fmla="*/ 5944 w 10000"/>
                    <a:gd name="connsiteY25" fmla="*/ 8024 h 9927"/>
                    <a:gd name="connsiteX26" fmla="*/ 5833 w 10000"/>
                    <a:gd name="connsiteY26" fmla="*/ 8024 h 9927"/>
                    <a:gd name="connsiteX27" fmla="*/ 5667 w 10000"/>
                    <a:gd name="connsiteY27" fmla="*/ 8039 h 9927"/>
                    <a:gd name="connsiteX28" fmla="*/ 5333 w 10000"/>
                    <a:gd name="connsiteY28" fmla="*/ 8083 h 9927"/>
                    <a:gd name="connsiteX29" fmla="*/ 4889 w 10000"/>
                    <a:gd name="connsiteY29" fmla="*/ 8157 h 9927"/>
                    <a:gd name="connsiteX30" fmla="*/ 4889 w 10000"/>
                    <a:gd name="connsiteY30" fmla="*/ 8157 h 9927"/>
                    <a:gd name="connsiteX31" fmla="*/ 4611 w 10000"/>
                    <a:gd name="connsiteY31" fmla="*/ 8171 h 9927"/>
                    <a:gd name="connsiteX32" fmla="*/ 4500 w 10000"/>
                    <a:gd name="connsiteY32" fmla="*/ 8171 h 9927"/>
                    <a:gd name="connsiteX33" fmla="*/ 4444 w 10000"/>
                    <a:gd name="connsiteY33" fmla="*/ 8157 h 9927"/>
                    <a:gd name="connsiteX34" fmla="*/ 4389 w 10000"/>
                    <a:gd name="connsiteY34" fmla="*/ 8098 h 9927"/>
                    <a:gd name="connsiteX35" fmla="*/ 4222 w 10000"/>
                    <a:gd name="connsiteY35" fmla="*/ 8024 h 9927"/>
                    <a:gd name="connsiteX36" fmla="*/ 4222 w 10000"/>
                    <a:gd name="connsiteY36" fmla="*/ 8024 h 9927"/>
                    <a:gd name="connsiteX37" fmla="*/ 4111 w 10000"/>
                    <a:gd name="connsiteY37" fmla="*/ 7980 h 9927"/>
                    <a:gd name="connsiteX38" fmla="*/ 4111 w 10000"/>
                    <a:gd name="connsiteY38" fmla="*/ 7936 h 9927"/>
                    <a:gd name="connsiteX39" fmla="*/ 4111 w 10000"/>
                    <a:gd name="connsiteY39" fmla="*/ 7906 h 9927"/>
                    <a:gd name="connsiteX40" fmla="*/ 4167 w 10000"/>
                    <a:gd name="connsiteY40" fmla="*/ 7877 h 9927"/>
                    <a:gd name="connsiteX41" fmla="*/ 4278 w 10000"/>
                    <a:gd name="connsiteY41" fmla="*/ 7818 h 9927"/>
                    <a:gd name="connsiteX42" fmla="*/ 4389 w 10000"/>
                    <a:gd name="connsiteY42" fmla="*/ 7803 h 9927"/>
                    <a:gd name="connsiteX43" fmla="*/ 4389 w 10000"/>
                    <a:gd name="connsiteY43" fmla="*/ 7803 h 9927"/>
                    <a:gd name="connsiteX44" fmla="*/ 4389 w 10000"/>
                    <a:gd name="connsiteY44" fmla="*/ 7789 h 9927"/>
                    <a:gd name="connsiteX45" fmla="*/ 4444 w 10000"/>
                    <a:gd name="connsiteY45" fmla="*/ 7774 h 9927"/>
                    <a:gd name="connsiteX46" fmla="*/ 4667 w 10000"/>
                    <a:gd name="connsiteY46" fmla="*/ 7759 h 9927"/>
                    <a:gd name="connsiteX47" fmla="*/ 5333 w 10000"/>
                    <a:gd name="connsiteY47" fmla="*/ 7730 h 9927"/>
                    <a:gd name="connsiteX48" fmla="*/ 6500 w 10000"/>
                    <a:gd name="connsiteY48" fmla="*/ 7685 h 9927"/>
                    <a:gd name="connsiteX49" fmla="*/ 6500 w 10000"/>
                    <a:gd name="connsiteY49" fmla="*/ 7685 h 9927"/>
                    <a:gd name="connsiteX50" fmla="*/ 7167 w 10000"/>
                    <a:gd name="connsiteY50" fmla="*/ 7641 h 9927"/>
                    <a:gd name="connsiteX51" fmla="*/ 8389 w 10000"/>
                    <a:gd name="connsiteY51" fmla="*/ 7552 h 9927"/>
                    <a:gd name="connsiteX52" fmla="*/ 8389 w 10000"/>
                    <a:gd name="connsiteY52" fmla="*/ 7552 h 9927"/>
                    <a:gd name="connsiteX53" fmla="*/ 8667 w 10000"/>
                    <a:gd name="connsiteY53" fmla="*/ 7522 h 9927"/>
                    <a:gd name="connsiteX54" fmla="*/ 8778 w 10000"/>
                    <a:gd name="connsiteY54" fmla="*/ 7478 h 9927"/>
                    <a:gd name="connsiteX55" fmla="*/ 8889 w 10000"/>
                    <a:gd name="connsiteY55" fmla="*/ 7449 h 9927"/>
                    <a:gd name="connsiteX56" fmla="*/ 8833 w 10000"/>
                    <a:gd name="connsiteY56" fmla="*/ 7419 h 9927"/>
                    <a:gd name="connsiteX57" fmla="*/ 8833 w 10000"/>
                    <a:gd name="connsiteY57" fmla="*/ 7390 h 9927"/>
                    <a:gd name="connsiteX58" fmla="*/ 8722 w 10000"/>
                    <a:gd name="connsiteY58" fmla="*/ 7360 h 9927"/>
                    <a:gd name="connsiteX59" fmla="*/ 8556 w 10000"/>
                    <a:gd name="connsiteY59" fmla="*/ 7316 h 9927"/>
                    <a:gd name="connsiteX60" fmla="*/ 8556 w 10000"/>
                    <a:gd name="connsiteY60" fmla="*/ 7316 h 9927"/>
                    <a:gd name="connsiteX61" fmla="*/ 6556 w 10000"/>
                    <a:gd name="connsiteY61" fmla="*/ 7051 h 9927"/>
                    <a:gd name="connsiteX62" fmla="*/ 6556 w 10000"/>
                    <a:gd name="connsiteY62" fmla="*/ 7051 h 9927"/>
                    <a:gd name="connsiteX63" fmla="*/ 6333 w 10000"/>
                    <a:gd name="connsiteY63" fmla="*/ 7007 h 9927"/>
                    <a:gd name="connsiteX64" fmla="*/ 6167 w 10000"/>
                    <a:gd name="connsiteY64" fmla="*/ 6963 h 9927"/>
                    <a:gd name="connsiteX65" fmla="*/ 6056 w 10000"/>
                    <a:gd name="connsiteY65" fmla="*/ 6918 h 9927"/>
                    <a:gd name="connsiteX66" fmla="*/ 6056 w 10000"/>
                    <a:gd name="connsiteY66" fmla="*/ 6918 h 9927"/>
                    <a:gd name="connsiteX67" fmla="*/ 8056 w 10000"/>
                    <a:gd name="connsiteY67" fmla="*/ 6903 h 9927"/>
                    <a:gd name="connsiteX68" fmla="*/ 10000 w 10000"/>
                    <a:gd name="connsiteY68" fmla="*/ 7051 h 9927"/>
                    <a:gd name="connsiteX69" fmla="*/ 10000 w 10000"/>
                    <a:gd name="connsiteY69" fmla="*/ 5709 h 9927"/>
                    <a:gd name="connsiteX70" fmla="*/ 10000 w 10000"/>
                    <a:gd name="connsiteY70" fmla="*/ 5709 h 9927"/>
                    <a:gd name="connsiteX71" fmla="*/ 8000 w 10000"/>
                    <a:gd name="connsiteY71" fmla="*/ 0 h 9927"/>
                    <a:gd name="connsiteX72" fmla="*/ 10000 w 10000"/>
                    <a:gd name="connsiteY72" fmla="*/ 8939 h 9927"/>
                    <a:gd name="connsiteX73" fmla="*/ 10000 w 10000"/>
                    <a:gd name="connsiteY73" fmla="*/ 8939 h 9927"/>
                    <a:gd name="connsiteX74" fmla="*/ 9722 w 10000"/>
                    <a:gd name="connsiteY74" fmla="*/ 8924 h 9927"/>
                    <a:gd name="connsiteX75" fmla="*/ 9389 w 10000"/>
                    <a:gd name="connsiteY75" fmla="*/ 8939 h 9927"/>
                    <a:gd name="connsiteX76" fmla="*/ 9389 w 10000"/>
                    <a:gd name="connsiteY76" fmla="*/ 8939 h 9927"/>
                    <a:gd name="connsiteX77" fmla="*/ 9278 w 10000"/>
                    <a:gd name="connsiteY77" fmla="*/ 8954 h 9927"/>
                    <a:gd name="connsiteX78" fmla="*/ 9056 w 10000"/>
                    <a:gd name="connsiteY78" fmla="*/ 8939 h 9927"/>
                    <a:gd name="connsiteX79" fmla="*/ 8889 w 10000"/>
                    <a:gd name="connsiteY79" fmla="*/ 8924 h 9927"/>
                    <a:gd name="connsiteX80" fmla="*/ 8722 w 10000"/>
                    <a:gd name="connsiteY80" fmla="*/ 8894 h 9927"/>
                    <a:gd name="connsiteX81" fmla="*/ 8611 w 10000"/>
                    <a:gd name="connsiteY81" fmla="*/ 8850 h 9927"/>
                    <a:gd name="connsiteX82" fmla="*/ 8444 w 10000"/>
                    <a:gd name="connsiteY82" fmla="*/ 8776 h 9927"/>
                    <a:gd name="connsiteX83" fmla="*/ 8444 w 10000"/>
                    <a:gd name="connsiteY83" fmla="*/ 8776 h 9927"/>
                    <a:gd name="connsiteX84" fmla="*/ 8222 w 10000"/>
                    <a:gd name="connsiteY84" fmla="*/ 8644 h 9927"/>
                    <a:gd name="connsiteX85" fmla="*/ 8111 w 10000"/>
                    <a:gd name="connsiteY85" fmla="*/ 8585 h 9927"/>
                    <a:gd name="connsiteX86" fmla="*/ 7944 w 10000"/>
                    <a:gd name="connsiteY86" fmla="*/ 8541 h 9927"/>
                    <a:gd name="connsiteX87" fmla="*/ 7778 w 10000"/>
                    <a:gd name="connsiteY87" fmla="*/ 8511 h 9927"/>
                    <a:gd name="connsiteX88" fmla="*/ 7556 w 10000"/>
                    <a:gd name="connsiteY88" fmla="*/ 8496 h 9927"/>
                    <a:gd name="connsiteX89" fmla="*/ 7333 w 10000"/>
                    <a:gd name="connsiteY89" fmla="*/ 8482 h 9927"/>
                    <a:gd name="connsiteX90" fmla="*/ 7000 w 10000"/>
                    <a:gd name="connsiteY90" fmla="*/ 8467 h 9927"/>
                    <a:gd name="connsiteX91" fmla="*/ 7000 w 10000"/>
                    <a:gd name="connsiteY91" fmla="*/ 8467 h 9927"/>
                    <a:gd name="connsiteX92" fmla="*/ 6556 w 10000"/>
                    <a:gd name="connsiteY92" fmla="*/ 8482 h 9927"/>
                    <a:gd name="connsiteX93" fmla="*/ 6222 w 10000"/>
                    <a:gd name="connsiteY93" fmla="*/ 8482 h 9927"/>
                    <a:gd name="connsiteX94" fmla="*/ 6111 w 10000"/>
                    <a:gd name="connsiteY94" fmla="*/ 8467 h 9927"/>
                    <a:gd name="connsiteX95" fmla="*/ 6056 w 10000"/>
                    <a:gd name="connsiteY95" fmla="*/ 8452 h 9927"/>
                    <a:gd name="connsiteX96" fmla="*/ 6056 w 10000"/>
                    <a:gd name="connsiteY96" fmla="*/ 8452 h 9927"/>
                    <a:gd name="connsiteX97" fmla="*/ 6056 w 10000"/>
                    <a:gd name="connsiteY97" fmla="*/ 8186 h 9927"/>
                    <a:gd name="connsiteX98" fmla="*/ 6056 w 10000"/>
                    <a:gd name="connsiteY98" fmla="*/ 8186 h 9927"/>
                    <a:gd name="connsiteX99" fmla="*/ 6056 w 10000"/>
                    <a:gd name="connsiteY99" fmla="*/ 8127 h 9927"/>
                    <a:gd name="connsiteX100" fmla="*/ 5944 w 10000"/>
                    <a:gd name="connsiteY100" fmla="*/ 8054 h 9927"/>
                    <a:gd name="connsiteX101" fmla="*/ 5889 w 10000"/>
                    <a:gd name="connsiteY101" fmla="*/ 8039 h 9927"/>
                    <a:gd name="connsiteX102" fmla="*/ 5778 w 10000"/>
                    <a:gd name="connsiteY102" fmla="*/ 8024 h 9927"/>
                    <a:gd name="connsiteX103" fmla="*/ 5667 w 10000"/>
                    <a:gd name="connsiteY103" fmla="*/ 8024 h 9927"/>
                    <a:gd name="connsiteX104" fmla="*/ 5500 w 10000"/>
                    <a:gd name="connsiteY104" fmla="*/ 8039 h 9927"/>
                    <a:gd name="connsiteX105" fmla="*/ 5500 w 10000"/>
                    <a:gd name="connsiteY105" fmla="*/ 8039 h 9927"/>
                    <a:gd name="connsiteX106" fmla="*/ 4889 w 10000"/>
                    <a:gd name="connsiteY106" fmla="*/ 8142 h 9927"/>
                    <a:gd name="connsiteX107" fmla="*/ 4611 w 10000"/>
                    <a:gd name="connsiteY107" fmla="*/ 8171 h 9927"/>
                    <a:gd name="connsiteX108" fmla="*/ 4556 w 10000"/>
                    <a:gd name="connsiteY108" fmla="*/ 8186 h 9927"/>
                    <a:gd name="connsiteX109" fmla="*/ 4500 w 10000"/>
                    <a:gd name="connsiteY109" fmla="*/ 8171 h 9927"/>
                    <a:gd name="connsiteX110" fmla="*/ 4500 w 10000"/>
                    <a:gd name="connsiteY110" fmla="*/ 8171 h 9927"/>
                    <a:gd name="connsiteX111" fmla="*/ 4222 w 10000"/>
                    <a:gd name="connsiteY111" fmla="*/ 8024 h 9927"/>
                    <a:gd name="connsiteX112" fmla="*/ 4222 w 10000"/>
                    <a:gd name="connsiteY112" fmla="*/ 8024 h 9927"/>
                    <a:gd name="connsiteX113" fmla="*/ 4111 w 10000"/>
                    <a:gd name="connsiteY113" fmla="*/ 7951 h 9927"/>
                    <a:gd name="connsiteX114" fmla="*/ 4111 w 10000"/>
                    <a:gd name="connsiteY114" fmla="*/ 7906 h 9927"/>
                    <a:gd name="connsiteX115" fmla="*/ 4111 w 10000"/>
                    <a:gd name="connsiteY115" fmla="*/ 7862 h 9927"/>
                    <a:gd name="connsiteX116" fmla="*/ 4111 w 10000"/>
                    <a:gd name="connsiteY116" fmla="*/ 7862 h 9927"/>
                    <a:gd name="connsiteX117" fmla="*/ 4278 w 10000"/>
                    <a:gd name="connsiteY117" fmla="*/ 7818 h 9927"/>
                    <a:gd name="connsiteX118" fmla="*/ 4389 w 10000"/>
                    <a:gd name="connsiteY118" fmla="*/ 7803 h 9927"/>
                    <a:gd name="connsiteX119" fmla="*/ 4389 w 10000"/>
                    <a:gd name="connsiteY119" fmla="*/ 7803 h 9927"/>
                    <a:gd name="connsiteX120" fmla="*/ 4000 w 10000"/>
                    <a:gd name="connsiteY120" fmla="*/ 7803 h 9927"/>
                    <a:gd name="connsiteX121" fmla="*/ 3722 w 10000"/>
                    <a:gd name="connsiteY121" fmla="*/ 7818 h 9927"/>
                    <a:gd name="connsiteX122" fmla="*/ 3611 w 10000"/>
                    <a:gd name="connsiteY122" fmla="*/ 7833 h 9927"/>
                    <a:gd name="connsiteX123" fmla="*/ 3556 w 10000"/>
                    <a:gd name="connsiteY123" fmla="*/ 7847 h 9927"/>
                    <a:gd name="connsiteX124" fmla="*/ 3556 w 10000"/>
                    <a:gd name="connsiteY124" fmla="*/ 7847 h 9927"/>
                    <a:gd name="connsiteX125" fmla="*/ 3444 w 10000"/>
                    <a:gd name="connsiteY125" fmla="*/ 7906 h 9927"/>
                    <a:gd name="connsiteX126" fmla="*/ 3278 w 10000"/>
                    <a:gd name="connsiteY126" fmla="*/ 7995 h 9927"/>
                    <a:gd name="connsiteX127" fmla="*/ 3000 w 10000"/>
                    <a:gd name="connsiteY127" fmla="*/ 8098 h 9927"/>
                    <a:gd name="connsiteX128" fmla="*/ 2667 w 10000"/>
                    <a:gd name="connsiteY128" fmla="*/ 8171 h 9927"/>
                    <a:gd name="connsiteX129" fmla="*/ 2667 w 10000"/>
                    <a:gd name="connsiteY129" fmla="*/ 8171 h 9927"/>
                    <a:gd name="connsiteX130" fmla="*/ 2333 w 10000"/>
                    <a:gd name="connsiteY130" fmla="*/ 8230 h 9927"/>
                    <a:gd name="connsiteX131" fmla="*/ 1833 w 10000"/>
                    <a:gd name="connsiteY131" fmla="*/ 8290 h 9927"/>
                    <a:gd name="connsiteX132" fmla="*/ 1389 w 10000"/>
                    <a:gd name="connsiteY132" fmla="*/ 8320 h 9927"/>
                    <a:gd name="connsiteX133" fmla="*/ 889 w 10000"/>
                    <a:gd name="connsiteY133" fmla="*/ 8334 h 9927"/>
                    <a:gd name="connsiteX134" fmla="*/ 889 w 10000"/>
                    <a:gd name="connsiteY134" fmla="*/ 8334 h 9927"/>
                    <a:gd name="connsiteX135" fmla="*/ 500 w 10000"/>
                    <a:gd name="connsiteY135" fmla="*/ 8349 h 9927"/>
                    <a:gd name="connsiteX136" fmla="*/ 222 w 10000"/>
                    <a:gd name="connsiteY136" fmla="*/ 8364 h 9927"/>
                    <a:gd name="connsiteX137" fmla="*/ 0 w 10000"/>
                    <a:gd name="connsiteY137" fmla="*/ 8379 h 9927"/>
                    <a:gd name="connsiteX138" fmla="*/ 0 w 10000"/>
                    <a:gd name="connsiteY138" fmla="*/ 8379 h 9927"/>
                    <a:gd name="connsiteX139" fmla="*/ 278 w 10000"/>
                    <a:gd name="connsiteY139" fmla="*/ 8614 h 9927"/>
                    <a:gd name="connsiteX140" fmla="*/ 500 w 10000"/>
                    <a:gd name="connsiteY140" fmla="*/ 8791 h 9927"/>
                    <a:gd name="connsiteX141" fmla="*/ 722 w 10000"/>
                    <a:gd name="connsiteY141" fmla="*/ 8939 h 9927"/>
                    <a:gd name="connsiteX142" fmla="*/ 722 w 10000"/>
                    <a:gd name="connsiteY142" fmla="*/ 8939 h 9927"/>
                    <a:gd name="connsiteX143" fmla="*/ 889 w 10000"/>
                    <a:gd name="connsiteY143" fmla="*/ 9028 h 9927"/>
                    <a:gd name="connsiteX144" fmla="*/ 944 w 10000"/>
                    <a:gd name="connsiteY144" fmla="*/ 9101 h 9927"/>
                    <a:gd name="connsiteX145" fmla="*/ 1111 w 10000"/>
                    <a:gd name="connsiteY145" fmla="*/ 9175 h 9927"/>
                    <a:gd name="connsiteX146" fmla="*/ 1333 w 10000"/>
                    <a:gd name="connsiteY146" fmla="*/ 9293 h 9927"/>
                    <a:gd name="connsiteX147" fmla="*/ 1333 w 10000"/>
                    <a:gd name="connsiteY147" fmla="*/ 9293 h 9927"/>
                    <a:gd name="connsiteX148" fmla="*/ 1444 w 10000"/>
                    <a:gd name="connsiteY148" fmla="*/ 9352 h 9927"/>
                    <a:gd name="connsiteX149" fmla="*/ 1500 w 10000"/>
                    <a:gd name="connsiteY149" fmla="*/ 9396 h 9927"/>
                    <a:gd name="connsiteX150" fmla="*/ 1500 w 10000"/>
                    <a:gd name="connsiteY150" fmla="*/ 9440 h 9927"/>
                    <a:gd name="connsiteX151" fmla="*/ 1556 w 10000"/>
                    <a:gd name="connsiteY151" fmla="*/ 9455 h 9927"/>
                    <a:gd name="connsiteX152" fmla="*/ 1722 w 10000"/>
                    <a:gd name="connsiteY152" fmla="*/ 9469 h 9927"/>
                    <a:gd name="connsiteX153" fmla="*/ 1944 w 10000"/>
                    <a:gd name="connsiteY153" fmla="*/ 9484 h 9927"/>
                    <a:gd name="connsiteX154" fmla="*/ 2944 w 10000"/>
                    <a:gd name="connsiteY154" fmla="*/ 9499 h 9927"/>
                    <a:gd name="connsiteX155" fmla="*/ 2944 w 10000"/>
                    <a:gd name="connsiteY155" fmla="*/ 9499 h 9927"/>
                    <a:gd name="connsiteX156" fmla="*/ 4167 w 10000"/>
                    <a:gd name="connsiteY156" fmla="*/ 9528 h 9927"/>
                    <a:gd name="connsiteX157" fmla="*/ 4889 w 10000"/>
                    <a:gd name="connsiteY157" fmla="*/ 9573 h 9927"/>
                    <a:gd name="connsiteX158" fmla="*/ 5278 w 10000"/>
                    <a:gd name="connsiteY158" fmla="*/ 9618 h 9927"/>
                    <a:gd name="connsiteX159" fmla="*/ 5444 w 10000"/>
                    <a:gd name="connsiteY159" fmla="*/ 9632 h 9927"/>
                    <a:gd name="connsiteX160" fmla="*/ 5444 w 10000"/>
                    <a:gd name="connsiteY160" fmla="*/ 9632 h 9927"/>
                    <a:gd name="connsiteX161" fmla="*/ 5722 w 10000"/>
                    <a:gd name="connsiteY161" fmla="*/ 9662 h 9927"/>
                    <a:gd name="connsiteX162" fmla="*/ 5833 w 10000"/>
                    <a:gd name="connsiteY162" fmla="*/ 9677 h 9927"/>
                    <a:gd name="connsiteX163" fmla="*/ 5833 w 10000"/>
                    <a:gd name="connsiteY163" fmla="*/ 9677 h 9927"/>
                    <a:gd name="connsiteX164" fmla="*/ 5833 w 10000"/>
                    <a:gd name="connsiteY164" fmla="*/ 9662 h 9927"/>
                    <a:gd name="connsiteX165" fmla="*/ 5889 w 10000"/>
                    <a:gd name="connsiteY165" fmla="*/ 9647 h 9927"/>
                    <a:gd name="connsiteX166" fmla="*/ 6000 w 10000"/>
                    <a:gd name="connsiteY166" fmla="*/ 9632 h 9927"/>
                    <a:gd name="connsiteX167" fmla="*/ 6167 w 10000"/>
                    <a:gd name="connsiteY167" fmla="*/ 9618 h 9927"/>
                    <a:gd name="connsiteX168" fmla="*/ 6444 w 10000"/>
                    <a:gd name="connsiteY168" fmla="*/ 9618 h 9927"/>
                    <a:gd name="connsiteX169" fmla="*/ 6833 w 10000"/>
                    <a:gd name="connsiteY169" fmla="*/ 9632 h 9927"/>
                    <a:gd name="connsiteX170" fmla="*/ 7278 w 10000"/>
                    <a:gd name="connsiteY170" fmla="*/ 9677 h 9927"/>
                    <a:gd name="connsiteX171" fmla="*/ 7278 w 10000"/>
                    <a:gd name="connsiteY171" fmla="*/ 9677 h 9927"/>
                    <a:gd name="connsiteX172" fmla="*/ 8722 w 10000"/>
                    <a:gd name="connsiteY172" fmla="*/ 9809 h 9927"/>
                    <a:gd name="connsiteX173" fmla="*/ 10000 w 10000"/>
                    <a:gd name="connsiteY173" fmla="*/ 9927 h 9927"/>
                    <a:gd name="connsiteX0" fmla="*/ 10000 w 10000"/>
                    <a:gd name="connsiteY0" fmla="*/ 3239 h 4249"/>
                    <a:gd name="connsiteX1" fmla="*/ 10000 w 10000"/>
                    <a:gd name="connsiteY1" fmla="*/ 3239 h 4249"/>
                    <a:gd name="connsiteX2" fmla="*/ 9222 w 10000"/>
                    <a:gd name="connsiteY2" fmla="*/ 3254 h 4249"/>
                    <a:gd name="connsiteX3" fmla="*/ 8944 w 10000"/>
                    <a:gd name="connsiteY3" fmla="*/ 3254 h 4249"/>
                    <a:gd name="connsiteX4" fmla="*/ 8833 w 10000"/>
                    <a:gd name="connsiteY4" fmla="*/ 3239 h 4249"/>
                    <a:gd name="connsiteX5" fmla="*/ 8778 w 10000"/>
                    <a:gd name="connsiteY5" fmla="*/ 3224 h 4249"/>
                    <a:gd name="connsiteX6" fmla="*/ 8778 w 10000"/>
                    <a:gd name="connsiteY6" fmla="*/ 3224 h 4249"/>
                    <a:gd name="connsiteX7" fmla="*/ 8444 w 10000"/>
                    <a:gd name="connsiteY7" fmla="*/ 3045 h 4249"/>
                    <a:gd name="connsiteX8" fmla="*/ 8167 w 10000"/>
                    <a:gd name="connsiteY8" fmla="*/ 2882 h 4249"/>
                    <a:gd name="connsiteX9" fmla="*/ 8167 w 10000"/>
                    <a:gd name="connsiteY9" fmla="*/ 2882 h 4249"/>
                    <a:gd name="connsiteX10" fmla="*/ 8056 w 10000"/>
                    <a:gd name="connsiteY10" fmla="*/ 2853 h 4249"/>
                    <a:gd name="connsiteX11" fmla="*/ 7889 w 10000"/>
                    <a:gd name="connsiteY11" fmla="*/ 2823 h 4249"/>
                    <a:gd name="connsiteX12" fmla="*/ 7444 w 10000"/>
                    <a:gd name="connsiteY12" fmla="*/ 2807 h 4249"/>
                    <a:gd name="connsiteX13" fmla="*/ 6889 w 10000"/>
                    <a:gd name="connsiteY13" fmla="*/ 2793 h 4249"/>
                    <a:gd name="connsiteX14" fmla="*/ 6389 w 10000"/>
                    <a:gd name="connsiteY14" fmla="*/ 2793 h 4249"/>
                    <a:gd name="connsiteX15" fmla="*/ 6389 w 10000"/>
                    <a:gd name="connsiteY15" fmla="*/ 2793 h 4249"/>
                    <a:gd name="connsiteX16" fmla="*/ 6167 w 10000"/>
                    <a:gd name="connsiteY16" fmla="*/ 2778 h 4249"/>
                    <a:gd name="connsiteX17" fmla="*/ 6056 w 10000"/>
                    <a:gd name="connsiteY17" fmla="*/ 2749 h 4249"/>
                    <a:gd name="connsiteX18" fmla="*/ 6000 w 10000"/>
                    <a:gd name="connsiteY18" fmla="*/ 2719 h 4249"/>
                    <a:gd name="connsiteX19" fmla="*/ 6000 w 10000"/>
                    <a:gd name="connsiteY19" fmla="*/ 2659 h 4249"/>
                    <a:gd name="connsiteX20" fmla="*/ 6056 w 10000"/>
                    <a:gd name="connsiteY20" fmla="*/ 2540 h 4249"/>
                    <a:gd name="connsiteX21" fmla="*/ 6111 w 10000"/>
                    <a:gd name="connsiteY21" fmla="*/ 2480 h 4249"/>
                    <a:gd name="connsiteX22" fmla="*/ 6056 w 10000"/>
                    <a:gd name="connsiteY22" fmla="*/ 2407 h 4249"/>
                    <a:gd name="connsiteX23" fmla="*/ 6056 w 10000"/>
                    <a:gd name="connsiteY23" fmla="*/ 2407 h 4249"/>
                    <a:gd name="connsiteX24" fmla="*/ 6000 w 10000"/>
                    <a:gd name="connsiteY24" fmla="*/ 2362 h 4249"/>
                    <a:gd name="connsiteX25" fmla="*/ 5944 w 10000"/>
                    <a:gd name="connsiteY25" fmla="*/ 2332 h 4249"/>
                    <a:gd name="connsiteX26" fmla="*/ 5833 w 10000"/>
                    <a:gd name="connsiteY26" fmla="*/ 2332 h 4249"/>
                    <a:gd name="connsiteX27" fmla="*/ 5667 w 10000"/>
                    <a:gd name="connsiteY27" fmla="*/ 2347 h 4249"/>
                    <a:gd name="connsiteX28" fmla="*/ 5333 w 10000"/>
                    <a:gd name="connsiteY28" fmla="*/ 2391 h 4249"/>
                    <a:gd name="connsiteX29" fmla="*/ 4889 w 10000"/>
                    <a:gd name="connsiteY29" fmla="*/ 2466 h 4249"/>
                    <a:gd name="connsiteX30" fmla="*/ 4889 w 10000"/>
                    <a:gd name="connsiteY30" fmla="*/ 2466 h 4249"/>
                    <a:gd name="connsiteX31" fmla="*/ 4611 w 10000"/>
                    <a:gd name="connsiteY31" fmla="*/ 2480 h 4249"/>
                    <a:gd name="connsiteX32" fmla="*/ 4500 w 10000"/>
                    <a:gd name="connsiteY32" fmla="*/ 2480 h 4249"/>
                    <a:gd name="connsiteX33" fmla="*/ 4444 w 10000"/>
                    <a:gd name="connsiteY33" fmla="*/ 2466 h 4249"/>
                    <a:gd name="connsiteX34" fmla="*/ 4389 w 10000"/>
                    <a:gd name="connsiteY34" fmla="*/ 2407 h 4249"/>
                    <a:gd name="connsiteX35" fmla="*/ 4222 w 10000"/>
                    <a:gd name="connsiteY35" fmla="*/ 2332 h 4249"/>
                    <a:gd name="connsiteX36" fmla="*/ 4222 w 10000"/>
                    <a:gd name="connsiteY36" fmla="*/ 2332 h 4249"/>
                    <a:gd name="connsiteX37" fmla="*/ 4111 w 10000"/>
                    <a:gd name="connsiteY37" fmla="*/ 2288 h 4249"/>
                    <a:gd name="connsiteX38" fmla="*/ 4111 w 10000"/>
                    <a:gd name="connsiteY38" fmla="*/ 2243 h 4249"/>
                    <a:gd name="connsiteX39" fmla="*/ 4111 w 10000"/>
                    <a:gd name="connsiteY39" fmla="*/ 2213 h 4249"/>
                    <a:gd name="connsiteX40" fmla="*/ 4167 w 10000"/>
                    <a:gd name="connsiteY40" fmla="*/ 2184 h 4249"/>
                    <a:gd name="connsiteX41" fmla="*/ 4278 w 10000"/>
                    <a:gd name="connsiteY41" fmla="*/ 2124 h 4249"/>
                    <a:gd name="connsiteX42" fmla="*/ 4389 w 10000"/>
                    <a:gd name="connsiteY42" fmla="*/ 2109 h 4249"/>
                    <a:gd name="connsiteX43" fmla="*/ 4389 w 10000"/>
                    <a:gd name="connsiteY43" fmla="*/ 2109 h 4249"/>
                    <a:gd name="connsiteX44" fmla="*/ 4389 w 10000"/>
                    <a:gd name="connsiteY44" fmla="*/ 2095 h 4249"/>
                    <a:gd name="connsiteX45" fmla="*/ 4444 w 10000"/>
                    <a:gd name="connsiteY45" fmla="*/ 2080 h 4249"/>
                    <a:gd name="connsiteX46" fmla="*/ 4667 w 10000"/>
                    <a:gd name="connsiteY46" fmla="*/ 2065 h 4249"/>
                    <a:gd name="connsiteX47" fmla="*/ 5333 w 10000"/>
                    <a:gd name="connsiteY47" fmla="*/ 2036 h 4249"/>
                    <a:gd name="connsiteX48" fmla="*/ 6500 w 10000"/>
                    <a:gd name="connsiteY48" fmla="*/ 1991 h 4249"/>
                    <a:gd name="connsiteX49" fmla="*/ 6500 w 10000"/>
                    <a:gd name="connsiteY49" fmla="*/ 1991 h 4249"/>
                    <a:gd name="connsiteX50" fmla="*/ 7167 w 10000"/>
                    <a:gd name="connsiteY50" fmla="*/ 1946 h 4249"/>
                    <a:gd name="connsiteX51" fmla="*/ 8389 w 10000"/>
                    <a:gd name="connsiteY51" fmla="*/ 1857 h 4249"/>
                    <a:gd name="connsiteX52" fmla="*/ 8389 w 10000"/>
                    <a:gd name="connsiteY52" fmla="*/ 1857 h 4249"/>
                    <a:gd name="connsiteX53" fmla="*/ 8667 w 10000"/>
                    <a:gd name="connsiteY53" fmla="*/ 1826 h 4249"/>
                    <a:gd name="connsiteX54" fmla="*/ 8778 w 10000"/>
                    <a:gd name="connsiteY54" fmla="*/ 1782 h 4249"/>
                    <a:gd name="connsiteX55" fmla="*/ 8889 w 10000"/>
                    <a:gd name="connsiteY55" fmla="*/ 1753 h 4249"/>
                    <a:gd name="connsiteX56" fmla="*/ 8833 w 10000"/>
                    <a:gd name="connsiteY56" fmla="*/ 1723 h 4249"/>
                    <a:gd name="connsiteX57" fmla="*/ 8833 w 10000"/>
                    <a:gd name="connsiteY57" fmla="*/ 1693 h 4249"/>
                    <a:gd name="connsiteX58" fmla="*/ 8722 w 10000"/>
                    <a:gd name="connsiteY58" fmla="*/ 1663 h 4249"/>
                    <a:gd name="connsiteX59" fmla="*/ 8556 w 10000"/>
                    <a:gd name="connsiteY59" fmla="*/ 1619 h 4249"/>
                    <a:gd name="connsiteX60" fmla="*/ 8556 w 10000"/>
                    <a:gd name="connsiteY60" fmla="*/ 1619 h 4249"/>
                    <a:gd name="connsiteX61" fmla="*/ 6556 w 10000"/>
                    <a:gd name="connsiteY61" fmla="*/ 1352 h 4249"/>
                    <a:gd name="connsiteX62" fmla="*/ 6556 w 10000"/>
                    <a:gd name="connsiteY62" fmla="*/ 1352 h 4249"/>
                    <a:gd name="connsiteX63" fmla="*/ 6333 w 10000"/>
                    <a:gd name="connsiteY63" fmla="*/ 1308 h 4249"/>
                    <a:gd name="connsiteX64" fmla="*/ 6167 w 10000"/>
                    <a:gd name="connsiteY64" fmla="*/ 1263 h 4249"/>
                    <a:gd name="connsiteX65" fmla="*/ 6056 w 10000"/>
                    <a:gd name="connsiteY65" fmla="*/ 1218 h 4249"/>
                    <a:gd name="connsiteX66" fmla="*/ 6056 w 10000"/>
                    <a:gd name="connsiteY66" fmla="*/ 1218 h 4249"/>
                    <a:gd name="connsiteX67" fmla="*/ 8056 w 10000"/>
                    <a:gd name="connsiteY67" fmla="*/ 1203 h 4249"/>
                    <a:gd name="connsiteX68" fmla="*/ 10000 w 10000"/>
                    <a:gd name="connsiteY68" fmla="*/ 1352 h 4249"/>
                    <a:gd name="connsiteX69" fmla="*/ 10000 w 10000"/>
                    <a:gd name="connsiteY69" fmla="*/ 0 h 4249"/>
                    <a:gd name="connsiteX70" fmla="*/ 10000 w 10000"/>
                    <a:gd name="connsiteY70" fmla="*/ 0 h 4249"/>
                    <a:gd name="connsiteX71" fmla="*/ 10000 w 10000"/>
                    <a:gd name="connsiteY71" fmla="*/ 3254 h 4249"/>
                    <a:gd name="connsiteX72" fmla="*/ 10000 w 10000"/>
                    <a:gd name="connsiteY72" fmla="*/ 3254 h 4249"/>
                    <a:gd name="connsiteX73" fmla="*/ 9722 w 10000"/>
                    <a:gd name="connsiteY73" fmla="*/ 3239 h 4249"/>
                    <a:gd name="connsiteX74" fmla="*/ 9389 w 10000"/>
                    <a:gd name="connsiteY74" fmla="*/ 3254 h 4249"/>
                    <a:gd name="connsiteX75" fmla="*/ 9389 w 10000"/>
                    <a:gd name="connsiteY75" fmla="*/ 3254 h 4249"/>
                    <a:gd name="connsiteX76" fmla="*/ 9278 w 10000"/>
                    <a:gd name="connsiteY76" fmla="*/ 3269 h 4249"/>
                    <a:gd name="connsiteX77" fmla="*/ 9056 w 10000"/>
                    <a:gd name="connsiteY77" fmla="*/ 3254 h 4249"/>
                    <a:gd name="connsiteX78" fmla="*/ 8889 w 10000"/>
                    <a:gd name="connsiteY78" fmla="*/ 3239 h 4249"/>
                    <a:gd name="connsiteX79" fmla="*/ 8722 w 10000"/>
                    <a:gd name="connsiteY79" fmla="*/ 3208 h 4249"/>
                    <a:gd name="connsiteX80" fmla="*/ 8611 w 10000"/>
                    <a:gd name="connsiteY80" fmla="*/ 3164 h 4249"/>
                    <a:gd name="connsiteX81" fmla="*/ 8444 w 10000"/>
                    <a:gd name="connsiteY81" fmla="*/ 3090 h 4249"/>
                    <a:gd name="connsiteX82" fmla="*/ 8444 w 10000"/>
                    <a:gd name="connsiteY82" fmla="*/ 3090 h 4249"/>
                    <a:gd name="connsiteX83" fmla="*/ 8222 w 10000"/>
                    <a:gd name="connsiteY83" fmla="*/ 2957 h 4249"/>
                    <a:gd name="connsiteX84" fmla="*/ 8111 w 10000"/>
                    <a:gd name="connsiteY84" fmla="*/ 2897 h 4249"/>
                    <a:gd name="connsiteX85" fmla="*/ 7944 w 10000"/>
                    <a:gd name="connsiteY85" fmla="*/ 2853 h 4249"/>
                    <a:gd name="connsiteX86" fmla="*/ 7778 w 10000"/>
                    <a:gd name="connsiteY86" fmla="*/ 2823 h 4249"/>
                    <a:gd name="connsiteX87" fmla="*/ 7556 w 10000"/>
                    <a:gd name="connsiteY87" fmla="*/ 2807 h 4249"/>
                    <a:gd name="connsiteX88" fmla="*/ 7333 w 10000"/>
                    <a:gd name="connsiteY88" fmla="*/ 2793 h 4249"/>
                    <a:gd name="connsiteX89" fmla="*/ 7000 w 10000"/>
                    <a:gd name="connsiteY89" fmla="*/ 2778 h 4249"/>
                    <a:gd name="connsiteX90" fmla="*/ 7000 w 10000"/>
                    <a:gd name="connsiteY90" fmla="*/ 2778 h 4249"/>
                    <a:gd name="connsiteX91" fmla="*/ 6556 w 10000"/>
                    <a:gd name="connsiteY91" fmla="*/ 2793 h 4249"/>
                    <a:gd name="connsiteX92" fmla="*/ 6222 w 10000"/>
                    <a:gd name="connsiteY92" fmla="*/ 2793 h 4249"/>
                    <a:gd name="connsiteX93" fmla="*/ 6111 w 10000"/>
                    <a:gd name="connsiteY93" fmla="*/ 2778 h 4249"/>
                    <a:gd name="connsiteX94" fmla="*/ 6056 w 10000"/>
                    <a:gd name="connsiteY94" fmla="*/ 2763 h 4249"/>
                    <a:gd name="connsiteX95" fmla="*/ 6056 w 10000"/>
                    <a:gd name="connsiteY95" fmla="*/ 2763 h 4249"/>
                    <a:gd name="connsiteX96" fmla="*/ 6056 w 10000"/>
                    <a:gd name="connsiteY96" fmla="*/ 2495 h 4249"/>
                    <a:gd name="connsiteX97" fmla="*/ 6056 w 10000"/>
                    <a:gd name="connsiteY97" fmla="*/ 2495 h 4249"/>
                    <a:gd name="connsiteX98" fmla="*/ 6056 w 10000"/>
                    <a:gd name="connsiteY98" fmla="*/ 2436 h 4249"/>
                    <a:gd name="connsiteX99" fmla="*/ 5944 w 10000"/>
                    <a:gd name="connsiteY99" fmla="*/ 2362 h 4249"/>
                    <a:gd name="connsiteX100" fmla="*/ 5889 w 10000"/>
                    <a:gd name="connsiteY100" fmla="*/ 2347 h 4249"/>
                    <a:gd name="connsiteX101" fmla="*/ 5778 w 10000"/>
                    <a:gd name="connsiteY101" fmla="*/ 2332 h 4249"/>
                    <a:gd name="connsiteX102" fmla="*/ 5667 w 10000"/>
                    <a:gd name="connsiteY102" fmla="*/ 2332 h 4249"/>
                    <a:gd name="connsiteX103" fmla="*/ 5500 w 10000"/>
                    <a:gd name="connsiteY103" fmla="*/ 2347 h 4249"/>
                    <a:gd name="connsiteX104" fmla="*/ 5500 w 10000"/>
                    <a:gd name="connsiteY104" fmla="*/ 2347 h 4249"/>
                    <a:gd name="connsiteX105" fmla="*/ 4889 w 10000"/>
                    <a:gd name="connsiteY105" fmla="*/ 2451 h 4249"/>
                    <a:gd name="connsiteX106" fmla="*/ 4611 w 10000"/>
                    <a:gd name="connsiteY106" fmla="*/ 2480 h 4249"/>
                    <a:gd name="connsiteX107" fmla="*/ 4556 w 10000"/>
                    <a:gd name="connsiteY107" fmla="*/ 2495 h 4249"/>
                    <a:gd name="connsiteX108" fmla="*/ 4500 w 10000"/>
                    <a:gd name="connsiteY108" fmla="*/ 2480 h 4249"/>
                    <a:gd name="connsiteX109" fmla="*/ 4500 w 10000"/>
                    <a:gd name="connsiteY109" fmla="*/ 2480 h 4249"/>
                    <a:gd name="connsiteX110" fmla="*/ 4222 w 10000"/>
                    <a:gd name="connsiteY110" fmla="*/ 2332 h 4249"/>
                    <a:gd name="connsiteX111" fmla="*/ 4222 w 10000"/>
                    <a:gd name="connsiteY111" fmla="*/ 2332 h 4249"/>
                    <a:gd name="connsiteX112" fmla="*/ 4111 w 10000"/>
                    <a:gd name="connsiteY112" fmla="*/ 2258 h 4249"/>
                    <a:gd name="connsiteX113" fmla="*/ 4111 w 10000"/>
                    <a:gd name="connsiteY113" fmla="*/ 2213 h 4249"/>
                    <a:gd name="connsiteX114" fmla="*/ 4111 w 10000"/>
                    <a:gd name="connsiteY114" fmla="*/ 2169 h 4249"/>
                    <a:gd name="connsiteX115" fmla="*/ 4111 w 10000"/>
                    <a:gd name="connsiteY115" fmla="*/ 2169 h 4249"/>
                    <a:gd name="connsiteX116" fmla="*/ 4278 w 10000"/>
                    <a:gd name="connsiteY116" fmla="*/ 2124 h 4249"/>
                    <a:gd name="connsiteX117" fmla="*/ 4389 w 10000"/>
                    <a:gd name="connsiteY117" fmla="*/ 2109 h 4249"/>
                    <a:gd name="connsiteX118" fmla="*/ 4389 w 10000"/>
                    <a:gd name="connsiteY118" fmla="*/ 2109 h 4249"/>
                    <a:gd name="connsiteX119" fmla="*/ 4000 w 10000"/>
                    <a:gd name="connsiteY119" fmla="*/ 2109 h 4249"/>
                    <a:gd name="connsiteX120" fmla="*/ 3722 w 10000"/>
                    <a:gd name="connsiteY120" fmla="*/ 2124 h 4249"/>
                    <a:gd name="connsiteX121" fmla="*/ 3611 w 10000"/>
                    <a:gd name="connsiteY121" fmla="*/ 2140 h 4249"/>
                    <a:gd name="connsiteX122" fmla="*/ 3556 w 10000"/>
                    <a:gd name="connsiteY122" fmla="*/ 2154 h 4249"/>
                    <a:gd name="connsiteX123" fmla="*/ 3556 w 10000"/>
                    <a:gd name="connsiteY123" fmla="*/ 2154 h 4249"/>
                    <a:gd name="connsiteX124" fmla="*/ 3444 w 10000"/>
                    <a:gd name="connsiteY124" fmla="*/ 2213 h 4249"/>
                    <a:gd name="connsiteX125" fmla="*/ 3278 w 10000"/>
                    <a:gd name="connsiteY125" fmla="*/ 2303 h 4249"/>
                    <a:gd name="connsiteX126" fmla="*/ 3000 w 10000"/>
                    <a:gd name="connsiteY126" fmla="*/ 2407 h 4249"/>
                    <a:gd name="connsiteX127" fmla="*/ 2667 w 10000"/>
                    <a:gd name="connsiteY127" fmla="*/ 2480 h 4249"/>
                    <a:gd name="connsiteX128" fmla="*/ 2667 w 10000"/>
                    <a:gd name="connsiteY128" fmla="*/ 2480 h 4249"/>
                    <a:gd name="connsiteX129" fmla="*/ 2333 w 10000"/>
                    <a:gd name="connsiteY129" fmla="*/ 2540 h 4249"/>
                    <a:gd name="connsiteX130" fmla="*/ 1833 w 10000"/>
                    <a:gd name="connsiteY130" fmla="*/ 2600 h 4249"/>
                    <a:gd name="connsiteX131" fmla="*/ 1389 w 10000"/>
                    <a:gd name="connsiteY131" fmla="*/ 2630 h 4249"/>
                    <a:gd name="connsiteX132" fmla="*/ 889 w 10000"/>
                    <a:gd name="connsiteY132" fmla="*/ 2644 h 4249"/>
                    <a:gd name="connsiteX133" fmla="*/ 889 w 10000"/>
                    <a:gd name="connsiteY133" fmla="*/ 2644 h 4249"/>
                    <a:gd name="connsiteX134" fmla="*/ 500 w 10000"/>
                    <a:gd name="connsiteY134" fmla="*/ 2659 h 4249"/>
                    <a:gd name="connsiteX135" fmla="*/ 222 w 10000"/>
                    <a:gd name="connsiteY135" fmla="*/ 2675 h 4249"/>
                    <a:gd name="connsiteX136" fmla="*/ 0 w 10000"/>
                    <a:gd name="connsiteY136" fmla="*/ 2690 h 4249"/>
                    <a:gd name="connsiteX137" fmla="*/ 0 w 10000"/>
                    <a:gd name="connsiteY137" fmla="*/ 2690 h 4249"/>
                    <a:gd name="connsiteX138" fmla="*/ 278 w 10000"/>
                    <a:gd name="connsiteY138" fmla="*/ 2926 h 4249"/>
                    <a:gd name="connsiteX139" fmla="*/ 500 w 10000"/>
                    <a:gd name="connsiteY139" fmla="*/ 3105 h 4249"/>
                    <a:gd name="connsiteX140" fmla="*/ 722 w 10000"/>
                    <a:gd name="connsiteY140" fmla="*/ 3254 h 4249"/>
                    <a:gd name="connsiteX141" fmla="*/ 722 w 10000"/>
                    <a:gd name="connsiteY141" fmla="*/ 3254 h 4249"/>
                    <a:gd name="connsiteX142" fmla="*/ 889 w 10000"/>
                    <a:gd name="connsiteY142" fmla="*/ 3343 h 4249"/>
                    <a:gd name="connsiteX143" fmla="*/ 944 w 10000"/>
                    <a:gd name="connsiteY143" fmla="*/ 3417 h 4249"/>
                    <a:gd name="connsiteX144" fmla="*/ 1111 w 10000"/>
                    <a:gd name="connsiteY144" fmla="*/ 3491 h 4249"/>
                    <a:gd name="connsiteX145" fmla="*/ 1333 w 10000"/>
                    <a:gd name="connsiteY145" fmla="*/ 3610 h 4249"/>
                    <a:gd name="connsiteX146" fmla="*/ 1333 w 10000"/>
                    <a:gd name="connsiteY146" fmla="*/ 3610 h 4249"/>
                    <a:gd name="connsiteX147" fmla="*/ 1444 w 10000"/>
                    <a:gd name="connsiteY147" fmla="*/ 3670 h 4249"/>
                    <a:gd name="connsiteX148" fmla="*/ 1500 w 10000"/>
                    <a:gd name="connsiteY148" fmla="*/ 3714 h 4249"/>
                    <a:gd name="connsiteX149" fmla="*/ 1500 w 10000"/>
                    <a:gd name="connsiteY149" fmla="*/ 3758 h 4249"/>
                    <a:gd name="connsiteX150" fmla="*/ 1556 w 10000"/>
                    <a:gd name="connsiteY150" fmla="*/ 3774 h 4249"/>
                    <a:gd name="connsiteX151" fmla="*/ 1722 w 10000"/>
                    <a:gd name="connsiteY151" fmla="*/ 3788 h 4249"/>
                    <a:gd name="connsiteX152" fmla="*/ 1944 w 10000"/>
                    <a:gd name="connsiteY152" fmla="*/ 3803 h 4249"/>
                    <a:gd name="connsiteX153" fmla="*/ 2944 w 10000"/>
                    <a:gd name="connsiteY153" fmla="*/ 3818 h 4249"/>
                    <a:gd name="connsiteX154" fmla="*/ 2944 w 10000"/>
                    <a:gd name="connsiteY154" fmla="*/ 3818 h 4249"/>
                    <a:gd name="connsiteX155" fmla="*/ 4167 w 10000"/>
                    <a:gd name="connsiteY155" fmla="*/ 3847 h 4249"/>
                    <a:gd name="connsiteX156" fmla="*/ 4889 w 10000"/>
                    <a:gd name="connsiteY156" fmla="*/ 3892 h 4249"/>
                    <a:gd name="connsiteX157" fmla="*/ 5278 w 10000"/>
                    <a:gd name="connsiteY157" fmla="*/ 3938 h 4249"/>
                    <a:gd name="connsiteX158" fmla="*/ 5444 w 10000"/>
                    <a:gd name="connsiteY158" fmla="*/ 3952 h 4249"/>
                    <a:gd name="connsiteX159" fmla="*/ 5444 w 10000"/>
                    <a:gd name="connsiteY159" fmla="*/ 3952 h 4249"/>
                    <a:gd name="connsiteX160" fmla="*/ 5722 w 10000"/>
                    <a:gd name="connsiteY160" fmla="*/ 3982 h 4249"/>
                    <a:gd name="connsiteX161" fmla="*/ 5833 w 10000"/>
                    <a:gd name="connsiteY161" fmla="*/ 3997 h 4249"/>
                    <a:gd name="connsiteX162" fmla="*/ 5833 w 10000"/>
                    <a:gd name="connsiteY162" fmla="*/ 3997 h 4249"/>
                    <a:gd name="connsiteX163" fmla="*/ 5833 w 10000"/>
                    <a:gd name="connsiteY163" fmla="*/ 3982 h 4249"/>
                    <a:gd name="connsiteX164" fmla="*/ 5889 w 10000"/>
                    <a:gd name="connsiteY164" fmla="*/ 3967 h 4249"/>
                    <a:gd name="connsiteX165" fmla="*/ 6000 w 10000"/>
                    <a:gd name="connsiteY165" fmla="*/ 3952 h 4249"/>
                    <a:gd name="connsiteX166" fmla="*/ 6167 w 10000"/>
                    <a:gd name="connsiteY166" fmla="*/ 3938 h 4249"/>
                    <a:gd name="connsiteX167" fmla="*/ 6444 w 10000"/>
                    <a:gd name="connsiteY167" fmla="*/ 3938 h 4249"/>
                    <a:gd name="connsiteX168" fmla="*/ 6833 w 10000"/>
                    <a:gd name="connsiteY168" fmla="*/ 3952 h 4249"/>
                    <a:gd name="connsiteX169" fmla="*/ 7278 w 10000"/>
                    <a:gd name="connsiteY169" fmla="*/ 3997 h 4249"/>
                    <a:gd name="connsiteX170" fmla="*/ 7278 w 10000"/>
                    <a:gd name="connsiteY170" fmla="*/ 3997 h 4249"/>
                    <a:gd name="connsiteX171" fmla="*/ 8722 w 10000"/>
                    <a:gd name="connsiteY171" fmla="*/ 4130 h 4249"/>
                    <a:gd name="connsiteX172" fmla="*/ 10000 w 10000"/>
                    <a:gd name="connsiteY172" fmla="*/ 4249 h 4249"/>
                    <a:gd name="connsiteX0" fmla="*/ 10000 w 10000"/>
                    <a:gd name="connsiteY0" fmla="*/ 7623 h 10000"/>
                    <a:gd name="connsiteX1" fmla="*/ 10000 w 10000"/>
                    <a:gd name="connsiteY1" fmla="*/ 7623 h 10000"/>
                    <a:gd name="connsiteX2" fmla="*/ 9222 w 10000"/>
                    <a:gd name="connsiteY2" fmla="*/ 7658 h 10000"/>
                    <a:gd name="connsiteX3" fmla="*/ 8944 w 10000"/>
                    <a:gd name="connsiteY3" fmla="*/ 7658 h 10000"/>
                    <a:gd name="connsiteX4" fmla="*/ 8833 w 10000"/>
                    <a:gd name="connsiteY4" fmla="*/ 7623 h 10000"/>
                    <a:gd name="connsiteX5" fmla="*/ 8778 w 10000"/>
                    <a:gd name="connsiteY5" fmla="*/ 7588 h 10000"/>
                    <a:gd name="connsiteX6" fmla="*/ 8778 w 10000"/>
                    <a:gd name="connsiteY6" fmla="*/ 7588 h 10000"/>
                    <a:gd name="connsiteX7" fmla="*/ 8444 w 10000"/>
                    <a:gd name="connsiteY7" fmla="*/ 7166 h 10000"/>
                    <a:gd name="connsiteX8" fmla="*/ 8167 w 10000"/>
                    <a:gd name="connsiteY8" fmla="*/ 6783 h 10000"/>
                    <a:gd name="connsiteX9" fmla="*/ 8167 w 10000"/>
                    <a:gd name="connsiteY9" fmla="*/ 6783 h 10000"/>
                    <a:gd name="connsiteX10" fmla="*/ 8056 w 10000"/>
                    <a:gd name="connsiteY10" fmla="*/ 6715 h 10000"/>
                    <a:gd name="connsiteX11" fmla="*/ 7889 w 10000"/>
                    <a:gd name="connsiteY11" fmla="*/ 6644 h 10000"/>
                    <a:gd name="connsiteX12" fmla="*/ 7444 w 10000"/>
                    <a:gd name="connsiteY12" fmla="*/ 6606 h 10000"/>
                    <a:gd name="connsiteX13" fmla="*/ 6889 w 10000"/>
                    <a:gd name="connsiteY13" fmla="*/ 6573 h 10000"/>
                    <a:gd name="connsiteX14" fmla="*/ 6389 w 10000"/>
                    <a:gd name="connsiteY14" fmla="*/ 6573 h 10000"/>
                    <a:gd name="connsiteX15" fmla="*/ 6389 w 10000"/>
                    <a:gd name="connsiteY15" fmla="*/ 6573 h 10000"/>
                    <a:gd name="connsiteX16" fmla="*/ 6167 w 10000"/>
                    <a:gd name="connsiteY16" fmla="*/ 6538 h 10000"/>
                    <a:gd name="connsiteX17" fmla="*/ 6056 w 10000"/>
                    <a:gd name="connsiteY17" fmla="*/ 6470 h 10000"/>
                    <a:gd name="connsiteX18" fmla="*/ 6000 w 10000"/>
                    <a:gd name="connsiteY18" fmla="*/ 6399 h 10000"/>
                    <a:gd name="connsiteX19" fmla="*/ 6000 w 10000"/>
                    <a:gd name="connsiteY19" fmla="*/ 6258 h 10000"/>
                    <a:gd name="connsiteX20" fmla="*/ 6056 w 10000"/>
                    <a:gd name="connsiteY20" fmla="*/ 5978 h 10000"/>
                    <a:gd name="connsiteX21" fmla="*/ 6111 w 10000"/>
                    <a:gd name="connsiteY21" fmla="*/ 5837 h 10000"/>
                    <a:gd name="connsiteX22" fmla="*/ 6056 w 10000"/>
                    <a:gd name="connsiteY22" fmla="*/ 5665 h 10000"/>
                    <a:gd name="connsiteX23" fmla="*/ 6056 w 10000"/>
                    <a:gd name="connsiteY23" fmla="*/ 5665 h 10000"/>
                    <a:gd name="connsiteX24" fmla="*/ 6000 w 10000"/>
                    <a:gd name="connsiteY24" fmla="*/ 5559 h 10000"/>
                    <a:gd name="connsiteX25" fmla="*/ 5944 w 10000"/>
                    <a:gd name="connsiteY25" fmla="*/ 5488 h 10000"/>
                    <a:gd name="connsiteX26" fmla="*/ 5833 w 10000"/>
                    <a:gd name="connsiteY26" fmla="*/ 5488 h 10000"/>
                    <a:gd name="connsiteX27" fmla="*/ 5667 w 10000"/>
                    <a:gd name="connsiteY27" fmla="*/ 5524 h 10000"/>
                    <a:gd name="connsiteX28" fmla="*/ 5333 w 10000"/>
                    <a:gd name="connsiteY28" fmla="*/ 5627 h 10000"/>
                    <a:gd name="connsiteX29" fmla="*/ 4889 w 10000"/>
                    <a:gd name="connsiteY29" fmla="*/ 5804 h 10000"/>
                    <a:gd name="connsiteX30" fmla="*/ 4889 w 10000"/>
                    <a:gd name="connsiteY30" fmla="*/ 5804 h 10000"/>
                    <a:gd name="connsiteX31" fmla="*/ 4611 w 10000"/>
                    <a:gd name="connsiteY31" fmla="*/ 5837 h 10000"/>
                    <a:gd name="connsiteX32" fmla="*/ 4500 w 10000"/>
                    <a:gd name="connsiteY32" fmla="*/ 5837 h 10000"/>
                    <a:gd name="connsiteX33" fmla="*/ 4444 w 10000"/>
                    <a:gd name="connsiteY33" fmla="*/ 5804 h 10000"/>
                    <a:gd name="connsiteX34" fmla="*/ 4389 w 10000"/>
                    <a:gd name="connsiteY34" fmla="*/ 5665 h 10000"/>
                    <a:gd name="connsiteX35" fmla="*/ 4222 w 10000"/>
                    <a:gd name="connsiteY35" fmla="*/ 5488 h 10000"/>
                    <a:gd name="connsiteX36" fmla="*/ 4222 w 10000"/>
                    <a:gd name="connsiteY36" fmla="*/ 5488 h 10000"/>
                    <a:gd name="connsiteX37" fmla="*/ 4111 w 10000"/>
                    <a:gd name="connsiteY37" fmla="*/ 5385 h 10000"/>
                    <a:gd name="connsiteX38" fmla="*/ 4111 w 10000"/>
                    <a:gd name="connsiteY38" fmla="*/ 5279 h 10000"/>
                    <a:gd name="connsiteX39" fmla="*/ 4111 w 10000"/>
                    <a:gd name="connsiteY39" fmla="*/ 5208 h 10000"/>
                    <a:gd name="connsiteX40" fmla="*/ 4167 w 10000"/>
                    <a:gd name="connsiteY40" fmla="*/ 5140 h 10000"/>
                    <a:gd name="connsiteX41" fmla="*/ 4278 w 10000"/>
                    <a:gd name="connsiteY41" fmla="*/ 4999 h 10000"/>
                    <a:gd name="connsiteX42" fmla="*/ 4389 w 10000"/>
                    <a:gd name="connsiteY42" fmla="*/ 4964 h 10000"/>
                    <a:gd name="connsiteX43" fmla="*/ 4389 w 10000"/>
                    <a:gd name="connsiteY43" fmla="*/ 4964 h 10000"/>
                    <a:gd name="connsiteX44" fmla="*/ 4389 w 10000"/>
                    <a:gd name="connsiteY44" fmla="*/ 4931 h 10000"/>
                    <a:gd name="connsiteX45" fmla="*/ 4444 w 10000"/>
                    <a:gd name="connsiteY45" fmla="*/ 4895 h 10000"/>
                    <a:gd name="connsiteX46" fmla="*/ 4667 w 10000"/>
                    <a:gd name="connsiteY46" fmla="*/ 4860 h 10000"/>
                    <a:gd name="connsiteX47" fmla="*/ 5333 w 10000"/>
                    <a:gd name="connsiteY47" fmla="*/ 4792 h 10000"/>
                    <a:gd name="connsiteX48" fmla="*/ 6500 w 10000"/>
                    <a:gd name="connsiteY48" fmla="*/ 4686 h 10000"/>
                    <a:gd name="connsiteX49" fmla="*/ 6500 w 10000"/>
                    <a:gd name="connsiteY49" fmla="*/ 4686 h 10000"/>
                    <a:gd name="connsiteX50" fmla="*/ 7167 w 10000"/>
                    <a:gd name="connsiteY50" fmla="*/ 4580 h 10000"/>
                    <a:gd name="connsiteX51" fmla="*/ 8389 w 10000"/>
                    <a:gd name="connsiteY51" fmla="*/ 4370 h 10000"/>
                    <a:gd name="connsiteX52" fmla="*/ 8389 w 10000"/>
                    <a:gd name="connsiteY52" fmla="*/ 4370 h 10000"/>
                    <a:gd name="connsiteX53" fmla="*/ 8667 w 10000"/>
                    <a:gd name="connsiteY53" fmla="*/ 4297 h 10000"/>
                    <a:gd name="connsiteX54" fmla="*/ 8778 w 10000"/>
                    <a:gd name="connsiteY54" fmla="*/ 4194 h 10000"/>
                    <a:gd name="connsiteX55" fmla="*/ 8889 w 10000"/>
                    <a:gd name="connsiteY55" fmla="*/ 4126 h 10000"/>
                    <a:gd name="connsiteX56" fmla="*/ 8833 w 10000"/>
                    <a:gd name="connsiteY56" fmla="*/ 4055 h 10000"/>
                    <a:gd name="connsiteX57" fmla="*/ 8833 w 10000"/>
                    <a:gd name="connsiteY57" fmla="*/ 3984 h 10000"/>
                    <a:gd name="connsiteX58" fmla="*/ 8722 w 10000"/>
                    <a:gd name="connsiteY58" fmla="*/ 3914 h 10000"/>
                    <a:gd name="connsiteX59" fmla="*/ 8556 w 10000"/>
                    <a:gd name="connsiteY59" fmla="*/ 3810 h 10000"/>
                    <a:gd name="connsiteX60" fmla="*/ 8556 w 10000"/>
                    <a:gd name="connsiteY60" fmla="*/ 3810 h 10000"/>
                    <a:gd name="connsiteX61" fmla="*/ 6556 w 10000"/>
                    <a:gd name="connsiteY61" fmla="*/ 3182 h 10000"/>
                    <a:gd name="connsiteX62" fmla="*/ 6556 w 10000"/>
                    <a:gd name="connsiteY62" fmla="*/ 3182 h 10000"/>
                    <a:gd name="connsiteX63" fmla="*/ 6333 w 10000"/>
                    <a:gd name="connsiteY63" fmla="*/ 3078 h 10000"/>
                    <a:gd name="connsiteX64" fmla="*/ 6167 w 10000"/>
                    <a:gd name="connsiteY64" fmla="*/ 2972 h 10000"/>
                    <a:gd name="connsiteX65" fmla="*/ 6056 w 10000"/>
                    <a:gd name="connsiteY65" fmla="*/ 2867 h 10000"/>
                    <a:gd name="connsiteX66" fmla="*/ 6056 w 10000"/>
                    <a:gd name="connsiteY66" fmla="*/ 2867 h 10000"/>
                    <a:gd name="connsiteX67" fmla="*/ 8056 w 10000"/>
                    <a:gd name="connsiteY67" fmla="*/ 2831 h 10000"/>
                    <a:gd name="connsiteX68" fmla="*/ 10000 w 10000"/>
                    <a:gd name="connsiteY68" fmla="*/ 3182 h 10000"/>
                    <a:gd name="connsiteX69" fmla="*/ 10000 w 10000"/>
                    <a:gd name="connsiteY69" fmla="*/ 0 h 10000"/>
                    <a:gd name="connsiteX70" fmla="*/ 10000 w 10000"/>
                    <a:gd name="connsiteY70" fmla="*/ 7658 h 10000"/>
                    <a:gd name="connsiteX71" fmla="*/ 10000 w 10000"/>
                    <a:gd name="connsiteY71" fmla="*/ 7658 h 10000"/>
                    <a:gd name="connsiteX72" fmla="*/ 9722 w 10000"/>
                    <a:gd name="connsiteY72" fmla="*/ 7623 h 10000"/>
                    <a:gd name="connsiteX73" fmla="*/ 9389 w 10000"/>
                    <a:gd name="connsiteY73" fmla="*/ 7658 h 10000"/>
                    <a:gd name="connsiteX74" fmla="*/ 9389 w 10000"/>
                    <a:gd name="connsiteY74" fmla="*/ 7658 h 10000"/>
                    <a:gd name="connsiteX75" fmla="*/ 9278 w 10000"/>
                    <a:gd name="connsiteY75" fmla="*/ 7694 h 10000"/>
                    <a:gd name="connsiteX76" fmla="*/ 9056 w 10000"/>
                    <a:gd name="connsiteY76" fmla="*/ 7658 h 10000"/>
                    <a:gd name="connsiteX77" fmla="*/ 8889 w 10000"/>
                    <a:gd name="connsiteY77" fmla="*/ 7623 h 10000"/>
                    <a:gd name="connsiteX78" fmla="*/ 8722 w 10000"/>
                    <a:gd name="connsiteY78" fmla="*/ 7550 h 10000"/>
                    <a:gd name="connsiteX79" fmla="*/ 8611 w 10000"/>
                    <a:gd name="connsiteY79" fmla="*/ 7446 h 10000"/>
                    <a:gd name="connsiteX80" fmla="*/ 8444 w 10000"/>
                    <a:gd name="connsiteY80" fmla="*/ 7272 h 10000"/>
                    <a:gd name="connsiteX81" fmla="*/ 8444 w 10000"/>
                    <a:gd name="connsiteY81" fmla="*/ 7272 h 10000"/>
                    <a:gd name="connsiteX82" fmla="*/ 8222 w 10000"/>
                    <a:gd name="connsiteY82" fmla="*/ 6959 h 10000"/>
                    <a:gd name="connsiteX83" fmla="*/ 8111 w 10000"/>
                    <a:gd name="connsiteY83" fmla="*/ 6818 h 10000"/>
                    <a:gd name="connsiteX84" fmla="*/ 7944 w 10000"/>
                    <a:gd name="connsiteY84" fmla="*/ 6715 h 10000"/>
                    <a:gd name="connsiteX85" fmla="*/ 7778 w 10000"/>
                    <a:gd name="connsiteY85" fmla="*/ 6644 h 10000"/>
                    <a:gd name="connsiteX86" fmla="*/ 7556 w 10000"/>
                    <a:gd name="connsiteY86" fmla="*/ 6606 h 10000"/>
                    <a:gd name="connsiteX87" fmla="*/ 7333 w 10000"/>
                    <a:gd name="connsiteY87" fmla="*/ 6573 h 10000"/>
                    <a:gd name="connsiteX88" fmla="*/ 7000 w 10000"/>
                    <a:gd name="connsiteY88" fmla="*/ 6538 h 10000"/>
                    <a:gd name="connsiteX89" fmla="*/ 7000 w 10000"/>
                    <a:gd name="connsiteY89" fmla="*/ 6538 h 10000"/>
                    <a:gd name="connsiteX90" fmla="*/ 6556 w 10000"/>
                    <a:gd name="connsiteY90" fmla="*/ 6573 h 10000"/>
                    <a:gd name="connsiteX91" fmla="*/ 6222 w 10000"/>
                    <a:gd name="connsiteY91" fmla="*/ 6573 h 10000"/>
                    <a:gd name="connsiteX92" fmla="*/ 6111 w 10000"/>
                    <a:gd name="connsiteY92" fmla="*/ 6538 h 10000"/>
                    <a:gd name="connsiteX93" fmla="*/ 6056 w 10000"/>
                    <a:gd name="connsiteY93" fmla="*/ 6503 h 10000"/>
                    <a:gd name="connsiteX94" fmla="*/ 6056 w 10000"/>
                    <a:gd name="connsiteY94" fmla="*/ 6503 h 10000"/>
                    <a:gd name="connsiteX95" fmla="*/ 6056 w 10000"/>
                    <a:gd name="connsiteY95" fmla="*/ 5872 h 10000"/>
                    <a:gd name="connsiteX96" fmla="*/ 6056 w 10000"/>
                    <a:gd name="connsiteY96" fmla="*/ 5872 h 10000"/>
                    <a:gd name="connsiteX97" fmla="*/ 6056 w 10000"/>
                    <a:gd name="connsiteY97" fmla="*/ 5733 h 10000"/>
                    <a:gd name="connsiteX98" fmla="*/ 5944 w 10000"/>
                    <a:gd name="connsiteY98" fmla="*/ 5559 h 10000"/>
                    <a:gd name="connsiteX99" fmla="*/ 5889 w 10000"/>
                    <a:gd name="connsiteY99" fmla="*/ 5524 h 10000"/>
                    <a:gd name="connsiteX100" fmla="*/ 5778 w 10000"/>
                    <a:gd name="connsiteY100" fmla="*/ 5488 h 10000"/>
                    <a:gd name="connsiteX101" fmla="*/ 5667 w 10000"/>
                    <a:gd name="connsiteY101" fmla="*/ 5488 h 10000"/>
                    <a:gd name="connsiteX102" fmla="*/ 5500 w 10000"/>
                    <a:gd name="connsiteY102" fmla="*/ 5524 h 10000"/>
                    <a:gd name="connsiteX103" fmla="*/ 5500 w 10000"/>
                    <a:gd name="connsiteY103" fmla="*/ 5524 h 10000"/>
                    <a:gd name="connsiteX104" fmla="*/ 4889 w 10000"/>
                    <a:gd name="connsiteY104" fmla="*/ 5768 h 10000"/>
                    <a:gd name="connsiteX105" fmla="*/ 4611 w 10000"/>
                    <a:gd name="connsiteY105" fmla="*/ 5837 h 10000"/>
                    <a:gd name="connsiteX106" fmla="*/ 4556 w 10000"/>
                    <a:gd name="connsiteY106" fmla="*/ 5872 h 10000"/>
                    <a:gd name="connsiteX107" fmla="*/ 4500 w 10000"/>
                    <a:gd name="connsiteY107" fmla="*/ 5837 h 10000"/>
                    <a:gd name="connsiteX108" fmla="*/ 4500 w 10000"/>
                    <a:gd name="connsiteY108" fmla="*/ 5837 h 10000"/>
                    <a:gd name="connsiteX109" fmla="*/ 4222 w 10000"/>
                    <a:gd name="connsiteY109" fmla="*/ 5488 h 10000"/>
                    <a:gd name="connsiteX110" fmla="*/ 4222 w 10000"/>
                    <a:gd name="connsiteY110" fmla="*/ 5488 h 10000"/>
                    <a:gd name="connsiteX111" fmla="*/ 4111 w 10000"/>
                    <a:gd name="connsiteY111" fmla="*/ 5314 h 10000"/>
                    <a:gd name="connsiteX112" fmla="*/ 4111 w 10000"/>
                    <a:gd name="connsiteY112" fmla="*/ 5208 h 10000"/>
                    <a:gd name="connsiteX113" fmla="*/ 4111 w 10000"/>
                    <a:gd name="connsiteY113" fmla="*/ 5105 h 10000"/>
                    <a:gd name="connsiteX114" fmla="*/ 4111 w 10000"/>
                    <a:gd name="connsiteY114" fmla="*/ 5105 h 10000"/>
                    <a:gd name="connsiteX115" fmla="*/ 4278 w 10000"/>
                    <a:gd name="connsiteY115" fmla="*/ 4999 h 10000"/>
                    <a:gd name="connsiteX116" fmla="*/ 4389 w 10000"/>
                    <a:gd name="connsiteY116" fmla="*/ 4964 h 10000"/>
                    <a:gd name="connsiteX117" fmla="*/ 4389 w 10000"/>
                    <a:gd name="connsiteY117" fmla="*/ 4964 h 10000"/>
                    <a:gd name="connsiteX118" fmla="*/ 4000 w 10000"/>
                    <a:gd name="connsiteY118" fmla="*/ 4964 h 10000"/>
                    <a:gd name="connsiteX119" fmla="*/ 3722 w 10000"/>
                    <a:gd name="connsiteY119" fmla="*/ 4999 h 10000"/>
                    <a:gd name="connsiteX120" fmla="*/ 3611 w 10000"/>
                    <a:gd name="connsiteY120" fmla="*/ 5036 h 10000"/>
                    <a:gd name="connsiteX121" fmla="*/ 3556 w 10000"/>
                    <a:gd name="connsiteY121" fmla="*/ 5069 h 10000"/>
                    <a:gd name="connsiteX122" fmla="*/ 3556 w 10000"/>
                    <a:gd name="connsiteY122" fmla="*/ 5069 h 10000"/>
                    <a:gd name="connsiteX123" fmla="*/ 3444 w 10000"/>
                    <a:gd name="connsiteY123" fmla="*/ 5208 h 10000"/>
                    <a:gd name="connsiteX124" fmla="*/ 3278 w 10000"/>
                    <a:gd name="connsiteY124" fmla="*/ 5420 h 10000"/>
                    <a:gd name="connsiteX125" fmla="*/ 3000 w 10000"/>
                    <a:gd name="connsiteY125" fmla="*/ 5665 h 10000"/>
                    <a:gd name="connsiteX126" fmla="*/ 2667 w 10000"/>
                    <a:gd name="connsiteY126" fmla="*/ 5837 h 10000"/>
                    <a:gd name="connsiteX127" fmla="*/ 2667 w 10000"/>
                    <a:gd name="connsiteY127" fmla="*/ 5837 h 10000"/>
                    <a:gd name="connsiteX128" fmla="*/ 2333 w 10000"/>
                    <a:gd name="connsiteY128" fmla="*/ 5978 h 10000"/>
                    <a:gd name="connsiteX129" fmla="*/ 1833 w 10000"/>
                    <a:gd name="connsiteY129" fmla="*/ 6119 h 10000"/>
                    <a:gd name="connsiteX130" fmla="*/ 1389 w 10000"/>
                    <a:gd name="connsiteY130" fmla="*/ 6190 h 10000"/>
                    <a:gd name="connsiteX131" fmla="*/ 889 w 10000"/>
                    <a:gd name="connsiteY131" fmla="*/ 6223 h 10000"/>
                    <a:gd name="connsiteX132" fmla="*/ 889 w 10000"/>
                    <a:gd name="connsiteY132" fmla="*/ 6223 h 10000"/>
                    <a:gd name="connsiteX133" fmla="*/ 500 w 10000"/>
                    <a:gd name="connsiteY133" fmla="*/ 6258 h 10000"/>
                    <a:gd name="connsiteX134" fmla="*/ 222 w 10000"/>
                    <a:gd name="connsiteY134" fmla="*/ 6296 h 10000"/>
                    <a:gd name="connsiteX135" fmla="*/ 0 w 10000"/>
                    <a:gd name="connsiteY135" fmla="*/ 6331 h 10000"/>
                    <a:gd name="connsiteX136" fmla="*/ 0 w 10000"/>
                    <a:gd name="connsiteY136" fmla="*/ 6331 h 10000"/>
                    <a:gd name="connsiteX137" fmla="*/ 278 w 10000"/>
                    <a:gd name="connsiteY137" fmla="*/ 6886 h 10000"/>
                    <a:gd name="connsiteX138" fmla="*/ 500 w 10000"/>
                    <a:gd name="connsiteY138" fmla="*/ 7308 h 10000"/>
                    <a:gd name="connsiteX139" fmla="*/ 722 w 10000"/>
                    <a:gd name="connsiteY139" fmla="*/ 7658 h 10000"/>
                    <a:gd name="connsiteX140" fmla="*/ 722 w 10000"/>
                    <a:gd name="connsiteY140" fmla="*/ 7658 h 10000"/>
                    <a:gd name="connsiteX141" fmla="*/ 889 w 10000"/>
                    <a:gd name="connsiteY141" fmla="*/ 7868 h 10000"/>
                    <a:gd name="connsiteX142" fmla="*/ 944 w 10000"/>
                    <a:gd name="connsiteY142" fmla="*/ 8042 h 10000"/>
                    <a:gd name="connsiteX143" fmla="*/ 1111 w 10000"/>
                    <a:gd name="connsiteY143" fmla="*/ 8216 h 10000"/>
                    <a:gd name="connsiteX144" fmla="*/ 1333 w 10000"/>
                    <a:gd name="connsiteY144" fmla="*/ 8496 h 10000"/>
                    <a:gd name="connsiteX145" fmla="*/ 1333 w 10000"/>
                    <a:gd name="connsiteY145" fmla="*/ 8496 h 10000"/>
                    <a:gd name="connsiteX146" fmla="*/ 1444 w 10000"/>
                    <a:gd name="connsiteY146" fmla="*/ 8637 h 10000"/>
                    <a:gd name="connsiteX147" fmla="*/ 1500 w 10000"/>
                    <a:gd name="connsiteY147" fmla="*/ 8741 h 10000"/>
                    <a:gd name="connsiteX148" fmla="*/ 1500 w 10000"/>
                    <a:gd name="connsiteY148" fmla="*/ 8844 h 10000"/>
                    <a:gd name="connsiteX149" fmla="*/ 1556 w 10000"/>
                    <a:gd name="connsiteY149" fmla="*/ 8882 h 10000"/>
                    <a:gd name="connsiteX150" fmla="*/ 1722 w 10000"/>
                    <a:gd name="connsiteY150" fmla="*/ 8915 h 10000"/>
                    <a:gd name="connsiteX151" fmla="*/ 1944 w 10000"/>
                    <a:gd name="connsiteY151" fmla="*/ 8950 h 10000"/>
                    <a:gd name="connsiteX152" fmla="*/ 2944 w 10000"/>
                    <a:gd name="connsiteY152" fmla="*/ 8986 h 10000"/>
                    <a:gd name="connsiteX153" fmla="*/ 2944 w 10000"/>
                    <a:gd name="connsiteY153" fmla="*/ 8986 h 10000"/>
                    <a:gd name="connsiteX154" fmla="*/ 4167 w 10000"/>
                    <a:gd name="connsiteY154" fmla="*/ 9054 h 10000"/>
                    <a:gd name="connsiteX155" fmla="*/ 4889 w 10000"/>
                    <a:gd name="connsiteY155" fmla="*/ 9160 h 10000"/>
                    <a:gd name="connsiteX156" fmla="*/ 5278 w 10000"/>
                    <a:gd name="connsiteY156" fmla="*/ 9268 h 10000"/>
                    <a:gd name="connsiteX157" fmla="*/ 5444 w 10000"/>
                    <a:gd name="connsiteY157" fmla="*/ 9301 h 10000"/>
                    <a:gd name="connsiteX158" fmla="*/ 5444 w 10000"/>
                    <a:gd name="connsiteY158" fmla="*/ 9301 h 10000"/>
                    <a:gd name="connsiteX159" fmla="*/ 5722 w 10000"/>
                    <a:gd name="connsiteY159" fmla="*/ 9372 h 10000"/>
                    <a:gd name="connsiteX160" fmla="*/ 5833 w 10000"/>
                    <a:gd name="connsiteY160" fmla="*/ 9407 h 10000"/>
                    <a:gd name="connsiteX161" fmla="*/ 5833 w 10000"/>
                    <a:gd name="connsiteY161" fmla="*/ 9407 h 10000"/>
                    <a:gd name="connsiteX162" fmla="*/ 5833 w 10000"/>
                    <a:gd name="connsiteY162" fmla="*/ 9372 h 10000"/>
                    <a:gd name="connsiteX163" fmla="*/ 5889 w 10000"/>
                    <a:gd name="connsiteY163" fmla="*/ 9336 h 10000"/>
                    <a:gd name="connsiteX164" fmla="*/ 6000 w 10000"/>
                    <a:gd name="connsiteY164" fmla="*/ 9301 h 10000"/>
                    <a:gd name="connsiteX165" fmla="*/ 6167 w 10000"/>
                    <a:gd name="connsiteY165" fmla="*/ 9268 h 10000"/>
                    <a:gd name="connsiteX166" fmla="*/ 6444 w 10000"/>
                    <a:gd name="connsiteY166" fmla="*/ 9268 h 10000"/>
                    <a:gd name="connsiteX167" fmla="*/ 6833 w 10000"/>
                    <a:gd name="connsiteY167" fmla="*/ 9301 h 10000"/>
                    <a:gd name="connsiteX168" fmla="*/ 7278 w 10000"/>
                    <a:gd name="connsiteY168" fmla="*/ 9407 h 10000"/>
                    <a:gd name="connsiteX169" fmla="*/ 7278 w 10000"/>
                    <a:gd name="connsiteY169" fmla="*/ 9407 h 10000"/>
                    <a:gd name="connsiteX170" fmla="*/ 8722 w 10000"/>
                    <a:gd name="connsiteY170" fmla="*/ 9720 h 10000"/>
                    <a:gd name="connsiteX171" fmla="*/ 10000 w 10000"/>
                    <a:gd name="connsiteY171" fmla="*/ 10000 h 10000"/>
                    <a:gd name="connsiteX0" fmla="*/ 10000 w 10000"/>
                    <a:gd name="connsiteY0" fmla="*/ 4792 h 7169"/>
                    <a:gd name="connsiteX1" fmla="*/ 10000 w 10000"/>
                    <a:gd name="connsiteY1" fmla="*/ 4792 h 7169"/>
                    <a:gd name="connsiteX2" fmla="*/ 9222 w 10000"/>
                    <a:gd name="connsiteY2" fmla="*/ 4827 h 7169"/>
                    <a:gd name="connsiteX3" fmla="*/ 8944 w 10000"/>
                    <a:gd name="connsiteY3" fmla="*/ 4827 h 7169"/>
                    <a:gd name="connsiteX4" fmla="*/ 8833 w 10000"/>
                    <a:gd name="connsiteY4" fmla="*/ 4792 h 7169"/>
                    <a:gd name="connsiteX5" fmla="*/ 8778 w 10000"/>
                    <a:gd name="connsiteY5" fmla="*/ 4757 h 7169"/>
                    <a:gd name="connsiteX6" fmla="*/ 8778 w 10000"/>
                    <a:gd name="connsiteY6" fmla="*/ 4757 h 7169"/>
                    <a:gd name="connsiteX7" fmla="*/ 8444 w 10000"/>
                    <a:gd name="connsiteY7" fmla="*/ 4335 h 7169"/>
                    <a:gd name="connsiteX8" fmla="*/ 8167 w 10000"/>
                    <a:gd name="connsiteY8" fmla="*/ 3952 h 7169"/>
                    <a:gd name="connsiteX9" fmla="*/ 8167 w 10000"/>
                    <a:gd name="connsiteY9" fmla="*/ 3952 h 7169"/>
                    <a:gd name="connsiteX10" fmla="*/ 8056 w 10000"/>
                    <a:gd name="connsiteY10" fmla="*/ 3884 h 7169"/>
                    <a:gd name="connsiteX11" fmla="*/ 7889 w 10000"/>
                    <a:gd name="connsiteY11" fmla="*/ 3813 h 7169"/>
                    <a:gd name="connsiteX12" fmla="*/ 7444 w 10000"/>
                    <a:gd name="connsiteY12" fmla="*/ 3775 h 7169"/>
                    <a:gd name="connsiteX13" fmla="*/ 6889 w 10000"/>
                    <a:gd name="connsiteY13" fmla="*/ 3742 h 7169"/>
                    <a:gd name="connsiteX14" fmla="*/ 6389 w 10000"/>
                    <a:gd name="connsiteY14" fmla="*/ 3742 h 7169"/>
                    <a:gd name="connsiteX15" fmla="*/ 6389 w 10000"/>
                    <a:gd name="connsiteY15" fmla="*/ 3742 h 7169"/>
                    <a:gd name="connsiteX16" fmla="*/ 6167 w 10000"/>
                    <a:gd name="connsiteY16" fmla="*/ 3707 h 7169"/>
                    <a:gd name="connsiteX17" fmla="*/ 6056 w 10000"/>
                    <a:gd name="connsiteY17" fmla="*/ 3639 h 7169"/>
                    <a:gd name="connsiteX18" fmla="*/ 6000 w 10000"/>
                    <a:gd name="connsiteY18" fmla="*/ 3568 h 7169"/>
                    <a:gd name="connsiteX19" fmla="*/ 6000 w 10000"/>
                    <a:gd name="connsiteY19" fmla="*/ 3427 h 7169"/>
                    <a:gd name="connsiteX20" fmla="*/ 6056 w 10000"/>
                    <a:gd name="connsiteY20" fmla="*/ 3147 h 7169"/>
                    <a:gd name="connsiteX21" fmla="*/ 6111 w 10000"/>
                    <a:gd name="connsiteY21" fmla="*/ 3006 h 7169"/>
                    <a:gd name="connsiteX22" fmla="*/ 6056 w 10000"/>
                    <a:gd name="connsiteY22" fmla="*/ 2834 h 7169"/>
                    <a:gd name="connsiteX23" fmla="*/ 6056 w 10000"/>
                    <a:gd name="connsiteY23" fmla="*/ 2834 h 7169"/>
                    <a:gd name="connsiteX24" fmla="*/ 6000 w 10000"/>
                    <a:gd name="connsiteY24" fmla="*/ 2728 h 7169"/>
                    <a:gd name="connsiteX25" fmla="*/ 5944 w 10000"/>
                    <a:gd name="connsiteY25" fmla="*/ 2657 h 7169"/>
                    <a:gd name="connsiteX26" fmla="*/ 5833 w 10000"/>
                    <a:gd name="connsiteY26" fmla="*/ 2657 h 7169"/>
                    <a:gd name="connsiteX27" fmla="*/ 5667 w 10000"/>
                    <a:gd name="connsiteY27" fmla="*/ 2693 h 7169"/>
                    <a:gd name="connsiteX28" fmla="*/ 5333 w 10000"/>
                    <a:gd name="connsiteY28" fmla="*/ 2796 h 7169"/>
                    <a:gd name="connsiteX29" fmla="*/ 4889 w 10000"/>
                    <a:gd name="connsiteY29" fmla="*/ 2973 h 7169"/>
                    <a:gd name="connsiteX30" fmla="*/ 4889 w 10000"/>
                    <a:gd name="connsiteY30" fmla="*/ 2973 h 7169"/>
                    <a:gd name="connsiteX31" fmla="*/ 4611 w 10000"/>
                    <a:gd name="connsiteY31" fmla="*/ 3006 h 7169"/>
                    <a:gd name="connsiteX32" fmla="*/ 4500 w 10000"/>
                    <a:gd name="connsiteY32" fmla="*/ 3006 h 7169"/>
                    <a:gd name="connsiteX33" fmla="*/ 4444 w 10000"/>
                    <a:gd name="connsiteY33" fmla="*/ 2973 h 7169"/>
                    <a:gd name="connsiteX34" fmla="*/ 4389 w 10000"/>
                    <a:gd name="connsiteY34" fmla="*/ 2834 h 7169"/>
                    <a:gd name="connsiteX35" fmla="*/ 4222 w 10000"/>
                    <a:gd name="connsiteY35" fmla="*/ 2657 h 7169"/>
                    <a:gd name="connsiteX36" fmla="*/ 4222 w 10000"/>
                    <a:gd name="connsiteY36" fmla="*/ 2657 h 7169"/>
                    <a:gd name="connsiteX37" fmla="*/ 4111 w 10000"/>
                    <a:gd name="connsiteY37" fmla="*/ 2554 h 7169"/>
                    <a:gd name="connsiteX38" fmla="*/ 4111 w 10000"/>
                    <a:gd name="connsiteY38" fmla="*/ 2448 h 7169"/>
                    <a:gd name="connsiteX39" fmla="*/ 4111 w 10000"/>
                    <a:gd name="connsiteY39" fmla="*/ 2377 h 7169"/>
                    <a:gd name="connsiteX40" fmla="*/ 4167 w 10000"/>
                    <a:gd name="connsiteY40" fmla="*/ 2309 h 7169"/>
                    <a:gd name="connsiteX41" fmla="*/ 4278 w 10000"/>
                    <a:gd name="connsiteY41" fmla="*/ 2168 h 7169"/>
                    <a:gd name="connsiteX42" fmla="*/ 4389 w 10000"/>
                    <a:gd name="connsiteY42" fmla="*/ 2133 h 7169"/>
                    <a:gd name="connsiteX43" fmla="*/ 4389 w 10000"/>
                    <a:gd name="connsiteY43" fmla="*/ 2133 h 7169"/>
                    <a:gd name="connsiteX44" fmla="*/ 4389 w 10000"/>
                    <a:gd name="connsiteY44" fmla="*/ 2100 h 7169"/>
                    <a:gd name="connsiteX45" fmla="*/ 4444 w 10000"/>
                    <a:gd name="connsiteY45" fmla="*/ 2064 h 7169"/>
                    <a:gd name="connsiteX46" fmla="*/ 4667 w 10000"/>
                    <a:gd name="connsiteY46" fmla="*/ 2029 h 7169"/>
                    <a:gd name="connsiteX47" fmla="*/ 5333 w 10000"/>
                    <a:gd name="connsiteY47" fmla="*/ 1961 h 7169"/>
                    <a:gd name="connsiteX48" fmla="*/ 6500 w 10000"/>
                    <a:gd name="connsiteY48" fmla="*/ 1855 h 7169"/>
                    <a:gd name="connsiteX49" fmla="*/ 6500 w 10000"/>
                    <a:gd name="connsiteY49" fmla="*/ 1855 h 7169"/>
                    <a:gd name="connsiteX50" fmla="*/ 7167 w 10000"/>
                    <a:gd name="connsiteY50" fmla="*/ 1749 h 7169"/>
                    <a:gd name="connsiteX51" fmla="*/ 8389 w 10000"/>
                    <a:gd name="connsiteY51" fmla="*/ 1539 h 7169"/>
                    <a:gd name="connsiteX52" fmla="*/ 8389 w 10000"/>
                    <a:gd name="connsiteY52" fmla="*/ 1539 h 7169"/>
                    <a:gd name="connsiteX53" fmla="*/ 8667 w 10000"/>
                    <a:gd name="connsiteY53" fmla="*/ 1466 h 7169"/>
                    <a:gd name="connsiteX54" fmla="*/ 8778 w 10000"/>
                    <a:gd name="connsiteY54" fmla="*/ 1363 h 7169"/>
                    <a:gd name="connsiteX55" fmla="*/ 8889 w 10000"/>
                    <a:gd name="connsiteY55" fmla="*/ 1295 h 7169"/>
                    <a:gd name="connsiteX56" fmla="*/ 8833 w 10000"/>
                    <a:gd name="connsiteY56" fmla="*/ 1224 h 7169"/>
                    <a:gd name="connsiteX57" fmla="*/ 8833 w 10000"/>
                    <a:gd name="connsiteY57" fmla="*/ 1153 h 7169"/>
                    <a:gd name="connsiteX58" fmla="*/ 8722 w 10000"/>
                    <a:gd name="connsiteY58" fmla="*/ 1083 h 7169"/>
                    <a:gd name="connsiteX59" fmla="*/ 8556 w 10000"/>
                    <a:gd name="connsiteY59" fmla="*/ 979 h 7169"/>
                    <a:gd name="connsiteX60" fmla="*/ 8556 w 10000"/>
                    <a:gd name="connsiteY60" fmla="*/ 979 h 7169"/>
                    <a:gd name="connsiteX61" fmla="*/ 6556 w 10000"/>
                    <a:gd name="connsiteY61" fmla="*/ 351 h 7169"/>
                    <a:gd name="connsiteX62" fmla="*/ 6556 w 10000"/>
                    <a:gd name="connsiteY62" fmla="*/ 351 h 7169"/>
                    <a:gd name="connsiteX63" fmla="*/ 6333 w 10000"/>
                    <a:gd name="connsiteY63" fmla="*/ 247 h 7169"/>
                    <a:gd name="connsiteX64" fmla="*/ 6167 w 10000"/>
                    <a:gd name="connsiteY64" fmla="*/ 141 h 7169"/>
                    <a:gd name="connsiteX65" fmla="*/ 6056 w 10000"/>
                    <a:gd name="connsiteY65" fmla="*/ 36 h 7169"/>
                    <a:gd name="connsiteX66" fmla="*/ 6056 w 10000"/>
                    <a:gd name="connsiteY66" fmla="*/ 36 h 7169"/>
                    <a:gd name="connsiteX67" fmla="*/ 8056 w 10000"/>
                    <a:gd name="connsiteY67" fmla="*/ 0 h 7169"/>
                    <a:gd name="connsiteX68" fmla="*/ 10000 w 10000"/>
                    <a:gd name="connsiteY68" fmla="*/ 351 h 7169"/>
                    <a:gd name="connsiteX69" fmla="*/ 10000 w 10000"/>
                    <a:gd name="connsiteY69" fmla="*/ 4827 h 7169"/>
                    <a:gd name="connsiteX70" fmla="*/ 10000 w 10000"/>
                    <a:gd name="connsiteY70" fmla="*/ 4827 h 7169"/>
                    <a:gd name="connsiteX71" fmla="*/ 9722 w 10000"/>
                    <a:gd name="connsiteY71" fmla="*/ 4792 h 7169"/>
                    <a:gd name="connsiteX72" fmla="*/ 9389 w 10000"/>
                    <a:gd name="connsiteY72" fmla="*/ 4827 h 7169"/>
                    <a:gd name="connsiteX73" fmla="*/ 9389 w 10000"/>
                    <a:gd name="connsiteY73" fmla="*/ 4827 h 7169"/>
                    <a:gd name="connsiteX74" fmla="*/ 9278 w 10000"/>
                    <a:gd name="connsiteY74" fmla="*/ 4863 h 7169"/>
                    <a:gd name="connsiteX75" fmla="*/ 9056 w 10000"/>
                    <a:gd name="connsiteY75" fmla="*/ 4827 h 7169"/>
                    <a:gd name="connsiteX76" fmla="*/ 8889 w 10000"/>
                    <a:gd name="connsiteY76" fmla="*/ 4792 h 7169"/>
                    <a:gd name="connsiteX77" fmla="*/ 8722 w 10000"/>
                    <a:gd name="connsiteY77" fmla="*/ 4719 h 7169"/>
                    <a:gd name="connsiteX78" fmla="*/ 8611 w 10000"/>
                    <a:gd name="connsiteY78" fmla="*/ 4615 h 7169"/>
                    <a:gd name="connsiteX79" fmla="*/ 8444 w 10000"/>
                    <a:gd name="connsiteY79" fmla="*/ 4441 h 7169"/>
                    <a:gd name="connsiteX80" fmla="*/ 8444 w 10000"/>
                    <a:gd name="connsiteY80" fmla="*/ 4441 h 7169"/>
                    <a:gd name="connsiteX81" fmla="*/ 8222 w 10000"/>
                    <a:gd name="connsiteY81" fmla="*/ 4128 h 7169"/>
                    <a:gd name="connsiteX82" fmla="*/ 8111 w 10000"/>
                    <a:gd name="connsiteY82" fmla="*/ 3987 h 7169"/>
                    <a:gd name="connsiteX83" fmla="*/ 7944 w 10000"/>
                    <a:gd name="connsiteY83" fmla="*/ 3884 h 7169"/>
                    <a:gd name="connsiteX84" fmla="*/ 7778 w 10000"/>
                    <a:gd name="connsiteY84" fmla="*/ 3813 h 7169"/>
                    <a:gd name="connsiteX85" fmla="*/ 7556 w 10000"/>
                    <a:gd name="connsiteY85" fmla="*/ 3775 h 7169"/>
                    <a:gd name="connsiteX86" fmla="*/ 7333 w 10000"/>
                    <a:gd name="connsiteY86" fmla="*/ 3742 h 7169"/>
                    <a:gd name="connsiteX87" fmla="*/ 7000 w 10000"/>
                    <a:gd name="connsiteY87" fmla="*/ 3707 h 7169"/>
                    <a:gd name="connsiteX88" fmla="*/ 7000 w 10000"/>
                    <a:gd name="connsiteY88" fmla="*/ 3707 h 7169"/>
                    <a:gd name="connsiteX89" fmla="*/ 6556 w 10000"/>
                    <a:gd name="connsiteY89" fmla="*/ 3742 h 7169"/>
                    <a:gd name="connsiteX90" fmla="*/ 6222 w 10000"/>
                    <a:gd name="connsiteY90" fmla="*/ 3742 h 7169"/>
                    <a:gd name="connsiteX91" fmla="*/ 6111 w 10000"/>
                    <a:gd name="connsiteY91" fmla="*/ 3707 h 7169"/>
                    <a:gd name="connsiteX92" fmla="*/ 6056 w 10000"/>
                    <a:gd name="connsiteY92" fmla="*/ 3672 h 7169"/>
                    <a:gd name="connsiteX93" fmla="*/ 6056 w 10000"/>
                    <a:gd name="connsiteY93" fmla="*/ 3672 h 7169"/>
                    <a:gd name="connsiteX94" fmla="*/ 6056 w 10000"/>
                    <a:gd name="connsiteY94" fmla="*/ 3041 h 7169"/>
                    <a:gd name="connsiteX95" fmla="*/ 6056 w 10000"/>
                    <a:gd name="connsiteY95" fmla="*/ 3041 h 7169"/>
                    <a:gd name="connsiteX96" fmla="*/ 6056 w 10000"/>
                    <a:gd name="connsiteY96" fmla="*/ 2902 h 7169"/>
                    <a:gd name="connsiteX97" fmla="*/ 5944 w 10000"/>
                    <a:gd name="connsiteY97" fmla="*/ 2728 h 7169"/>
                    <a:gd name="connsiteX98" fmla="*/ 5889 w 10000"/>
                    <a:gd name="connsiteY98" fmla="*/ 2693 h 7169"/>
                    <a:gd name="connsiteX99" fmla="*/ 5778 w 10000"/>
                    <a:gd name="connsiteY99" fmla="*/ 2657 h 7169"/>
                    <a:gd name="connsiteX100" fmla="*/ 5667 w 10000"/>
                    <a:gd name="connsiteY100" fmla="*/ 2657 h 7169"/>
                    <a:gd name="connsiteX101" fmla="*/ 5500 w 10000"/>
                    <a:gd name="connsiteY101" fmla="*/ 2693 h 7169"/>
                    <a:gd name="connsiteX102" fmla="*/ 5500 w 10000"/>
                    <a:gd name="connsiteY102" fmla="*/ 2693 h 7169"/>
                    <a:gd name="connsiteX103" fmla="*/ 4889 w 10000"/>
                    <a:gd name="connsiteY103" fmla="*/ 2937 h 7169"/>
                    <a:gd name="connsiteX104" fmla="*/ 4611 w 10000"/>
                    <a:gd name="connsiteY104" fmla="*/ 3006 h 7169"/>
                    <a:gd name="connsiteX105" fmla="*/ 4556 w 10000"/>
                    <a:gd name="connsiteY105" fmla="*/ 3041 h 7169"/>
                    <a:gd name="connsiteX106" fmla="*/ 4500 w 10000"/>
                    <a:gd name="connsiteY106" fmla="*/ 3006 h 7169"/>
                    <a:gd name="connsiteX107" fmla="*/ 4500 w 10000"/>
                    <a:gd name="connsiteY107" fmla="*/ 3006 h 7169"/>
                    <a:gd name="connsiteX108" fmla="*/ 4222 w 10000"/>
                    <a:gd name="connsiteY108" fmla="*/ 2657 h 7169"/>
                    <a:gd name="connsiteX109" fmla="*/ 4222 w 10000"/>
                    <a:gd name="connsiteY109" fmla="*/ 2657 h 7169"/>
                    <a:gd name="connsiteX110" fmla="*/ 4111 w 10000"/>
                    <a:gd name="connsiteY110" fmla="*/ 2483 h 7169"/>
                    <a:gd name="connsiteX111" fmla="*/ 4111 w 10000"/>
                    <a:gd name="connsiteY111" fmla="*/ 2377 h 7169"/>
                    <a:gd name="connsiteX112" fmla="*/ 4111 w 10000"/>
                    <a:gd name="connsiteY112" fmla="*/ 2274 h 7169"/>
                    <a:gd name="connsiteX113" fmla="*/ 4111 w 10000"/>
                    <a:gd name="connsiteY113" fmla="*/ 2274 h 7169"/>
                    <a:gd name="connsiteX114" fmla="*/ 4278 w 10000"/>
                    <a:gd name="connsiteY114" fmla="*/ 2168 h 7169"/>
                    <a:gd name="connsiteX115" fmla="*/ 4389 w 10000"/>
                    <a:gd name="connsiteY115" fmla="*/ 2133 h 7169"/>
                    <a:gd name="connsiteX116" fmla="*/ 4389 w 10000"/>
                    <a:gd name="connsiteY116" fmla="*/ 2133 h 7169"/>
                    <a:gd name="connsiteX117" fmla="*/ 4000 w 10000"/>
                    <a:gd name="connsiteY117" fmla="*/ 2133 h 7169"/>
                    <a:gd name="connsiteX118" fmla="*/ 3722 w 10000"/>
                    <a:gd name="connsiteY118" fmla="*/ 2168 h 7169"/>
                    <a:gd name="connsiteX119" fmla="*/ 3611 w 10000"/>
                    <a:gd name="connsiteY119" fmla="*/ 2205 h 7169"/>
                    <a:gd name="connsiteX120" fmla="*/ 3556 w 10000"/>
                    <a:gd name="connsiteY120" fmla="*/ 2238 h 7169"/>
                    <a:gd name="connsiteX121" fmla="*/ 3556 w 10000"/>
                    <a:gd name="connsiteY121" fmla="*/ 2238 h 7169"/>
                    <a:gd name="connsiteX122" fmla="*/ 3444 w 10000"/>
                    <a:gd name="connsiteY122" fmla="*/ 2377 h 7169"/>
                    <a:gd name="connsiteX123" fmla="*/ 3278 w 10000"/>
                    <a:gd name="connsiteY123" fmla="*/ 2589 h 7169"/>
                    <a:gd name="connsiteX124" fmla="*/ 3000 w 10000"/>
                    <a:gd name="connsiteY124" fmla="*/ 2834 h 7169"/>
                    <a:gd name="connsiteX125" fmla="*/ 2667 w 10000"/>
                    <a:gd name="connsiteY125" fmla="*/ 3006 h 7169"/>
                    <a:gd name="connsiteX126" fmla="*/ 2667 w 10000"/>
                    <a:gd name="connsiteY126" fmla="*/ 3006 h 7169"/>
                    <a:gd name="connsiteX127" fmla="*/ 2333 w 10000"/>
                    <a:gd name="connsiteY127" fmla="*/ 3147 h 7169"/>
                    <a:gd name="connsiteX128" fmla="*/ 1833 w 10000"/>
                    <a:gd name="connsiteY128" fmla="*/ 3288 h 7169"/>
                    <a:gd name="connsiteX129" fmla="*/ 1389 w 10000"/>
                    <a:gd name="connsiteY129" fmla="*/ 3359 h 7169"/>
                    <a:gd name="connsiteX130" fmla="*/ 889 w 10000"/>
                    <a:gd name="connsiteY130" fmla="*/ 3392 h 7169"/>
                    <a:gd name="connsiteX131" fmla="*/ 889 w 10000"/>
                    <a:gd name="connsiteY131" fmla="*/ 3392 h 7169"/>
                    <a:gd name="connsiteX132" fmla="*/ 500 w 10000"/>
                    <a:gd name="connsiteY132" fmla="*/ 3427 h 7169"/>
                    <a:gd name="connsiteX133" fmla="*/ 222 w 10000"/>
                    <a:gd name="connsiteY133" fmla="*/ 3465 h 7169"/>
                    <a:gd name="connsiteX134" fmla="*/ 0 w 10000"/>
                    <a:gd name="connsiteY134" fmla="*/ 3500 h 7169"/>
                    <a:gd name="connsiteX135" fmla="*/ 0 w 10000"/>
                    <a:gd name="connsiteY135" fmla="*/ 3500 h 7169"/>
                    <a:gd name="connsiteX136" fmla="*/ 278 w 10000"/>
                    <a:gd name="connsiteY136" fmla="*/ 4055 h 7169"/>
                    <a:gd name="connsiteX137" fmla="*/ 500 w 10000"/>
                    <a:gd name="connsiteY137" fmla="*/ 4477 h 7169"/>
                    <a:gd name="connsiteX138" fmla="*/ 722 w 10000"/>
                    <a:gd name="connsiteY138" fmla="*/ 4827 h 7169"/>
                    <a:gd name="connsiteX139" fmla="*/ 722 w 10000"/>
                    <a:gd name="connsiteY139" fmla="*/ 4827 h 7169"/>
                    <a:gd name="connsiteX140" fmla="*/ 889 w 10000"/>
                    <a:gd name="connsiteY140" fmla="*/ 5037 h 7169"/>
                    <a:gd name="connsiteX141" fmla="*/ 944 w 10000"/>
                    <a:gd name="connsiteY141" fmla="*/ 5211 h 7169"/>
                    <a:gd name="connsiteX142" fmla="*/ 1111 w 10000"/>
                    <a:gd name="connsiteY142" fmla="*/ 5385 h 7169"/>
                    <a:gd name="connsiteX143" fmla="*/ 1333 w 10000"/>
                    <a:gd name="connsiteY143" fmla="*/ 5665 h 7169"/>
                    <a:gd name="connsiteX144" fmla="*/ 1333 w 10000"/>
                    <a:gd name="connsiteY144" fmla="*/ 5665 h 7169"/>
                    <a:gd name="connsiteX145" fmla="*/ 1444 w 10000"/>
                    <a:gd name="connsiteY145" fmla="*/ 5806 h 7169"/>
                    <a:gd name="connsiteX146" fmla="*/ 1500 w 10000"/>
                    <a:gd name="connsiteY146" fmla="*/ 5910 h 7169"/>
                    <a:gd name="connsiteX147" fmla="*/ 1500 w 10000"/>
                    <a:gd name="connsiteY147" fmla="*/ 6013 h 7169"/>
                    <a:gd name="connsiteX148" fmla="*/ 1556 w 10000"/>
                    <a:gd name="connsiteY148" fmla="*/ 6051 h 7169"/>
                    <a:gd name="connsiteX149" fmla="*/ 1722 w 10000"/>
                    <a:gd name="connsiteY149" fmla="*/ 6084 h 7169"/>
                    <a:gd name="connsiteX150" fmla="*/ 1944 w 10000"/>
                    <a:gd name="connsiteY150" fmla="*/ 6119 h 7169"/>
                    <a:gd name="connsiteX151" fmla="*/ 2944 w 10000"/>
                    <a:gd name="connsiteY151" fmla="*/ 6155 h 7169"/>
                    <a:gd name="connsiteX152" fmla="*/ 2944 w 10000"/>
                    <a:gd name="connsiteY152" fmla="*/ 6155 h 7169"/>
                    <a:gd name="connsiteX153" fmla="*/ 4167 w 10000"/>
                    <a:gd name="connsiteY153" fmla="*/ 6223 h 7169"/>
                    <a:gd name="connsiteX154" fmla="*/ 4889 w 10000"/>
                    <a:gd name="connsiteY154" fmla="*/ 6329 h 7169"/>
                    <a:gd name="connsiteX155" fmla="*/ 5278 w 10000"/>
                    <a:gd name="connsiteY155" fmla="*/ 6437 h 7169"/>
                    <a:gd name="connsiteX156" fmla="*/ 5444 w 10000"/>
                    <a:gd name="connsiteY156" fmla="*/ 6470 h 7169"/>
                    <a:gd name="connsiteX157" fmla="*/ 5444 w 10000"/>
                    <a:gd name="connsiteY157" fmla="*/ 6470 h 7169"/>
                    <a:gd name="connsiteX158" fmla="*/ 5722 w 10000"/>
                    <a:gd name="connsiteY158" fmla="*/ 6541 h 7169"/>
                    <a:gd name="connsiteX159" fmla="*/ 5833 w 10000"/>
                    <a:gd name="connsiteY159" fmla="*/ 6576 h 7169"/>
                    <a:gd name="connsiteX160" fmla="*/ 5833 w 10000"/>
                    <a:gd name="connsiteY160" fmla="*/ 6576 h 7169"/>
                    <a:gd name="connsiteX161" fmla="*/ 5833 w 10000"/>
                    <a:gd name="connsiteY161" fmla="*/ 6541 h 7169"/>
                    <a:gd name="connsiteX162" fmla="*/ 5889 w 10000"/>
                    <a:gd name="connsiteY162" fmla="*/ 6505 h 7169"/>
                    <a:gd name="connsiteX163" fmla="*/ 6000 w 10000"/>
                    <a:gd name="connsiteY163" fmla="*/ 6470 h 7169"/>
                    <a:gd name="connsiteX164" fmla="*/ 6167 w 10000"/>
                    <a:gd name="connsiteY164" fmla="*/ 6437 h 7169"/>
                    <a:gd name="connsiteX165" fmla="*/ 6444 w 10000"/>
                    <a:gd name="connsiteY165" fmla="*/ 6437 h 7169"/>
                    <a:gd name="connsiteX166" fmla="*/ 6833 w 10000"/>
                    <a:gd name="connsiteY166" fmla="*/ 6470 h 7169"/>
                    <a:gd name="connsiteX167" fmla="*/ 7278 w 10000"/>
                    <a:gd name="connsiteY167" fmla="*/ 6576 h 7169"/>
                    <a:gd name="connsiteX168" fmla="*/ 7278 w 10000"/>
                    <a:gd name="connsiteY168" fmla="*/ 6576 h 7169"/>
                    <a:gd name="connsiteX169" fmla="*/ 8722 w 10000"/>
                    <a:gd name="connsiteY169" fmla="*/ 6889 h 7169"/>
                    <a:gd name="connsiteX170" fmla="*/ 10000 w 10000"/>
                    <a:gd name="connsiteY170" fmla="*/ 7169 h 7169"/>
                    <a:gd name="connsiteX0" fmla="*/ 10000 w 10000"/>
                    <a:gd name="connsiteY0" fmla="*/ 6684 h 9609"/>
                    <a:gd name="connsiteX1" fmla="*/ 10000 w 10000"/>
                    <a:gd name="connsiteY1" fmla="*/ 6684 h 9609"/>
                    <a:gd name="connsiteX2" fmla="*/ 9222 w 10000"/>
                    <a:gd name="connsiteY2" fmla="*/ 6733 h 9609"/>
                    <a:gd name="connsiteX3" fmla="*/ 8944 w 10000"/>
                    <a:gd name="connsiteY3" fmla="*/ 6733 h 9609"/>
                    <a:gd name="connsiteX4" fmla="*/ 8833 w 10000"/>
                    <a:gd name="connsiteY4" fmla="*/ 6684 h 9609"/>
                    <a:gd name="connsiteX5" fmla="*/ 8778 w 10000"/>
                    <a:gd name="connsiteY5" fmla="*/ 6636 h 9609"/>
                    <a:gd name="connsiteX6" fmla="*/ 8778 w 10000"/>
                    <a:gd name="connsiteY6" fmla="*/ 6636 h 9609"/>
                    <a:gd name="connsiteX7" fmla="*/ 8444 w 10000"/>
                    <a:gd name="connsiteY7" fmla="*/ 6047 h 9609"/>
                    <a:gd name="connsiteX8" fmla="*/ 8167 w 10000"/>
                    <a:gd name="connsiteY8" fmla="*/ 5513 h 9609"/>
                    <a:gd name="connsiteX9" fmla="*/ 8167 w 10000"/>
                    <a:gd name="connsiteY9" fmla="*/ 5513 h 9609"/>
                    <a:gd name="connsiteX10" fmla="*/ 8056 w 10000"/>
                    <a:gd name="connsiteY10" fmla="*/ 5418 h 9609"/>
                    <a:gd name="connsiteX11" fmla="*/ 7889 w 10000"/>
                    <a:gd name="connsiteY11" fmla="*/ 5319 h 9609"/>
                    <a:gd name="connsiteX12" fmla="*/ 7444 w 10000"/>
                    <a:gd name="connsiteY12" fmla="*/ 5266 h 9609"/>
                    <a:gd name="connsiteX13" fmla="*/ 6889 w 10000"/>
                    <a:gd name="connsiteY13" fmla="*/ 5220 h 9609"/>
                    <a:gd name="connsiteX14" fmla="*/ 6389 w 10000"/>
                    <a:gd name="connsiteY14" fmla="*/ 5220 h 9609"/>
                    <a:gd name="connsiteX15" fmla="*/ 6389 w 10000"/>
                    <a:gd name="connsiteY15" fmla="*/ 5220 h 9609"/>
                    <a:gd name="connsiteX16" fmla="*/ 6167 w 10000"/>
                    <a:gd name="connsiteY16" fmla="*/ 5171 h 9609"/>
                    <a:gd name="connsiteX17" fmla="*/ 6056 w 10000"/>
                    <a:gd name="connsiteY17" fmla="*/ 5076 h 9609"/>
                    <a:gd name="connsiteX18" fmla="*/ 6000 w 10000"/>
                    <a:gd name="connsiteY18" fmla="*/ 4977 h 9609"/>
                    <a:gd name="connsiteX19" fmla="*/ 6000 w 10000"/>
                    <a:gd name="connsiteY19" fmla="*/ 4780 h 9609"/>
                    <a:gd name="connsiteX20" fmla="*/ 6056 w 10000"/>
                    <a:gd name="connsiteY20" fmla="*/ 4390 h 9609"/>
                    <a:gd name="connsiteX21" fmla="*/ 6111 w 10000"/>
                    <a:gd name="connsiteY21" fmla="*/ 4193 h 9609"/>
                    <a:gd name="connsiteX22" fmla="*/ 6056 w 10000"/>
                    <a:gd name="connsiteY22" fmla="*/ 3953 h 9609"/>
                    <a:gd name="connsiteX23" fmla="*/ 6056 w 10000"/>
                    <a:gd name="connsiteY23" fmla="*/ 3953 h 9609"/>
                    <a:gd name="connsiteX24" fmla="*/ 6000 w 10000"/>
                    <a:gd name="connsiteY24" fmla="*/ 3805 h 9609"/>
                    <a:gd name="connsiteX25" fmla="*/ 5944 w 10000"/>
                    <a:gd name="connsiteY25" fmla="*/ 3706 h 9609"/>
                    <a:gd name="connsiteX26" fmla="*/ 5833 w 10000"/>
                    <a:gd name="connsiteY26" fmla="*/ 3706 h 9609"/>
                    <a:gd name="connsiteX27" fmla="*/ 5667 w 10000"/>
                    <a:gd name="connsiteY27" fmla="*/ 3756 h 9609"/>
                    <a:gd name="connsiteX28" fmla="*/ 5333 w 10000"/>
                    <a:gd name="connsiteY28" fmla="*/ 3900 h 9609"/>
                    <a:gd name="connsiteX29" fmla="*/ 4889 w 10000"/>
                    <a:gd name="connsiteY29" fmla="*/ 4147 h 9609"/>
                    <a:gd name="connsiteX30" fmla="*/ 4889 w 10000"/>
                    <a:gd name="connsiteY30" fmla="*/ 4147 h 9609"/>
                    <a:gd name="connsiteX31" fmla="*/ 4611 w 10000"/>
                    <a:gd name="connsiteY31" fmla="*/ 4193 h 9609"/>
                    <a:gd name="connsiteX32" fmla="*/ 4500 w 10000"/>
                    <a:gd name="connsiteY32" fmla="*/ 4193 h 9609"/>
                    <a:gd name="connsiteX33" fmla="*/ 4444 w 10000"/>
                    <a:gd name="connsiteY33" fmla="*/ 4147 h 9609"/>
                    <a:gd name="connsiteX34" fmla="*/ 4389 w 10000"/>
                    <a:gd name="connsiteY34" fmla="*/ 3953 h 9609"/>
                    <a:gd name="connsiteX35" fmla="*/ 4222 w 10000"/>
                    <a:gd name="connsiteY35" fmla="*/ 3706 h 9609"/>
                    <a:gd name="connsiteX36" fmla="*/ 4222 w 10000"/>
                    <a:gd name="connsiteY36" fmla="*/ 3706 h 9609"/>
                    <a:gd name="connsiteX37" fmla="*/ 4111 w 10000"/>
                    <a:gd name="connsiteY37" fmla="*/ 3563 h 9609"/>
                    <a:gd name="connsiteX38" fmla="*/ 4111 w 10000"/>
                    <a:gd name="connsiteY38" fmla="*/ 3415 h 9609"/>
                    <a:gd name="connsiteX39" fmla="*/ 4111 w 10000"/>
                    <a:gd name="connsiteY39" fmla="*/ 3316 h 9609"/>
                    <a:gd name="connsiteX40" fmla="*/ 4167 w 10000"/>
                    <a:gd name="connsiteY40" fmla="*/ 3221 h 9609"/>
                    <a:gd name="connsiteX41" fmla="*/ 4278 w 10000"/>
                    <a:gd name="connsiteY41" fmla="*/ 3024 h 9609"/>
                    <a:gd name="connsiteX42" fmla="*/ 4389 w 10000"/>
                    <a:gd name="connsiteY42" fmla="*/ 2975 h 9609"/>
                    <a:gd name="connsiteX43" fmla="*/ 4389 w 10000"/>
                    <a:gd name="connsiteY43" fmla="*/ 2975 h 9609"/>
                    <a:gd name="connsiteX44" fmla="*/ 4389 w 10000"/>
                    <a:gd name="connsiteY44" fmla="*/ 2929 h 9609"/>
                    <a:gd name="connsiteX45" fmla="*/ 4444 w 10000"/>
                    <a:gd name="connsiteY45" fmla="*/ 2879 h 9609"/>
                    <a:gd name="connsiteX46" fmla="*/ 4667 w 10000"/>
                    <a:gd name="connsiteY46" fmla="*/ 2830 h 9609"/>
                    <a:gd name="connsiteX47" fmla="*/ 5333 w 10000"/>
                    <a:gd name="connsiteY47" fmla="*/ 2735 h 9609"/>
                    <a:gd name="connsiteX48" fmla="*/ 6500 w 10000"/>
                    <a:gd name="connsiteY48" fmla="*/ 2588 h 9609"/>
                    <a:gd name="connsiteX49" fmla="*/ 6500 w 10000"/>
                    <a:gd name="connsiteY49" fmla="*/ 2588 h 9609"/>
                    <a:gd name="connsiteX50" fmla="*/ 7167 w 10000"/>
                    <a:gd name="connsiteY50" fmla="*/ 2440 h 9609"/>
                    <a:gd name="connsiteX51" fmla="*/ 8389 w 10000"/>
                    <a:gd name="connsiteY51" fmla="*/ 2147 h 9609"/>
                    <a:gd name="connsiteX52" fmla="*/ 8389 w 10000"/>
                    <a:gd name="connsiteY52" fmla="*/ 2147 h 9609"/>
                    <a:gd name="connsiteX53" fmla="*/ 8667 w 10000"/>
                    <a:gd name="connsiteY53" fmla="*/ 2045 h 9609"/>
                    <a:gd name="connsiteX54" fmla="*/ 8778 w 10000"/>
                    <a:gd name="connsiteY54" fmla="*/ 1901 h 9609"/>
                    <a:gd name="connsiteX55" fmla="*/ 8889 w 10000"/>
                    <a:gd name="connsiteY55" fmla="*/ 1806 h 9609"/>
                    <a:gd name="connsiteX56" fmla="*/ 8833 w 10000"/>
                    <a:gd name="connsiteY56" fmla="*/ 1707 h 9609"/>
                    <a:gd name="connsiteX57" fmla="*/ 8833 w 10000"/>
                    <a:gd name="connsiteY57" fmla="*/ 1608 h 9609"/>
                    <a:gd name="connsiteX58" fmla="*/ 8722 w 10000"/>
                    <a:gd name="connsiteY58" fmla="*/ 1511 h 9609"/>
                    <a:gd name="connsiteX59" fmla="*/ 8556 w 10000"/>
                    <a:gd name="connsiteY59" fmla="*/ 1366 h 9609"/>
                    <a:gd name="connsiteX60" fmla="*/ 8556 w 10000"/>
                    <a:gd name="connsiteY60" fmla="*/ 1366 h 9609"/>
                    <a:gd name="connsiteX61" fmla="*/ 6556 w 10000"/>
                    <a:gd name="connsiteY61" fmla="*/ 490 h 9609"/>
                    <a:gd name="connsiteX62" fmla="*/ 6556 w 10000"/>
                    <a:gd name="connsiteY62" fmla="*/ 490 h 9609"/>
                    <a:gd name="connsiteX63" fmla="*/ 6333 w 10000"/>
                    <a:gd name="connsiteY63" fmla="*/ 345 h 9609"/>
                    <a:gd name="connsiteX64" fmla="*/ 6167 w 10000"/>
                    <a:gd name="connsiteY64" fmla="*/ 197 h 9609"/>
                    <a:gd name="connsiteX65" fmla="*/ 6056 w 10000"/>
                    <a:gd name="connsiteY65" fmla="*/ 50 h 9609"/>
                    <a:gd name="connsiteX66" fmla="*/ 6056 w 10000"/>
                    <a:gd name="connsiteY66" fmla="*/ 50 h 9609"/>
                    <a:gd name="connsiteX67" fmla="*/ 8056 w 10000"/>
                    <a:gd name="connsiteY67" fmla="*/ 0 h 9609"/>
                    <a:gd name="connsiteX68" fmla="*/ 10000 w 10000"/>
                    <a:gd name="connsiteY68" fmla="*/ 490 h 9609"/>
                    <a:gd name="connsiteX69" fmla="*/ 10000 w 10000"/>
                    <a:gd name="connsiteY69" fmla="*/ 6733 h 9609"/>
                    <a:gd name="connsiteX70" fmla="*/ 10000 w 10000"/>
                    <a:gd name="connsiteY70" fmla="*/ 6733 h 9609"/>
                    <a:gd name="connsiteX71" fmla="*/ 9722 w 10000"/>
                    <a:gd name="connsiteY71" fmla="*/ 6684 h 9609"/>
                    <a:gd name="connsiteX72" fmla="*/ 9389 w 10000"/>
                    <a:gd name="connsiteY72" fmla="*/ 6733 h 9609"/>
                    <a:gd name="connsiteX73" fmla="*/ 9389 w 10000"/>
                    <a:gd name="connsiteY73" fmla="*/ 6733 h 9609"/>
                    <a:gd name="connsiteX74" fmla="*/ 9278 w 10000"/>
                    <a:gd name="connsiteY74" fmla="*/ 6783 h 9609"/>
                    <a:gd name="connsiteX75" fmla="*/ 9056 w 10000"/>
                    <a:gd name="connsiteY75" fmla="*/ 6733 h 9609"/>
                    <a:gd name="connsiteX76" fmla="*/ 8889 w 10000"/>
                    <a:gd name="connsiteY76" fmla="*/ 6684 h 9609"/>
                    <a:gd name="connsiteX77" fmla="*/ 8722 w 10000"/>
                    <a:gd name="connsiteY77" fmla="*/ 6583 h 9609"/>
                    <a:gd name="connsiteX78" fmla="*/ 8611 w 10000"/>
                    <a:gd name="connsiteY78" fmla="*/ 6437 h 9609"/>
                    <a:gd name="connsiteX79" fmla="*/ 8444 w 10000"/>
                    <a:gd name="connsiteY79" fmla="*/ 6195 h 9609"/>
                    <a:gd name="connsiteX80" fmla="*/ 8444 w 10000"/>
                    <a:gd name="connsiteY80" fmla="*/ 6195 h 9609"/>
                    <a:gd name="connsiteX81" fmla="*/ 8222 w 10000"/>
                    <a:gd name="connsiteY81" fmla="*/ 5758 h 9609"/>
                    <a:gd name="connsiteX82" fmla="*/ 8111 w 10000"/>
                    <a:gd name="connsiteY82" fmla="*/ 5561 h 9609"/>
                    <a:gd name="connsiteX83" fmla="*/ 7944 w 10000"/>
                    <a:gd name="connsiteY83" fmla="*/ 5418 h 9609"/>
                    <a:gd name="connsiteX84" fmla="*/ 7778 w 10000"/>
                    <a:gd name="connsiteY84" fmla="*/ 5319 h 9609"/>
                    <a:gd name="connsiteX85" fmla="*/ 7556 w 10000"/>
                    <a:gd name="connsiteY85" fmla="*/ 5266 h 9609"/>
                    <a:gd name="connsiteX86" fmla="*/ 7333 w 10000"/>
                    <a:gd name="connsiteY86" fmla="*/ 5220 h 9609"/>
                    <a:gd name="connsiteX87" fmla="*/ 7000 w 10000"/>
                    <a:gd name="connsiteY87" fmla="*/ 5171 h 9609"/>
                    <a:gd name="connsiteX88" fmla="*/ 7000 w 10000"/>
                    <a:gd name="connsiteY88" fmla="*/ 5171 h 9609"/>
                    <a:gd name="connsiteX89" fmla="*/ 6556 w 10000"/>
                    <a:gd name="connsiteY89" fmla="*/ 5220 h 9609"/>
                    <a:gd name="connsiteX90" fmla="*/ 6222 w 10000"/>
                    <a:gd name="connsiteY90" fmla="*/ 5220 h 9609"/>
                    <a:gd name="connsiteX91" fmla="*/ 6111 w 10000"/>
                    <a:gd name="connsiteY91" fmla="*/ 5171 h 9609"/>
                    <a:gd name="connsiteX92" fmla="*/ 6056 w 10000"/>
                    <a:gd name="connsiteY92" fmla="*/ 5122 h 9609"/>
                    <a:gd name="connsiteX93" fmla="*/ 6056 w 10000"/>
                    <a:gd name="connsiteY93" fmla="*/ 5122 h 9609"/>
                    <a:gd name="connsiteX94" fmla="*/ 6056 w 10000"/>
                    <a:gd name="connsiteY94" fmla="*/ 4242 h 9609"/>
                    <a:gd name="connsiteX95" fmla="*/ 6056 w 10000"/>
                    <a:gd name="connsiteY95" fmla="*/ 4242 h 9609"/>
                    <a:gd name="connsiteX96" fmla="*/ 6056 w 10000"/>
                    <a:gd name="connsiteY96" fmla="*/ 4048 h 9609"/>
                    <a:gd name="connsiteX97" fmla="*/ 5944 w 10000"/>
                    <a:gd name="connsiteY97" fmla="*/ 3805 h 9609"/>
                    <a:gd name="connsiteX98" fmla="*/ 5889 w 10000"/>
                    <a:gd name="connsiteY98" fmla="*/ 3756 h 9609"/>
                    <a:gd name="connsiteX99" fmla="*/ 5778 w 10000"/>
                    <a:gd name="connsiteY99" fmla="*/ 3706 h 9609"/>
                    <a:gd name="connsiteX100" fmla="*/ 5667 w 10000"/>
                    <a:gd name="connsiteY100" fmla="*/ 3706 h 9609"/>
                    <a:gd name="connsiteX101" fmla="*/ 5500 w 10000"/>
                    <a:gd name="connsiteY101" fmla="*/ 3756 h 9609"/>
                    <a:gd name="connsiteX102" fmla="*/ 5500 w 10000"/>
                    <a:gd name="connsiteY102" fmla="*/ 3756 h 9609"/>
                    <a:gd name="connsiteX103" fmla="*/ 4889 w 10000"/>
                    <a:gd name="connsiteY103" fmla="*/ 4097 h 9609"/>
                    <a:gd name="connsiteX104" fmla="*/ 4611 w 10000"/>
                    <a:gd name="connsiteY104" fmla="*/ 4193 h 9609"/>
                    <a:gd name="connsiteX105" fmla="*/ 4556 w 10000"/>
                    <a:gd name="connsiteY105" fmla="*/ 4242 h 9609"/>
                    <a:gd name="connsiteX106" fmla="*/ 4500 w 10000"/>
                    <a:gd name="connsiteY106" fmla="*/ 4193 h 9609"/>
                    <a:gd name="connsiteX107" fmla="*/ 4500 w 10000"/>
                    <a:gd name="connsiteY107" fmla="*/ 4193 h 9609"/>
                    <a:gd name="connsiteX108" fmla="*/ 4222 w 10000"/>
                    <a:gd name="connsiteY108" fmla="*/ 3706 h 9609"/>
                    <a:gd name="connsiteX109" fmla="*/ 4222 w 10000"/>
                    <a:gd name="connsiteY109" fmla="*/ 3706 h 9609"/>
                    <a:gd name="connsiteX110" fmla="*/ 4111 w 10000"/>
                    <a:gd name="connsiteY110" fmla="*/ 3464 h 9609"/>
                    <a:gd name="connsiteX111" fmla="*/ 4111 w 10000"/>
                    <a:gd name="connsiteY111" fmla="*/ 3316 h 9609"/>
                    <a:gd name="connsiteX112" fmla="*/ 4111 w 10000"/>
                    <a:gd name="connsiteY112" fmla="*/ 3172 h 9609"/>
                    <a:gd name="connsiteX113" fmla="*/ 4111 w 10000"/>
                    <a:gd name="connsiteY113" fmla="*/ 3172 h 9609"/>
                    <a:gd name="connsiteX114" fmla="*/ 4278 w 10000"/>
                    <a:gd name="connsiteY114" fmla="*/ 3024 h 9609"/>
                    <a:gd name="connsiteX115" fmla="*/ 4389 w 10000"/>
                    <a:gd name="connsiteY115" fmla="*/ 2975 h 9609"/>
                    <a:gd name="connsiteX116" fmla="*/ 4389 w 10000"/>
                    <a:gd name="connsiteY116" fmla="*/ 2975 h 9609"/>
                    <a:gd name="connsiteX117" fmla="*/ 4000 w 10000"/>
                    <a:gd name="connsiteY117" fmla="*/ 2975 h 9609"/>
                    <a:gd name="connsiteX118" fmla="*/ 3722 w 10000"/>
                    <a:gd name="connsiteY118" fmla="*/ 3024 h 9609"/>
                    <a:gd name="connsiteX119" fmla="*/ 3611 w 10000"/>
                    <a:gd name="connsiteY119" fmla="*/ 3076 h 9609"/>
                    <a:gd name="connsiteX120" fmla="*/ 3556 w 10000"/>
                    <a:gd name="connsiteY120" fmla="*/ 3122 h 9609"/>
                    <a:gd name="connsiteX121" fmla="*/ 3556 w 10000"/>
                    <a:gd name="connsiteY121" fmla="*/ 3122 h 9609"/>
                    <a:gd name="connsiteX122" fmla="*/ 3444 w 10000"/>
                    <a:gd name="connsiteY122" fmla="*/ 3316 h 9609"/>
                    <a:gd name="connsiteX123" fmla="*/ 3278 w 10000"/>
                    <a:gd name="connsiteY123" fmla="*/ 3611 h 9609"/>
                    <a:gd name="connsiteX124" fmla="*/ 3000 w 10000"/>
                    <a:gd name="connsiteY124" fmla="*/ 3953 h 9609"/>
                    <a:gd name="connsiteX125" fmla="*/ 2667 w 10000"/>
                    <a:gd name="connsiteY125" fmla="*/ 4193 h 9609"/>
                    <a:gd name="connsiteX126" fmla="*/ 2667 w 10000"/>
                    <a:gd name="connsiteY126" fmla="*/ 4193 h 9609"/>
                    <a:gd name="connsiteX127" fmla="*/ 2333 w 10000"/>
                    <a:gd name="connsiteY127" fmla="*/ 4390 h 9609"/>
                    <a:gd name="connsiteX128" fmla="*/ 1833 w 10000"/>
                    <a:gd name="connsiteY128" fmla="*/ 4586 h 9609"/>
                    <a:gd name="connsiteX129" fmla="*/ 1389 w 10000"/>
                    <a:gd name="connsiteY129" fmla="*/ 4685 h 9609"/>
                    <a:gd name="connsiteX130" fmla="*/ 889 w 10000"/>
                    <a:gd name="connsiteY130" fmla="*/ 4731 h 9609"/>
                    <a:gd name="connsiteX131" fmla="*/ 889 w 10000"/>
                    <a:gd name="connsiteY131" fmla="*/ 4731 h 9609"/>
                    <a:gd name="connsiteX132" fmla="*/ 500 w 10000"/>
                    <a:gd name="connsiteY132" fmla="*/ 4780 h 9609"/>
                    <a:gd name="connsiteX133" fmla="*/ 222 w 10000"/>
                    <a:gd name="connsiteY133" fmla="*/ 4833 h 9609"/>
                    <a:gd name="connsiteX134" fmla="*/ 0 w 10000"/>
                    <a:gd name="connsiteY134" fmla="*/ 4882 h 9609"/>
                    <a:gd name="connsiteX135" fmla="*/ 0 w 10000"/>
                    <a:gd name="connsiteY135" fmla="*/ 4882 h 9609"/>
                    <a:gd name="connsiteX136" fmla="*/ 278 w 10000"/>
                    <a:gd name="connsiteY136" fmla="*/ 5656 h 9609"/>
                    <a:gd name="connsiteX137" fmla="*/ 500 w 10000"/>
                    <a:gd name="connsiteY137" fmla="*/ 6245 h 9609"/>
                    <a:gd name="connsiteX138" fmla="*/ 722 w 10000"/>
                    <a:gd name="connsiteY138" fmla="*/ 6733 h 9609"/>
                    <a:gd name="connsiteX139" fmla="*/ 722 w 10000"/>
                    <a:gd name="connsiteY139" fmla="*/ 6733 h 9609"/>
                    <a:gd name="connsiteX140" fmla="*/ 889 w 10000"/>
                    <a:gd name="connsiteY140" fmla="*/ 7026 h 9609"/>
                    <a:gd name="connsiteX141" fmla="*/ 944 w 10000"/>
                    <a:gd name="connsiteY141" fmla="*/ 7269 h 9609"/>
                    <a:gd name="connsiteX142" fmla="*/ 1111 w 10000"/>
                    <a:gd name="connsiteY142" fmla="*/ 7512 h 9609"/>
                    <a:gd name="connsiteX143" fmla="*/ 1333 w 10000"/>
                    <a:gd name="connsiteY143" fmla="*/ 7902 h 9609"/>
                    <a:gd name="connsiteX144" fmla="*/ 1333 w 10000"/>
                    <a:gd name="connsiteY144" fmla="*/ 7902 h 9609"/>
                    <a:gd name="connsiteX145" fmla="*/ 1444 w 10000"/>
                    <a:gd name="connsiteY145" fmla="*/ 8099 h 9609"/>
                    <a:gd name="connsiteX146" fmla="*/ 1500 w 10000"/>
                    <a:gd name="connsiteY146" fmla="*/ 8244 h 9609"/>
                    <a:gd name="connsiteX147" fmla="*/ 1500 w 10000"/>
                    <a:gd name="connsiteY147" fmla="*/ 8388 h 9609"/>
                    <a:gd name="connsiteX148" fmla="*/ 1556 w 10000"/>
                    <a:gd name="connsiteY148" fmla="*/ 8441 h 9609"/>
                    <a:gd name="connsiteX149" fmla="*/ 1722 w 10000"/>
                    <a:gd name="connsiteY149" fmla="*/ 8487 h 9609"/>
                    <a:gd name="connsiteX150" fmla="*/ 1944 w 10000"/>
                    <a:gd name="connsiteY150" fmla="*/ 8535 h 9609"/>
                    <a:gd name="connsiteX151" fmla="*/ 2944 w 10000"/>
                    <a:gd name="connsiteY151" fmla="*/ 8586 h 9609"/>
                    <a:gd name="connsiteX152" fmla="*/ 2944 w 10000"/>
                    <a:gd name="connsiteY152" fmla="*/ 8586 h 9609"/>
                    <a:gd name="connsiteX153" fmla="*/ 4167 w 10000"/>
                    <a:gd name="connsiteY153" fmla="*/ 8680 h 9609"/>
                    <a:gd name="connsiteX154" fmla="*/ 4889 w 10000"/>
                    <a:gd name="connsiteY154" fmla="*/ 8828 h 9609"/>
                    <a:gd name="connsiteX155" fmla="*/ 5278 w 10000"/>
                    <a:gd name="connsiteY155" fmla="*/ 8979 h 9609"/>
                    <a:gd name="connsiteX156" fmla="*/ 5444 w 10000"/>
                    <a:gd name="connsiteY156" fmla="*/ 9025 h 9609"/>
                    <a:gd name="connsiteX157" fmla="*/ 5444 w 10000"/>
                    <a:gd name="connsiteY157" fmla="*/ 9025 h 9609"/>
                    <a:gd name="connsiteX158" fmla="*/ 5722 w 10000"/>
                    <a:gd name="connsiteY158" fmla="*/ 9124 h 9609"/>
                    <a:gd name="connsiteX159" fmla="*/ 5833 w 10000"/>
                    <a:gd name="connsiteY159" fmla="*/ 9173 h 9609"/>
                    <a:gd name="connsiteX160" fmla="*/ 5833 w 10000"/>
                    <a:gd name="connsiteY160" fmla="*/ 9173 h 9609"/>
                    <a:gd name="connsiteX161" fmla="*/ 5833 w 10000"/>
                    <a:gd name="connsiteY161" fmla="*/ 9124 h 9609"/>
                    <a:gd name="connsiteX162" fmla="*/ 5889 w 10000"/>
                    <a:gd name="connsiteY162" fmla="*/ 9074 h 9609"/>
                    <a:gd name="connsiteX163" fmla="*/ 6000 w 10000"/>
                    <a:gd name="connsiteY163" fmla="*/ 9025 h 9609"/>
                    <a:gd name="connsiteX164" fmla="*/ 6167 w 10000"/>
                    <a:gd name="connsiteY164" fmla="*/ 8979 h 9609"/>
                    <a:gd name="connsiteX165" fmla="*/ 6444 w 10000"/>
                    <a:gd name="connsiteY165" fmla="*/ 8979 h 9609"/>
                    <a:gd name="connsiteX166" fmla="*/ 6833 w 10000"/>
                    <a:gd name="connsiteY166" fmla="*/ 9025 h 9609"/>
                    <a:gd name="connsiteX167" fmla="*/ 7278 w 10000"/>
                    <a:gd name="connsiteY167" fmla="*/ 9173 h 9609"/>
                    <a:gd name="connsiteX168" fmla="*/ 7278 w 10000"/>
                    <a:gd name="connsiteY168" fmla="*/ 9173 h 9609"/>
                    <a:gd name="connsiteX169" fmla="*/ 8722 w 10000"/>
                    <a:gd name="connsiteY169" fmla="*/ 9609 h 9609"/>
                    <a:gd name="connsiteX0" fmla="*/ 10000 w 10000"/>
                    <a:gd name="connsiteY0" fmla="*/ 6956 h 9546"/>
                    <a:gd name="connsiteX1" fmla="*/ 10000 w 10000"/>
                    <a:gd name="connsiteY1" fmla="*/ 6956 h 9546"/>
                    <a:gd name="connsiteX2" fmla="*/ 9222 w 10000"/>
                    <a:gd name="connsiteY2" fmla="*/ 7007 h 9546"/>
                    <a:gd name="connsiteX3" fmla="*/ 8944 w 10000"/>
                    <a:gd name="connsiteY3" fmla="*/ 7007 h 9546"/>
                    <a:gd name="connsiteX4" fmla="*/ 8833 w 10000"/>
                    <a:gd name="connsiteY4" fmla="*/ 6956 h 9546"/>
                    <a:gd name="connsiteX5" fmla="*/ 8778 w 10000"/>
                    <a:gd name="connsiteY5" fmla="*/ 6906 h 9546"/>
                    <a:gd name="connsiteX6" fmla="*/ 8778 w 10000"/>
                    <a:gd name="connsiteY6" fmla="*/ 6906 h 9546"/>
                    <a:gd name="connsiteX7" fmla="*/ 8444 w 10000"/>
                    <a:gd name="connsiteY7" fmla="*/ 6293 h 9546"/>
                    <a:gd name="connsiteX8" fmla="*/ 8167 w 10000"/>
                    <a:gd name="connsiteY8" fmla="*/ 5737 h 9546"/>
                    <a:gd name="connsiteX9" fmla="*/ 8167 w 10000"/>
                    <a:gd name="connsiteY9" fmla="*/ 5737 h 9546"/>
                    <a:gd name="connsiteX10" fmla="*/ 8056 w 10000"/>
                    <a:gd name="connsiteY10" fmla="*/ 5638 h 9546"/>
                    <a:gd name="connsiteX11" fmla="*/ 7889 w 10000"/>
                    <a:gd name="connsiteY11" fmla="*/ 5535 h 9546"/>
                    <a:gd name="connsiteX12" fmla="*/ 7444 w 10000"/>
                    <a:gd name="connsiteY12" fmla="*/ 5480 h 9546"/>
                    <a:gd name="connsiteX13" fmla="*/ 6889 w 10000"/>
                    <a:gd name="connsiteY13" fmla="*/ 5432 h 9546"/>
                    <a:gd name="connsiteX14" fmla="*/ 6389 w 10000"/>
                    <a:gd name="connsiteY14" fmla="*/ 5432 h 9546"/>
                    <a:gd name="connsiteX15" fmla="*/ 6389 w 10000"/>
                    <a:gd name="connsiteY15" fmla="*/ 5432 h 9546"/>
                    <a:gd name="connsiteX16" fmla="*/ 6167 w 10000"/>
                    <a:gd name="connsiteY16" fmla="*/ 5381 h 9546"/>
                    <a:gd name="connsiteX17" fmla="*/ 6056 w 10000"/>
                    <a:gd name="connsiteY17" fmla="*/ 5283 h 9546"/>
                    <a:gd name="connsiteX18" fmla="*/ 6000 w 10000"/>
                    <a:gd name="connsiteY18" fmla="*/ 5180 h 9546"/>
                    <a:gd name="connsiteX19" fmla="*/ 6000 w 10000"/>
                    <a:gd name="connsiteY19" fmla="*/ 4975 h 9546"/>
                    <a:gd name="connsiteX20" fmla="*/ 6056 w 10000"/>
                    <a:gd name="connsiteY20" fmla="*/ 4569 h 9546"/>
                    <a:gd name="connsiteX21" fmla="*/ 6111 w 10000"/>
                    <a:gd name="connsiteY21" fmla="*/ 4364 h 9546"/>
                    <a:gd name="connsiteX22" fmla="*/ 6056 w 10000"/>
                    <a:gd name="connsiteY22" fmla="*/ 4114 h 9546"/>
                    <a:gd name="connsiteX23" fmla="*/ 6056 w 10000"/>
                    <a:gd name="connsiteY23" fmla="*/ 4114 h 9546"/>
                    <a:gd name="connsiteX24" fmla="*/ 6000 w 10000"/>
                    <a:gd name="connsiteY24" fmla="*/ 3960 h 9546"/>
                    <a:gd name="connsiteX25" fmla="*/ 5944 w 10000"/>
                    <a:gd name="connsiteY25" fmla="*/ 3857 h 9546"/>
                    <a:gd name="connsiteX26" fmla="*/ 5833 w 10000"/>
                    <a:gd name="connsiteY26" fmla="*/ 3857 h 9546"/>
                    <a:gd name="connsiteX27" fmla="*/ 5667 w 10000"/>
                    <a:gd name="connsiteY27" fmla="*/ 3909 h 9546"/>
                    <a:gd name="connsiteX28" fmla="*/ 5333 w 10000"/>
                    <a:gd name="connsiteY28" fmla="*/ 4059 h 9546"/>
                    <a:gd name="connsiteX29" fmla="*/ 4889 w 10000"/>
                    <a:gd name="connsiteY29" fmla="*/ 4316 h 9546"/>
                    <a:gd name="connsiteX30" fmla="*/ 4889 w 10000"/>
                    <a:gd name="connsiteY30" fmla="*/ 4316 h 9546"/>
                    <a:gd name="connsiteX31" fmla="*/ 4611 w 10000"/>
                    <a:gd name="connsiteY31" fmla="*/ 4364 h 9546"/>
                    <a:gd name="connsiteX32" fmla="*/ 4500 w 10000"/>
                    <a:gd name="connsiteY32" fmla="*/ 4364 h 9546"/>
                    <a:gd name="connsiteX33" fmla="*/ 4444 w 10000"/>
                    <a:gd name="connsiteY33" fmla="*/ 4316 h 9546"/>
                    <a:gd name="connsiteX34" fmla="*/ 4389 w 10000"/>
                    <a:gd name="connsiteY34" fmla="*/ 4114 h 9546"/>
                    <a:gd name="connsiteX35" fmla="*/ 4222 w 10000"/>
                    <a:gd name="connsiteY35" fmla="*/ 3857 h 9546"/>
                    <a:gd name="connsiteX36" fmla="*/ 4222 w 10000"/>
                    <a:gd name="connsiteY36" fmla="*/ 3857 h 9546"/>
                    <a:gd name="connsiteX37" fmla="*/ 4111 w 10000"/>
                    <a:gd name="connsiteY37" fmla="*/ 3708 h 9546"/>
                    <a:gd name="connsiteX38" fmla="*/ 4111 w 10000"/>
                    <a:gd name="connsiteY38" fmla="*/ 3554 h 9546"/>
                    <a:gd name="connsiteX39" fmla="*/ 4111 w 10000"/>
                    <a:gd name="connsiteY39" fmla="*/ 3451 h 9546"/>
                    <a:gd name="connsiteX40" fmla="*/ 4167 w 10000"/>
                    <a:gd name="connsiteY40" fmla="*/ 3352 h 9546"/>
                    <a:gd name="connsiteX41" fmla="*/ 4278 w 10000"/>
                    <a:gd name="connsiteY41" fmla="*/ 3147 h 9546"/>
                    <a:gd name="connsiteX42" fmla="*/ 4389 w 10000"/>
                    <a:gd name="connsiteY42" fmla="*/ 3096 h 9546"/>
                    <a:gd name="connsiteX43" fmla="*/ 4389 w 10000"/>
                    <a:gd name="connsiteY43" fmla="*/ 3096 h 9546"/>
                    <a:gd name="connsiteX44" fmla="*/ 4389 w 10000"/>
                    <a:gd name="connsiteY44" fmla="*/ 3048 h 9546"/>
                    <a:gd name="connsiteX45" fmla="*/ 4444 w 10000"/>
                    <a:gd name="connsiteY45" fmla="*/ 2996 h 9546"/>
                    <a:gd name="connsiteX46" fmla="*/ 4667 w 10000"/>
                    <a:gd name="connsiteY46" fmla="*/ 2945 h 9546"/>
                    <a:gd name="connsiteX47" fmla="*/ 5333 w 10000"/>
                    <a:gd name="connsiteY47" fmla="*/ 2846 h 9546"/>
                    <a:gd name="connsiteX48" fmla="*/ 6500 w 10000"/>
                    <a:gd name="connsiteY48" fmla="*/ 2693 h 9546"/>
                    <a:gd name="connsiteX49" fmla="*/ 6500 w 10000"/>
                    <a:gd name="connsiteY49" fmla="*/ 2693 h 9546"/>
                    <a:gd name="connsiteX50" fmla="*/ 7167 w 10000"/>
                    <a:gd name="connsiteY50" fmla="*/ 2539 h 9546"/>
                    <a:gd name="connsiteX51" fmla="*/ 8389 w 10000"/>
                    <a:gd name="connsiteY51" fmla="*/ 2234 h 9546"/>
                    <a:gd name="connsiteX52" fmla="*/ 8389 w 10000"/>
                    <a:gd name="connsiteY52" fmla="*/ 2234 h 9546"/>
                    <a:gd name="connsiteX53" fmla="*/ 8667 w 10000"/>
                    <a:gd name="connsiteY53" fmla="*/ 2128 h 9546"/>
                    <a:gd name="connsiteX54" fmla="*/ 8778 w 10000"/>
                    <a:gd name="connsiteY54" fmla="*/ 1978 h 9546"/>
                    <a:gd name="connsiteX55" fmla="*/ 8889 w 10000"/>
                    <a:gd name="connsiteY55" fmla="*/ 1879 h 9546"/>
                    <a:gd name="connsiteX56" fmla="*/ 8833 w 10000"/>
                    <a:gd name="connsiteY56" fmla="*/ 1776 h 9546"/>
                    <a:gd name="connsiteX57" fmla="*/ 8833 w 10000"/>
                    <a:gd name="connsiteY57" fmla="*/ 1673 h 9546"/>
                    <a:gd name="connsiteX58" fmla="*/ 8722 w 10000"/>
                    <a:gd name="connsiteY58" fmla="*/ 1572 h 9546"/>
                    <a:gd name="connsiteX59" fmla="*/ 8556 w 10000"/>
                    <a:gd name="connsiteY59" fmla="*/ 1422 h 9546"/>
                    <a:gd name="connsiteX60" fmla="*/ 8556 w 10000"/>
                    <a:gd name="connsiteY60" fmla="*/ 1422 h 9546"/>
                    <a:gd name="connsiteX61" fmla="*/ 6556 w 10000"/>
                    <a:gd name="connsiteY61" fmla="*/ 510 h 9546"/>
                    <a:gd name="connsiteX62" fmla="*/ 6556 w 10000"/>
                    <a:gd name="connsiteY62" fmla="*/ 510 h 9546"/>
                    <a:gd name="connsiteX63" fmla="*/ 6333 w 10000"/>
                    <a:gd name="connsiteY63" fmla="*/ 359 h 9546"/>
                    <a:gd name="connsiteX64" fmla="*/ 6167 w 10000"/>
                    <a:gd name="connsiteY64" fmla="*/ 205 h 9546"/>
                    <a:gd name="connsiteX65" fmla="*/ 6056 w 10000"/>
                    <a:gd name="connsiteY65" fmla="*/ 52 h 9546"/>
                    <a:gd name="connsiteX66" fmla="*/ 6056 w 10000"/>
                    <a:gd name="connsiteY66" fmla="*/ 52 h 9546"/>
                    <a:gd name="connsiteX67" fmla="*/ 8056 w 10000"/>
                    <a:gd name="connsiteY67" fmla="*/ 0 h 9546"/>
                    <a:gd name="connsiteX68" fmla="*/ 10000 w 10000"/>
                    <a:gd name="connsiteY68" fmla="*/ 510 h 9546"/>
                    <a:gd name="connsiteX69" fmla="*/ 10000 w 10000"/>
                    <a:gd name="connsiteY69" fmla="*/ 7007 h 9546"/>
                    <a:gd name="connsiteX70" fmla="*/ 10000 w 10000"/>
                    <a:gd name="connsiteY70" fmla="*/ 7007 h 9546"/>
                    <a:gd name="connsiteX71" fmla="*/ 9722 w 10000"/>
                    <a:gd name="connsiteY71" fmla="*/ 6956 h 9546"/>
                    <a:gd name="connsiteX72" fmla="*/ 9389 w 10000"/>
                    <a:gd name="connsiteY72" fmla="*/ 7007 h 9546"/>
                    <a:gd name="connsiteX73" fmla="*/ 9389 w 10000"/>
                    <a:gd name="connsiteY73" fmla="*/ 7007 h 9546"/>
                    <a:gd name="connsiteX74" fmla="*/ 9278 w 10000"/>
                    <a:gd name="connsiteY74" fmla="*/ 7059 h 9546"/>
                    <a:gd name="connsiteX75" fmla="*/ 9056 w 10000"/>
                    <a:gd name="connsiteY75" fmla="*/ 7007 h 9546"/>
                    <a:gd name="connsiteX76" fmla="*/ 8889 w 10000"/>
                    <a:gd name="connsiteY76" fmla="*/ 6956 h 9546"/>
                    <a:gd name="connsiteX77" fmla="*/ 8722 w 10000"/>
                    <a:gd name="connsiteY77" fmla="*/ 6851 h 9546"/>
                    <a:gd name="connsiteX78" fmla="*/ 8611 w 10000"/>
                    <a:gd name="connsiteY78" fmla="*/ 6699 h 9546"/>
                    <a:gd name="connsiteX79" fmla="*/ 8444 w 10000"/>
                    <a:gd name="connsiteY79" fmla="*/ 6447 h 9546"/>
                    <a:gd name="connsiteX80" fmla="*/ 8444 w 10000"/>
                    <a:gd name="connsiteY80" fmla="*/ 6447 h 9546"/>
                    <a:gd name="connsiteX81" fmla="*/ 8222 w 10000"/>
                    <a:gd name="connsiteY81" fmla="*/ 5992 h 9546"/>
                    <a:gd name="connsiteX82" fmla="*/ 8111 w 10000"/>
                    <a:gd name="connsiteY82" fmla="*/ 5787 h 9546"/>
                    <a:gd name="connsiteX83" fmla="*/ 7944 w 10000"/>
                    <a:gd name="connsiteY83" fmla="*/ 5638 h 9546"/>
                    <a:gd name="connsiteX84" fmla="*/ 7778 w 10000"/>
                    <a:gd name="connsiteY84" fmla="*/ 5535 h 9546"/>
                    <a:gd name="connsiteX85" fmla="*/ 7556 w 10000"/>
                    <a:gd name="connsiteY85" fmla="*/ 5480 h 9546"/>
                    <a:gd name="connsiteX86" fmla="*/ 7333 w 10000"/>
                    <a:gd name="connsiteY86" fmla="*/ 5432 h 9546"/>
                    <a:gd name="connsiteX87" fmla="*/ 7000 w 10000"/>
                    <a:gd name="connsiteY87" fmla="*/ 5381 h 9546"/>
                    <a:gd name="connsiteX88" fmla="*/ 7000 w 10000"/>
                    <a:gd name="connsiteY88" fmla="*/ 5381 h 9546"/>
                    <a:gd name="connsiteX89" fmla="*/ 6556 w 10000"/>
                    <a:gd name="connsiteY89" fmla="*/ 5432 h 9546"/>
                    <a:gd name="connsiteX90" fmla="*/ 6222 w 10000"/>
                    <a:gd name="connsiteY90" fmla="*/ 5432 h 9546"/>
                    <a:gd name="connsiteX91" fmla="*/ 6111 w 10000"/>
                    <a:gd name="connsiteY91" fmla="*/ 5381 h 9546"/>
                    <a:gd name="connsiteX92" fmla="*/ 6056 w 10000"/>
                    <a:gd name="connsiteY92" fmla="*/ 5330 h 9546"/>
                    <a:gd name="connsiteX93" fmla="*/ 6056 w 10000"/>
                    <a:gd name="connsiteY93" fmla="*/ 5330 h 9546"/>
                    <a:gd name="connsiteX94" fmla="*/ 6056 w 10000"/>
                    <a:gd name="connsiteY94" fmla="*/ 4415 h 9546"/>
                    <a:gd name="connsiteX95" fmla="*/ 6056 w 10000"/>
                    <a:gd name="connsiteY95" fmla="*/ 4415 h 9546"/>
                    <a:gd name="connsiteX96" fmla="*/ 6056 w 10000"/>
                    <a:gd name="connsiteY96" fmla="*/ 4213 h 9546"/>
                    <a:gd name="connsiteX97" fmla="*/ 5944 w 10000"/>
                    <a:gd name="connsiteY97" fmla="*/ 3960 h 9546"/>
                    <a:gd name="connsiteX98" fmla="*/ 5889 w 10000"/>
                    <a:gd name="connsiteY98" fmla="*/ 3909 h 9546"/>
                    <a:gd name="connsiteX99" fmla="*/ 5778 w 10000"/>
                    <a:gd name="connsiteY99" fmla="*/ 3857 h 9546"/>
                    <a:gd name="connsiteX100" fmla="*/ 5667 w 10000"/>
                    <a:gd name="connsiteY100" fmla="*/ 3857 h 9546"/>
                    <a:gd name="connsiteX101" fmla="*/ 5500 w 10000"/>
                    <a:gd name="connsiteY101" fmla="*/ 3909 h 9546"/>
                    <a:gd name="connsiteX102" fmla="*/ 5500 w 10000"/>
                    <a:gd name="connsiteY102" fmla="*/ 3909 h 9546"/>
                    <a:gd name="connsiteX103" fmla="*/ 4889 w 10000"/>
                    <a:gd name="connsiteY103" fmla="*/ 4264 h 9546"/>
                    <a:gd name="connsiteX104" fmla="*/ 4611 w 10000"/>
                    <a:gd name="connsiteY104" fmla="*/ 4364 h 9546"/>
                    <a:gd name="connsiteX105" fmla="*/ 4556 w 10000"/>
                    <a:gd name="connsiteY105" fmla="*/ 4415 h 9546"/>
                    <a:gd name="connsiteX106" fmla="*/ 4500 w 10000"/>
                    <a:gd name="connsiteY106" fmla="*/ 4364 h 9546"/>
                    <a:gd name="connsiteX107" fmla="*/ 4500 w 10000"/>
                    <a:gd name="connsiteY107" fmla="*/ 4364 h 9546"/>
                    <a:gd name="connsiteX108" fmla="*/ 4222 w 10000"/>
                    <a:gd name="connsiteY108" fmla="*/ 3857 h 9546"/>
                    <a:gd name="connsiteX109" fmla="*/ 4222 w 10000"/>
                    <a:gd name="connsiteY109" fmla="*/ 3857 h 9546"/>
                    <a:gd name="connsiteX110" fmla="*/ 4111 w 10000"/>
                    <a:gd name="connsiteY110" fmla="*/ 3605 h 9546"/>
                    <a:gd name="connsiteX111" fmla="*/ 4111 w 10000"/>
                    <a:gd name="connsiteY111" fmla="*/ 3451 h 9546"/>
                    <a:gd name="connsiteX112" fmla="*/ 4111 w 10000"/>
                    <a:gd name="connsiteY112" fmla="*/ 3301 h 9546"/>
                    <a:gd name="connsiteX113" fmla="*/ 4111 w 10000"/>
                    <a:gd name="connsiteY113" fmla="*/ 3301 h 9546"/>
                    <a:gd name="connsiteX114" fmla="*/ 4278 w 10000"/>
                    <a:gd name="connsiteY114" fmla="*/ 3147 h 9546"/>
                    <a:gd name="connsiteX115" fmla="*/ 4389 w 10000"/>
                    <a:gd name="connsiteY115" fmla="*/ 3096 h 9546"/>
                    <a:gd name="connsiteX116" fmla="*/ 4389 w 10000"/>
                    <a:gd name="connsiteY116" fmla="*/ 3096 h 9546"/>
                    <a:gd name="connsiteX117" fmla="*/ 4000 w 10000"/>
                    <a:gd name="connsiteY117" fmla="*/ 3096 h 9546"/>
                    <a:gd name="connsiteX118" fmla="*/ 3722 w 10000"/>
                    <a:gd name="connsiteY118" fmla="*/ 3147 h 9546"/>
                    <a:gd name="connsiteX119" fmla="*/ 3611 w 10000"/>
                    <a:gd name="connsiteY119" fmla="*/ 3201 h 9546"/>
                    <a:gd name="connsiteX120" fmla="*/ 3556 w 10000"/>
                    <a:gd name="connsiteY120" fmla="*/ 3249 h 9546"/>
                    <a:gd name="connsiteX121" fmla="*/ 3556 w 10000"/>
                    <a:gd name="connsiteY121" fmla="*/ 3249 h 9546"/>
                    <a:gd name="connsiteX122" fmla="*/ 3444 w 10000"/>
                    <a:gd name="connsiteY122" fmla="*/ 3451 h 9546"/>
                    <a:gd name="connsiteX123" fmla="*/ 3278 w 10000"/>
                    <a:gd name="connsiteY123" fmla="*/ 3758 h 9546"/>
                    <a:gd name="connsiteX124" fmla="*/ 3000 w 10000"/>
                    <a:gd name="connsiteY124" fmla="*/ 4114 h 9546"/>
                    <a:gd name="connsiteX125" fmla="*/ 2667 w 10000"/>
                    <a:gd name="connsiteY125" fmla="*/ 4364 h 9546"/>
                    <a:gd name="connsiteX126" fmla="*/ 2667 w 10000"/>
                    <a:gd name="connsiteY126" fmla="*/ 4364 h 9546"/>
                    <a:gd name="connsiteX127" fmla="*/ 2333 w 10000"/>
                    <a:gd name="connsiteY127" fmla="*/ 4569 h 9546"/>
                    <a:gd name="connsiteX128" fmla="*/ 1833 w 10000"/>
                    <a:gd name="connsiteY128" fmla="*/ 4773 h 9546"/>
                    <a:gd name="connsiteX129" fmla="*/ 1389 w 10000"/>
                    <a:gd name="connsiteY129" fmla="*/ 4876 h 9546"/>
                    <a:gd name="connsiteX130" fmla="*/ 889 w 10000"/>
                    <a:gd name="connsiteY130" fmla="*/ 4924 h 9546"/>
                    <a:gd name="connsiteX131" fmla="*/ 889 w 10000"/>
                    <a:gd name="connsiteY131" fmla="*/ 4924 h 9546"/>
                    <a:gd name="connsiteX132" fmla="*/ 500 w 10000"/>
                    <a:gd name="connsiteY132" fmla="*/ 4975 h 9546"/>
                    <a:gd name="connsiteX133" fmla="*/ 222 w 10000"/>
                    <a:gd name="connsiteY133" fmla="*/ 5030 h 9546"/>
                    <a:gd name="connsiteX134" fmla="*/ 0 w 10000"/>
                    <a:gd name="connsiteY134" fmla="*/ 5081 h 9546"/>
                    <a:gd name="connsiteX135" fmla="*/ 0 w 10000"/>
                    <a:gd name="connsiteY135" fmla="*/ 5081 h 9546"/>
                    <a:gd name="connsiteX136" fmla="*/ 278 w 10000"/>
                    <a:gd name="connsiteY136" fmla="*/ 5886 h 9546"/>
                    <a:gd name="connsiteX137" fmla="*/ 500 w 10000"/>
                    <a:gd name="connsiteY137" fmla="*/ 6499 h 9546"/>
                    <a:gd name="connsiteX138" fmla="*/ 722 w 10000"/>
                    <a:gd name="connsiteY138" fmla="*/ 7007 h 9546"/>
                    <a:gd name="connsiteX139" fmla="*/ 722 w 10000"/>
                    <a:gd name="connsiteY139" fmla="*/ 7007 h 9546"/>
                    <a:gd name="connsiteX140" fmla="*/ 889 w 10000"/>
                    <a:gd name="connsiteY140" fmla="*/ 7312 h 9546"/>
                    <a:gd name="connsiteX141" fmla="*/ 944 w 10000"/>
                    <a:gd name="connsiteY141" fmla="*/ 7565 h 9546"/>
                    <a:gd name="connsiteX142" fmla="*/ 1111 w 10000"/>
                    <a:gd name="connsiteY142" fmla="*/ 7818 h 9546"/>
                    <a:gd name="connsiteX143" fmla="*/ 1333 w 10000"/>
                    <a:gd name="connsiteY143" fmla="*/ 8224 h 9546"/>
                    <a:gd name="connsiteX144" fmla="*/ 1333 w 10000"/>
                    <a:gd name="connsiteY144" fmla="*/ 8224 h 9546"/>
                    <a:gd name="connsiteX145" fmla="*/ 1444 w 10000"/>
                    <a:gd name="connsiteY145" fmla="*/ 8429 h 9546"/>
                    <a:gd name="connsiteX146" fmla="*/ 1500 w 10000"/>
                    <a:gd name="connsiteY146" fmla="*/ 8579 h 9546"/>
                    <a:gd name="connsiteX147" fmla="*/ 1500 w 10000"/>
                    <a:gd name="connsiteY147" fmla="*/ 8729 h 9546"/>
                    <a:gd name="connsiteX148" fmla="*/ 1556 w 10000"/>
                    <a:gd name="connsiteY148" fmla="*/ 8784 h 9546"/>
                    <a:gd name="connsiteX149" fmla="*/ 1722 w 10000"/>
                    <a:gd name="connsiteY149" fmla="*/ 8832 h 9546"/>
                    <a:gd name="connsiteX150" fmla="*/ 1944 w 10000"/>
                    <a:gd name="connsiteY150" fmla="*/ 8882 h 9546"/>
                    <a:gd name="connsiteX151" fmla="*/ 2944 w 10000"/>
                    <a:gd name="connsiteY151" fmla="*/ 8935 h 9546"/>
                    <a:gd name="connsiteX152" fmla="*/ 2944 w 10000"/>
                    <a:gd name="connsiteY152" fmla="*/ 8935 h 9546"/>
                    <a:gd name="connsiteX153" fmla="*/ 4167 w 10000"/>
                    <a:gd name="connsiteY153" fmla="*/ 9033 h 9546"/>
                    <a:gd name="connsiteX154" fmla="*/ 4889 w 10000"/>
                    <a:gd name="connsiteY154" fmla="*/ 9187 h 9546"/>
                    <a:gd name="connsiteX155" fmla="*/ 5278 w 10000"/>
                    <a:gd name="connsiteY155" fmla="*/ 9344 h 9546"/>
                    <a:gd name="connsiteX156" fmla="*/ 5444 w 10000"/>
                    <a:gd name="connsiteY156" fmla="*/ 9392 h 9546"/>
                    <a:gd name="connsiteX157" fmla="*/ 5444 w 10000"/>
                    <a:gd name="connsiteY157" fmla="*/ 9392 h 9546"/>
                    <a:gd name="connsiteX158" fmla="*/ 5722 w 10000"/>
                    <a:gd name="connsiteY158" fmla="*/ 9495 h 9546"/>
                    <a:gd name="connsiteX159" fmla="*/ 5833 w 10000"/>
                    <a:gd name="connsiteY159" fmla="*/ 9546 h 9546"/>
                    <a:gd name="connsiteX160" fmla="*/ 5833 w 10000"/>
                    <a:gd name="connsiteY160" fmla="*/ 9546 h 9546"/>
                    <a:gd name="connsiteX161" fmla="*/ 5833 w 10000"/>
                    <a:gd name="connsiteY161" fmla="*/ 9495 h 9546"/>
                    <a:gd name="connsiteX162" fmla="*/ 5889 w 10000"/>
                    <a:gd name="connsiteY162" fmla="*/ 9443 h 9546"/>
                    <a:gd name="connsiteX163" fmla="*/ 6000 w 10000"/>
                    <a:gd name="connsiteY163" fmla="*/ 9392 h 9546"/>
                    <a:gd name="connsiteX164" fmla="*/ 6167 w 10000"/>
                    <a:gd name="connsiteY164" fmla="*/ 9344 h 9546"/>
                    <a:gd name="connsiteX165" fmla="*/ 6444 w 10000"/>
                    <a:gd name="connsiteY165" fmla="*/ 9344 h 9546"/>
                    <a:gd name="connsiteX166" fmla="*/ 6833 w 10000"/>
                    <a:gd name="connsiteY166" fmla="*/ 9392 h 9546"/>
                    <a:gd name="connsiteX167" fmla="*/ 7278 w 10000"/>
                    <a:gd name="connsiteY167" fmla="*/ 9546 h 9546"/>
                    <a:gd name="connsiteX168" fmla="*/ 7278 w 10000"/>
                    <a:gd name="connsiteY168" fmla="*/ 9546 h 9546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163" fmla="*/ 6000 w 10000"/>
                    <a:gd name="connsiteY163" fmla="*/ 9839 h 10000"/>
                    <a:gd name="connsiteX164" fmla="*/ 6167 w 10000"/>
                    <a:gd name="connsiteY164" fmla="*/ 9788 h 10000"/>
                    <a:gd name="connsiteX165" fmla="*/ 6444 w 10000"/>
                    <a:gd name="connsiteY165" fmla="*/ 9788 h 10000"/>
                    <a:gd name="connsiteX166" fmla="*/ 6833 w 10000"/>
                    <a:gd name="connsiteY166" fmla="*/ 9839 h 10000"/>
                    <a:gd name="connsiteX167" fmla="*/ 7278 w 10000"/>
                    <a:gd name="connsiteY167" fmla="*/ 10000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163" fmla="*/ 6000 w 10000"/>
                    <a:gd name="connsiteY163" fmla="*/ 9839 h 10000"/>
                    <a:gd name="connsiteX164" fmla="*/ 6167 w 10000"/>
                    <a:gd name="connsiteY164" fmla="*/ 9788 h 10000"/>
                    <a:gd name="connsiteX165" fmla="*/ 6444 w 10000"/>
                    <a:gd name="connsiteY165" fmla="*/ 9788 h 10000"/>
                    <a:gd name="connsiteX166" fmla="*/ 7278 w 10000"/>
                    <a:gd name="connsiteY166" fmla="*/ 10000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163" fmla="*/ 6000 w 10000"/>
                    <a:gd name="connsiteY163" fmla="*/ 9839 h 10000"/>
                    <a:gd name="connsiteX164" fmla="*/ 6167 w 10000"/>
                    <a:gd name="connsiteY164" fmla="*/ 9788 h 10000"/>
                    <a:gd name="connsiteX165" fmla="*/ 6444 w 10000"/>
                    <a:gd name="connsiteY165" fmla="*/ 9788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163" fmla="*/ 6000 w 10000"/>
                    <a:gd name="connsiteY163" fmla="*/ 9839 h 10000"/>
                    <a:gd name="connsiteX164" fmla="*/ 6167 w 10000"/>
                    <a:gd name="connsiteY164" fmla="*/ 9788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163" fmla="*/ 6000 w 10000"/>
                    <a:gd name="connsiteY163" fmla="*/ 9839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722 w 10000"/>
                    <a:gd name="connsiteY158" fmla="*/ 9947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10000 h 10000"/>
                    <a:gd name="connsiteX161" fmla="*/ 5833 w 10000"/>
                    <a:gd name="connsiteY161" fmla="*/ 9947 h 10000"/>
                    <a:gd name="connsiteX162" fmla="*/ 5889 w 10000"/>
                    <a:gd name="connsiteY162" fmla="*/ 9892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833 w 10000"/>
                    <a:gd name="connsiteY158" fmla="*/ 10000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9947 h 10000"/>
                    <a:gd name="connsiteX161" fmla="*/ 5889 w 10000"/>
                    <a:gd name="connsiteY161" fmla="*/ 9892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444 w 10000"/>
                    <a:gd name="connsiteY157" fmla="*/ 9839 h 10000"/>
                    <a:gd name="connsiteX158" fmla="*/ 5833 w 10000"/>
                    <a:gd name="connsiteY158" fmla="*/ 10000 h 10000"/>
                    <a:gd name="connsiteX159" fmla="*/ 5833 w 10000"/>
                    <a:gd name="connsiteY159" fmla="*/ 10000 h 10000"/>
                    <a:gd name="connsiteX160" fmla="*/ 5833 w 10000"/>
                    <a:gd name="connsiteY160" fmla="*/ 9947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833 w 10000"/>
                    <a:gd name="connsiteY157" fmla="*/ 10000 h 10000"/>
                    <a:gd name="connsiteX158" fmla="*/ 5833 w 10000"/>
                    <a:gd name="connsiteY158" fmla="*/ 10000 h 10000"/>
                    <a:gd name="connsiteX159" fmla="*/ 5833 w 10000"/>
                    <a:gd name="connsiteY159" fmla="*/ 9947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833 w 10000"/>
                    <a:gd name="connsiteY157" fmla="*/ 10000 h 10000"/>
                    <a:gd name="connsiteX158" fmla="*/ 5833 w 10000"/>
                    <a:gd name="connsiteY158" fmla="*/ 10000 h 10000"/>
                    <a:gd name="connsiteX0" fmla="*/ 10000 w 10000"/>
                    <a:gd name="connsiteY0" fmla="*/ 7287 h 10000"/>
                    <a:gd name="connsiteX1" fmla="*/ 10000 w 10000"/>
                    <a:gd name="connsiteY1" fmla="*/ 7287 h 10000"/>
                    <a:gd name="connsiteX2" fmla="*/ 9222 w 10000"/>
                    <a:gd name="connsiteY2" fmla="*/ 7340 h 10000"/>
                    <a:gd name="connsiteX3" fmla="*/ 8944 w 10000"/>
                    <a:gd name="connsiteY3" fmla="*/ 7340 h 10000"/>
                    <a:gd name="connsiteX4" fmla="*/ 8833 w 10000"/>
                    <a:gd name="connsiteY4" fmla="*/ 7287 h 10000"/>
                    <a:gd name="connsiteX5" fmla="*/ 8778 w 10000"/>
                    <a:gd name="connsiteY5" fmla="*/ 7234 h 10000"/>
                    <a:gd name="connsiteX6" fmla="*/ 8778 w 10000"/>
                    <a:gd name="connsiteY6" fmla="*/ 7234 h 10000"/>
                    <a:gd name="connsiteX7" fmla="*/ 8444 w 10000"/>
                    <a:gd name="connsiteY7" fmla="*/ 6592 h 10000"/>
                    <a:gd name="connsiteX8" fmla="*/ 8167 w 10000"/>
                    <a:gd name="connsiteY8" fmla="*/ 6010 h 10000"/>
                    <a:gd name="connsiteX9" fmla="*/ 8167 w 10000"/>
                    <a:gd name="connsiteY9" fmla="*/ 6010 h 10000"/>
                    <a:gd name="connsiteX10" fmla="*/ 8056 w 10000"/>
                    <a:gd name="connsiteY10" fmla="*/ 5906 h 10000"/>
                    <a:gd name="connsiteX11" fmla="*/ 7889 w 10000"/>
                    <a:gd name="connsiteY11" fmla="*/ 5798 h 10000"/>
                    <a:gd name="connsiteX12" fmla="*/ 7444 w 10000"/>
                    <a:gd name="connsiteY12" fmla="*/ 5741 h 10000"/>
                    <a:gd name="connsiteX13" fmla="*/ 6889 w 10000"/>
                    <a:gd name="connsiteY13" fmla="*/ 5690 h 10000"/>
                    <a:gd name="connsiteX14" fmla="*/ 6389 w 10000"/>
                    <a:gd name="connsiteY14" fmla="*/ 5690 h 10000"/>
                    <a:gd name="connsiteX15" fmla="*/ 6389 w 10000"/>
                    <a:gd name="connsiteY15" fmla="*/ 5690 h 10000"/>
                    <a:gd name="connsiteX16" fmla="*/ 6167 w 10000"/>
                    <a:gd name="connsiteY16" fmla="*/ 5637 h 10000"/>
                    <a:gd name="connsiteX17" fmla="*/ 6056 w 10000"/>
                    <a:gd name="connsiteY17" fmla="*/ 5534 h 10000"/>
                    <a:gd name="connsiteX18" fmla="*/ 6000 w 10000"/>
                    <a:gd name="connsiteY18" fmla="*/ 5426 h 10000"/>
                    <a:gd name="connsiteX19" fmla="*/ 6000 w 10000"/>
                    <a:gd name="connsiteY19" fmla="*/ 5212 h 10000"/>
                    <a:gd name="connsiteX20" fmla="*/ 6056 w 10000"/>
                    <a:gd name="connsiteY20" fmla="*/ 4786 h 10000"/>
                    <a:gd name="connsiteX21" fmla="*/ 6111 w 10000"/>
                    <a:gd name="connsiteY21" fmla="*/ 4572 h 10000"/>
                    <a:gd name="connsiteX22" fmla="*/ 6056 w 10000"/>
                    <a:gd name="connsiteY22" fmla="*/ 4310 h 10000"/>
                    <a:gd name="connsiteX23" fmla="*/ 6056 w 10000"/>
                    <a:gd name="connsiteY23" fmla="*/ 4310 h 10000"/>
                    <a:gd name="connsiteX24" fmla="*/ 6000 w 10000"/>
                    <a:gd name="connsiteY24" fmla="*/ 4148 h 10000"/>
                    <a:gd name="connsiteX25" fmla="*/ 5944 w 10000"/>
                    <a:gd name="connsiteY25" fmla="*/ 4040 h 10000"/>
                    <a:gd name="connsiteX26" fmla="*/ 5833 w 10000"/>
                    <a:gd name="connsiteY26" fmla="*/ 4040 h 10000"/>
                    <a:gd name="connsiteX27" fmla="*/ 5667 w 10000"/>
                    <a:gd name="connsiteY27" fmla="*/ 4095 h 10000"/>
                    <a:gd name="connsiteX28" fmla="*/ 5333 w 10000"/>
                    <a:gd name="connsiteY28" fmla="*/ 4252 h 10000"/>
                    <a:gd name="connsiteX29" fmla="*/ 4889 w 10000"/>
                    <a:gd name="connsiteY29" fmla="*/ 4521 h 10000"/>
                    <a:gd name="connsiteX30" fmla="*/ 4889 w 10000"/>
                    <a:gd name="connsiteY30" fmla="*/ 4521 h 10000"/>
                    <a:gd name="connsiteX31" fmla="*/ 4611 w 10000"/>
                    <a:gd name="connsiteY31" fmla="*/ 4572 h 10000"/>
                    <a:gd name="connsiteX32" fmla="*/ 4500 w 10000"/>
                    <a:gd name="connsiteY32" fmla="*/ 4572 h 10000"/>
                    <a:gd name="connsiteX33" fmla="*/ 4444 w 10000"/>
                    <a:gd name="connsiteY33" fmla="*/ 4521 h 10000"/>
                    <a:gd name="connsiteX34" fmla="*/ 4389 w 10000"/>
                    <a:gd name="connsiteY34" fmla="*/ 4310 h 10000"/>
                    <a:gd name="connsiteX35" fmla="*/ 4222 w 10000"/>
                    <a:gd name="connsiteY35" fmla="*/ 4040 h 10000"/>
                    <a:gd name="connsiteX36" fmla="*/ 4222 w 10000"/>
                    <a:gd name="connsiteY36" fmla="*/ 4040 h 10000"/>
                    <a:gd name="connsiteX37" fmla="*/ 4111 w 10000"/>
                    <a:gd name="connsiteY37" fmla="*/ 3884 h 10000"/>
                    <a:gd name="connsiteX38" fmla="*/ 4111 w 10000"/>
                    <a:gd name="connsiteY38" fmla="*/ 3723 h 10000"/>
                    <a:gd name="connsiteX39" fmla="*/ 4111 w 10000"/>
                    <a:gd name="connsiteY39" fmla="*/ 3615 h 10000"/>
                    <a:gd name="connsiteX40" fmla="*/ 4167 w 10000"/>
                    <a:gd name="connsiteY40" fmla="*/ 3511 h 10000"/>
                    <a:gd name="connsiteX41" fmla="*/ 4278 w 10000"/>
                    <a:gd name="connsiteY41" fmla="*/ 3297 h 10000"/>
                    <a:gd name="connsiteX42" fmla="*/ 4389 w 10000"/>
                    <a:gd name="connsiteY42" fmla="*/ 3243 h 10000"/>
                    <a:gd name="connsiteX43" fmla="*/ 4389 w 10000"/>
                    <a:gd name="connsiteY43" fmla="*/ 3243 h 10000"/>
                    <a:gd name="connsiteX44" fmla="*/ 4389 w 10000"/>
                    <a:gd name="connsiteY44" fmla="*/ 3193 h 10000"/>
                    <a:gd name="connsiteX45" fmla="*/ 4444 w 10000"/>
                    <a:gd name="connsiteY45" fmla="*/ 3138 h 10000"/>
                    <a:gd name="connsiteX46" fmla="*/ 4667 w 10000"/>
                    <a:gd name="connsiteY46" fmla="*/ 3085 h 10000"/>
                    <a:gd name="connsiteX47" fmla="*/ 5333 w 10000"/>
                    <a:gd name="connsiteY47" fmla="*/ 2981 h 10000"/>
                    <a:gd name="connsiteX48" fmla="*/ 6500 w 10000"/>
                    <a:gd name="connsiteY48" fmla="*/ 2821 h 10000"/>
                    <a:gd name="connsiteX49" fmla="*/ 6500 w 10000"/>
                    <a:gd name="connsiteY49" fmla="*/ 2821 h 10000"/>
                    <a:gd name="connsiteX50" fmla="*/ 7167 w 10000"/>
                    <a:gd name="connsiteY50" fmla="*/ 2660 h 10000"/>
                    <a:gd name="connsiteX51" fmla="*/ 8389 w 10000"/>
                    <a:gd name="connsiteY51" fmla="*/ 2340 h 10000"/>
                    <a:gd name="connsiteX52" fmla="*/ 8389 w 10000"/>
                    <a:gd name="connsiteY52" fmla="*/ 2340 h 10000"/>
                    <a:gd name="connsiteX53" fmla="*/ 8667 w 10000"/>
                    <a:gd name="connsiteY53" fmla="*/ 2229 h 10000"/>
                    <a:gd name="connsiteX54" fmla="*/ 8778 w 10000"/>
                    <a:gd name="connsiteY54" fmla="*/ 2072 h 10000"/>
                    <a:gd name="connsiteX55" fmla="*/ 8889 w 10000"/>
                    <a:gd name="connsiteY55" fmla="*/ 1968 h 10000"/>
                    <a:gd name="connsiteX56" fmla="*/ 8833 w 10000"/>
                    <a:gd name="connsiteY56" fmla="*/ 1860 h 10000"/>
                    <a:gd name="connsiteX57" fmla="*/ 8833 w 10000"/>
                    <a:gd name="connsiteY57" fmla="*/ 1753 h 10000"/>
                    <a:gd name="connsiteX58" fmla="*/ 8722 w 10000"/>
                    <a:gd name="connsiteY58" fmla="*/ 1647 h 10000"/>
                    <a:gd name="connsiteX59" fmla="*/ 8556 w 10000"/>
                    <a:gd name="connsiteY59" fmla="*/ 1490 h 10000"/>
                    <a:gd name="connsiteX60" fmla="*/ 8556 w 10000"/>
                    <a:gd name="connsiteY60" fmla="*/ 1490 h 10000"/>
                    <a:gd name="connsiteX61" fmla="*/ 6556 w 10000"/>
                    <a:gd name="connsiteY61" fmla="*/ 534 h 10000"/>
                    <a:gd name="connsiteX62" fmla="*/ 6556 w 10000"/>
                    <a:gd name="connsiteY62" fmla="*/ 534 h 10000"/>
                    <a:gd name="connsiteX63" fmla="*/ 6333 w 10000"/>
                    <a:gd name="connsiteY63" fmla="*/ 376 h 10000"/>
                    <a:gd name="connsiteX64" fmla="*/ 6167 w 10000"/>
                    <a:gd name="connsiteY64" fmla="*/ 215 h 10000"/>
                    <a:gd name="connsiteX65" fmla="*/ 6056 w 10000"/>
                    <a:gd name="connsiteY65" fmla="*/ 54 h 10000"/>
                    <a:gd name="connsiteX66" fmla="*/ 6056 w 10000"/>
                    <a:gd name="connsiteY66" fmla="*/ 54 h 10000"/>
                    <a:gd name="connsiteX67" fmla="*/ 8056 w 10000"/>
                    <a:gd name="connsiteY67" fmla="*/ 0 h 10000"/>
                    <a:gd name="connsiteX68" fmla="*/ 10000 w 10000"/>
                    <a:gd name="connsiteY68" fmla="*/ 534 h 10000"/>
                    <a:gd name="connsiteX69" fmla="*/ 10000 w 10000"/>
                    <a:gd name="connsiteY69" fmla="*/ 7340 h 10000"/>
                    <a:gd name="connsiteX70" fmla="*/ 10000 w 10000"/>
                    <a:gd name="connsiteY70" fmla="*/ 7340 h 10000"/>
                    <a:gd name="connsiteX71" fmla="*/ 9722 w 10000"/>
                    <a:gd name="connsiteY71" fmla="*/ 7287 h 10000"/>
                    <a:gd name="connsiteX72" fmla="*/ 9389 w 10000"/>
                    <a:gd name="connsiteY72" fmla="*/ 7340 h 10000"/>
                    <a:gd name="connsiteX73" fmla="*/ 9389 w 10000"/>
                    <a:gd name="connsiteY73" fmla="*/ 7340 h 10000"/>
                    <a:gd name="connsiteX74" fmla="*/ 9278 w 10000"/>
                    <a:gd name="connsiteY74" fmla="*/ 7395 h 10000"/>
                    <a:gd name="connsiteX75" fmla="*/ 9056 w 10000"/>
                    <a:gd name="connsiteY75" fmla="*/ 7340 h 10000"/>
                    <a:gd name="connsiteX76" fmla="*/ 8889 w 10000"/>
                    <a:gd name="connsiteY76" fmla="*/ 7287 h 10000"/>
                    <a:gd name="connsiteX77" fmla="*/ 8722 w 10000"/>
                    <a:gd name="connsiteY77" fmla="*/ 7177 h 10000"/>
                    <a:gd name="connsiteX78" fmla="*/ 8611 w 10000"/>
                    <a:gd name="connsiteY78" fmla="*/ 7018 h 10000"/>
                    <a:gd name="connsiteX79" fmla="*/ 8444 w 10000"/>
                    <a:gd name="connsiteY79" fmla="*/ 6754 h 10000"/>
                    <a:gd name="connsiteX80" fmla="*/ 8444 w 10000"/>
                    <a:gd name="connsiteY80" fmla="*/ 6754 h 10000"/>
                    <a:gd name="connsiteX81" fmla="*/ 8222 w 10000"/>
                    <a:gd name="connsiteY81" fmla="*/ 6277 h 10000"/>
                    <a:gd name="connsiteX82" fmla="*/ 8111 w 10000"/>
                    <a:gd name="connsiteY82" fmla="*/ 6062 h 10000"/>
                    <a:gd name="connsiteX83" fmla="*/ 7944 w 10000"/>
                    <a:gd name="connsiteY83" fmla="*/ 5906 h 10000"/>
                    <a:gd name="connsiteX84" fmla="*/ 7778 w 10000"/>
                    <a:gd name="connsiteY84" fmla="*/ 5798 h 10000"/>
                    <a:gd name="connsiteX85" fmla="*/ 7556 w 10000"/>
                    <a:gd name="connsiteY85" fmla="*/ 5741 h 10000"/>
                    <a:gd name="connsiteX86" fmla="*/ 7333 w 10000"/>
                    <a:gd name="connsiteY86" fmla="*/ 5690 h 10000"/>
                    <a:gd name="connsiteX87" fmla="*/ 7000 w 10000"/>
                    <a:gd name="connsiteY87" fmla="*/ 5637 h 10000"/>
                    <a:gd name="connsiteX88" fmla="*/ 7000 w 10000"/>
                    <a:gd name="connsiteY88" fmla="*/ 5637 h 10000"/>
                    <a:gd name="connsiteX89" fmla="*/ 6556 w 10000"/>
                    <a:gd name="connsiteY89" fmla="*/ 5690 h 10000"/>
                    <a:gd name="connsiteX90" fmla="*/ 6222 w 10000"/>
                    <a:gd name="connsiteY90" fmla="*/ 5690 h 10000"/>
                    <a:gd name="connsiteX91" fmla="*/ 6111 w 10000"/>
                    <a:gd name="connsiteY91" fmla="*/ 5637 h 10000"/>
                    <a:gd name="connsiteX92" fmla="*/ 6056 w 10000"/>
                    <a:gd name="connsiteY92" fmla="*/ 5583 h 10000"/>
                    <a:gd name="connsiteX93" fmla="*/ 6056 w 10000"/>
                    <a:gd name="connsiteY93" fmla="*/ 5583 h 10000"/>
                    <a:gd name="connsiteX94" fmla="*/ 6056 w 10000"/>
                    <a:gd name="connsiteY94" fmla="*/ 4625 h 10000"/>
                    <a:gd name="connsiteX95" fmla="*/ 6056 w 10000"/>
                    <a:gd name="connsiteY95" fmla="*/ 4625 h 10000"/>
                    <a:gd name="connsiteX96" fmla="*/ 6056 w 10000"/>
                    <a:gd name="connsiteY96" fmla="*/ 4413 h 10000"/>
                    <a:gd name="connsiteX97" fmla="*/ 5944 w 10000"/>
                    <a:gd name="connsiteY97" fmla="*/ 4148 h 10000"/>
                    <a:gd name="connsiteX98" fmla="*/ 5889 w 10000"/>
                    <a:gd name="connsiteY98" fmla="*/ 4095 h 10000"/>
                    <a:gd name="connsiteX99" fmla="*/ 5778 w 10000"/>
                    <a:gd name="connsiteY99" fmla="*/ 4040 h 10000"/>
                    <a:gd name="connsiteX100" fmla="*/ 5667 w 10000"/>
                    <a:gd name="connsiteY100" fmla="*/ 4040 h 10000"/>
                    <a:gd name="connsiteX101" fmla="*/ 5500 w 10000"/>
                    <a:gd name="connsiteY101" fmla="*/ 4095 h 10000"/>
                    <a:gd name="connsiteX102" fmla="*/ 5500 w 10000"/>
                    <a:gd name="connsiteY102" fmla="*/ 4095 h 10000"/>
                    <a:gd name="connsiteX103" fmla="*/ 4889 w 10000"/>
                    <a:gd name="connsiteY103" fmla="*/ 4467 h 10000"/>
                    <a:gd name="connsiteX104" fmla="*/ 4611 w 10000"/>
                    <a:gd name="connsiteY104" fmla="*/ 4572 h 10000"/>
                    <a:gd name="connsiteX105" fmla="*/ 4556 w 10000"/>
                    <a:gd name="connsiteY105" fmla="*/ 4625 h 10000"/>
                    <a:gd name="connsiteX106" fmla="*/ 4500 w 10000"/>
                    <a:gd name="connsiteY106" fmla="*/ 4572 h 10000"/>
                    <a:gd name="connsiteX107" fmla="*/ 4500 w 10000"/>
                    <a:gd name="connsiteY107" fmla="*/ 4572 h 10000"/>
                    <a:gd name="connsiteX108" fmla="*/ 4222 w 10000"/>
                    <a:gd name="connsiteY108" fmla="*/ 4040 h 10000"/>
                    <a:gd name="connsiteX109" fmla="*/ 4222 w 10000"/>
                    <a:gd name="connsiteY109" fmla="*/ 4040 h 10000"/>
                    <a:gd name="connsiteX110" fmla="*/ 4111 w 10000"/>
                    <a:gd name="connsiteY110" fmla="*/ 3776 h 10000"/>
                    <a:gd name="connsiteX111" fmla="*/ 4111 w 10000"/>
                    <a:gd name="connsiteY111" fmla="*/ 3615 h 10000"/>
                    <a:gd name="connsiteX112" fmla="*/ 4111 w 10000"/>
                    <a:gd name="connsiteY112" fmla="*/ 3458 h 10000"/>
                    <a:gd name="connsiteX113" fmla="*/ 4111 w 10000"/>
                    <a:gd name="connsiteY113" fmla="*/ 3458 h 10000"/>
                    <a:gd name="connsiteX114" fmla="*/ 4278 w 10000"/>
                    <a:gd name="connsiteY114" fmla="*/ 3297 h 10000"/>
                    <a:gd name="connsiteX115" fmla="*/ 4389 w 10000"/>
                    <a:gd name="connsiteY115" fmla="*/ 3243 h 10000"/>
                    <a:gd name="connsiteX116" fmla="*/ 4389 w 10000"/>
                    <a:gd name="connsiteY116" fmla="*/ 3243 h 10000"/>
                    <a:gd name="connsiteX117" fmla="*/ 4000 w 10000"/>
                    <a:gd name="connsiteY117" fmla="*/ 3243 h 10000"/>
                    <a:gd name="connsiteX118" fmla="*/ 3722 w 10000"/>
                    <a:gd name="connsiteY118" fmla="*/ 3297 h 10000"/>
                    <a:gd name="connsiteX119" fmla="*/ 3611 w 10000"/>
                    <a:gd name="connsiteY119" fmla="*/ 3353 h 10000"/>
                    <a:gd name="connsiteX120" fmla="*/ 3556 w 10000"/>
                    <a:gd name="connsiteY120" fmla="*/ 3404 h 10000"/>
                    <a:gd name="connsiteX121" fmla="*/ 3556 w 10000"/>
                    <a:gd name="connsiteY121" fmla="*/ 3404 h 10000"/>
                    <a:gd name="connsiteX122" fmla="*/ 3444 w 10000"/>
                    <a:gd name="connsiteY122" fmla="*/ 3615 h 10000"/>
                    <a:gd name="connsiteX123" fmla="*/ 3278 w 10000"/>
                    <a:gd name="connsiteY123" fmla="*/ 3937 h 10000"/>
                    <a:gd name="connsiteX124" fmla="*/ 3000 w 10000"/>
                    <a:gd name="connsiteY124" fmla="*/ 4310 h 10000"/>
                    <a:gd name="connsiteX125" fmla="*/ 2667 w 10000"/>
                    <a:gd name="connsiteY125" fmla="*/ 4572 h 10000"/>
                    <a:gd name="connsiteX126" fmla="*/ 2667 w 10000"/>
                    <a:gd name="connsiteY126" fmla="*/ 4572 h 10000"/>
                    <a:gd name="connsiteX127" fmla="*/ 2333 w 10000"/>
                    <a:gd name="connsiteY127" fmla="*/ 4786 h 10000"/>
                    <a:gd name="connsiteX128" fmla="*/ 1833 w 10000"/>
                    <a:gd name="connsiteY128" fmla="*/ 5000 h 10000"/>
                    <a:gd name="connsiteX129" fmla="*/ 1389 w 10000"/>
                    <a:gd name="connsiteY129" fmla="*/ 5108 h 10000"/>
                    <a:gd name="connsiteX130" fmla="*/ 889 w 10000"/>
                    <a:gd name="connsiteY130" fmla="*/ 5158 h 10000"/>
                    <a:gd name="connsiteX131" fmla="*/ 889 w 10000"/>
                    <a:gd name="connsiteY131" fmla="*/ 5158 h 10000"/>
                    <a:gd name="connsiteX132" fmla="*/ 500 w 10000"/>
                    <a:gd name="connsiteY132" fmla="*/ 5212 h 10000"/>
                    <a:gd name="connsiteX133" fmla="*/ 222 w 10000"/>
                    <a:gd name="connsiteY133" fmla="*/ 5269 h 10000"/>
                    <a:gd name="connsiteX134" fmla="*/ 0 w 10000"/>
                    <a:gd name="connsiteY134" fmla="*/ 5323 h 10000"/>
                    <a:gd name="connsiteX135" fmla="*/ 0 w 10000"/>
                    <a:gd name="connsiteY135" fmla="*/ 5323 h 10000"/>
                    <a:gd name="connsiteX136" fmla="*/ 278 w 10000"/>
                    <a:gd name="connsiteY136" fmla="*/ 6166 h 10000"/>
                    <a:gd name="connsiteX137" fmla="*/ 500 w 10000"/>
                    <a:gd name="connsiteY137" fmla="*/ 6808 h 10000"/>
                    <a:gd name="connsiteX138" fmla="*/ 722 w 10000"/>
                    <a:gd name="connsiteY138" fmla="*/ 7340 h 10000"/>
                    <a:gd name="connsiteX139" fmla="*/ 722 w 10000"/>
                    <a:gd name="connsiteY139" fmla="*/ 7340 h 10000"/>
                    <a:gd name="connsiteX140" fmla="*/ 889 w 10000"/>
                    <a:gd name="connsiteY140" fmla="*/ 7660 h 10000"/>
                    <a:gd name="connsiteX141" fmla="*/ 944 w 10000"/>
                    <a:gd name="connsiteY141" fmla="*/ 7925 h 10000"/>
                    <a:gd name="connsiteX142" fmla="*/ 1111 w 10000"/>
                    <a:gd name="connsiteY142" fmla="*/ 8190 h 10000"/>
                    <a:gd name="connsiteX143" fmla="*/ 1333 w 10000"/>
                    <a:gd name="connsiteY143" fmla="*/ 8615 h 10000"/>
                    <a:gd name="connsiteX144" fmla="*/ 1333 w 10000"/>
                    <a:gd name="connsiteY144" fmla="*/ 8615 h 10000"/>
                    <a:gd name="connsiteX145" fmla="*/ 1444 w 10000"/>
                    <a:gd name="connsiteY145" fmla="*/ 8830 h 10000"/>
                    <a:gd name="connsiteX146" fmla="*/ 1500 w 10000"/>
                    <a:gd name="connsiteY146" fmla="*/ 8987 h 10000"/>
                    <a:gd name="connsiteX147" fmla="*/ 1500 w 10000"/>
                    <a:gd name="connsiteY147" fmla="*/ 9144 h 10000"/>
                    <a:gd name="connsiteX148" fmla="*/ 1556 w 10000"/>
                    <a:gd name="connsiteY148" fmla="*/ 9202 h 10000"/>
                    <a:gd name="connsiteX149" fmla="*/ 1722 w 10000"/>
                    <a:gd name="connsiteY149" fmla="*/ 9252 h 10000"/>
                    <a:gd name="connsiteX150" fmla="*/ 1944 w 10000"/>
                    <a:gd name="connsiteY150" fmla="*/ 9304 h 10000"/>
                    <a:gd name="connsiteX151" fmla="*/ 2944 w 10000"/>
                    <a:gd name="connsiteY151" fmla="*/ 9360 h 10000"/>
                    <a:gd name="connsiteX152" fmla="*/ 2944 w 10000"/>
                    <a:gd name="connsiteY152" fmla="*/ 9360 h 10000"/>
                    <a:gd name="connsiteX153" fmla="*/ 4167 w 10000"/>
                    <a:gd name="connsiteY153" fmla="*/ 9463 h 10000"/>
                    <a:gd name="connsiteX154" fmla="*/ 4889 w 10000"/>
                    <a:gd name="connsiteY154" fmla="*/ 9624 h 10000"/>
                    <a:gd name="connsiteX155" fmla="*/ 5278 w 10000"/>
                    <a:gd name="connsiteY155" fmla="*/ 9788 h 10000"/>
                    <a:gd name="connsiteX156" fmla="*/ 5444 w 10000"/>
                    <a:gd name="connsiteY156" fmla="*/ 9839 h 10000"/>
                    <a:gd name="connsiteX157" fmla="*/ 5833 w 10000"/>
                    <a:gd name="connsiteY157" fmla="*/ 10000 h 10000"/>
                    <a:gd name="connsiteX0" fmla="*/ 10000 w 10000"/>
                    <a:gd name="connsiteY0" fmla="*/ 7287 h 9839"/>
                    <a:gd name="connsiteX1" fmla="*/ 10000 w 10000"/>
                    <a:gd name="connsiteY1" fmla="*/ 7287 h 9839"/>
                    <a:gd name="connsiteX2" fmla="*/ 9222 w 10000"/>
                    <a:gd name="connsiteY2" fmla="*/ 7340 h 9839"/>
                    <a:gd name="connsiteX3" fmla="*/ 8944 w 10000"/>
                    <a:gd name="connsiteY3" fmla="*/ 7340 h 9839"/>
                    <a:gd name="connsiteX4" fmla="*/ 8833 w 10000"/>
                    <a:gd name="connsiteY4" fmla="*/ 7287 h 9839"/>
                    <a:gd name="connsiteX5" fmla="*/ 8778 w 10000"/>
                    <a:gd name="connsiteY5" fmla="*/ 7234 h 9839"/>
                    <a:gd name="connsiteX6" fmla="*/ 8778 w 10000"/>
                    <a:gd name="connsiteY6" fmla="*/ 7234 h 9839"/>
                    <a:gd name="connsiteX7" fmla="*/ 8444 w 10000"/>
                    <a:gd name="connsiteY7" fmla="*/ 6592 h 9839"/>
                    <a:gd name="connsiteX8" fmla="*/ 8167 w 10000"/>
                    <a:gd name="connsiteY8" fmla="*/ 6010 h 9839"/>
                    <a:gd name="connsiteX9" fmla="*/ 8167 w 10000"/>
                    <a:gd name="connsiteY9" fmla="*/ 6010 h 9839"/>
                    <a:gd name="connsiteX10" fmla="*/ 8056 w 10000"/>
                    <a:gd name="connsiteY10" fmla="*/ 5906 h 9839"/>
                    <a:gd name="connsiteX11" fmla="*/ 7889 w 10000"/>
                    <a:gd name="connsiteY11" fmla="*/ 5798 h 9839"/>
                    <a:gd name="connsiteX12" fmla="*/ 7444 w 10000"/>
                    <a:gd name="connsiteY12" fmla="*/ 5741 h 9839"/>
                    <a:gd name="connsiteX13" fmla="*/ 6889 w 10000"/>
                    <a:gd name="connsiteY13" fmla="*/ 5690 h 9839"/>
                    <a:gd name="connsiteX14" fmla="*/ 6389 w 10000"/>
                    <a:gd name="connsiteY14" fmla="*/ 5690 h 9839"/>
                    <a:gd name="connsiteX15" fmla="*/ 6389 w 10000"/>
                    <a:gd name="connsiteY15" fmla="*/ 5690 h 9839"/>
                    <a:gd name="connsiteX16" fmla="*/ 6167 w 10000"/>
                    <a:gd name="connsiteY16" fmla="*/ 5637 h 9839"/>
                    <a:gd name="connsiteX17" fmla="*/ 6056 w 10000"/>
                    <a:gd name="connsiteY17" fmla="*/ 5534 h 9839"/>
                    <a:gd name="connsiteX18" fmla="*/ 6000 w 10000"/>
                    <a:gd name="connsiteY18" fmla="*/ 5426 h 9839"/>
                    <a:gd name="connsiteX19" fmla="*/ 6000 w 10000"/>
                    <a:gd name="connsiteY19" fmla="*/ 5212 h 9839"/>
                    <a:gd name="connsiteX20" fmla="*/ 6056 w 10000"/>
                    <a:gd name="connsiteY20" fmla="*/ 4786 h 9839"/>
                    <a:gd name="connsiteX21" fmla="*/ 6111 w 10000"/>
                    <a:gd name="connsiteY21" fmla="*/ 4572 h 9839"/>
                    <a:gd name="connsiteX22" fmla="*/ 6056 w 10000"/>
                    <a:gd name="connsiteY22" fmla="*/ 4310 h 9839"/>
                    <a:gd name="connsiteX23" fmla="*/ 6056 w 10000"/>
                    <a:gd name="connsiteY23" fmla="*/ 4310 h 9839"/>
                    <a:gd name="connsiteX24" fmla="*/ 6000 w 10000"/>
                    <a:gd name="connsiteY24" fmla="*/ 4148 h 9839"/>
                    <a:gd name="connsiteX25" fmla="*/ 5944 w 10000"/>
                    <a:gd name="connsiteY25" fmla="*/ 4040 h 9839"/>
                    <a:gd name="connsiteX26" fmla="*/ 5833 w 10000"/>
                    <a:gd name="connsiteY26" fmla="*/ 4040 h 9839"/>
                    <a:gd name="connsiteX27" fmla="*/ 5667 w 10000"/>
                    <a:gd name="connsiteY27" fmla="*/ 4095 h 9839"/>
                    <a:gd name="connsiteX28" fmla="*/ 5333 w 10000"/>
                    <a:gd name="connsiteY28" fmla="*/ 4252 h 9839"/>
                    <a:gd name="connsiteX29" fmla="*/ 4889 w 10000"/>
                    <a:gd name="connsiteY29" fmla="*/ 4521 h 9839"/>
                    <a:gd name="connsiteX30" fmla="*/ 4889 w 10000"/>
                    <a:gd name="connsiteY30" fmla="*/ 4521 h 9839"/>
                    <a:gd name="connsiteX31" fmla="*/ 4611 w 10000"/>
                    <a:gd name="connsiteY31" fmla="*/ 4572 h 9839"/>
                    <a:gd name="connsiteX32" fmla="*/ 4500 w 10000"/>
                    <a:gd name="connsiteY32" fmla="*/ 4572 h 9839"/>
                    <a:gd name="connsiteX33" fmla="*/ 4444 w 10000"/>
                    <a:gd name="connsiteY33" fmla="*/ 4521 h 9839"/>
                    <a:gd name="connsiteX34" fmla="*/ 4389 w 10000"/>
                    <a:gd name="connsiteY34" fmla="*/ 4310 h 9839"/>
                    <a:gd name="connsiteX35" fmla="*/ 4222 w 10000"/>
                    <a:gd name="connsiteY35" fmla="*/ 4040 h 9839"/>
                    <a:gd name="connsiteX36" fmla="*/ 4222 w 10000"/>
                    <a:gd name="connsiteY36" fmla="*/ 4040 h 9839"/>
                    <a:gd name="connsiteX37" fmla="*/ 4111 w 10000"/>
                    <a:gd name="connsiteY37" fmla="*/ 3884 h 9839"/>
                    <a:gd name="connsiteX38" fmla="*/ 4111 w 10000"/>
                    <a:gd name="connsiteY38" fmla="*/ 3723 h 9839"/>
                    <a:gd name="connsiteX39" fmla="*/ 4111 w 10000"/>
                    <a:gd name="connsiteY39" fmla="*/ 3615 h 9839"/>
                    <a:gd name="connsiteX40" fmla="*/ 4167 w 10000"/>
                    <a:gd name="connsiteY40" fmla="*/ 3511 h 9839"/>
                    <a:gd name="connsiteX41" fmla="*/ 4278 w 10000"/>
                    <a:gd name="connsiteY41" fmla="*/ 3297 h 9839"/>
                    <a:gd name="connsiteX42" fmla="*/ 4389 w 10000"/>
                    <a:gd name="connsiteY42" fmla="*/ 3243 h 9839"/>
                    <a:gd name="connsiteX43" fmla="*/ 4389 w 10000"/>
                    <a:gd name="connsiteY43" fmla="*/ 3243 h 9839"/>
                    <a:gd name="connsiteX44" fmla="*/ 4389 w 10000"/>
                    <a:gd name="connsiteY44" fmla="*/ 3193 h 9839"/>
                    <a:gd name="connsiteX45" fmla="*/ 4444 w 10000"/>
                    <a:gd name="connsiteY45" fmla="*/ 3138 h 9839"/>
                    <a:gd name="connsiteX46" fmla="*/ 4667 w 10000"/>
                    <a:gd name="connsiteY46" fmla="*/ 3085 h 9839"/>
                    <a:gd name="connsiteX47" fmla="*/ 5333 w 10000"/>
                    <a:gd name="connsiteY47" fmla="*/ 2981 h 9839"/>
                    <a:gd name="connsiteX48" fmla="*/ 6500 w 10000"/>
                    <a:gd name="connsiteY48" fmla="*/ 2821 h 9839"/>
                    <a:gd name="connsiteX49" fmla="*/ 6500 w 10000"/>
                    <a:gd name="connsiteY49" fmla="*/ 2821 h 9839"/>
                    <a:gd name="connsiteX50" fmla="*/ 7167 w 10000"/>
                    <a:gd name="connsiteY50" fmla="*/ 2660 h 9839"/>
                    <a:gd name="connsiteX51" fmla="*/ 8389 w 10000"/>
                    <a:gd name="connsiteY51" fmla="*/ 2340 h 9839"/>
                    <a:gd name="connsiteX52" fmla="*/ 8389 w 10000"/>
                    <a:gd name="connsiteY52" fmla="*/ 2340 h 9839"/>
                    <a:gd name="connsiteX53" fmla="*/ 8667 w 10000"/>
                    <a:gd name="connsiteY53" fmla="*/ 2229 h 9839"/>
                    <a:gd name="connsiteX54" fmla="*/ 8778 w 10000"/>
                    <a:gd name="connsiteY54" fmla="*/ 2072 h 9839"/>
                    <a:gd name="connsiteX55" fmla="*/ 8889 w 10000"/>
                    <a:gd name="connsiteY55" fmla="*/ 1968 h 9839"/>
                    <a:gd name="connsiteX56" fmla="*/ 8833 w 10000"/>
                    <a:gd name="connsiteY56" fmla="*/ 1860 h 9839"/>
                    <a:gd name="connsiteX57" fmla="*/ 8833 w 10000"/>
                    <a:gd name="connsiteY57" fmla="*/ 1753 h 9839"/>
                    <a:gd name="connsiteX58" fmla="*/ 8722 w 10000"/>
                    <a:gd name="connsiteY58" fmla="*/ 1647 h 9839"/>
                    <a:gd name="connsiteX59" fmla="*/ 8556 w 10000"/>
                    <a:gd name="connsiteY59" fmla="*/ 1490 h 9839"/>
                    <a:gd name="connsiteX60" fmla="*/ 8556 w 10000"/>
                    <a:gd name="connsiteY60" fmla="*/ 1490 h 9839"/>
                    <a:gd name="connsiteX61" fmla="*/ 6556 w 10000"/>
                    <a:gd name="connsiteY61" fmla="*/ 534 h 9839"/>
                    <a:gd name="connsiteX62" fmla="*/ 6556 w 10000"/>
                    <a:gd name="connsiteY62" fmla="*/ 534 h 9839"/>
                    <a:gd name="connsiteX63" fmla="*/ 6333 w 10000"/>
                    <a:gd name="connsiteY63" fmla="*/ 376 h 9839"/>
                    <a:gd name="connsiteX64" fmla="*/ 6167 w 10000"/>
                    <a:gd name="connsiteY64" fmla="*/ 215 h 9839"/>
                    <a:gd name="connsiteX65" fmla="*/ 6056 w 10000"/>
                    <a:gd name="connsiteY65" fmla="*/ 54 h 9839"/>
                    <a:gd name="connsiteX66" fmla="*/ 6056 w 10000"/>
                    <a:gd name="connsiteY66" fmla="*/ 54 h 9839"/>
                    <a:gd name="connsiteX67" fmla="*/ 8056 w 10000"/>
                    <a:gd name="connsiteY67" fmla="*/ 0 h 9839"/>
                    <a:gd name="connsiteX68" fmla="*/ 10000 w 10000"/>
                    <a:gd name="connsiteY68" fmla="*/ 534 h 9839"/>
                    <a:gd name="connsiteX69" fmla="*/ 10000 w 10000"/>
                    <a:gd name="connsiteY69" fmla="*/ 7340 h 9839"/>
                    <a:gd name="connsiteX70" fmla="*/ 10000 w 10000"/>
                    <a:gd name="connsiteY70" fmla="*/ 7340 h 9839"/>
                    <a:gd name="connsiteX71" fmla="*/ 9722 w 10000"/>
                    <a:gd name="connsiteY71" fmla="*/ 7287 h 9839"/>
                    <a:gd name="connsiteX72" fmla="*/ 9389 w 10000"/>
                    <a:gd name="connsiteY72" fmla="*/ 7340 h 9839"/>
                    <a:gd name="connsiteX73" fmla="*/ 9389 w 10000"/>
                    <a:gd name="connsiteY73" fmla="*/ 7340 h 9839"/>
                    <a:gd name="connsiteX74" fmla="*/ 9278 w 10000"/>
                    <a:gd name="connsiteY74" fmla="*/ 7395 h 9839"/>
                    <a:gd name="connsiteX75" fmla="*/ 9056 w 10000"/>
                    <a:gd name="connsiteY75" fmla="*/ 7340 h 9839"/>
                    <a:gd name="connsiteX76" fmla="*/ 8889 w 10000"/>
                    <a:gd name="connsiteY76" fmla="*/ 7287 h 9839"/>
                    <a:gd name="connsiteX77" fmla="*/ 8722 w 10000"/>
                    <a:gd name="connsiteY77" fmla="*/ 7177 h 9839"/>
                    <a:gd name="connsiteX78" fmla="*/ 8611 w 10000"/>
                    <a:gd name="connsiteY78" fmla="*/ 7018 h 9839"/>
                    <a:gd name="connsiteX79" fmla="*/ 8444 w 10000"/>
                    <a:gd name="connsiteY79" fmla="*/ 6754 h 9839"/>
                    <a:gd name="connsiteX80" fmla="*/ 8444 w 10000"/>
                    <a:gd name="connsiteY80" fmla="*/ 6754 h 9839"/>
                    <a:gd name="connsiteX81" fmla="*/ 8222 w 10000"/>
                    <a:gd name="connsiteY81" fmla="*/ 6277 h 9839"/>
                    <a:gd name="connsiteX82" fmla="*/ 8111 w 10000"/>
                    <a:gd name="connsiteY82" fmla="*/ 6062 h 9839"/>
                    <a:gd name="connsiteX83" fmla="*/ 7944 w 10000"/>
                    <a:gd name="connsiteY83" fmla="*/ 5906 h 9839"/>
                    <a:gd name="connsiteX84" fmla="*/ 7778 w 10000"/>
                    <a:gd name="connsiteY84" fmla="*/ 5798 h 9839"/>
                    <a:gd name="connsiteX85" fmla="*/ 7556 w 10000"/>
                    <a:gd name="connsiteY85" fmla="*/ 5741 h 9839"/>
                    <a:gd name="connsiteX86" fmla="*/ 7333 w 10000"/>
                    <a:gd name="connsiteY86" fmla="*/ 5690 h 9839"/>
                    <a:gd name="connsiteX87" fmla="*/ 7000 w 10000"/>
                    <a:gd name="connsiteY87" fmla="*/ 5637 h 9839"/>
                    <a:gd name="connsiteX88" fmla="*/ 7000 w 10000"/>
                    <a:gd name="connsiteY88" fmla="*/ 5637 h 9839"/>
                    <a:gd name="connsiteX89" fmla="*/ 6556 w 10000"/>
                    <a:gd name="connsiteY89" fmla="*/ 5690 h 9839"/>
                    <a:gd name="connsiteX90" fmla="*/ 6222 w 10000"/>
                    <a:gd name="connsiteY90" fmla="*/ 5690 h 9839"/>
                    <a:gd name="connsiteX91" fmla="*/ 6111 w 10000"/>
                    <a:gd name="connsiteY91" fmla="*/ 5637 h 9839"/>
                    <a:gd name="connsiteX92" fmla="*/ 6056 w 10000"/>
                    <a:gd name="connsiteY92" fmla="*/ 5583 h 9839"/>
                    <a:gd name="connsiteX93" fmla="*/ 6056 w 10000"/>
                    <a:gd name="connsiteY93" fmla="*/ 5583 h 9839"/>
                    <a:gd name="connsiteX94" fmla="*/ 6056 w 10000"/>
                    <a:gd name="connsiteY94" fmla="*/ 4625 h 9839"/>
                    <a:gd name="connsiteX95" fmla="*/ 6056 w 10000"/>
                    <a:gd name="connsiteY95" fmla="*/ 4625 h 9839"/>
                    <a:gd name="connsiteX96" fmla="*/ 6056 w 10000"/>
                    <a:gd name="connsiteY96" fmla="*/ 4413 h 9839"/>
                    <a:gd name="connsiteX97" fmla="*/ 5944 w 10000"/>
                    <a:gd name="connsiteY97" fmla="*/ 4148 h 9839"/>
                    <a:gd name="connsiteX98" fmla="*/ 5889 w 10000"/>
                    <a:gd name="connsiteY98" fmla="*/ 4095 h 9839"/>
                    <a:gd name="connsiteX99" fmla="*/ 5778 w 10000"/>
                    <a:gd name="connsiteY99" fmla="*/ 4040 h 9839"/>
                    <a:gd name="connsiteX100" fmla="*/ 5667 w 10000"/>
                    <a:gd name="connsiteY100" fmla="*/ 4040 h 9839"/>
                    <a:gd name="connsiteX101" fmla="*/ 5500 w 10000"/>
                    <a:gd name="connsiteY101" fmla="*/ 4095 h 9839"/>
                    <a:gd name="connsiteX102" fmla="*/ 5500 w 10000"/>
                    <a:gd name="connsiteY102" fmla="*/ 4095 h 9839"/>
                    <a:gd name="connsiteX103" fmla="*/ 4889 w 10000"/>
                    <a:gd name="connsiteY103" fmla="*/ 4467 h 9839"/>
                    <a:gd name="connsiteX104" fmla="*/ 4611 w 10000"/>
                    <a:gd name="connsiteY104" fmla="*/ 4572 h 9839"/>
                    <a:gd name="connsiteX105" fmla="*/ 4556 w 10000"/>
                    <a:gd name="connsiteY105" fmla="*/ 4625 h 9839"/>
                    <a:gd name="connsiteX106" fmla="*/ 4500 w 10000"/>
                    <a:gd name="connsiteY106" fmla="*/ 4572 h 9839"/>
                    <a:gd name="connsiteX107" fmla="*/ 4500 w 10000"/>
                    <a:gd name="connsiteY107" fmla="*/ 4572 h 9839"/>
                    <a:gd name="connsiteX108" fmla="*/ 4222 w 10000"/>
                    <a:gd name="connsiteY108" fmla="*/ 4040 h 9839"/>
                    <a:gd name="connsiteX109" fmla="*/ 4222 w 10000"/>
                    <a:gd name="connsiteY109" fmla="*/ 4040 h 9839"/>
                    <a:gd name="connsiteX110" fmla="*/ 4111 w 10000"/>
                    <a:gd name="connsiteY110" fmla="*/ 3776 h 9839"/>
                    <a:gd name="connsiteX111" fmla="*/ 4111 w 10000"/>
                    <a:gd name="connsiteY111" fmla="*/ 3615 h 9839"/>
                    <a:gd name="connsiteX112" fmla="*/ 4111 w 10000"/>
                    <a:gd name="connsiteY112" fmla="*/ 3458 h 9839"/>
                    <a:gd name="connsiteX113" fmla="*/ 4111 w 10000"/>
                    <a:gd name="connsiteY113" fmla="*/ 3458 h 9839"/>
                    <a:gd name="connsiteX114" fmla="*/ 4278 w 10000"/>
                    <a:gd name="connsiteY114" fmla="*/ 3297 h 9839"/>
                    <a:gd name="connsiteX115" fmla="*/ 4389 w 10000"/>
                    <a:gd name="connsiteY115" fmla="*/ 3243 h 9839"/>
                    <a:gd name="connsiteX116" fmla="*/ 4389 w 10000"/>
                    <a:gd name="connsiteY116" fmla="*/ 3243 h 9839"/>
                    <a:gd name="connsiteX117" fmla="*/ 4000 w 10000"/>
                    <a:gd name="connsiteY117" fmla="*/ 3243 h 9839"/>
                    <a:gd name="connsiteX118" fmla="*/ 3722 w 10000"/>
                    <a:gd name="connsiteY118" fmla="*/ 3297 h 9839"/>
                    <a:gd name="connsiteX119" fmla="*/ 3611 w 10000"/>
                    <a:gd name="connsiteY119" fmla="*/ 3353 h 9839"/>
                    <a:gd name="connsiteX120" fmla="*/ 3556 w 10000"/>
                    <a:gd name="connsiteY120" fmla="*/ 3404 h 9839"/>
                    <a:gd name="connsiteX121" fmla="*/ 3556 w 10000"/>
                    <a:gd name="connsiteY121" fmla="*/ 3404 h 9839"/>
                    <a:gd name="connsiteX122" fmla="*/ 3444 w 10000"/>
                    <a:gd name="connsiteY122" fmla="*/ 3615 h 9839"/>
                    <a:gd name="connsiteX123" fmla="*/ 3278 w 10000"/>
                    <a:gd name="connsiteY123" fmla="*/ 3937 h 9839"/>
                    <a:gd name="connsiteX124" fmla="*/ 3000 w 10000"/>
                    <a:gd name="connsiteY124" fmla="*/ 4310 h 9839"/>
                    <a:gd name="connsiteX125" fmla="*/ 2667 w 10000"/>
                    <a:gd name="connsiteY125" fmla="*/ 4572 h 9839"/>
                    <a:gd name="connsiteX126" fmla="*/ 2667 w 10000"/>
                    <a:gd name="connsiteY126" fmla="*/ 4572 h 9839"/>
                    <a:gd name="connsiteX127" fmla="*/ 2333 w 10000"/>
                    <a:gd name="connsiteY127" fmla="*/ 4786 h 9839"/>
                    <a:gd name="connsiteX128" fmla="*/ 1833 w 10000"/>
                    <a:gd name="connsiteY128" fmla="*/ 5000 h 9839"/>
                    <a:gd name="connsiteX129" fmla="*/ 1389 w 10000"/>
                    <a:gd name="connsiteY129" fmla="*/ 5108 h 9839"/>
                    <a:gd name="connsiteX130" fmla="*/ 889 w 10000"/>
                    <a:gd name="connsiteY130" fmla="*/ 5158 h 9839"/>
                    <a:gd name="connsiteX131" fmla="*/ 889 w 10000"/>
                    <a:gd name="connsiteY131" fmla="*/ 5158 h 9839"/>
                    <a:gd name="connsiteX132" fmla="*/ 500 w 10000"/>
                    <a:gd name="connsiteY132" fmla="*/ 5212 h 9839"/>
                    <a:gd name="connsiteX133" fmla="*/ 222 w 10000"/>
                    <a:gd name="connsiteY133" fmla="*/ 5269 h 9839"/>
                    <a:gd name="connsiteX134" fmla="*/ 0 w 10000"/>
                    <a:gd name="connsiteY134" fmla="*/ 5323 h 9839"/>
                    <a:gd name="connsiteX135" fmla="*/ 0 w 10000"/>
                    <a:gd name="connsiteY135" fmla="*/ 5323 h 9839"/>
                    <a:gd name="connsiteX136" fmla="*/ 278 w 10000"/>
                    <a:gd name="connsiteY136" fmla="*/ 6166 h 9839"/>
                    <a:gd name="connsiteX137" fmla="*/ 500 w 10000"/>
                    <a:gd name="connsiteY137" fmla="*/ 6808 h 9839"/>
                    <a:gd name="connsiteX138" fmla="*/ 722 w 10000"/>
                    <a:gd name="connsiteY138" fmla="*/ 7340 h 9839"/>
                    <a:gd name="connsiteX139" fmla="*/ 722 w 10000"/>
                    <a:gd name="connsiteY139" fmla="*/ 7340 h 9839"/>
                    <a:gd name="connsiteX140" fmla="*/ 889 w 10000"/>
                    <a:gd name="connsiteY140" fmla="*/ 7660 h 9839"/>
                    <a:gd name="connsiteX141" fmla="*/ 944 w 10000"/>
                    <a:gd name="connsiteY141" fmla="*/ 7925 h 9839"/>
                    <a:gd name="connsiteX142" fmla="*/ 1111 w 10000"/>
                    <a:gd name="connsiteY142" fmla="*/ 8190 h 9839"/>
                    <a:gd name="connsiteX143" fmla="*/ 1333 w 10000"/>
                    <a:gd name="connsiteY143" fmla="*/ 8615 h 9839"/>
                    <a:gd name="connsiteX144" fmla="*/ 1333 w 10000"/>
                    <a:gd name="connsiteY144" fmla="*/ 8615 h 9839"/>
                    <a:gd name="connsiteX145" fmla="*/ 1444 w 10000"/>
                    <a:gd name="connsiteY145" fmla="*/ 8830 h 9839"/>
                    <a:gd name="connsiteX146" fmla="*/ 1500 w 10000"/>
                    <a:gd name="connsiteY146" fmla="*/ 8987 h 9839"/>
                    <a:gd name="connsiteX147" fmla="*/ 1500 w 10000"/>
                    <a:gd name="connsiteY147" fmla="*/ 9144 h 9839"/>
                    <a:gd name="connsiteX148" fmla="*/ 1556 w 10000"/>
                    <a:gd name="connsiteY148" fmla="*/ 9202 h 9839"/>
                    <a:gd name="connsiteX149" fmla="*/ 1722 w 10000"/>
                    <a:gd name="connsiteY149" fmla="*/ 9252 h 9839"/>
                    <a:gd name="connsiteX150" fmla="*/ 1944 w 10000"/>
                    <a:gd name="connsiteY150" fmla="*/ 9304 h 9839"/>
                    <a:gd name="connsiteX151" fmla="*/ 2944 w 10000"/>
                    <a:gd name="connsiteY151" fmla="*/ 9360 h 9839"/>
                    <a:gd name="connsiteX152" fmla="*/ 2944 w 10000"/>
                    <a:gd name="connsiteY152" fmla="*/ 9360 h 9839"/>
                    <a:gd name="connsiteX153" fmla="*/ 4167 w 10000"/>
                    <a:gd name="connsiteY153" fmla="*/ 9463 h 9839"/>
                    <a:gd name="connsiteX154" fmla="*/ 4889 w 10000"/>
                    <a:gd name="connsiteY154" fmla="*/ 9624 h 9839"/>
                    <a:gd name="connsiteX155" fmla="*/ 5278 w 10000"/>
                    <a:gd name="connsiteY155" fmla="*/ 9788 h 9839"/>
                    <a:gd name="connsiteX156" fmla="*/ 5444 w 10000"/>
                    <a:gd name="connsiteY156" fmla="*/ 9839 h 9839"/>
                    <a:gd name="connsiteX0" fmla="*/ 10000 w 10000"/>
                    <a:gd name="connsiteY0" fmla="*/ 7406 h 9948"/>
                    <a:gd name="connsiteX1" fmla="*/ 10000 w 10000"/>
                    <a:gd name="connsiteY1" fmla="*/ 7406 h 9948"/>
                    <a:gd name="connsiteX2" fmla="*/ 9222 w 10000"/>
                    <a:gd name="connsiteY2" fmla="*/ 7460 h 9948"/>
                    <a:gd name="connsiteX3" fmla="*/ 8944 w 10000"/>
                    <a:gd name="connsiteY3" fmla="*/ 7460 h 9948"/>
                    <a:gd name="connsiteX4" fmla="*/ 8833 w 10000"/>
                    <a:gd name="connsiteY4" fmla="*/ 7406 h 9948"/>
                    <a:gd name="connsiteX5" fmla="*/ 8778 w 10000"/>
                    <a:gd name="connsiteY5" fmla="*/ 7352 h 9948"/>
                    <a:gd name="connsiteX6" fmla="*/ 8778 w 10000"/>
                    <a:gd name="connsiteY6" fmla="*/ 7352 h 9948"/>
                    <a:gd name="connsiteX7" fmla="*/ 8444 w 10000"/>
                    <a:gd name="connsiteY7" fmla="*/ 6700 h 9948"/>
                    <a:gd name="connsiteX8" fmla="*/ 8167 w 10000"/>
                    <a:gd name="connsiteY8" fmla="*/ 6108 h 9948"/>
                    <a:gd name="connsiteX9" fmla="*/ 8167 w 10000"/>
                    <a:gd name="connsiteY9" fmla="*/ 6108 h 9948"/>
                    <a:gd name="connsiteX10" fmla="*/ 8056 w 10000"/>
                    <a:gd name="connsiteY10" fmla="*/ 6003 h 9948"/>
                    <a:gd name="connsiteX11" fmla="*/ 7889 w 10000"/>
                    <a:gd name="connsiteY11" fmla="*/ 5893 h 9948"/>
                    <a:gd name="connsiteX12" fmla="*/ 7444 w 10000"/>
                    <a:gd name="connsiteY12" fmla="*/ 5835 h 9948"/>
                    <a:gd name="connsiteX13" fmla="*/ 6889 w 10000"/>
                    <a:gd name="connsiteY13" fmla="*/ 5783 h 9948"/>
                    <a:gd name="connsiteX14" fmla="*/ 6389 w 10000"/>
                    <a:gd name="connsiteY14" fmla="*/ 5783 h 9948"/>
                    <a:gd name="connsiteX15" fmla="*/ 6389 w 10000"/>
                    <a:gd name="connsiteY15" fmla="*/ 5783 h 9948"/>
                    <a:gd name="connsiteX16" fmla="*/ 6167 w 10000"/>
                    <a:gd name="connsiteY16" fmla="*/ 5729 h 9948"/>
                    <a:gd name="connsiteX17" fmla="*/ 6056 w 10000"/>
                    <a:gd name="connsiteY17" fmla="*/ 5625 h 9948"/>
                    <a:gd name="connsiteX18" fmla="*/ 6000 w 10000"/>
                    <a:gd name="connsiteY18" fmla="*/ 5515 h 9948"/>
                    <a:gd name="connsiteX19" fmla="*/ 6000 w 10000"/>
                    <a:gd name="connsiteY19" fmla="*/ 5297 h 9948"/>
                    <a:gd name="connsiteX20" fmla="*/ 6056 w 10000"/>
                    <a:gd name="connsiteY20" fmla="*/ 4864 h 9948"/>
                    <a:gd name="connsiteX21" fmla="*/ 6111 w 10000"/>
                    <a:gd name="connsiteY21" fmla="*/ 4647 h 9948"/>
                    <a:gd name="connsiteX22" fmla="*/ 6056 w 10000"/>
                    <a:gd name="connsiteY22" fmla="*/ 4381 h 9948"/>
                    <a:gd name="connsiteX23" fmla="*/ 6056 w 10000"/>
                    <a:gd name="connsiteY23" fmla="*/ 4381 h 9948"/>
                    <a:gd name="connsiteX24" fmla="*/ 6000 w 10000"/>
                    <a:gd name="connsiteY24" fmla="*/ 4216 h 9948"/>
                    <a:gd name="connsiteX25" fmla="*/ 5944 w 10000"/>
                    <a:gd name="connsiteY25" fmla="*/ 4106 h 9948"/>
                    <a:gd name="connsiteX26" fmla="*/ 5833 w 10000"/>
                    <a:gd name="connsiteY26" fmla="*/ 4106 h 9948"/>
                    <a:gd name="connsiteX27" fmla="*/ 5667 w 10000"/>
                    <a:gd name="connsiteY27" fmla="*/ 4162 h 9948"/>
                    <a:gd name="connsiteX28" fmla="*/ 5333 w 10000"/>
                    <a:gd name="connsiteY28" fmla="*/ 4322 h 9948"/>
                    <a:gd name="connsiteX29" fmla="*/ 4889 w 10000"/>
                    <a:gd name="connsiteY29" fmla="*/ 4595 h 9948"/>
                    <a:gd name="connsiteX30" fmla="*/ 4889 w 10000"/>
                    <a:gd name="connsiteY30" fmla="*/ 4595 h 9948"/>
                    <a:gd name="connsiteX31" fmla="*/ 4611 w 10000"/>
                    <a:gd name="connsiteY31" fmla="*/ 4647 h 9948"/>
                    <a:gd name="connsiteX32" fmla="*/ 4500 w 10000"/>
                    <a:gd name="connsiteY32" fmla="*/ 4647 h 9948"/>
                    <a:gd name="connsiteX33" fmla="*/ 4444 w 10000"/>
                    <a:gd name="connsiteY33" fmla="*/ 4595 h 9948"/>
                    <a:gd name="connsiteX34" fmla="*/ 4389 w 10000"/>
                    <a:gd name="connsiteY34" fmla="*/ 4381 h 9948"/>
                    <a:gd name="connsiteX35" fmla="*/ 4222 w 10000"/>
                    <a:gd name="connsiteY35" fmla="*/ 4106 h 9948"/>
                    <a:gd name="connsiteX36" fmla="*/ 4222 w 10000"/>
                    <a:gd name="connsiteY36" fmla="*/ 4106 h 9948"/>
                    <a:gd name="connsiteX37" fmla="*/ 4111 w 10000"/>
                    <a:gd name="connsiteY37" fmla="*/ 3948 h 9948"/>
                    <a:gd name="connsiteX38" fmla="*/ 4111 w 10000"/>
                    <a:gd name="connsiteY38" fmla="*/ 3784 h 9948"/>
                    <a:gd name="connsiteX39" fmla="*/ 4111 w 10000"/>
                    <a:gd name="connsiteY39" fmla="*/ 3674 h 9948"/>
                    <a:gd name="connsiteX40" fmla="*/ 4167 w 10000"/>
                    <a:gd name="connsiteY40" fmla="*/ 3568 h 9948"/>
                    <a:gd name="connsiteX41" fmla="*/ 4278 w 10000"/>
                    <a:gd name="connsiteY41" fmla="*/ 3351 h 9948"/>
                    <a:gd name="connsiteX42" fmla="*/ 4389 w 10000"/>
                    <a:gd name="connsiteY42" fmla="*/ 3296 h 9948"/>
                    <a:gd name="connsiteX43" fmla="*/ 4389 w 10000"/>
                    <a:gd name="connsiteY43" fmla="*/ 3296 h 9948"/>
                    <a:gd name="connsiteX44" fmla="*/ 4389 w 10000"/>
                    <a:gd name="connsiteY44" fmla="*/ 3245 h 9948"/>
                    <a:gd name="connsiteX45" fmla="*/ 4444 w 10000"/>
                    <a:gd name="connsiteY45" fmla="*/ 3189 h 9948"/>
                    <a:gd name="connsiteX46" fmla="*/ 4667 w 10000"/>
                    <a:gd name="connsiteY46" fmla="*/ 3135 h 9948"/>
                    <a:gd name="connsiteX47" fmla="*/ 5333 w 10000"/>
                    <a:gd name="connsiteY47" fmla="*/ 3030 h 9948"/>
                    <a:gd name="connsiteX48" fmla="*/ 6500 w 10000"/>
                    <a:gd name="connsiteY48" fmla="*/ 2867 h 9948"/>
                    <a:gd name="connsiteX49" fmla="*/ 6500 w 10000"/>
                    <a:gd name="connsiteY49" fmla="*/ 2867 h 9948"/>
                    <a:gd name="connsiteX50" fmla="*/ 7167 w 10000"/>
                    <a:gd name="connsiteY50" fmla="*/ 2704 h 9948"/>
                    <a:gd name="connsiteX51" fmla="*/ 8389 w 10000"/>
                    <a:gd name="connsiteY51" fmla="*/ 2378 h 9948"/>
                    <a:gd name="connsiteX52" fmla="*/ 8389 w 10000"/>
                    <a:gd name="connsiteY52" fmla="*/ 2378 h 9948"/>
                    <a:gd name="connsiteX53" fmla="*/ 8667 w 10000"/>
                    <a:gd name="connsiteY53" fmla="*/ 2265 h 9948"/>
                    <a:gd name="connsiteX54" fmla="*/ 8778 w 10000"/>
                    <a:gd name="connsiteY54" fmla="*/ 2106 h 9948"/>
                    <a:gd name="connsiteX55" fmla="*/ 8889 w 10000"/>
                    <a:gd name="connsiteY55" fmla="*/ 2000 h 9948"/>
                    <a:gd name="connsiteX56" fmla="*/ 8833 w 10000"/>
                    <a:gd name="connsiteY56" fmla="*/ 1890 h 9948"/>
                    <a:gd name="connsiteX57" fmla="*/ 8833 w 10000"/>
                    <a:gd name="connsiteY57" fmla="*/ 1782 h 9948"/>
                    <a:gd name="connsiteX58" fmla="*/ 8722 w 10000"/>
                    <a:gd name="connsiteY58" fmla="*/ 1674 h 9948"/>
                    <a:gd name="connsiteX59" fmla="*/ 8556 w 10000"/>
                    <a:gd name="connsiteY59" fmla="*/ 1514 h 9948"/>
                    <a:gd name="connsiteX60" fmla="*/ 8556 w 10000"/>
                    <a:gd name="connsiteY60" fmla="*/ 1514 h 9948"/>
                    <a:gd name="connsiteX61" fmla="*/ 6556 w 10000"/>
                    <a:gd name="connsiteY61" fmla="*/ 543 h 9948"/>
                    <a:gd name="connsiteX62" fmla="*/ 6556 w 10000"/>
                    <a:gd name="connsiteY62" fmla="*/ 543 h 9948"/>
                    <a:gd name="connsiteX63" fmla="*/ 6333 w 10000"/>
                    <a:gd name="connsiteY63" fmla="*/ 382 h 9948"/>
                    <a:gd name="connsiteX64" fmla="*/ 6167 w 10000"/>
                    <a:gd name="connsiteY64" fmla="*/ 219 h 9948"/>
                    <a:gd name="connsiteX65" fmla="*/ 6056 w 10000"/>
                    <a:gd name="connsiteY65" fmla="*/ 55 h 9948"/>
                    <a:gd name="connsiteX66" fmla="*/ 6056 w 10000"/>
                    <a:gd name="connsiteY66" fmla="*/ 55 h 9948"/>
                    <a:gd name="connsiteX67" fmla="*/ 8056 w 10000"/>
                    <a:gd name="connsiteY67" fmla="*/ 0 h 9948"/>
                    <a:gd name="connsiteX68" fmla="*/ 10000 w 10000"/>
                    <a:gd name="connsiteY68" fmla="*/ 543 h 9948"/>
                    <a:gd name="connsiteX69" fmla="*/ 10000 w 10000"/>
                    <a:gd name="connsiteY69" fmla="*/ 7460 h 9948"/>
                    <a:gd name="connsiteX70" fmla="*/ 10000 w 10000"/>
                    <a:gd name="connsiteY70" fmla="*/ 7460 h 9948"/>
                    <a:gd name="connsiteX71" fmla="*/ 9722 w 10000"/>
                    <a:gd name="connsiteY71" fmla="*/ 7406 h 9948"/>
                    <a:gd name="connsiteX72" fmla="*/ 9389 w 10000"/>
                    <a:gd name="connsiteY72" fmla="*/ 7460 h 9948"/>
                    <a:gd name="connsiteX73" fmla="*/ 9389 w 10000"/>
                    <a:gd name="connsiteY73" fmla="*/ 7460 h 9948"/>
                    <a:gd name="connsiteX74" fmla="*/ 9278 w 10000"/>
                    <a:gd name="connsiteY74" fmla="*/ 7516 h 9948"/>
                    <a:gd name="connsiteX75" fmla="*/ 9056 w 10000"/>
                    <a:gd name="connsiteY75" fmla="*/ 7460 h 9948"/>
                    <a:gd name="connsiteX76" fmla="*/ 8889 w 10000"/>
                    <a:gd name="connsiteY76" fmla="*/ 7406 h 9948"/>
                    <a:gd name="connsiteX77" fmla="*/ 8722 w 10000"/>
                    <a:gd name="connsiteY77" fmla="*/ 7294 h 9948"/>
                    <a:gd name="connsiteX78" fmla="*/ 8611 w 10000"/>
                    <a:gd name="connsiteY78" fmla="*/ 7133 h 9948"/>
                    <a:gd name="connsiteX79" fmla="*/ 8444 w 10000"/>
                    <a:gd name="connsiteY79" fmla="*/ 6865 h 9948"/>
                    <a:gd name="connsiteX80" fmla="*/ 8444 w 10000"/>
                    <a:gd name="connsiteY80" fmla="*/ 6865 h 9948"/>
                    <a:gd name="connsiteX81" fmla="*/ 8222 w 10000"/>
                    <a:gd name="connsiteY81" fmla="*/ 6380 h 9948"/>
                    <a:gd name="connsiteX82" fmla="*/ 8111 w 10000"/>
                    <a:gd name="connsiteY82" fmla="*/ 6161 h 9948"/>
                    <a:gd name="connsiteX83" fmla="*/ 7944 w 10000"/>
                    <a:gd name="connsiteY83" fmla="*/ 6003 h 9948"/>
                    <a:gd name="connsiteX84" fmla="*/ 7778 w 10000"/>
                    <a:gd name="connsiteY84" fmla="*/ 5893 h 9948"/>
                    <a:gd name="connsiteX85" fmla="*/ 7556 w 10000"/>
                    <a:gd name="connsiteY85" fmla="*/ 5835 h 9948"/>
                    <a:gd name="connsiteX86" fmla="*/ 7333 w 10000"/>
                    <a:gd name="connsiteY86" fmla="*/ 5783 h 9948"/>
                    <a:gd name="connsiteX87" fmla="*/ 7000 w 10000"/>
                    <a:gd name="connsiteY87" fmla="*/ 5729 h 9948"/>
                    <a:gd name="connsiteX88" fmla="*/ 7000 w 10000"/>
                    <a:gd name="connsiteY88" fmla="*/ 5729 h 9948"/>
                    <a:gd name="connsiteX89" fmla="*/ 6556 w 10000"/>
                    <a:gd name="connsiteY89" fmla="*/ 5783 h 9948"/>
                    <a:gd name="connsiteX90" fmla="*/ 6222 w 10000"/>
                    <a:gd name="connsiteY90" fmla="*/ 5783 h 9948"/>
                    <a:gd name="connsiteX91" fmla="*/ 6111 w 10000"/>
                    <a:gd name="connsiteY91" fmla="*/ 5729 h 9948"/>
                    <a:gd name="connsiteX92" fmla="*/ 6056 w 10000"/>
                    <a:gd name="connsiteY92" fmla="*/ 5674 h 9948"/>
                    <a:gd name="connsiteX93" fmla="*/ 6056 w 10000"/>
                    <a:gd name="connsiteY93" fmla="*/ 5674 h 9948"/>
                    <a:gd name="connsiteX94" fmla="*/ 6056 w 10000"/>
                    <a:gd name="connsiteY94" fmla="*/ 4701 h 9948"/>
                    <a:gd name="connsiteX95" fmla="*/ 6056 w 10000"/>
                    <a:gd name="connsiteY95" fmla="*/ 4701 h 9948"/>
                    <a:gd name="connsiteX96" fmla="*/ 6056 w 10000"/>
                    <a:gd name="connsiteY96" fmla="*/ 4485 h 9948"/>
                    <a:gd name="connsiteX97" fmla="*/ 5944 w 10000"/>
                    <a:gd name="connsiteY97" fmla="*/ 4216 h 9948"/>
                    <a:gd name="connsiteX98" fmla="*/ 5889 w 10000"/>
                    <a:gd name="connsiteY98" fmla="*/ 4162 h 9948"/>
                    <a:gd name="connsiteX99" fmla="*/ 5778 w 10000"/>
                    <a:gd name="connsiteY99" fmla="*/ 4106 h 9948"/>
                    <a:gd name="connsiteX100" fmla="*/ 5667 w 10000"/>
                    <a:gd name="connsiteY100" fmla="*/ 4106 h 9948"/>
                    <a:gd name="connsiteX101" fmla="*/ 5500 w 10000"/>
                    <a:gd name="connsiteY101" fmla="*/ 4162 h 9948"/>
                    <a:gd name="connsiteX102" fmla="*/ 5500 w 10000"/>
                    <a:gd name="connsiteY102" fmla="*/ 4162 h 9948"/>
                    <a:gd name="connsiteX103" fmla="*/ 4889 w 10000"/>
                    <a:gd name="connsiteY103" fmla="*/ 4540 h 9948"/>
                    <a:gd name="connsiteX104" fmla="*/ 4611 w 10000"/>
                    <a:gd name="connsiteY104" fmla="*/ 4647 h 9948"/>
                    <a:gd name="connsiteX105" fmla="*/ 4556 w 10000"/>
                    <a:gd name="connsiteY105" fmla="*/ 4701 h 9948"/>
                    <a:gd name="connsiteX106" fmla="*/ 4500 w 10000"/>
                    <a:gd name="connsiteY106" fmla="*/ 4647 h 9948"/>
                    <a:gd name="connsiteX107" fmla="*/ 4500 w 10000"/>
                    <a:gd name="connsiteY107" fmla="*/ 4647 h 9948"/>
                    <a:gd name="connsiteX108" fmla="*/ 4222 w 10000"/>
                    <a:gd name="connsiteY108" fmla="*/ 4106 h 9948"/>
                    <a:gd name="connsiteX109" fmla="*/ 4222 w 10000"/>
                    <a:gd name="connsiteY109" fmla="*/ 4106 h 9948"/>
                    <a:gd name="connsiteX110" fmla="*/ 4111 w 10000"/>
                    <a:gd name="connsiteY110" fmla="*/ 3838 h 9948"/>
                    <a:gd name="connsiteX111" fmla="*/ 4111 w 10000"/>
                    <a:gd name="connsiteY111" fmla="*/ 3674 h 9948"/>
                    <a:gd name="connsiteX112" fmla="*/ 4111 w 10000"/>
                    <a:gd name="connsiteY112" fmla="*/ 3515 h 9948"/>
                    <a:gd name="connsiteX113" fmla="*/ 4111 w 10000"/>
                    <a:gd name="connsiteY113" fmla="*/ 3515 h 9948"/>
                    <a:gd name="connsiteX114" fmla="*/ 4278 w 10000"/>
                    <a:gd name="connsiteY114" fmla="*/ 3351 h 9948"/>
                    <a:gd name="connsiteX115" fmla="*/ 4389 w 10000"/>
                    <a:gd name="connsiteY115" fmla="*/ 3296 h 9948"/>
                    <a:gd name="connsiteX116" fmla="*/ 4389 w 10000"/>
                    <a:gd name="connsiteY116" fmla="*/ 3296 h 9948"/>
                    <a:gd name="connsiteX117" fmla="*/ 4000 w 10000"/>
                    <a:gd name="connsiteY117" fmla="*/ 3296 h 9948"/>
                    <a:gd name="connsiteX118" fmla="*/ 3722 w 10000"/>
                    <a:gd name="connsiteY118" fmla="*/ 3351 h 9948"/>
                    <a:gd name="connsiteX119" fmla="*/ 3611 w 10000"/>
                    <a:gd name="connsiteY119" fmla="*/ 3408 h 9948"/>
                    <a:gd name="connsiteX120" fmla="*/ 3556 w 10000"/>
                    <a:gd name="connsiteY120" fmla="*/ 3460 h 9948"/>
                    <a:gd name="connsiteX121" fmla="*/ 3556 w 10000"/>
                    <a:gd name="connsiteY121" fmla="*/ 3460 h 9948"/>
                    <a:gd name="connsiteX122" fmla="*/ 3444 w 10000"/>
                    <a:gd name="connsiteY122" fmla="*/ 3674 h 9948"/>
                    <a:gd name="connsiteX123" fmla="*/ 3278 w 10000"/>
                    <a:gd name="connsiteY123" fmla="*/ 4001 h 9948"/>
                    <a:gd name="connsiteX124" fmla="*/ 3000 w 10000"/>
                    <a:gd name="connsiteY124" fmla="*/ 4381 h 9948"/>
                    <a:gd name="connsiteX125" fmla="*/ 2667 w 10000"/>
                    <a:gd name="connsiteY125" fmla="*/ 4647 h 9948"/>
                    <a:gd name="connsiteX126" fmla="*/ 2667 w 10000"/>
                    <a:gd name="connsiteY126" fmla="*/ 4647 h 9948"/>
                    <a:gd name="connsiteX127" fmla="*/ 2333 w 10000"/>
                    <a:gd name="connsiteY127" fmla="*/ 4864 h 9948"/>
                    <a:gd name="connsiteX128" fmla="*/ 1833 w 10000"/>
                    <a:gd name="connsiteY128" fmla="*/ 5082 h 9948"/>
                    <a:gd name="connsiteX129" fmla="*/ 1389 w 10000"/>
                    <a:gd name="connsiteY129" fmla="*/ 5192 h 9948"/>
                    <a:gd name="connsiteX130" fmla="*/ 889 w 10000"/>
                    <a:gd name="connsiteY130" fmla="*/ 5242 h 9948"/>
                    <a:gd name="connsiteX131" fmla="*/ 889 w 10000"/>
                    <a:gd name="connsiteY131" fmla="*/ 5242 h 9948"/>
                    <a:gd name="connsiteX132" fmla="*/ 500 w 10000"/>
                    <a:gd name="connsiteY132" fmla="*/ 5297 h 9948"/>
                    <a:gd name="connsiteX133" fmla="*/ 222 w 10000"/>
                    <a:gd name="connsiteY133" fmla="*/ 5355 h 9948"/>
                    <a:gd name="connsiteX134" fmla="*/ 0 w 10000"/>
                    <a:gd name="connsiteY134" fmla="*/ 5410 h 9948"/>
                    <a:gd name="connsiteX135" fmla="*/ 0 w 10000"/>
                    <a:gd name="connsiteY135" fmla="*/ 5410 h 9948"/>
                    <a:gd name="connsiteX136" fmla="*/ 278 w 10000"/>
                    <a:gd name="connsiteY136" fmla="*/ 6267 h 9948"/>
                    <a:gd name="connsiteX137" fmla="*/ 500 w 10000"/>
                    <a:gd name="connsiteY137" fmla="*/ 6919 h 9948"/>
                    <a:gd name="connsiteX138" fmla="*/ 722 w 10000"/>
                    <a:gd name="connsiteY138" fmla="*/ 7460 h 9948"/>
                    <a:gd name="connsiteX139" fmla="*/ 722 w 10000"/>
                    <a:gd name="connsiteY139" fmla="*/ 7460 h 9948"/>
                    <a:gd name="connsiteX140" fmla="*/ 889 w 10000"/>
                    <a:gd name="connsiteY140" fmla="*/ 7785 h 9948"/>
                    <a:gd name="connsiteX141" fmla="*/ 944 w 10000"/>
                    <a:gd name="connsiteY141" fmla="*/ 8055 h 9948"/>
                    <a:gd name="connsiteX142" fmla="*/ 1111 w 10000"/>
                    <a:gd name="connsiteY142" fmla="*/ 8324 h 9948"/>
                    <a:gd name="connsiteX143" fmla="*/ 1333 w 10000"/>
                    <a:gd name="connsiteY143" fmla="*/ 8756 h 9948"/>
                    <a:gd name="connsiteX144" fmla="*/ 1333 w 10000"/>
                    <a:gd name="connsiteY144" fmla="*/ 8756 h 9948"/>
                    <a:gd name="connsiteX145" fmla="*/ 1444 w 10000"/>
                    <a:gd name="connsiteY145" fmla="*/ 8974 h 9948"/>
                    <a:gd name="connsiteX146" fmla="*/ 1500 w 10000"/>
                    <a:gd name="connsiteY146" fmla="*/ 9134 h 9948"/>
                    <a:gd name="connsiteX147" fmla="*/ 1500 w 10000"/>
                    <a:gd name="connsiteY147" fmla="*/ 9294 h 9948"/>
                    <a:gd name="connsiteX148" fmla="*/ 1556 w 10000"/>
                    <a:gd name="connsiteY148" fmla="*/ 9353 h 9948"/>
                    <a:gd name="connsiteX149" fmla="*/ 1722 w 10000"/>
                    <a:gd name="connsiteY149" fmla="*/ 9403 h 9948"/>
                    <a:gd name="connsiteX150" fmla="*/ 1944 w 10000"/>
                    <a:gd name="connsiteY150" fmla="*/ 9456 h 9948"/>
                    <a:gd name="connsiteX151" fmla="*/ 2944 w 10000"/>
                    <a:gd name="connsiteY151" fmla="*/ 9513 h 9948"/>
                    <a:gd name="connsiteX152" fmla="*/ 2944 w 10000"/>
                    <a:gd name="connsiteY152" fmla="*/ 9513 h 9948"/>
                    <a:gd name="connsiteX153" fmla="*/ 4167 w 10000"/>
                    <a:gd name="connsiteY153" fmla="*/ 9618 h 9948"/>
                    <a:gd name="connsiteX154" fmla="*/ 4889 w 10000"/>
                    <a:gd name="connsiteY154" fmla="*/ 9781 h 9948"/>
                    <a:gd name="connsiteX155" fmla="*/ 5278 w 10000"/>
                    <a:gd name="connsiteY155" fmla="*/ 9948 h 9948"/>
                    <a:gd name="connsiteX0" fmla="*/ 10000 w 10000"/>
                    <a:gd name="connsiteY0" fmla="*/ 7445 h 9832"/>
                    <a:gd name="connsiteX1" fmla="*/ 10000 w 10000"/>
                    <a:gd name="connsiteY1" fmla="*/ 7445 h 9832"/>
                    <a:gd name="connsiteX2" fmla="*/ 9222 w 10000"/>
                    <a:gd name="connsiteY2" fmla="*/ 7499 h 9832"/>
                    <a:gd name="connsiteX3" fmla="*/ 8944 w 10000"/>
                    <a:gd name="connsiteY3" fmla="*/ 7499 h 9832"/>
                    <a:gd name="connsiteX4" fmla="*/ 8833 w 10000"/>
                    <a:gd name="connsiteY4" fmla="*/ 7445 h 9832"/>
                    <a:gd name="connsiteX5" fmla="*/ 8778 w 10000"/>
                    <a:gd name="connsiteY5" fmla="*/ 7390 h 9832"/>
                    <a:gd name="connsiteX6" fmla="*/ 8778 w 10000"/>
                    <a:gd name="connsiteY6" fmla="*/ 7390 h 9832"/>
                    <a:gd name="connsiteX7" fmla="*/ 8444 w 10000"/>
                    <a:gd name="connsiteY7" fmla="*/ 6735 h 9832"/>
                    <a:gd name="connsiteX8" fmla="*/ 8167 w 10000"/>
                    <a:gd name="connsiteY8" fmla="*/ 6140 h 9832"/>
                    <a:gd name="connsiteX9" fmla="*/ 8167 w 10000"/>
                    <a:gd name="connsiteY9" fmla="*/ 6140 h 9832"/>
                    <a:gd name="connsiteX10" fmla="*/ 8056 w 10000"/>
                    <a:gd name="connsiteY10" fmla="*/ 6034 h 9832"/>
                    <a:gd name="connsiteX11" fmla="*/ 7889 w 10000"/>
                    <a:gd name="connsiteY11" fmla="*/ 5924 h 9832"/>
                    <a:gd name="connsiteX12" fmla="*/ 7444 w 10000"/>
                    <a:gd name="connsiteY12" fmla="*/ 5866 h 9832"/>
                    <a:gd name="connsiteX13" fmla="*/ 6889 w 10000"/>
                    <a:gd name="connsiteY13" fmla="*/ 5813 h 9832"/>
                    <a:gd name="connsiteX14" fmla="*/ 6389 w 10000"/>
                    <a:gd name="connsiteY14" fmla="*/ 5813 h 9832"/>
                    <a:gd name="connsiteX15" fmla="*/ 6389 w 10000"/>
                    <a:gd name="connsiteY15" fmla="*/ 5813 h 9832"/>
                    <a:gd name="connsiteX16" fmla="*/ 6167 w 10000"/>
                    <a:gd name="connsiteY16" fmla="*/ 5759 h 9832"/>
                    <a:gd name="connsiteX17" fmla="*/ 6056 w 10000"/>
                    <a:gd name="connsiteY17" fmla="*/ 5654 h 9832"/>
                    <a:gd name="connsiteX18" fmla="*/ 6000 w 10000"/>
                    <a:gd name="connsiteY18" fmla="*/ 5544 h 9832"/>
                    <a:gd name="connsiteX19" fmla="*/ 6000 w 10000"/>
                    <a:gd name="connsiteY19" fmla="*/ 5325 h 9832"/>
                    <a:gd name="connsiteX20" fmla="*/ 6056 w 10000"/>
                    <a:gd name="connsiteY20" fmla="*/ 4889 h 9832"/>
                    <a:gd name="connsiteX21" fmla="*/ 6111 w 10000"/>
                    <a:gd name="connsiteY21" fmla="*/ 4671 h 9832"/>
                    <a:gd name="connsiteX22" fmla="*/ 6056 w 10000"/>
                    <a:gd name="connsiteY22" fmla="*/ 4404 h 9832"/>
                    <a:gd name="connsiteX23" fmla="*/ 6056 w 10000"/>
                    <a:gd name="connsiteY23" fmla="*/ 4404 h 9832"/>
                    <a:gd name="connsiteX24" fmla="*/ 6000 w 10000"/>
                    <a:gd name="connsiteY24" fmla="*/ 4238 h 9832"/>
                    <a:gd name="connsiteX25" fmla="*/ 5944 w 10000"/>
                    <a:gd name="connsiteY25" fmla="*/ 4127 h 9832"/>
                    <a:gd name="connsiteX26" fmla="*/ 5833 w 10000"/>
                    <a:gd name="connsiteY26" fmla="*/ 4127 h 9832"/>
                    <a:gd name="connsiteX27" fmla="*/ 5667 w 10000"/>
                    <a:gd name="connsiteY27" fmla="*/ 4184 h 9832"/>
                    <a:gd name="connsiteX28" fmla="*/ 5333 w 10000"/>
                    <a:gd name="connsiteY28" fmla="*/ 4345 h 9832"/>
                    <a:gd name="connsiteX29" fmla="*/ 4889 w 10000"/>
                    <a:gd name="connsiteY29" fmla="*/ 4619 h 9832"/>
                    <a:gd name="connsiteX30" fmla="*/ 4889 w 10000"/>
                    <a:gd name="connsiteY30" fmla="*/ 4619 h 9832"/>
                    <a:gd name="connsiteX31" fmla="*/ 4611 w 10000"/>
                    <a:gd name="connsiteY31" fmla="*/ 4671 h 9832"/>
                    <a:gd name="connsiteX32" fmla="*/ 4500 w 10000"/>
                    <a:gd name="connsiteY32" fmla="*/ 4671 h 9832"/>
                    <a:gd name="connsiteX33" fmla="*/ 4444 w 10000"/>
                    <a:gd name="connsiteY33" fmla="*/ 4619 h 9832"/>
                    <a:gd name="connsiteX34" fmla="*/ 4389 w 10000"/>
                    <a:gd name="connsiteY34" fmla="*/ 4404 h 9832"/>
                    <a:gd name="connsiteX35" fmla="*/ 4222 w 10000"/>
                    <a:gd name="connsiteY35" fmla="*/ 4127 h 9832"/>
                    <a:gd name="connsiteX36" fmla="*/ 4222 w 10000"/>
                    <a:gd name="connsiteY36" fmla="*/ 4127 h 9832"/>
                    <a:gd name="connsiteX37" fmla="*/ 4111 w 10000"/>
                    <a:gd name="connsiteY37" fmla="*/ 3969 h 9832"/>
                    <a:gd name="connsiteX38" fmla="*/ 4111 w 10000"/>
                    <a:gd name="connsiteY38" fmla="*/ 3804 h 9832"/>
                    <a:gd name="connsiteX39" fmla="*/ 4111 w 10000"/>
                    <a:gd name="connsiteY39" fmla="*/ 3693 h 9832"/>
                    <a:gd name="connsiteX40" fmla="*/ 4167 w 10000"/>
                    <a:gd name="connsiteY40" fmla="*/ 3587 h 9832"/>
                    <a:gd name="connsiteX41" fmla="*/ 4278 w 10000"/>
                    <a:gd name="connsiteY41" fmla="*/ 3369 h 9832"/>
                    <a:gd name="connsiteX42" fmla="*/ 4389 w 10000"/>
                    <a:gd name="connsiteY42" fmla="*/ 3313 h 9832"/>
                    <a:gd name="connsiteX43" fmla="*/ 4389 w 10000"/>
                    <a:gd name="connsiteY43" fmla="*/ 3313 h 9832"/>
                    <a:gd name="connsiteX44" fmla="*/ 4389 w 10000"/>
                    <a:gd name="connsiteY44" fmla="*/ 3262 h 9832"/>
                    <a:gd name="connsiteX45" fmla="*/ 4444 w 10000"/>
                    <a:gd name="connsiteY45" fmla="*/ 3206 h 9832"/>
                    <a:gd name="connsiteX46" fmla="*/ 4667 w 10000"/>
                    <a:gd name="connsiteY46" fmla="*/ 3151 h 9832"/>
                    <a:gd name="connsiteX47" fmla="*/ 5333 w 10000"/>
                    <a:gd name="connsiteY47" fmla="*/ 3046 h 9832"/>
                    <a:gd name="connsiteX48" fmla="*/ 6500 w 10000"/>
                    <a:gd name="connsiteY48" fmla="*/ 2882 h 9832"/>
                    <a:gd name="connsiteX49" fmla="*/ 6500 w 10000"/>
                    <a:gd name="connsiteY49" fmla="*/ 2882 h 9832"/>
                    <a:gd name="connsiteX50" fmla="*/ 7167 w 10000"/>
                    <a:gd name="connsiteY50" fmla="*/ 2718 h 9832"/>
                    <a:gd name="connsiteX51" fmla="*/ 8389 w 10000"/>
                    <a:gd name="connsiteY51" fmla="*/ 2390 h 9832"/>
                    <a:gd name="connsiteX52" fmla="*/ 8389 w 10000"/>
                    <a:gd name="connsiteY52" fmla="*/ 2390 h 9832"/>
                    <a:gd name="connsiteX53" fmla="*/ 8667 w 10000"/>
                    <a:gd name="connsiteY53" fmla="*/ 2277 h 9832"/>
                    <a:gd name="connsiteX54" fmla="*/ 8778 w 10000"/>
                    <a:gd name="connsiteY54" fmla="*/ 2117 h 9832"/>
                    <a:gd name="connsiteX55" fmla="*/ 8889 w 10000"/>
                    <a:gd name="connsiteY55" fmla="*/ 2010 h 9832"/>
                    <a:gd name="connsiteX56" fmla="*/ 8833 w 10000"/>
                    <a:gd name="connsiteY56" fmla="*/ 1900 h 9832"/>
                    <a:gd name="connsiteX57" fmla="*/ 8833 w 10000"/>
                    <a:gd name="connsiteY57" fmla="*/ 1791 h 9832"/>
                    <a:gd name="connsiteX58" fmla="*/ 8722 w 10000"/>
                    <a:gd name="connsiteY58" fmla="*/ 1683 h 9832"/>
                    <a:gd name="connsiteX59" fmla="*/ 8556 w 10000"/>
                    <a:gd name="connsiteY59" fmla="*/ 1522 h 9832"/>
                    <a:gd name="connsiteX60" fmla="*/ 8556 w 10000"/>
                    <a:gd name="connsiteY60" fmla="*/ 1522 h 9832"/>
                    <a:gd name="connsiteX61" fmla="*/ 6556 w 10000"/>
                    <a:gd name="connsiteY61" fmla="*/ 546 h 9832"/>
                    <a:gd name="connsiteX62" fmla="*/ 6556 w 10000"/>
                    <a:gd name="connsiteY62" fmla="*/ 546 h 9832"/>
                    <a:gd name="connsiteX63" fmla="*/ 6333 w 10000"/>
                    <a:gd name="connsiteY63" fmla="*/ 384 h 9832"/>
                    <a:gd name="connsiteX64" fmla="*/ 6167 w 10000"/>
                    <a:gd name="connsiteY64" fmla="*/ 220 h 9832"/>
                    <a:gd name="connsiteX65" fmla="*/ 6056 w 10000"/>
                    <a:gd name="connsiteY65" fmla="*/ 55 h 9832"/>
                    <a:gd name="connsiteX66" fmla="*/ 6056 w 10000"/>
                    <a:gd name="connsiteY66" fmla="*/ 55 h 9832"/>
                    <a:gd name="connsiteX67" fmla="*/ 8056 w 10000"/>
                    <a:gd name="connsiteY67" fmla="*/ 0 h 9832"/>
                    <a:gd name="connsiteX68" fmla="*/ 10000 w 10000"/>
                    <a:gd name="connsiteY68" fmla="*/ 546 h 9832"/>
                    <a:gd name="connsiteX69" fmla="*/ 10000 w 10000"/>
                    <a:gd name="connsiteY69" fmla="*/ 7499 h 9832"/>
                    <a:gd name="connsiteX70" fmla="*/ 10000 w 10000"/>
                    <a:gd name="connsiteY70" fmla="*/ 7499 h 9832"/>
                    <a:gd name="connsiteX71" fmla="*/ 9722 w 10000"/>
                    <a:gd name="connsiteY71" fmla="*/ 7445 h 9832"/>
                    <a:gd name="connsiteX72" fmla="*/ 9389 w 10000"/>
                    <a:gd name="connsiteY72" fmla="*/ 7499 h 9832"/>
                    <a:gd name="connsiteX73" fmla="*/ 9389 w 10000"/>
                    <a:gd name="connsiteY73" fmla="*/ 7499 h 9832"/>
                    <a:gd name="connsiteX74" fmla="*/ 9278 w 10000"/>
                    <a:gd name="connsiteY74" fmla="*/ 7555 h 9832"/>
                    <a:gd name="connsiteX75" fmla="*/ 9056 w 10000"/>
                    <a:gd name="connsiteY75" fmla="*/ 7499 h 9832"/>
                    <a:gd name="connsiteX76" fmla="*/ 8889 w 10000"/>
                    <a:gd name="connsiteY76" fmla="*/ 7445 h 9832"/>
                    <a:gd name="connsiteX77" fmla="*/ 8722 w 10000"/>
                    <a:gd name="connsiteY77" fmla="*/ 7332 h 9832"/>
                    <a:gd name="connsiteX78" fmla="*/ 8611 w 10000"/>
                    <a:gd name="connsiteY78" fmla="*/ 7170 h 9832"/>
                    <a:gd name="connsiteX79" fmla="*/ 8444 w 10000"/>
                    <a:gd name="connsiteY79" fmla="*/ 6901 h 9832"/>
                    <a:gd name="connsiteX80" fmla="*/ 8444 w 10000"/>
                    <a:gd name="connsiteY80" fmla="*/ 6901 h 9832"/>
                    <a:gd name="connsiteX81" fmla="*/ 8222 w 10000"/>
                    <a:gd name="connsiteY81" fmla="*/ 6413 h 9832"/>
                    <a:gd name="connsiteX82" fmla="*/ 8111 w 10000"/>
                    <a:gd name="connsiteY82" fmla="*/ 6193 h 9832"/>
                    <a:gd name="connsiteX83" fmla="*/ 7944 w 10000"/>
                    <a:gd name="connsiteY83" fmla="*/ 6034 h 9832"/>
                    <a:gd name="connsiteX84" fmla="*/ 7778 w 10000"/>
                    <a:gd name="connsiteY84" fmla="*/ 5924 h 9832"/>
                    <a:gd name="connsiteX85" fmla="*/ 7556 w 10000"/>
                    <a:gd name="connsiteY85" fmla="*/ 5866 h 9832"/>
                    <a:gd name="connsiteX86" fmla="*/ 7333 w 10000"/>
                    <a:gd name="connsiteY86" fmla="*/ 5813 h 9832"/>
                    <a:gd name="connsiteX87" fmla="*/ 7000 w 10000"/>
                    <a:gd name="connsiteY87" fmla="*/ 5759 h 9832"/>
                    <a:gd name="connsiteX88" fmla="*/ 7000 w 10000"/>
                    <a:gd name="connsiteY88" fmla="*/ 5759 h 9832"/>
                    <a:gd name="connsiteX89" fmla="*/ 6556 w 10000"/>
                    <a:gd name="connsiteY89" fmla="*/ 5813 h 9832"/>
                    <a:gd name="connsiteX90" fmla="*/ 6222 w 10000"/>
                    <a:gd name="connsiteY90" fmla="*/ 5813 h 9832"/>
                    <a:gd name="connsiteX91" fmla="*/ 6111 w 10000"/>
                    <a:gd name="connsiteY91" fmla="*/ 5759 h 9832"/>
                    <a:gd name="connsiteX92" fmla="*/ 6056 w 10000"/>
                    <a:gd name="connsiteY92" fmla="*/ 5704 h 9832"/>
                    <a:gd name="connsiteX93" fmla="*/ 6056 w 10000"/>
                    <a:gd name="connsiteY93" fmla="*/ 5704 h 9832"/>
                    <a:gd name="connsiteX94" fmla="*/ 6056 w 10000"/>
                    <a:gd name="connsiteY94" fmla="*/ 4726 h 9832"/>
                    <a:gd name="connsiteX95" fmla="*/ 6056 w 10000"/>
                    <a:gd name="connsiteY95" fmla="*/ 4726 h 9832"/>
                    <a:gd name="connsiteX96" fmla="*/ 6056 w 10000"/>
                    <a:gd name="connsiteY96" fmla="*/ 4508 h 9832"/>
                    <a:gd name="connsiteX97" fmla="*/ 5944 w 10000"/>
                    <a:gd name="connsiteY97" fmla="*/ 4238 h 9832"/>
                    <a:gd name="connsiteX98" fmla="*/ 5889 w 10000"/>
                    <a:gd name="connsiteY98" fmla="*/ 4184 h 9832"/>
                    <a:gd name="connsiteX99" fmla="*/ 5778 w 10000"/>
                    <a:gd name="connsiteY99" fmla="*/ 4127 h 9832"/>
                    <a:gd name="connsiteX100" fmla="*/ 5667 w 10000"/>
                    <a:gd name="connsiteY100" fmla="*/ 4127 h 9832"/>
                    <a:gd name="connsiteX101" fmla="*/ 5500 w 10000"/>
                    <a:gd name="connsiteY101" fmla="*/ 4184 h 9832"/>
                    <a:gd name="connsiteX102" fmla="*/ 5500 w 10000"/>
                    <a:gd name="connsiteY102" fmla="*/ 4184 h 9832"/>
                    <a:gd name="connsiteX103" fmla="*/ 4889 w 10000"/>
                    <a:gd name="connsiteY103" fmla="*/ 4564 h 9832"/>
                    <a:gd name="connsiteX104" fmla="*/ 4611 w 10000"/>
                    <a:gd name="connsiteY104" fmla="*/ 4671 h 9832"/>
                    <a:gd name="connsiteX105" fmla="*/ 4556 w 10000"/>
                    <a:gd name="connsiteY105" fmla="*/ 4726 h 9832"/>
                    <a:gd name="connsiteX106" fmla="*/ 4500 w 10000"/>
                    <a:gd name="connsiteY106" fmla="*/ 4671 h 9832"/>
                    <a:gd name="connsiteX107" fmla="*/ 4500 w 10000"/>
                    <a:gd name="connsiteY107" fmla="*/ 4671 h 9832"/>
                    <a:gd name="connsiteX108" fmla="*/ 4222 w 10000"/>
                    <a:gd name="connsiteY108" fmla="*/ 4127 h 9832"/>
                    <a:gd name="connsiteX109" fmla="*/ 4222 w 10000"/>
                    <a:gd name="connsiteY109" fmla="*/ 4127 h 9832"/>
                    <a:gd name="connsiteX110" fmla="*/ 4111 w 10000"/>
                    <a:gd name="connsiteY110" fmla="*/ 3858 h 9832"/>
                    <a:gd name="connsiteX111" fmla="*/ 4111 w 10000"/>
                    <a:gd name="connsiteY111" fmla="*/ 3693 h 9832"/>
                    <a:gd name="connsiteX112" fmla="*/ 4111 w 10000"/>
                    <a:gd name="connsiteY112" fmla="*/ 3533 h 9832"/>
                    <a:gd name="connsiteX113" fmla="*/ 4111 w 10000"/>
                    <a:gd name="connsiteY113" fmla="*/ 3533 h 9832"/>
                    <a:gd name="connsiteX114" fmla="*/ 4278 w 10000"/>
                    <a:gd name="connsiteY114" fmla="*/ 3369 h 9832"/>
                    <a:gd name="connsiteX115" fmla="*/ 4389 w 10000"/>
                    <a:gd name="connsiteY115" fmla="*/ 3313 h 9832"/>
                    <a:gd name="connsiteX116" fmla="*/ 4389 w 10000"/>
                    <a:gd name="connsiteY116" fmla="*/ 3313 h 9832"/>
                    <a:gd name="connsiteX117" fmla="*/ 4000 w 10000"/>
                    <a:gd name="connsiteY117" fmla="*/ 3313 h 9832"/>
                    <a:gd name="connsiteX118" fmla="*/ 3722 w 10000"/>
                    <a:gd name="connsiteY118" fmla="*/ 3369 h 9832"/>
                    <a:gd name="connsiteX119" fmla="*/ 3611 w 10000"/>
                    <a:gd name="connsiteY119" fmla="*/ 3426 h 9832"/>
                    <a:gd name="connsiteX120" fmla="*/ 3556 w 10000"/>
                    <a:gd name="connsiteY120" fmla="*/ 3478 h 9832"/>
                    <a:gd name="connsiteX121" fmla="*/ 3556 w 10000"/>
                    <a:gd name="connsiteY121" fmla="*/ 3478 h 9832"/>
                    <a:gd name="connsiteX122" fmla="*/ 3444 w 10000"/>
                    <a:gd name="connsiteY122" fmla="*/ 3693 h 9832"/>
                    <a:gd name="connsiteX123" fmla="*/ 3278 w 10000"/>
                    <a:gd name="connsiteY123" fmla="*/ 4022 h 9832"/>
                    <a:gd name="connsiteX124" fmla="*/ 3000 w 10000"/>
                    <a:gd name="connsiteY124" fmla="*/ 4404 h 9832"/>
                    <a:gd name="connsiteX125" fmla="*/ 2667 w 10000"/>
                    <a:gd name="connsiteY125" fmla="*/ 4671 h 9832"/>
                    <a:gd name="connsiteX126" fmla="*/ 2667 w 10000"/>
                    <a:gd name="connsiteY126" fmla="*/ 4671 h 9832"/>
                    <a:gd name="connsiteX127" fmla="*/ 2333 w 10000"/>
                    <a:gd name="connsiteY127" fmla="*/ 4889 h 9832"/>
                    <a:gd name="connsiteX128" fmla="*/ 1833 w 10000"/>
                    <a:gd name="connsiteY128" fmla="*/ 5109 h 9832"/>
                    <a:gd name="connsiteX129" fmla="*/ 1389 w 10000"/>
                    <a:gd name="connsiteY129" fmla="*/ 5219 h 9832"/>
                    <a:gd name="connsiteX130" fmla="*/ 889 w 10000"/>
                    <a:gd name="connsiteY130" fmla="*/ 5269 h 9832"/>
                    <a:gd name="connsiteX131" fmla="*/ 889 w 10000"/>
                    <a:gd name="connsiteY131" fmla="*/ 5269 h 9832"/>
                    <a:gd name="connsiteX132" fmla="*/ 500 w 10000"/>
                    <a:gd name="connsiteY132" fmla="*/ 5325 h 9832"/>
                    <a:gd name="connsiteX133" fmla="*/ 222 w 10000"/>
                    <a:gd name="connsiteY133" fmla="*/ 5383 h 9832"/>
                    <a:gd name="connsiteX134" fmla="*/ 0 w 10000"/>
                    <a:gd name="connsiteY134" fmla="*/ 5438 h 9832"/>
                    <a:gd name="connsiteX135" fmla="*/ 0 w 10000"/>
                    <a:gd name="connsiteY135" fmla="*/ 5438 h 9832"/>
                    <a:gd name="connsiteX136" fmla="*/ 278 w 10000"/>
                    <a:gd name="connsiteY136" fmla="*/ 6300 h 9832"/>
                    <a:gd name="connsiteX137" fmla="*/ 500 w 10000"/>
                    <a:gd name="connsiteY137" fmla="*/ 6955 h 9832"/>
                    <a:gd name="connsiteX138" fmla="*/ 722 w 10000"/>
                    <a:gd name="connsiteY138" fmla="*/ 7499 h 9832"/>
                    <a:gd name="connsiteX139" fmla="*/ 722 w 10000"/>
                    <a:gd name="connsiteY139" fmla="*/ 7499 h 9832"/>
                    <a:gd name="connsiteX140" fmla="*/ 889 w 10000"/>
                    <a:gd name="connsiteY140" fmla="*/ 7826 h 9832"/>
                    <a:gd name="connsiteX141" fmla="*/ 944 w 10000"/>
                    <a:gd name="connsiteY141" fmla="*/ 8097 h 9832"/>
                    <a:gd name="connsiteX142" fmla="*/ 1111 w 10000"/>
                    <a:gd name="connsiteY142" fmla="*/ 8368 h 9832"/>
                    <a:gd name="connsiteX143" fmla="*/ 1333 w 10000"/>
                    <a:gd name="connsiteY143" fmla="*/ 8802 h 9832"/>
                    <a:gd name="connsiteX144" fmla="*/ 1333 w 10000"/>
                    <a:gd name="connsiteY144" fmla="*/ 8802 h 9832"/>
                    <a:gd name="connsiteX145" fmla="*/ 1444 w 10000"/>
                    <a:gd name="connsiteY145" fmla="*/ 9021 h 9832"/>
                    <a:gd name="connsiteX146" fmla="*/ 1500 w 10000"/>
                    <a:gd name="connsiteY146" fmla="*/ 9182 h 9832"/>
                    <a:gd name="connsiteX147" fmla="*/ 1500 w 10000"/>
                    <a:gd name="connsiteY147" fmla="*/ 9343 h 9832"/>
                    <a:gd name="connsiteX148" fmla="*/ 1556 w 10000"/>
                    <a:gd name="connsiteY148" fmla="*/ 9402 h 9832"/>
                    <a:gd name="connsiteX149" fmla="*/ 1722 w 10000"/>
                    <a:gd name="connsiteY149" fmla="*/ 9452 h 9832"/>
                    <a:gd name="connsiteX150" fmla="*/ 1944 w 10000"/>
                    <a:gd name="connsiteY150" fmla="*/ 9505 h 9832"/>
                    <a:gd name="connsiteX151" fmla="*/ 2944 w 10000"/>
                    <a:gd name="connsiteY151" fmla="*/ 9563 h 9832"/>
                    <a:gd name="connsiteX152" fmla="*/ 2944 w 10000"/>
                    <a:gd name="connsiteY152" fmla="*/ 9563 h 9832"/>
                    <a:gd name="connsiteX153" fmla="*/ 4167 w 10000"/>
                    <a:gd name="connsiteY153" fmla="*/ 9668 h 9832"/>
                    <a:gd name="connsiteX154" fmla="*/ 4889 w 10000"/>
                    <a:gd name="connsiteY154" fmla="*/ 9832 h 9832"/>
                    <a:gd name="connsiteX0" fmla="*/ 10000 w 10000"/>
                    <a:gd name="connsiteY0" fmla="*/ 7572 h 9833"/>
                    <a:gd name="connsiteX1" fmla="*/ 10000 w 10000"/>
                    <a:gd name="connsiteY1" fmla="*/ 7572 h 9833"/>
                    <a:gd name="connsiteX2" fmla="*/ 9222 w 10000"/>
                    <a:gd name="connsiteY2" fmla="*/ 7627 h 9833"/>
                    <a:gd name="connsiteX3" fmla="*/ 8944 w 10000"/>
                    <a:gd name="connsiteY3" fmla="*/ 7627 h 9833"/>
                    <a:gd name="connsiteX4" fmla="*/ 8833 w 10000"/>
                    <a:gd name="connsiteY4" fmla="*/ 7572 h 9833"/>
                    <a:gd name="connsiteX5" fmla="*/ 8778 w 10000"/>
                    <a:gd name="connsiteY5" fmla="*/ 7516 h 9833"/>
                    <a:gd name="connsiteX6" fmla="*/ 8778 w 10000"/>
                    <a:gd name="connsiteY6" fmla="*/ 7516 h 9833"/>
                    <a:gd name="connsiteX7" fmla="*/ 8444 w 10000"/>
                    <a:gd name="connsiteY7" fmla="*/ 6850 h 9833"/>
                    <a:gd name="connsiteX8" fmla="*/ 8167 w 10000"/>
                    <a:gd name="connsiteY8" fmla="*/ 6245 h 9833"/>
                    <a:gd name="connsiteX9" fmla="*/ 8167 w 10000"/>
                    <a:gd name="connsiteY9" fmla="*/ 6245 h 9833"/>
                    <a:gd name="connsiteX10" fmla="*/ 8056 w 10000"/>
                    <a:gd name="connsiteY10" fmla="*/ 6137 h 9833"/>
                    <a:gd name="connsiteX11" fmla="*/ 7889 w 10000"/>
                    <a:gd name="connsiteY11" fmla="*/ 6025 h 9833"/>
                    <a:gd name="connsiteX12" fmla="*/ 7444 w 10000"/>
                    <a:gd name="connsiteY12" fmla="*/ 5966 h 9833"/>
                    <a:gd name="connsiteX13" fmla="*/ 6889 w 10000"/>
                    <a:gd name="connsiteY13" fmla="*/ 5912 h 9833"/>
                    <a:gd name="connsiteX14" fmla="*/ 6389 w 10000"/>
                    <a:gd name="connsiteY14" fmla="*/ 5912 h 9833"/>
                    <a:gd name="connsiteX15" fmla="*/ 6389 w 10000"/>
                    <a:gd name="connsiteY15" fmla="*/ 5912 h 9833"/>
                    <a:gd name="connsiteX16" fmla="*/ 6167 w 10000"/>
                    <a:gd name="connsiteY16" fmla="*/ 5857 h 9833"/>
                    <a:gd name="connsiteX17" fmla="*/ 6056 w 10000"/>
                    <a:gd name="connsiteY17" fmla="*/ 5751 h 9833"/>
                    <a:gd name="connsiteX18" fmla="*/ 6000 w 10000"/>
                    <a:gd name="connsiteY18" fmla="*/ 5639 h 9833"/>
                    <a:gd name="connsiteX19" fmla="*/ 6000 w 10000"/>
                    <a:gd name="connsiteY19" fmla="*/ 5416 h 9833"/>
                    <a:gd name="connsiteX20" fmla="*/ 6056 w 10000"/>
                    <a:gd name="connsiteY20" fmla="*/ 4973 h 9833"/>
                    <a:gd name="connsiteX21" fmla="*/ 6111 w 10000"/>
                    <a:gd name="connsiteY21" fmla="*/ 4751 h 9833"/>
                    <a:gd name="connsiteX22" fmla="*/ 6056 w 10000"/>
                    <a:gd name="connsiteY22" fmla="*/ 4479 h 9833"/>
                    <a:gd name="connsiteX23" fmla="*/ 6056 w 10000"/>
                    <a:gd name="connsiteY23" fmla="*/ 4479 h 9833"/>
                    <a:gd name="connsiteX24" fmla="*/ 6000 w 10000"/>
                    <a:gd name="connsiteY24" fmla="*/ 4310 h 9833"/>
                    <a:gd name="connsiteX25" fmla="*/ 5944 w 10000"/>
                    <a:gd name="connsiteY25" fmla="*/ 4198 h 9833"/>
                    <a:gd name="connsiteX26" fmla="*/ 5833 w 10000"/>
                    <a:gd name="connsiteY26" fmla="*/ 4198 h 9833"/>
                    <a:gd name="connsiteX27" fmla="*/ 5667 w 10000"/>
                    <a:gd name="connsiteY27" fmla="*/ 4255 h 9833"/>
                    <a:gd name="connsiteX28" fmla="*/ 5333 w 10000"/>
                    <a:gd name="connsiteY28" fmla="*/ 4419 h 9833"/>
                    <a:gd name="connsiteX29" fmla="*/ 4889 w 10000"/>
                    <a:gd name="connsiteY29" fmla="*/ 4698 h 9833"/>
                    <a:gd name="connsiteX30" fmla="*/ 4889 w 10000"/>
                    <a:gd name="connsiteY30" fmla="*/ 4698 h 9833"/>
                    <a:gd name="connsiteX31" fmla="*/ 4611 w 10000"/>
                    <a:gd name="connsiteY31" fmla="*/ 4751 h 9833"/>
                    <a:gd name="connsiteX32" fmla="*/ 4500 w 10000"/>
                    <a:gd name="connsiteY32" fmla="*/ 4751 h 9833"/>
                    <a:gd name="connsiteX33" fmla="*/ 4444 w 10000"/>
                    <a:gd name="connsiteY33" fmla="*/ 4698 h 9833"/>
                    <a:gd name="connsiteX34" fmla="*/ 4389 w 10000"/>
                    <a:gd name="connsiteY34" fmla="*/ 4479 h 9833"/>
                    <a:gd name="connsiteX35" fmla="*/ 4222 w 10000"/>
                    <a:gd name="connsiteY35" fmla="*/ 4198 h 9833"/>
                    <a:gd name="connsiteX36" fmla="*/ 4222 w 10000"/>
                    <a:gd name="connsiteY36" fmla="*/ 4198 h 9833"/>
                    <a:gd name="connsiteX37" fmla="*/ 4111 w 10000"/>
                    <a:gd name="connsiteY37" fmla="*/ 4037 h 9833"/>
                    <a:gd name="connsiteX38" fmla="*/ 4111 w 10000"/>
                    <a:gd name="connsiteY38" fmla="*/ 3869 h 9833"/>
                    <a:gd name="connsiteX39" fmla="*/ 4111 w 10000"/>
                    <a:gd name="connsiteY39" fmla="*/ 3756 h 9833"/>
                    <a:gd name="connsiteX40" fmla="*/ 4167 w 10000"/>
                    <a:gd name="connsiteY40" fmla="*/ 3648 h 9833"/>
                    <a:gd name="connsiteX41" fmla="*/ 4278 w 10000"/>
                    <a:gd name="connsiteY41" fmla="*/ 3427 h 9833"/>
                    <a:gd name="connsiteX42" fmla="*/ 4389 w 10000"/>
                    <a:gd name="connsiteY42" fmla="*/ 3370 h 9833"/>
                    <a:gd name="connsiteX43" fmla="*/ 4389 w 10000"/>
                    <a:gd name="connsiteY43" fmla="*/ 3370 h 9833"/>
                    <a:gd name="connsiteX44" fmla="*/ 4389 w 10000"/>
                    <a:gd name="connsiteY44" fmla="*/ 3318 h 9833"/>
                    <a:gd name="connsiteX45" fmla="*/ 4444 w 10000"/>
                    <a:gd name="connsiteY45" fmla="*/ 3261 h 9833"/>
                    <a:gd name="connsiteX46" fmla="*/ 4667 w 10000"/>
                    <a:gd name="connsiteY46" fmla="*/ 3205 h 9833"/>
                    <a:gd name="connsiteX47" fmla="*/ 5333 w 10000"/>
                    <a:gd name="connsiteY47" fmla="*/ 3098 h 9833"/>
                    <a:gd name="connsiteX48" fmla="*/ 6500 w 10000"/>
                    <a:gd name="connsiteY48" fmla="*/ 2931 h 9833"/>
                    <a:gd name="connsiteX49" fmla="*/ 6500 w 10000"/>
                    <a:gd name="connsiteY49" fmla="*/ 2931 h 9833"/>
                    <a:gd name="connsiteX50" fmla="*/ 7167 w 10000"/>
                    <a:gd name="connsiteY50" fmla="*/ 2764 h 9833"/>
                    <a:gd name="connsiteX51" fmla="*/ 8389 w 10000"/>
                    <a:gd name="connsiteY51" fmla="*/ 2431 h 9833"/>
                    <a:gd name="connsiteX52" fmla="*/ 8389 w 10000"/>
                    <a:gd name="connsiteY52" fmla="*/ 2431 h 9833"/>
                    <a:gd name="connsiteX53" fmla="*/ 8667 w 10000"/>
                    <a:gd name="connsiteY53" fmla="*/ 2316 h 9833"/>
                    <a:gd name="connsiteX54" fmla="*/ 8778 w 10000"/>
                    <a:gd name="connsiteY54" fmla="*/ 2153 h 9833"/>
                    <a:gd name="connsiteX55" fmla="*/ 8889 w 10000"/>
                    <a:gd name="connsiteY55" fmla="*/ 2044 h 9833"/>
                    <a:gd name="connsiteX56" fmla="*/ 8833 w 10000"/>
                    <a:gd name="connsiteY56" fmla="*/ 1932 h 9833"/>
                    <a:gd name="connsiteX57" fmla="*/ 8833 w 10000"/>
                    <a:gd name="connsiteY57" fmla="*/ 1822 h 9833"/>
                    <a:gd name="connsiteX58" fmla="*/ 8722 w 10000"/>
                    <a:gd name="connsiteY58" fmla="*/ 1712 h 9833"/>
                    <a:gd name="connsiteX59" fmla="*/ 8556 w 10000"/>
                    <a:gd name="connsiteY59" fmla="*/ 1548 h 9833"/>
                    <a:gd name="connsiteX60" fmla="*/ 8556 w 10000"/>
                    <a:gd name="connsiteY60" fmla="*/ 1548 h 9833"/>
                    <a:gd name="connsiteX61" fmla="*/ 6556 w 10000"/>
                    <a:gd name="connsiteY61" fmla="*/ 555 h 9833"/>
                    <a:gd name="connsiteX62" fmla="*/ 6556 w 10000"/>
                    <a:gd name="connsiteY62" fmla="*/ 555 h 9833"/>
                    <a:gd name="connsiteX63" fmla="*/ 6333 w 10000"/>
                    <a:gd name="connsiteY63" fmla="*/ 391 h 9833"/>
                    <a:gd name="connsiteX64" fmla="*/ 6167 w 10000"/>
                    <a:gd name="connsiteY64" fmla="*/ 224 h 9833"/>
                    <a:gd name="connsiteX65" fmla="*/ 6056 w 10000"/>
                    <a:gd name="connsiteY65" fmla="*/ 56 h 9833"/>
                    <a:gd name="connsiteX66" fmla="*/ 6056 w 10000"/>
                    <a:gd name="connsiteY66" fmla="*/ 56 h 9833"/>
                    <a:gd name="connsiteX67" fmla="*/ 8056 w 10000"/>
                    <a:gd name="connsiteY67" fmla="*/ 0 h 9833"/>
                    <a:gd name="connsiteX68" fmla="*/ 10000 w 10000"/>
                    <a:gd name="connsiteY68" fmla="*/ 555 h 9833"/>
                    <a:gd name="connsiteX69" fmla="*/ 10000 w 10000"/>
                    <a:gd name="connsiteY69" fmla="*/ 7627 h 9833"/>
                    <a:gd name="connsiteX70" fmla="*/ 10000 w 10000"/>
                    <a:gd name="connsiteY70" fmla="*/ 7627 h 9833"/>
                    <a:gd name="connsiteX71" fmla="*/ 9722 w 10000"/>
                    <a:gd name="connsiteY71" fmla="*/ 7572 h 9833"/>
                    <a:gd name="connsiteX72" fmla="*/ 9389 w 10000"/>
                    <a:gd name="connsiteY72" fmla="*/ 7627 h 9833"/>
                    <a:gd name="connsiteX73" fmla="*/ 9389 w 10000"/>
                    <a:gd name="connsiteY73" fmla="*/ 7627 h 9833"/>
                    <a:gd name="connsiteX74" fmla="*/ 9278 w 10000"/>
                    <a:gd name="connsiteY74" fmla="*/ 7684 h 9833"/>
                    <a:gd name="connsiteX75" fmla="*/ 9056 w 10000"/>
                    <a:gd name="connsiteY75" fmla="*/ 7627 h 9833"/>
                    <a:gd name="connsiteX76" fmla="*/ 8889 w 10000"/>
                    <a:gd name="connsiteY76" fmla="*/ 7572 h 9833"/>
                    <a:gd name="connsiteX77" fmla="*/ 8722 w 10000"/>
                    <a:gd name="connsiteY77" fmla="*/ 7457 h 9833"/>
                    <a:gd name="connsiteX78" fmla="*/ 8611 w 10000"/>
                    <a:gd name="connsiteY78" fmla="*/ 7293 h 9833"/>
                    <a:gd name="connsiteX79" fmla="*/ 8444 w 10000"/>
                    <a:gd name="connsiteY79" fmla="*/ 7019 h 9833"/>
                    <a:gd name="connsiteX80" fmla="*/ 8444 w 10000"/>
                    <a:gd name="connsiteY80" fmla="*/ 7019 h 9833"/>
                    <a:gd name="connsiteX81" fmla="*/ 8222 w 10000"/>
                    <a:gd name="connsiteY81" fmla="*/ 6523 h 9833"/>
                    <a:gd name="connsiteX82" fmla="*/ 8111 w 10000"/>
                    <a:gd name="connsiteY82" fmla="*/ 6299 h 9833"/>
                    <a:gd name="connsiteX83" fmla="*/ 7944 w 10000"/>
                    <a:gd name="connsiteY83" fmla="*/ 6137 h 9833"/>
                    <a:gd name="connsiteX84" fmla="*/ 7778 w 10000"/>
                    <a:gd name="connsiteY84" fmla="*/ 6025 h 9833"/>
                    <a:gd name="connsiteX85" fmla="*/ 7556 w 10000"/>
                    <a:gd name="connsiteY85" fmla="*/ 5966 h 9833"/>
                    <a:gd name="connsiteX86" fmla="*/ 7333 w 10000"/>
                    <a:gd name="connsiteY86" fmla="*/ 5912 h 9833"/>
                    <a:gd name="connsiteX87" fmla="*/ 7000 w 10000"/>
                    <a:gd name="connsiteY87" fmla="*/ 5857 h 9833"/>
                    <a:gd name="connsiteX88" fmla="*/ 7000 w 10000"/>
                    <a:gd name="connsiteY88" fmla="*/ 5857 h 9833"/>
                    <a:gd name="connsiteX89" fmla="*/ 6556 w 10000"/>
                    <a:gd name="connsiteY89" fmla="*/ 5912 h 9833"/>
                    <a:gd name="connsiteX90" fmla="*/ 6222 w 10000"/>
                    <a:gd name="connsiteY90" fmla="*/ 5912 h 9833"/>
                    <a:gd name="connsiteX91" fmla="*/ 6111 w 10000"/>
                    <a:gd name="connsiteY91" fmla="*/ 5857 h 9833"/>
                    <a:gd name="connsiteX92" fmla="*/ 6056 w 10000"/>
                    <a:gd name="connsiteY92" fmla="*/ 5801 h 9833"/>
                    <a:gd name="connsiteX93" fmla="*/ 6056 w 10000"/>
                    <a:gd name="connsiteY93" fmla="*/ 5801 h 9833"/>
                    <a:gd name="connsiteX94" fmla="*/ 6056 w 10000"/>
                    <a:gd name="connsiteY94" fmla="*/ 4807 h 9833"/>
                    <a:gd name="connsiteX95" fmla="*/ 6056 w 10000"/>
                    <a:gd name="connsiteY95" fmla="*/ 4807 h 9833"/>
                    <a:gd name="connsiteX96" fmla="*/ 6056 w 10000"/>
                    <a:gd name="connsiteY96" fmla="*/ 4585 h 9833"/>
                    <a:gd name="connsiteX97" fmla="*/ 5944 w 10000"/>
                    <a:gd name="connsiteY97" fmla="*/ 4310 h 9833"/>
                    <a:gd name="connsiteX98" fmla="*/ 5889 w 10000"/>
                    <a:gd name="connsiteY98" fmla="*/ 4255 h 9833"/>
                    <a:gd name="connsiteX99" fmla="*/ 5778 w 10000"/>
                    <a:gd name="connsiteY99" fmla="*/ 4198 h 9833"/>
                    <a:gd name="connsiteX100" fmla="*/ 5667 w 10000"/>
                    <a:gd name="connsiteY100" fmla="*/ 4198 h 9833"/>
                    <a:gd name="connsiteX101" fmla="*/ 5500 w 10000"/>
                    <a:gd name="connsiteY101" fmla="*/ 4255 h 9833"/>
                    <a:gd name="connsiteX102" fmla="*/ 5500 w 10000"/>
                    <a:gd name="connsiteY102" fmla="*/ 4255 h 9833"/>
                    <a:gd name="connsiteX103" fmla="*/ 4889 w 10000"/>
                    <a:gd name="connsiteY103" fmla="*/ 4642 h 9833"/>
                    <a:gd name="connsiteX104" fmla="*/ 4611 w 10000"/>
                    <a:gd name="connsiteY104" fmla="*/ 4751 h 9833"/>
                    <a:gd name="connsiteX105" fmla="*/ 4556 w 10000"/>
                    <a:gd name="connsiteY105" fmla="*/ 4807 h 9833"/>
                    <a:gd name="connsiteX106" fmla="*/ 4500 w 10000"/>
                    <a:gd name="connsiteY106" fmla="*/ 4751 h 9833"/>
                    <a:gd name="connsiteX107" fmla="*/ 4500 w 10000"/>
                    <a:gd name="connsiteY107" fmla="*/ 4751 h 9833"/>
                    <a:gd name="connsiteX108" fmla="*/ 4222 w 10000"/>
                    <a:gd name="connsiteY108" fmla="*/ 4198 h 9833"/>
                    <a:gd name="connsiteX109" fmla="*/ 4222 w 10000"/>
                    <a:gd name="connsiteY109" fmla="*/ 4198 h 9833"/>
                    <a:gd name="connsiteX110" fmla="*/ 4111 w 10000"/>
                    <a:gd name="connsiteY110" fmla="*/ 3924 h 9833"/>
                    <a:gd name="connsiteX111" fmla="*/ 4111 w 10000"/>
                    <a:gd name="connsiteY111" fmla="*/ 3756 h 9833"/>
                    <a:gd name="connsiteX112" fmla="*/ 4111 w 10000"/>
                    <a:gd name="connsiteY112" fmla="*/ 3593 h 9833"/>
                    <a:gd name="connsiteX113" fmla="*/ 4111 w 10000"/>
                    <a:gd name="connsiteY113" fmla="*/ 3593 h 9833"/>
                    <a:gd name="connsiteX114" fmla="*/ 4278 w 10000"/>
                    <a:gd name="connsiteY114" fmla="*/ 3427 h 9833"/>
                    <a:gd name="connsiteX115" fmla="*/ 4389 w 10000"/>
                    <a:gd name="connsiteY115" fmla="*/ 3370 h 9833"/>
                    <a:gd name="connsiteX116" fmla="*/ 4389 w 10000"/>
                    <a:gd name="connsiteY116" fmla="*/ 3370 h 9833"/>
                    <a:gd name="connsiteX117" fmla="*/ 4000 w 10000"/>
                    <a:gd name="connsiteY117" fmla="*/ 3370 h 9833"/>
                    <a:gd name="connsiteX118" fmla="*/ 3722 w 10000"/>
                    <a:gd name="connsiteY118" fmla="*/ 3427 h 9833"/>
                    <a:gd name="connsiteX119" fmla="*/ 3611 w 10000"/>
                    <a:gd name="connsiteY119" fmla="*/ 3485 h 9833"/>
                    <a:gd name="connsiteX120" fmla="*/ 3556 w 10000"/>
                    <a:gd name="connsiteY120" fmla="*/ 3537 h 9833"/>
                    <a:gd name="connsiteX121" fmla="*/ 3556 w 10000"/>
                    <a:gd name="connsiteY121" fmla="*/ 3537 h 9833"/>
                    <a:gd name="connsiteX122" fmla="*/ 3444 w 10000"/>
                    <a:gd name="connsiteY122" fmla="*/ 3756 h 9833"/>
                    <a:gd name="connsiteX123" fmla="*/ 3278 w 10000"/>
                    <a:gd name="connsiteY123" fmla="*/ 4091 h 9833"/>
                    <a:gd name="connsiteX124" fmla="*/ 3000 w 10000"/>
                    <a:gd name="connsiteY124" fmla="*/ 4479 h 9833"/>
                    <a:gd name="connsiteX125" fmla="*/ 2667 w 10000"/>
                    <a:gd name="connsiteY125" fmla="*/ 4751 h 9833"/>
                    <a:gd name="connsiteX126" fmla="*/ 2667 w 10000"/>
                    <a:gd name="connsiteY126" fmla="*/ 4751 h 9833"/>
                    <a:gd name="connsiteX127" fmla="*/ 2333 w 10000"/>
                    <a:gd name="connsiteY127" fmla="*/ 4973 h 9833"/>
                    <a:gd name="connsiteX128" fmla="*/ 1833 w 10000"/>
                    <a:gd name="connsiteY128" fmla="*/ 5196 h 9833"/>
                    <a:gd name="connsiteX129" fmla="*/ 1389 w 10000"/>
                    <a:gd name="connsiteY129" fmla="*/ 5308 h 9833"/>
                    <a:gd name="connsiteX130" fmla="*/ 889 w 10000"/>
                    <a:gd name="connsiteY130" fmla="*/ 5359 h 9833"/>
                    <a:gd name="connsiteX131" fmla="*/ 889 w 10000"/>
                    <a:gd name="connsiteY131" fmla="*/ 5359 h 9833"/>
                    <a:gd name="connsiteX132" fmla="*/ 500 w 10000"/>
                    <a:gd name="connsiteY132" fmla="*/ 5416 h 9833"/>
                    <a:gd name="connsiteX133" fmla="*/ 222 w 10000"/>
                    <a:gd name="connsiteY133" fmla="*/ 5475 h 9833"/>
                    <a:gd name="connsiteX134" fmla="*/ 0 w 10000"/>
                    <a:gd name="connsiteY134" fmla="*/ 5531 h 9833"/>
                    <a:gd name="connsiteX135" fmla="*/ 0 w 10000"/>
                    <a:gd name="connsiteY135" fmla="*/ 5531 h 9833"/>
                    <a:gd name="connsiteX136" fmla="*/ 278 w 10000"/>
                    <a:gd name="connsiteY136" fmla="*/ 6408 h 9833"/>
                    <a:gd name="connsiteX137" fmla="*/ 500 w 10000"/>
                    <a:gd name="connsiteY137" fmla="*/ 7074 h 9833"/>
                    <a:gd name="connsiteX138" fmla="*/ 722 w 10000"/>
                    <a:gd name="connsiteY138" fmla="*/ 7627 h 9833"/>
                    <a:gd name="connsiteX139" fmla="*/ 722 w 10000"/>
                    <a:gd name="connsiteY139" fmla="*/ 7627 h 9833"/>
                    <a:gd name="connsiteX140" fmla="*/ 889 w 10000"/>
                    <a:gd name="connsiteY140" fmla="*/ 7960 h 9833"/>
                    <a:gd name="connsiteX141" fmla="*/ 944 w 10000"/>
                    <a:gd name="connsiteY141" fmla="*/ 8235 h 9833"/>
                    <a:gd name="connsiteX142" fmla="*/ 1111 w 10000"/>
                    <a:gd name="connsiteY142" fmla="*/ 8511 h 9833"/>
                    <a:gd name="connsiteX143" fmla="*/ 1333 w 10000"/>
                    <a:gd name="connsiteY143" fmla="*/ 8952 h 9833"/>
                    <a:gd name="connsiteX144" fmla="*/ 1333 w 10000"/>
                    <a:gd name="connsiteY144" fmla="*/ 8952 h 9833"/>
                    <a:gd name="connsiteX145" fmla="*/ 1444 w 10000"/>
                    <a:gd name="connsiteY145" fmla="*/ 9175 h 9833"/>
                    <a:gd name="connsiteX146" fmla="*/ 1500 w 10000"/>
                    <a:gd name="connsiteY146" fmla="*/ 9339 h 9833"/>
                    <a:gd name="connsiteX147" fmla="*/ 1500 w 10000"/>
                    <a:gd name="connsiteY147" fmla="*/ 9503 h 9833"/>
                    <a:gd name="connsiteX148" fmla="*/ 1556 w 10000"/>
                    <a:gd name="connsiteY148" fmla="*/ 9563 h 9833"/>
                    <a:gd name="connsiteX149" fmla="*/ 1722 w 10000"/>
                    <a:gd name="connsiteY149" fmla="*/ 9614 h 9833"/>
                    <a:gd name="connsiteX150" fmla="*/ 1944 w 10000"/>
                    <a:gd name="connsiteY150" fmla="*/ 9667 h 9833"/>
                    <a:gd name="connsiteX151" fmla="*/ 2944 w 10000"/>
                    <a:gd name="connsiteY151" fmla="*/ 9726 h 9833"/>
                    <a:gd name="connsiteX152" fmla="*/ 2944 w 10000"/>
                    <a:gd name="connsiteY152" fmla="*/ 9726 h 9833"/>
                    <a:gd name="connsiteX153" fmla="*/ 4167 w 10000"/>
                    <a:gd name="connsiteY153" fmla="*/ 9833 h 9833"/>
                    <a:gd name="connsiteX0" fmla="*/ 10000 w 10000"/>
                    <a:gd name="connsiteY0" fmla="*/ 7701 h 9891"/>
                    <a:gd name="connsiteX1" fmla="*/ 10000 w 10000"/>
                    <a:gd name="connsiteY1" fmla="*/ 7701 h 9891"/>
                    <a:gd name="connsiteX2" fmla="*/ 9222 w 10000"/>
                    <a:gd name="connsiteY2" fmla="*/ 7757 h 9891"/>
                    <a:gd name="connsiteX3" fmla="*/ 8944 w 10000"/>
                    <a:gd name="connsiteY3" fmla="*/ 7757 h 9891"/>
                    <a:gd name="connsiteX4" fmla="*/ 8833 w 10000"/>
                    <a:gd name="connsiteY4" fmla="*/ 7701 h 9891"/>
                    <a:gd name="connsiteX5" fmla="*/ 8778 w 10000"/>
                    <a:gd name="connsiteY5" fmla="*/ 7644 h 9891"/>
                    <a:gd name="connsiteX6" fmla="*/ 8778 w 10000"/>
                    <a:gd name="connsiteY6" fmla="*/ 7644 h 9891"/>
                    <a:gd name="connsiteX7" fmla="*/ 8444 w 10000"/>
                    <a:gd name="connsiteY7" fmla="*/ 6966 h 9891"/>
                    <a:gd name="connsiteX8" fmla="*/ 8167 w 10000"/>
                    <a:gd name="connsiteY8" fmla="*/ 6351 h 9891"/>
                    <a:gd name="connsiteX9" fmla="*/ 8167 w 10000"/>
                    <a:gd name="connsiteY9" fmla="*/ 6351 h 9891"/>
                    <a:gd name="connsiteX10" fmla="*/ 8056 w 10000"/>
                    <a:gd name="connsiteY10" fmla="*/ 6241 h 9891"/>
                    <a:gd name="connsiteX11" fmla="*/ 7889 w 10000"/>
                    <a:gd name="connsiteY11" fmla="*/ 6127 h 9891"/>
                    <a:gd name="connsiteX12" fmla="*/ 7444 w 10000"/>
                    <a:gd name="connsiteY12" fmla="*/ 6067 h 9891"/>
                    <a:gd name="connsiteX13" fmla="*/ 6889 w 10000"/>
                    <a:gd name="connsiteY13" fmla="*/ 6012 h 9891"/>
                    <a:gd name="connsiteX14" fmla="*/ 6389 w 10000"/>
                    <a:gd name="connsiteY14" fmla="*/ 6012 h 9891"/>
                    <a:gd name="connsiteX15" fmla="*/ 6389 w 10000"/>
                    <a:gd name="connsiteY15" fmla="*/ 6012 h 9891"/>
                    <a:gd name="connsiteX16" fmla="*/ 6167 w 10000"/>
                    <a:gd name="connsiteY16" fmla="*/ 5956 h 9891"/>
                    <a:gd name="connsiteX17" fmla="*/ 6056 w 10000"/>
                    <a:gd name="connsiteY17" fmla="*/ 5849 h 9891"/>
                    <a:gd name="connsiteX18" fmla="*/ 6000 w 10000"/>
                    <a:gd name="connsiteY18" fmla="*/ 5735 h 9891"/>
                    <a:gd name="connsiteX19" fmla="*/ 6000 w 10000"/>
                    <a:gd name="connsiteY19" fmla="*/ 5508 h 9891"/>
                    <a:gd name="connsiteX20" fmla="*/ 6056 w 10000"/>
                    <a:gd name="connsiteY20" fmla="*/ 5057 h 9891"/>
                    <a:gd name="connsiteX21" fmla="*/ 6111 w 10000"/>
                    <a:gd name="connsiteY21" fmla="*/ 4832 h 9891"/>
                    <a:gd name="connsiteX22" fmla="*/ 6056 w 10000"/>
                    <a:gd name="connsiteY22" fmla="*/ 4555 h 9891"/>
                    <a:gd name="connsiteX23" fmla="*/ 6056 w 10000"/>
                    <a:gd name="connsiteY23" fmla="*/ 4555 h 9891"/>
                    <a:gd name="connsiteX24" fmla="*/ 6000 w 10000"/>
                    <a:gd name="connsiteY24" fmla="*/ 4383 h 9891"/>
                    <a:gd name="connsiteX25" fmla="*/ 5944 w 10000"/>
                    <a:gd name="connsiteY25" fmla="*/ 4269 h 9891"/>
                    <a:gd name="connsiteX26" fmla="*/ 5833 w 10000"/>
                    <a:gd name="connsiteY26" fmla="*/ 4269 h 9891"/>
                    <a:gd name="connsiteX27" fmla="*/ 5667 w 10000"/>
                    <a:gd name="connsiteY27" fmla="*/ 4327 h 9891"/>
                    <a:gd name="connsiteX28" fmla="*/ 5333 w 10000"/>
                    <a:gd name="connsiteY28" fmla="*/ 4494 h 9891"/>
                    <a:gd name="connsiteX29" fmla="*/ 4889 w 10000"/>
                    <a:gd name="connsiteY29" fmla="*/ 4778 h 9891"/>
                    <a:gd name="connsiteX30" fmla="*/ 4889 w 10000"/>
                    <a:gd name="connsiteY30" fmla="*/ 4778 h 9891"/>
                    <a:gd name="connsiteX31" fmla="*/ 4611 w 10000"/>
                    <a:gd name="connsiteY31" fmla="*/ 4832 h 9891"/>
                    <a:gd name="connsiteX32" fmla="*/ 4500 w 10000"/>
                    <a:gd name="connsiteY32" fmla="*/ 4832 h 9891"/>
                    <a:gd name="connsiteX33" fmla="*/ 4444 w 10000"/>
                    <a:gd name="connsiteY33" fmla="*/ 4778 h 9891"/>
                    <a:gd name="connsiteX34" fmla="*/ 4389 w 10000"/>
                    <a:gd name="connsiteY34" fmla="*/ 4555 h 9891"/>
                    <a:gd name="connsiteX35" fmla="*/ 4222 w 10000"/>
                    <a:gd name="connsiteY35" fmla="*/ 4269 h 9891"/>
                    <a:gd name="connsiteX36" fmla="*/ 4222 w 10000"/>
                    <a:gd name="connsiteY36" fmla="*/ 4269 h 9891"/>
                    <a:gd name="connsiteX37" fmla="*/ 4111 w 10000"/>
                    <a:gd name="connsiteY37" fmla="*/ 4106 h 9891"/>
                    <a:gd name="connsiteX38" fmla="*/ 4111 w 10000"/>
                    <a:gd name="connsiteY38" fmla="*/ 3935 h 9891"/>
                    <a:gd name="connsiteX39" fmla="*/ 4111 w 10000"/>
                    <a:gd name="connsiteY39" fmla="*/ 3820 h 9891"/>
                    <a:gd name="connsiteX40" fmla="*/ 4167 w 10000"/>
                    <a:gd name="connsiteY40" fmla="*/ 3710 h 9891"/>
                    <a:gd name="connsiteX41" fmla="*/ 4278 w 10000"/>
                    <a:gd name="connsiteY41" fmla="*/ 3485 h 9891"/>
                    <a:gd name="connsiteX42" fmla="*/ 4389 w 10000"/>
                    <a:gd name="connsiteY42" fmla="*/ 3427 h 9891"/>
                    <a:gd name="connsiteX43" fmla="*/ 4389 w 10000"/>
                    <a:gd name="connsiteY43" fmla="*/ 3427 h 9891"/>
                    <a:gd name="connsiteX44" fmla="*/ 4389 w 10000"/>
                    <a:gd name="connsiteY44" fmla="*/ 3374 h 9891"/>
                    <a:gd name="connsiteX45" fmla="*/ 4444 w 10000"/>
                    <a:gd name="connsiteY45" fmla="*/ 3316 h 9891"/>
                    <a:gd name="connsiteX46" fmla="*/ 4667 w 10000"/>
                    <a:gd name="connsiteY46" fmla="*/ 3259 h 9891"/>
                    <a:gd name="connsiteX47" fmla="*/ 5333 w 10000"/>
                    <a:gd name="connsiteY47" fmla="*/ 3151 h 9891"/>
                    <a:gd name="connsiteX48" fmla="*/ 6500 w 10000"/>
                    <a:gd name="connsiteY48" fmla="*/ 2981 h 9891"/>
                    <a:gd name="connsiteX49" fmla="*/ 6500 w 10000"/>
                    <a:gd name="connsiteY49" fmla="*/ 2981 h 9891"/>
                    <a:gd name="connsiteX50" fmla="*/ 7167 w 10000"/>
                    <a:gd name="connsiteY50" fmla="*/ 2811 h 9891"/>
                    <a:gd name="connsiteX51" fmla="*/ 8389 w 10000"/>
                    <a:gd name="connsiteY51" fmla="*/ 2472 h 9891"/>
                    <a:gd name="connsiteX52" fmla="*/ 8389 w 10000"/>
                    <a:gd name="connsiteY52" fmla="*/ 2472 h 9891"/>
                    <a:gd name="connsiteX53" fmla="*/ 8667 w 10000"/>
                    <a:gd name="connsiteY53" fmla="*/ 2355 h 9891"/>
                    <a:gd name="connsiteX54" fmla="*/ 8778 w 10000"/>
                    <a:gd name="connsiteY54" fmla="*/ 2190 h 9891"/>
                    <a:gd name="connsiteX55" fmla="*/ 8889 w 10000"/>
                    <a:gd name="connsiteY55" fmla="*/ 2079 h 9891"/>
                    <a:gd name="connsiteX56" fmla="*/ 8833 w 10000"/>
                    <a:gd name="connsiteY56" fmla="*/ 1965 h 9891"/>
                    <a:gd name="connsiteX57" fmla="*/ 8833 w 10000"/>
                    <a:gd name="connsiteY57" fmla="*/ 1853 h 9891"/>
                    <a:gd name="connsiteX58" fmla="*/ 8722 w 10000"/>
                    <a:gd name="connsiteY58" fmla="*/ 1741 h 9891"/>
                    <a:gd name="connsiteX59" fmla="*/ 8556 w 10000"/>
                    <a:gd name="connsiteY59" fmla="*/ 1574 h 9891"/>
                    <a:gd name="connsiteX60" fmla="*/ 8556 w 10000"/>
                    <a:gd name="connsiteY60" fmla="*/ 1574 h 9891"/>
                    <a:gd name="connsiteX61" fmla="*/ 6556 w 10000"/>
                    <a:gd name="connsiteY61" fmla="*/ 564 h 9891"/>
                    <a:gd name="connsiteX62" fmla="*/ 6556 w 10000"/>
                    <a:gd name="connsiteY62" fmla="*/ 564 h 9891"/>
                    <a:gd name="connsiteX63" fmla="*/ 6333 w 10000"/>
                    <a:gd name="connsiteY63" fmla="*/ 398 h 9891"/>
                    <a:gd name="connsiteX64" fmla="*/ 6167 w 10000"/>
                    <a:gd name="connsiteY64" fmla="*/ 228 h 9891"/>
                    <a:gd name="connsiteX65" fmla="*/ 6056 w 10000"/>
                    <a:gd name="connsiteY65" fmla="*/ 57 h 9891"/>
                    <a:gd name="connsiteX66" fmla="*/ 6056 w 10000"/>
                    <a:gd name="connsiteY66" fmla="*/ 57 h 9891"/>
                    <a:gd name="connsiteX67" fmla="*/ 8056 w 10000"/>
                    <a:gd name="connsiteY67" fmla="*/ 0 h 9891"/>
                    <a:gd name="connsiteX68" fmla="*/ 10000 w 10000"/>
                    <a:gd name="connsiteY68" fmla="*/ 564 h 9891"/>
                    <a:gd name="connsiteX69" fmla="*/ 10000 w 10000"/>
                    <a:gd name="connsiteY69" fmla="*/ 7757 h 9891"/>
                    <a:gd name="connsiteX70" fmla="*/ 10000 w 10000"/>
                    <a:gd name="connsiteY70" fmla="*/ 7757 h 9891"/>
                    <a:gd name="connsiteX71" fmla="*/ 9722 w 10000"/>
                    <a:gd name="connsiteY71" fmla="*/ 7701 h 9891"/>
                    <a:gd name="connsiteX72" fmla="*/ 9389 w 10000"/>
                    <a:gd name="connsiteY72" fmla="*/ 7757 h 9891"/>
                    <a:gd name="connsiteX73" fmla="*/ 9389 w 10000"/>
                    <a:gd name="connsiteY73" fmla="*/ 7757 h 9891"/>
                    <a:gd name="connsiteX74" fmla="*/ 9278 w 10000"/>
                    <a:gd name="connsiteY74" fmla="*/ 7815 h 9891"/>
                    <a:gd name="connsiteX75" fmla="*/ 9056 w 10000"/>
                    <a:gd name="connsiteY75" fmla="*/ 7757 h 9891"/>
                    <a:gd name="connsiteX76" fmla="*/ 8889 w 10000"/>
                    <a:gd name="connsiteY76" fmla="*/ 7701 h 9891"/>
                    <a:gd name="connsiteX77" fmla="*/ 8722 w 10000"/>
                    <a:gd name="connsiteY77" fmla="*/ 7584 h 9891"/>
                    <a:gd name="connsiteX78" fmla="*/ 8611 w 10000"/>
                    <a:gd name="connsiteY78" fmla="*/ 7417 h 9891"/>
                    <a:gd name="connsiteX79" fmla="*/ 8444 w 10000"/>
                    <a:gd name="connsiteY79" fmla="*/ 7138 h 9891"/>
                    <a:gd name="connsiteX80" fmla="*/ 8444 w 10000"/>
                    <a:gd name="connsiteY80" fmla="*/ 7138 h 9891"/>
                    <a:gd name="connsiteX81" fmla="*/ 8222 w 10000"/>
                    <a:gd name="connsiteY81" fmla="*/ 6634 h 9891"/>
                    <a:gd name="connsiteX82" fmla="*/ 8111 w 10000"/>
                    <a:gd name="connsiteY82" fmla="*/ 6406 h 9891"/>
                    <a:gd name="connsiteX83" fmla="*/ 7944 w 10000"/>
                    <a:gd name="connsiteY83" fmla="*/ 6241 h 9891"/>
                    <a:gd name="connsiteX84" fmla="*/ 7778 w 10000"/>
                    <a:gd name="connsiteY84" fmla="*/ 6127 h 9891"/>
                    <a:gd name="connsiteX85" fmla="*/ 7556 w 10000"/>
                    <a:gd name="connsiteY85" fmla="*/ 6067 h 9891"/>
                    <a:gd name="connsiteX86" fmla="*/ 7333 w 10000"/>
                    <a:gd name="connsiteY86" fmla="*/ 6012 h 9891"/>
                    <a:gd name="connsiteX87" fmla="*/ 7000 w 10000"/>
                    <a:gd name="connsiteY87" fmla="*/ 5956 h 9891"/>
                    <a:gd name="connsiteX88" fmla="*/ 7000 w 10000"/>
                    <a:gd name="connsiteY88" fmla="*/ 5956 h 9891"/>
                    <a:gd name="connsiteX89" fmla="*/ 6556 w 10000"/>
                    <a:gd name="connsiteY89" fmla="*/ 6012 h 9891"/>
                    <a:gd name="connsiteX90" fmla="*/ 6222 w 10000"/>
                    <a:gd name="connsiteY90" fmla="*/ 6012 h 9891"/>
                    <a:gd name="connsiteX91" fmla="*/ 6111 w 10000"/>
                    <a:gd name="connsiteY91" fmla="*/ 5956 h 9891"/>
                    <a:gd name="connsiteX92" fmla="*/ 6056 w 10000"/>
                    <a:gd name="connsiteY92" fmla="*/ 5900 h 9891"/>
                    <a:gd name="connsiteX93" fmla="*/ 6056 w 10000"/>
                    <a:gd name="connsiteY93" fmla="*/ 5900 h 9891"/>
                    <a:gd name="connsiteX94" fmla="*/ 6056 w 10000"/>
                    <a:gd name="connsiteY94" fmla="*/ 4889 h 9891"/>
                    <a:gd name="connsiteX95" fmla="*/ 6056 w 10000"/>
                    <a:gd name="connsiteY95" fmla="*/ 4889 h 9891"/>
                    <a:gd name="connsiteX96" fmla="*/ 6056 w 10000"/>
                    <a:gd name="connsiteY96" fmla="*/ 4663 h 9891"/>
                    <a:gd name="connsiteX97" fmla="*/ 5944 w 10000"/>
                    <a:gd name="connsiteY97" fmla="*/ 4383 h 9891"/>
                    <a:gd name="connsiteX98" fmla="*/ 5889 w 10000"/>
                    <a:gd name="connsiteY98" fmla="*/ 4327 h 9891"/>
                    <a:gd name="connsiteX99" fmla="*/ 5778 w 10000"/>
                    <a:gd name="connsiteY99" fmla="*/ 4269 h 9891"/>
                    <a:gd name="connsiteX100" fmla="*/ 5667 w 10000"/>
                    <a:gd name="connsiteY100" fmla="*/ 4269 h 9891"/>
                    <a:gd name="connsiteX101" fmla="*/ 5500 w 10000"/>
                    <a:gd name="connsiteY101" fmla="*/ 4327 h 9891"/>
                    <a:gd name="connsiteX102" fmla="*/ 5500 w 10000"/>
                    <a:gd name="connsiteY102" fmla="*/ 4327 h 9891"/>
                    <a:gd name="connsiteX103" fmla="*/ 4889 w 10000"/>
                    <a:gd name="connsiteY103" fmla="*/ 4721 h 9891"/>
                    <a:gd name="connsiteX104" fmla="*/ 4611 w 10000"/>
                    <a:gd name="connsiteY104" fmla="*/ 4832 h 9891"/>
                    <a:gd name="connsiteX105" fmla="*/ 4556 w 10000"/>
                    <a:gd name="connsiteY105" fmla="*/ 4889 h 9891"/>
                    <a:gd name="connsiteX106" fmla="*/ 4500 w 10000"/>
                    <a:gd name="connsiteY106" fmla="*/ 4832 h 9891"/>
                    <a:gd name="connsiteX107" fmla="*/ 4500 w 10000"/>
                    <a:gd name="connsiteY107" fmla="*/ 4832 h 9891"/>
                    <a:gd name="connsiteX108" fmla="*/ 4222 w 10000"/>
                    <a:gd name="connsiteY108" fmla="*/ 4269 h 9891"/>
                    <a:gd name="connsiteX109" fmla="*/ 4222 w 10000"/>
                    <a:gd name="connsiteY109" fmla="*/ 4269 h 9891"/>
                    <a:gd name="connsiteX110" fmla="*/ 4111 w 10000"/>
                    <a:gd name="connsiteY110" fmla="*/ 3991 h 9891"/>
                    <a:gd name="connsiteX111" fmla="*/ 4111 w 10000"/>
                    <a:gd name="connsiteY111" fmla="*/ 3820 h 9891"/>
                    <a:gd name="connsiteX112" fmla="*/ 4111 w 10000"/>
                    <a:gd name="connsiteY112" fmla="*/ 3654 h 9891"/>
                    <a:gd name="connsiteX113" fmla="*/ 4111 w 10000"/>
                    <a:gd name="connsiteY113" fmla="*/ 3654 h 9891"/>
                    <a:gd name="connsiteX114" fmla="*/ 4278 w 10000"/>
                    <a:gd name="connsiteY114" fmla="*/ 3485 h 9891"/>
                    <a:gd name="connsiteX115" fmla="*/ 4389 w 10000"/>
                    <a:gd name="connsiteY115" fmla="*/ 3427 h 9891"/>
                    <a:gd name="connsiteX116" fmla="*/ 4389 w 10000"/>
                    <a:gd name="connsiteY116" fmla="*/ 3427 h 9891"/>
                    <a:gd name="connsiteX117" fmla="*/ 4000 w 10000"/>
                    <a:gd name="connsiteY117" fmla="*/ 3427 h 9891"/>
                    <a:gd name="connsiteX118" fmla="*/ 3722 w 10000"/>
                    <a:gd name="connsiteY118" fmla="*/ 3485 h 9891"/>
                    <a:gd name="connsiteX119" fmla="*/ 3611 w 10000"/>
                    <a:gd name="connsiteY119" fmla="*/ 3544 h 9891"/>
                    <a:gd name="connsiteX120" fmla="*/ 3556 w 10000"/>
                    <a:gd name="connsiteY120" fmla="*/ 3597 h 9891"/>
                    <a:gd name="connsiteX121" fmla="*/ 3556 w 10000"/>
                    <a:gd name="connsiteY121" fmla="*/ 3597 h 9891"/>
                    <a:gd name="connsiteX122" fmla="*/ 3444 w 10000"/>
                    <a:gd name="connsiteY122" fmla="*/ 3820 h 9891"/>
                    <a:gd name="connsiteX123" fmla="*/ 3278 w 10000"/>
                    <a:gd name="connsiteY123" fmla="*/ 4160 h 9891"/>
                    <a:gd name="connsiteX124" fmla="*/ 3000 w 10000"/>
                    <a:gd name="connsiteY124" fmla="*/ 4555 h 9891"/>
                    <a:gd name="connsiteX125" fmla="*/ 2667 w 10000"/>
                    <a:gd name="connsiteY125" fmla="*/ 4832 h 9891"/>
                    <a:gd name="connsiteX126" fmla="*/ 2667 w 10000"/>
                    <a:gd name="connsiteY126" fmla="*/ 4832 h 9891"/>
                    <a:gd name="connsiteX127" fmla="*/ 2333 w 10000"/>
                    <a:gd name="connsiteY127" fmla="*/ 5057 h 9891"/>
                    <a:gd name="connsiteX128" fmla="*/ 1833 w 10000"/>
                    <a:gd name="connsiteY128" fmla="*/ 5284 h 9891"/>
                    <a:gd name="connsiteX129" fmla="*/ 1389 w 10000"/>
                    <a:gd name="connsiteY129" fmla="*/ 5398 h 9891"/>
                    <a:gd name="connsiteX130" fmla="*/ 889 w 10000"/>
                    <a:gd name="connsiteY130" fmla="*/ 5450 h 9891"/>
                    <a:gd name="connsiteX131" fmla="*/ 889 w 10000"/>
                    <a:gd name="connsiteY131" fmla="*/ 5450 h 9891"/>
                    <a:gd name="connsiteX132" fmla="*/ 500 w 10000"/>
                    <a:gd name="connsiteY132" fmla="*/ 5508 h 9891"/>
                    <a:gd name="connsiteX133" fmla="*/ 222 w 10000"/>
                    <a:gd name="connsiteY133" fmla="*/ 5568 h 9891"/>
                    <a:gd name="connsiteX134" fmla="*/ 0 w 10000"/>
                    <a:gd name="connsiteY134" fmla="*/ 5625 h 9891"/>
                    <a:gd name="connsiteX135" fmla="*/ 0 w 10000"/>
                    <a:gd name="connsiteY135" fmla="*/ 5625 h 9891"/>
                    <a:gd name="connsiteX136" fmla="*/ 278 w 10000"/>
                    <a:gd name="connsiteY136" fmla="*/ 6517 h 9891"/>
                    <a:gd name="connsiteX137" fmla="*/ 500 w 10000"/>
                    <a:gd name="connsiteY137" fmla="*/ 7194 h 9891"/>
                    <a:gd name="connsiteX138" fmla="*/ 722 w 10000"/>
                    <a:gd name="connsiteY138" fmla="*/ 7757 h 9891"/>
                    <a:gd name="connsiteX139" fmla="*/ 722 w 10000"/>
                    <a:gd name="connsiteY139" fmla="*/ 7757 h 9891"/>
                    <a:gd name="connsiteX140" fmla="*/ 889 w 10000"/>
                    <a:gd name="connsiteY140" fmla="*/ 8095 h 9891"/>
                    <a:gd name="connsiteX141" fmla="*/ 944 w 10000"/>
                    <a:gd name="connsiteY141" fmla="*/ 8375 h 9891"/>
                    <a:gd name="connsiteX142" fmla="*/ 1111 w 10000"/>
                    <a:gd name="connsiteY142" fmla="*/ 8656 h 9891"/>
                    <a:gd name="connsiteX143" fmla="*/ 1333 w 10000"/>
                    <a:gd name="connsiteY143" fmla="*/ 9104 h 9891"/>
                    <a:gd name="connsiteX144" fmla="*/ 1333 w 10000"/>
                    <a:gd name="connsiteY144" fmla="*/ 9104 h 9891"/>
                    <a:gd name="connsiteX145" fmla="*/ 1444 w 10000"/>
                    <a:gd name="connsiteY145" fmla="*/ 9331 h 9891"/>
                    <a:gd name="connsiteX146" fmla="*/ 1500 w 10000"/>
                    <a:gd name="connsiteY146" fmla="*/ 9498 h 9891"/>
                    <a:gd name="connsiteX147" fmla="*/ 1500 w 10000"/>
                    <a:gd name="connsiteY147" fmla="*/ 9664 h 9891"/>
                    <a:gd name="connsiteX148" fmla="*/ 1556 w 10000"/>
                    <a:gd name="connsiteY148" fmla="*/ 9725 h 9891"/>
                    <a:gd name="connsiteX149" fmla="*/ 1722 w 10000"/>
                    <a:gd name="connsiteY149" fmla="*/ 9777 h 9891"/>
                    <a:gd name="connsiteX150" fmla="*/ 1944 w 10000"/>
                    <a:gd name="connsiteY150" fmla="*/ 9831 h 9891"/>
                    <a:gd name="connsiteX151" fmla="*/ 2944 w 10000"/>
                    <a:gd name="connsiteY151" fmla="*/ 9891 h 9891"/>
                    <a:gd name="connsiteX152" fmla="*/ 2944 w 10000"/>
                    <a:gd name="connsiteY152" fmla="*/ 9891 h 9891"/>
                    <a:gd name="connsiteX0" fmla="*/ 10000 w 10000"/>
                    <a:gd name="connsiteY0" fmla="*/ 7786 h 10000"/>
                    <a:gd name="connsiteX1" fmla="*/ 10000 w 10000"/>
                    <a:gd name="connsiteY1" fmla="*/ 7786 h 10000"/>
                    <a:gd name="connsiteX2" fmla="*/ 9222 w 10000"/>
                    <a:gd name="connsiteY2" fmla="*/ 7842 h 10000"/>
                    <a:gd name="connsiteX3" fmla="*/ 8944 w 10000"/>
                    <a:gd name="connsiteY3" fmla="*/ 7842 h 10000"/>
                    <a:gd name="connsiteX4" fmla="*/ 8833 w 10000"/>
                    <a:gd name="connsiteY4" fmla="*/ 7786 h 10000"/>
                    <a:gd name="connsiteX5" fmla="*/ 8778 w 10000"/>
                    <a:gd name="connsiteY5" fmla="*/ 7728 h 10000"/>
                    <a:gd name="connsiteX6" fmla="*/ 8778 w 10000"/>
                    <a:gd name="connsiteY6" fmla="*/ 7728 h 10000"/>
                    <a:gd name="connsiteX7" fmla="*/ 8444 w 10000"/>
                    <a:gd name="connsiteY7" fmla="*/ 7043 h 10000"/>
                    <a:gd name="connsiteX8" fmla="*/ 8167 w 10000"/>
                    <a:gd name="connsiteY8" fmla="*/ 6421 h 10000"/>
                    <a:gd name="connsiteX9" fmla="*/ 8167 w 10000"/>
                    <a:gd name="connsiteY9" fmla="*/ 6421 h 10000"/>
                    <a:gd name="connsiteX10" fmla="*/ 8056 w 10000"/>
                    <a:gd name="connsiteY10" fmla="*/ 6310 h 10000"/>
                    <a:gd name="connsiteX11" fmla="*/ 7889 w 10000"/>
                    <a:gd name="connsiteY11" fmla="*/ 6195 h 10000"/>
                    <a:gd name="connsiteX12" fmla="*/ 7444 w 10000"/>
                    <a:gd name="connsiteY12" fmla="*/ 6134 h 10000"/>
                    <a:gd name="connsiteX13" fmla="*/ 6889 w 10000"/>
                    <a:gd name="connsiteY13" fmla="*/ 6078 h 10000"/>
                    <a:gd name="connsiteX14" fmla="*/ 6389 w 10000"/>
                    <a:gd name="connsiteY14" fmla="*/ 6078 h 10000"/>
                    <a:gd name="connsiteX15" fmla="*/ 6389 w 10000"/>
                    <a:gd name="connsiteY15" fmla="*/ 6078 h 10000"/>
                    <a:gd name="connsiteX16" fmla="*/ 6167 w 10000"/>
                    <a:gd name="connsiteY16" fmla="*/ 6022 h 10000"/>
                    <a:gd name="connsiteX17" fmla="*/ 6056 w 10000"/>
                    <a:gd name="connsiteY17" fmla="*/ 5913 h 10000"/>
                    <a:gd name="connsiteX18" fmla="*/ 6000 w 10000"/>
                    <a:gd name="connsiteY18" fmla="*/ 5798 h 10000"/>
                    <a:gd name="connsiteX19" fmla="*/ 6000 w 10000"/>
                    <a:gd name="connsiteY19" fmla="*/ 5569 h 10000"/>
                    <a:gd name="connsiteX20" fmla="*/ 6056 w 10000"/>
                    <a:gd name="connsiteY20" fmla="*/ 5113 h 10000"/>
                    <a:gd name="connsiteX21" fmla="*/ 6111 w 10000"/>
                    <a:gd name="connsiteY21" fmla="*/ 4885 h 10000"/>
                    <a:gd name="connsiteX22" fmla="*/ 6056 w 10000"/>
                    <a:gd name="connsiteY22" fmla="*/ 4605 h 10000"/>
                    <a:gd name="connsiteX23" fmla="*/ 6056 w 10000"/>
                    <a:gd name="connsiteY23" fmla="*/ 4605 h 10000"/>
                    <a:gd name="connsiteX24" fmla="*/ 6000 w 10000"/>
                    <a:gd name="connsiteY24" fmla="*/ 4431 h 10000"/>
                    <a:gd name="connsiteX25" fmla="*/ 5944 w 10000"/>
                    <a:gd name="connsiteY25" fmla="*/ 4316 h 10000"/>
                    <a:gd name="connsiteX26" fmla="*/ 5833 w 10000"/>
                    <a:gd name="connsiteY26" fmla="*/ 4316 h 10000"/>
                    <a:gd name="connsiteX27" fmla="*/ 5667 w 10000"/>
                    <a:gd name="connsiteY27" fmla="*/ 4375 h 10000"/>
                    <a:gd name="connsiteX28" fmla="*/ 5333 w 10000"/>
                    <a:gd name="connsiteY28" fmla="*/ 4544 h 10000"/>
                    <a:gd name="connsiteX29" fmla="*/ 4889 w 10000"/>
                    <a:gd name="connsiteY29" fmla="*/ 4831 h 10000"/>
                    <a:gd name="connsiteX30" fmla="*/ 4889 w 10000"/>
                    <a:gd name="connsiteY30" fmla="*/ 4831 h 10000"/>
                    <a:gd name="connsiteX31" fmla="*/ 4611 w 10000"/>
                    <a:gd name="connsiteY31" fmla="*/ 4885 h 10000"/>
                    <a:gd name="connsiteX32" fmla="*/ 4500 w 10000"/>
                    <a:gd name="connsiteY32" fmla="*/ 4885 h 10000"/>
                    <a:gd name="connsiteX33" fmla="*/ 4444 w 10000"/>
                    <a:gd name="connsiteY33" fmla="*/ 4831 h 10000"/>
                    <a:gd name="connsiteX34" fmla="*/ 4389 w 10000"/>
                    <a:gd name="connsiteY34" fmla="*/ 4605 h 10000"/>
                    <a:gd name="connsiteX35" fmla="*/ 4222 w 10000"/>
                    <a:gd name="connsiteY35" fmla="*/ 4316 h 10000"/>
                    <a:gd name="connsiteX36" fmla="*/ 4222 w 10000"/>
                    <a:gd name="connsiteY36" fmla="*/ 4316 h 10000"/>
                    <a:gd name="connsiteX37" fmla="*/ 4111 w 10000"/>
                    <a:gd name="connsiteY37" fmla="*/ 4151 h 10000"/>
                    <a:gd name="connsiteX38" fmla="*/ 4111 w 10000"/>
                    <a:gd name="connsiteY38" fmla="*/ 3978 h 10000"/>
                    <a:gd name="connsiteX39" fmla="*/ 4111 w 10000"/>
                    <a:gd name="connsiteY39" fmla="*/ 3862 h 10000"/>
                    <a:gd name="connsiteX40" fmla="*/ 4167 w 10000"/>
                    <a:gd name="connsiteY40" fmla="*/ 3751 h 10000"/>
                    <a:gd name="connsiteX41" fmla="*/ 4278 w 10000"/>
                    <a:gd name="connsiteY41" fmla="*/ 3523 h 10000"/>
                    <a:gd name="connsiteX42" fmla="*/ 4389 w 10000"/>
                    <a:gd name="connsiteY42" fmla="*/ 3465 h 10000"/>
                    <a:gd name="connsiteX43" fmla="*/ 4389 w 10000"/>
                    <a:gd name="connsiteY43" fmla="*/ 3465 h 10000"/>
                    <a:gd name="connsiteX44" fmla="*/ 4389 w 10000"/>
                    <a:gd name="connsiteY44" fmla="*/ 3411 h 10000"/>
                    <a:gd name="connsiteX45" fmla="*/ 4444 w 10000"/>
                    <a:gd name="connsiteY45" fmla="*/ 3353 h 10000"/>
                    <a:gd name="connsiteX46" fmla="*/ 4667 w 10000"/>
                    <a:gd name="connsiteY46" fmla="*/ 3295 h 10000"/>
                    <a:gd name="connsiteX47" fmla="*/ 5333 w 10000"/>
                    <a:gd name="connsiteY47" fmla="*/ 3186 h 10000"/>
                    <a:gd name="connsiteX48" fmla="*/ 6500 w 10000"/>
                    <a:gd name="connsiteY48" fmla="*/ 3014 h 10000"/>
                    <a:gd name="connsiteX49" fmla="*/ 6500 w 10000"/>
                    <a:gd name="connsiteY49" fmla="*/ 3014 h 10000"/>
                    <a:gd name="connsiteX50" fmla="*/ 7167 w 10000"/>
                    <a:gd name="connsiteY50" fmla="*/ 2842 h 10000"/>
                    <a:gd name="connsiteX51" fmla="*/ 8389 w 10000"/>
                    <a:gd name="connsiteY51" fmla="*/ 2499 h 10000"/>
                    <a:gd name="connsiteX52" fmla="*/ 8389 w 10000"/>
                    <a:gd name="connsiteY52" fmla="*/ 2499 h 10000"/>
                    <a:gd name="connsiteX53" fmla="*/ 8667 w 10000"/>
                    <a:gd name="connsiteY53" fmla="*/ 2381 h 10000"/>
                    <a:gd name="connsiteX54" fmla="*/ 8778 w 10000"/>
                    <a:gd name="connsiteY54" fmla="*/ 2214 h 10000"/>
                    <a:gd name="connsiteX55" fmla="*/ 8889 w 10000"/>
                    <a:gd name="connsiteY55" fmla="*/ 2102 h 10000"/>
                    <a:gd name="connsiteX56" fmla="*/ 8833 w 10000"/>
                    <a:gd name="connsiteY56" fmla="*/ 1987 h 10000"/>
                    <a:gd name="connsiteX57" fmla="*/ 8833 w 10000"/>
                    <a:gd name="connsiteY57" fmla="*/ 1873 h 10000"/>
                    <a:gd name="connsiteX58" fmla="*/ 8722 w 10000"/>
                    <a:gd name="connsiteY58" fmla="*/ 1760 h 10000"/>
                    <a:gd name="connsiteX59" fmla="*/ 8556 w 10000"/>
                    <a:gd name="connsiteY59" fmla="*/ 1591 h 10000"/>
                    <a:gd name="connsiteX60" fmla="*/ 8556 w 10000"/>
                    <a:gd name="connsiteY60" fmla="*/ 1591 h 10000"/>
                    <a:gd name="connsiteX61" fmla="*/ 6556 w 10000"/>
                    <a:gd name="connsiteY61" fmla="*/ 570 h 10000"/>
                    <a:gd name="connsiteX62" fmla="*/ 6556 w 10000"/>
                    <a:gd name="connsiteY62" fmla="*/ 570 h 10000"/>
                    <a:gd name="connsiteX63" fmla="*/ 6333 w 10000"/>
                    <a:gd name="connsiteY63" fmla="*/ 402 h 10000"/>
                    <a:gd name="connsiteX64" fmla="*/ 6167 w 10000"/>
                    <a:gd name="connsiteY64" fmla="*/ 231 h 10000"/>
                    <a:gd name="connsiteX65" fmla="*/ 6056 w 10000"/>
                    <a:gd name="connsiteY65" fmla="*/ 58 h 10000"/>
                    <a:gd name="connsiteX66" fmla="*/ 6056 w 10000"/>
                    <a:gd name="connsiteY66" fmla="*/ 58 h 10000"/>
                    <a:gd name="connsiteX67" fmla="*/ 8056 w 10000"/>
                    <a:gd name="connsiteY67" fmla="*/ 0 h 10000"/>
                    <a:gd name="connsiteX68" fmla="*/ 10000 w 10000"/>
                    <a:gd name="connsiteY68" fmla="*/ 570 h 10000"/>
                    <a:gd name="connsiteX69" fmla="*/ 10000 w 10000"/>
                    <a:gd name="connsiteY69" fmla="*/ 7842 h 10000"/>
                    <a:gd name="connsiteX70" fmla="*/ 10000 w 10000"/>
                    <a:gd name="connsiteY70" fmla="*/ 7842 h 10000"/>
                    <a:gd name="connsiteX71" fmla="*/ 9722 w 10000"/>
                    <a:gd name="connsiteY71" fmla="*/ 7786 h 10000"/>
                    <a:gd name="connsiteX72" fmla="*/ 9389 w 10000"/>
                    <a:gd name="connsiteY72" fmla="*/ 7842 h 10000"/>
                    <a:gd name="connsiteX73" fmla="*/ 9389 w 10000"/>
                    <a:gd name="connsiteY73" fmla="*/ 7842 h 10000"/>
                    <a:gd name="connsiteX74" fmla="*/ 9278 w 10000"/>
                    <a:gd name="connsiteY74" fmla="*/ 7901 h 10000"/>
                    <a:gd name="connsiteX75" fmla="*/ 9056 w 10000"/>
                    <a:gd name="connsiteY75" fmla="*/ 7842 h 10000"/>
                    <a:gd name="connsiteX76" fmla="*/ 8889 w 10000"/>
                    <a:gd name="connsiteY76" fmla="*/ 7786 h 10000"/>
                    <a:gd name="connsiteX77" fmla="*/ 8722 w 10000"/>
                    <a:gd name="connsiteY77" fmla="*/ 7668 h 10000"/>
                    <a:gd name="connsiteX78" fmla="*/ 8611 w 10000"/>
                    <a:gd name="connsiteY78" fmla="*/ 7499 h 10000"/>
                    <a:gd name="connsiteX79" fmla="*/ 8444 w 10000"/>
                    <a:gd name="connsiteY79" fmla="*/ 7217 h 10000"/>
                    <a:gd name="connsiteX80" fmla="*/ 8444 w 10000"/>
                    <a:gd name="connsiteY80" fmla="*/ 7217 h 10000"/>
                    <a:gd name="connsiteX81" fmla="*/ 8222 w 10000"/>
                    <a:gd name="connsiteY81" fmla="*/ 6707 h 10000"/>
                    <a:gd name="connsiteX82" fmla="*/ 8111 w 10000"/>
                    <a:gd name="connsiteY82" fmla="*/ 6477 h 10000"/>
                    <a:gd name="connsiteX83" fmla="*/ 7944 w 10000"/>
                    <a:gd name="connsiteY83" fmla="*/ 6310 h 10000"/>
                    <a:gd name="connsiteX84" fmla="*/ 7778 w 10000"/>
                    <a:gd name="connsiteY84" fmla="*/ 6195 h 10000"/>
                    <a:gd name="connsiteX85" fmla="*/ 7556 w 10000"/>
                    <a:gd name="connsiteY85" fmla="*/ 6134 h 10000"/>
                    <a:gd name="connsiteX86" fmla="*/ 7333 w 10000"/>
                    <a:gd name="connsiteY86" fmla="*/ 6078 h 10000"/>
                    <a:gd name="connsiteX87" fmla="*/ 7000 w 10000"/>
                    <a:gd name="connsiteY87" fmla="*/ 6022 h 10000"/>
                    <a:gd name="connsiteX88" fmla="*/ 7000 w 10000"/>
                    <a:gd name="connsiteY88" fmla="*/ 6022 h 10000"/>
                    <a:gd name="connsiteX89" fmla="*/ 6556 w 10000"/>
                    <a:gd name="connsiteY89" fmla="*/ 6078 h 10000"/>
                    <a:gd name="connsiteX90" fmla="*/ 6222 w 10000"/>
                    <a:gd name="connsiteY90" fmla="*/ 6078 h 10000"/>
                    <a:gd name="connsiteX91" fmla="*/ 6111 w 10000"/>
                    <a:gd name="connsiteY91" fmla="*/ 6022 h 10000"/>
                    <a:gd name="connsiteX92" fmla="*/ 6056 w 10000"/>
                    <a:gd name="connsiteY92" fmla="*/ 5965 h 10000"/>
                    <a:gd name="connsiteX93" fmla="*/ 6056 w 10000"/>
                    <a:gd name="connsiteY93" fmla="*/ 5965 h 10000"/>
                    <a:gd name="connsiteX94" fmla="*/ 6056 w 10000"/>
                    <a:gd name="connsiteY94" fmla="*/ 4943 h 10000"/>
                    <a:gd name="connsiteX95" fmla="*/ 6056 w 10000"/>
                    <a:gd name="connsiteY95" fmla="*/ 4943 h 10000"/>
                    <a:gd name="connsiteX96" fmla="*/ 6056 w 10000"/>
                    <a:gd name="connsiteY96" fmla="*/ 4714 h 10000"/>
                    <a:gd name="connsiteX97" fmla="*/ 5944 w 10000"/>
                    <a:gd name="connsiteY97" fmla="*/ 4431 h 10000"/>
                    <a:gd name="connsiteX98" fmla="*/ 5889 w 10000"/>
                    <a:gd name="connsiteY98" fmla="*/ 4375 h 10000"/>
                    <a:gd name="connsiteX99" fmla="*/ 5778 w 10000"/>
                    <a:gd name="connsiteY99" fmla="*/ 4316 h 10000"/>
                    <a:gd name="connsiteX100" fmla="*/ 5667 w 10000"/>
                    <a:gd name="connsiteY100" fmla="*/ 4316 h 10000"/>
                    <a:gd name="connsiteX101" fmla="*/ 5500 w 10000"/>
                    <a:gd name="connsiteY101" fmla="*/ 4375 h 10000"/>
                    <a:gd name="connsiteX102" fmla="*/ 5500 w 10000"/>
                    <a:gd name="connsiteY102" fmla="*/ 4375 h 10000"/>
                    <a:gd name="connsiteX103" fmla="*/ 4889 w 10000"/>
                    <a:gd name="connsiteY103" fmla="*/ 4773 h 10000"/>
                    <a:gd name="connsiteX104" fmla="*/ 4611 w 10000"/>
                    <a:gd name="connsiteY104" fmla="*/ 4885 h 10000"/>
                    <a:gd name="connsiteX105" fmla="*/ 4556 w 10000"/>
                    <a:gd name="connsiteY105" fmla="*/ 4943 h 10000"/>
                    <a:gd name="connsiteX106" fmla="*/ 4500 w 10000"/>
                    <a:gd name="connsiteY106" fmla="*/ 4885 h 10000"/>
                    <a:gd name="connsiteX107" fmla="*/ 4500 w 10000"/>
                    <a:gd name="connsiteY107" fmla="*/ 4885 h 10000"/>
                    <a:gd name="connsiteX108" fmla="*/ 4222 w 10000"/>
                    <a:gd name="connsiteY108" fmla="*/ 4316 h 10000"/>
                    <a:gd name="connsiteX109" fmla="*/ 4222 w 10000"/>
                    <a:gd name="connsiteY109" fmla="*/ 4316 h 10000"/>
                    <a:gd name="connsiteX110" fmla="*/ 4111 w 10000"/>
                    <a:gd name="connsiteY110" fmla="*/ 4035 h 10000"/>
                    <a:gd name="connsiteX111" fmla="*/ 4111 w 10000"/>
                    <a:gd name="connsiteY111" fmla="*/ 3862 h 10000"/>
                    <a:gd name="connsiteX112" fmla="*/ 4111 w 10000"/>
                    <a:gd name="connsiteY112" fmla="*/ 3694 h 10000"/>
                    <a:gd name="connsiteX113" fmla="*/ 4111 w 10000"/>
                    <a:gd name="connsiteY113" fmla="*/ 3694 h 10000"/>
                    <a:gd name="connsiteX114" fmla="*/ 4278 w 10000"/>
                    <a:gd name="connsiteY114" fmla="*/ 3523 h 10000"/>
                    <a:gd name="connsiteX115" fmla="*/ 4389 w 10000"/>
                    <a:gd name="connsiteY115" fmla="*/ 3465 h 10000"/>
                    <a:gd name="connsiteX116" fmla="*/ 4389 w 10000"/>
                    <a:gd name="connsiteY116" fmla="*/ 3465 h 10000"/>
                    <a:gd name="connsiteX117" fmla="*/ 4000 w 10000"/>
                    <a:gd name="connsiteY117" fmla="*/ 3465 h 10000"/>
                    <a:gd name="connsiteX118" fmla="*/ 3722 w 10000"/>
                    <a:gd name="connsiteY118" fmla="*/ 3523 h 10000"/>
                    <a:gd name="connsiteX119" fmla="*/ 3611 w 10000"/>
                    <a:gd name="connsiteY119" fmla="*/ 3583 h 10000"/>
                    <a:gd name="connsiteX120" fmla="*/ 3556 w 10000"/>
                    <a:gd name="connsiteY120" fmla="*/ 3637 h 10000"/>
                    <a:gd name="connsiteX121" fmla="*/ 3556 w 10000"/>
                    <a:gd name="connsiteY121" fmla="*/ 3637 h 10000"/>
                    <a:gd name="connsiteX122" fmla="*/ 3444 w 10000"/>
                    <a:gd name="connsiteY122" fmla="*/ 3862 h 10000"/>
                    <a:gd name="connsiteX123" fmla="*/ 3278 w 10000"/>
                    <a:gd name="connsiteY123" fmla="*/ 4206 h 10000"/>
                    <a:gd name="connsiteX124" fmla="*/ 3000 w 10000"/>
                    <a:gd name="connsiteY124" fmla="*/ 4605 h 10000"/>
                    <a:gd name="connsiteX125" fmla="*/ 2667 w 10000"/>
                    <a:gd name="connsiteY125" fmla="*/ 4885 h 10000"/>
                    <a:gd name="connsiteX126" fmla="*/ 2667 w 10000"/>
                    <a:gd name="connsiteY126" fmla="*/ 4885 h 10000"/>
                    <a:gd name="connsiteX127" fmla="*/ 2333 w 10000"/>
                    <a:gd name="connsiteY127" fmla="*/ 5113 h 10000"/>
                    <a:gd name="connsiteX128" fmla="*/ 1833 w 10000"/>
                    <a:gd name="connsiteY128" fmla="*/ 5342 h 10000"/>
                    <a:gd name="connsiteX129" fmla="*/ 1389 w 10000"/>
                    <a:gd name="connsiteY129" fmla="*/ 5457 h 10000"/>
                    <a:gd name="connsiteX130" fmla="*/ 889 w 10000"/>
                    <a:gd name="connsiteY130" fmla="*/ 5510 h 10000"/>
                    <a:gd name="connsiteX131" fmla="*/ 889 w 10000"/>
                    <a:gd name="connsiteY131" fmla="*/ 5510 h 10000"/>
                    <a:gd name="connsiteX132" fmla="*/ 500 w 10000"/>
                    <a:gd name="connsiteY132" fmla="*/ 5569 h 10000"/>
                    <a:gd name="connsiteX133" fmla="*/ 222 w 10000"/>
                    <a:gd name="connsiteY133" fmla="*/ 5629 h 10000"/>
                    <a:gd name="connsiteX134" fmla="*/ 0 w 10000"/>
                    <a:gd name="connsiteY134" fmla="*/ 5687 h 10000"/>
                    <a:gd name="connsiteX135" fmla="*/ 0 w 10000"/>
                    <a:gd name="connsiteY135" fmla="*/ 5687 h 10000"/>
                    <a:gd name="connsiteX136" fmla="*/ 278 w 10000"/>
                    <a:gd name="connsiteY136" fmla="*/ 6589 h 10000"/>
                    <a:gd name="connsiteX137" fmla="*/ 500 w 10000"/>
                    <a:gd name="connsiteY137" fmla="*/ 7273 h 10000"/>
                    <a:gd name="connsiteX138" fmla="*/ 722 w 10000"/>
                    <a:gd name="connsiteY138" fmla="*/ 7842 h 10000"/>
                    <a:gd name="connsiteX139" fmla="*/ 722 w 10000"/>
                    <a:gd name="connsiteY139" fmla="*/ 7842 h 10000"/>
                    <a:gd name="connsiteX140" fmla="*/ 889 w 10000"/>
                    <a:gd name="connsiteY140" fmla="*/ 8184 h 10000"/>
                    <a:gd name="connsiteX141" fmla="*/ 944 w 10000"/>
                    <a:gd name="connsiteY141" fmla="*/ 8467 h 10000"/>
                    <a:gd name="connsiteX142" fmla="*/ 1111 w 10000"/>
                    <a:gd name="connsiteY142" fmla="*/ 8751 h 10000"/>
                    <a:gd name="connsiteX143" fmla="*/ 1333 w 10000"/>
                    <a:gd name="connsiteY143" fmla="*/ 9204 h 10000"/>
                    <a:gd name="connsiteX144" fmla="*/ 1333 w 10000"/>
                    <a:gd name="connsiteY144" fmla="*/ 9204 h 10000"/>
                    <a:gd name="connsiteX145" fmla="*/ 1444 w 10000"/>
                    <a:gd name="connsiteY145" fmla="*/ 9434 h 10000"/>
                    <a:gd name="connsiteX146" fmla="*/ 1500 w 10000"/>
                    <a:gd name="connsiteY146" fmla="*/ 9603 h 10000"/>
                    <a:gd name="connsiteX147" fmla="*/ 1500 w 10000"/>
                    <a:gd name="connsiteY147" fmla="*/ 9770 h 10000"/>
                    <a:gd name="connsiteX148" fmla="*/ 1556 w 10000"/>
                    <a:gd name="connsiteY148" fmla="*/ 9832 h 10000"/>
                    <a:gd name="connsiteX149" fmla="*/ 1722 w 10000"/>
                    <a:gd name="connsiteY149" fmla="*/ 9885 h 10000"/>
                    <a:gd name="connsiteX150" fmla="*/ 1944 w 10000"/>
                    <a:gd name="connsiteY150" fmla="*/ 9939 h 10000"/>
                    <a:gd name="connsiteX151" fmla="*/ 2944 w 10000"/>
                    <a:gd name="connsiteY151" fmla="*/ 10000 h 10000"/>
                    <a:gd name="connsiteX0" fmla="*/ 10000 w 10000"/>
                    <a:gd name="connsiteY0" fmla="*/ 7786 h 10000"/>
                    <a:gd name="connsiteX1" fmla="*/ 10000 w 10000"/>
                    <a:gd name="connsiteY1" fmla="*/ 7786 h 10000"/>
                    <a:gd name="connsiteX2" fmla="*/ 9222 w 10000"/>
                    <a:gd name="connsiteY2" fmla="*/ 7842 h 10000"/>
                    <a:gd name="connsiteX3" fmla="*/ 8944 w 10000"/>
                    <a:gd name="connsiteY3" fmla="*/ 7842 h 10000"/>
                    <a:gd name="connsiteX4" fmla="*/ 8833 w 10000"/>
                    <a:gd name="connsiteY4" fmla="*/ 7786 h 10000"/>
                    <a:gd name="connsiteX5" fmla="*/ 8778 w 10000"/>
                    <a:gd name="connsiteY5" fmla="*/ 7728 h 10000"/>
                    <a:gd name="connsiteX6" fmla="*/ 8778 w 10000"/>
                    <a:gd name="connsiteY6" fmla="*/ 7728 h 10000"/>
                    <a:gd name="connsiteX7" fmla="*/ 8444 w 10000"/>
                    <a:gd name="connsiteY7" fmla="*/ 7043 h 10000"/>
                    <a:gd name="connsiteX8" fmla="*/ 8167 w 10000"/>
                    <a:gd name="connsiteY8" fmla="*/ 6421 h 10000"/>
                    <a:gd name="connsiteX9" fmla="*/ 8167 w 10000"/>
                    <a:gd name="connsiteY9" fmla="*/ 6421 h 10000"/>
                    <a:gd name="connsiteX10" fmla="*/ 8056 w 10000"/>
                    <a:gd name="connsiteY10" fmla="*/ 6310 h 10000"/>
                    <a:gd name="connsiteX11" fmla="*/ 7889 w 10000"/>
                    <a:gd name="connsiteY11" fmla="*/ 6195 h 10000"/>
                    <a:gd name="connsiteX12" fmla="*/ 7444 w 10000"/>
                    <a:gd name="connsiteY12" fmla="*/ 6134 h 10000"/>
                    <a:gd name="connsiteX13" fmla="*/ 6889 w 10000"/>
                    <a:gd name="connsiteY13" fmla="*/ 6078 h 10000"/>
                    <a:gd name="connsiteX14" fmla="*/ 6389 w 10000"/>
                    <a:gd name="connsiteY14" fmla="*/ 6078 h 10000"/>
                    <a:gd name="connsiteX15" fmla="*/ 6389 w 10000"/>
                    <a:gd name="connsiteY15" fmla="*/ 6078 h 10000"/>
                    <a:gd name="connsiteX16" fmla="*/ 6167 w 10000"/>
                    <a:gd name="connsiteY16" fmla="*/ 6022 h 10000"/>
                    <a:gd name="connsiteX17" fmla="*/ 6056 w 10000"/>
                    <a:gd name="connsiteY17" fmla="*/ 5913 h 10000"/>
                    <a:gd name="connsiteX18" fmla="*/ 6000 w 10000"/>
                    <a:gd name="connsiteY18" fmla="*/ 5798 h 10000"/>
                    <a:gd name="connsiteX19" fmla="*/ 6000 w 10000"/>
                    <a:gd name="connsiteY19" fmla="*/ 5569 h 10000"/>
                    <a:gd name="connsiteX20" fmla="*/ 6056 w 10000"/>
                    <a:gd name="connsiteY20" fmla="*/ 5113 h 10000"/>
                    <a:gd name="connsiteX21" fmla="*/ 6111 w 10000"/>
                    <a:gd name="connsiteY21" fmla="*/ 4885 h 10000"/>
                    <a:gd name="connsiteX22" fmla="*/ 6056 w 10000"/>
                    <a:gd name="connsiteY22" fmla="*/ 4605 h 10000"/>
                    <a:gd name="connsiteX23" fmla="*/ 6056 w 10000"/>
                    <a:gd name="connsiteY23" fmla="*/ 4605 h 10000"/>
                    <a:gd name="connsiteX24" fmla="*/ 6000 w 10000"/>
                    <a:gd name="connsiteY24" fmla="*/ 4431 h 10000"/>
                    <a:gd name="connsiteX25" fmla="*/ 5944 w 10000"/>
                    <a:gd name="connsiteY25" fmla="*/ 4316 h 10000"/>
                    <a:gd name="connsiteX26" fmla="*/ 5833 w 10000"/>
                    <a:gd name="connsiteY26" fmla="*/ 4316 h 10000"/>
                    <a:gd name="connsiteX27" fmla="*/ 5667 w 10000"/>
                    <a:gd name="connsiteY27" fmla="*/ 4375 h 10000"/>
                    <a:gd name="connsiteX28" fmla="*/ 5333 w 10000"/>
                    <a:gd name="connsiteY28" fmla="*/ 4544 h 10000"/>
                    <a:gd name="connsiteX29" fmla="*/ 4889 w 10000"/>
                    <a:gd name="connsiteY29" fmla="*/ 4831 h 10000"/>
                    <a:gd name="connsiteX30" fmla="*/ 4889 w 10000"/>
                    <a:gd name="connsiteY30" fmla="*/ 4831 h 10000"/>
                    <a:gd name="connsiteX31" fmla="*/ 4611 w 10000"/>
                    <a:gd name="connsiteY31" fmla="*/ 4885 h 10000"/>
                    <a:gd name="connsiteX32" fmla="*/ 4500 w 10000"/>
                    <a:gd name="connsiteY32" fmla="*/ 4885 h 10000"/>
                    <a:gd name="connsiteX33" fmla="*/ 4444 w 10000"/>
                    <a:gd name="connsiteY33" fmla="*/ 4831 h 10000"/>
                    <a:gd name="connsiteX34" fmla="*/ 4389 w 10000"/>
                    <a:gd name="connsiteY34" fmla="*/ 4605 h 10000"/>
                    <a:gd name="connsiteX35" fmla="*/ 4222 w 10000"/>
                    <a:gd name="connsiteY35" fmla="*/ 4316 h 10000"/>
                    <a:gd name="connsiteX36" fmla="*/ 4222 w 10000"/>
                    <a:gd name="connsiteY36" fmla="*/ 4316 h 10000"/>
                    <a:gd name="connsiteX37" fmla="*/ 4111 w 10000"/>
                    <a:gd name="connsiteY37" fmla="*/ 4151 h 10000"/>
                    <a:gd name="connsiteX38" fmla="*/ 4111 w 10000"/>
                    <a:gd name="connsiteY38" fmla="*/ 3978 h 10000"/>
                    <a:gd name="connsiteX39" fmla="*/ 4111 w 10000"/>
                    <a:gd name="connsiteY39" fmla="*/ 3862 h 10000"/>
                    <a:gd name="connsiteX40" fmla="*/ 4167 w 10000"/>
                    <a:gd name="connsiteY40" fmla="*/ 3751 h 10000"/>
                    <a:gd name="connsiteX41" fmla="*/ 4278 w 10000"/>
                    <a:gd name="connsiteY41" fmla="*/ 3523 h 10000"/>
                    <a:gd name="connsiteX42" fmla="*/ 4389 w 10000"/>
                    <a:gd name="connsiteY42" fmla="*/ 3465 h 10000"/>
                    <a:gd name="connsiteX43" fmla="*/ 4389 w 10000"/>
                    <a:gd name="connsiteY43" fmla="*/ 3465 h 10000"/>
                    <a:gd name="connsiteX44" fmla="*/ 4389 w 10000"/>
                    <a:gd name="connsiteY44" fmla="*/ 3411 h 10000"/>
                    <a:gd name="connsiteX45" fmla="*/ 4444 w 10000"/>
                    <a:gd name="connsiteY45" fmla="*/ 3353 h 10000"/>
                    <a:gd name="connsiteX46" fmla="*/ 4667 w 10000"/>
                    <a:gd name="connsiteY46" fmla="*/ 3295 h 10000"/>
                    <a:gd name="connsiteX47" fmla="*/ 5333 w 10000"/>
                    <a:gd name="connsiteY47" fmla="*/ 3186 h 10000"/>
                    <a:gd name="connsiteX48" fmla="*/ 6500 w 10000"/>
                    <a:gd name="connsiteY48" fmla="*/ 3014 h 10000"/>
                    <a:gd name="connsiteX49" fmla="*/ 6500 w 10000"/>
                    <a:gd name="connsiteY49" fmla="*/ 3014 h 10000"/>
                    <a:gd name="connsiteX50" fmla="*/ 7167 w 10000"/>
                    <a:gd name="connsiteY50" fmla="*/ 2842 h 10000"/>
                    <a:gd name="connsiteX51" fmla="*/ 8389 w 10000"/>
                    <a:gd name="connsiteY51" fmla="*/ 2499 h 10000"/>
                    <a:gd name="connsiteX52" fmla="*/ 8389 w 10000"/>
                    <a:gd name="connsiteY52" fmla="*/ 2499 h 10000"/>
                    <a:gd name="connsiteX53" fmla="*/ 8667 w 10000"/>
                    <a:gd name="connsiteY53" fmla="*/ 2381 h 10000"/>
                    <a:gd name="connsiteX54" fmla="*/ 8778 w 10000"/>
                    <a:gd name="connsiteY54" fmla="*/ 2214 h 10000"/>
                    <a:gd name="connsiteX55" fmla="*/ 8889 w 10000"/>
                    <a:gd name="connsiteY55" fmla="*/ 2102 h 10000"/>
                    <a:gd name="connsiteX56" fmla="*/ 8833 w 10000"/>
                    <a:gd name="connsiteY56" fmla="*/ 1987 h 10000"/>
                    <a:gd name="connsiteX57" fmla="*/ 8833 w 10000"/>
                    <a:gd name="connsiteY57" fmla="*/ 1873 h 10000"/>
                    <a:gd name="connsiteX58" fmla="*/ 8722 w 10000"/>
                    <a:gd name="connsiteY58" fmla="*/ 1760 h 10000"/>
                    <a:gd name="connsiteX59" fmla="*/ 8556 w 10000"/>
                    <a:gd name="connsiteY59" fmla="*/ 1591 h 10000"/>
                    <a:gd name="connsiteX60" fmla="*/ 8556 w 10000"/>
                    <a:gd name="connsiteY60" fmla="*/ 1591 h 10000"/>
                    <a:gd name="connsiteX61" fmla="*/ 6556 w 10000"/>
                    <a:gd name="connsiteY61" fmla="*/ 570 h 10000"/>
                    <a:gd name="connsiteX62" fmla="*/ 6556 w 10000"/>
                    <a:gd name="connsiteY62" fmla="*/ 570 h 10000"/>
                    <a:gd name="connsiteX63" fmla="*/ 6333 w 10000"/>
                    <a:gd name="connsiteY63" fmla="*/ 402 h 10000"/>
                    <a:gd name="connsiteX64" fmla="*/ 6167 w 10000"/>
                    <a:gd name="connsiteY64" fmla="*/ 231 h 10000"/>
                    <a:gd name="connsiteX65" fmla="*/ 6056 w 10000"/>
                    <a:gd name="connsiteY65" fmla="*/ 58 h 10000"/>
                    <a:gd name="connsiteX66" fmla="*/ 6056 w 10000"/>
                    <a:gd name="connsiteY66" fmla="*/ 58 h 10000"/>
                    <a:gd name="connsiteX67" fmla="*/ 8056 w 10000"/>
                    <a:gd name="connsiteY67" fmla="*/ 0 h 10000"/>
                    <a:gd name="connsiteX68" fmla="*/ 10000 w 10000"/>
                    <a:gd name="connsiteY68" fmla="*/ 570 h 10000"/>
                    <a:gd name="connsiteX69" fmla="*/ 10000 w 10000"/>
                    <a:gd name="connsiteY69" fmla="*/ 7842 h 10000"/>
                    <a:gd name="connsiteX70" fmla="*/ 10000 w 10000"/>
                    <a:gd name="connsiteY70" fmla="*/ 7842 h 10000"/>
                    <a:gd name="connsiteX71" fmla="*/ 9722 w 10000"/>
                    <a:gd name="connsiteY71" fmla="*/ 7786 h 10000"/>
                    <a:gd name="connsiteX72" fmla="*/ 9389 w 10000"/>
                    <a:gd name="connsiteY72" fmla="*/ 7842 h 10000"/>
                    <a:gd name="connsiteX73" fmla="*/ 9389 w 10000"/>
                    <a:gd name="connsiteY73" fmla="*/ 7842 h 10000"/>
                    <a:gd name="connsiteX74" fmla="*/ 9278 w 10000"/>
                    <a:gd name="connsiteY74" fmla="*/ 7901 h 10000"/>
                    <a:gd name="connsiteX75" fmla="*/ 9056 w 10000"/>
                    <a:gd name="connsiteY75" fmla="*/ 7842 h 10000"/>
                    <a:gd name="connsiteX76" fmla="*/ 8889 w 10000"/>
                    <a:gd name="connsiteY76" fmla="*/ 7786 h 10000"/>
                    <a:gd name="connsiteX77" fmla="*/ 8722 w 10000"/>
                    <a:gd name="connsiteY77" fmla="*/ 7668 h 10000"/>
                    <a:gd name="connsiteX78" fmla="*/ 8611 w 10000"/>
                    <a:gd name="connsiteY78" fmla="*/ 7499 h 10000"/>
                    <a:gd name="connsiteX79" fmla="*/ 8444 w 10000"/>
                    <a:gd name="connsiteY79" fmla="*/ 7217 h 10000"/>
                    <a:gd name="connsiteX80" fmla="*/ 8444 w 10000"/>
                    <a:gd name="connsiteY80" fmla="*/ 7217 h 10000"/>
                    <a:gd name="connsiteX81" fmla="*/ 8222 w 10000"/>
                    <a:gd name="connsiteY81" fmla="*/ 6707 h 10000"/>
                    <a:gd name="connsiteX82" fmla="*/ 8111 w 10000"/>
                    <a:gd name="connsiteY82" fmla="*/ 6477 h 10000"/>
                    <a:gd name="connsiteX83" fmla="*/ 7944 w 10000"/>
                    <a:gd name="connsiteY83" fmla="*/ 6310 h 10000"/>
                    <a:gd name="connsiteX84" fmla="*/ 7778 w 10000"/>
                    <a:gd name="connsiteY84" fmla="*/ 6195 h 10000"/>
                    <a:gd name="connsiteX85" fmla="*/ 7556 w 10000"/>
                    <a:gd name="connsiteY85" fmla="*/ 6134 h 10000"/>
                    <a:gd name="connsiteX86" fmla="*/ 7333 w 10000"/>
                    <a:gd name="connsiteY86" fmla="*/ 6078 h 10000"/>
                    <a:gd name="connsiteX87" fmla="*/ 7000 w 10000"/>
                    <a:gd name="connsiteY87" fmla="*/ 6022 h 10000"/>
                    <a:gd name="connsiteX88" fmla="*/ 7000 w 10000"/>
                    <a:gd name="connsiteY88" fmla="*/ 6022 h 10000"/>
                    <a:gd name="connsiteX89" fmla="*/ 6556 w 10000"/>
                    <a:gd name="connsiteY89" fmla="*/ 6078 h 10000"/>
                    <a:gd name="connsiteX90" fmla="*/ 6222 w 10000"/>
                    <a:gd name="connsiteY90" fmla="*/ 6078 h 10000"/>
                    <a:gd name="connsiteX91" fmla="*/ 6111 w 10000"/>
                    <a:gd name="connsiteY91" fmla="*/ 6022 h 10000"/>
                    <a:gd name="connsiteX92" fmla="*/ 6056 w 10000"/>
                    <a:gd name="connsiteY92" fmla="*/ 5965 h 10000"/>
                    <a:gd name="connsiteX93" fmla="*/ 6056 w 10000"/>
                    <a:gd name="connsiteY93" fmla="*/ 5965 h 10000"/>
                    <a:gd name="connsiteX94" fmla="*/ 6056 w 10000"/>
                    <a:gd name="connsiteY94" fmla="*/ 4943 h 10000"/>
                    <a:gd name="connsiteX95" fmla="*/ 6056 w 10000"/>
                    <a:gd name="connsiteY95" fmla="*/ 4943 h 10000"/>
                    <a:gd name="connsiteX96" fmla="*/ 6056 w 10000"/>
                    <a:gd name="connsiteY96" fmla="*/ 4714 h 10000"/>
                    <a:gd name="connsiteX97" fmla="*/ 5944 w 10000"/>
                    <a:gd name="connsiteY97" fmla="*/ 4431 h 10000"/>
                    <a:gd name="connsiteX98" fmla="*/ 5889 w 10000"/>
                    <a:gd name="connsiteY98" fmla="*/ 4375 h 10000"/>
                    <a:gd name="connsiteX99" fmla="*/ 5778 w 10000"/>
                    <a:gd name="connsiteY99" fmla="*/ 4316 h 10000"/>
                    <a:gd name="connsiteX100" fmla="*/ 5667 w 10000"/>
                    <a:gd name="connsiteY100" fmla="*/ 4316 h 10000"/>
                    <a:gd name="connsiteX101" fmla="*/ 5500 w 10000"/>
                    <a:gd name="connsiteY101" fmla="*/ 4375 h 10000"/>
                    <a:gd name="connsiteX102" fmla="*/ 5500 w 10000"/>
                    <a:gd name="connsiteY102" fmla="*/ 4375 h 10000"/>
                    <a:gd name="connsiteX103" fmla="*/ 4889 w 10000"/>
                    <a:gd name="connsiteY103" fmla="*/ 4773 h 10000"/>
                    <a:gd name="connsiteX104" fmla="*/ 4611 w 10000"/>
                    <a:gd name="connsiteY104" fmla="*/ 4885 h 10000"/>
                    <a:gd name="connsiteX105" fmla="*/ 4556 w 10000"/>
                    <a:gd name="connsiteY105" fmla="*/ 4943 h 10000"/>
                    <a:gd name="connsiteX106" fmla="*/ 4500 w 10000"/>
                    <a:gd name="connsiteY106" fmla="*/ 4885 h 10000"/>
                    <a:gd name="connsiteX107" fmla="*/ 4500 w 10000"/>
                    <a:gd name="connsiteY107" fmla="*/ 4885 h 10000"/>
                    <a:gd name="connsiteX108" fmla="*/ 4222 w 10000"/>
                    <a:gd name="connsiteY108" fmla="*/ 4316 h 10000"/>
                    <a:gd name="connsiteX109" fmla="*/ 4222 w 10000"/>
                    <a:gd name="connsiteY109" fmla="*/ 4316 h 10000"/>
                    <a:gd name="connsiteX110" fmla="*/ 4111 w 10000"/>
                    <a:gd name="connsiteY110" fmla="*/ 4035 h 10000"/>
                    <a:gd name="connsiteX111" fmla="*/ 4111 w 10000"/>
                    <a:gd name="connsiteY111" fmla="*/ 3862 h 10000"/>
                    <a:gd name="connsiteX112" fmla="*/ 4111 w 10000"/>
                    <a:gd name="connsiteY112" fmla="*/ 3694 h 10000"/>
                    <a:gd name="connsiteX113" fmla="*/ 4111 w 10000"/>
                    <a:gd name="connsiteY113" fmla="*/ 3694 h 10000"/>
                    <a:gd name="connsiteX114" fmla="*/ 4278 w 10000"/>
                    <a:gd name="connsiteY114" fmla="*/ 3523 h 10000"/>
                    <a:gd name="connsiteX115" fmla="*/ 4389 w 10000"/>
                    <a:gd name="connsiteY115" fmla="*/ 3465 h 10000"/>
                    <a:gd name="connsiteX116" fmla="*/ 4389 w 10000"/>
                    <a:gd name="connsiteY116" fmla="*/ 3465 h 10000"/>
                    <a:gd name="connsiteX117" fmla="*/ 4000 w 10000"/>
                    <a:gd name="connsiteY117" fmla="*/ 3465 h 10000"/>
                    <a:gd name="connsiteX118" fmla="*/ 3722 w 10000"/>
                    <a:gd name="connsiteY118" fmla="*/ 3523 h 10000"/>
                    <a:gd name="connsiteX119" fmla="*/ 3611 w 10000"/>
                    <a:gd name="connsiteY119" fmla="*/ 3583 h 10000"/>
                    <a:gd name="connsiteX120" fmla="*/ 3556 w 10000"/>
                    <a:gd name="connsiteY120" fmla="*/ 3637 h 10000"/>
                    <a:gd name="connsiteX121" fmla="*/ 3556 w 10000"/>
                    <a:gd name="connsiteY121" fmla="*/ 3637 h 10000"/>
                    <a:gd name="connsiteX122" fmla="*/ 3444 w 10000"/>
                    <a:gd name="connsiteY122" fmla="*/ 3862 h 10000"/>
                    <a:gd name="connsiteX123" fmla="*/ 3278 w 10000"/>
                    <a:gd name="connsiteY123" fmla="*/ 4206 h 10000"/>
                    <a:gd name="connsiteX124" fmla="*/ 3000 w 10000"/>
                    <a:gd name="connsiteY124" fmla="*/ 4605 h 10000"/>
                    <a:gd name="connsiteX125" fmla="*/ 2667 w 10000"/>
                    <a:gd name="connsiteY125" fmla="*/ 4885 h 10000"/>
                    <a:gd name="connsiteX126" fmla="*/ 2667 w 10000"/>
                    <a:gd name="connsiteY126" fmla="*/ 4885 h 10000"/>
                    <a:gd name="connsiteX127" fmla="*/ 2333 w 10000"/>
                    <a:gd name="connsiteY127" fmla="*/ 5113 h 10000"/>
                    <a:gd name="connsiteX128" fmla="*/ 1833 w 10000"/>
                    <a:gd name="connsiteY128" fmla="*/ 5342 h 10000"/>
                    <a:gd name="connsiteX129" fmla="*/ 1389 w 10000"/>
                    <a:gd name="connsiteY129" fmla="*/ 5457 h 10000"/>
                    <a:gd name="connsiteX130" fmla="*/ 889 w 10000"/>
                    <a:gd name="connsiteY130" fmla="*/ 5510 h 10000"/>
                    <a:gd name="connsiteX131" fmla="*/ 889 w 10000"/>
                    <a:gd name="connsiteY131" fmla="*/ 5510 h 10000"/>
                    <a:gd name="connsiteX132" fmla="*/ 500 w 10000"/>
                    <a:gd name="connsiteY132" fmla="*/ 5569 h 10000"/>
                    <a:gd name="connsiteX133" fmla="*/ 222 w 10000"/>
                    <a:gd name="connsiteY133" fmla="*/ 5629 h 10000"/>
                    <a:gd name="connsiteX134" fmla="*/ 0 w 10000"/>
                    <a:gd name="connsiteY134" fmla="*/ 5687 h 10000"/>
                    <a:gd name="connsiteX135" fmla="*/ 0 w 10000"/>
                    <a:gd name="connsiteY135" fmla="*/ 5687 h 10000"/>
                    <a:gd name="connsiteX136" fmla="*/ 278 w 10000"/>
                    <a:gd name="connsiteY136" fmla="*/ 6589 h 10000"/>
                    <a:gd name="connsiteX137" fmla="*/ 500 w 10000"/>
                    <a:gd name="connsiteY137" fmla="*/ 7273 h 10000"/>
                    <a:gd name="connsiteX138" fmla="*/ 722 w 10000"/>
                    <a:gd name="connsiteY138" fmla="*/ 7842 h 10000"/>
                    <a:gd name="connsiteX139" fmla="*/ 722 w 10000"/>
                    <a:gd name="connsiteY139" fmla="*/ 7842 h 10000"/>
                    <a:gd name="connsiteX140" fmla="*/ 889 w 10000"/>
                    <a:gd name="connsiteY140" fmla="*/ 8184 h 10000"/>
                    <a:gd name="connsiteX141" fmla="*/ 944 w 10000"/>
                    <a:gd name="connsiteY141" fmla="*/ 8467 h 10000"/>
                    <a:gd name="connsiteX142" fmla="*/ 1111 w 10000"/>
                    <a:gd name="connsiteY142" fmla="*/ 8751 h 10000"/>
                    <a:gd name="connsiteX143" fmla="*/ 1333 w 10000"/>
                    <a:gd name="connsiteY143" fmla="*/ 9204 h 10000"/>
                    <a:gd name="connsiteX144" fmla="*/ 1333 w 10000"/>
                    <a:gd name="connsiteY144" fmla="*/ 9204 h 10000"/>
                    <a:gd name="connsiteX145" fmla="*/ 1444 w 10000"/>
                    <a:gd name="connsiteY145" fmla="*/ 9434 h 10000"/>
                    <a:gd name="connsiteX146" fmla="*/ 1500 w 10000"/>
                    <a:gd name="connsiteY146" fmla="*/ 9603 h 10000"/>
                    <a:gd name="connsiteX147" fmla="*/ 1500 w 10000"/>
                    <a:gd name="connsiteY147" fmla="*/ 9770 h 10000"/>
                    <a:gd name="connsiteX148" fmla="*/ 1556 w 10000"/>
                    <a:gd name="connsiteY148" fmla="*/ 9832 h 10000"/>
                    <a:gd name="connsiteX149" fmla="*/ 1722 w 10000"/>
                    <a:gd name="connsiteY149" fmla="*/ 9885 h 10000"/>
                    <a:gd name="connsiteX150" fmla="*/ 2944 w 10000"/>
                    <a:gd name="connsiteY150" fmla="*/ 10000 h 10000"/>
                    <a:gd name="connsiteX0" fmla="*/ 10000 w 10000"/>
                    <a:gd name="connsiteY0" fmla="*/ 7786 h 9885"/>
                    <a:gd name="connsiteX1" fmla="*/ 10000 w 10000"/>
                    <a:gd name="connsiteY1" fmla="*/ 7786 h 9885"/>
                    <a:gd name="connsiteX2" fmla="*/ 9222 w 10000"/>
                    <a:gd name="connsiteY2" fmla="*/ 7842 h 9885"/>
                    <a:gd name="connsiteX3" fmla="*/ 8944 w 10000"/>
                    <a:gd name="connsiteY3" fmla="*/ 7842 h 9885"/>
                    <a:gd name="connsiteX4" fmla="*/ 8833 w 10000"/>
                    <a:gd name="connsiteY4" fmla="*/ 7786 h 9885"/>
                    <a:gd name="connsiteX5" fmla="*/ 8778 w 10000"/>
                    <a:gd name="connsiteY5" fmla="*/ 7728 h 9885"/>
                    <a:gd name="connsiteX6" fmla="*/ 8778 w 10000"/>
                    <a:gd name="connsiteY6" fmla="*/ 7728 h 9885"/>
                    <a:gd name="connsiteX7" fmla="*/ 8444 w 10000"/>
                    <a:gd name="connsiteY7" fmla="*/ 7043 h 9885"/>
                    <a:gd name="connsiteX8" fmla="*/ 8167 w 10000"/>
                    <a:gd name="connsiteY8" fmla="*/ 6421 h 9885"/>
                    <a:gd name="connsiteX9" fmla="*/ 8167 w 10000"/>
                    <a:gd name="connsiteY9" fmla="*/ 6421 h 9885"/>
                    <a:gd name="connsiteX10" fmla="*/ 8056 w 10000"/>
                    <a:gd name="connsiteY10" fmla="*/ 6310 h 9885"/>
                    <a:gd name="connsiteX11" fmla="*/ 7889 w 10000"/>
                    <a:gd name="connsiteY11" fmla="*/ 6195 h 9885"/>
                    <a:gd name="connsiteX12" fmla="*/ 7444 w 10000"/>
                    <a:gd name="connsiteY12" fmla="*/ 6134 h 9885"/>
                    <a:gd name="connsiteX13" fmla="*/ 6889 w 10000"/>
                    <a:gd name="connsiteY13" fmla="*/ 6078 h 9885"/>
                    <a:gd name="connsiteX14" fmla="*/ 6389 w 10000"/>
                    <a:gd name="connsiteY14" fmla="*/ 6078 h 9885"/>
                    <a:gd name="connsiteX15" fmla="*/ 6389 w 10000"/>
                    <a:gd name="connsiteY15" fmla="*/ 6078 h 9885"/>
                    <a:gd name="connsiteX16" fmla="*/ 6167 w 10000"/>
                    <a:gd name="connsiteY16" fmla="*/ 6022 h 9885"/>
                    <a:gd name="connsiteX17" fmla="*/ 6056 w 10000"/>
                    <a:gd name="connsiteY17" fmla="*/ 5913 h 9885"/>
                    <a:gd name="connsiteX18" fmla="*/ 6000 w 10000"/>
                    <a:gd name="connsiteY18" fmla="*/ 5798 h 9885"/>
                    <a:gd name="connsiteX19" fmla="*/ 6000 w 10000"/>
                    <a:gd name="connsiteY19" fmla="*/ 5569 h 9885"/>
                    <a:gd name="connsiteX20" fmla="*/ 6056 w 10000"/>
                    <a:gd name="connsiteY20" fmla="*/ 5113 h 9885"/>
                    <a:gd name="connsiteX21" fmla="*/ 6111 w 10000"/>
                    <a:gd name="connsiteY21" fmla="*/ 4885 h 9885"/>
                    <a:gd name="connsiteX22" fmla="*/ 6056 w 10000"/>
                    <a:gd name="connsiteY22" fmla="*/ 4605 h 9885"/>
                    <a:gd name="connsiteX23" fmla="*/ 6056 w 10000"/>
                    <a:gd name="connsiteY23" fmla="*/ 4605 h 9885"/>
                    <a:gd name="connsiteX24" fmla="*/ 6000 w 10000"/>
                    <a:gd name="connsiteY24" fmla="*/ 4431 h 9885"/>
                    <a:gd name="connsiteX25" fmla="*/ 5944 w 10000"/>
                    <a:gd name="connsiteY25" fmla="*/ 4316 h 9885"/>
                    <a:gd name="connsiteX26" fmla="*/ 5833 w 10000"/>
                    <a:gd name="connsiteY26" fmla="*/ 4316 h 9885"/>
                    <a:gd name="connsiteX27" fmla="*/ 5667 w 10000"/>
                    <a:gd name="connsiteY27" fmla="*/ 4375 h 9885"/>
                    <a:gd name="connsiteX28" fmla="*/ 5333 w 10000"/>
                    <a:gd name="connsiteY28" fmla="*/ 4544 h 9885"/>
                    <a:gd name="connsiteX29" fmla="*/ 4889 w 10000"/>
                    <a:gd name="connsiteY29" fmla="*/ 4831 h 9885"/>
                    <a:gd name="connsiteX30" fmla="*/ 4889 w 10000"/>
                    <a:gd name="connsiteY30" fmla="*/ 4831 h 9885"/>
                    <a:gd name="connsiteX31" fmla="*/ 4611 w 10000"/>
                    <a:gd name="connsiteY31" fmla="*/ 4885 h 9885"/>
                    <a:gd name="connsiteX32" fmla="*/ 4500 w 10000"/>
                    <a:gd name="connsiteY32" fmla="*/ 4885 h 9885"/>
                    <a:gd name="connsiteX33" fmla="*/ 4444 w 10000"/>
                    <a:gd name="connsiteY33" fmla="*/ 4831 h 9885"/>
                    <a:gd name="connsiteX34" fmla="*/ 4389 w 10000"/>
                    <a:gd name="connsiteY34" fmla="*/ 4605 h 9885"/>
                    <a:gd name="connsiteX35" fmla="*/ 4222 w 10000"/>
                    <a:gd name="connsiteY35" fmla="*/ 4316 h 9885"/>
                    <a:gd name="connsiteX36" fmla="*/ 4222 w 10000"/>
                    <a:gd name="connsiteY36" fmla="*/ 4316 h 9885"/>
                    <a:gd name="connsiteX37" fmla="*/ 4111 w 10000"/>
                    <a:gd name="connsiteY37" fmla="*/ 4151 h 9885"/>
                    <a:gd name="connsiteX38" fmla="*/ 4111 w 10000"/>
                    <a:gd name="connsiteY38" fmla="*/ 3978 h 9885"/>
                    <a:gd name="connsiteX39" fmla="*/ 4111 w 10000"/>
                    <a:gd name="connsiteY39" fmla="*/ 3862 h 9885"/>
                    <a:gd name="connsiteX40" fmla="*/ 4167 w 10000"/>
                    <a:gd name="connsiteY40" fmla="*/ 3751 h 9885"/>
                    <a:gd name="connsiteX41" fmla="*/ 4278 w 10000"/>
                    <a:gd name="connsiteY41" fmla="*/ 3523 h 9885"/>
                    <a:gd name="connsiteX42" fmla="*/ 4389 w 10000"/>
                    <a:gd name="connsiteY42" fmla="*/ 3465 h 9885"/>
                    <a:gd name="connsiteX43" fmla="*/ 4389 w 10000"/>
                    <a:gd name="connsiteY43" fmla="*/ 3465 h 9885"/>
                    <a:gd name="connsiteX44" fmla="*/ 4389 w 10000"/>
                    <a:gd name="connsiteY44" fmla="*/ 3411 h 9885"/>
                    <a:gd name="connsiteX45" fmla="*/ 4444 w 10000"/>
                    <a:gd name="connsiteY45" fmla="*/ 3353 h 9885"/>
                    <a:gd name="connsiteX46" fmla="*/ 4667 w 10000"/>
                    <a:gd name="connsiteY46" fmla="*/ 3295 h 9885"/>
                    <a:gd name="connsiteX47" fmla="*/ 5333 w 10000"/>
                    <a:gd name="connsiteY47" fmla="*/ 3186 h 9885"/>
                    <a:gd name="connsiteX48" fmla="*/ 6500 w 10000"/>
                    <a:gd name="connsiteY48" fmla="*/ 3014 h 9885"/>
                    <a:gd name="connsiteX49" fmla="*/ 6500 w 10000"/>
                    <a:gd name="connsiteY49" fmla="*/ 3014 h 9885"/>
                    <a:gd name="connsiteX50" fmla="*/ 7167 w 10000"/>
                    <a:gd name="connsiteY50" fmla="*/ 2842 h 9885"/>
                    <a:gd name="connsiteX51" fmla="*/ 8389 w 10000"/>
                    <a:gd name="connsiteY51" fmla="*/ 2499 h 9885"/>
                    <a:gd name="connsiteX52" fmla="*/ 8389 w 10000"/>
                    <a:gd name="connsiteY52" fmla="*/ 2499 h 9885"/>
                    <a:gd name="connsiteX53" fmla="*/ 8667 w 10000"/>
                    <a:gd name="connsiteY53" fmla="*/ 2381 h 9885"/>
                    <a:gd name="connsiteX54" fmla="*/ 8778 w 10000"/>
                    <a:gd name="connsiteY54" fmla="*/ 2214 h 9885"/>
                    <a:gd name="connsiteX55" fmla="*/ 8889 w 10000"/>
                    <a:gd name="connsiteY55" fmla="*/ 2102 h 9885"/>
                    <a:gd name="connsiteX56" fmla="*/ 8833 w 10000"/>
                    <a:gd name="connsiteY56" fmla="*/ 1987 h 9885"/>
                    <a:gd name="connsiteX57" fmla="*/ 8833 w 10000"/>
                    <a:gd name="connsiteY57" fmla="*/ 1873 h 9885"/>
                    <a:gd name="connsiteX58" fmla="*/ 8722 w 10000"/>
                    <a:gd name="connsiteY58" fmla="*/ 1760 h 9885"/>
                    <a:gd name="connsiteX59" fmla="*/ 8556 w 10000"/>
                    <a:gd name="connsiteY59" fmla="*/ 1591 h 9885"/>
                    <a:gd name="connsiteX60" fmla="*/ 8556 w 10000"/>
                    <a:gd name="connsiteY60" fmla="*/ 1591 h 9885"/>
                    <a:gd name="connsiteX61" fmla="*/ 6556 w 10000"/>
                    <a:gd name="connsiteY61" fmla="*/ 570 h 9885"/>
                    <a:gd name="connsiteX62" fmla="*/ 6556 w 10000"/>
                    <a:gd name="connsiteY62" fmla="*/ 570 h 9885"/>
                    <a:gd name="connsiteX63" fmla="*/ 6333 w 10000"/>
                    <a:gd name="connsiteY63" fmla="*/ 402 h 9885"/>
                    <a:gd name="connsiteX64" fmla="*/ 6167 w 10000"/>
                    <a:gd name="connsiteY64" fmla="*/ 231 h 9885"/>
                    <a:gd name="connsiteX65" fmla="*/ 6056 w 10000"/>
                    <a:gd name="connsiteY65" fmla="*/ 58 h 9885"/>
                    <a:gd name="connsiteX66" fmla="*/ 6056 w 10000"/>
                    <a:gd name="connsiteY66" fmla="*/ 58 h 9885"/>
                    <a:gd name="connsiteX67" fmla="*/ 8056 w 10000"/>
                    <a:gd name="connsiteY67" fmla="*/ 0 h 9885"/>
                    <a:gd name="connsiteX68" fmla="*/ 10000 w 10000"/>
                    <a:gd name="connsiteY68" fmla="*/ 570 h 9885"/>
                    <a:gd name="connsiteX69" fmla="*/ 10000 w 10000"/>
                    <a:gd name="connsiteY69" fmla="*/ 7842 h 9885"/>
                    <a:gd name="connsiteX70" fmla="*/ 10000 w 10000"/>
                    <a:gd name="connsiteY70" fmla="*/ 7842 h 9885"/>
                    <a:gd name="connsiteX71" fmla="*/ 9722 w 10000"/>
                    <a:gd name="connsiteY71" fmla="*/ 7786 h 9885"/>
                    <a:gd name="connsiteX72" fmla="*/ 9389 w 10000"/>
                    <a:gd name="connsiteY72" fmla="*/ 7842 h 9885"/>
                    <a:gd name="connsiteX73" fmla="*/ 9389 w 10000"/>
                    <a:gd name="connsiteY73" fmla="*/ 7842 h 9885"/>
                    <a:gd name="connsiteX74" fmla="*/ 9278 w 10000"/>
                    <a:gd name="connsiteY74" fmla="*/ 7901 h 9885"/>
                    <a:gd name="connsiteX75" fmla="*/ 9056 w 10000"/>
                    <a:gd name="connsiteY75" fmla="*/ 7842 h 9885"/>
                    <a:gd name="connsiteX76" fmla="*/ 8889 w 10000"/>
                    <a:gd name="connsiteY76" fmla="*/ 7786 h 9885"/>
                    <a:gd name="connsiteX77" fmla="*/ 8722 w 10000"/>
                    <a:gd name="connsiteY77" fmla="*/ 7668 h 9885"/>
                    <a:gd name="connsiteX78" fmla="*/ 8611 w 10000"/>
                    <a:gd name="connsiteY78" fmla="*/ 7499 h 9885"/>
                    <a:gd name="connsiteX79" fmla="*/ 8444 w 10000"/>
                    <a:gd name="connsiteY79" fmla="*/ 7217 h 9885"/>
                    <a:gd name="connsiteX80" fmla="*/ 8444 w 10000"/>
                    <a:gd name="connsiteY80" fmla="*/ 7217 h 9885"/>
                    <a:gd name="connsiteX81" fmla="*/ 8222 w 10000"/>
                    <a:gd name="connsiteY81" fmla="*/ 6707 h 9885"/>
                    <a:gd name="connsiteX82" fmla="*/ 8111 w 10000"/>
                    <a:gd name="connsiteY82" fmla="*/ 6477 h 9885"/>
                    <a:gd name="connsiteX83" fmla="*/ 7944 w 10000"/>
                    <a:gd name="connsiteY83" fmla="*/ 6310 h 9885"/>
                    <a:gd name="connsiteX84" fmla="*/ 7778 w 10000"/>
                    <a:gd name="connsiteY84" fmla="*/ 6195 h 9885"/>
                    <a:gd name="connsiteX85" fmla="*/ 7556 w 10000"/>
                    <a:gd name="connsiteY85" fmla="*/ 6134 h 9885"/>
                    <a:gd name="connsiteX86" fmla="*/ 7333 w 10000"/>
                    <a:gd name="connsiteY86" fmla="*/ 6078 h 9885"/>
                    <a:gd name="connsiteX87" fmla="*/ 7000 w 10000"/>
                    <a:gd name="connsiteY87" fmla="*/ 6022 h 9885"/>
                    <a:gd name="connsiteX88" fmla="*/ 7000 w 10000"/>
                    <a:gd name="connsiteY88" fmla="*/ 6022 h 9885"/>
                    <a:gd name="connsiteX89" fmla="*/ 6556 w 10000"/>
                    <a:gd name="connsiteY89" fmla="*/ 6078 h 9885"/>
                    <a:gd name="connsiteX90" fmla="*/ 6222 w 10000"/>
                    <a:gd name="connsiteY90" fmla="*/ 6078 h 9885"/>
                    <a:gd name="connsiteX91" fmla="*/ 6111 w 10000"/>
                    <a:gd name="connsiteY91" fmla="*/ 6022 h 9885"/>
                    <a:gd name="connsiteX92" fmla="*/ 6056 w 10000"/>
                    <a:gd name="connsiteY92" fmla="*/ 5965 h 9885"/>
                    <a:gd name="connsiteX93" fmla="*/ 6056 w 10000"/>
                    <a:gd name="connsiteY93" fmla="*/ 5965 h 9885"/>
                    <a:gd name="connsiteX94" fmla="*/ 6056 w 10000"/>
                    <a:gd name="connsiteY94" fmla="*/ 4943 h 9885"/>
                    <a:gd name="connsiteX95" fmla="*/ 6056 w 10000"/>
                    <a:gd name="connsiteY95" fmla="*/ 4943 h 9885"/>
                    <a:gd name="connsiteX96" fmla="*/ 6056 w 10000"/>
                    <a:gd name="connsiteY96" fmla="*/ 4714 h 9885"/>
                    <a:gd name="connsiteX97" fmla="*/ 5944 w 10000"/>
                    <a:gd name="connsiteY97" fmla="*/ 4431 h 9885"/>
                    <a:gd name="connsiteX98" fmla="*/ 5889 w 10000"/>
                    <a:gd name="connsiteY98" fmla="*/ 4375 h 9885"/>
                    <a:gd name="connsiteX99" fmla="*/ 5778 w 10000"/>
                    <a:gd name="connsiteY99" fmla="*/ 4316 h 9885"/>
                    <a:gd name="connsiteX100" fmla="*/ 5667 w 10000"/>
                    <a:gd name="connsiteY100" fmla="*/ 4316 h 9885"/>
                    <a:gd name="connsiteX101" fmla="*/ 5500 w 10000"/>
                    <a:gd name="connsiteY101" fmla="*/ 4375 h 9885"/>
                    <a:gd name="connsiteX102" fmla="*/ 5500 w 10000"/>
                    <a:gd name="connsiteY102" fmla="*/ 4375 h 9885"/>
                    <a:gd name="connsiteX103" fmla="*/ 4889 w 10000"/>
                    <a:gd name="connsiteY103" fmla="*/ 4773 h 9885"/>
                    <a:gd name="connsiteX104" fmla="*/ 4611 w 10000"/>
                    <a:gd name="connsiteY104" fmla="*/ 4885 h 9885"/>
                    <a:gd name="connsiteX105" fmla="*/ 4556 w 10000"/>
                    <a:gd name="connsiteY105" fmla="*/ 4943 h 9885"/>
                    <a:gd name="connsiteX106" fmla="*/ 4500 w 10000"/>
                    <a:gd name="connsiteY106" fmla="*/ 4885 h 9885"/>
                    <a:gd name="connsiteX107" fmla="*/ 4500 w 10000"/>
                    <a:gd name="connsiteY107" fmla="*/ 4885 h 9885"/>
                    <a:gd name="connsiteX108" fmla="*/ 4222 w 10000"/>
                    <a:gd name="connsiteY108" fmla="*/ 4316 h 9885"/>
                    <a:gd name="connsiteX109" fmla="*/ 4222 w 10000"/>
                    <a:gd name="connsiteY109" fmla="*/ 4316 h 9885"/>
                    <a:gd name="connsiteX110" fmla="*/ 4111 w 10000"/>
                    <a:gd name="connsiteY110" fmla="*/ 4035 h 9885"/>
                    <a:gd name="connsiteX111" fmla="*/ 4111 w 10000"/>
                    <a:gd name="connsiteY111" fmla="*/ 3862 h 9885"/>
                    <a:gd name="connsiteX112" fmla="*/ 4111 w 10000"/>
                    <a:gd name="connsiteY112" fmla="*/ 3694 h 9885"/>
                    <a:gd name="connsiteX113" fmla="*/ 4111 w 10000"/>
                    <a:gd name="connsiteY113" fmla="*/ 3694 h 9885"/>
                    <a:gd name="connsiteX114" fmla="*/ 4278 w 10000"/>
                    <a:gd name="connsiteY114" fmla="*/ 3523 h 9885"/>
                    <a:gd name="connsiteX115" fmla="*/ 4389 w 10000"/>
                    <a:gd name="connsiteY115" fmla="*/ 3465 h 9885"/>
                    <a:gd name="connsiteX116" fmla="*/ 4389 w 10000"/>
                    <a:gd name="connsiteY116" fmla="*/ 3465 h 9885"/>
                    <a:gd name="connsiteX117" fmla="*/ 4000 w 10000"/>
                    <a:gd name="connsiteY117" fmla="*/ 3465 h 9885"/>
                    <a:gd name="connsiteX118" fmla="*/ 3722 w 10000"/>
                    <a:gd name="connsiteY118" fmla="*/ 3523 h 9885"/>
                    <a:gd name="connsiteX119" fmla="*/ 3611 w 10000"/>
                    <a:gd name="connsiteY119" fmla="*/ 3583 h 9885"/>
                    <a:gd name="connsiteX120" fmla="*/ 3556 w 10000"/>
                    <a:gd name="connsiteY120" fmla="*/ 3637 h 9885"/>
                    <a:gd name="connsiteX121" fmla="*/ 3556 w 10000"/>
                    <a:gd name="connsiteY121" fmla="*/ 3637 h 9885"/>
                    <a:gd name="connsiteX122" fmla="*/ 3444 w 10000"/>
                    <a:gd name="connsiteY122" fmla="*/ 3862 h 9885"/>
                    <a:gd name="connsiteX123" fmla="*/ 3278 w 10000"/>
                    <a:gd name="connsiteY123" fmla="*/ 4206 h 9885"/>
                    <a:gd name="connsiteX124" fmla="*/ 3000 w 10000"/>
                    <a:gd name="connsiteY124" fmla="*/ 4605 h 9885"/>
                    <a:gd name="connsiteX125" fmla="*/ 2667 w 10000"/>
                    <a:gd name="connsiteY125" fmla="*/ 4885 h 9885"/>
                    <a:gd name="connsiteX126" fmla="*/ 2667 w 10000"/>
                    <a:gd name="connsiteY126" fmla="*/ 4885 h 9885"/>
                    <a:gd name="connsiteX127" fmla="*/ 2333 w 10000"/>
                    <a:gd name="connsiteY127" fmla="*/ 5113 h 9885"/>
                    <a:gd name="connsiteX128" fmla="*/ 1833 w 10000"/>
                    <a:gd name="connsiteY128" fmla="*/ 5342 h 9885"/>
                    <a:gd name="connsiteX129" fmla="*/ 1389 w 10000"/>
                    <a:gd name="connsiteY129" fmla="*/ 5457 h 9885"/>
                    <a:gd name="connsiteX130" fmla="*/ 889 w 10000"/>
                    <a:gd name="connsiteY130" fmla="*/ 5510 h 9885"/>
                    <a:gd name="connsiteX131" fmla="*/ 889 w 10000"/>
                    <a:gd name="connsiteY131" fmla="*/ 5510 h 9885"/>
                    <a:gd name="connsiteX132" fmla="*/ 500 w 10000"/>
                    <a:gd name="connsiteY132" fmla="*/ 5569 h 9885"/>
                    <a:gd name="connsiteX133" fmla="*/ 222 w 10000"/>
                    <a:gd name="connsiteY133" fmla="*/ 5629 h 9885"/>
                    <a:gd name="connsiteX134" fmla="*/ 0 w 10000"/>
                    <a:gd name="connsiteY134" fmla="*/ 5687 h 9885"/>
                    <a:gd name="connsiteX135" fmla="*/ 0 w 10000"/>
                    <a:gd name="connsiteY135" fmla="*/ 5687 h 9885"/>
                    <a:gd name="connsiteX136" fmla="*/ 278 w 10000"/>
                    <a:gd name="connsiteY136" fmla="*/ 6589 h 9885"/>
                    <a:gd name="connsiteX137" fmla="*/ 500 w 10000"/>
                    <a:gd name="connsiteY137" fmla="*/ 7273 h 9885"/>
                    <a:gd name="connsiteX138" fmla="*/ 722 w 10000"/>
                    <a:gd name="connsiteY138" fmla="*/ 7842 h 9885"/>
                    <a:gd name="connsiteX139" fmla="*/ 722 w 10000"/>
                    <a:gd name="connsiteY139" fmla="*/ 7842 h 9885"/>
                    <a:gd name="connsiteX140" fmla="*/ 889 w 10000"/>
                    <a:gd name="connsiteY140" fmla="*/ 8184 h 9885"/>
                    <a:gd name="connsiteX141" fmla="*/ 944 w 10000"/>
                    <a:gd name="connsiteY141" fmla="*/ 8467 h 9885"/>
                    <a:gd name="connsiteX142" fmla="*/ 1111 w 10000"/>
                    <a:gd name="connsiteY142" fmla="*/ 8751 h 9885"/>
                    <a:gd name="connsiteX143" fmla="*/ 1333 w 10000"/>
                    <a:gd name="connsiteY143" fmla="*/ 9204 h 9885"/>
                    <a:gd name="connsiteX144" fmla="*/ 1333 w 10000"/>
                    <a:gd name="connsiteY144" fmla="*/ 9204 h 9885"/>
                    <a:gd name="connsiteX145" fmla="*/ 1444 w 10000"/>
                    <a:gd name="connsiteY145" fmla="*/ 9434 h 9885"/>
                    <a:gd name="connsiteX146" fmla="*/ 1500 w 10000"/>
                    <a:gd name="connsiteY146" fmla="*/ 9603 h 9885"/>
                    <a:gd name="connsiteX147" fmla="*/ 1500 w 10000"/>
                    <a:gd name="connsiteY147" fmla="*/ 9770 h 9885"/>
                    <a:gd name="connsiteX148" fmla="*/ 1556 w 10000"/>
                    <a:gd name="connsiteY148" fmla="*/ 9832 h 9885"/>
                    <a:gd name="connsiteX149" fmla="*/ 1722 w 10000"/>
                    <a:gd name="connsiteY149" fmla="*/ 9885 h 9885"/>
                    <a:gd name="connsiteX0" fmla="*/ 10000 w 10000"/>
                    <a:gd name="connsiteY0" fmla="*/ 7877 h 9946"/>
                    <a:gd name="connsiteX1" fmla="*/ 10000 w 10000"/>
                    <a:gd name="connsiteY1" fmla="*/ 7877 h 9946"/>
                    <a:gd name="connsiteX2" fmla="*/ 9222 w 10000"/>
                    <a:gd name="connsiteY2" fmla="*/ 7933 h 9946"/>
                    <a:gd name="connsiteX3" fmla="*/ 8944 w 10000"/>
                    <a:gd name="connsiteY3" fmla="*/ 7933 h 9946"/>
                    <a:gd name="connsiteX4" fmla="*/ 8833 w 10000"/>
                    <a:gd name="connsiteY4" fmla="*/ 7877 h 9946"/>
                    <a:gd name="connsiteX5" fmla="*/ 8778 w 10000"/>
                    <a:gd name="connsiteY5" fmla="*/ 7818 h 9946"/>
                    <a:gd name="connsiteX6" fmla="*/ 8778 w 10000"/>
                    <a:gd name="connsiteY6" fmla="*/ 7818 h 9946"/>
                    <a:gd name="connsiteX7" fmla="*/ 8444 w 10000"/>
                    <a:gd name="connsiteY7" fmla="*/ 7125 h 9946"/>
                    <a:gd name="connsiteX8" fmla="*/ 8167 w 10000"/>
                    <a:gd name="connsiteY8" fmla="*/ 6496 h 9946"/>
                    <a:gd name="connsiteX9" fmla="*/ 8167 w 10000"/>
                    <a:gd name="connsiteY9" fmla="*/ 6496 h 9946"/>
                    <a:gd name="connsiteX10" fmla="*/ 8056 w 10000"/>
                    <a:gd name="connsiteY10" fmla="*/ 6383 h 9946"/>
                    <a:gd name="connsiteX11" fmla="*/ 7889 w 10000"/>
                    <a:gd name="connsiteY11" fmla="*/ 6267 h 9946"/>
                    <a:gd name="connsiteX12" fmla="*/ 7444 w 10000"/>
                    <a:gd name="connsiteY12" fmla="*/ 6205 h 9946"/>
                    <a:gd name="connsiteX13" fmla="*/ 6889 w 10000"/>
                    <a:gd name="connsiteY13" fmla="*/ 6149 h 9946"/>
                    <a:gd name="connsiteX14" fmla="*/ 6389 w 10000"/>
                    <a:gd name="connsiteY14" fmla="*/ 6149 h 9946"/>
                    <a:gd name="connsiteX15" fmla="*/ 6389 w 10000"/>
                    <a:gd name="connsiteY15" fmla="*/ 6149 h 9946"/>
                    <a:gd name="connsiteX16" fmla="*/ 6167 w 10000"/>
                    <a:gd name="connsiteY16" fmla="*/ 6092 h 9946"/>
                    <a:gd name="connsiteX17" fmla="*/ 6056 w 10000"/>
                    <a:gd name="connsiteY17" fmla="*/ 5982 h 9946"/>
                    <a:gd name="connsiteX18" fmla="*/ 6000 w 10000"/>
                    <a:gd name="connsiteY18" fmla="*/ 5865 h 9946"/>
                    <a:gd name="connsiteX19" fmla="*/ 6000 w 10000"/>
                    <a:gd name="connsiteY19" fmla="*/ 5634 h 9946"/>
                    <a:gd name="connsiteX20" fmla="*/ 6056 w 10000"/>
                    <a:gd name="connsiteY20" fmla="*/ 5172 h 9946"/>
                    <a:gd name="connsiteX21" fmla="*/ 6111 w 10000"/>
                    <a:gd name="connsiteY21" fmla="*/ 4942 h 9946"/>
                    <a:gd name="connsiteX22" fmla="*/ 6056 w 10000"/>
                    <a:gd name="connsiteY22" fmla="*/ 4659 h 9946"/>
                    <a:gd name="connsiteX23" fmla="*/ 6056 w 10000"/>
                    <a:gd name="connsiteY23" fmla="*/ 4659 h 9946"/>
                    <a:gd name="connsiteX24" fmla="*/ 6000 w 10000"/>
                    <a:gd name="connsiteY24" fmla="*/ 4483 h 9946"/>
                    <a:gd name="connsiteX25" fmla="*/ 5944 w 10000"/>
                    <a:gd name="connsiteY25" fmla="*/ 4366 h 9946"/>
                    <a:gd name="connsiteX26" fmla="*/ 5833 w 10000"/>
                    <a:gd name="connsiteY26" fmla="*/ 4366 h 9946"/>
                    <a:gd name="connsiteX27" fmla="*/ 5667 w 10000"/>
                    <a:gd name="connsiteY27" fmla="*/ 4426 h 9946"/>
                    <a:gd name="connsiteX28" fmla="*/ 5333 w 10000"/>
                    <a:gd name="connsiteY28" fmla="*/ 4597 h 9946"/>
                    <a:gd name="connsiteX29" fmla="*/ 4889 w 10000"/>
                    <a:gd name="connsiteY29" fmla="*/ 4887 h 9946"/>
                    <a:gd name="connsiteX30" fmla="*/ 4889 w 10000"/>
                    <a:gd name="connsiteY30" fmla="*/ 4887 h 9946"/>
                    <a:gd name="connsiteX31" fmla="*/ 4611 w 10000"/>
                    <a:gd name="connsiteY31" fmla="*/ 4942 h 9946"/>
                    <a:gd name="connsiteX32" fmla="*/ 4500 w 10000"/>
                    <a:gd name="connsiteY32" fmla="*/ 4942 h 9946"/>
                    <a:gd name="connsiteX33" fmla="*/ 4444 w 10000"/>
                    <a:gd name="connsiteY33" fmla="*/ 4887 h 9946"/>
                    <a:gd name="connsiteX34" fmla="*/ 4389 w 10000"/>
                    <a:gd name="connsiteY34" fmla="*/ 4659 h 9946"/>
                    <a:gd name="connsiteX35" fmla="*/ 4222 w 10000"/>
                    <a:gd name="connsiteY35" fmla="*/ 4366 h 9946"/>
                    <a:gd name="connsiteX36" fmla="*/ 4222 w 10000"/>
                    <a:gd name="connsiteY36" fmla="*/ 4366 h 9946"/>
                    <a:gd name="connsiteX37" fmla="*/ 4111 w 10000"/>
                    <a:gd name="connsiteY37" fmla="*/ 4199 h 9946"/>
                    <a:gd name="connsiteX38" fmla="*/ 4111 w 10000"/>
                    <a:gd name="connsiteY38" fmla="*/ 4024 h 9946"/>
                    <a:gd name="connsiteX39" fmla="*/ 4111 w 10000"/>
                    <a:gd name="connsiteY39" fmla="*/ 3907 h 9946"/>
                    <a:gd name="connsiteX40" fmla="*/ 4167 w 10000"/>
                    <a:gd name="connsiteY40" fmla="*/ 3795 h 9946"/>
                    <a:gd name="connsiteX41" fmla="*/ 4278 w 10000"/>
                    <a:gd name="connsiteY41" fmla="*/ 3564 h 9946"/>
                    <a:gd name="connsiteX42" fmla="*/ 4389 w 10000"/>
                    <a:gd name="connsiteY42" fmla="*/ 3505 h 9946"/>
                    <a:gd name="connsiteX43" fmla="*/ 4389 w 10000"/>
                    <a:gd name="connsiteY43" fmla="*/ 3505 h 9946"/>
                    <a:gd name="connsiteX44" fmla="*/ 4389 w 10000"/>
                    <a:gd name="connsiteY44" fmla="*/ 3451 h 9946"/>
                    <a:gd name="connsiteX45" fmla="*/ 4444 w 10000"/>
                    <a:gd name="connsiteY45" fmla="*/ 3392 h 9946"/>
                    <a:gd name="connsiteX46" fmla="*/ 4667 w 10000"/>
                    <a:gd name="connsiteY46" fmla="*/ 3333 h 9946"/>
                    <a:gd name="connsiteX47" fmla="*/ 5333 w 10000"/>
                    <a:gd name="connsiteY47" fmla="*/ 3223 h 9946"/>
                    <a:gd name="connsiteX48" fmla="*/ 6500 w 10000"/>
                    <a:gd name="connsiteY48" fmla="*/ 3049 h 9946"/>
                    <a:gd name="connsiteX49" fmla="*/ 6500 w 10000"/>
                    <a:gd name="connsiteY49" fmla="*/ 3049 h 9946"/>
                    <a:gd name="connsiteX50" fmla="*/ 7167 w 10000"/>
                    <a:gd name="connsiteY50" fmla="*/ 2875 h 9946"/>
                    <a:gd name="connsiteX51" fmla="*/ 8389 w 10000"/>
                    <a:gd name="connsiteY51" fmla="*/ 2528 h 9946"/>
                    <a:gd name="connsiteX52" fmla="*/ 8389 w 10000"/>
                    <a:gd name="connsiteY52" fmla="*/ 2528 h 9946"/>
                    <a:gd name="connsiteX53" fmla="*/ 8667 w 10000"/>
                    <a:gd name="connsiteY53" fmla="*/ 2409 h 9946"/>
                    <a:gd name="connsiteX54" fmla="*/ 8778 w 10000"/>
                    <a:gd name="connsiteY54" fmla="*/ 2240 h 9946"/>
                    <a:gd name="connsiteX55" fmla="*/ 8889 w 10000"/>
                    <a:gd name="connsiteY55" fmla="*/ 2126 h 9946"/>
                    <a:gd name="connsiteX56" fmla="*/ 8833 w 10000"/>
                    <a:gd name="connsiteY56" fmla="*/ 2010 h 9946"/>
                    <a:gd name="connsiteX57" fmla="*/ 8833 w 10000"/>
                    <a:gd name="connsiteY57" fmla="*/ 1895 h 9946"/>
                    <a:gd name="connsiteX58" fmla="*/ 8722 w 10000"/>
                    <a:gd name="connsiteY58" fmla="*/ 1780 h 9946"/>
                    <a:gd name="connsiteX59" fmla="*/ 8556 w 10000"/>
                    <a:gd name="connsiteY59" fmla="*/ 1610 h 9946"/>
                    <a:gd name="connsiteX60" fmla="*/ 8556 w 10000"/>
                    <a:gd name="connsiteY60" fmla="*/ 1610 h 9946"/>
                    <a:gd name="connsiteX61" fmla="*/ 6556 w 10000"/>
                    <a:gd name="connsiteY61" fmla="*/ 577 h 9946"/>
                    <a:gd name="connsiteX62" fmla="*/ 6556 w 10000"/>
                    <a:gd name="connsiteY62" fmla="*/ 577 h 9946"/>
                    <a:gd name="connsiteX63" fmla="*/ 6333 w 10000"/>
                    <a:gd name="connsiteY63" fmla="*/ 407 h 9946"/>
                    <a:gd name="connsiteX64" fmla="*/ 6167 w 10000"/>
                    <a:gd name="connsiteY64" fmla="*/ 234 h 9946"/>
                    <a:gd name="connsiteX65" fmla="*/ 6056 w 10000"/>
                    <a:gd name="connsiteY65" fmla="*/ 59 h 9946"/>
                    <a:gd name="connsiteX66" fmla="*/ 6056 w 10000"/>
                    <a:gd name="connsiteY66" fmla="*/ 59 h 9946"/>
                    <a:gd name="connsiteX67" fmla="*/ 8056 w 10000"/>
                    <a:gd name="connsiteY67" fmla="*/ 0 h 9946"/>
                    <a:gd name="connsiteX68" fmla="*/ 10000 w 10000"/>
                    <a:gd name="connsiteY68" fmla="*/ 577 h 9946"/>
                    <a:gd name="connsiteX69" fmla="*/ 10000 w 10000"/>
                    <a:gd name="connsiteY69" fmla="*/ 7933 h 9946"/>
                    <a:gd name="connsiteX70" fmla="*/ 10000 w 10000"/>
                    <a:gd name="connsiteY70" fmla="*/ 7933 h 9946"/>
                    <a:gd name="connsiteX71" fmla="*/ 9722 w 10000"/>
                    <a:gd name="connsiteY71" fmla="*/ 7877 h 9946"/>
                    <a:gd name="connsiteX72" fmla="*/ 9389 w 10000"/>
                    <a:gd name="connsiteY72" fmla="*/ 7933 h 9946"/>
                    <a:gd name="connsiteX73" fmla="*/ 9389 w 10000"/>
                    <a:gd name="connsiteY73" fmla="*/ 7933 h 9946"/>
                    <a:gd name="connsiteX74" fmla="*/ 9278 w 10000"/>
                    <a:gd name="connsiteY74" fmla="*/ 7993 h 9946"/>
                    <a:gd name="connsiteX75" fmla="*/ 9056 w 10000"/>
                    <a:gd name="connsiteY75" fmla="*/ 7933 h 9946"/>
                    <a:gd name="connsiteX76" fmla="*/ 8889 w 10000"/>
                    <a:gd name="connsiteY76" fmla="*/ 7877 h 9946"/>
                    <a:gd name="connsiteX77" fmla="*/ 8722 w 10000"/>
                    <a:gd name="connsiteY77" fmla="*/ 7757 h 9946"/>
                    <a:gd name="connsiteX78" fmla="*/ 8611 w 10000"/>
                    <a:gd name="connsiteY78" fmla="*/ 7586 h 9946"/>
                    <a:gd name="connsiteX79" fmla="*/ 8444 w 10000"/>
                    <a:gd name="connsiteY79" fmla="*/ 7301 h 9946"/>
                    <a:gd name="connsiteX80" fmla="*/ 8444 w 10000"/>
                    <a:gd name="connsiteY80" fmla="*/ 7301 h 9946"/>
                    <a:gd name="connsiteX81" fmla="*/ 8222 w 10000"/>
                    <a:gd name="connsiteY81" fmla="*/ 6785 h 9946"/>
                    <a:gd name="connsiteX82" fmla="*/ 8111 w 10000"/>
                    <a:gd name="connsiteY82" fmla="*/ 6552 h 9946"/>
                    <a:gd name="connsiteX83" fmla="*/ 7944 w 10000"/>
                    <a:gd name="connsiteY83" fmla="*/ 6383 h 9946"/>
                    <a:gd name="connsiteX84" fmla="*/ 7778 w 10000"/>
                    <a:gd name="connsiteY84" fmla="*/ 6267 h 9946"/>
                    <a:gd name="connsiteX85" fmla="*/ 7556 w 10000"/>
                    <a:gd name="connsiteY85" fmla="*/ 6205 h 9946"/>
                    <a:gd name="connsiteX86" fmla="*/ 7333 w 10000"/>
                    <a:gd name="connsiteY86" fmla="*/ 6149 h 9946"/>
                    <a:gd name="connsiteX87" fmla="*/ 7000 w 10000"/>
                    <a:gd name="connsiteY87" fmla="*/ 6092 h 9946"/>
                    <a:gd name="connsiteX88" fmla="*/ 7000 w 10000"/>
                    <a:gd name="connsiteY88" fmla="*/ 6092 h 9946"/>
                    <a:gd name="connsiteX89" fmla="*/ 6556 w 10000"/>
                    <a:gd name="connsiteY89" fmla="*/ 6149 h 9946"/>
                    <a:gd name="connsiteX90" fmla="*/ 6222 w 10000"/>
                    <a:gd name="connsiteY90" fmla="*/ 6149 h 9946"/>
                    <a:gd name="connsiteX91" fmla="*/ 6111 w 10000"/>
                    <a:gd name="connsiteY91" fmla="*/ 6092 h 9946"/>
                    <a:gd name="connsiteX92" fmla="*/ 6056 w 10000"/>
                    <a:gd name="connsiteY92" fmla="*/ 6034 h 9946"/>
                    <a:gd name="connsiteX93" fmla="*/ 6056 w 10000"/>
                    <a:gd name="connsiteY93" fmla="*/ 6034 h 9946"/>
                    <a:gd name="connsiteX94" fmla="*/ 6056 w 10000"/>
                    <a:gd name="connsiteY94" fmla="*/ 5001 h 9946"/>
                    <a:gd name="connsiteX95" fmla="*/ 6056 w 10000"/>
                    <a:gd name="connsiteY95" fmla="*/ 5001 h 9946"/>
                    <a:gd name="connsiteX96" fmla="*/ 6056 w 10000"/>
                    <a:gd name="connsiteY96" fmla="*/ 4769 h 9946"/>
                    <a:gd name="connsiteX97" fmla="*/ 5944 w 10000"/>
                    <a:gd name="connsiteY97" fmla="*/ 4483 h 9946"/>
                    <a:gd name="connsiteX98" fmla="*/ 5889 w 10000"/>
                    <a:gd name="connsiteY98" fmla="*/ 4426 h 9946"/>
                    <a:gd name="connsiteX99" fmla="*/ 5778 w 10000"/>
                    <a:gd name="connsiteY99" fmla="*/ 4366 h 9946"/>
                    <a:gd name="connsiteX100" fmla="*/ 5667 w 10000"/>
                    <a:gd name="connsiteY100" fmla="*/ 4366 h 9946"/>
                    <a:gd name="connsiteX101" fmla="*/ 5500 w 10000"/>
                    <a:gd name="connsiteY101" fmla="*/ 4426 h 9946"/>
                    <a:gd name="connsiteX102" fmla="*/ 5500 w 10000"/>
                    <a:gd name="connsiteY102" fmla="*/ 4426 h 9946"/>
                    <a:gd name="connsiteX103" fmla="*/ 4889 w 10000"/>
                    <a:gd name="connsiteY103" fmla="*/ 4829 h 9946"/>
                    <a:gd name="connsiteX104" fmla="*/ 4611 w 10000"/>
                    <a:gd name="connsiteY104" fmla="*/ 4942 h 9946"/>
                    <a:gd name="connsiteX105" fmla="*/ 4556 w 10000"/>
                    <a:gd name="connsiteY105" fmla="*/ 5001 h 9946"/>
                    <a:gd name="connsiteX106" fmla="*/ 4500 w 10000"/>
                    <a:gd name="connsiteY106" fmla="*/ 4942 h 9946"/>
                    <a:gd name="connsiteX107" fmla="*/ 4500 w 10000"/>
                    <a:gd name="connsiteY107" fmla="*/ 4942 h 9946"/>
                    <a:gd name="connsiteX108" fmla="*/ 4222 w 10000"/>
                    <a:gd name="connsiteY108" fmla="*/ 4366 h 9946"/>
                    <a:gd name="connsiteX109" fmla="*/ 4222 w 10000"/>
                    <a:gd name="connsiteY109" fmla="*/ 4366 h 9946"/>
                    <a:gd name="connsiteX110" fmla="*/ 4111 w 10000"/>
                    <a:gd name="connsiteY110" fmla="*/ 4082 h 9946"/>
                    <a:gd name="connsiteX111" fmla="*/ 4111 w 10000"/>
                    <a:gd name="connsiteY111" fmla="*/ 3907 h 9946"/>
                    <a:gd name="connsiteX112" fmla="*/ 4111 w 10000"/>
                    <a:gd name="connsiteY112" fmla="*/ 3737 h 9946"/>
                    <a:gd name="connsiteX113" fmla="*/ 4111 w 10000"/>
                    <a:gd name="connsiteY113" fmla="*/ 3737 h 9946"/>
                    <a:gd name="connsiteX114" fmla="*/ 4278 w 10000"/>
                    <a:gd name="connsiteY114" fmla="*/ 3564 h 9946"/>
                    <a:gd name="connsiteX115" fmla="*/ 4389 w 10000"/>
                    <a:gd name="connsiteY115" fmla="*/ 3505 h 9946"/>
                    <a:gd name="connsiteX116" fmla="*/ 4389 w 10000"/>
                    <a:gd name="connsiteY116" fmla="*/ 3505 h 9946"/>
                    <a:gd name="connsiteX117" fmla="*/ 4000 w 10000"/>
                    <a:gd name="connsiteY117" fmla="*/ 3505 h 9946"/>
                    <a:gd name="connsiteX118" fmla="*/ 3722 w 10000"/>
                    <a:gd name="connsiteY118" fmla="*/ 3564 h 9946"/>
                    <a:gd name="connsiteX119" fmla="*/ 3611 w 10000"/>
                    <a:gd name="connsiteY119" fmla="*/ 3625 h 9946"/>
                    <a:gd name="connsiteX120" fmla="*/ 3556 w 10000"/>
                    <a:gd name="connsiteY120" fmla="*/ 3679 h 9946"/>
                    <a:gd name="connsiteX121" fmla="*/ 3556 w 10000"/>
                    <a:gd name="connsiteY121" fmla="*/ 3679 h 9946"/>
                    <a:gd name="connsiteX122" fmla="*/ 3444 w 10000"/>
                    <a:gd name="connsiteY122" fmla="*/ 3907 h 9946"/>
                    <a:gd name="connsiteX123" fmla="*/ 3278 w 10000"/>
                    <a:gd name="connsiteY123" fmla="*/ 4255 h 9946"/>
                    <a:gd name="connsiteX124" fmla="*/ 3000 w 10000"/>
                    <a:gd name="connsiteY124" fmla="*/ 4659 h 9946"/>
                    <a:gd name="connsiteX125" fmla="*/ 2667 w 10000"/>
                    <a:gd name="connsiteY125" fmla="*/ 4942 h 9946"/>
                    <a:gd name="connsiteX126" fmla="*/ 2667 w 10000"/>
                    <a:gd name="connsiteY126" fmla="*/ 4942 h 9946"/>
                    <a:gd name="connsiteX127" fmla="*/ 2333 w 10000"/>
                    <a:gd name="connsiteY127" fmla="*/ 5172 h 9946"/>
                    <a:gd name="connsiteX128" fmla="*/ 1833 w 10000"/>
                    <a:gd name="connsiteY128" fmla="*/ 5404 h 9946"/>
                    <a:gd name="connsiteX129" fmla="*/ 1389 w 10000"/>
                    <a:gd name="connsiteY129" fmla="*/ 5520 h 9946"/>
                    <a:gd name="connsiteX130" fmla="*/ 889 w 10000"/>
                    <a:gd name="connsiteY130" fmla="*/ 5574 h 9946"/>
                    <a:gd name="connsiteX131" fmla="*/ 889 w 10000"/>
                    <a:gd name="connsiteY131" fmla="*/ 5574 h 9946"/>
                    <a:gd name="connsiteX132" fmla="*/ 500 w 10000"/>
                    <a:gd name="connsiteY132" fmla="*/ 5634 h 9946"/>
                    <a:gd name="connsiteX133" fmla="*/ 222 w 10000"/>
                    <a:gd name="connsiteY133" fmla="*/ 5694 h 9946"/>
                    <a:gd name="connsiteX134" fmla="*/ 0 w 10000"/>
                    <a:gd name="connsiteY134" fmla="*/ 5753 h 9946"/>
                    <a:gd name="connsiteX135" fmla="*/ 0 w 10000"/>
                    <a:gd name="connsiteY135" fmla="*/ 5753 h 9946"/>
                    <a:gd name="connsiteX136" fmla="*/ 278 w 10000"/>
                    <a:gd name="connsiteY136" fmla="*/ 6666 h 9946"/>
                    <a:gd name="connsiteX137" fmla="*/ 500 w 10000"/>
                    <a:gd name="connsiteY137" fmla="*/ 7358 h 9946"/>
                    <a:gd name="connsiteX138" fmla="*/ 722 w 10000"/>
                    <a:gd name="connsiteY138" fmla="*/ 7933 h 9946"/>
                    <a:gd name="connsiteX139" fmla="*/ 722 w 10000"/>
                    <a:gd name="connsiteY139" fmla="*/ 7933 h 9946"/>
                    <a:gd name="connsiteX140" fmla="*/ 889 w 10000"/>
                    <a:gd name="connsiteY140" fmla="*/ 8279 h 9946"/>
                    <a:gd name="connsiteX141" fmla="*/ 944 w 10000"/>
                    <a:gd name="connsiteY141" fmla="*/ 8566 h 9946"/>
                    <a:gd name="connsiteX142" fmla="*/ 1111 w 10000"/>
                    <a:gd name="connsiteY142" fmla="*/ 8853 h 9946"/>
                    <a:gd name="connsiteX143" fmla="*/ 1333 w 10000"/>
                    <a:gd name="connsiteY143" fmla="*/ 9311 h 9946"/>
                    <a:gd name="connsiteX144" fmla="*/ 1333 w 10000"/>
                    <a:gd name="connsiteY144" fmla="*/ 9311 h 9946"/>
                    <a:gd name="connsiteX145" fmla="*/ 1444 w 10000"/>
                    <a:gd name="connsiteY145" fmla="*/ 9544 h 9946"/>
                    <a:gd name="connsiteX146" fmla="*/ 1500 w 10000"/>
                    <a:gd name="connsiteY146" fmla="*/ 9715 h 9946"/>
                    <a:gd name="connsiteX147" fmla="*/ 1500 w 10000"/>
                    <a:gd name="connsiteY147" fmla="*/ 9884 h 9946"/>
                    <a:gd name="connsiteX148" fmla="*/ 1556 w 10000"/>
                    <a:gd name="connsiteY148" fmla="*/ 9946 h 9946"/>
                    <a:gd name="connsiteX0" fmla="*/ 10000 w 10000"/>
                    <a:gd name="connsiteY0" fmla="*/ 7920 h 9938"/>
                    <a:gd name="connsiteX1" fmla="*/ 10000 w 10000"/>
                    <a:gd name="connsiteY1" fmla="*/ 7920 h 9938"/>
                    <a:gd name="connsiteX2" fmla="*/ 9222 w 10000"/>
                    <a:gd name="connsiteY2" fmla="*/ 7976 h 9938"/>
                    <a:gd name="connsiteX3" fmla="*/ 8944 w 10000"/>
                    <a:gd name="connsiteY3" fmla="*/ 7976 h 9938"/>
                    <a:gd name="connsiteX4" fmla="*/ 8833 w 10000"/>
                    <a:gd name="connsiteY4" fmla="*/ 7920 h 9938"/>
                    <a:gd name="connsiteX5" fmla="*/ 8778 w 10000"/>
                    <a:gd name="connsiteY5" fmla="*/ 7860 h 9938"/>
                    <a:gd name="connsiteX6" fmla="*/ 8778 w 10000"/>
                    <a:gd name="connsiteY6" fmla="*/ 7860 h 9938"/>
                    <a:gd name="connsiteX7" fmla="*/ 8444 w 10000"/>
                    <a:gd name="connsiteY7" fmla="*/ 7164 h 9938"/>
                    <a:gd name="connsiteX8" fmla="*/ 8167 w 10000"/>
                    <a:gd name="connsiteY8" fmla="*/ 6531 h 9938"/>
                    <a:gd name="connsiteX9" fmla="*/ 8167 w 10000"/>
                    <a:gd name="connsiteY9" fmla="*/ 6531 h 9938"/>
                    <a:gd name="connsiteX10" fmla="*/ 8056 w 10000"/>
                    <a:gd name="connsiteY10" fmla="*/ 6418 h 9938"/>
                    <a:gd name="connsiteX11" fmla="*/ 7889 w 10000"/>
                    <a:gd name="connsiteY11" fmla="*/ 6301 h 9938"/>
                    <a:gd name="connsiteX12" fmla="*/ 7444 w 10000"/>
                    <a:gd name="connsiteY12" fmla="*/ 6239 h 9938"/>
                    <a:gd name="connsiteX13" fmla="*/ 6889 w 10000"/>
                    <a:gd name="connsiteY13" fmla="*/ 6182 h 9938"/>
                    <a:gd name="connsiteX14" fmla="*/ 6389 w 10000"/>
                    <a:gd name="connsiteY14" fmla="*/ 6182 h 9938"/>
                    <a:gd name="connsiteX15" fmla="*/ 6389 w 10000"/>
                    <a:gd name="connsiteY15" fmla="*/ 6182 h 9938"/>
                    <a:gd name="connsiteX16" fmla="*/ 6167 w 10000"/>
                    <a:gd name="connsiteY16" fmla="*/ 6125 h 9938"/>
                    <a:gd name="connsiteX17" fmla="*/ 6056 w 10000"/>
                    <a:gd name="connsiteY17" fmla="*/ 6014 h 9938"/>
                    <a:gd name="connsiteX18" fmla="*/ 6000 w 10000"/>
                    <a:gd name="connsiteY18" fmla="*/ 5897 h 9938"/>
                    <a:gd name="connsiteX19" fmla="*/ 6000 w 10000"/>
                    <a:gd name="connsiteY19" fmla="*/ 5665 h 9938"/>
                    <a:gd name="connsiteX20" fmla="*/ 6056 w 10000"/>
                    <a:gd name="connsiteY20" fmla="*/ 5200 h 9938"/>
                    <a:gd name="connsiteX21" fmla="*/ 6111 w 10000"/>
                    <a:gd name="connsiteY21" fmla="*/ 4969 h 9938"/>
                    <a:gd name="connsiteX22" fmla="*/ 6056 w 10000"/>
                    <a:gd name="connsiteY22" fmla="*/ 4684 h 9938"/>
                    <a:gd name="connsiteX23" fmla="*/ 6056 w 10000"/>
                    <a:gd name="connsiteY23" fmla="*/ 4684 h 9938"/>
                    <a:gd name="connsiteX24" fmla="*/ 6000 w 10000"/>
                    <a:gd name="connsiteY24" fmla="*/ 4507 h 9938"/>
                    <a:gd name="connsiteX25" fmla="*/ 5944 w 10000"/>
                    <a:gd name="connsiteY25" fmla="*/ 4390 h 9938"/>
                    <a:gd name="connsiteX26" fmla="*/ 5833 w 10000"/>
                    <a:gd name="connsiteY26" fmla="*/ 4390 h 9938"/>
                    <a:gd name="connsiteX27" fmla="*/ 5667 w 10000"/>
                    <a:gd name="connsiteY27" fmla="*/ 4450 h 9938"/>
                    <a:gd name="connsiteX28" fmla="*/ 5333 w 10000"/>
                    <a:gd name="connsiteY28" fmla="*/ 4622 h 9938"/>
                    <a:gd name="connsiteX29" fmla="*/ 4889 w 10000"/>
                    <a:gd name="connsiteY29" fmla="*/ 4914 h 9938"/>
                    <a:gd name="connsiteX30" fmla="*/ 4889 w 10000"/>
                    <a:gd name="connsiteY30" fmla="*/ 4914 h 9938"/>
                    <a:gd name="connsiteX31" fmla="*/ 4611 w 10000"/>
                    <a:gd name="connsiteY31" fmla="*/ 4969 h 9938"/>
                    <a:gd name="connsiteX32" fmla="*/ 4500 w 10000"/>
                    <a:gd name="connsiteY32" fmla="*/ 4969 h 9938"/>
                    <a:gd name="connsiteX33" fmla="*/ 4444 w 10000"/>
                    <a:gd name="connsiteY33" fmla="*/ 4914 h 9938"/>
                    <a:gd name="connsiteX34" fmla="*/ 4389 w 10000"/>
                    <a:gd name="connsiteY34" fmla="*/ 4684 h 9938"/>
                    <a:gd name="connsiteX35" fmla="*/ 4222 w 10000"/>
                    <a:gd name="connsiteY35" fmla="*/ 4390 h 9938"/>
                    <a:gd name="connsiteX36" fmla="*/ 4222 w 10000"/>
                    <a:gd name="connsiteY36" fmla="*/ 4390 h 9938"/>
                    <a:gd name="connsiteX37" fmla="*/ 4111 w 10000"/>
                    <a:gd name="connsiteY37" fmla="*/ 4222 h 9938"/>
                    <a:gd name="connsiteX38" fmla="*/ 4111 w 10000"/>
                    <a:gd name="connsiteY38" fmla="*/ 4046 h 9938"/>
                    <a:gd name="connsiteX39" fmla="*/ 4111 w 10000"/>
                    <a:gd name="connsiteY39" fmla="*/ 3928 h 9938"/>
                    <a:gd name="connsiteX40" fmla="*/ 4167 w 10000"/>
                    <a:gd name="connsiteY40" fmla="*/ 3816 h 9938"/>
                    <a:gd name="connsiteX41" fmla="*/ 4278 w 10000"/>
                    <a:gd name="connsiteY41" fmla="*/ 3583 h 9938"/>
                    <a:gd name="connsiteX42" fmla="*/ 4389 w 10000"/>
                    <a:gd name="connsiteY42" fmla="*/ 3524 h 9938"/>
                    <a:gd name="connsiteX43" fmla="*/ 4389 w 10000"/>
                    <a:gd name="connsiteY43" fmla="*/ 3524 h 9938"/>
                    <a:gd name="connsiteX44" fmla="*/ 4389 w 10000"/>
                    <a:gd name="connsiteY44" fmla="*/ 3470 h 9938"/>
                    <a:gd name="connsiteX45" fmla="*/ 4444 w 10000"/>
                    <a:gd name="connsiteY45" fmla="*/ 3410 h 9938"/>
                    <a:gd name="connsiteX46" fmla="*/ 4667 w 10000"/>
                    <a:gd name="connsiteY46" fmla="*/ 3351 h 9938"/>
                    <a:gd name="connsiteX47" fmla="*/ 5333 w 10000"/>
                    <a:gd name="connsiteY47" fmla="*/ 3240 h 9938"/>
                    <a:gd name="connsiteX48" fmla="*/ 6500 w 10000"/>
                    <a:gd name="connsiteY48" fmla="*/ 3066 h 9938"/>
                    <a:gd name="connsiteX49" fmla="*/ 6500 w 10000"/>
                    <a:gd name="connsiteY49" fmla="*/ 3066 h 9938"/>
                    <a:gd name="connsiteX50" fmla="*/ 7167 w 10000"/>
                    <a:gd name="connsiteY50" fmla="*/ 2891 h 9938"/>
                    <a:gd name="connsiteX51" fmla="*/ 8389 w 10000"/>
                    <a:gd name="connsiteY51" fmla="*/ 2542 h 9938"/>
                    <a:gd name="connsiteX52" fmla="*/ 8389 w 10000"/>
                    <a:gd name="connsiteY52" fmla="*/ 2542 h 9938"/>
                    <a:gd name="connsiteX53" fmla="*/ 8667 w 10000"/>
                    <a:gd name="connsiteY53" fmla="*/ 2422 h 9938"/>
                    <a:gd name="connsiteX54" fmla="*/ 8778 w 10000"/>
                    <a:gd name="connsiteY54" fmla="*/ 2252 h 9938"/>
                    <a:gd name="connsiteX55" fmla="*/ 8889 w 10000"/>
                    <a:gd name="connsiteY55" fmla="*/ 2138 h 9938"/>
                    <a:gd name="connsiteX56" fmla="*/ 8833 w 10000"/>
                    <a:gd name="connsiteY56" fmla="*/ 2021 h 9938"/>
                    <a:gd name="connsiteX57" fmla="*/ 8833 w 10000"/>
                    <a:gd name="connsiteY57" fmla="*/ 1905 h 9938"/>
                    <a:gd name="connsiteX58" fmla="*/ 8722 w 10000"/>
                    <a:gd name="connsiteY58" fmla="*/ 1790 h 9938"/>
                    <a:gd name="connsiteX59" fmla="*/ 8556 w 10000"/>
                    <a:gd name="connsiteY59" fmla="*/ 1619 h 9938"/>
                    <a:gd name="connsiteX60" fmla="*/ 8556 w 10000"/>
                    <a:gd name="connsiteY60" fmla="*/ 1619 h 9938"/>
                    <a:gd name="connsiteX61" fmla="*/ 6556 w 10000"/>
                    <a:gd name="connsiteY61" fmla="*/ 580 h 9938"/>
                    <a:gd name="connsiteX62" fmla="*/ 6556 w 10000"/>
                    <a:gd name="connsiteY62" fmla="*/ 580 h 9938"/>
                    <a:gd name="connsiteX63" fmla="*/ 6333 w 10000"/>
                    <a:gd name="connsiteY63" fmla="*/ 409 h 9938"/>
                    <a:gd name="connsiteX64" fmla="*/ 6167 w 10000"/>
                    <a:gd name="connsiteY64" fmla="*/ 235 h 9938"/>
                    <a:gd name="connsiteX65" fmla="*/ 6056 w 10000"/>
                    <a:gd name="connsiteY65" fmla="*/ 59 h 9938"/>
                    <a:gd name="connsiteX66" fmla="*/ 6056 w 10000"/>
                    <a:gd name="connsiteY66" fmla="*/ 59 h 9938"/>
                    <a:gd name="connsiteX67" fmla="*/ 8056 w 10000"/>
                    <a:gd name="connsiteY67" fmla="*/ 0 h 9938"/>
                    <a:gd name="connsiteX68" fmla="*/ 10000 w 10000"/>
                    <a:gd name="connsiteY68" fmla="*/ 580 h 9938"/>
                    <a:gd name="connsiteX69" fmla="*/ 10000 w 10000"/>
                    <a:gd name="connsiteY69" fmla="*/ 7976 h 9938"/>
                    <a:gd name="connsiteX70" fmla="*/ 10000 w 10000"/>
                    <a:gd name="connsiteY70" fmla="*/ 7976 h 9938"/>
                    <a:gd name="connsiteX71" fmla="*/ 9722 w 10000"/>
                    <a:gd name="connsiteY71" fmla="*/ 7920 h 9938"/>
                    <a:gd name="connsiteX72" fmla="*/ 9389 w 10000"/>
                    <a:gd name="connsiteY72" fmla="*/ 7976 h 9938"/>
                    <a:gd name="connsiteX73" fmla="*/ 9389 w 10000"/>
                    <a:gd name="connsiteY73" fmla="*/ 7976 h 9938"/>
                    <a:gd name="connsiteX74" fmla="*/ 9278 w 10000"/>
                    <a:gd name="connsiteY74" fmla="*/ 8036 h 9938"/>
                    <a:gd name="connsiteX75" fmla="*/ 9056 w 10000"/>
                    <a:gd name="connsiteY75" fmla="*/ 7976 h 9938"/>
                    <a:gd name="connsiteX76" fmla="*/ 8889 w 10000"/>
                    <a:gd name="connsiteY76" fmla="*/ 7920 h 9938"/>
                    <a:gd name="connsiteX77" fmla="*/ 8722 w 10000"/>
                    <a:gd name="connsiteY77" fmla="*/ 7799 h 9938"/>
                    <a:gd name="connsiteX78" fmla="*/ 8611 w 10000"/>
                    <a:gd name="connsiteY78" fmla="*/ 7627 h 9938"/>
                    <a:gd name="connsiteX79" fmla="*/ 8444 w 10000"/>
                    <a:gd name="connsiteY79" fmla="*/ 7341 h 9938"/>
                    <a:gd name="connsiteX80" fmla="*/ 8444 w 10000"/>
                    <a:gd name="connsiteY80" fmla="*/ 7341 h 9938"/>
                    <a:gd name="connsiteX81" fmla="*/ 8222 w 10000"/>
                    <a:gd name="connsiteY81" fmla="*/ 6822 h 9938"/>
                    <a:gd name="connsiteX82" fmla="*/ 8111 w 10000"/>
                    <a:gd name="connsiteY82" fmla="*/ 6588 h 9938"/>
                    <a:gd name="connsiteX83" fmla="*/ 7944 w 10000"/>
                    <a:gd name="connsiteY83" fmla="*/ 6418 h 9938"/>
                    <a:gd name="connsiteX84" fmla="*/ 7778 w 10000"/>
                    <a:gd name="connsiteY84" fmla="*/ 6301 h 9938"/>
                    <a:gd name="connsiteX85" fmla="*/ 7556 w 10000"/>
                    <a:gd name="connsiteY85" fmla="*/ 6239 h 9938"/>
                    <a:gd name="connsiteX86" fmla="*/ 7333 w 10000"/>
                    <a:gd name="connsiteY86" fmla="*/ 6182 h 9938"/>
                    <a:gd name="connsiteX87" fmla="*/ 7000 w 10000"/>
                    <a:gd name="connsiteY87" fmla="*/ 6125 h 9938"/>
                    <a:gd name="connsiteX88" fmla="*/ 7000 w 10000"/>
                    <a:gd name="connsiteY88" fmla="*/ 6125 h 9938"/>
                    <a:gd name="connsiteX89" fmla="*/ 6556 w 10000"/>
                    <a:gd name="connsiteY89" fmla="*/ 6182 h 9938"/>
                    <a:gd name="connsiteX90" fmla="*/ 6222 w 10000"/>
                    <a:gd name="connsiteY90" fmla="*/ 6182 h 9938"/>
                    <a:gd name="connsiteX91" fmla="*/ 6111 w 10000"/>
                    <a:gd name="connsiteY91" fmla="*/ 6125 h 9938"/>
                    <a:gd name="connsiteX92" fmla="*/ 6056 w 10000"/>
                    <a:gd name="connsiteY92" fmla="*/ 6067 h 9938"/>
                    <a:gd name="connsiteX93" fmla="*/ 6056 w 10000"/>
                    <a:gd name="connsiteY93" fmla="*/ 6067 h 9938"/>
                    <a:gd name="connsiteX94" fmla="*/ 6056 w 10000"/>
                    <a:gd name="connsiteY94" fmla="*/ 5028 h 9938"/>
                    <a:gd name="connsiteX95" fmla="*/ 6056 w 10000"/>
                    <a:gd name="connsiteY95" fmla="*/ 5028 h 9938"/>
                    <a:gd name="connsiteX96" fmla="*/ 6056 w 10000"/>
                    <a:gd name="connsiteY96" fmla="*/ 4795 h 9938"/>
                    <a:gd name="connsiteX97" fmla="*/ 5944 w 10000"/>
                    <a:gd name="connsiteY97" fmla="*/ 4507 h 9938"/>
                    <a:gd name="connsiteX98" fmla="*/ 5889 w 10000"/>
                    <a:gd name="connsiteY98" fmla="*/ 4450 h 9938"/>
                    <a:gd name="connsiteX99" fmla="*/ 5778 w 10000"/>
                    <a:gd name="connsiteY99" fmla="*/ 4390 h 9938"/>
                    <a:gd name="connsiteX100" fmla="*/ 5667 w 10000"/>
                    <a:gd name="connsiteY100" fmla="*/ 4390 h 9938"/>
                    <a:gd name="connsiteX101" fmla="*/ 5500 w 10000"/>
                    <a:gd name="connsiteY101" fmla="*/ 4450 h 9938"/>
                    <a:gd name="connsiteX102" fmla="*/ 5500 w 10000"/>
                    <a:gd name="connsiteY102" fmla="*/ 4450 h 9938"/>
                    <a:gd name="connsiteX103" fmla="*/ 4889 w 10000"/>
                    <a:gd name="connsiteY103" fmla="*/ 4855 h 9938"/>
                    <a:gd name="connsiteX104" fmla="*/ 4611 w 10000"/>
                    <a:gd name="connsiteY104" fmla="*/ 4969 h 9938"/>
                    <a:gd name="connsiteX105" fmla="*/ 4556 w 10000"/>
                    <a:gd name="connsiteY105" fmla="*/ 5028 h 9938"/>
                    <a:gd name="connsiteX106" fmla="*/ 4500 w 10000"/>
                    <a:gd name="connsiteY106" fmla="*/ 4969 h 9938"/>
                    <a:gd name="connsiteX107" fmla="*/ 4500 w 10000"/>
                    <a:gd name="connsiteY107" fmla="*/ 4969 h 9938"/>
                    <a:gd name="connsiteX108" fmla="*/ 4222 w 10000"/>
                    <a:gd name="connsiteY108" fmla="*/ 4390 h 9938"/>
                    <a:gd name="connsiteX109" fmla="*/ 4222 w 10000"/>
                    <a:gd name="connsiteY109" fmla="*/ 4390 h 9938"/>
                    <a:gd name="connsiteX110" fmla="*/ 4111 w 10000"/>
                    <a:gd name="connsiteY110" fmla="*/ 4104 h 9938"/>
                    <a:gd name="connsiteX111" fmla="*/ 4111 w 10000"/>
                    <a:gd name="connsiteY111" fmla="*/ 3928 h 9938"/>
                    <a:gd name="connsiteX112" fmla="*/ 4111 w 10000"/>
                    <a:gd name="connsiteY112" fmla="*/ 3757 h 9938"/>
                    <a:gd name="connsiteX113" fmla="*/ 4111 w 10000"/>
                    <a:gd name="connsiteY113" fmla="*/ 3757 h 9938"/>
                    <a:gd name="connsiteX114" fmla="*/ 4278 w 10000"/>
                    <a:gd name="connsiteY114" fmla="*/ 3583 h 9938"/>
                    <a:gd name="connsiteX115" fmla="*/ 4389 w 10000"/>
                    <a:gd name="connsiteY115" fmla="*/ 3524 h 9938"/>
                    <a:gd name="connsiteX116" fmla="*/ 4389 w 10000"/>
                    <a:gd name="connsiteY116" fmla="*/ 3524 h 9938"/>
                    <a:gd name="connsiteX117" fmla="*/ 4000 w 10000"/>
                    <a:gd name="connsiteY117" fmla="*/ 3524 h 9938"/>
                    <a:gd name="connsiteX118" fmla="*/ 3722 w 10000"/>
                    <a:gd name="connsiteY118" fmla="*/ 3583 h 9938"/>
                    <a:gd name="connsiteX119" fmla="*/ 3611 w 10000"/>
                    <a:gd name="connsiteY119" fmla="*/ 3645 h 9938"/>
                    <a:gd name="connsiteX120" fmla="*/ 3556 w 10000"/>
                    <a:gd name="connsiteY120" fmla="*/ 3699 h 9938"/>
                    <a:gd name="connsiteX121" fmla="*/ 3556 w 10000"/>
                    <a:gd name="connsiteY121" fmla="*/ 3699 h 9938"/>
                    <a:gd name="connsiteX122" fmla="*/ 3444 w 10000"/>
                    <a:gd name="connsiteY122" fmla="*/ 3928 h 9938"/>
                    <a:gd name="connsiteX123" fmla="*/ 3278 w 10000"/>
                    <a:gd name="connsiteY123" fmla="*/ 4278 h 9938"/>
                    <a:gd name="connsiteX124" fmla="*/ 3000 w 10000"/>
                    <a:gd name="connsiteY124" fmla="*/ 4684 h 9938"/>
                    <a:gd name="connsiteX125" fmla="*/ 2667 w 10000"/>
                    <a:gd name="connsiteY125" fmla="*/ 4969 h 9938"/>
                    <a:gd name="connsiteX126" fmla="*/ 2667 w 10000"/>
                    <a:gd name="connsiteY126" fmla="*/ 4969 h 9938"/>
                    <a:gd name="connsiteX127" fmla="*/ 2333 w 10000"/>
                    <a:gd name="connsiteY127" fmla="*/ 5200 h 9938"/>
                    <a:gd name="connsiteX128" fmla="*/ 1833 w 10000"/>
                    <a:gd name="connsiteY128" fmla="*/ 5433 h 9938"/>
                    <a:gd name="connsiteX129" fmla="*/ 1389 w 10000"/>
                    <a:gd name="connsiteY129" fmla="*/ 5550 h 9938"/>
                    <a:gd name="connsiteX130" fmla="*/ 889 w 10000"/>
                    <a:gd name="connsiteY130" fmla="*/ 5604 h 9938"/>
                    <a:gd name="connsiteX131" fmla="*/ 889 w 10000"/>
                    <a:gd name="connsiteY131" fmla="*/ 5604 h 9938"/>
                    <a:gd name="connsiteX132" fmla="*/ 500 w 10000"/>
                    <a:gd name="connsiteY132" fmla="*/ 5665 h 9938"/>
                    <a:gd name="connsiteX133" fmla="*/ 222 w 10000"/>
                    <a:gd name="connsiteY133" fmla="*/ 5725 h 9938"/>
                    <a:gd name="connsiteX134" fmla="*/ 0 w 10000"/>
                    <a:gd name="connsiteY134" fmla="*/ 5784 h 9938"/>
                    <a:gd name="connsiteX135" fmla="*/ 0 w 10000"/>
                    <a:gd name="connsiteY135" fmla="*/ 5784 h 9938"/>
                    <a:gd name="connsiteX136" fmla="*/ 278 w 10000"/>
                    <a:gd name="connsiteY136" fmla="*/ 6702 h 9938"/>
                    <a:gd name="connsiteX137" fmla="*/ 500 w 10000"/>
                    <a:gd name="connsiteY137" fmla="*/ 7398 h 9938"/>
                    <a:gd name="connsiteX138" fmla="*/ 722 w 10000"/>
                    <a:gd name="connsiteY138" fmla="*/ 7976 h 9938"/>
                    <a:gd name="connsiteX139" fmla="*/ 722 w 10000"/>
                    <a:gd name="connsiteY139" fmla="*/ 7976 h 9938"/>
                    <a:gd name="connsiteX140" fmla="*/ 889 w 10000"/>
                    <a:gd name="connsiteY140" fmla="*/ 8324 h 9938"/>
                    <a:gd name="connsiteX141" fmla="*/ 944 w 10000"/>
                    <a:gd name="connsiteY141" fmla="*/ 8613 h 9938"/>
                    <a:gd name="connsiteX142" fmla="*/ 1111 w 10000"/>
                    <a:gd name="connsiteY142" fmla="*/ 8901 h 9938"/>
                    <a:gd name="connsiteX143" fmla="*/ 1333 w 10000"/>
                    <a:gd name="connsiteY143" fmla="*/ 9362 h 9938"/>
                    <a:gd name="connsiteX144" fmla="*/ 1333 w 10000"/>
                    <a:gd name="connsiteY144" fmla="*/ 9362 h 9938"/>
                    <a:gd name="connsiteX145" fmla="*/ 1444 w 10000"/>
                    <a:gd name="connsiteY145" fmla="*/ 9596 h 9938"/>
                    <a:gd name="connsiteX146" fmla="*/ 1500 w 10000"/>
                    <a:gd name="connsiteY146" fmla="*/ 9768 h 9938"/>
                    <a:gd name="connsiteX147" fmla="*/ 1500 w 10000"/>
                    <a:gd name="connsiteY147" fmla="*/ 9938 h 9938"/>
                    <a:gd name="connsiteX0" fmla="*/ 10000 w 10000"/>
                    <a:gd name="connsiteY0" fmla="*/ 7969 h 9829"/>
                    <a:gd name="connsiteX1" fmla="*/ 10000 w 10000"/>
                    <a:gd name="connsiteY1" fmla="*/ 7969 h 9829"/>
                    <a:gd name="connsiteX2" fmla="*/ 9222 w 10000"/>
                    <a:gd name="connsiteY2" fmla="*/ 8026 h 9829"/>
                    <a:gd name="connsiteX3" fmla="*/ 8944 w 10000"/>
                    <a:gd name="connsiteY3" fmla="*/ 8026 h 9829"/>
                    <a:gd name="connsiteX4" fmla="*/ 8833 w 10000"/>
                    <a:gd name="connsiteY4" fmla="*/ 7969 h 9829"/>
                    <a:gd name="connsiteX5" fmla="*/ 8778 w 10000"/>
                    <a:gd name="connsiteY5" fmla="*/ 7909 h 9829"/>
                    <a:gd name="connsiteX6" fmla="*/ 8778 w 10000"/>
                    <a:gd name="connsiteY6" fmla="*/ 7909 h 9829"/>
                    <a:gd name="connsiteX7" fmla="*/ 8444 w 10000"/>
                    <a:gd name="connsiteY7" fmla="*/ 7209 h 9829"/>
                    <a:gd name="connsiteX8" fmla="*/ 8167 w 10000"/>
                    <a:gd name="connsiteY8" fmla="*/ 6572 h 9829"/>
                    <a:gd name="connsiteX9" fmla="*/ 8167 w 10000"/>
                    <a:gd name="connsiteY9" fmla="*/ 6572 h 9829"/>
                    <a:gd name="connsiteX10" fmla="*/ 8056 w 10000"/>
                    <a:gd name="connsiteY10" fmla="*/ 6458 h 9829"/>
                    <a:gd name="connsiteX11" fmla="*/ 7889 w 10000"/>
                    <a:gd name="connsiteY11" fmla="*/ 6340 h 9829"/>
                    <a:gd name="connsiteX12" fmla="*/ 7444 w 10000"/>
                    <a:gd name="connsiteY12" fmla="*/ 6278 h 9829"/>
                    <a:gd name="connsiteX13" fmla="*/ 6889 w 10000"/>
                    <a:gd name="connsiteY13" fmla="*/ 6221 h 9829"/>
                    <a:gd name="connsiteX14" fmla="*/ 6389 w 10000"/>
                    <a:gd name="connsiteY14" fmla="*/ 6221 h 9829"/>
                    <a:gd name="connsiteX15" fmla="*/ 6389 w 10000"/>
                    <a:gd name="connsiteY15" fmla="*/ 6221 h 9829"/>
                    <a:gd name="connsiteX16" fmla="*/ 6167 w 10000"/>
                    <a:gd name="connsiteY16" fmla="*/ 6163 h 9829"/>
                    <a:gd name="connsiteX17" fmla="*/ 6056 w 10000"/>
                    <a:gd name="connsiteY17" fmla="*/ 6052 h 9829"/>
                    <a:gd name="connsiteX18" fmla="*/ 6000 w 10000"/>
                    <a:gd name="connsiteY18" fmla="*/ 5934 h 9829"/>
                    <a:gd name="connsiteX19" fmla="*/ 6000 w 10000"/>
                    <a:gd name="connsiteY19" fmla="*/ 5700 h 9829"/>
                    <a:gd name="connsiteX20" fmla="*/ 6056 w 10000"/>
                    <a:gd name="connsiteY20" fmla="*/ 5232 h 9829"/>
                    <a:gd name="connsiteX21" fmla="*/ 6111 w 10000"/>
                    <a:gd name="connsiteY21" fmla="*/ 5000 h 9829"/>
                    <a:gd name="connsiteX22" fmla="*/ 6056 w 10000"/>
                    <a:gd name="connsiteY22" fmla="*/ 4713 h 9829"/>
                    <a:gd name="connsiteX23" fmla="*/ 6056 w 10000"/>
                    <a:gd name="connsiteY23" fmla="*/ 4713 h 9829"/>
                    <a:gd name="connsiteX24" fmla="*/ 6000 w 10000"/>
                    <a:gd name="connsiteY24" fmla="*/ 4535 h 9829"/>
                    <a:gd name="connsiteX25" fmla="*/ 5944 w 10000"/>
                    <a:gd name="connsiteY25" fmla="*/ 4417 h 9829"/>
                    <a:gd name="connsiteX26" fmla="*/ 5833 w 10000"/>
                    <a:gd name="connsiteY26" fmla="*/ 4417 h 9829"/>
                    <a:gd name="connsiteX27" fmla="*/ 5667 w 10000"/>
                    <a:gd name="connsiteY27" fmla="*/ 4478 h 9829"/>
                    <a:gd name="connsiteX28" fmla="*/ 5333 w 10000"/>
                    <a:gd name="connsiteY28" fmla="*/ 4651 h 9829"/>
                    <a:gd name="connsiteX29" fmla="*/ 4889 w 10000"/>
                    <a:gd name="connsiteY29" fmla="*/ 4945 h 9829"/>
                    <a:gd name="connsiteX30" fmla="*/ 4889 w 10000"/>
                    <a:gd name="connsiteY30" fmla="*/ 4945 h 9829"/>
                    <a:gd name="connsiteX31" fmla="*/ 4611 w 10000"/>
                    <a:gd name="connsiteY31" fmla="*/ 5000 h 9829"/>
                    <a:gd name="connsiteX32" fmla="*/ 4500 w 10000"/>
                    <a:gd name="connsiteY32" fmla="*/ 5000 h 9829"/>
                    <a:gd name="connsiteX33" fmla="*/ 4444 w 10000"/>
                    <a:gd name="connsiteY33" fmla="*/ 4945 h 9829"/>
                    <a:gd name="connsiteX34" fmla="*/ 4389 w 10000"/>
                    <a:gd name="connsiteY34" fmla="*/ 4713 h 9829"/>
                    <a:gd name="connsiteX35" fmla="*/ 4222 w 10000"/>
                    <a:gd name="connsiteY35" fmla="*/ 4417 h 9829"/>
                    <a:gd name="connsiteX36" fmla="*/ 4222 w 10000"/>
                    <a:gd name="connsiteY36" fmla="*/ 4417 h 9829"/>
                    <a:gd name="connsiteX37" fmla="*/ 4111 w 10000"/>
                    <a:gd name="connsiteY37" fmla="*/ 4248 h 9829"/>
                    <a:gd name="connsiteX38" fmla="*/ 4111 w 10000"/>
                    <a:gd name="connsiteY38" fmla="*/ 4071 h 9829"/>
                    <a:gd name="connsiteX39" fmla="*/ 4111 w 10000"/>
                    <a:gd name="connsiteY39" fmla="*/ 3953 h 9829"/>
                    <a:gd name="connsiteX40" fmla="*/ 4167 w 10000"/>
                    <a:gd name="connsiteY40" fmla="*/ 3840 h 9829"/>
                    <a:gd name="connsiteX41" fmla="*/ 4278 w 10000"/>
                    <a:gd name="connsiteY41" fmla="*/ 3605 h 9829"/>
                    <a:gd name="connsiteX42" fmla="*/ 4389 w 10000"/>
                    <a:gd name="connsiteY42" fmla="*/ 3546 h 9829"/>
                    <a:gd name="connsiteX43" fmla="*/ 4389 w 10000"/>
                    <a:gd name="connsiteY43" fmla="*/ 3546 h 9829"/>
                    <a:gd name="connsiteX44" fmla="*/ 4389 w 10000"/>
                    <a:gd name="connsiteY44" fmla="*/ 3492 h 9829"/>
                    <a:gd name="connsiteX45" fmla="*/ 4444 w 10000"/>
                    <a:gd name="connsiteY45" fmla="*/ 3431 h 9829"/>
                    <a:gd name="connsiteX46" fmla="*/ 4667 w 10000"/>
                    <a:gd name="connsiteY46" fmla="*/ 3372 h 9829"/>
                    <a:gd name="connsiteX47" fmla="*/ 5333 w 10000"/>
                    <a:gd name="connsiteY47" fmla="*/ 3260 h 9829"/>
                    <a:gd name="connsiteX48" fmla="*/ 6500 w 10000"/>
                    <a:gd name="connsiteY48" fmla="*/ 3085 h 9829"/>
                    <a:gd name="connsiteX49" fmla="*/ 6500 w 10000"/>
                    <a:gd name="connsiteY49" fmla="*/ 3085 h 9829"/>
                    <a:gd name="connsiteX50" fmla="*/ 7167 w 10000"/>
                    <a:gd name="connsiteY50" fmla="*/ 2909 h 9829"/>
                    <a:gd name="connsiteX51" fmla="*/ 8389 w 10000"/>
                    <a:gd name="connsiteY51" fmla="*/ 2558 h 9829"/>
                    <a:gd name="connsiteX52" fmla="*/ 8389 w 10000"/>
                    <a:gd name="connsiteY52" fmla="*/ 2558 h 9829"/>
                    <a:gd name="connsiteX53" fmla="*/ 8667 w 10000"/>
                    <a:gd name="connsiteY53" fmla="*/ 2437 h 9829"/>
                    <a:gd name="connsiteX54" fmla="*/ 8778 w 10000"/>
                    <a:gd name="connsiteY54" fmla="*/ 2266 h 9829"/>
                    <a:gd name="connsiteX55" fmla="*/ 8889 w 10000"/>
                    <a:gd name="connsiteY55" fmla="*/ 2151 h 9829"/>
                    <a:gd name="connsiteX56" fmla="*/ 8833 w 10000"/>
                    <a:gd name="connsiteY56" fmla="*/ 2034 h 9829"/>
                    <a:gd name="connsiteX57" fmla="*/ 8833 w 10000"/>
                    <a:gd name="connsiteY57" fmla="*/ 1917 h 9829"/>
                    <a:gd name="connsiteX58" fmla="*/ 8722 w 10000"/>
                    <a:gd name="connsiteY58" fmla="*/ 1801 h 9829"/>
                    <a:gd name="connsiteX59" fmla="*/ 8556 w 10000"/>
                    <a:gd name="connsiteY59" fmla="*/ 1629 h 9829"/>
                    <a:gd name="connsiteX60" fmla="*/ 8556 w 10000"/>
                    <a:gd name="connsiteY60" fmla="*/ 1629 h 9829"/>
                    <a:gd name="connsiteX61" fmla="*/ 6556 w 10000"/>
                    <a:gd name="connsiteY61" fmla="*/ 584 h 9829"/>
                    <a:gd name="connsiteX62" fmla="*/ 6556 w 10000"/>
                    <a:gd name="connsiteY62" fmla="*/ 584 h 9829"/>
                    <a:gd name="connsiteX63" fmla="*/ 6333 w 10000"/>
                    <a:gd name="connsiteY63" fmla="*/ 412 h 9829"/>
                    <a:gd name="connsiteX64" fmla="*/ 6167 w 10000"/>
                    <a:gd name="connsiteY64" fmla="*/ 236 h 9829"/>
                    <a:gd name="connsiteX65" fmla="*/ 6056 w 10000"/>
                    <a:gd name="connsiteY65" fmla="*/ 59 h 9829"/>
                    <a:gd name="connsiteX66" fmla="*/ 6056 w 10000"/>
                    <a:gd name="connsiteY66" fmla="*/ 59 h 9829"/>
                    <a:gd name="connsiteX67" fmla="*/ 8056 w 10000"/>
                    <a:gd name="connsiteY67" fmla="*/ 0 h 9829"/>
                    <a:gd name="connsiteX68" fmla="*/ 10000 w 10000"/>
                    <a:gd name="connsiteY68" fmla="*/ 584 h 9829"/>
                    <a:gd name="connsiteX69" fmla="*/ 10000 w 10000"/>
                    <a:gd name="connsiteY69" fmla="*/ 8026 h 9829"/>
                    <a:gd name="connsiteX70" fmla="*/ 10000 w 10000"/>
                    <a:gd name="connsiteY70" fmla="*/ 8026 h 9829"/>
                    <a:gd name="connsiteX71" fmla="*/ 9722 w 10000"/>
                    <a:gd name="connsiteY71" fmla="*/ 7969 h 9829"/>
                    <a:gd name="connsiteX72" fmla="*/ 9389 w 10000"/>
                    <a:gd name="connsiteY72" fmla="*/ 8026 h 9829"/>
                    <a:gd name="connsiteX73" fmla="*/ 9389 w 10000"/>
                    <a:gd name="connsiteY73" fmla="*/ 8026 h 9829"/>
                    <a:gd name="connsiteX74" fmla="*/ 9278 w 10000"/>
                    <a:gd name="connsiteY74" fmla="*/ 8086 h 9829"/>
                    <a:gd name="connsiteX75" fmla="*/ 9056 w 10000"/>
                    <a:gd name="connsiteY75" fmla="*/ 8026 h 9829"/>
                    <a:gd name="connsiteX76" fmla="*/ 8889 w 10000"/>
                    <a:gd name="connsiteY76" fmla="*/ 7969 h 9829"/>
                    <a:gd name="connsiteX77" fmla="*/ 8722 w 10000"/>
                    <a:gd name="connsiteY77" fmla="*/ 7848 h 9829"/>
                    <a:gd name="connsiteX78" fmla="*/ 8611 w 10000"/>
                    <a:gd name="connsiteY78" fmla="*/ 7675 h 9829"/>
                    <a:gd name="connsiteX79" fmla="*/ 8444 w 10000"/>
                    <a:gd name="connsiteY79" fmla="*/ 7387 h 9829"/>
                    <a:gd name="connsiteX80" fmla="*/ 8444 w 10000"/>
                    <a:gd name="connsiteY80" fmla="*/ 7387 h 9829"/>
                    <a:gd name="connsiteX81" fmla="*/ 8222 w 10000"/>
                    <a:gd name="connsiteY81" fmla="*/ 6865 h 9829"/>
                    <a:gd name="connsiteX82" fmla="*/ 8111 w 10000"/>
                    <a:gd name="connsiteY82" fmla="*/ 6629 h 9829"/>
                    <a:gd name="connsiteX83" fmla="*/ 7944 w 10000"/>
                    <a:gd name="connsiteY83" fmla="*/ 6458 h 9829"/>
                    <a:gd name="connsiteX84" fmla="*/ 7778 w 10000"/>
                    <a:gd name="connsiteY84" fmla="*/ 6340 h 9829"/>
                    <a:gd name="connsiteX85" fmla="*/ 7556 w 10000"/>
                    <a:gd name="connsiteY85" fmla="*/ 6278 h 9829"/>
                    <a:gd name="connsiteX86" fmla="*/ 7333 w 10000"/>
                    <a:gd name="connsiteY86" fmla="*/ 6221 h 9829"/>
                    <a:gd name="connsiteX87" fmla="*/ 7000 w 10000"/>
                    <a:gd name="connsiteY87" fmla="*/ 6163 h 9829"/>
                    <a:gd name="connsiteX88" fmla="*/ 7000 w 10000"/>
                    <a:gd name="connsiteY88" fmla="*/ 6163 h 9829"/>
                    <a:gd name="connsiteX89" fmla="*/ 6556 w 10000"/>
                    <a:gd name="connsiteY89" fmla="*/ 6221 h 9829"/>
                    <a:gd name="connsiteX90" fmla="*/ 6222 w 10000"/>
                    <a:gd name="connsiteY90" fmla="*/ 6221 h 9829"/>
                    <a:gd name="connsiteX91" fmla="*/ 6111 w 10000"/>
                    <a:gd name="connsiteY91" fmla="*/ 6163 h 9829"/>
                    <a:gd name="connsiteX92" fmla="*/ 6056 w 10000"/>
                    <a:gd name="connsiteY92" fmla="*/ 6105 h 9829"/>
                    <a:gd name="connsiteX93" fmla="*/ 6056 w 10000"/>
                    <a:gd name="connsiteY93" fmla="*/ 6105 h 9829"/>
                    <a:gd name="connsiteX94" fmla="*/ 6056 w 10000"/>
                    <a:gd name="connsiteY94" fmla="*/ 5059 h 9829"/>
                    <a:gd name="connsiteX95" fmla="*/ 6056 w 10000"/>
                    <a:gd name="connsiteY95" fmla="*/ 5059 h 9829"/>
                    <a:gd name="connsiteX96" fmla="*/ 6056 w 10000"/>
                    <a:gd name="connsiteY96" fmla="*/ 4825 h 9829"/>
                    <a:gd name="connsiteX97" fmla="*/ 5944 w 10000"/>
                    <a:gd name="connsiteY97" fmla="*/ 4535 h 9829"/>
                    <a:gd name="connsiteX98" fmla="*/ 5889 w 10000"/>
                    <a:gd name="connsiteY98" fmla="*/ 4478 h 9829"/>
                    <a:gd name="connsiteX99" fmla="*/ 5778 w 10000"/>
                    <a:gd name="connsiteY99" fmla="*/ 4417 h 9829"/>
                    <a:gd name="connsiteX100" fmla="*/ 5667 w 10000"/>
                    <a:gd name="connsiteY100" fmla="*/ 4417 h 9829"/>
                    <a:gd name="connsiteX101" fmla="*/ 5500 w 10000"/>
                    <a:gd name="connsiteY101" fmla="*/ 4478 h 9829"/>
                    <a:gd name="connsiteX102" fmla="*/ 5500 w 10000"/>
                    <a:gd name="connsiteY102" fmla="*/ 4478 h 9829"/>
                    <a:gd name="connsiteX103" fmla="*/ 4889 w 10000"/>
                    <a:gd name="connsiteY103" fmla="*/ 4885 h 9829"/>
                    <a:gd name="connsiteX104" fmla="*/ 4611 w 10000"/>
                    <a:gd name="connsiteY104" fmla="*/ 5000 h 9829"/>
                    <a:gd name="connsiteX105" fmla="*/ 4556 w 10000"/>
                    <a:gd name="connsiteY105" fmla="*/ 5059 h 9829"/>
                    <a:gd name="connsiteX106" fmla="*/ 4500 w 10000"/>
                    <a:gd name="connsiteY106" fmla="*/ 5000 h 9829"/>
                    <a:gd name="connsiteX107" fmla="*/ 4500 w 10000"/>
                    <a:gd name="connsiteY107" fmla="*/ 5000 h 9829"/>
                    <a:gd name="connsiteX108" fmla="*/ 4222 w 10000"/>
                    <a:gd name="connsiteY108" fmla="*/ 4417 h 9829"/>
                    <a:gd name="connsiteX109" fmla="*/ 4222 w 10000"/>
                    <a:gd name="connsiteY109" fmla="*/ 4417 h 9829"/>
                    <a:gd name="connsiteX110" fmla="*/ 4111 w 10000"/>
                    <a:gd name="connsiteY110" fmla="*/ 4130 h 9829"/>
                    <a:gd name="connsiteX111" fmla="*/ 4111 w 10000"/>
                    <a:gd name="connsiteY111" fmla="*/ 3953 h 9829"/>
                    <a:gd name="connsiteX112" fmla="*/ 4111 w 10000"/>
                    <a:gd name="connsiteY112" fmla="*/ 3780 h 9829"/>
                    <a:gd name="connsiteX113" fmla="*/ 4111 w 10000"/>
                    <a:gd name="connsiteY113" fmla="*/ 3780 h 9829"/>
                    <a:gd name="connsiteX114" fmla="*/ 4278 w 10000"/>
                    <a:gd name="connsiteY114" fmla="*/ 3605 h 9829"/>
                    <a:gd name="connsiteX115" fmla="*/ 4389 w 10000"/>
                    <a:gd name="connsiteY115" fmla="*/ 3546 h 9829"/>
                    <a:gd name="connsiteX116" fmla="*/ 4389 w 10000"/>
                    <a:gd name="connsiteY116" fmla="*/ 3546 h 9829"/>
                    <a:gd name="connsiteX117" fmla="*/ 4000 w 10000"/>
                    <a:gd name="connsiteY117" fmla="*/ 3546 h 9829"/>
                    <a:gd name="connsiteX118" fmla="*/ 3722 w 10000"/>
                    <a:gd name="connsiteY118" fmla="*/ 3605 h 9829"/>
                    <a:gd name="connsiteX119" fmla="*/ 3611 w 10000"/>
                    <a:gd name="connsiteY119" fmla="*/ 3668 h 9829"/>
                    <a:gd name="connsiteX120" fmla="*/ 3556 w 10000"/>
                    <a:gd name="connsiteY120" fmla="*/ 3722 h 9829"/>
                    <a:gd name="connsiteX121" fmla="*/ 3556 w 10000"/>
                    <a:gd name="connsiteY121" fmla="*/ 3722 h 9829"/>
                    <a:gd name="connsiteX122" fmla="*/ 3444 w 10000"/>
                    <a:gd name="connsiteY122" fmla="*/ 3953 h 9829"/>
                    <a:gd name="connsiteX123" fmla="*/ 3278 w 10000"/>
                    <a:gd name="connsiteY123" fmla="*/ 4305 h 9829"/>
                    <a:gd name="connsiteX124" fmla="*/ 3000 w 10000"/>
                    <a:gd name="connsiteY124" fmla="*/ 4713 h 9829"/>
                    <a:gd name="connsiteX125" fmla="*/ 2667 w 10000"/>
                    <a:gd name="connsiteY125" fmla="*/ 5000 h 9829"/>
                    <a:gd name="connsiteX126" fmla="*/ 2667 w 10000"/>
                    <a:gd name="connsiteY126" fmla="*/ 5000 h 9829"/>
                    <a:gd name="connsiteX127" fmla="*/ 2333 w 10000"/>
                    <a:gd name="connsiteY127" fmla="*/ 5232 h 9829"/>
                    <a:gd name="connsiteX128" fmla="*/ 1833 w 10000"/>
                    <a:gd name="connsiteY128" fmla="*/ 5467 h 9829"/>
                    <a:gd name="connsiteX129" fmla="*/ 1389 w 10000"/>
                    <a:gd name="connsiteY129" fmla="*/ 5585 h 9829"/>
                    <a:gd name="connsiteX130" fmla="*/ 889 w 10000"/>
                    <a:gd name="connsiteY130" fmla="*/ 5639 h 9829"/>
                    <a:gd name="connsiteX131" fmla="*/ 889 w 10000"/>
                    <a:gd name="connsiteY131" fmla="*/ 5639 h 9829"/>
                    <a:gd name="connsiteX132" fmla="*/ 500 w 10000"/>
                    <a:gd name="connsiteY132" fmla="*/ 5700 h 9829"/>
                    <a:gd name="connsiteX133" fmla="*/ 222 w 10000"/>
                    <a:gd name="connsiteY133" fmla="*/ 5761 h 9829"/>
                    <a:gd name="connsiteX134" fmla="*/ 0 w 10000"/>
                    <a:gd name="connsiteY134" fmla="*/ 5820 h 9829"/>
                    <a:gd name="connsiteX135" fmla="*/ 0 w 10000"/>
                    <a:gd name="connsiteY135" fmla="*/ 5820 h 9829"/>
                    <a:gd name="connsiteX136" fmla="*/ 278 w 10000"/>
                    <a:gd name="connsiteY136" fmla="*/ 6744 h 9829"/>
                    <a:gd name="connsiteX137" fmla="*/ 500 w 10000"/>
                    <a:gd name="connsiteY137" fmla="*/ 7444 h 9829"/>
                    <a:gd name="connsiteX138" fmla="*/ 722 w 10000"/>
                    <a:gd name="connsiteY138" fmla="*/ 8026 h 9829"/>
                    <a:gd name="connsiteX139" fmla="*/ 722 w 10000"/>
                    <a:gd name="connsiteY139" fmla="*/ 8026 h 9829"/>
                    <a:gd name="connsiteX140" fmla="*/ 889 w 10000"/>
                    <a:gd name="connsiteY140" fmla="*/ 8376 h 9829"/>
                    <a:gd name="connsiteX141" fmla="*/ 944 w 10000"/>
                    <a:gd name="connsiteY141" fmla="*/ 8667 h 9829"/>
                    <a:gd name="connsiteX142" fmla="*/ 1111 w 10000"/>
                    <a:gd name="connsiteY142" fmla="*/ 8957 h 9829"/>
                    <a:gd name="connsiteX143" fmla="*/ 1333 w 10000"/>
                    <a:gd name="connsiteY143" fmla="*/ 9420 h 9829"/>
                    <a:gd name="connsiteX144" fmla="*/ 1333 w 10000"/>
                    <a:gd name="connsiteY144" fmla="*/ 9420 h 9829"/>
                    <a:gd name="connsiteX145" fmla="*/ 1444 w 10000"/>
                    <a:gd name="connsiteY145" fmla="*/ 9656 h 9829"/>
                    <a:gd name="connsiteX146" fmla="*/ 1500 w 10000"/>
                    <a:gd name="connsiteY146" fmla="*/ 9829 h 9829"/>
                    <a:gd name="connsiteX0" fmla="*/ 10000 w 10000"/>
                    <a:gd name="connsiteY0" fmla="*/ 8108 h 9824"/>
                    <a:gd name="connsiteX1" fmla="*/ 10000 w 10000"/>
                    <a:gd name="connsiteY1" fmla="*/ 8108 h 9824"/>
                    <a:gd name="connsiteX2" fmla="*/ 9222 w 10000"/>
                    <a:gd name="connsiteY2" fmla="*/ 8166 h 9824"/>
                    <a:gd name="connsiteX3" fmla="*/ 8944 w 10000"/>
                    <a:gd name="connsiteY3" fmla="*/ 8166 h 9824"/>
                    <a:gd name="connsiteX4" fmla="*/ 8833 w 10000"/>
                    <a:gd name="connsiteY4" fmla="*/ 8108 h 9824"/>
                    <a:gd name="connsiteX5" fmla="*/ 8778 w 10000"/>
                    <a:gd name="connsiteY5" fmla="*/ 8047 h 9824"/>
                    <a:gd name="connsiteX6" fmla="*/ 8778 w 10000"/>
                    <a:gd name="connsiteY6" fmla="*/ 8047 h 9824"/>
                    <a:gd name="connsiteX7" fmla="*/ 8444 w 10000"/>
                    <a:gd name="connsiteY7" fmla="*/ 7334 h 9824"/>
                    <a:gd name="connsiteX8" fmla="*/ 8167 w 10000"/>
                    <a:gd name="connsiteY8" fmla="*/ 6686 h 9824"/>
                    <a:gd name="connsiteX9" fmla="*/ 8167 w 10000"/>
                    <a:gd name="connsiteY9" fmla="*/ 6686 h 9824"/>
                    <a:gd name="connsiteX10" fmla="*/ 8056 w 10000"/>
                    <a:gd name="connsiteY10" fmla="*/ 6570 h 9824"/>
                    <a:gd name="connsiteX11" fmla="*/ 7889 w 10000"/>
                    <a:gd name="connsiteY11" fmla="*/ 6450 h 9824"/>
                    <a:gd name="connsiteX12" fmla="*/ 7444 w 10000"/>
                    <a:gd name="connsiteY12" fmla="*/ 6387 h 9824"/>
                    <a:gd name="connsiteX13" fmla="*/ 6889 w 10000"/>
                    <a:gd name="connsiteY13" fmla="*/ 6329 h 9824"/>
                    <a:gd name="connsiteX14" fmla="*/ 6389 w 10000"/>
                    <a:gd name="connsiteY14" fmla="*/ 6329 h 9824"/>
                    <a:gd name="connsiteX15" fmla="*/ 6389 w 10000"/>
                    <a:gd name="connsiteY15" fmla="*/ 6329 h 9824"/>
                    <a:gd name="connsiteX16" fmla="*/ 6167 w 10000"/>
                    <a:gd name="connsiteY16" fmla="*/ 6270 h 9824"/>
                    <a:gd name="connsiteX17" fmla="*/ 6056 w 10000"/>
                    <a:gd name="connsiteY17" fmla="*/ 6157 h 9824"/>
                    <a:gd name="connsiteX18" fmla="*/ 6000 w 10000"/>
                    <a:gd name="connsiteY18" fmla="*/ 6037 h 9824"/>
                    <a:gd name="connsiteX19" fmla="*/ 6000 w 10000"/>
                    <a:gd name="connsiteY19" fmla="*/ 5799 h 9824"/>
                    <a:gd name="connsiteX20" fmla="*/ 6056 w 10000"/>
                    <a:gd name="connsiteY20" fmla="*/ 5323 h 9824"/>
                    <a:gd name="connsiteX21" fmla="*/ 6111 w 10000"/>
                    <a:gd name="connsiteY21" fmla="*/ 5087 h 9824"/>
                    <a:gd name="connsiteX22" fmla="*/ 6056 w 10000"/>
                    <a:gd name="connsiteY22" fmla="*/ 4795 h 9824"/>
                    <a:gd name="connsiteX23" fmla="*/ 6056 w 10000"/>
                    <a:gd name="connsiteY23" fmla="*/ 4795 h 9824"/>
                    <a:gd name="connsiteX24" fmla="*/ 6000 w 10000"/>
                    <a:gd name="connsiteY24" fmla="*/ 4614 h 9824"/>
                    <a:gd name="connsiteX25" fmla="*/ 5944 w 10000"/>
                    <a:gd name="connsiteY25" fmla="*/ 4494 h 9824"/>
                    <a:gd name="connsiteX26" fmla="*/ 5833 w 10000"/>
                    <a:gd name="connsiteY26" fmla="*/ 4494 h 9824"/>
                    <a:gd name="connsiteX27" fmla="*/ 5667 w 10000"/>
                    <a:gd name="connsiteY27" fmla="*/ 4556 h 9824"/>
                    <a:gd name="connsiteX28" fmla="*/ 5333 w 10000"/>
                    <a:gd name="connsiteY28" fmla="*/ 4732 h 9824"/>
                    <a:gd name="connsiteX29" fmla="*/ 4889 w 10000"/>
                    <a:gd name="connsiteY29" fmla="*/ 5031 h 9824"/>
                    <a:gd name="connsiteX30" fmla="*/ 4889 w 10000"/>
                    <a:gd name="connsiteY30" fmla="*/ 5031 h 9824"/>
                    <a:gd name="connsiteX31" fmla="*/ 4611 w 10000"/>
                    <a:gd name="connsiteY31" fmla="*/ 5087 h 9824"/>
                    <a:gd name="connsiteX32" fmla="*/ 4500 w 10000"/>
                    <a:gd name="connsiteY32" fmla="*/ 5087 h 9824"/>
                    <a:gd name="connsiteX33" fmla="*/ 4444 w 10000"/>
                    <a:gd name="connsiteY33" fmla="*/ 5031 h 9824"/>
                    <a:gd name="connsiteX34" fmla="*/ 4389 w 10000"/>
                    <a:gd name="connsiteY34" fmla="*/ 4795 h 9824"/>
                    <a:gd name="connsiteX35" fmla="*/ 4222 w 10000"/>
                    <a:gd name="connsiteY35" fmla="*/ 4494 h 9824"/>
                    <a:gd name="connsiteX36" fmla="*/ 4222 w 10000"/>
                    <a:gd name="connsiteY36" fmla="*/ 4494 h 9824"/>
                    <a:gd name="connsiteX37" fmla="*/ 4111 w 10000"/>
                    <a:gd name="connsiteY37" fmla="*/ 4322 h 9824"/>
                    <a:gd name="connsiteX38" fmla="*/ 4111 w 10000"/>
                    <a:gd name="connsiteY38" fmla="*/ 4142 h 9824"/>
                    <a:gd name="connsiteX39" fmla="*/ 4111 w 10000"/>
                    <a:gd name="connsiteY39" fmla="*/ 4022 h 9824"/>
                    <a:gd name="connsiteX40" fmla="*/ 4167 w 10000"/>
                    <a:gd name="connsiteY40" fmla="*/ 3907 h 9824"/>
                    <a:gd name="connsiteX41" fmla="*/ 4278 w 10000"/>
                    <a:gd name="connsiteY41" fmla="*/ 3668 h 9824"/>
                    <a:gd name="connsiteX42" fmla="*/ 4389 w 10000"/>
                    <a:gd name="connsiteY42" fmla="*/ 3608 h 9824"/>
                    <a:gd name="connsiteX43" fmla="*/ 4389 w 10000"/>
                    <a:gd name="connsiteY43" fmla="*/ 3608 h 9824"/>
                    <a:gd name="connsiteX44" fmla="*/ 4389 w 10000"/>
                    <a:gd name="connsiteY44" fmla="*/ 3553 h 9824"/>
                    <a:gd name="connsiteX45" fmla="*/ 4444 w 10000"/>
                    <a:gd name="connsiteY45" fmla="*/ 3491 h 9824"/>
                    <a:gd name="connsiteX46" fmla="*/ 4667 w 10000"/>
                    <a:gd name="connsiteY46" fmla="*/ 3431 h 9824"/>
                    <a:gd name="connsiteX47" fmla="*/ 5333 w 10000"/>
                    <a:gd name="connsiteY47" fmla="*/ 3317 h 9824"/>
                    <a:gd name="connsiteX48" fmla="*/ 6500 w 10000"/>
                    <a:gd name="connsiteY48" fmla="*/ 3139 h 9824"/>
                    <a:gd name="connsiteX49" fmla="*/ 6500 w 10000"/>
                    <a:gd name="connsiteY49" fmla="*/ 3139 h 9824"/>
                    <a:gd name="connsiteX50" fmla="*/ 7167 w 10000"/>
                    <a:gd name="connsiteY50" fmla="*/ 2960 h 9824"/>
                    <a:gd name="connsiteX51" fmla="*/ 8389 w 10000"/>
                    <a:gd name="connsiteY51" fmla="*/ 2603 h 9824"/>
                    <a:gd name="connsiteX52" fmla="*/ 8389 w 10000"/>
                    <a:gd name="connsiteY52" fmla="*/ 2603 h 9824"/>
                    <a:gd name="connsiteX53" fmla="*/ 8667 w 10000"/>
                    <a:gd name="connsiteY53" fmla="*/ 2479 h 9824"/>
                    <a:gd name="connsiteX54" fmla="*/ 8778 w 10000"/>
                    <a:gd name="connsiteY54" fmla="*/ 2305 h 9824"/>
                    <a:gd name="connsiteX55" fmla="*/ 8889 w 10000"/>
                    <a:gd name="connsiteY55" fmla="*/ 2188 h 9824"/>
                    <a:gd name="connsiteX56" fmla="*/ 8833 w 10000"/>
                    <a:gd name="connsiteY56" fmla="*/ 2069 h 9824"/>
                    <a:gd name="connsiteX57" fmla="*/ 8833 w 10000"/>
                    <a:gd name="connsiteY57" fmla="*/ 1950 h 9824"/>
                    <a:gd name="connsiteX58" fmla="*/ 8722 w 10000"/>
                    <a:gd name="connsiteY58" fmla="*/ 1832 h 9824"/>
                    <a:gd name="connsiteX59" fmla="*/ 8556 w 10000"/>
                    <a:gd name="connsiteY59" fmla="*/ 1657 h 9824"/>
                    <a:gd name="connsiteX60" fmla="*/ 8556 w 10000"/>
                    <a:gd name="connsiteY60" fmla="*/ 1657 h 9824"/>
                    <a:gd name="connsiteX61" fmla="*/ 6556 w 10000"/>
                    <a:gd name="connsiteY61" fmla="*/ 594 h 9824"/>
                    <a:gd name="connsiteX62" fmla="*/ 6556 w 10000"/>
                    <a:gd name="connsiteY62" fmla="*/ 594 h 9824"/>
                    <a:gd name="connsiteX63" fmla="*/ 6333 w 10000"/>
                    <a:gd name="connsiteY63" fmla="*/ 419 h 9824"/>
                    <a:gd name="connsiteX64" fmla="*/ 6167 w 10000"/>
                    <a:gd name="connsiteY64" fmla="*/ 240 h 9824"/>
                    <a:gd name="connsiteX65" fmla="*/ 6056 w 10000"/>
                    <a:gd name="connsiteY65" fmla="*/ 60 h 9824"/>
                    <a:gd name="connsiteX66" fmla="*/ 6056 w 10000"/>
                    <a:gd name="connsiteY66" fmla="*/ 60 h 9824"/>
                    <a:gd name="connsiteX67" fmla="*/ 8056 w 10000"/>
                    <a:gd name="connsiteY67" fmla="*/ 0 h 9824"/>
                    <a:gd name="connsiteX68" fmla="*/ 10000 w 10000"/>
                    <a:gd name="connsiteY68" fmla="*/ 594 h 9824"/>
                    <a:gd name="connsiteX69" fmla="*/ 10000 w 10000"/>
                    <a:gd name="connsiteY69" fmla="*/ 8166 h 9824"/>
                    <a:gd name="connsiteX70" fmla="*/ 10000 w 10000"/>
                    <a:gd name="connsiteY70" fmla="*/ 8166 h 9824"/>
                    <a:gd name="connsiteX71" fmla="*/ 9722 w 10000"/>
                    <a:gd name="connsiteY71" fmla="*/ 8108 h 9824"/>
                    <a:gd name="connsiteX72" fmla="*/ 9389 w 10000"/>
                    <a:gd name="connsiteY72" fmla="*/ 8166 h 9824"/>
                    <a:gd name="connsiteX73" fmla="*/ 9389 w 10000"/>
                    <a:gd name="connsiteY73" fmla="*/ 8166 h 9824"/>
                    <a:gd name="connsiteX74" fmla="*/ 9278 w 10000"/>
                    <a:gd name="connsiteY74" fmla="*/ 8227 h 9824"/>
                    <a:gd name="connsiteX75" fmla="*/ 9056 w 10000"/>
                    <a:gd name="connsiteY75" fmla="*/ 8166 h 9824"/>
                    <a:gd name="connsiteX76" fmla="*/ 8889 w 10000"/>
                    <a:gd name="connsiteY76" fmla="*/ 8108 h 9824"/>
                    <a:gd name="connsiteX77" fmla="*/ 8722 w 10000"/>
                    <a:gd name="connsiteY77" fmla="*/ 7985 h 9824"/>
                    <a:gd name="connsiteX78" fmla="*/ 8611 w 10000"/>
                    <a:gd name="connsiteY78" fmla="*/ 7809 h 9824"/>
                    <a:gd name="connsiteX79" fmla="*/ 8444 w 10000"/>
                    <a:gd name="connsiteY79" fmla="*/ 7516 h 9824"/>
                    <a:gd name="connsiteX80" fmla="*/ 8444 w 10000"/>
                    <a:gd name="connsiteY80" fmla="*/ 7516 h 9824"/>
                    <a:gd name="connsiteX81" fmla="*/ 8222 w 10000"/>
                    <a:gd name="connsiteY81" fmla="*/ 6984 h 9824"/>
                    <a:gd name="connsiteX82" fmla="*/ 8111 w 10000"/>
                    <a:gd name="connsiteY82" fmla="*/ 6744 h 9824"/>
                    <a:gd name="connsiteX83" fmla="*/ 7944 w 10000"/>
                    <a:gd name="connsiteY83" fmla="*/ 6570 h 9824"/>
                    <a:gd name="connsiteX84" fmla="*/ 7778 w 10000"/>
                    <a:gd name="connsiteY84" fmla="*/ 6450 h 9824"/>
                    <a:gd name="connsiteX85" fmla="*/ 7556 w 10000"/>
                    <a:gd name="connsiteY85" fmla="*/ 6387 h 9824"/>
                    <a:gd name="connsiteX86" fmla="*/ 7333 w 10000"/>
                    <a:gd name="connsiteY86" fmla="*/ 6329 h 9824"/>
                    <a:gd name="connsiteX87" fmla="*/ 7000 w 10000"/>
                    <a:gd name="connsiteY87" fmla="*/ 6270 h 9824"/>
                    <a:gd name="connsiteX88" fmla="*/ 7000 w 10000"/>
                    <a:gd name="connsiteY88" fmla="*/ 6270 h 9824"/>
                    <a:gd name="connsiteX89" fmla="*/ 6556 w 10000"/>
                    <a:gd name="connsiteY89" fmla="*/ 6329 h 9824"/>
                    <a:gd name="connsiteX90" fmla="*/ 6222 w 10000"/>
                    <a:gd name="connsiteY90" fmla="*/ 6329 h 9824"/>
                    <a:gd name="connsiteX91" fmla="*/ 6111 w 10000"/>
                    <a:gd name="connsiteY91" fmla="*/ 6270 h 9824"/>
                    <a:gd name="connsiteX92" fmla="*/ 6056 w 10000"/>
                    <a:gd name="connsiteY92" fmla="*/ 6211 h 9824"/>
                    <a:gd name="connsiteX93" fmla="*/ 6056 w 10000"/>
                    <a:gd name="connsiteY93" fmla="*/ 6211 h 9824"/>
                    <a:gd name="connsiteX94" fmla="*/ 6056 w 10000"/>
                    <a:gd name="connsiteY94" fmla="*/ 5147 h 9824"/>
                    <a:gd name="connsiteX95" fmla="*/ 6056 w 10000"/>
                    <a:gd name="connsiteY95" fmla="*/ 5147 h 9824"/>
                    <a:gd name="connsiteX96" fmla="*/ 6056 w 10000"/>
                    <a:gd name="connsiteY96" fmla="*/ 4909 h 9824"/>
                    <a:gd name="connsiteX97" fmla="*/ 5944 w 10000"/>
                    <a:gd name="connsiteY97" fmla="*/ 4614 h 9824"/>
                    <a:gd name="connsiteX98" fmla="*/ 5889 w 10000"/>
                    <a:gd name="connsiteY98" fmla="*/ 4556 h 9824"/>
                    <a:gd name="connsiteX99" fmla="*/ 5778 w 10000"/>
                    <a:gd name="connsiteY99" fmla="*/ 4494 h 9824"/>
                    <a:gd name="connsiteX100" fmla="*/ 5667 w 10000"/>
                    <a:gd name="connsiteY100" fmla="*/ 4494 h 9824"/>
                    <a:gd name="connsiteX101" fmla="*/ 5500 w 10000"/>
                    <a:gd name="connsiteY101" fmla="*/ 4556 h 9824"/>
                    <a:gd name="connsiteX102" fmla="*/ 5500 w 10000"/>
                    <a:gd name="connsiteY102" fmla="*/ 4556 h 9824"/>
                    <a:gd name="connsiteX103" fmla="*/ 4889 w 10000"/>
                    <a:gd name="connsiteY103" fmla="*/ 4970 h 9824"/>
                    <a:gd name="connsiteX104" fmla="*/ 4611 w 10000"/>
                    <a:gd name="connsiteY104" fmla="*/ 5087 h 9824"/>
                    <a:gd name="connsiteX105" fmla="*/ 4556 w 10000"/>
                    <a:gd name="connsiteY105" fmla="*/ 5147 h 9824"/>
                    <a:gd name="connsiteX106" fmla="*/ 4500 w 10000"/>
                    <a:gd name="connsiteY106" fmla="*/ 5087 h 9824"/>
                    <a:gd name="connsiteX107" fmla="*/ 4500 w 10000"/>
                    <a:gd name="connsiteY107" fmla="*/ 5087 h 9824"/>
                    <a:gd name="connsiteX108" fmla="*/ 4222 w 10000"/>
                    <a:gd name="connsiteY108" fmla="*/ 4494 h 9824"/>
                    <a:gd name="connsiteX109" fmla="*/ 4222 w 10000"/>
                    <a:gd name="connsiteY109" fmla="*/ 4494 h 9824"/>
                    <a:gd name="connsiteX110" fmla="*/ 4111 w 10000"/>
                    <a:gd name="connsiteY110" fmla="*/ 4202 h 9824"/>
                    <a:gd name="connsiteX111" fmla="*/ 4111 w 10000"/>
                    <a:gd name="connsiteY111" fmla="*/ 4022 h 9824"/>
                    <a:gd name="connsiteX112" fmla="*/ 4111 w 10000"/>
                    <a:gd name="connsiteY112" fmla="*/ 3846 h 9824"/>
                    <a:gd name="connsiteX113" fmla="*/ 4111 w 10000"/>
                    <a:gd name="connsiteY113" fmla="*/ 3846 h 9824"/>
                    <a:gd name="connsiteX114" fmla="*/ 4278 w 10000"/>
                    <a:gd name="connsiteY114" fmla="*/ 3668 h 9824"/>
                    <a:gd name="connsiteX115" fmla="*/ 4389 w 10000"/>
                    <a:gd name="connsiteY115" fmla="*/ 3608 h 9824"/>
                    <a:gd name="connsiteX116" fmla="*/ 4389 w 10000"/>
                    <a:gd name="connsiteY116" fmla="*/ 3608 h 9824"/>
                    <a:gd name="connsiteX117" fmla="*/ 4000 w 10000"/>
                    <a:gd name="connsiteY117" fmla="*/ 3608 h 9824"/>
                    <a:gd name="connsiteX118" fmla="*/ 3722 w 10000"/>
                    <a:gd name="connsiteY118" fmla="*/ 3668 h 9824"/>
                    <a:gd name="connsiteX119" fmla="*/ 3611 w 10000"/>
                    <a:gd name="connsiteY119" fmla="*/ 3732 h 9824"/>
                    <a:gd name="connsiteX120" fmla="*/ 3556 w 10000"/>
                    <a:gd name="connsiteY120" fmla="*/ 3787 h 9824"/>
                    <a:gd name="connsiteX121" fmla="*/ 3556 w 10000"/>
                    <a:gd name="connsiteY121" fmla="*/ 3787 h 9824"/>
                    <a:gd name="connsiteX122" fmla="*/ 3444 w 10000"/>
                    <a:gd name="connsiteY122" fmla="*/ 4022 h 9824"/>
                    <a:gd name="connsiteX123" fmla="*/ 3278 w 10000"/>
                    <a:gd name="connsiteY123" fmla="*/ 4380 h 9824"/>
                    <a:gd name="connsiteX124" fmla="*/ 3000 w 10000"/>
                    <a:gd name="connsiteY124" fmla="*/ 4795 h 9824"/>
                    <a:gd name="connsiteX125" fmla="*/ 2667 w 10000"/>
                    <a:gd name="connsiteY125" fmla="*/ 5087 h 9824"/>
                    <a:gd name="connsiteX126" fmla="*/ 2667 w 10000"/>
                    <a:gd name="connsiteY126" fmla="*/ 5087 h 9824"/>
                    <a:gd name="connsiteX127" fmla="*/ 2333 w 10000"/>
                    <a:gd name="connsiteY127" fmla="*/ 5323 h 9824"/>
                    <a:gd name="connsiteX128" fmla="*/ 1833 w 10000"/>
                    <a:gd name="connsiteY128" fmla="*/ 5562 h 9824"/>
                    <a:gd name="connsiteX129" fmla="*/ 1389 w 10000"/>
                    <a:gd name="connsiteY129" fmla="*/ 5682 h 9824"/>
                    <a:gd name="connsiteX130" fmla="*/ 889 w 10000"/>
                    <a:gd name="connsiteY130" fmla="*/ 5737 h 9824"/>
                    <a:gd name="connsiteX131" fmla="*/ 889 w 10000"/>
                    <a:gd name="connsiteY131" fmla="*/ 5737 h 9824"/>
                    <a:gd name="connsiteX132" fmla="*/ 500 w 10000"/>
                    <a:gd name="connsiteY132" fmla="*/ 5799 h 9824"/>
                    <a:gd name="connsiteX133" fmla="*/ 222 w 10000"/>
                    <a:gd name="connsiteY133" fmla="*/ 5861 h 9824"/>
                    <a:gd name="connsiteX134" fmla="*/ 0 w 10000"/>
                    <a:gd name="connsiteY134" fmla="*/ 5921 h 9824"/>
                    <a:gd name="connsiteX135" fmla="*/ 0 w 10000"/>
                    <a:gd name="connsiteY135" fmla="*/ 5921 h 9824"/>
                    <a:gd name="connsiteX136" fmla="*/ 278 w 10000"/>
                    <a:gd name="connsiteY136" fmla="*/ 6861 h 9824"/>
                    <a:gd name="connsiteX137" fmla="*/ 500 w 10000"/>
                    <a:gd name="connsiteY137" fmla="*/ 7574 h 9824"/>
                    <a:gd name="connsiteX138" fmla="*/ 722 w 10000"/>
                    <a:gd name="connsiteY138" fmla="*/ 8166 h 9824"/>
                    <a:gd name="connsiteX139" fmla="*/ 722 w 10000"/>
                    <a:gd name="connsiteY139" fmla="*/ 8166 h 9824"/>
                    <a:gd name="connsiteX140" fmla="*/ 889 w 10000"/>
                    <a:gd name="connsiteY140" fmla="*/ 8522 h 9824"/>
                    <a:gd name="connsiteX141" fmla="*/ 944 w 10000"/>
                    <a:gd name="connsiteY141" fmla="*/ 8818 h 9824"/>
                    <a:gd name="connsiteX142" fmla="*/ 1111 w 10000"/>
                    <a:gd name="connsiteY142" fmla="*/ 9113 h 9824"/>
                    <a:gd name="connsiteX143" fmla="*/ 1333 w 10000"/>
                    <a:gd name="connsiteY143" fmla="*/ 9584 h 9824"/>
                    <a:gd name="connsiteX144" fmla="*/ 1333 w 10000"/>
                    <a:gd name="connsiteY144" fmla="*/ 9584 h 9824"/>
                    <a:gd name="connsiteX145" fmla="*/ 1444 w 10000"/>
                    <a:gd name="connsiteY145" fmla="*/ 9824 h 9824"/>
                    <a:gd name="connsiteX0" fmla="*/ 10000 w 10000"/>
                    <a:gd name="connsiteY0" fmla="*/ 8253 h 9756"/>
                    <a:gd name="connsiteX1" fmla="*/ 10000 w 10000"/>
                    <a:gd name="connsiteY1" fmla="*/ 8253 h 9756"/>
                    <a:gd name="connsiteX2" fmla="*/ 9222 w 10000"/>
                    <a:gd name="connsiteY2" fmla="*/ 8312 h 9756"/>
                    <a:gd name="connsiteX3" fmla="*/ 8944 w 10000"/>
                    <a:gd name="connsiteY3" fmla="*/ 8312 h 9756"/>
                    <a:gd name="connsiteX4" fmla="*/ 8833 w 10000"/>
                    <a:gd name="connsiteY4" fmla="*/ 8253 h 9756"/>
                    <a:gd name="connsiteX5" fmla="*/ 8778 w 10000"/>
                    <a:gd name="connsiteY5" fmla="*/ 8191 h 9756"/>
                    <a:gd name="connsiteX6" fmla="*/ 8778 w 10000"/>
                    <a:gd name="connsiteY6" fmla="*/ 8191 h 9756"/>
                    <a:gd name="connsiteX7" fmla="*/ 8444 w 10000"/>
                    <a:gd name="connsiteY7" fmla="*/ 7465 h 9756"/>
                    <a:gd name="connsiteX8" fmla="*/ 8167 w 10000"/>
                    <a:gd name="connsiteY8" fmla="*/ 6806 h 9756"/>
                    <a:gd name="connsiteX9" fmla="*/ 8167 w 10000"/>
                    <a:gd name="connsiteY9" fmla="*/ 6806 h 9756"/>
                    <a:gd name="connsiteX10" fmla="*/ 8056 w 10000"/>
                    <a:gd name="connsiteY10" fmla="*/ 6688 h 9756"/>
                    <a:gd name="connsiteX11" fmla="*/ 7889 w 10000"/>
                    <a:gd name="connsiteY11" fmla="*/ 6566 h 9756"/>
                    <a:gd name="connsiteX12" fmla="*/ 7444 w 10000"/>
                    <a:gd name="connsiteY12" fmla="*/ 6501 h 9756"/>
                    <a:gd name="connsiteX13" fmla="*/ 6889 w 10000"/>
                    <a:gd name="connsiteY13" fmla="*/ 6442 h 9756"/>
                    <a:gd name="connsiteX14" fmla="*/ 6389 w 10000"/>
                    <a:gd name="connsiteY14" fmla="*/ 6442 h 9756"/>
                    <a:gd name="connsiteX15" fmla="*/ 6389 w 10000"/>
                    <a:gd name="connsiteY15" fmla="*/ 6442 h 9756"/>
                    <a:gd name="connsiteX16" fmla="*/ 6167 w 10000"/>
                    <a:gd name="connsiteY16" fmla="*/ 6382 h 9756"/>
                    <a:gd name="connsiteX17" fmla="*/ 6056 w 10000"/>
                    <a:gd name="connsiteY17" fmla="*/ 6267 h 9756"/>
                    <a:gd name="connsiteX18" fmla="*/ 6000 w 10000"/>
                    <a:gd name="connsiteY18" fmla="*/ 6145 h 9756"/>
                    <a:gd name="connsiteX19" fmla="*/ 6000 w 10000"/>
                    <a:gd name="connsiteY19" fmla="*/ 5903 h 9756"/>
                    <a:gd name="connsiteX20" fmla="*/ 6056 w 10000"/>
                    <a:gd name="connsiteY20" fmla="*/ 5418 h 9756"/>
                    <a:gd name="connsiteX21" fmla="*/ 6111 w 10000"/>
                    <a:gd name="connsiteY21" fmla="*/ 5178 h 9756"/>
                    <a:gd name="connsiteX22" fmla="*/ 6056 w 10000"/>
                    <a:gd name="connsiteY22" fmla="*/ 4881 h 9756"/>
                    <a:gd name="connsiteX23" fmla="*/ 6056 w 10000"/>
                    <a:gd name="connsiteY23" fmla="*/ 4881 h 9756"/>
                    <a:gd name="connsiteX24" fmla="*/ 6000 w 10000"/>
                    <a:gd name="connsiteY24" fmla="*/ 4697 h 9756"/>
                    <a:gd name="connsiteX25" fmla="*/ 5944 w 10000"/>
                    <a:gd name="connsiteY25" fmla="*/ 4575 h 9756"/>
                    <a:gd name="connsiteX26" fmla="*/ 5833 w 10000"/>
                    <a:gd name="connsiteY26" fmla="*/ 4575 h 9756"/>
                    <a:gd name="connsiteX27" fmla="*/ 5667 w 10000"/>
                    <a:gd name="connsiteY27" fmla="*/ 4638 h 9756"/>
                    <a:gd name="connsiteX28" fmla="*/ 5333 w 10000"/>
                    <a:gd name="connsiteY28" fmla="*/ 4817 h 9756"/>
                    <a:gd name="connsiteX29" fmla="*/ 4889 w 10000"/>
                    <a:gd name="connsiteY29" fmla="*/ 5121 h 9756"/>
                    <a:gd name="connsiteX30" fmla="*/ 4889 w 10000"/>
                    <a:gd name="connsiteY30" fmla="*/ 5121 h 9756"/>
                    <a:gd name="connsiteX31" fmla="*/ 4611 w 10000"/>
                    <a:gd name="connsiteY31" fmla="*/ 5178 h 9756"/>
                    <a:gd name="connsiteX32" fmla="*/ 4500 w 10000"/>
                    <a:gd name="connsiteY32" fmla="*/ 5178 h 9756"/>
                    <a:gd name="connsiteX33" fmla="*/ 4444 w 10000"/>
                    <a:gd name="connsiteY33" fmla="*/ 5121 h 9756"/>
                    <a:gd name="connsiteX34" fmla="*/ 4389 w 10000"/>
                    <a:gd name="connsiteY34" fmla="*/ 4881 h 9756"/>
                    <a:gd name="connsiteX35" fmla="*/ 4222 w 10000"/>
                    <a:gd name="connsiteY35" fmla="*/ 4575 h 9756"/>
                    <a:gd name="connsiteX36" fmla="*/ 4222 w 10000"/>
                    <a:gd name="connsiteY36" fmla="*/ 4575 h 9756"/>
                    <a:gd name="connsiteX37" fmla="*/ 4111 w 10000"/>
                    <a:gd name="connsiteY37" fmla="*/ 4399 h 9756"/>
                    <a:gd name="connsiteX38" fmla="*/ 4111 w 10000"/>
                    <a:gd name="connsiteY38" fmla="*/ 4216 h 9756"/>
                    <a:gd name="connsiteX39" fmla="*/ 4111 w 10000"/>
                    <a:gd name="connsiteY39" fmla="*/ 4094 h 9756"/>
                    <a:gd name="connsiteX40" fmla="*/ 4167 w 10000"/>
                    <a:gd name="connsiteY40" fmla="*/ 3977 h 9756"/>
                    <a:gd name="connsiteX41" fmla="*/ 4278 w 10000"/>
                    <a:gd name="connsiteY41" fmla="*/ 3734 h 9756"/>
                    <a:gd name="connsiteX42" fmla="*/ 4389 w 10000"/>
                    <a:gd name="connsiteY42" fmla="*/ 3673 h 9756"/>
                    <a:gd name="connsiteX43" fmla="*/ 4389 w 10000"/>
                    <a:gd name="connsiteY43" fmla="*/ 3673 h 9756"/>
                    <a:gd name="connsiteX44" fmla="*/ 4389 w 10000"/>
                    <a:gd name="connsiteY44" fmla="*/ 3617 h 9756"/>
                    <a:gd name="connsiteX45" fmla="*/ 4444 w 10000"/>
                    <a:gd name="connsiteY45" fmla="*/ 3554 h 9756"/>
                    <a:gd name="connsiteX46" fmla="*/ 4667 w 10000"/>
                    <a:gd name="connsiteY46" fmla="*/ 3492 h 9756"/>
                    <a:gd name="connsiteX47" fmla="*/ 5333 w 10000"/>
                    <a:gd name="connsiteY47" fmla="*/ 3376 h 9756"/>
                    <a:gd name="connsiteX48" fmla="*/ 6500 w 10000"/>
                    <a:gd name="connsiteY48" fmla="*/ 3195 h 9756"/>
                    <a:gd name="connsiteX49" fmla="*/ 6500 w 10000"/>
                    <a:gd name="connsiteY49" fmla="*/ 3195 h 9756"/>
                    <a:gd name="connsiteX50" fmla="*/ 7167 w 10000"/>
                    <a:gd name="connsiteY50" fmla="*/ 3013 h 9756"/>
                    <a:gd name="connsiteX51" fmla="*/ 8389 w 10000"/>
                    <a:gd name="connsiteY51" fmla="*/ 2650 h 9756"/>
                    <a:gd name="connsiteX52" fmla="*/ 8389 w 10000"/>
                    <a:gd name="connsiteY52" fmla="*/ 2650 h 9756"/>
                    <a:gd name="connsiteX53" fmla="*/ 8667 w 10000"/>
                    <a:gd name="connsiteY53" fmla="*/ 2523 h 9756"/>
                    <a:gd name="connsiteX54" fmla="*/ 8778 w 10000"/>
                    <a:gd name="connsiteY54" fmla="*/ 2346 h 9756"/>
                    <a:gd name="connsiteX55" fmla="*/ 8889 w 10000"/>
                    <a:gd name="connsiteY55" fmla="*/ 2227 h 9756"/>
                    <a:gd name="connsiteX56" fmla="*/ 8833 w 10000"/>
                    <a:gd name="connsiteY56" fmla="*/ 2106 h 9756"/>
                    <a:gd name="connsiteX57" fmla="*/ 8833 w 10000"/>
                    <a:gd name="connsiteY57" fmla="*/ 1985 h 9756"/>
                    <a:gd name="connsiteX58" fmla="*/ 8722 w 10000"/>
                    <a:gd name="connsiteY58" fmla="*/ 1865 h 9756"/>
                    <a:gd name="connsiteX59" fmla="*/ 8556 w 10000"/>
                    <a:gd name="connsiteY59" fmla="*/ 1687 h 9756"/>
                    <a:gd name="connsiteX60" fmla="*/ 8556 w 10000"/>
                    <a:gd name="connsiteY60" fmla="*/ 1687 h 9756"/>
                    <a:gd name="connsiteX61" fmla="*/ 6556 w 10000"/>
                    <a:gd name="connsiteY61" fmla="*/ 605 h 9756"/>
                    <a:gd name="connsiteX62" fmla="*/ 6556 w 10000"/>
                    <a:gd name="connsiteY62" fmla="*/ 605 h 9756"/>
                    <a:gd name="connsiteX63" fmla="*/ 6333 w 10000"/>
                    <a:gd name="connsiteY63" fmla="*/ 427 h 9756"/>
                    <a:gd name="connsiteX64" fmla="*/ 6167 w 10000"/>
                    <a:gd name="connsiteY64" fmla="*/ 244 h 9756"/>
                    <a:gd name="connsiteX65" fmla="*/ 6056 w 10000"/>
                    <a:gd name="connsiteY65" fmla="*/ 61 h 9756"/>
                    <a:gd name="connsiteX66" fmla="*/ 6056 w 10000"/>
                    <a:gd name="connsiteY66" fmla="*/ 61 h 9756"/>
                    <a:gd name="connsiteX67" fmla="*/ 8056 w 10000"/>
                    <a:gd name="connsiteY67" fmla="*/ 0 h 9756"/>
                    <a:gd name="connsiteX68" fmla="*/ 10000 w 10000"/>
                    <a:gd name="connsiteY68" fmla="*/ 605 h 9756"/>
                    <a:gd name="connsiteX69" fmla="*/ 10000 w 10000"/>
                    <a:gd name="connsiteY69" fmla="*/ 8312 h 9756"/>
                    <a:gd name="connsiteX70" fmla="*/ 10000 w 10000"/>
                    <a:gd name="connsiteY70" fmla="*/ 8312 h 9756"/>
                    <a:gd name="connsiteX71" fmla="*/ 9722 w 10000"/>
                    <a:gd name="connsiteY71" fmla="*/ 8253 h 9756"/>
                    <a:gd name="connsiteX72" fmla="*/ 9389 w 10000"/>
                    <a:gd name="connsiteY72" fmla="*/ 8312 h 9756"/>
                    <a:gd name="connsiteX73" fmla="*/ 9389 w 10000"/>
                    <a:gd name="connsiteY73" fmla="*/ 8312 h 9756"/>
                    <a:gd name="connsiteX74" fmla="*/ 9278 w 10000"/>
                    <a:gd name="connsiteY74" fmla="*/ 8374 h 9756"/>
                    <a:gd name="connsiteX75" fmla="*/ 9056 w 10000"/>
                    <a:gd name="connsiteY75" fmla="*/ 8312 h 9756"/>
                    <a:gd name="connsiteX76" fmla="*/ 8889 w 10000"/>
                    <a:gd name="connsiteY76" fmla="*/ 8253 h 9756"/>
                    <a:gd name="connsiteX77" fmla="*/ 8722 w 10000"/>
                    <a:gd name="connsiteY77" fmla="*/ 8128 h 9756"/>
                    <a:gd name="connsiteX78" fmla="*/ 8611 w 10000"/>
                    <a:gd name="connsiteY78" fmla="*/ 7949 h 9756"/>
                    <a:gd name="connsiteX79" fmla="*/ 8444 w 10000"/>
                    <a:gd name="connsiteY79" fmla="*/ 7651 h 9756"/>
                    <a:gd name="connsiteX80" fmla="*/ 8444 w 10000"/>
                    <a:gd name="connsiteY80" fmla="*/ 7651 h 9756"/>
                    <a:gd name="connsiteX81" fmla="*/ 8222 w 10000"/>
                    <a:gd name="connsiteY81" fmla="*/ 7109 h 9756"/>
                    <a:gd name="connsiteX82" fmla="*/ 8111 w 10000"/>
                    <a:gd name="connsiteY82" fmla="*/ 6865 h 9756"/>
                    <a:gd name="connsiteX83" fmla="*/ 7944 w 10000"/>
                    <a:gd name="connsiteY83" fmla="*/ 6688 h 9756"/>
                    <a:gd name="connsiteX84" fmla="*/ 7778 w 10000"/>
                    <a:gd name="connsiteY84" fmla="*/ 6566 h 9756"/>
                    <a:gd name="connsiteX85" fmla="*/ 7556 w 10000"/>
                    <a:gd name="connsiteY85" fmla="*/ 6501 h 9756"/>
                    <a:gd name="connsiteX86" fmla="*/ 7333 w 10000"/>
                    <a:gd name="connsiteY86" fmla="*/ 6442 h 9756"/>
                    <a:gd name="connsiteX87" fmla="*/ 7000 w 10000"/>
                    <a:gd name="connsiteY87" fmla="*/ 6382 h 9756"/>
                    <a:gd name="connsiteX88" fmla="*/ 7000 w 10000"/>
                    <a:gd name="connsiteY88" fmla="*/ 6382 h 9756"/>
                    <a:gd name="connsiteX89" fmla="*/ 6556 w 10000"/>
                    <a:gd name="connsiteY89" fmla="*/ 6442 h 9756"/>
                    <a:gd name="connsiteX90" fmla="*/ 6222 w 10000"/>
                    <a:gd name="connsiteY90" fmla="*/ 6442 h 9756"/>
                    <a:gd name="connsiteX91" fmla="*/ 6111 w 10000"/>
                    <a:gd name="connsiteY91" fmla="*/ 6382 h 9756"/>
                    <a:gd name="connsiteX92" fmla="*/ 6056 w 10000"/>
                    <a:gd name="connsiteY92" fmla="*/ 6322 h 9756"/>
                    <a:gd name="connsiteX93" fmla="*/ 6056 w 10000"/>
                    <a:gd name="connsiteY93" fmla="*/ 6322 h 9756"/>
                    <a:gd name="connsiteX94" fmla="*/ 6056 w 10000"/>
                    <a:gd name="connsiteY94" fmla="*/ 5239 h 9756"/>
                    <a:gd name="connsiteX95" fmla="*/ 6056 w 10000"/>
                    <a:gd name="connsiteY95" fmla="*/ 5239 h 9756"/>
                    <a:gd name="connsiteX96" fmla="*/ 6056 w 10000"/>
                    <a:gd name="connsiteY96" fmla="*/ 4997 h 9756"/>
                    <a:gd name="connsiteX97" fmla="*/ 5944 w 10000"/>
                    <a:gd name="connsiteY97" fmla="*/ 4697 h 9756"/>
                    <a:gd name="connsiteX98" fmla="*/ 5889 w 10000"/>
                    <a:gd name="connsiteY98" fmla="*/ 4638 h 9756"/>
                    <a:gd name="connsiteX99" fmla="*/ 5778 w 10000"/>
                    <a:gd name="connsiteY99" fmla="*/ 4575 h 9756"/>
                    <a:gd name="connsiteX100" fmla="*/ 5667 w 10000"/>
                    <a:gd name="connsiteY100" fmla="*/ 4575 h 9756"/>
                    <a:gd name="connsiteX101" fmla="*/ 5500 w 10000"/>
                    <a:gd name="connsiteY101" fmla="*/ 4638 h 9756"/>
                    <a:gd name="connsiteX102" fmla="*/ 5500 w 10000"/>
                    <a:gd name="connsiteY102" fmla="*/ 4638 h 9756"/>
                    <a:gd name="connsiteX103" fmla="*/ 4889 w 10000"/>
                    <a:gd name="connsiteY103" fmla="*/ 5059 h 9756"/>
                    <a:gd name="connsiteX104" fmla="*/ 4611 w 10000"/>
                    <a:gd name="connsiteY104" fmla="*/ 5178 h 9756"/>
                    <a:gd name="connsiteX105" fmla="*/ 4556 w 10000"/>
                    <a:gd name="connsiteY105" fmla="*/ 5239 h 9756"/>
                    <a:gd name="connsiteX106" fmla="*/ 4500 w 10000"/>
                    <a:gd name="connsiteY106" fmla="*/ 5178 h 9756"/>
                    <a:gd name="connsiteX107" fmla="*/ 4500 w 10000"/>
                    <a:gd name="connsiteY107" fmla="*/ 5178 h 9756"/>
                    <a:gd name="connsiteX108" fmla="*/ 4222 w 10000"/>
                    <a:gd name="connsiteY108" fmla="*/ 4575 h 9756"/>
                    <a:gd name="connsiteX109" fmla="*/ 4222 w 10000"/>
                    <a:gd name="connsiteY109" fmla="*/ 4575 h 9756"/>
                    <a:gd name="connsiteX110" fmla="*/ 4111 w 10000"/>
                    <a:gd name="connsiteY110" fmla="*/ 4277 h 9756"/>
                    <a:gd name="connsiteX111" fmla="*/ 4111 w 10000"/>
                    <a:gd name="connsiteY111" fmla="*/ 4094 h 9756"/>
                    <a:gd name="connsiteX112" fmla="*/ 4111 w 10000"/>
                    <a:gd name="connsiteY112" fmla="*/ 3915 h 9756"/>
                    <a:gd name="connsiteX113" fmla="*/ 4111 w 10000"/>
                    <a:gd name="connsiteY113" fmla="*/ 3915 h 9756"/>
                    <a:gd name="connsiteX114" fmla="*/ 4278 w 10000"/>
                    <a:gd name="connsiteY114" fmla="*/ 3734 h 9756"/>
                    <a:gd name="connsiteX115" fmla="*/ 4389 w 10000"/>
                    <a:gd name="connsiteY115" fmla="*/ 3673 h 9756"/>
                    <a:gd name="connsiteX116" fmla="*/ 4389 w 10000"/>
                    <a:gd name="connsiteY116" fmla="*/ 3673 h 9756"/>
                    <a:gd name="connsiteX117" fmla="*/ 4000 w 10000"/>
                    <a:gd name="connsiteY117" fmla="*/ 3673 h 9756"/>
                    <a:gd name="connsiteX118" fmla="*/ 3722 w 10000"/>
                    <a:gd name="connsiteY118" fmla="*/ 3734 h 9756"/>
                    <a:gd name="connsiteX119" fmla="*/ 3611 w 10000"/>
                    <a:gd name="connsiteY119" fmla="*/ 3799 h 9756"/>
                    <a:gd name="connsiteX120" fmla="*/ 3556 w 10000"/>
                    <a:gd name="connsiteY120" fmla="*/ 3855 h 9756"/>
                    <a:gd name="connsiteX121" fmla="*/ 3556 w 10000"/>
                    <a:gd name="connsiteY121" fmla="*/ 3855 h 9756"/>
                    <a:gd name="connsiteX122" fmla="*/ 3444 w 10000"/>
                    <a:gd name="connsiteY122" fmla="*/ 4094 h 9756"/>
                    <a:gd name="connsiteX123" fmla="*/ 3278 w 10000"/>
                    <a:gd name="connsiteY123" fmla="*/ 4458 h 9756"/>
                    <a:gd name="connsiteX124" fmla="*/ 3000 w 10000"/>
                    <a:gd name="connsiteY124" fmla="*/ 4881 h 9756"/>
                    <a:gd name="connsiteX125" fmla="*/ 2667 w 10000"/>
                    <a:gd name="connsiteY125" fmla="*/ 5178 h 9756"/>
                    <a:gd name="connsiteX126" fmla="*/ 2667 w 10000"/>
                    <a:gd name="connsiteY126" fmla="*/ 5178 h 9756"/>
                    <a:gd name="connsiteX127" fmla="*/ 2333 w 10000"/>
                    <a:gd name="connsiteY127" fmla="*/ 5418 h 9756"/>
                    <a:gd name="connsiteX128" fmla="*/ 1833 w 10000"/>
                    <a:gd name="connsiteY128" fmla="*/ 5662 h 9756"/>
                    <a:gd name="connsiteX129" fmla="*/ 1389 w 10000"/>
                    <a:gd name="connsiteY129" fmla="*/ 5784 h 9756"/>
                    <a:gd name="connsiteX130" fmla="*/ 889 w 10000"/>
                    <a:gd name="connsiteY130" fmla="*/ 5840 h 9756"/>
                    <a:gd name="connsiteX131" fmla="*/ 889 w 10000"/>
                    <a:gd name="connsiteY131" fmla="*/ 5840 h 9756"/>
                    <a:gd name="connsiteX132" fmla="*/ 500 w 10000"/>
                    <a:gd name="connsiteY132" fmla="*/ 5903 h 9756"/>
                    <a:gd name="connsiteX133" fmla="*/ 222 w 10000"/>
                    <a:gd name="connsiteY133" fmla="*/ 5966 h 9756"/>
                    <a:gd name="connsiteX134" fmla="*/ 0 w 10000"/>
                    <a:gd name="connsiteY134" fmla="*/ 6027 h 9756"/>
                    <a:gd name="connsiteX135" fmla="*/ 0 w 10000"/>
                    <a:gd name="connsiteY135" fmla="*/ 6027 h 9756"/>
                    <a:gd name="connsiteX136" fmla="*/ 278 w 10000"/>
                    <a:gd name="connsiteY136" fmla="*/ 6984 h 9756"/>
                    <a:gd name="connsiteX137" fmla="*/ 500 w 10000"/>
                    <a:gd name="connsiteY137" fmla="*/ 7710 h 9756"/>
                    <a:gd name="connsiteX138" fmla="*/ 722 w 10000"/>
                    <a:gd name="connsiteY138" fmla="*/ 8312 h 9756"/>
                    <a:gd name="connsiteX139" fmla="*/ 722 w 10000"/>
                    <a:gd name="connsiteY139" fmla="*/ 8312 h 9756"/>
                    <a:gd name="connsiteX140" fmla="*/ 889 w 10000"/>
                    <a:gd name="connsiteY140" fmla="*/ 8675 h 9756"/>
                    <a:gd name="connsiteX141" fmla="*/ 944 w 10000"/>
                    <a:gd name="connsiteY141" fmla="*/ 8976 h 9756"/>
                    <a:gd name="connsiteX142" fmla="*/ 1111 w 10000"/>
                    <a:gd name="connsiteY142" fmla="*/ 9276 h 9756"/>
                    <a:gd name="connsiteX143" fmla="*/ 1333 w 10000"/>
                    <a:gd name="connsiteY143" fmla="*/ 9756 h 9756"/>
                    <a:gd name="connsiteX144" fmla="*/ 1333 w 10000"/>
                    <a:gd name="connsiteY144" fmla="*/ 9756 h 9756"/>
                    <a:gd name="connsiteX0" fmla="*/ 10000 w 10000"/>
                    <a:gd name="connsiteY0" fmla="*/ 8459 h 10000"/>
                    <a:gd name="connsiteX1" fmla="*/ 10000 w 10000"/>
                    <a:gd name="connsiteY1" fmla="*/ 8459 h 10000"/>
                    <a:gd name="connsiteX2" fmla="*/ 9222 w 10000"/>
                    <a:gd name="connsiteY2" fmla="*/ 8520 h 10000"/>
                    <a:gd name="connsiteX3" fmla="*/ 8944 w 10000"/>
                    <a:gd name="connsiteY3" fmla="*/ 8520 h 10000"/>
                    <a:gd name="connsiteX4" fmla="*/ 8833 w 10000"/>
                    <a:gd name="connsiteY4" fmla="*/ 8459 h 10000"/>
                    <a:gd name="connsiteX5" fmla="*/ 8778 w 10000"/>
                    <a:gd name="connsiteY5" fmla="*/ 8396 h 10000"/>
                    <a:gd name="connsiteX6" fmla="*/ 8778 w 10000"/>
                    <a:gd name="connsiteY6" fmla="*/ 8396 h 10000"/>
                    <a:gd name="connsiteX7" fmla="*/ 8444 w 10000"/>
                    <a:gd name="connsiteY7" fmla="*/ 7652 h 10000"/>
                    <a:gd name="connsiteX8" fmla="*/ 8167 w 10000"/>
                    <a:gd name="connsiteY8" fmla="*/ 6976 h 10000"/>
                    <a:gd name="connsiteX9" fmla="*/ 8167 w 10000"/>
                    <a:gd name="connsiteY9" fmla="*/ 6976 h 10000"/>
                    <a:gd name="connsiteX10" fmla="*/ 8056 w 10000"/>
                    <a:gd name="connsiteY10" fmla="*/ 6855 h 10000"/>
                    <a:gd name="connsiteX11" fmla="*/ 7889 w 10000"/>
                    <a:gd name="connsiteY11" fmla="*/ 6730 h 10000"/>
                    <a:gd name="connsiteX12" fmla="*/ 7444 w 10000"/>
                    <a:gd name="connsiteY12" fmla="*/ 6664 h 10000"/>
                    <a:gd name="connsiteX13" fmla="*/ 6889 w 10000"/>
                    <a:gd name="connsiteY13" fmla="*/ 6603 h 10000"/>
                    <a:gd name="connsiteX14" fmla="*/ 6389 w 10000"/>
                    <a:gd name="connsiteY14" fmla="*/ 6603 h 10000"/>
                    <a:gd name="connsiteX15" fmla="*/ 6389 w 10000"/>
                    <a:gd name="connsiteY15" fmla="*/ 6603 h 10000"/>
                    <a:gd name="connsiteX16" fmla="*/ 6167 w 10000"/>
                    <a:gd name="connsiteY16" fmla="*/ 6542 h 10000"/>
                    <a:gd name="connsiteX17" fmla="*/ 6056 w 10000"/>
                    <a:gd name="connsiteY17" fmla="*/ 6424 h 10000"/>
                    <a:gd name="connsiteX18" fmla="*/ 6000 w 10000"/>
                    <a:gd name="connsiteY18" fmla="*/ 6299 h 10000"/>
                    <a:gd name="connsiteX19" fmla="*/ 6000 w 10000"/>
                    <a:gd name="connsiteY19" fmla="*/ 6051 h 10000"/>
                    <a:gd name="connsiteX20" fmla="*/ 6056 w 10000"/>
                    <a:gd name="connsiteY20" fmla="*/ 5554 h 10000"/>
                    <a:gd name="connsiteX21" fmla="*/ 6111 w 10000"/>
                    <a:gd name="connsiteY21" fmla="*/ 5308 h 10000"/>
                    <a:gd name="connsiteX22" fmla="*/ 6056 w 10000"/>
                    <a:gd name="connsiteY22" fmla="*/ 5003 h 10000"/>
                    <a:gd name="connsiteX23" fmla="*/ 6056 w 10000"/>
                    <a:gd name="connsiteY23" fmla="*/ 5003 h 10000"/>
                    <a:gd name="connsiteX24" fmla="*/ 6000 w 10000"/>
                    <a:gd name="connsiteY24" fmla="*/ 4814 h 10000"/>
                    <a:gd name="connsiteX25" fmla="*/ 5944 w 10000"/>
                    <a:gd name="connsiteY25" fmla="*/ 4689 h 10000"/>
                    <a:gd name="connsiteX26" fmla="*/ 5833 w 10000"/>
                    <a:gd name="connsiteY26" fmla="*/ 4689 h 10000"/>
                    <a:gd name="connsiteX27" fmla="*/ 5667 w 10000"/>
                    <a:gd name="connsiteY27" fmla="*/ 4754 h 10000"/>
                    <a:gd name="connsiteX28" fmla="*/ 5333 w 10000"/>
                    <a:gd name="connsiteY28" fmla="*/ 4937 h 10000"/>
                    <a:gd name="connsiteX29" fmla="*/ 4889 w 10000"/>
                    <a:gd name="connsiteY29" fmla="*/ 5249 h 10000"/>
                    <a:gd name="connsiteX30" fmla="*/ 4889 w 10000"/>
                    <a:gd name="connsiteY30" fmla="*/ 5249 h 10000"/>
                    <a:gd name="connsiteX31" fmla="*/ 4611 w 10000"/>
                    <a:gd name="connsiteY31" fmla="*/ 5308 h 10000"/>
                    <a:gd name="connsiteX32" fmla="*/ 4500 w 10000"/>
                    <a:gd name="connsiteY32" fmla="*/ 5308 h 10000"/>
                    <a:gd name="connsiteX33" fmla="*/ 4444 w 10000"/>
                    <a:gd name="connsiteY33" fmla="*/ 5249 h 10000"/>
                    <a:gd name="connsiteX34" fmla="*/ 4389 w 10000"/>
                    <a:gd name="connsiteY34" fmla="*/ 5003 h 10000"/>
                    <a:gd name="connsiteX35" fmla="*/ 4222 w 10000"/>
                    <a:gd name="connsiteY35" fmla="*/ 4689 h 10000"/>
                    <a:gd name="connsiteX36" fmla="*/ 4222 w 10000"/>
                    <a:gd name="connsiteY36" fmla="*/ 4689 h 10000"/>
                    <a:gd name="connsiteX37" fmla="*/ 4111 w 10000"/>
                    <a:gd name="connsiteY37" fmla="*/ 4509 h 10000"/>
                    <a:gd name="connsiteX38" fmla="*/ 4111 w 10000"/>
                    <a:gd name="connsiteY38" fmla="*/ 4321 h 10000"/>
                    <a:gd name="connsiteX39" fmla="*/ 4111 w 10000"/>
                    <a:gd name="connsiteY39" fmla="*/ 4196 h 10000"/>
                    <a:gd name="connsiteX40" fmla="*/ 4167 w 10000"/>
                    <a:gd name="connsiteY40" fmla="*/ 4076 h 10000"/>
                    <a:gd name="connsiteX41" fmla="*/ 4278 w 10000"/>
                    <a:gd name="connsiteY41" fmla="*/ 3827 h 10000"/>
                    <a:gd name="connsiteX42" fmla="*/ 4389 w 10000"/>
                    <a:gd name="connsiteY42" fmla="*/ 3765 h 10000"/>
                    <a:gd name="connsiteX43" fmla="*/ 4389 w 10000"/>
                    <a:gd name="connsiteY43" fmla="*/ 3765 h 10000"/>
                    <a:gd name="connsiteX44" fmla="*/ 4389 w 10000"/>
                    <a:gd name="connsiteY44" fmla="*/ 3707 h 10000"/>
                    <a:gd name="connsiteX45" fmla="*/ 4444 w 10000"/>
                    <a:gd name="connsiteY45" fmla="*/ 3643 h 10000"/>
                    <a:gd name="connsiteX46" fmla="*/ 4667 w 10000"/>
                    <a:gd name="connsiteY46" fmla="*/ 3579 h 10000"/>
                    <a:gd name="connsiteX47" fmla="*/ 5333 w 10000"/>
                    <a:gd name="connsiteY47" fmla="*/ 3460 h 10000"/>
                    <a:gd name="connsiteX48" fmla="*/ 6500 w 10000"/>
                    <a:gd name="connsiteY48" fmla="*/ 3275 h 10000"/>
                    <a:gd name="connsiteX49" fmla="*/ 6500 w 10000"/>
                    <a:gd name="connsiteY49" fmla="*/ 3275 h 10000"/>
                    <a:gd name="connsiteX50" fmla="*/ 7167 w 10000"/>
                    <a:gd name="connsiteY50" fmla="*/ 3088 h 10000"/>
                    <a:gd name="connsiteX51" fmla="*/ 8389 w 10000"/>
                    <a:gd name="connsiteY51" fmla="*/ 2716 h 10000"/>
                    <a:gd name="connsiteX52" fmla="*/ 8389 w 10000"/>
                    <a:gd name="connsiteY52" fmla="*/ 2716 h 10000"/>
                    <a:gd name="connsiteX53" fmla="*/ 8667 w 10000"/>
                    <a:gd name="connsiteY53" fmla="*/ 2586 h 10000"/>
                    <a:gd name="connsiteX54" fmla="*/ 8778 w 10000"/>
                    <a:gd name="connsiteY54" fmla="*/ 2405 h 10000"/>
                    <a:gd name="connsiteX55" fmla="*/ 8889 w 10000"/>
                    <a:gd name="connsiteY55" fmla="*/ 2283 h 10000"/>
                    <a:gd name="connsiteX56" fmla="*/ 8833 w 10000"/>
                    <a:gd name="connsiteY56" fmla="*/ 2159 h 10000"/>
                    <a:gd name="connsiteX57" fmla="*/ 8833 w 10000"/>
                    <a:gd name="connsiteY57" fmla="*/ 2035 h 10000"/>
                    <a:gd name="connsiteX58" fmla="*/ 8722 w 10000"/>
                    <a:gd name="connsiteY58" fmla="*/ 1912 h 10000"/>
                    <a:gd name="connsiteX59" fmla="*/ 8556 w 10000"/>
                    <a:gd name="connsiteY59" fmla="*/ 1729 h 10000"/>
                    <a:gd name="connsiteX60" fmla="*/ 8556 w 10000"/>
                    <a:gd name="connsiteY60" fmla="*/ 1729 h 10000"/>
                    <a:gd name="connsiteX61" fmla="*/ 6556 w 10000"/>
                    <a:gd name="connsiteY61" fmla="*/ 620 h 10000"/>
                    <a:gd name="connsiteX62" fmla="*/ 6556 w 10000"/>
                    <a:gd name="connsiteY62" fmla="*/ 620 h 10000"/>
                    <a:gd name="connsiteX63" fmla="*/ 6333 w 10000"/>
                    <a:gd name="connsiteY63" fmla="*/ 438 h 10000"/>
                    <a:gd name="connsiteX64" fmla="*/ 6167 w 10000"/>
                    <a:gd name="connsiteY64" fmla="*/ 250 h 10000"/>
                    <a:gd name="connsiteX65" fmla="*/ 6056 w 10000"/>
                    <a:gd name="connsiteY65" fmla="*/ 63 h 10000"/>
                    <a:gd name="connsiteX66" fmla="*/ 6056 w 10000"/>
                    <a:gd name="connsiteY66" fmla="*/ 63 h 10000"/>
                    <a:gd name="connsiteX67" fmla="*/ 8056 w 10000"/>
                    <a:gd name="connsiteY67" fmla="*/ 0 h 10000"/>
                    <a:gd name="connsiteX68" fmla="*/ 10000 w 10000"/>
                    <a:gd name="connsiteY68" fmla="*/ 620 h 10000"/>
                    <a:gd name="connsiteX69" fmla="*/ 10000 w 10000"/>
                    <a:gd name="connsiteY69" fmla="*/ 8520 h 10000"/>
                    <a:gd name="connsiteX70" fmla="*/ 10000 w 10000"/>
                    <a:gd name="connsiteY70" fmla="*/ 8520 h 10000"/>
                    <a:gd name="connsiteX71" fmla="*/ 9722 w 10000"/>
                    <a:gd name="connsiteY71" fmla="*/ 8459 h 10000"/>
                    <a:gd name="connsiteX72" fmla="*/ 9389 w 10000"/>
                    <a:gd name="connsiteY72" fmla="*/ 8520 h 10000"/>
                    <a:gd name="connsiteX73" fmla="*/ 9389 w 10000"/>
                    <a:gd name="connsiteY73" fmla="*/ 8520 h 10000"/>
                    <a:gd name="connsiteX74" fmla="*/ 9278 w 10000"/>
                    <a:gd name="connsiteY74" fmla="*/ 8583 h 10000"/>
                    <a:gd name="connsiteX75" fmla="*/ 9056 w 10000"/>
                    <a:gd name="connsiteY75" fmla="*/ 8520 h 10000"/>
                    <a:gd name="connsiteX76" fmla="*/ 8889 w 10000"/>
                    <a:gd name="connsiteY76" fmla="*/ 8459 h 10000"/>
                    <a:gd name="connsiteX77" fmla="*/ 8722 w 10000"/>
                    <a:gd name="connsiteY77" fmla="*/ 8331 h 10000"/>
                    <a:gd name="connsiteX78" fmla="*/ 8611 w 10000"/>
                    <a:gd name="connsiteY78" fmla="*/ 8148 h 10000"/>
                    <a:gd name="connsiteX79" fmla="*/ 8444 w 10000"/>
                    <a:gd name="connsiteY79" fmla="*/ 7842 h 10000"/>
                    <a:gd name="connsiteX80" fmla="*/ 8444 w 10000"/>
                    <a:gd name="connsiteY80" fmla="*/ 7842 h 10000"/>
                    <a:gd name="connsiteX81" fmla="*/ 8222 w 10000"/>
                    <a:gd name="connsiteY81" fmla="*/ 7287 h 10000"/>
                    <a:gd name="connsiteX82" fmla="*/ 8111 w 10000"/>
                    <a:gd name="connsiteY82" fmla="*/ 7037 h 10000"/>
                    <a:gd name="connsiteX83" fmla="*/ 7944 w 10000"/>
                    <a:gd name="connsiteY83" fmla="*/ 6855 h 10000"/>
                    <a:gd name="connsiteX84" fmla="*/ 7778 w 10000"/>
                    <a:gd name="connsiteY84" fmla="*/ 6730 h 10000"/>
                    <a:gd name="connsiteX85" fmla="*/ 7556 w 10000"/>
                    <a:gd name="connsiteY85" fmla="*/ 6664 h 10000"/>
                    <a:gd name="connsiteX86" fmla="*/ 7333 w 10000"/>
                    <a:gd name="connsiteY86" fmla="*/ 6603 h 10000"/>
                    <a:gd name="connsiteX87" fmla="*/ 7000 w 10000"/>
                    <a:gd name="connsiteY87" fmla="*/ 6542 h 10000"/>
                    <a:gd name="connsiteX88" fmla="*/ 7000 w 10000"/>
                    <a:gd name="connsiteY88" fmla="*/ 6542 h 10000"/>
                    <a:gd name="connsiteX89" fmla="*/ 6556 w 10000"/>
                    <a:gd name="connsiteY89" fmla="*/ 6603 h 10000"/>
                    <a:gd name="connsiteX90" fmla="*/ 6222 w 10000"/>
                    <a:gd name="connsiteY90" fmla="*/ 6603 h 10000"/>
                    <a:gd name="connsiteX91" fmla="*/ 6111 w 10000"/>
                    <a:gd name="connsiteY91" fmla="*/ 6542 h 10000"/>
                    <a:gd name="connsiteX92" fmla="*/ 6056 w 10000"/>
                    <a:gd name="connsiteY92" fmla="*/ 6480 h 10000"/>
                    <a:gd name="connsiteX93" fmla="*/ 6056 w 10000"/>
                    <a:gd name="connsiteY93" fmla="*/ 6480 h 10000"/>
                    <a:gd name="connsiteX94" fmla="*/ 6056 w 10000"/>
                    <a:gd name="connsiteY94" fmla="*/ 5370 h 10000"/>
                    <a:gd name="connsiteX95" fmla="*/ 6056 w 10000"/>
                    <a:gd name="connsiteY95" fmla="*/ 5370 h 10000"/>
                    <a:gd name="connsiteX96" fmla="*/ 6056 w 10000"/>
                    <a:gd name="connsiteY96" fmla="*/ 5122 h 10000"/>
                    <a:gd name="connsiteX97" fmla="*/ 5944 w 10000"/>
                    <a:gd name="connsiteY97" fmla="*/ 4814 h 10000"/>
                    <a:gd name="connsiteX98" fmla="*/ 5889 w 10000"/>
                    <a:gd name="connsiteY98" fmla="*/ 4754 h 10000"/>
                    <a:gd name="connsiteX99" fmla="*/ 5778 w 10000"/>
                    <a:gd name="connsiteY99" fmla="*/ 4689 h 10000"/>
                    <a:gd name="connsiteX100" fmla="*/ 5667 w 10000"/>
                    <a:gd name="connsiteY100" fmla="*/ 4689 h 10000"/>
                    <a:gd name="connsiteX101" fmla="*/ 5500 w 10000"/>
                    <a:gd name="connsiteY101" fmla="*/ 4754 h 10000"/>
                    <a:gd name="connsiteX102" fmla="*/ 5500 w 10000"/>
                    <a:gd name="connsiteY102" fmla="*/ 4754 h 10000"/>
                    <a:gd name="connsiteX103" fmla="*/ 4889 w 10000"/>
                    <a:gd name="connsiteY103" fmla="*/ 5186 h 10000"/>
                    <a:gd name="connsiteX104" fmla="*/ 4611 w 10000"/>
                    <a:gd name="connsiteY104" fmla="*/ 5308 h 10000"/>
                    <a:gd name="connsiteX105" fmla="*/ 4556 w 10000"/>
                    <a:gd name="connsiteY105" fmla="*/ 5370 h 10000"/>
                    <a:gd name="connsiteX106" fmla="*/ 4500 w 10000"/>
                    <a:gd name="connsiteY106" fmla="*/ 5308 h 10000"/>
                    <a:gd name="connsiteX107" fmla="*/ 4500 w 10000"/>
                    <a:gd name="connsiteY107" fmla="*/ 5308 h 10000"/>
                    <a:gd name="connsiteX108" fmla="*/ 4222 w 10000"/>
                    <a:gd name="connsiteY108" fmla="*/ 4689 h 10000"/>
                    <a:gd name="connsiteX109" fmla="*/ 4222 w 10000"/>
                    <a:gd name="connsiteY109" fmla="*/ 4689 h 10000"/>
                    <a:gd name="connsiteX110" fmla="*/ 4111 w 10000"/>
                    <a:gd name="connsiteY110" fmla="*/ 4384 h 10000"/>
                    <a:gd name="connsiteX111" fmla="*/ 4111 w 10000"/>
                    <a:gd name="connsiteY111" fmla="*/ 4196 h 10000"/>
                    <a:gd name="connsiteX112" fmla="*/ 4111 w 10000"/>
                    <a:gd name="connsiteY112" fmla="*/ 4013 h 10000"/>
                    <a:gd name="connsiteX113" fmla="*/ 4111 w 10000"/>
                    <a:gd name="connsiteY113" fmla="*/ 4013 h 10000"/>
                    <a:gd name="connsiteX114" fmla="*/ 4278 w 10000"/>
                    <a:gd name="connsiteY114" fmla="*/ 3827 h 10000"/>
                    <a:gd name="connsiteX115" fmla="*/ 4389 w 10000"/>
                    <a:gd name="connsiteY115" fmla="*/ 3765 h 10000"/>
                    <a:gd name="connsiteX116" fmla="*/ 4389 w 10000"/>
                    <a:gd name="connsiteY116" fmla="*/ 3765 h 10000"/>
                    <a:gd name="connsiteX117" fmla="*/ 4000 w 10000"/>
                    <a:gd name="connsiteY117" fmla="*/ 3765 h 10000"/>
                    <a:gd name="connsiteX118" fmla="*/ 3722 w 10000"/>
                    <a:gd name="connsiteY118" fmla="*/ 3827 h 10000"/>
                    <a:gd name="connsiteX119" fmla="*/ 3611 w 10000"/>
                    <a:gd name="connsiteY119" fmla="*/ 3894 h 10000"/>
                    <a:gd name="connsiteX120" fmla="*/ 3556 w 10000"/>
                    <a:gd name="connsiteY120" fmla="*/ 3951 h 10000"/>
                    <a:gd name="connsiteX121" fmla="*/ 3556 w 10000"/>
                    <a:gd name="connsiteY121" fmla="*/ 3951 h 10000"/>
                    <a:gd name="connsiteX122" fmla="*/ 3444 w 10000"/>
                    <a:gd name="connsiteY122" fmla="*/ 4196 h 10000"/>
                    <a:gd name="connsiteX123" fmla="*/ 3278 w 10000"/>
                    <a:gd name="connsiteY123" fmla="*/ 4569 h 10000"/>
                    <a:gd name="connsiteX124" fmla="*/ 3000 w 10000"/>
                    <a:gd name="connsiteY124" fmla="*/ 5003 h 10000"/>
                    <a:gd name="connsiteX125" fmla="*/ 2667 w 10000"/>
                    <a:gd name="connsiteY125" fmla="*/ 5308 h 10000"/>
                    <a:gd name="connsiteX126" fmla="*/ 2667 w 10000"/>
                    <a:gd name="connsiteY126" fmla="*/ 5308 h 10000"/>
                    <a:gd name="connsiteX127" fmla="*/ 2333 w 10000"/>
                    <a:gd name="connsiteY127" fmla="*/ 5554 h 10000"/>
                    <a:gd name="connsiteX128" fmla="*/ 1833 w 10000"/>
                    <a:gd name="connsiteY128" fmla="*/ 5804 h 10000"/>
                    <a:gd name="connsiteX129" fmla="*/ 1389 w 10000"/>
                    <a:gd name="connsiteY129" fmla="*/ 5929 h 10000"/>
                    <a:gd name="connsiteX130" fmla="*/ 889 w 10000"/>
                    <a:gd name="connsiteY130" fmla="*/ 5986 h 10000"/>
                    <a:gd name="connsiteX131" fmla="*/ 889 w 10000"/>
                    <a:gd name="connsiteY131" fmla="*/ 5986 h 10000"/>
                    <a:gd name="connsiteX132" fmla="*/ 500 w 10000"/>
                    <a:gd name="connsiteY132" fmla="*/ 6051 h 10000"/>
                    <a:gd name="connsiteX133" fmla="*/ 222 w 10000"/>
                    <a:gd name="connsiteY133" fmla="*/ 6115 h 10000"/>
                    <a:gd name="connsiteX134" fmla="*/ 0 w 10000"/>
                    <a:gd name="connsiteY134" fmla="*/ 6178 h 10000"/>
                    <a:gd name="connsiteX135" fmla="*/ 0 w 10000"/>
                    <a:gd name="connsiteY135" fmla="*/ 6178 h 10000"/>
                    <a:gd name="connsiteX136" fmla="*/ 278 w 10000"/>
                    <a:gd name="connsiteY136" fmla="*/ 7159 h 10000"/>
                    <a:gd name="connsiteX137" fmla="*/ 500 w 10000"/>
                    <a:gd name="connsiteY137" fmla="*/ 7903 h 10000"/>
                    <a:gd name="connsiteX138" fmla="*/ 722 w 10000"/>
                    <a:gd name="connsiteY138" fmla="*/ 8520 h 10000"/>
                    <a:gd name="connsiteX139" fmla="*/ 722 w 10000"/>
                    <a:gd name="connsiteY139" fmla="*/ 8520 h 10000"/>
                    <a:gd name="connsiteX140" fmla="*/ 889 w 10000"/>
                    <a:gd name="connsiteY140" fmla="*/ 8892 h 10000"/>
                    <a:gd name="connsiteX141" fmla="*/ 944 w 10000"/>
                    <a:gd name="connsiteY141" fmla="*/ 9200 h 10000"/>
                    <a:gd name="connsiteX142" fmla="*/ 1111 w 10000"/>
                    <a:gd name="connsiteY142" fmla="*/ 9508 h 10000"/>
                    <a:gd name="connsiteX143" fmla="*/ 1333 w 10000"/>
                    <a:gd name="connsiteY143" fmla="*/ 10000 h 10000"/>
                    <a:gd name="connsiteX0" fmla="*/ 10000 w 10000"/>
                    <a:gd name="connsiteY0" fmla="*/ 8459 h 9508"/>
                    <a:gd name="connsiteX1" fmla="*/ 10000 w 10000"/>
                    <a:gd name="connsiteY1" fmla="*/ 8459 h 9508"/>
                    <a:gd name="connsiteX2" fmla="*/ 9222 w 10000"/>
                    <a:gd name="connsiteY2" fmla="*/ 8520 h 9508"/>
                    <a:gd name="connsiteX3" fmla="*/ 8944 w 10000"/>
                    <a:gd name="connsiteY3" fmla="*/ 8520 h 9508"/>
                    <a:gd name="connsiteX4" fmla="*/ 8833 w 10000"/>
                    <a:gd name="connsiteY4" fmla="*/ 8459 h 9508"/>
                    <a:gd name="connsiteX5" fmla="*/ 8778 w 10000"/>
                    <a:gd name="connsiteY5" fmla="*/ 8396 h 9508"/>
                    <a:gd name="connsiteX6" fmla="*/ 8778 w 10000"/>
                    <a:gd name="connsiteY6" fmla="*/ 8396 h 9508"/>
                    <a:gd name="connsiteX7" fmla="*/ 8444 w 10000"/>
                    <a:gd name="connsiteY7" fmla="*/ 7652 h 9508"/>
                    <a:gd name="connsiteX8" fmla="*/ 8167 w 10000"/>
                    <a:gd name="connsiteY8" fmla="*/ 6976 h 9508"/>
                    <a:gd name="connsiteX9" fmla="*/ 8167 w 10000"/>
                    <a:gd name="connsiteY9" fmla="*/ 6976 h 9508"/>
                    <a:gd name="connsiteX10" fmla="*/ 8056 w 10000"/>
                    <a:gd name="connsiteY10" fmla="*/ 6855 h 9508"/>
                    <a:gd name="connsiteX11" fmla="*/ 7889 w 10000"/>
                    <a:gd name="connsiteY11" fmla="*/ 6730 h 9508"/>
                    <a:gd name="connsiteX12" fmla="*/ 7444 w 10000"/>
                    <a:gd name="connsiteY12" fmla="*/ 6664 h 9508"/>
                    <a:gd name="connsiteX13" fmla="*/ 6889 w 10000"/>
                    <a:gd name="connsiteY13" fmla="*/ 6603 h 9508"/>
                    <a:gd name="connsiteX14" fmla="*/ 6389 w 10000"/>
                    <a:gd name="connsiteY14" fmla="*/ 6603 h 9508"/>
                    <a:gd name="connsiteX15" fmla="*/ 6389 w 10000"/>
                    <a:gd name="connsiteY15" fmla="*/ 6603 h 9508"/>
                    <a:gd name="connsiteX16" fmla="*/ 6167 w 10000"/>
                    <a:gd name="connsiteY16" fmla="*/ 6542 h 9508"/>
                    <a:gd name="connsiteX17" fmla="*/ 6056 w 10000"/>
                    <a:gd name="connsiteY17" fmla="*/ 6424 h 9508"/>
                    <a:gd name="connsiteX18" fmla="*/ 6000 w 10000"/>
                    <a:gd name="connsiteY18" fmla="*/ 6299 h 9508"/>
                    <a:gd name="connsiteX19" fmla="*/ 6000 w 10000"/>
                    <a:gd name="connsiteY19" fmla="*/ 6051 h 9508"/>
                    <a:gd name="connsiteX20" fmla="*/ 6056 w 10000"/>
                    <a:gd name="connsiteY20" fmla="*/ 5554 h 9508"/>
                    <a:gd name="connsiteX21" fmla="*/ 6111 w 10000"/>
                    <a:gd name="connsiteY21" fmla="*/ 5308 h 9508"/>
                    <a:gd name="connsiteX22" fmla="*/ 6056 w 10000"/>
                    <a:gd name="connsiteY22" fmla="*/ 5003 h 9508"/>
                    <a:gd name="connsiteX23" fmla="*/ 6056 w 10000"/>
                    <a:gd name="connsiteY23" fmla="*/ 5003 h 9508"/>
                    <a:gd name="connsiteX24" fmla="*/ 6000 w 10000"/>
                    <a:gd name="connsiteY24" fmla="*/ 4814 h 9508"/>
                    <a:gd name="connsiteX25" fmla="*/ 5944 w 10000"/>
                    <a:gd name="connsiteY25" fmla="*/ 4689 h 9508"/>
                    <a:gd name="connsiteX26" fmla="*/ 5833 w 10000"/>
                    <a:gd name="connsiteY26" fmla="*/ 4689 h 9508"/>
                    <a:gd name="connsiteX27" fmla="*/ 5667 w 10000"/>
                    <a:gd name="connsiteY27" fmla="*/ 4754 h 9508"/>
                    <a:gd name="connsiteX28" fmla="*/ 5333 w 10000"/>
                    <a:gd name="connsiteY28" fmla="*/ 4937 h 9508"/>
                    <a:gd name="connsiteX29" fmla="*/ 4889 w 10000"/>
                    <a:gd name="connsiteY29" fmla="*/ 5249 h 9508"/>
                    <a:gd name="connsiteX30" fmla="*/ 4889 w 10000"/>
                    <a:gd name="connsiteY30" fmla="*/ 5249 h 9508"/>
                    <a:gd name="connsiteX31" fmla="*/ 4611 w 10000"/>
                    <a:gd name="connsiteY31" fmla="*/ 5308 h 9508"/>
                    <a:gd name="connsiteX32" fmla="*/ 4500 w 10000"/>
                    <a:gd name="connsiteY32" fmla="*/ 5308 h 9508"/>
                    <a:gd name="connsiteX33" fmla="*/ 4444 w 10000"/>
                    <a:gd name="connsiteY33" fmla="*/ 5249 h 9508"/>
                    <a:gd name="connsiteX34" fmla="*/ 4389 w 10000"/>
                    <a:gd name="connsiteY34" fmla="*/ 5003 h 9508"/>
                    <a:gd name="connsiteX35" fmla="*/ 4222 w 10000"/>
                    <a:gd name="connsiteY35" fmla="*/ 4689 h 9508"/>
                    <a:gd name="connsiteX36" fmla="*/ 4222 w 10000"/>
                    <a:gd name="connsiteY36" fmla="*/ 4689 h 9508"/>
                    <a:gd name="connsiteX37" fmla="*/ 4111 w 10000"/>
                    <a:gd name="connsiteY37" fmla="*/ 4509 h 9508"/>
                    <a:gd name="connsiteX38" fmla="*/ 4111 w 10000"/>
                    <a:gd name="connsiteY38" fmla="*/ 4321 h 9508"/>
                    <a:gd name="connsiteX39" fmla="*/ 4111 w 10000"/>
                    <a:gd name="connsiteY39" fmla="*/ 4196 h 9508"/>
                    <a:gd name="connsiteX40" fmla="*/ 4167 w 10000"/>
                    <a:gd name="connsiteY40" fmla="*/ 4076 h 9508"/>
                    <a:gd name="connsiteX41" fmla="*/ 4278 w 10000"/>
                    <a:gd name="connsiteY41" fmla="*/ 3827 h 9508"/>
                    <a:gd name="connsiteX42" fmla="*/ 4389 w 10000"/>
                    <a:gd name="connsiteY42" fmla="*/ 3765 h 9508"/>
                    <a:gd name="connsiteX43" fmla="*/ 4389 w 10000"/>
                    <a:gd name="connsiteY43" fmla="*/ 3765 h 9508"/>
                    <a:gd name="connsiteX44" fmla="*/ 4389 w 10000"/>
                    <a:gd name="connsiteY44" fmla="*/ 3707 h 9508"/>
                    <a:gd name="connsiteX45" fmla="*/ 4444 w 10000"/>
                    <a:gd name="connsiteY45" fmla="*/ 3643 h 9508"/>
                    <a:gd name="connsiteX46" fmla="*/ 4667 w 10000"/>
                    <a:gd name="connsiteY46" fmla="*/ 3579 h 9508"/>
                    <a:gd name="connsiteX47" fmla="*/ 5333 w 10000"/>
                    <a:gd name="connsiteY47" fmla="*/ 3460 h 9508"/>
                    <a:gd name="connsiteX48" fmla="*/ 6500 w 10000"/>
                    <a:gd name="connsiteY48" fmla="*/ 3275 h 9508"/>
                    <a:gd name="connsiteX49" fmla="*/ 6500 w 10000"/>
                    <a:gd name="connsiteY49" fmla="*/ 3275 h 9508"/>
                    <a:gd name="connsiteX50" fmla="*/ 7167 w 10000"/>
                    <a:gd name="connsiteY50" fmla="*/ 3088 h 9508"/>
                    <a:gd name="connsiteX51" fmla="*/ 8389 w 10000"/>
                    <a:gd name="connsiteY51" fmla="*/ 2716 h 9508"/>
                    <a:gd name="connsiteX52" fmla="*/ 8389 w 10000"/>
                    <a:gd name="connsiteY52" fmla="*/ 2716 h 9508"/>
                    <a:gd name="connsiteX53" fmla="*/ 8667 w 10000"/>
                    <a:gd name="connsiteY53" fmla="*/ 2586 h 9508"/>
                    <a:gd name="connsiteX54" fmla="*/ 8778 w 10000"/>
                    <a:gd name="connsiteY54" fmla="*/ 2405 h 9508"/>
                    <a:gd name="connsiteX55" fmla="*/ 8889 w 10000"/>
                    <a:gd name="connsiteY55" fmla="*/ 2283 h 9508"/>
                    <a:gd name="connsiteX56" fmla="*/ 8833 w 10000"/>
                    <a:gd name="connsiteY56" fmla="*/ 2159 h 9508"/>
                    <a:gd name="connsiteX57" fmla="*/ 8833 w 10000"/>
                    <a:gd name="connsiteY57" fmla="*/ 2035 h 9508"/>
                    <a:gd name="connsiteX58" fmla="*/ 8722 w 10000"/>
                    <a:gd name="connsiteY58" fmla="*/ 1912 h 9508"/>
                    <a:gd name="connsiteX59" fmla="*/ 8556 w 10000"/>
                    <a:gd name="connsiteY59" fmla="*/ 1729 h 9508"/>
                    <a:gd name="connsiteX60" fmla="*/ 8556 w 10000"/>
                    <a:gd name="connsiteY60" fmla="*/ 1729 h 9508"/>
                    <a:gd name="connsiteX61" fmla="*/ 6556 w 10000"/>
                    <a:gd name="connsiteY61" fmla="*/ 620 h 9508"/>
                    <a:gd name="connsiteX62" fmla="*/ 6556 w 10000"/>
                    <a:gd name="connsiteY62" fmla="*/ 620 h 9508"/>
                    <a:gd name="connsiteX63" fmla="*/ 6333 w 10000"/>
                    <a:gd name="connsiteY63" fmla="*/ 438 h 9508"/>
                    <a:gd name="connsiteX64" fmla="*/ 6167 w 10000"/>
                    <a:gd name="connsiteY64" fmla="*/ 250 h 9508"/>
                    <a:gd name="connsiteX65" fmla="*/ 6056 w 10000"/>
                    <a:gd name="connsiteY65" fmla="*/ 63 h 9508"/>
                    <a:gd name="connsiteX66" fmla="*/ 6056 w 10000"/>
                    <a:gd name="connsiteY66" fmla="*/ 63 h 9508"/>
                    <a:gd name="connsiteX67" fmla="*/ 8056 w 10000"/>
                    <a:gd name="connsiteY67" fmla="*/ 0 h 9508"/>
                    <a:gd name="connsiteX68" fmla="*/ 10000 w 10000"/>
                    <a:gd name="connsiteY68" fmla="*/ 620 h 9508"/>
                    <a:gd name="connsiteX69" fmla="*/ 10000 w 10000"/>
                    <a:gd name="connsiteY69" fmla="*/ 8520 h 9508"/>
                    <a:gd name="connsiteX70" fmla="*/ 10000 w 10000"/>
                    <a:gd name="connsiteY70" fmla="*/ 8520 h 9508"/>
                    <a:gd name="connsiteX71" fmla="*/ 9722 w 10000"/>
                    <a:gd name="connsiteY71" fmla="*/ 8459 h 9508"/>
                    <a:gd name="connsiteX72" fmla="*/ 9389 w 10000"/>
                    <a:gd name="connsiteY72" fmla="*/ 8520 h 9508"/>
                    <a:gd name="connsiteX73" fmla="*/ 9389 w 10000"/>
                    <a:gd name="connsiteY73" fmla="*/ 8520 h 9508"/>
                    <a:gd name="connsiteX74" fmla="*/ 9278 w 10000"/>
                    <a:gd name="connsiteY74" fmla="*/ 8583 h 9508"/>
                    <a:gd name="connsiteX75" fmla="*/ 9056 w 10000"/>
                    <a:gd name="connsiteY75" fmla="*/ 8520 h 9508"/>
                    <a:gd name="connsiteX76" fmla="*/ 8889 w 10000"/>
                    <a:gd name="connsiteY76" fmla="*/ 8459 h 9508"/>
                    <a:gd name="connsiteX77" fmla="*/ 8722 w 10000"/>
                    <a:gd name="connsiteY77" fmla="*/ 8331 h 9508"/>
                    <a:gd name="connsiteX78" fmla="*/ 8611 w 10000"/>
                    <a:gd name="connsiteY78" fmla="*/ 8148 h 9508"/>
                    <a:gd name="connsiteX79" fmla="*/ 8444 w 10000"/>
                    <a:gd name="connsiteY79" fmla="*/ 7842 h 9508"/>
                    <a:gd name="connsiteX80" fmla="*/ 8444 w 10000"/>
                    <a:gd name="connsiteY80" fmla="*/ 7842 h 9508"/>
                    <a:gd name="connsiteX81" fmla="*/ 8222 w 10000"/>
                    <a:gd name="connsiteY81" fmla="*/ 7287 h 9508"/>
                    <a:gd name="connsiteX82" fmla="*/ 8111 w 10000"/>
                    <a:gd name="connsiteY82" fmla="*/ 7037 h 9508"/>
                    <a:gd name="connsiteX83" fmla="*/ 7944 w 10000"/>
                    <a:gd name="connsiteY83" fmla="*/ 6855 h 9508"/>
                    <a:gd name="connsiteX84" fmla="*/ 7778 w 10000"/>
                    <a:gd name="connsiteY84" fmla="*/ 6730 h 9508"/>
                    <a:gd name="connsiteX85" fmla="*/ 7556 w 10000"/>
                    <a:gd name="connsiteY85" fmla="*/ 6664 h 9508"/>
                    <a:gd name="connsiteX86" fmla="*/ 7333 w 10000"/>
                    <a:gd name="connsiteY86" fmla="*/ 6603 h 9508"/>
                    <a:gd name="connsiteX87" fmla="*/ 7000 w 10000"/>
                    <a:gd name="connsiteY87" fmla="*/ 6542 h 9508"/>
                    <a:gd name="connsiteX88" fmla="*/ 7000 w 10000"/>
                    <a:gd name="connsiteY88" fmla="*/ 6542 h 9508"/>
                    <a:gd name="connsiteX89" fmla="*/ 6556 w 10000"/>
                    <a:gd name="connsiteY89" fmla="*/ 6603 h 9508"/>
                    <a:gd name="connsiteX90" fmla="*/ 6222 w 10000"/>
                    <a:gd name="connsiteY90" fmla="*/ 6603 h 9508"/>
                    <a:gd name="connsiteX91" fmla="*/ 6111 w 10000"/>
                    <a:gd name="connsiteY91" fmla="*/ 6542 h 9508"/>
                    <a:gd name="connsiteX92" fmla="*/ 6056 w 10000"/>
                    <a:gd name="connsiteY92" fmla="*/ 6480 h 9508"/>
                    <a:gd name="connsiteX93" fmla="*/ 6056 w 10000"/>
                    <a:gd name="connsiteY93" fmla="*/ 6480 h 9508"/>
                    <a:gd name="connsiteX94" fmla="*/ 6056 w 10000"/>
                    <a:gd name="connsiteY94" fmla="*/ 5370 h 9508"/>
                    <a:gd name="connsiteX95" fmla="*/ 6056 w 10000"/>
                    <a:gd name="connsiteY95" fmla="*/ 5370 h 9508"/>
                    <a:gd name="connsiteX96" fmla="*/ 6056 w 10000"/>
                    <a:gd name="connsiteY96" fmla="*/ 5122 h 9508"/>
                    <a:gd name="connsiteX97" fmla="*/ 5944 w 10000"/>
                    <a:gd name="connsiteY97" fmla="*/ 4814 h 9508"/>
                    <a:gd name="connsiteX98" fmla="*/ 5889 w 10000"/>
                    <a:gd name="connsiteY98" fmla="*/ 4754 h 9508"/>
                    <a:gd name="connsiteX99" fmla="*/ 5778 w 10000"/>
                    <a:gd name="connsiteY99" fmla="*/ 4689 h 9508"/>
                    <a:gd name="connsiteX100" fmla="*/ 5667 w 10000"/>
                    <a:gd name="connsiteY100" fmla="*/ 4689 h 9508"/>
                    <a:gd name="connsiteX101" fmla="*/ 5500 w 10000"/>
                    <a:gd name="connsiteY101" fmla="*/ 4754 h 9508"/>
                    <a:gd name="connsiteX102" fmla="*/ 5500 w 10000"/>
                    <a:gd name="connsiteY102" fmla="*/ 4754 h 9508"/>
                    <a:gd name="connsiteX103" fmla="*/ 4889 w 10000"/>
                    <a:gd name="connsiteY103" fmla="*/ 5186 h 9508"/>
                    <a:gd name="connsiteX104" fmla="*/ 4611 w 10000"/>
                    <a:gd name="connsiteY104" fmla="*/ 5308 h 9508"/>
                    <a:gd name="connsiteX105" fmla="*/ 4556 w 10000"/>
                    <a:gd name="connsiteY105" fmla="*/ 5370 h 9508"/>
                    <a:gd name="connsiteX106" fmla="*/ 4500 w 10000"/>
                    <a:gd name="connsiteY106" fmla="*/ 5308 h 9508"/>
                    <a:gd name="connsiteX107" fmla="*/ 4500 w 10000"/>
                    <a:gd name="connsiteY107" fmla="*/ 5308 h 9508"/>
                    <a:gd name="connsiteX108" fmla="*/ 4222 w 10000"/>
                    <a:gd name="connsiteY108" fmla="*/ 4689 h 9508"/>
                    <a:gd name="connsiteX109" fmla="*/ 4222 w 10000"/>
                    <a:gd name="connsiteY109" fmla="*/ 4689 h 9508"/>
                    <a:gd name="connsiteX110" fmla="*/ 4111 w 10000"/>
                    <a:gd name="connsiteY110" fmla="*/ 4384 h 9508"/>
                    <a:gd name="connsiteX111" fmla="*/ 4111 w 10000"/>
                    <a:gd name="connsiteY111" fmla="*/ 4196 h 9508"/>
                    <a:gd name="connsiteX112" fmla="*/ 4111 w 10000"/>
                    <a:gd name="connsiteY112" fmla="*/ 4013 h 9508"/>
                    <a:gd name="connsiteX113" fmla="*/ 4111 w 10000"/>
                    <a:gd name="connsiteY113" fmla="*/ 4013 h 9508"/>
                    <a:gd name="connsiteX114" fmla="*/ 4278 w 10000"/>
                    <a:gd name="connsiteY114" fmla="*/ 3827 h 9508"/>
                    <a:gd name="connsiteX115" fmla="*/ 4389 w 10000"/>
                    <a:gd name="connsiteY115" fmla="*/ 3765 h 9508"/>
                    <a:gd name="connsiteX116" fmla="*/ 4389 w 10000"/>
                    <a:gd name="connsiteY116" fmla="*/ 3765 h 9508"/>
                    <a:gd name="connsiteX117" fmla="*/ 4000 w 10000"/>
                    <a:gd name="connsiteY117" fmla="*/ 3765 h 9508"/>
                    <a:gd name="connsiteX118" fmla="*/ 3722 w 10000"/>
                    <a:gd name="connsiteY118" fmla="*/ 3827 h 9508"/>
                    <a:gd name="connsiteX119" fmla="*/ 3611 w 10000"/>
                    <a:gd name="connsiteY119" fmla="*/ 3894 h 9508"/>
                    <a:gd name="connsiteX120" fmla="*/ 3556 w 10000"/>
                    <a:gd name="connsiteY120" fmla="*/ 3951 h 9508"/>
                    <a:gd name="connsiteX121" fmla="*/ 3556 w 10000"/>
                    <a:gd name="connsiteY121" fmla="*/ 3951 h 9508"/>
                    <a:gd name="connsiteX122" fmla="*/ 3444 w 10000"/>
                    <a:gd name="connsiteY122" fmla="*/ 4196 h 9508"/>
                    <a:gd name="connsiteX123" fmla="*/ 3278 w 10000"/>
                    <a:gd name="connsiteY123" fmla="*/ 4569 h 9508"/>
                    <a:gd name="connsiteX124" fmla="*/ 3000 w 10000"/>
                    <a:gd name="connsiteY124" fmla="*/ 5003 h 9508"/>
                    <a:gd name="connsiteX125" fmla="*/ 2667 w 10000"/>
                    <a:gd name="connsiteY125" fmla="*/ 5308 h 9508"/>
                    <a:gd name="connsiteX126" fmla="*/ 2667 w 10000"/>
                    <a:gd name="connsiteY126" fmla="*/ 5308 h 9508"/>
                    <a:gd name="connsiteX127" fmla="*/ 2333 w 10000"/>
                    <a:gd name="connsiteY127" fmla="*/ 5554 h 9508"/>
                    <a:gd name="connsiteX128" fmla="*/ 1833 w 10000"/>
                    <a:gd name="connsiteY128" fmla="*/ 5804 h 9508"/>
                    <a:gd name="connsiteX129" fmla="*/ 1389 w 10000"/>
                    <a:gd name="connsiteY129" fmla="*/ 5929 h 9508"/>
                    <a:gd name="connsiteX130" fmla="*/ 889 w 10000"/>
                    <a:gd name="connsiteY130" fmla="*/ 5986 h 9508"/>
                    <a:gd name="connsiteX131" fmla="*/ 889 w 10000"/>
                    <a:gd name="connsiteY131" fmla="*/ 5986 h 9508"/>
                    <a:gd name="connsiteX132" fmla="*/ 500 w 10000"/>
                    <a:gd name="connsiteY132" fmla="*/ 6051 h 9508"/>
                    <a:gd name="connsiteX133" fmla="*/ 222 w 10000"/>
                    <a:gd name="connsiteY133" fmla="*/ 6115 h 9508"/>
                    <a:gd name="connsiteX134" fmla="*/ 0 w 10000"/>
                    <a:gd name="connsiteY134" fmla="*/ 6178 h 9508"/>
                    <a:gd name="connsiteX135" fmla="*/ 0 w 10000"/>
                    <a:gd name="connsiteY135" fmla="*/ 6178 h 9508"/>
                    <a:gd name="connsiteX136" fmla="*/ 278 w 10000"/>
                    <a:gd name="connsiteY136" fmla="*/ 7159 h 9508"/>
                    <a:gd name="connsiteX137" fmla="*/ 500 w 10000"/>
                    <a:gd name="connsiteY137" fmla="*/ 7903 h 9508"/>
                    <a:gd name="connsiteX138" fmla="*/ 722 w 10000"/>
                    <a:gd name="connsiteY138" fmla="*/ 8520 h 9508"/>
                    <a:gd name="connsiteX139" fmla="*/ 722 w 10000"/>
                    <a:gd name="connsiteY139" fmla="*/ 8520 h 9508"/>
                    <a:gd name="connsiteX140" fmla="*/ 889 w 10000"/>
                    <a:gd name="connsiteY140" fmla="*/ 8892 h 9508"/>
                    <a:gd name="connsiteX141" fmla="*/ 944 w 10000"/>
                    <a:gd name="connsiteY141" fmla="*/ 9200 h 9508"/>
                    <a:gd name="connsiteX142" fmla="*/ 1111 w 10000"/>
                    <a:gd name="connsiteY142" fmla="*/ 9508 h 9508"/>
                    <a:gd name="connsiteX0" fmla="*/ 10000 w 10000"/>
                    <a:gd name="connsiteY0" fmla="*/ 8897 h 9676"/>
                    <a:gd name="connsiteX1" fmla="*/ 10000 w 10000"/>
                    <a:gd name="connsiteY1" fmla="*/ 8897 h 9676"/>
                    <a:gd name="connsiteX2" fmla="*/ 9222 w 10000"/>
                    <a:gd name="connsiteY2" fmla="*/ 8961 h 9676"/>
                    <a:gd name="connsiteX3" fmla="*/ 8944 w 10000"/>
                    <a:gd name="connsiteY3" fmla="*/ 8961 h 9676"/>
                    <a:gd name="connsiteX4" fmla="*/ 8833 w 10000"/>
                    <a:gd name="connsiteY4" fmla="*/ 8897 h 9676"/>
                    <a:gd name="connsiteX5" fmla="*/ 8778 w 10000"/>
                    <a:gd name="connsiteY5" fmla="*/ 8830 h 9676"/>
                    <a:gd name="connsiteX6" fmla="*/ 8778 w 10000"/>
                    <a:gd name="connsiteY6" fmla="*/ 8830 h 9676"/>
                    <a:gd name="connsiteX7" fmla="*/ 8444 w 10000"/>
                    <a:gd name="connsiteY7" fmla="*/ 8048 h 9676"/>
                    <a:gd name="connsiteX8" fmla="*/ 8167 w 10000"/>
                    <a:gd name="connsiteY8" fmla="*/ 7337 h 9676"/>
                    <a:gd name="connsiteX9" fmla="*/ 8167 w 10000"/>
                    <a:gd name="connsiteY9" fmla="*/ 7337 h 9676"/>
                    <a:gd name="connsiteX10" fmla="*/ 8056 w 10000"/>
                    <a:gd name="connsiteY10" fmla="*/ 7210 h 9676"/>
                    <a:gd name="connsiteX11" fmla="*/ 7889 w 10000"/>
                    <a:gd name="connsiteY11" fmla="*/ 7078 h 9676"/>
                    <a:gd name="connsiteX12" fmla="*/ 7444 w 10000"/>
                    <a:gd name="connsiteY12" fmla="*/ 7009 h 9676"/>
                    <a:gd name="connsiteX13" fmla="*/ 6889 w 10000"/>
                    <a:gd name="connsiteY13" fmla="*/ 6945 h 9676"/>
                    <a:gd name="connsiteX14" fmla="*/ 6389 w 10000"/>
                    <a:gd name="connsiteY14" fmla="*/ 6945 h 9676"/>
                    <a:gd name="connsiteX15" fmla="*/ 6389 w 10000"/>
                    <a:gd name="connsiteY15" fmla="*/ 6945 h 9676"/>
                    <a:gd name="connsiteX16" fmla="*/ 6167 w 10000"/>
                    <a:gd name="connsiteY16" fmla="*/ 6881 h 9676"/>
                    <a:gd name="connsiteX17" fmla="*/ 6056 w 10000"/>
                    <a:gd name="connsiteY17" fmla="*/ 6756 h 9676"/>
                    <a:gd name="connsiteX18" fmla="*/ 6000 w 10000"/>
                    <a:gd name="connsiteY18" fmla="*/ 6625 h 9676"/>
                    <a:gd name="connsiteX19" fmla="*/ 6000 w 10000"/>
                    <a:gd name="connsiteY19" fmla="*/ 6364 h 9676"/>
                    <a:gd name="connsiteX20" fmla="*/ 6056 w 10000"/>
                    <a:gd name="connsiteY20" fmla="*/ 5841 h 9676"/>
                    <a:gd name="connsiteX21" fmla="*/ 6111 w 10000"/>
                    <a:gd name="connsiteY21" fmla="*/ 5583 h 9676"/>
                    <a:gd name="connsiteX22" fmla="*/ 6056 w 10000"/>
                    <a:gd name="connsiteY22" fmla="*/ 5262 h 9676"/>
                    <a:gd name="connsiteX23" fmla="*/ 6056 w 10000"/>
                    <a:gd name="connsiteY23" fmla="*/ 5262 h 9676"/>
                    <a:gd name="connsiteX24" fmla="*/ 6000 w 10000"/>
                    <a:gd name="connsiteY24" fmla="*/ 5063 h 9676"/>
                    <a:gd name="connsiteX25" fmla="*/ 5944 w 10000"/>
                    <a:gd name="connsiteY25" fmla="*/ 4932 h 9676"/>
                    <a:gd name="connsiteX26" fmla="*/ 5833 w 10000"/>
                    <a:gd name="connsiteY26" fmla="*/ 4932 h 9676"/>
                    <a:gd name="connsiteX27" fmla="*/ 5667 w 10000"/>
                    <a:gd name="connsiteY27" fmla="*/ 5000 h 9676"/>
                    <a:gd name="connsiteX28" fmla="*/ 5333 w 10000"/>
                    <a:gd name="connsiteY28" fmla="*/ 5192 h 9676"/>
                    <a:gd name="connsiteX29" fmla="*/ 4889 w 10000"/>
                    <a:gd name="connsiteY29" fmla="*/ 5521 h 9676"/>
                    <a:gd name="connsiteX30" fmla="*/ 4889 w 10000"/>
                    <a:gd name="connsiteY30" fmla="*/ 5521 h 9676"/>
                    <a:gd name="connsiteX31" fmla="*/ 4611 w 10000"/>
                    <a:gd name="connsiteY31" fmla="*/ 5583 h 9676"/>
                    <a:gd name="connsiteX32" fmla="*/ 4500 w 10000"/>
                    <a:gd name="connsiteY32" fmla="*/ 5583 h 9676"/>
                    <a:gd name="connsiteX33" fmla="*/ 4444 w 10000"/>
                    <a:gd name="connsiteY33" fmla="*/ 5521 h 9676"/>
                    <a:gd name="connsiteX34" fmla="*/ 4389 w 10000"/>
                    <a:gd name="connsiteY34" fmla="*/ 5262 h 9676"/>
                    <a:gd name="connsiteX35" fmla="*/ 4222 w 10000"/>
                    <a:gd name="connsiteY35" fmla="*/ 4932 h 9676"/>
                    <a:gd name="connsiteX36" fmla="*/ 4222 w 10000"/>
                    <a:gd name="connsiteY36" fmla="*/ 4932 h 9676"/>
                    <a:gd name="connsiteX37" fmla="*/ 4111 w 10000"/>
                    <a:gd name="connsiteY37" fmla="*/ 4742 h 9676"/>
                    <a:gd name="connsiteX38" fmla="*/ 4111 w 10000"/>
                    <a:gd name="connsiteY38" fmla="*/ 4545 h 9676"/>
                    <a:gd name="connsiteX39" fmla="*/ 4111 w 10000"/>
                    <a:gd name="connsiteY39" fmla="*/ 4413 h 9676"/>
                    <a:gd name="connsiteX40" fmla="*/ 4167 w 10000"/>
                    <a:gd name="connsiteY40" fmla="*/ 4287 h 9676"/>
                    <a:gd name="connsiteX41" fmla="*/ 4278 w 10000"/>
                    <a:gd name="connsiteY41" fmla="*/ 4025 h 9676"/>
                    <a:gd name="connsiteX42" fmla="*/ 4389 w 10000"/>
                    <a:gd name="connsiteY42" fmla="*/ 3960 h 9676"/>
                    <a:gd name="connsiteX43" fmla="*/ 4389 w 10000"/>
                    <a:gd name="connsiteY43" fmla="*/ 3960 h 9676"/>
                    <a:gd name="connsiteX44" fmla="*/ 4389 w 10000"/>
                    <a:gd name="connsiteY44" fmla="*/ 3899 h 9676"/>
                    <a:gd name="connsiteX45" fmla="*/ 4444 w 10000"/>
                    <a:gd name="connsiteY45" fmla="*/ 3832 h 9676"/>
                    <a:gd name="connsiteX46" fmla="*/ 4667 w 10000"/>
                    <a:gd name="connsiteY46" fmla="*/ 3764 h 9676"/>
                    <a:gd name="connsiteX47" fmla="*/ 5333 w 10000"/>
                    <a:gd name="connsiteY47" fmla="*/ 3639 h 9676"/>
                    <a:gd name="connsiteX48" fmla="*/ 6500 w 10000"/>
                    <a:gd name="connsiteY48" fmla="*/ 3444 h 9676"/>
                    <a:gd name="connsiteX49" fmla="*/ 6500 w 10000"/>
                    <a:gd name="connsiteY49" fmla="*/ 3444 h 9676"/>
                    <a:gd name="connsiteX50" fmla="*/ 7167 w 10000"/>
                    <a:gd name="connsiteY50" fmla="*/ 3248 h 9676"/>
                    <a:gd name="connsiteX51" fmla="*/ 8389 w 10000"/>
                    <a:gd name="connsiteY51" fmla="*/ 2857 h 9676"/>
                    <a:gd name="connsiteX52" fmla="*/ 8389 w 10000"/>
                    <a:gd name="connsiteY52" fmla="*/ 2857 h 9676"/>
                    <a:gd name="connsiteX53" fmla="*/ 8667 w 10000"/>
                    <a:gd name="connsiteY53" fmla="*/ 2720 h 9676"/>
                    <a:gd name="connsiteX54" fmla="*/ 8778 w 10000"/>
                    <a:gd name="connsiteY54" fmla="*/ 2529 h 9676"/>
                    <a:gd name="connsiteX55" fmla="*/ 8889 w 10000"/>
                    <a:gd name="connsiteY55" fmla="*/ 2401 h 9676"/>
                    <a:gd name="connsiteX56" fmla="*/ 8833 w 10000"/>
                    <a:gd name="connsiteY56" fmla="*/ 2271 h 9676"/>
                    <a:gd name="connsiteX57" fmla="*/ 8833 w 10000"/>
                    <a:gd name="connsiteY57" fmla="*/ 2140 h 9676"/>
                    <a:gd name="connsiteX58" fmla="*/ 8722 w 10000"/>
                    <a:gd name="connsiteY58" fmla="*/ 2011 h 9676"/>
                    <a:gd name="connsiteX59" fmla="*/ 8556 w 10000"/>
                    <a:gd name="connsiteY59" fmla="*/ 1818 h 9676"/>
                    <a:gd name="connsiteX60" fmla="*/ 8556 w 10000"/>
                    <a:gd name="connsiteY60" fmla="*/ 1818 h 9676"/>
                    <a:gd name="connsiteX61" fmla="*/ 6556 w 10000"/>
                    <a:gd name="connsiteY61" fmla="*/ 652 h 9676"/>
                    <a:gd name="connsiteX62" fmla="*/ 6556 w 10000"/>
                    <a:gd name="connsiteY62" fmla="*/ 652 h 9676"/>
                    <a:gd name="connsiteX63" fmla="*/ 6333 w 10000"/>
                    <a:gd name="connsiteY63" fmla="*/ 461 h 9676"/>
                    <a:gd name="connsiteX64" fmla="*/ 6167 w 10000"/>
                    <a:gd name="connsiteY64" fmla="*/ 263 h 9676"/>
                    <a:gd name="connsiteX65" fmla="*/ 6056 w 10000"/>
                    <a:gd name="connsiteY65" fmla="*/ 66 h 9676"/>
                    <a:gd name="connsiteX66" fmla="*/ 6056 w 10000"/>
                    <a:gd name="connsiteY66" fmla="*/ 66 h 9676"/>
                    <a:gd name="connsiteX67" fmla="*/ 8056 w 10000"/>
                    <a:gd name="connsiteY67" fmla="*/ 0 h 9676"/>
                    <a:gd name="connsiteX68" fmla="*/ 10000 w 10000"/>
                    <a:gd name="connsiteY68" fmla="*/ 652 h 9676"/>
                    <a:gd name="connsiteX69" fmla="*/ 10000 w 10000"/>
                    <a:gd name="connsiteY69" fmla="*/ 8961 h 9676"/>
                    <a:gd name="connsiteX70" fmla="*/ 10000 w 10000"/>
                    <a:gd name="connsiteY70" fmla="*/ 8961 h 9676"/>
                    <a:gd name="connsiteX71" fmla="*/ 9722 w 10000"/>
                    <a:gd name="connsiteY71" fmla="*/ 8897 h 9676"/>
                    <a:gd name="connsiteX72" fmla="*/ 9389 w 10000"/>
                    <a:gd name="connsiteY72" fmla="*/ 8961 h 9676"/>
                    <a:gd name="connsiteX73" fmla="*/ 9389 w 10000"/>
                    <a:gd name="connsiteY73" fmla="*/ 8961 h 9676"/>
                    <a:gd name="connsiteX74" fmla="*/ 9278 w 10000"/>
                    <a:gd name="connsiteY74" fmla="*/ 9027 h 9676"/>
                    <a:gd name="connsiteX75" fmla="*/ 9056 w 10000"/>
                    <a:gd name="connsiteY75" fmla="*/ 8961 h 9676"/>
                    <a:gd name="connsiteX76" fmla="*/ 8889 w 10000"/>
                    <a:gd name="connsiteY76" fmla="*/ 8897 h 9676"/>
                    <a:gd name="connsiteX77" fmla="*/ 8722 w 10000"/>
                    <a:gd name="connsiteY77" fmla="*/ 8762 h 9676"/>
                    <a:gd name="connsiteX78" fmla="*/ 8611 w 10000"/>
                    <a:gd name="connsiteY78" fmla="*/ 8570 h 9676"/>
                    <a:gd name="connsiteX79" fmla="*/ 8444 w 10000"/>
                    <a:gd name="connsiteY79" fmla="*/ 8248 h 9676"/>
                    <a:gd name="connsiteX80" fmla="*/ 8444 w 10000"/>
                    <a:gd name="connsiteY80" fmla="*/ 8248 h 9676"/>
                    <a:gd name="connsiteX81" fmla="*/ 8222 w 10000"/>
                    <a:gd name="connsiteY81" fmla="*/ 7664 h 9676"/>
                    <a:gd name="connsiteX82" fmla="*/ 8111 w 10000"/>
                    <a:gd name="connsiteY82" fmla="*/ 7401 h 9676"/>
                    <a:gd name="connsiteX83" fmla="*/ 7944 w 10000"/>
                    <a:gd name="connsiteY83" fmla="*/ 7210 h 9676"/>
                    <a:gd name="connsiteX84" fmla="*/ 7778 w 10000"/>
                    <a:gd name="connsiteY84" fmla="*/ 7078 h 9676"/>
                    <a:gd name="connsiteX85" fmla="*/ 7556 w 10000"/>
                    <a:gd name="connsiteY85" fmla="*/ 7009 h 9676"/>
                    <a:gd name="connsiteX86" fmla="*/ 7333 w 10000"/>
                    <a:gd name="connsiteY86" fmla="*/ 6945 h 9676"/>
                    <a:gd name="connsiteX87" fmla="*/ 7000 w 10000"/>
                    <a:gd name="connsiteY87" fmla="*/ 6881 h 9676"/>
                    <a:gd name="connsiteX88" fmla="*/ 7000 w 10000"/>
                    <a:gd name="connsiteY88" fmla="*/ 6881 h 9676"/>
                    <a:gd name="connsiteX89" fmla="*/ 6556 w 10000"/>
                    <a:gd name="connsiteY89" fmla="*/ 6945 h 9676"/>
                    <a:gd name="connsiteX90" fmla="*/ 6222 w 10000"/>
                    <a:gd name="connsiteY90" fmla="*/ 6945 h 9676"/>
                    <a:gd name="connsiteX91" fmla="*/ 6111 w 10000"/>
                    <a:gd name="connsiteY91" fmla="*/ 6881 h 9676"/>
                    <a:gd name="connsiteX92" fmla="*/ 6056 w 10000"/>
                    <a:gd name="connsiteY92" fmla="*/ 6815 h 9676"/>
                    <a:gd name="connsiteX93" fmla="*/ 6056 w 10000"/>
                    <a:gd name="connsiteY93" fmla="*/ 6815 h 9676"/>
                    <a:gd name="connsiteX94" fmla="*/ 6056 w 10000"/>
                    <a:gd name="connsiteY94" fmla="*/ 5648 h 9676"/>
                    <a:gd name="connsiteX95" fmla="*/ 6056 w 10000"/>
                    <a:gd name="connsiteY95" fmla="*/ 5648 h 9676"/>
                    <a:gd name="connsiteX96" fmla="*/ 6056 w 10000"/>
                    <a:gd name="connsiteY96" fmla="*/ 5387 h 9676"/>
                    <a:gd name="connsiteX97" fmla="*/ 5944 w 10000"/>
                    <a:gd name="connsiteY97" fmla="*/ 5063 h 9676"/>
                    <a:gd name="connsiteX98" fmla="*/ 5889 w 10000"/>
                    <a:gd name="connsiteY98" fmla="*/ 5000 h 9676"/>
                    <a:gd name="connsiteX99" fmla="*/ 5778 w 10000"/>
                    <a:gd name="connsiteY99" fmla="*/ 4932 h 9676"/>
                    <a:gd name="connsiteX100" fmla="*/ 5667 w 10000"/>
                    <a:gd name="connsiteY100" fmla="*/ 4932 h 9676"/>
                    <a:gd name="connsiteX101" fmla="*/ 5500 w 10000"/>
                    <a:gd name="connsiteY101" fmla="*/ 5000 h 9676"/>
                    <a:gd name="connsiteX102" fmla="*/ 5500 w 10000"/>
                    <a:gd name="connsiteY102" fmla="*/ 5000 h 9676"/>
                    <a:gd name="connsiteX103" fmla="*/ 4889 w 10000"/>
                    <a:gd name="connsiteY103" fmla="*/ 5454 h 9676"/>
                    <a:gd name="connsiteX104" fmla="*/ 4611 w 10000"/>
                    <a:gd name="connsiteY104" fmla="*/ 5583 h 9676"/>
                    <a:gd name="connsiteX105" fmla="*/ 4556 w 10000"/>
                    <a:gd name="connsiteY105" fmla="*/ 5648 h 9676"/>
                    <a:gd name="connsiteX106" fmla="*/ 4500 w 10000"/>
                    <a:gd name="connsiteY106" fmla="*/ 5583 h 9676"/>
                    <a:gd name="connsiteX107" fmla="*/ 4500 w 10000"/>
                    <a:gd name="connsiteY107" fmla="*/ 5583 h 9676"/>
                    <a:gd name="connsiteX108" fmla="*/ 4222 w 10000"/>
                    <a:gd name="connsiteY108" fmla="*/ 4932 h 9676"/>
                    <a:gd name="connsiteX109" fmla="*/ 4222 w 10000"/>
                    <a:gd name="connsiteY109" fmla="*/ 4932 h 9676"/>
                    <a:gd name="connsiteX110" fmla="*/ 4111 w 10000"/>
                    <a:gd name="connsiteY110" fmla="*/ 4611 h 9676"/>
                    <a:gd name="connsiteX111" fmla="*/ 4111 w 10000"/>
                    <a:gd name="connsiteY111" fmla="*/ 4413 h 9676"/>
                    <a:gd name="connsiteX112" fmla="*/ 4111 w 10000"/>
                    <a:gd name="connsiteY112" fmla="*/ 4221 h 9676"/>
                    <a:gd name="connsiteX113" fmla="*/ 4111 w 10000"/>
                    <a:gd name="connsiteY113" fmla="*/ 4221 h 9676"/>
                    <a:gd name="connsiteX114" fmla="*/ 4278 w 10000"/>
                    <a:gd name="connsiteY114" fmla="*/ 4025 h 9676"/>
                    <a:gd name="connsiteX115" fmla="*/ 4389 w 10000"/>
                    <a:gd name="connsiteY115" fmla="*/ 3960 h 9676"/>
                    <a:gd name="connsiteX116" fmla="*/ 4389 w 10000"/>
                    <a:gd name="connsiteY116" fmla="*/ 3960 h 9676"/>
                    <a:gd name="connsiteX117" fmla="*/ 4000 w 10000"/>
                    <a:gd name="connsiteY117" fmla="*/ 3960 h 9676"/>
                    <a:gd name="connsiteX118" fmla="*/ 3722 w 10000"/>
                    <a:gd name="connsiteY118" fmla="*/ 4025 h 9676"/>
                    <a:gd name="connsiteX119" fmla="*/ 3611 w 10000"/>
                    <a:gd name="connsiteY119" fmla="*/ 4095 h 9676"/>
                    <a:gd name="connsiteX120" fmla="*/ 3556 w 10000"/>
                    <a:gd name="connsiteY120" fmla="*/ 4155 h 9676"/>
                    <a:gd name="connsiteX121" fmla="*/ 3556 w 10000"/>
                    <a:gd name="connsiteY121" fmla="*/ 4155 h 9676"/>
                    <a:gd name="connsiteX122" fmla="*/ 3444 w 10000"/>
                    <a:gd name="connsiteY122" fmla="*/ 4413 h 9676"/>
                    <a:gd name="connsiteX123" fmla="*/ 3278 w 10000"/>
                    <a:gd name="connsiteY123" fmla="*/ 4805 h 9676"/>
                    <a:gd name="connsiteX124" fmla="*/ 3000 w 10000"/>
                    <a:gd name="connsiteY124" fmla="*/ 5262 h 9676"/>
                    <a:gd name="connsiteX125" fmla="*/ 2667 w 10000"/>
                    <a:gd name="connsiteY125" fmla="*/ 5583 h 9676"/>
                    <a:gd name="connsiteX126" fmla="*/ 2667 w 10000"/>
                    <a:gd name="connsiteY126" fmla="*/ 5583 h 9676"/>
                    <a:gd name="connsiteX127" fmla="*/ 2333 w 10000"/>
                    <a:gd name="connsiteY127" fmla="*/ 5841 h 9676"/>
                    <a:gd name="connsiteX128" fmla="*/ 1833 w 10000"/>
                    <a:gd name="connsiteY128" fmla="*/ 6104 h 9676"/>
                    <a:gd name="connsiteX129" fmla="*/ 1389 w 10000"/>
                    <a:gd name="connsiteY129" fmla="*/ 6236 h 9676"/>
                    <a:gd name="connsiteX130" fmla="*/ 889 w 10000"/>
                    <a:gd name="connsiteY130" fmla="*/ 6296 h 9676"/>
                    <a:gd name="connsiteX131" fmla="*/ 889 w 10000"/>
                    <a:gd name="connsiteY131" fmla="*/ 6296 h 9676"/>
                    <a:gd name="connsiteX132" fmla="*/ 500 w 10000"/>
                    <a:gd name="connsiteY132" fmla="*/ 6364 h 9676"/>
                    <a:gd name="connsiteX133" fmla="*/ 222 w 10000"/>
                    <a:gd name="connsiteY133" fmla="*/ 6431 h 9676"/>
                    <a:gd name="connsiteX134" fmla="*/ 0 w 10000"/>
                    <a:gd name="connsiteY134" fmla="*/ 6498 h 9676"/>
                    <a:gd name="connsiteX135" fmla="*/ 0 w 10000"/>
                    <a:gd name="connsiteY135" fmla="*/ 6498 h 9676"/>
                    <a:gd name="connsiteX136" fmla="*/ 278 w 10000"/>
                    <a:gd name="connsiteY136" fmla="*/ 7529 h 9676"/>
                    <a:gd name="connsiteX137" fmla="*/ 500 w 10000"/>
                    <a:gd name="connsiteY137" fmla="*/ 8312 h 9676"/>
                    <a:gd name="connsiteX138" fmla="*/ 722 w 10000"/>
                    <a:gd name="connsiteY138" fmla="*/ 8961 h 9676"/>
                    <a:gd name="connsiteX139" fmla="*/ 722 w 10000"/>
                    <a:gd name="connsiteY139" fmla="*/ 8961 h 9676"/>
                    <a:gd name="connsiteX140" fmla="*/ 889 w 10000"/>
                    <a:gd name="connsiteY140" fmla="*/ 9352 h 9676"/>
                    <a:gd name="connsiteX141" fmla="*/ 944 w 10000"/>
                    <a:gd name="connsiteY141" fmla="*/ 9676 h 9676"/>
                    <a:gd name="connsiteX0" fmla="*/ 10000 w 10000"/>
                    <a:gd name="connsiteY0" fmla="*/ 9195 h 9665"/>
                    <a:gd name="connsiteX1" fmla="*/ 10000 w 10000"/>
                    <a:gd name="connsiteY1" fmla="*/ 9195 h 9665"/>
                    <a:gd name="connsiteX2" fmla="*/ 9222 w 10000"/>
                    <a:gd name="connsiteY2" fmla="*/ 9261 h 9665"/>
                    <a:gd name="connsiteX3" fmla="*/ 8944 w 10000"/>
                    <a:gd name="connsiteY3" fmla="*/ 9261 h 9665"/>
                    <a:gd name="connsiteX4" fmla="*/ 8833 w 10000"/>
                    <a:gd name="connsiteY4" fmla="*/ 9195 h 9665"/>
                    <a:gd name="connsiteX5" fmla="*/ 8778 w 10000"/>
                    <a:gd name="connsiteY5" fmla="*/ 9126 h 9665"/>
                    <a:gd name="connsiteX6" fmla="*/ 8778 w 10000"/>
                    <a:gd name="connsiteY6" fmla="*/ 9126 h 9665"/>
                    <a:gd name="connsiteX7" fmla="*/ 8444 w 10000"/>
                    <a:gd name="connsiteY7" fmla="*/ 8317 h 9665"/>
                    <a:gd name="connsiteX8" fmla="*/ 8167 w 10000"/>
                    <a:gd name="connsiteY8" fmla="*/ 7583 h 9665"/>
                    <a:gd name="connsiteX9" fmla="*/ 8167 w 10000"/>
                    <a:gd name="connsiteY9" fmla="*/ 7583 h 9665"/>
                    <a:gd name="connsiteX10" fmla="*/ 8056 w 10000"/>
                    <a:gd name="connsiteY10" fmla="*/ 7451 h 9665"/>
                    <a:gd name="connsiteX11" fmla="*/ 7889 w 10000"/>
                    <a:gd name="connsiteY11" fmla="*/ 7315 h 9665"/>
                    <a:gd name="connsiteX12" fmla="*/ 7444 w 10000"/>
                    <a:gd name="connsiteY12" fmla="*/ 7244 h 9665"/>
                    <a:gd name="connsiteX13" fmla="*/ 6889 w 10000"/>
                    <a:gd name="connsiteY13" fmla="*/ 7178 h 9665"/>
                    <a:gd name="connsiteX14" fmla="*/ 6389 w 10000"/>
                    <a:gd name="connsiteY14" fmla="*/ 7178 h 9665"/>
                    <a:gd name="connsiteX15" fmla="*/ 6389 w 10000"/>
                    <a:gd name="connsiteY15" fmla="*/ 7178 h 9665"/>
                    <a:gd name="connsiteX16" fmla="*/ 6167 w 10000"/>
                    <a:gd name="connsiteY16" fmla="*/ 7111 h 9665"/>
                    <a:gd name="connsiteX17" fmla="*/ 6056 w 10000"/>
                    <a:gd name="connsiteY17" fmla="*/ 6982 h 9665"/>
                    <a:gd name="connsiteX18" fmla="*/ 6000 w 10000"/>
                    <a:gd name="connsiteY18" fmla="*/ 6847 h 9665"/>
                    <a:gd name="connsiteX19" fmla="*/ 6000 w 10000"/>
                    <a:gd name="connsiteY19" fmla="*/ 6577 h 9665"/>
                    <a:gd name="connsiteX20" fmla="*/ 6056 w 10000"/>
                    <a:gd name="connsiteY20" fmla="*/ 6037 h 9665"/>
                    <a:gd name="connsiteX21" fmla="*/ 6111 w 10000"/>
                    <a:gd name="connsiteY21" fmla="*/ 5770 h 9665"/>
                    <a:gd name="connsiteX22" fmla="*/ 6056 w 10000"/>
                    <a:gd name="connsiteY22" fmla="*/ 5438 h 9665"/>
                    <a:gd name="connsiteX23" fmla="*/ 6056 w 10000"/>
                    <a:gd name="connsiteY23" fmla="*/ 5438 h 9665"/>
                    <a:gd name="connsiteX24" fmla="*/ 6000 w 10000"/>
                    <a:gd name="connsiteY24" fmla="*/ 5233 h 9665"/>
                    <a:gd name="connsiteX25" fmla="*/ 5944 w 10000"/>
                    <a:gd name="connsiteY25" fmla="*/ 5097 h 9665"/>
                    <a:gd name="connsiteX26" fmla="*/ 5833 w 10000"/>
                    <a:gd name="connsiteY26" fmla="*/ 5097 h 9665"/>
                    <a:gd name="connsiteX27" fmla="*/ 5667 w 10000"/>
                    <a:gd name="connsiteY27" fmla="*/ 5167 h 9665"/>
                    <a:gd name="connsiteX28" fmla="*/ 5333 w 10000"/>
                    <a:gd name="connsiteY28" fmla="*/ 5366 h 9665"/>
                    <a:gd name="connsiteX29" fmla="*/ 4889 w 10000"/>
                    <a:gd name="connsiteY29" fmla="*/ 5706 h 9665"/>
                    <a:gd name="connsiteX30" fmla="*/ 4889 w 10000"/>
                    <a:gd name="connsiteY30" fmla="*/ 5706 h 9665"/>
                    <a:gd name="connsiteX31" fmla="*/ 4611 w 10000"/>
                    <a:gd name="connsiteY31" fmla="*/ 5770 h 9665"/>
                    <a:gd name="connsiteX32" fmla="*/ 4500 w 10000"/>
                    <a:gd name="connsiteY32" fmla="*/ 5770 h 9665"/>
                    <a:gd name="connsiteX33" fmla="*/ 4444 w 10000"/>
                    <a:gd name="connsiteY33" fmla="*/ 5706 h 9665"/>
                    <a:gd name="connsiteX34" fmla="*/ 4389 w 10000"/>
                    <a:gd name="connsiteY34" fmla="*/ 5438 h 9665"/>
                    <a:gd name="connsiteX35" fmla="*/ 4222 w 10000"/>
                    <a:gd name="connsiteY35" fmla="*/ 5097 h 9665"/>
                    <a:gd name="connsiteX36" fmla="*/ 4222 w 10000"/>
                    <a:gd name="connsiteY36" fmla="*/ 5097 h 9665"/>
                    <a:gd name="connsiteX37" fmla="*/ 4111 w 10000"/>
                    <a:gd name="connsiteY37" fmla="*/ 4901 h 9665"/>
                    <a:gd name="connsiteX38" fmla="*/ 4111 w 10000"/>
                    <a:gd name="connsiteY38" fmla="*/ 4697 h 9665"/>
                    <a:gd name="connsiteX39" fmla="*/ 4111 w 10000"/>
                    <a:gd name="connsiteY39" fmla="*/ 4561 h 9665"/>
                    <a:gd name="connsiteX40" fmla="*/ 4167 w 10000"/>
                    <a:gd name="connsiteY40" fmla="*/ 4431 h 9665"/>
                    <a:gd name="connsiteX41" fmla="*/ 4278 w 10000"/>
                    <a:gd name="connsiteY41" fmla="*/ 4160 h 9665"/>
                    <a:gd name="connsiteX42" fmla="*/ 4389 w 10000"/>
                    <a:gd name="connsiteY42" fmla="*/ 4093 h 9665"/>
                    <a:gd name="connsiteX43" fmla="*/ 4389 w 10000"/>
                    <a:gd name="connsiteY43" fmla="*/ 4093 h 9665"/>
                    <a:gd name="connsiteX44" fmla="*/ 4389 w 10000"/>
                    <a:gd name="connsiteY44" fmla="*/ 4030 h 9665"/>
                    <a:gd name="connsiteX45" fmla="*/ 4444 w 10000"/>
                    <a:gd name="connsiteY45" fmla="*/ 3960 h 9665"/>
                    <a:gd name="connsiteX46" fmla="*/ 4667 w 10000"/>
                    <a:gd name="connsiteY46" fmla="*/ 3890 h 9665"/>
                    <a:gd name="connsiteX47" fmla="*/ 5333 w 10000"/>
                    <a:gd name="connsiteY47" fmla="*/ 3761 h 9665"/>
                    <a:gd name="connsiteX48" fmla="*/ 6500 w 10000"/>
                    <a:gd name="connsiteY48" fmla="*/ 3559 h 9665"/>
                    <a:gd name="connsiteX49" fmla="*/ 6500 w 10000"/>
                    <a:gd name="connsiteY49" fmla="*/ 3559 h 9665"/>
                    <a:gd name="connsiteX50" fmla="*/ 7167 w 10000"/>
                    <a:gd name="connsiteY50" fmla="*/ 3357 h 9665"/>
                    <a:gd name="connsiteX51" fmla="*/ 8389 w 10000"/>
                    <a:gd name="connsiteY51" fmla="*/ 2953 h 9665"/>
                    <a:gd name="connsiteX52" fmla="*/ 8389 w 10000"/>
                    <a:gd name="connsiteY52" fmla="*/ 2953 h 9665"/>
                    <a:gd name="connsiteX53" fmla="*/ 8667 w 10000"/>
                    <a:gd name="connsiteY53" fmla="*/ 2811 h 9665"/>
                    <a:gd name="connsiteX54" fmla="*/ 8778 w 10000"/>
                    <a:gd name="connsiteY54" fmla="*/ 2614 h 9665"/>
                    <a:gd name="connsiteX55" fmla="*/ 8889 w 10000"/>
                    <a:gd name="connsiteY55" fmla="*/ 2481 h 9665"/>
                    <a:gd name="connsiteX56" fmla="*/ 8833 w 10000"/>
                    <a:gd name="connsiteY56" fmla="*/ 2347 h 9665"/>
                    <a:gd name="connsiteX57" fmla="*/ 8833 w 10000"/>
                    <a:gd name="connsiteY57" fmla="*/ 2212 h 9665"/>
                    <a:gd name="connsiteX58" fmla="*/ 8722 w 10000"/>
                    <a:gd name="connsiteY58" fmla="*/ 2078 h 9665"/>
                    <a:gd name="connsiteX59" fmla="*/ 8556 w 10000"/>
                    <a:gd name="connsiteY59" fmla="*/ 1879 h 9665"/>
                    <a:gd name="connsiteX60" fmla="*/ 8556 w 10000"/>
                    <a:gd name="connsiteY60" fmla="*/ 1879 h 9665"/>
                    <a:gd name="connsiteX61" fmla="*/ 6556 w 10000"/>
                    <a:gd name="connsiteY61" fmla="*/ 674 h 9665"/>
                    <a:gd name="connsiteX62" fmla="*/ 6556 w 10000"/>
                    <a:gd name="connsiteY62" fmla="*/ 674 h 9665"/>
                    <a:gd name="connsiteX63" fmla="*/ 6333 w 10000"/>
                    <a:gd name="connsiteY63" fmla="*/ 476 h 9665"/>
                    <a:gd name="connsiteX64" fmla="*/ 6167 w 10000"/>
                    <a:gd name="connsiteY64" fmla="*/ 272 h 9665"/>
                    <a:gd name="connsiteX65" fmla="*/ 6056 w 10000"/>
                    <a:gd name="connsiteY65" fmla="*/ 68 h 9665"/>
                    <a:gd name="connsiteX66" fmla="*/ 6056 w 10000"/>
                    <a:gd name="connsiteY66" fmla="*/ 68 h 9665"/>
                    <a:gd name="connsiteX67" fmla="*/ 8056 w 10000"/>
                    <a:gd name="connsiteY67" fmla="*/ 0 h 9665"/>
                    <a:gd name="connsiteX68" fmla="*/ 10000 w 10000"/>
                    <a:gd name="connsiteY68" fmla="*/ 674 h 9665"/>
                    <a:gd name="connsiteX69" fmla="*/ 10000 w 10000"/>
                    <a:gd name="connsiteY69" fmla="*/ 9261 h 9665"/>
                    <a:gd name="connsiteX70" fmla="*/ 10000 w 10000"/>
                    <a:gd name="connsiteY70" fmla="*/ 9261 h 9665"/>
                    <a:gd name="connsiteX71" fmla="*/ 9722 w 10000"/>
                    <a:gd name="connsiteY71" fmla="*/ 9195 h 9665"/>
                    <a:gd name="connsiteX72" fmla="*/ 9389 w 10000"/>
                    <a:gd name="connsiteY72" fmla="*/ 9261 h 9665"/>
                    <a:gd name="connsiteX73" fmla="*/ 9389 w 10000"/>
                    <a:gd name="connsiteY73" fmla="*/ 9261 h 9665"/>
                    <a:gd name="connsiteX74" fmla="*/ 9278 w 10000"/>
                    <a:gd name="connsiteY74" fmla="*/ 9329 h 9665"/>
                    <a:gd name="connsiteX75" fmla="*/ 9056 w 10000"/>
                    <a:gd name="connsiteY75" fmla="*/ 9261 h 9665"/>
                    <a:gd name="connsiteX76" fmla="*/ 8889 w 10000"/>
                    <a:gd name="connsiteY76" fmla="*/ 9195 h 9665"/>
                    <a:gd name="connsiteX77" fmla="*/ 8722 w 10000"/>
                    <a:gd name="connsiteY77" fmla="*/ 9055 h 9665"/>
                    <a:gd name="connsiteX78" fmla="*/ 8611 w 10000"/>
                    <a:gd name="connsiteY78" fmla="*/ 8857 h 9665"/>
                    <a:gd name="connsiteX79" fmla="*/ 8444 w 10000"/>
                    <a:gd name="connsiteY79" fmla="*/ 8524 h 9665"/>
                    <a:gd name="connsiteX80" fmla="*/ 8444 w 10000"/>
                    <a:gd name="connsiteY80" fmla="*/ 8524 h 9665"/>
                    <a:gd name="connsiteX81" fmla="*/ 8222 w 10000"/>
                    <a:gd name="connsiteY81" fmla="*/ 7921 h 9665"/>
                    <a:gd name="connsiteX82" fmla="*/ 8111 w 10000"/>
                    <a:gd name="connsiteY82" fmla="*/ 7649 h 9665"/>
                    <a:gd name="connsiteX83" fmla="*/ 7944 w 10000"/>
                    <a:gd name="connsiteY83" fmla="*/ 7451 h 9665"/>
                    <a:gd name="connsiteX84" fmla="*/ 7778 w 10000"/>
                    <a:gd name="connsiteY84" fmla="*/ 7315 h 9665"/>
                    <a:gd name="connsiteX85" fmla="*/ 7556 w 10000"/>
                    <a:gd name="connsiteY85" fmla="*/ 7244 h 9665"/>
                    <a:gd name="connsiteX86" fmla="*/ 7333 w 10000"/>
                    <a:gd name="connsiteY86" fmla="*/ 7178 h 9665"/>
                    <a:gd name="connsiteX87" fmla="*/ 7000 w 10000"/>
                    <a:gd name="connsiteY87" fmla="*/ 7111 h 9665"/>
                    <a:gd name="connsiteX88" fmla="*/ 7000 w 10000"/>
                    <a:gd name="connsiteY88" fmla="*/ 7111 h 9665"/>
                    <a:gd name="connsiteX89" fmla="*/ 6556 w 10000"/>
                    <a:gd name="connsiteY89" fmla="*/ 7178 h 9665"/>
                    <a:gd name="connsiteX90" fmla="*/ 6222 w 10000"/>
                    <a:gd name="connsiteY90" fmla="*/ 7178 h 9665"/>
                    <a:gd name="connsiteX91" fmla="*/ 6111 w 10000"/>
                    <a:gd name="connsiteY91" fmla="*/ 7111 h 9665"/>
                    <a:gd name="connsiteX92" fmla="*/ 6056 w 10000"/>
                    <a:gd name="connsiteY92" fmla="*/ 7043 h 9665"/>
                    <a:gd name="connsiteX93" fmla="*/ 6056 w 10000"/>
                    <a:gd name="connsiteY93" fmla="*/ 7043 h 9665"/>
                    <a:gd name="connsiteX94" fmla="*/ 6056 w 10000"/>
                    <a:gd name="connsiteY94" fmla="*/ 5837 h 9665"/>
                    <a:gd name="connsiteX95" fmla="*/ 6056 w 10000"/>
                    <a:gd name="connsiteY95" fmla="*/ 5837 h 9665"/>
                    <a:gd name="connsiteX96" fmla="*/ 6056 w 10000"/>
                    <a:gd name="connsiteY96" fmla="*/ 5567 h 9665"/>
                    <a:gd name="connsiteX97" fmla="*/ 5944 w 10000"/>
                    <a:gd name="connsiteY97" fmla="*/ 5233 h 9665"/>
                    <a:gd name="connsiteX98" fmla="*/ 5889 w 10000"/>
                    <a:gd name="connsiteY98" fmla="*/ 5167 h 9665"/>
                    <a:gd name="connsiteX99" fmla="*/ 5778 w 10000"/>
                    <a:gd name="connsiteY99" fmla="*/ 5097 h 9665"/>
                    <a:gd name="connsiteX100" fmla="*/ 5667 w 10000"/>
                    <a:gd name="connsiteY100" fmla="*/ 5097 h 9665"/>
                    <a:gd name="connsiteX101" fmla="*/ 5500 w 10000"/>
                    <a:gd name="connsiteY101" fmla="*/ 5167 h 9665"/>
                    <a:gd name="connsiteX102" fmla="*/ 5500 w 10000"/>
                    <a:gd name="connsiteY102" fmla="*/ 5167 h 9665"/>
                    <a:gd name="connsiteX103" fmla="*/ 4889 w 10000"/>
                    <a:gd name="connsiteY103" fmla="*/ 5637 h 9665"/>
                    <a:gd name="connsiteX104" fmla="*/ 4611 w 10000"/>
                    <a:gd name="connsiteY104" fmla="*/ 5770 h 9665"/>
                    <a:gd name="connsiteX105" fmla="*/ 4556 w 10000"/>
                    <a:gd name="connsiteY105" fmla="*/ 5837 h 9665"/>
                    <a:gd name="connsiteX106" fmla="*/ 4500 w 10000"/>
                    <a:gd name="connsiteY106" fmla="*/ 5770 h 9665"/>
                    <a:gd name="connsiteX107" fmla="*/ 4500 w 10000"/>
                    <a:gd name="connsiteY107" fmla="*/ 5770 h 9665"/>
                    <a:gd name="connsiteX108" fmla="*/ 4222 w 10000"/>
                    <a:gd name="connsiteY108" fmla="*/ 5097 h 9665"/>
                    <a:gd name="connsiteX109" fmla="*/ 4222 w 10000"/>
                    <a:gd name="connsiteY109" fmla="*/ 5097 h 9665"/>
                    <a:gd name="connsiteX110" fmla="*/ 4111 w 10000"/>
                    <a:gd name="connsiteY110" fmla="*/ 4765 h 9665"/>
                    <a:gd name="connsiteX111" fmla="*/ 4111 w 10000"/>
                    <a:gd name="connsiteY111" fmla="*/ 4561 h 9665"/>
                    <a:gd name="connsiteX112" fmla="*/ 4111 w 10000"/>
                    <a:gd name="connsiteY112" fmla="*/ 4362 h 9665"/>
                    <a:gd name="connsiteX113" fmla="*/ 4111 w 10000"/>
                    <a:gd name="connsiteY113" fmla="*/ 4362 h 9665"/>
                    <a:gd name="connsiteX114" fmla="*/ 4278 w 10000"/>
                    <a:gd name="connsiteY114" fmla="*/ 4160 h 9665"/>
                    <a:gd name="connsiteX115" fmla="*/ 4389 w 10000"/>
                    <a:gd name="connsiteY115" fmla="*/ 4093 h 9665"/>
                    <a:gd name="connsiteX116" fmla="*/ 4389 w 10000"/>
                    <a:gd name="connsiteY116" fmla="*/ 4093 h 9665"/>
                    <a:gd name="connsiteX117" fmla="*/ 4000 w 10000"/>
                    <a:gd name="connsiteY117" fmla="*/ 4093 h 9665"/>
                    <a:gd name="connsiteX118" fmla="*/ 3722 w 10000"/>
                    <a:gd name="connsiteY118" fmla="*/ 4160 h 9665"/>
                    <a:gd name="connsiteX119" fmla="*/ 3611 w 10000"/>
                    <a:gd name="connsiteY119" fmla="*/ 4232 h 9665"/>
                    <a:gd name="connsiteX120" fmla="*/ 3556 w 10000"/>
                    <a:gd name="connsiteY120" fmla="*/ 4294 h 9665"/>
                    <a:gd name="connsiteX121" fmla="*/ 3556 w 10000"/>
                    <a:gd name="connsiteY121" fmla="*/ 4294 h 9665"/>
                    <a:gd name="connsiteX122" fmla="*/ 3444 w 10000"/>
                    <a:gd name="connsiteY122" fmla="*/ 4561 h 9665"/>
                    <a:gd name="connsiteX123" fmla="*/ 3278 w 10000"/>
                    <a:gd name="connsiteY123" fmla="*/ 4966 h 9665"/>
                    <a:gd name="connsiteX124" fmla="*/ 3000 w 10000"/>
                    <a:gd name="connsiteY124" fmla="*/ 5438 h 9665"/>
                    <a:gd name="connsiteX125" fmla="*/ 2667 w 10000"/>
                    <a:gd name="connsiteY125" fmla="*/ 5770 h 9665"/>
                    <a:gd name="connsiteX126" fmla="*/ 2667 w 10000"/>
                    <a:gd name="connsiteY126" fmla="*/ 5770 h 9665"/>
                    <a:gd name="connsiteX127" fmla="*/ 2333 w 10000"/>
                    <a:gd name="connsiteY127" fmla="*/ 6037 h 9665"/>
                    <a:gd name="connsiteX128" fmla="*/ 1833 w 10000"/>
                    <a:gd name="connsiteY128" fmla="*/ 6308 h 9665"/>
                    <a:gd name="connsiteX129" fmla="*/ 1389 w 10000"/>
                    <a:gd name="connsiteY129" fmla="*/ 6445 h 9665"/>
                    <a:gd name="connsiteX130" fmla="*/ 889 w 10000"/>
                    <a:gd name="connsiteY130" fmla="*/ 6507 h 9665"/>
                    <a:gd name="connsiteX131" fmla="*/ 889 w 10000"/>
                    <a:gd name="connsiteY131" fmla="*/ 6507 h 9665"/>
                    <a:gd name="connsiteX132" fmla="*/ 500 w 10000"/>
                    <a:gd name="connsiteY132" fmla="*/ 6577 h 9665"/>
                    <a:gd name="connsiteX133" fmla="*/ 222 w 10000"/>
                    <a:gd name="connsiteY133" fmla="*/ 6646 h 9665"/>
                    <a:gd name="connsiteX134" fmla="*/ 0 w 10000"/>
                    <a:gd name="connsiteY134" fmla="*/ 6716 h 9665"/>
                    <a:gd name="connsiteX135" fmla="*/ 0 w 10000"/>
                    <a:gd name="connsiteY135" fmla="*/ 6716 h 9665"/>
                    <a:gd name="connsiteX136" fmla="*/ 278 w 10000"/>
                    <a:gd name="connsiteY136" fmla="*/ 7781 h 9665"/>
                    <a:gd name="connsiteX137" fmla="*/ 500 w 10000"/>
                    <a:gd name="connsiteY137" fmla="*/ 8590 h 9665"/>
                    <a:gd name="connsiteX138" fmla="*/ 722 w 10000"/>
                    <a:gd name="connsiteY138" fmla="*/ 9261 h 9665"/>
                    <a:gd name="connsiteX139" fmla="*/ 722 w 10000"/>
                    <a:gd name="connsiteY139" fmla="*/ 9261 h 9665"/>
                    <a:gd name="connsiteX140" fmla="*/ 889 w 10000"/>
                    <a:gd name="connsiteY140" fmla="*/ 9665 h 9665"/>
                    <a:gd name="connsiteX0" fmla="*/ 10000 w 10000"/>
                    <a:gd name="connsiteY0" fmla="*/ 9514 h 9652"/>
                    <a:gd name="connsiteX1" fmla="*/ 10000 w 10000"/>
                    <a:gd name="connsiteY1" fmla="*/ 9514 h 9652"/>
                    <a:gd name="connsiteX2" fmla="*/ 9222 w 10000"/>
                    <a:gd name="connsiteY2" fmla="*/ 9582 h 9652"/>
                    <a:gd name="connsiteX3" fmla="*/ 8944 w 10000"/>
                    <a:gd name="connsiteY3" fmla="*/ 9582 h 9652"/>
                    <a:gd name="connsiteX4" fmla="*/ 8833 w 10000"/>
                    <a:gd name="connsiteY4" fmla="*/ 9514 h 9652"/>
                    <a:gd name="connsiteX5" fmla="*/ 8778 w 10000"/>
                    <a:gd name="connsiteY5" fmla="*/ 9442 h 9652"/>
                    <a:gd name="connsiteX6" fmla="*/ 8778 w 10000"/>
                    <a:gd name="connsiteY6" fmla="*/ 9442 h 9652"/>
                    <a:gd name="connsiteX7" fmla="*/ 8444 w 10000"/>
                    <a:gd name="connsiteY7" fmla="*/ 8605 h 9652"/>
                    <a:gd name="connsiteX8" fmla="*/ 8167 w 10000"/>
                    <a:gd name="connsiteY8" fmla="*/ 7846 h 9652"/>
                    <a:gd name="connsiteX9" fmla="*/ 8167 w 10000"/>
                    <a:gd name="connsiteY9" fmla="*/ 7846 h 9652"/>
                    <a:gd name="connsiteX10" fmla="*/ 8056 w 10000"/>
                    <a:gd name="connsiteY10" fmla="*/ 7709 h 9652"/>
                    <a:gd name="connsiteX11" fmla="*/ 7889 w 10000"/>
                    <a:gd name="connsiteY11" fmla="*/ 7569 h 9652"/>
                    <a:gd name="connsiteX12" fmla="*/ 7444 w 10000"/>
                    <a:gd name="connsiteY12" fmla="*/ 7495 h 9652"/>
                    <a:gd name="connsiteX13" fmla="*/ 6889 w 10000"/>
                    <a:gd name="connsiteY13" fmla="*/ 7427 h 9652"/>
                    <a:gd name="connsiteX14" fmla="*/ 6389 w 10000"/>
                    <a:gd name="connsiteY14" fmla="*/ 7427 h 9652"/>
                    <a:gd name="connsiteX15" fmla="*/ 6389 w 10000"/>
                    <a:gd name="connsiteY15" fmla="*/ 7427 h 9652"/>
                    <a:gd name="connsiteX16" fmla="*/ 6167 w 10000"/>
                    <a:gd name="connsiteY16" fmla="*/ 7357 h 9652"/>
                    <a:gd name="connsiteX17" fmla="*/ 6056 w 10000"/>
                    <a:gd name="connsiteY17" fmla="*/ 7224 h 9652"/>
                    <a:gd name="connsiteX18" fmla="*/ 6000 w 10000"/>
                    <a:gd name="connsiteY18" fmla="*/ 7084 h 9652"/>
                    <a:gd name="connsiteX19" fmla="*/ 6000 w 10000"/>
                    <a:gd name="connsiteY19" fmla="*/ 6805 h 9652"/>
                    <a:gd name="connsiteX20" fmla="*/ 6056 w 10000"/>
                    <a:gd name="connsiteY20" fmla="*/ 6246 h 9652"/>
                    <a:gd name="connsiteX21" fmla="*/ 6111 w 10000"/>
                    <a:gd name="connsiteY21" fmla="*/ 5970 h 9652"/>
                    <a:gd name="connsiteX22" fmla="*/ 6056 w 10000"/>
                    <a:gd name="connsiteY22" fmla="*/ 5626 h 9652"/>
                    <a:gd name="connsiteX23" fmla="*/ 6056 w 10000"/>
                    <a:gd name="connsiteY23" fmla="*/ 5626 h 9652"/>
                    <a:gd name="connsiteX24" fmla="*/ 6000 w 10000"/>
                    <a:gd name="connsiteY24" fmla="*/ 5414 h 9652"/>
                    <a:gd name="connsiteX25" fmla="*/ 5944 w 10000"/>
                    <a:gd name="connsiteY25" fmla="*/ 5274 h 9652"/>
                    <a:gd name="connsiteX26" fmla="*/ 5833 w 10000"/>
                    <a:gd name="connsiteY26" fmla="*/ 5274 h 9652"/>
                    <a:gd name="connsiteX27" fmla="*/ 5667 w 10000"/>
                    <a:gd name="connsiteY27" fmla="*/ 5346 h 9652"/>
                    <a:gd name="connsiteX28" fmla="*/ 5333 w 10000"/>
                    <a:gd name="connsiteY28" fmla="*/ 5552 h 9652"/>
                    <a:gd name="connsiteX29" fmla="*/ 4889 w 10000"/>
                    <a:gd name="connsiteY29" fmla="*/ 5904 h 9652"/>
                    <a:gd name="connsiteX30" fmla="*/ 4889 w 10000"/>
                    <a:gd name="connsiteY30" fmla="*/ 5904 h 9652"/>
                    <a:gd name="connsiteX31" fmla="*/ 4611 w 10000"/>
                    <a:gd name="connsiteY31" fmla="*/ 5970 h 9652"/>
                    <a:gd name="connsiteX32" fmla="*/ 4500 w 10000"/>
                    <a:gd name="connsiteY32" fmla="*/ 5970 h 9652"/>
                    <a:gd name="connsiteX33" fmla="*/ 4444 w 10000"/>
                    <a:gd name="connsiteY33" fmla="*/ 5904 h 9652"/>
                    <a:gd name="connsiteX34" fmla="*/ 4389 w 10000"/>
                    <a:gd name="connsiteY34" fmla="*/ 5626 h 9652"/>
                    <a:gd name="connsiteX35" fmla="*/ 4222 w 10000"/>
                    <a:gd name="connsiteY35" fmla="*/ 5274 h 9652"/>
                    <a:gd name="connsiteX36" fmla="*/ 4222 w 10000"/>
                    <a:gd name="connsiteY36" fmla="*/ 5274 h 9652"/>
                    <a:gd name="connsiteX37" fmla="*/ 4111 w 10000"/>
                    <a:gd name="connsiteY37" fmla="*/ 5071 h 9652"/>
                    <a:gd name="connsiteX38" fmla="*/ 4111 w 10000"/>
                    <a:gd name="connsiteY38" fmla="*/ 4860 h 9652"/>
                    <a:gd name="connsiteX39" fmla="*/ 4111 w 10000"/>
                    <a:gd name="connsiteY39" fmla="*/ 4719 h 9652"/>
                    <a:gd name="connsiteX40" fmla="*/ 4167 w 10000"/>
                    <a:gd name="connsiteY40" fmla="*/ 4585 h 9652"/>
                    <a:gd name="connsiteX41" fmla="*/ 4278 w 10000"/>
                    <a:gd name="connsiteY41" fmla="*/ 4304 h 9652"/>
                    <a:gd name="connsiteX42" fmla="*/ 4389 w 10000"/>
                    <a:gd name="connsiteY42" fmla="*/ 4235 h 9652"/>
                    <a:gd name="connsiteX43" fmla="*/ 4389 w 10000"/>
                    <a:gd name="connsiteY43" fmla="*/ 4235 h 9652"/>
                    <a:gd name="connsiteX44" fmla="*/ 4389 w 10000"/>
                    <a:gd name="connsiteY44" fmla="*/ 4170 h 9652"/>
                    <a:gd name="connsiteX45" fmla="*/ 4444 w 10000"/>
                    <a:gd name="connsiteY45" fmla="*/ 4097 h 9652"/>
                    <a:gd name="connsiteX46" fmla="*/ 4667 w 10000"/>
                    <a:gd name="connsiteY46" fmla="*/ 4025 h 9652"/>
                    <a:gd name="connsiteX47" fmla="*/ 5333 w 10000"/>
                    <a:gd name="connsiteY47" fmla="*/ 3891 h 9652"/>
                    <a:gd name="connsiteX48" fmla="*/ 6500 w 10000"/>
                    <a:gd name="connsiteY48" fmla="*/ 3682 h 9652"/>
                    <a:gd name="connsiteX49" fmla="*/ 6500 w 10000"/>
                    <a:gd name="connsiteY49" fmla="*/ 3682 h 9652"/>
                    <a:gd name="connsiteX50" fmla="*/ 7167 w 10000"/>
                    <a:gd name="connsiteY50" fmla="*/ 3473 h 9652"/>
                    <a:gd name="connsiteX51" fmla="*/ 8389 w 10000"/>
                    <a:gd name="connsiteY51" fmla="*/ 3055 h 9652"/>
                    <a:gd name="connsiteX52" fmla="*/ 8389 w 10000"/>
                    <a:gd name="connsiteY52" fmla="*/ 3055 h 9652"/>
                    <a:gd name="connsiteX53" fmla="*/ 8667 w 10000"/>
                    <a:gd name="connsiteY53" fmla="*/ 2908 h 9652"/>
                    <a:gd name="connsiteX54" fmla="*/ 8778 w 10000"/>
                    <a:gd name="connsiteY54" fmla="*/ 2705 h 9652"/>
                    <a:gd name="connsiteX55" fmla="*/ 8889 w 10000"/>
                    <a:gd name="connsiteY55" fmla="*/ 2567 h 9652"/>
                    <a:gd name="connsiteX56" fmla="*/ 8833 w 10000"/>
                    <a:gd name="connsiteY56" fmla="*/ 2428 h 9652"/>
                    <a:gd name="connsiteX57" fmla="*/ 8833 w 10000"/>
                    <a:gd name="connsiteY57" fmla="*/ 2289 h 9652"/>
                    <a:gd name="connsiteX58" fmla="*/ 8722 w 10000"/>
                    <a:gd name="connsiteY58" fmla="*/ 2150 h 9652"/>
                    <a:gd name="connsiteX59" fmla="*/ 8556 w 10000"/>
                    <a:gd name="connsiteY59" fmla="*/ 1944 h 9652"/>
                    <a:gd name="connsiteX60" fmla="*/ 8556 w 10000"/>
                    <a:gd name="connsiteY60" fmla="*/ 1944 h 9652"/>
                    <a:gd name="connsiteX61" fmla="*/ 6556 w 10000"/>
                    <a:gd name="connsiteY61" fmla="*/ 697 h 9652"/>
                    <a:gd name="connsiteX62" fmla="*/ 6556 w 10000"/>
                    <a:gd name="connsiteY62" fmla="*/ 697 h 9652"/>
                    <a:gd name="connsiteX63" fmla="*/ 6333 w 10000"/>
                    <a:gd name="connsiteY63" fmla="*/ 492 h 9652"/>
                    <a:gd name="connsiteX64" fmla="*/ 6167 w 10000"/>
                    <a:gd name="connsiteY64" fmla="*/ 281 h 9652"/>
                    <a:gd name="connsiteX65" fmla="*/ 6056 w 10000"/>
                    <a:gd name="connsiteY65" fmla="*/ 70 h 9652"/>
                    <a:gd name="connsiteX66" fmla="*/ 6056 w 10000"/>
                    <a:gd name="connsiteY66" fmla="*/ 70 h 9652"/>
                    <a:gd name="connsiteX67" fmla="*/ 8056 w 10000"/>
                    <a:gd name="connsiteY67" fmla="*/ 0 h 9652"/>
                    <a:gd name="connsiteX68" fmla="*/ 10000 w 10000"/>
                    <a:gd name="connsiteY68" fmla="*/ 697 h 9652"/>
                    <a:gd name="connsiteX69" fmla="*/ 10000 w 10000"/>
                    <a:gd name="connsiteY69" fmla="*/ 9582 h 9652"/>
                    <a:gd name="connsiteX70" fmla="*/ 10000 w 10000"/>
                    <a:gd name="connsiteY70" fmla="*/ 9582 h 9652"/>
                    <a:gd name="connsiteX71" fmla="*/ 9722 w 10000"/>
                    <a:gd name="connsiteY71" fmla="*/ 9514 h 9652"/>
                    <a:gd name="connsiteX72" fmla="*/ 9389 w 10000"/>
                    <a:gd name="connsiteY72" fmla="*/ 9582 h 9652"/>
                    <a:gd name="connsiteX73" fmla="*/ 9389 w 10000"/>
                    <a:gd name="connsiteY73" fmla="*/ 9582 h 9652"/>
                    <a:gd name="connsiteX74" fmla="*/ 9278 w 10000"/>
                    <a:gd name="connsiteY74" fmla="*/ 9652 h 9652"/>
                    <a:gd name="connsiteX75" fmla="*/ 9056 w 10000"/>
                    <a:gd name="connsiteY75" fmla="*/ 9582 h 9652"/>
                    <a:gd name="connsiteX76" fmla="*/ 8889 w 10000"/>
                    <a:gd name="connsiteY76" fmla="*/ 9514 h 9652"/>
                    <a:gd name="connsiteX77" fmla="*/ 8722 w 10000"/>
                    <a:gd name="connsiteY77" fmla="*/ 9369 h 9652"/>
                    <a:gd name="connsiteX78" fmla="*/ 8611 w 10000"/>
                    <a:gd name="connsiteY78" fmla="*/ 9164 h 9652"/>
                    <a:gd name="connsiteX79" fmla="*/ 8444 w 10000"/>
                    <a:gd name="connsiteY79" fmla="*/ 8819 h 9652"/>
                    <a:gd name="connsiteX80" fmla="*/ 8444 w 10000"/>
                    <a:gd name="connsiteY80" fmla="*/ 8819 h 9652"/>
                    <a:gd name="connsiteX81" fmla="*/ 8222 w 10000"/>
                    <a:gd name="connsiteY81" fmla="*/ 8196 h 9652"/>
                    <a:gd name="connsiteX82" fmla="*/ 8111 w 10000"/>
                    <a:gd name="connsiteY82" fmla="*/ 7914 h 9652"/>
                    <a:gd name="connsiteX83" fmla="*/ 7944 w 10000"/>
                    <a:gd name="connsiteY83" fmla="*/ 7709 h 9652"/>
                    <a:gd name="connsiteX84" fmla="*/ 7778 w 10000"/>
                    <a:gd name="connsiteY84" fmla="*/ 7569 h 9652"/>
                    <a:gd name="connsiteX85" fmla="*/ 7556 w 10000"/>
                    <a:gd name="connsiteY85" fmla="*/ 7495 h 9652"/>
                    <a:gd name="connsiteX86" fmla="*/ 7333 w 10000"/>
                    <a:gd name="connsiteY86" fmla="*/ 7427 h 9652"/>
                    <a:gd name="connsiteX87" fmla="*/ 7000 w 10000"/>
                    <a:gd name="connsiteY87" fmla="*/ 7357 h 9652"/>
                    <a:gd name="connsiteX88" fmla="*/ 7000 w 10000"/>
                    <a:gd name="connsiteY88" fmla="*/ 7357 h 9652"/>
                    <a:gd name="connsiteX89" fmla="*/ 6556 w 10000"/>
                    <a:gd name="connsiteY89" fmla="*/ 7427 h 9652"/>
                    <a:gd name="connsiteX90" fmla="*/ 6222 w 10000"/>
                    <a:gd name="connsiteY90" fmla="*/ 7427 h 9652"/>
                    <a:gd name="connsiteX91" fmla="*/ 6111 w 10000"/>
                    <a:gd name="connsiteY91" fmla="*/ 7357 h 9652"/>
                    <a:gd name="connsiteX92" fmla="*/ 6056 w 10000"/>
                    <a:gd name="connsiteY92" fmla="*/ 7287 h 9652"/>
                    <a:gd name="connsiteX93" fmla="*/ 6056 w 10000"/>
                    <a:gd name="connsiteY93" fmla="*/ 7287 h 9652"/>
                    <a:gd name="connsiteX94" fmla="*/ 6056 w 10000"/>
                    <a:gd name="connsiteY94" fmla="*/ 6039 h 9652"/>
                    <a:gd name="connsiteX95" fmla="*/ 6056 w 10000"/>
                    <a:gd name="connsiteY95" fmla="*/ 6039 h 9652"/>
                    <a:gd name="connsiteX96" fmla="*/ 6056 w 10000"/>
                    <a:gd name="connsiteY96" fmla="*/ 5760 h 9652"/>
                    <a:gd name="connsiteX97" fmla="*/ 5944 w 10000"/>
                    <a:gd name="connsiteY97" fmla="*/ 5414 h 9652"/>
                    <a:gd name="connsiteX98" fmla="*/ 5889 w 10000"/>
                    <a:gd name="connsiteY98" fmla="*/ 5346 h 9652"/>
                    <a:gd name="connsiteX99" fmla="*/ 5778 w 10000"/>
                    <a:gd name="connsiteY99" fmla="*/ 5274 h 9652"/>
                    <a:gd name="connsiteX100" fmla="*/ 5667 w 10000"/>
                    <a:gd name="connsiteY100" fmla="*/ 5274 h 9652"/>
                    <a:gd name="connsiteX101" fmla="*/ 5500 w 10000"/>
                    <a:gd name="connsiteY101" fmla="*/ 5346 h 9652"/>
                    <a:gd name="connsiteX102" fmla="*/ 5500 w 10000"/>
                    <a:gd name="connsiteY102" fmla="*/ 5346 h 9652"/>
                    <a:gd name="connsiteX103" fmla="*/ 4889 w 10000"/>
                    <a:gd name="connsiteY103" fmla="*/ 5832 h 9652"/>
                    <a:gd name="connsiteX104" fmla="*/ 4611 w 10000"/>
                    <a:gd name="connsiteY104" fmla="*/ 5970 h 9652"/>
                    <a:gd name="connsiteX105" fmla="*/ 4556 w 10000"/>
                    <a:gd name="connsiteY105" fmla="*/ 6039 h 9652"/>
                    <a:gd name="connsiteX106" fmla="*/ 4500 w 10000"/>
                    <a:gd name="connsiteY106" fmla="*/ 5970 h 9652"/>
                    <a:gd name="connsiteX107" fmla="*/ 4500 w 10000"/>
                    <a:gd name="connsiteY107" fmla="*/ 5970 h 9652"/>
                    <a:gd name="connsiteX108" fmla="*/ 4222 w 10000"/>
                    <a:gd name="connsiteY108" fmla="*/ 5274 h 9652"/>
                    <a:gd name="connsiteX109" fmla="*/ 4222 w 10000"/>
                    <a:gd name="connsiteY109" fmla="*/ 5274 h 9652"/>
                    <a:gd name="connsiteX110" fmla="*/ 4111 w 10000"/>
                    <a:gd name="connsiteY110" fmla="*/ 4930 h 9652"/>
                    <a:gd name="connsiteX111" fmla="*/ 4111 w 10000"/>
                    <a:gd name="connsiteY111" fmla="*/ 4719 h 9652"/>
                    <a:gd name="connsiteX112" fmla="*/ 4111 w 10000"/>
                    <a:gd name="connsiteY112" fmla="*/ 4513 h 9652"/>
                    <a:gd name="connsiteX113" fmla="*/ 4111 w 10000"/>
                    <a:gd name="connsiteY113" fmla="*/ 4513 h 9652"/>
                    <a:gd name="connsiteX114" fmla="*/ 4278 w 10000"/>
                    <a:gd name="connsiteY114" fmla="*/ 4304 h 9652"/>
                    <a:gd name="connsiteX115" fmla="*/ 4389 w 10000"/>
                    <a:gd name="connsiteY115" fmla="*/ 4235 h 9652"/>
                    <a:gd name="connsiteX116" fmla="*/ 4389 w 10000"/>
                    <a:gd name="connsiteY116" fmla="*/ 4235 h 9652"/>
                    <a:gd name="connsiteX117" fmla="*/ 4000 w 10000"/>
                    <a:gd name="connsiteY117" fmla="*/ 4235 h 9652"/>
                    <a:gd name="connsiteX118" fmla="*/ 3722 w 10000"/>
                    <a:gd name="connsiteY118" fmla="*/ 4304 h 9652"/>
                    <a:gd name="connsiteX119" fmla="*/ 3611 w 10000"/>
                    <a:gd name="connsiteY119" fmla="*/ 4379 h 9652"/>
                    <a:gd name="connsiteX120" fmla="*/ 3556 w 10000"/>
                    <a:gd name="connsiteY120" fmla="*/ 4443 h 9652"/>
                    <a:gd name="connsiteX121" fmla="*/ 3556 w 10000"/>
                    <a:gd name="connsiteY121" fmla="*/ 4443 h 9652"/>
                    <a:gd name="connsiteX122" fmla="*/ 3444 w 10000"/>
                    <a:gd name="connsiteY122" fmla="*/ 4719 h 9652"/>
                    <a:gd name="connsiteX123" fmla="*/ 3278 w 10000"/>
                    <a:gd name="connsiteY123" fmla="*/ 5138 h 9652"/>
                    <a:gd name="connsiteX124" fmla="*/ 3000 w 10000"/>
                    <a:gd name="connsiteY124" fmla="*/ 5626 h 9652"/>
                    <a:gd name="connsiteX125" fmla="*/ 2667 w 10000"/>
                    <a:gd name="connsiteY125" fmla="*/ 5970 h 9652"/>
                    <a:gd name="connsiteX126" fmla="*/ 2667 w 10000"/>
                    <a:gd name="connsiteY126" fmla="*/ 5970 h 9652"/>
                    <a:gd name="connsiteX127" fmla="*/ 2333 w 10000"/>
                    <a:gd name="connsiteY127" fmla="*/ 6246 h 9652"/>
                    <a:gd name="connsiteX128" fmla="*/ 1833 w 10000"/>
                    <a:gd name="connsiteY128" fmla="*/ 6527 h 9652"/>
                    <a:gd name="connsiteX129" fmla="*/ 1389 w 10000"/>
                    <a:gd name="connsiteY129" fmla="*/ 6668 h 9652"/>
                    <a:gd name="connsiteX130" fmla="*/ 889 w 10000"/>
                    <a:gd name="connsiteY130" fmla="*/ 6733 h 9652"/>
                    <a:gd name="connsiteX131" fmla="*/ 889 w 10000"/>
                    <a:gd name="connsiteY131" fmla="*/ 6733 h 9652"/>
                    <a:gd name="connsiteX132" fmla="*/ 500 w 10000"/>
                    <a:gd name="connsiteY132" fmla="*/ 6805 h 9652"/>
                    <a:gd name="connsiteX133" fmla="*/ 222 w 10000"/>
                    <a:gd name="connsiteY133" fmla="*/ 6876 h 9652"/>
                    <a:gd name="connsiteX134" fmla="*/ 0 w 10000"/>
                    <a:gd name="connsiteY134" fmla="*/ 6949 h 9652"/>
                    <a:gd name="connsiteX135" fmla="*/ 0 w 10000"/>
                    <a:gd name="connsiteY135" fmla="*/ 6949 h 9652"/>
                    <a:gd name="connsiteX136" fmla="*/ 278 w 10000"/>
                    <a:gd name="connsiteY136" fmla="*/ 8051 h 9652"/>
                    <a:gd name="connsiteX137" fmla="*/ 500 w 10000"/>
                    <a:gd name="connsiteY137" fmla="*/ 8888 h 9652"/>
                    <a:gd name="connsiteX138" fmla="*/ 722 w 10000"/>
                    <a:gd name="connsiteY138" fmla="*/ 9582 h 9652"/>
                    <a:gd name="connsiteX139" fmla="*/ 722 w 10000"/>
                    <a:gd name="connsiteY139" fmla="*/ 9582 h 9652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222 w 10000"/>
                    <a:gd name="connsiteY2" fmla="*/ 9927 h 10000"/>
                    <a:gd name="connsiteX3" fmla="*/ 8944 w 10000"/>
                    <a:gd name="connsiteY3" fmla="*/ 9927 h 10000"/>
                    <a:gd name="connsiteX4" fmla="*/ 8833 w 10000"/>
                    <a:gd name="connsiteY4" fmla="*/ 9857 h 10000"/>
                    <a:gd name="connsiteX5" fmla="*/ 8778 w 10000"/>
                    <a:gd name="connsiteY5" fmla="*/ 9782 h 10000"/>
                    <a:gd name="connsiteX6" fmla="*/ 8778 w 10000"/>
                    <a:gd name="connsiteY6" fmla="*/ 9782 h 10000"/>
                    <a:gd name="connsiteX7" fmla="*/ 8444 w 10000"/>
                    <a:gd name="connsiteY7" fmla="*/ 8915 h 10000"/>
                    <a:gd name="connsiteX8" fmla="*/ 8167 w 10000"/>
                    <a:gd name="connsiteY8" fmla="*/ 8129 h 10000"/>
                    <a:gd name="connsiteX9" fmla="*/ 8167 w 10000"/>
                    <a:gd name="connsiteY9" fmla="*/ 8129 h 10000"/>
                    <a:gd name="connsiteX10" fmla="*/ 8056 w 10000"/>
                    <a:gd name="connsiteY10" fmla="*/ 7987 h 10000"/>
                    <a:gd name="connsiteX11" fmla="*/ 7889 w 10000"/>
                    <a:gd name="connsiteY11" fmla="*/ 7842 h 10000"/>
                    <a:gd name="connsiteX12" fmla="*/ 7444 w 10000"/>
                    <a:gd name="connsiteY12" fmla="*/ 7765 h 10000"/>
                    <a:gd name="connsiteX13" fmla="*/ 6889 w 10000"/>
                    <a:gd name="connsiteY13" fmla="*/ 7695 h 10000"/>
                    <a:gd name="connsiteX14" fmla="*/ 6389 w 10000"/>
                    <a:gd name="connsiteY14" fmla="*/ 7695 h 10000"/>
                    <a:gd name="connsiteX15" fmla="*/ 6389 w 10000"/>
                    <a:gd name="connsiteY15" fmla="*/ 7695 h 10000"/>
                    <a:gd name="connsiteX16" fmla="*/ 6167 w 10000"/>
                    <a:gd name="connsiteY16" fmla="*/ 7622 h 10000"/>
                    <a:gd name="connsiteX17" fmla="*/ 6056 w 10000"/>
                    <a:gd name="connsiteY17" fmla="*/ 7484 h 10000"/>
                    <a:gd name="connsiteX18" fmla="*/ 6000 w 10000"/>
                    <a:gd name="connsiteY18" fmla="*/ 7339 h 10000"/>
                    <a:gd name="connsiteX19" fmla="*/ 6000 w 10000"/>
                    <a:gd name="connsiteY19" fmla="*/ 7050 h 10000"/>
                    <a:gd name="connsiteX20" fmla="*/ 6056 w 10000"/>
                    <a:gd name="connsiteY20" fmla="*/ 6471 h 10000"/>
                    <a:gd name="connsiteX21" fmla="*/ 6111 w 10000"/>
                    <a:gd name="connsiteY21" fmla="*/ 6185 h 10000"/>
                    <a:gd name="connsiteX22" fmla="*/ 6056 w 10000"/>
                    <a:gd name="connsiteY22" fmla="*/ 5829 h 10000"/>
                    <a:gd name="connsiteX23" fmla="*/ 6056 w 10000"/>
                    <a:gd name="connsiteY23" fmla="*/ 5829 h 10000"/>
                    <a:gd name="connsiteX24" fmla="*/ 6000 w 10000"/>
                    <a:gd name="connsiteY24" fmla="*/ 5609 h 10000"/>
                    <a:gd name="connsiteX25" fmla="*/ 5944 w 10000"/>
                    <a:gd name="connsiteY25" fmla="*/ 5464 h 10000"/>
                    <a:gd name="connsiteX26" fmla="*/ 5833 w 10000"/>
                    <a:gd name="connsiteY26" fmla="*/ 5464 h 10000"/>
                    <a:gd name="connsiteX27" fmla="*/ 5667 w 10000"/>
                    <a:gd name="connsiteY27" fmla="*/ 5539 h 10000"/>
                    <a:gd name="connsiteX28" fmla="*/ 5333 w 10000"/>
                    <a:gd name="connsiteY28" fmla="*/ 5752 h 10000"/>
                    <a:gd name="connsiteX29" fmla="*/ 4889 w 10000"/>
                    <a:gd name="connsiteY29" fmla="*/ 6117 h 10000"/>
                    <a:gd name="connsiteX30" fmla="*/ 4889 w 10000"/>
                    <a:gd name="connsiteY30" fmla="*/ 6117 h 10000"/>
                    <a:gd name="connsiteX31" fmla="*/ 4611 w 10000"/>
                    <a:gd name="connsiteY31" fmla="*/ 6185 h 10000"/>
                    <a:gd name="connsiteX32" fmla="*/ 4500 w 10000"/>
                    <a:gd name="connsiteY32" fmla="*/ 6185 h 10000"/>
                    <a:gd name="connsiteX33" fmla="*/ 4444 w 10000"/>
                    <a:gd name="connsiteY33" fmla="*/ 6117 h 10000"/>
                    <a:gd name="connsiteX34" fmla="*/ 4389 w 10000"/>
                    <a:gd name="connsiteY34" fmla="*/ 5829 h 10000"/>
                    <a:gd name="connsiteX35" fmla="*/ 4222 w 10000"/>
                    <a:gd name="connsiteY35" fmla="*/ 5464 h 10000"/>
                    <a:gd name="connsiteX36" fmla="*/ 4222 w 10000"/>
                    <a:gd name="connsiteY36" fmla="*/ 5464 h 10000"/>
                    <a:gd name="connsiteX37" fmla="*/ 4111 w 10000"/>
                    <a:gd name="connsiteY37" fmla="*/ 5254 h 10000"/>
                    <a:gd name="connsiteX38" fmla="*/ 4111 w 10000"/>
                    <a:gd name="connsiteY38" fmla="*/ 5035 h 10000"/>
                    <a:gd name="connsiteX39" fmla="*/ 4111 w 10000"/>
                    <a:gd name="connsiteY39" fmla="*/ 4889 h 10000"/>
                    <a:gd name="connsiteX40" fmla="*/ 4167 w 10000"/>
                    <a:gd name="connsiteY40" fmla="*/ 4750 h 10000"/>
                    <a:gd name="connsiteX41" fmla="*/ 4278 w 10000"/>
                    <a:gd name="connsiteY41" fmla="*/ 4459 h 10000"/>
                    <a:gd name="connsiteX42" fmla="*/ 4389 w 10000"/>
                    <a:gd name="connsiteY42" fmla="*/ 4388 h 10000"/>
                    <a:gd name="connsiteX43" fmla="*/ 4389 w 10000"/>
                    <a:gd name="connsiteY43" fmla="*/ 4388 h 10000"/>
                    <a:gd name="connsiteX44" fmla="*/ 4389 w 10000"/>
                    <a:gd name="connsiteY44" fmla="*/ 4320 h 10000"/>
                    <a:gd name="connsiteX45" fmla="*/ 4444 w 10000"/>
                    <a:gd name="connsiteY45" fmla="*/ 4245 h 10000"/>
                    <a:gd name="connsiteX46" fmla="*/ 4667 w 10000"/>
                    <a:gd name="connsiteY46" fmla="*/ 4170 h 10000"/>
                    <a:gd name="connsiteX47" fmla="*/ 5333 w 10000"/>
                    <a:gd name="connsiteY47" fmla="*/ 4031 h 10000"/>
                    <a:gd name="connsiteX48" fmla="*/ 6500 w 10000"/>
                    <a:gd name="connsiteY48" fmla="*/ 3815 h 10000"/>
                    <a:gd name="connsiteX49" fmla="*/ 6500 w 10000"/>
                    <a:gd name="connsiteY49" fmla="*/ 3815 h 10000"/>
                    <a:gd name="connsiteX50" fmla="*/ 7167 w 10000"/>
                    <a:gd name="connsiteY50" fmla="*/ 3598 h 10000"/>
                    <a:gd name="connsiteX51" fmla="*/ 8389 w 10000"/>
                    <a:gd name="connsiteY51" fmla="*/ 3165 h 10000"/>
                    <a:gd name="connsiteX52" fmla="*/ 8389 w 10000"/>
                    <a:gd name="connsiteY52" fmla="*/ 3165 h 10000"/>
                    <a:gd name="connsiteX53" fmla="*/ 8667 w 10000"/>
                    <a:gd name="connsiteY53" fmla="*/ 3013 h 10000"/>
                    <a:gd name="connsiteX54" fmla="*/ 8778 w 10000"/>
                    <a:gd name="connsiteY54" fmla="*/ 2803 h 10000"/>
                    <a:gd name="connsiteX55" fmla="*/ 8889 w 10000"/>
                    <a:gd name="connsiteY55" fmla="*/ 2660 h 10000"/>
                    <a:gd name="connsiteX56" fmla="*/ 8833 w 10000"/>
                    <a:gd name="connsiteY56" fmla="*/ 2516 h 10000"/>
                    <a:gd name="connsiteX57" fmla="*/ 8833 w 10000"/>
                    <a:gd name="connsiteY57" fmla="*/ 2372 h 10000"/>
                    <a:gd name="connsiteX58" fmla="*/ 8722 w 10000"/>
                    <a:gd name="connsiteY58" fmla="*/ 2228 h 10000"/>
                    <a:gd name="connsiteX59" fmla="*/ 8556 w 10000"/>
                    <a:gd name="connsiteY59" fmla="*/ 2014 h 10000"/>
                    <a:gd name="connsiteX60" fmla="*/ 8556 w 10000"/>
                    <a:gd name="connsiteY60" fmla="*/ 2014 h 10000"/>
                    <a:gd name="connsiteX61" fmla="*/ 6556 w 10000"/>
                    <a:gd name="connsiteY61" fmla="*/ 722 h 10000"/>
                    <a:gd name="connsiteX62" fmla="*/ 6556 w 10000"/>
                    <a:gd name="connsiteY62" fmla="*/ 722 h 10000"/>
                    <a:gd name="connsiteX63" fmla="*/ 6333 w 10000"/>
                    <a:gd name="connsiteY63" fmla="*/ 510 h 10000"/>
                    <a:gd name="connsiteX64" fmla="*/ 6167 w 10000"/>
                    <a:gd name="connsiteY64" fmla="*/ 291 h 10000"/>
                    <a:gd name="connsiteX65" fmla="*/ 6056 w 10000"/>
                    <a:gd name="connsiteY65" fmla="*/ 73 h 10000"/>
                    <a:gd name="connsiteX66" fmla="*/ 6056 w 10000"/>
                    <a:gd name="connsiteY66" fmla="*/ 73 h 10000"/>
                    <a:gd name="connsiteX67" fmla="*/ 8056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722 w 10000"/>
                    <a:gd name="connsiteY71" fmla="*/ 9857 h 10000"/>
                    <a:gd name="connsiteX72" fmla="*/ 9389 w 10000"/>
                    <a:gd name="connsiteY72" fmla="*/ 9927 h 10000"/>
                    <a:gd name="connsiteX73" fmla="*/ 9389 w 10000"/>
                    <a:gd name="connsiteY73" fmla="*/ 9927 h 10000"/>
                    <a:gd name="connsiteX74" fmla="*/ 9278 w 10000"/>
                    <a:gd name="connsiteY74" fmla="*/ 10000 h 10000"/>
                    <a:gd name="connsiteX75" fmla="*/ 9056 w 10000"/>
                    <a:gd name="connsiteY75" fmla="*/ 9927 h 10000"/>
                    <a:gd name="connsiteX76" fmla="*/ 8889 w 10000"/>
                    <a:gd name="connsiteY76" fmla="*/ 9857 h 10000"/>
                    <a:gd name="connsiteX77" fmla="*/ 8722 w 10000"/>
                    <a:gd name="connsiteY77" fmla="*/ 9707 h 10000"/>
                    <a:gd name="connsiteX78" fmla="*/ 8611 w 10000"/>
                    <a:gd name="connsiteY78" fmla="*/ 9494 h 10000"/>
                    <a:gd name="connsiteX79" fmla="*/ 8444 w 10000"/>
                    <a:gd name="connsiteY79" fmla="*/ 9137 h 10000"/>
                    <a:gd name="connsiteX80" fmla="*/ 8444 w 10000"/>
                    <a:gd name="connsiteY80" fmla="*/ 9137 h 10000"/>
                    <a:gd name="connsiteX81" fmla="*/ 8222 w 10000"/>
                    <a:gd name="connsiteY81" fmla="*/ 8492 h 10000"/>
                    <a:gd name="connsiteX82" fmla="*/ 8111 w 10000"/>
                    <a:gd name="connsiteY82" fmla="*/ 8199 h 10000"/>
                    <a:gd name="connsiteX83" fmla="*/ 7944 w 10000"/>
                    <a:gd name="connsiteY83" fmla="*/ 7987 h 10000"/>
                    <a:gd name="connsiteX84" fmla="*/ 7778 w 10000"/>
                    <a:gd name="connsiteY84" fmla="*/ 7842 h 10000"/>
                    <a:gd name="connsiteX85" fmla="*/ 7556 w 10000"/>
                    <a:gd name="connsiteY85" fmla="*/ 7765 h 10000"/>
                    <a:gd name="connsiteX86" fmla="*/ 7333 w 10000"/>
                    <a:gd name="connsiteY86" fmla="*/ 7695 h 10000"/>
                    <a:gd name="connsiteX87" fmla="*/ 7000 w 10000"/>
                    <a:gd name="connsiteY87" fmla="*/ 7622 h 10000"/>
                    <a:gd name="connsiteX88" fmla="*/ 7000 w 10000"/>
                    <a:gd name="connsiteY88" fmla="*/ 7622 h 10000"/>
                    <a:gd name="connsiteX89" fmla="*/ 6556 w 10000"/>
                    <a:gd name="connsiteY89" fmla="*/ 7695 h 10000"/>
                    <a:gd name="connsiteX90" fmla="*/ 6222 w 10000"/>
                    <a:gd name="connsiteY90" fmla="*/ 7695 h 10000"/>
                    <a:gd name="connsiteX91" fmla="*/ 6111 w 10000"/>
                    <a:gd name="connsiteY91" fmla="*/ 7622 h 10000"/>
                    <a:gd name="connsiteX92" fmla="*/ 6056 w 10000"/>
                    <a:gd name="connsiteY92" fmla="*/ 7550 h 10000"/>
                    <a:gd name="connsiteX93" fmla="*/ 6056 w 10000"/>
                    <a:gd name="connsiteY93" fmla="*/ 7550 h 10000"/>
                    <a:gd name="connsiteX94" fmla="*/ 6056 w 10000"/>
                    <a:gd name="connsiteY94" fmla="*/ 6257 h 10000"/>
                    <a:gd name="connsiteX95" fmla="*/ 6056 w 10000"/>
                    <a:gd name="connsiteY95" fmla="*/ 6257 h 10000"/>
                    <a:gd name="connsiteX96" fmla="*/ 6056 w 10000"/>
                    <a:gd name="connsiteY96" fmla="*/ 5968 h 10000"/>
                    <a:gd name="connsiteX97" fmla="*/ 5944 w 10000"/>
                    <a:gd name="connsiteY97" fmla="*/ 5609 h 10000"/>
                    <a:gd name="connsiteX98" fmla="*/ 5889 w 10000"/>
                    <a:gd name="connsiteY98" fmla="*/ 5539 h 10000"/>
                    <a:gd name="connsiteX99" fmla="*/ 5778 w 10000"/>
                    <a:gd name="connsiteY99" fmla="*/ 5464 h 10000"/>
                    <a:gd name="connsiteX100" fmla="*/ 5667 w 10000"/>
                    <a:gd name="connsiteY100" fmla="*/ 5464 h 10000"/>
                    <a:gd name="connsiteX101" fmla="*/ 5500 w 10000"/>
                    <a:gd name="connsiteY101" fmla="*/ 5539 h 10000"/>
                    <a:gd name="connsiteX102" fmla="*/ 5500 w 10000"/>
                    <a:gd name="connsiteY102" fmla="*/ 5539 h 10000"/>
                    <a:gd name="connsiteX103" fmla="*/ 4889 w 10000"/>
                    <a:gd name="connsiteY103" fmla="*/ 6042 h 10000"/>
                    <a:gd name="connsiteX104" fmla="*/ 4611 w 10000"/>
                    <a:gd name="connsiteY104" fmla="*/ 6185 h 10000"/>
                    <a:gd name="connsiteX105" fmla="*/ 4556 w 10000"/>
                    <a:gd name="connsiteY105" fmla="*/ 6257 h 10000"/>
                    <a:gd name="connsiteX106" fmla="*/ 4500 w 10000"/>
                    <a:gd name="connsiteY106" fmla="*/ 6185 h 10000"/>
                    <a:gd name="connsiteX107" fmla="*/ 4500 w 10000"/>
                    <a:gd name="connsiteY107" fmla="*/ 6185 h 10000"/>
                    <a:gd name="connsiteX108" fmla="*/ 4222 w 10000"/>
                    <a:gd name="connsiteY108" fmla="*/ 5464 h 10000"/>
                    <a:gd name="connsiteX109" fmla="*/ 4222 w 10000"/>
                    <a:gd name="connsiteY109" fmla="*/ 5464 h 10000"/>
                    <a:gd name="connsiteX110" fmla="*/ 4111 w 10000"/>
                    <a:gd name="connsiteY110" fmla="*/ 5108 h 10000"/>
                    <a:gd name="connsiteX111" fmla="*/ 4111 w 10000"/>
                    <a:gd name="connsiteY111" fmla="*/ 4889 h 10000"/>
                    <a:gd name="connsiteX112" fmla="*/ 4111 w 10000"/>
                    <a:gd name="connsiteY112" fmla="*/ 4676 h 10000"/>
                    <a:gd name="connsiteX113" fmla="*/ 4111 w 10000"/>
                    <a:gd name="connsiteY113" fmla="*/ 4676 h 10000"/>
                    <a:gd name="connsiteX114" fmla="*/ 4278 w 10000"/>
                    <a:gd name="connsiteY114" fmla="*/ 4459 h 10000"/>
                    <a:gd name="connsiteX115" fmla="*/ 4389 w 10000"/>
                    <a:gd name="connsiteY115" fmla="*/ 4388 h 10000"/>
                    <a:gd name="connsiteX116" fmla="*/ 4389 w 10000"/>
                    <a:gd name="connsiteY116" fmla="*/ 4388 h 10000"/>
                    <a:gd name="connsiteX117" fmla="*/ 4000 w 10000"/>
                    <a:gd name="connsiteY117" fmla="*/ 4388 h 10000"/>
                    <a:gd name="connsiteX118" fmla="*/ 3722 w 10000"/>
                    <a:gd name="connsiteY118" fmla="*/ 4459 h 10000"/>
                    <a:gd name="connsiteX119" fmla="*/ 3611 w 10000"/>
                    <a:gd name="connsiteY119" fmla="*/ 4537 h 10000"/>
                    <a:gd name="connsiteX120" fmla="*/ 3556 w 10000"/>
                    <a:gd name="connsiteY120" fmla="*/ 4603 h 10000"/>
                    <a:gd name="connsiteX121" fmla="*/ 3556 w 10000"/>
                    <a:gd name="connsiteY121" fmla="*/ 4603 h 10000"/>
                    <a:gd name="connsiteX122" fmla="*/ 3444 w 10000"/>
                    <a:gd name="connsiteY122" fmla="*/ 4889 h 10000"/>
                    <a:gd name="connsiteX123" fmla="*/ 3278 w 10000"/>
                    <a:gd name="connsiteY123" fmla="*/ 5323 h 10000"/>
                    <a:gd name="connsiteX124" fmla="*/ 3000 w 10000"/>
                    <a:gd name="connsiteY124" fmla="*/ 5829 h 10000"/>
                    <a:gd name="connsiteX125" fmla="*/ 2667 w 10000"/>
                    <a:gd name="connsiteY125" fmla="*/ 6185 h 10000"/>
                    <a:gd name="connsiteX126" fmla="*/ 2667 w 10000"/>
                    <a:gd name="connsiteY126" fmla="*/ 6185 h 10000"/>
                    <a:gd name="connsiteX127" fmla="*/ 2333 w 10000"/>
                    <a:gd name="connsiteY127" fmla="*/ 6471 h 10000"/>
                    <a:gd name="connsiteX128" fmla="*/ 1833 w 10000"/>
                    <a:gd name="connsiteY128" fmla="*/ 6762 h 10000"/>
                    <a:gd name="connsiteX129" fmla="*/ 1389 w 10000"/>
                    <a:gd name="connsiteY129" fmla="*/ 6908 h 10000"/>
                    <a:gd name="connsiteX130" fmla="*/ 889 w 10000"/>
                    <a:gd name="connsiteY130" fmla="*/ 6976 h 10000"/>
                    <a:gd name="connsiteX131" fmla="*/ 889 w 10000"/>
                    <a:gd name="connsiteY131" fmla="*/ 6976 h 10000"/>
                    <a:gd name="connsiteX132" fmla="*/ 500 w 10000"/>
                    <a:gd name="connsiteY132" fmla="*/ 7050 h 10000"/>
                    <a:gd name="connsiteX133" fmla="*/ 222 w 10000"/>
                    <a:gd name="connsiteY133" fmla="*/ 7124 h 10000"/>
                    <a:gd name="connsiteX134" fmla="*/ 0 w 10000"/>
                    <a:gd name="connsiteY134" fmla="*/ 7200 h 10000"/>
                    <a:gd name="connsiteX135" fmla="*/ 0 w 10000"/>
                    <a:gd name="connsiteY135" fmla="*/ 7200 h 10000"/>
                    <a:gd name="connsiteX136" fmla="*/ 278 w 10000"/>
                    <a:gd name="connsiteY136" fmla="*/ 8341 h 10000"/>
                    <a:gd name="connsiteX137" fmla="*/ 500 w 10000"/>
                    <a:gd name="connsiteY137" fmla="*/ 9208 h 10000"/>
                    <a:gd name="connsiteX138" fmla="*/ 722 w 10000"/>
                    <a:gd name="connsiteY138" fmla="*/ 9927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222 w 10000"/>
                    <a:gd name="connsiteY2" fmla="*/ 9927 h 10000"/>
                    <a:gd name="connsiteX3" fmla="*/ 8944 w 10000"/>
                    <a:gd name="connsiteY3" fmla="*/ 9927 h 10000"/>
                    <a:gd name="connsiteX4" fmla="*/ 8833 w 10000"/>
                    <a:gd name="connsiteY4" fmla="*/ 9857 h 10000"/>
                    <a:gd name="connsiteX5" fmla="*/ 8778 w 10000"/>
                    <a:gd name="connsiteY5" fmla="*/ 9782 h 10000"/>
                    <a:gd name="connsiteX6" fmla="*/ 8778 w 10000"/>
                    <a:gd name="connsiteY6" fmla="*/ 9782 h 10000"/>
                    <a:gd name="connsiteX7" fmla="*/ 8444 w 10000"/>
                    <a:gd name="connsiteY7" fmla="*/ 8915 h 10000"/>
                    <a:gd name="connsiteX8" fmla="*/ 8167 w 10000"/>
                    <a:gd name="connsiteY8" fmla="*/ 8129 h 10000"/>
                    <a:gd name="connsiteX9" fmla="*/ 8167 w 10000"/>
                    <a:gd name="connsiteY9" fmla="*/ 8129 h 10000"/>
                    <a:gd name="connsiteX10" fmla="*/ 8056 w 10000"/>
                    <a:gd name="connsiteY10" fmla="*/ 7987 h 10000"/>
                    <a:gd name="connsiteX11" fmla="*/ 7889 w 10000"/>
                    <a:gd name="connsiteY11" fmla="*/ 7842 h 10000"/>
                    <a:gd name="connsiteX12" fmla="*/ 7444 w 10000"/>
                    <a:gd name="connsiteY12" fmla="*/ 7765 h 10000"/>
                    <a:gd name="connsiteX13" fmla="*/ 6889 w 10000"/>
                    <a:gd name="connsiteY13" fmla="*/ 7695 h 10000"/>
                    <a:gd name="connsiteX14" fmla="*/ 6389 w 10000"/>
                    <a:gd name="connsiteY14" fmla="*/ 7695 h 10000"/>
                    <a:gd name="connsiteX15" fmla="*/ 6389 w 10000"/>
                    <a:gd name="connsiteY15" fmla="*/ 7695 h 10000"/>
                    <a:gd name="connsiteX16" fmla="*/ 6167 w 10000"/>
                    <a:gd name="connsiteY16" fmla="*/ 7622 h 10000"/>
                    <a:gd name="connsiteX17" fmla="*/ 6056 w 10000"/>
                    <a:gd name="connsiteY17" fmla="*/ 7484 h 10000"/>
                    <a:gd name="connsiteX18" fmla="*/ 6000 w 10000"/>
                    <a:gd name="connsiteY18" fmla="*/ 7339 h 10000"/>
                    <a:gd name="connsiteX19" fmla="*/ 6000 w 10000"/>
                    <a:gd name="connsiteY19" fmla="*/ 7050 h 10000"/>
                    <a:gd name="connsiteX20" fmla="*/ 6056 w 10000"/>
                    <a:gd name="connsiteY20" fmla="*/ 6471 h 10000"/>
                    <a:gd name="connsiteX21" fmla="*/ 6111 w 10000"/>
                    <a:gd name="connsiteY21" fmla="*/ 6185 h 10000"/>
                    <a:gd name="connsiteX22" fmla="*/ 6056 w 10000"/>
                    <a:gd name="connsiteY22" fmla="*/ 5829 h 10000"/>
                    <a:gd name="connsiteX23" fmla="*/ 6056 w 10000"/>
                    <a:gd name="connsiteY23" fmla="*/ 5829 h 10000"/>
                    <a:gd name="connsiteX24" fmla="*/ 6000 w 10000"/>
                    <a:gd name="connsiteY24" fmla="*/ 5609 h 10000"/>
                    <a:gd name="connsiteX25" fmla="*/ 5944 w 10000"/>
                    <a:gd name="connsiteY25" fmla="*/ 5464 h 10000"/>
                    <a:gd name="connsiteX26" fmla="*/ 5833 w 10000"/>
                    <a:gd name="connsiteY26" fmla="*/ 5464 h 10000"/>
                    <a:gd name="connsiteX27" fmla="*/ 5667 w 10000"/>
                    <a:gd name="connsiteY27" fmla="*/ 5539 h 10000"/>
                    <a:gd name="connsiteX28" fmla="*/ 5333 w 10000"/>
                    <a:gd name="connsiteY28" fmla="*/ 5752 h 10000"/>
                    <a:gd name="connsiteX29" fmla="*/ 4889 w 10000"/>
                    <a:gd name="connsiteY29" fmla="*/ 6117 h 10000"/>
                    <a:gd name="connsiteX30" fmla="*/ 4889 w 10000"/>
                    <a:gd name="connsiteY30" fmla="*/ 6117 h 10000"/>
                    <a:gd name="connsiteX31" fmla="*/ 4611 w 10000"/>
                    <a:gd name="connsiteY31" fmla="*/ 6185 h 10000"/>
                    <a:gd name="connsiteX32" fmla="*/ 4500 w 10000"/>
                    <a:gd name="connsiteY32" fmla="*/ 6185 h 10000"/>
                    <a:gd name="connsiteX33" fmla="*/ 4444 w 10000"/>
                    <a:gd name="connsiteY33" fmla="*/ 6117 h 10000"/>
                    <a:gd name="connsiteX34" fmla="*/ 4389 w 10000"/>
                    <a:gd name="connsiteY34" fmla="*/ 5829 h 10000"/>
                    <a:gd name="connsiteX35" fmla="*/ 4222 w 10000"/>
                    <a:gd name="connsiteY35" fmla="*/ 5464 h 10000"/>
                    <a:gd name="connsiteX36" fmla="*/ 4222 w 10000"/>
                    <a:gd name="connsiteY36" fmla="*/ 5464 h 10000"/>
                    <a:gd name="connsiteX37" fmla="*/ 4111 w 10000"/>
                    <a:gd name="connsiteY37" fmla="*/ 5254 h 10000"/>
                    <a:gd name="connsiteX38" fmla="*/ 4111 w 10000"/>
                    <a:gd name="connsiteY38" fmla="*/ 5035 h 10000"/>
                    <a:gd name="connsiteX39" fmla="*/ 4111 w 10000"/>
                    <a:gd name="connsiteY39" fmla="*/ 4889 h 10000"/>
                    <a:gd name="connsiteX40" fmla="*/ 4167 w 10000"/>
                    <a:gd name="connsiteY40" fmla="*/ 4750 h 10000"/>
                    <a:gd name="connsiteX41" fmla="*/ 4278 w 10000"/>
                    <a:gd name="connsiteY41" fmla="*/ 4459 h 10000"/>
                    <a:gd name="connsiteX42" fmla="*/ 4389 w 10000"/>
                    <a:gd name="connsiteY42" fmla="*/ 4388 h 10000"/>
                    <a:gd name="connsiteX43" fmla="*/ 4389 w 10000"/>
                    <a:gd name="connsiteY43" fmla="*/ 4388 h 10000"/>
                    <a:gd name="connsiteX44" fmla="*/ 4389 w 10000"/>
                    <a:gd name="connsiteY44" fmla="*/ 4320 h 10000"/>
                    <a:gd name="connsiteX45" fmla="*/ 4444 w 10000"/>
                    <a:gd name="connsiteY45" fmla="*/ 4245 h 10000"/>
                    <a:gd name="connsiteX46" fmla="*/ 4667 w 10000"/>
                    <a:gd name="connsiteY46" fmla="*/ 4170 h 10000"/>
                    <a:gd name="connsiteX47" fmla="*/ 5333 w 10000"/>
                    <a:gd name="connsiteY47" fmla="*/ 4031 h 10000"/>
                    <a:gd name="connsiteX48" fmla="*/ 6500 w 10000"/>
                    <a:gd name="connsiteY48" fmla="*/ 3815 h 10000"/>
                    <a:gd name="connsiteX49" fmla="*/ 6500 w 10000"/>
                    <a:gd name="connsiteY49" fmla="*/ 3815 h 10000"/>
                    <a:gd name="connsiteX50" fmla="*/ 7167 w 10000"/>
                    <a:gd name="connsiteY50" fmla="*/ 3598 h 10000"/>
                    <a:gd name="connsiteX51" fmla="*/ 8389 w 10000"/>
                    <a:gd name="connsiteY51" fmla="*/ 3165 h 10000"/>
                    <a:gd name="connsiteX52" fmla="*/ 8389 w 10000"/>
                    <a:gd name="connsiteY52" fmla="*/ 3165 h 10000"/>
                    <a:gd name="connsiteX53" fmla="*/ 8667 w 10000"/>
                    <a:gd name="connsiteY53" fmla="*/ 3013 h 10000"/>
                    <a:gd name="connsiteX54" fmla="*/ 8778 w 10000"/>
                    <a:gd name="connsiteY54" fmla="*/ 2803 h 10000"/>
                    <a:gd name="connsiteX55" fmla="*/ 8889 w 10000"/>
                    <a:gd name="connsiteY55" fmla="*/ 2660 h 10000"/>
                    <a:gd name="connsiteX56" fmla="*/ 8833 w 10000"/>
                    <a:gd name="connsiteY56" fmla="*/ 2516 h 10000"/>
                    <a:gd name="connsiteX57" fmla="*/ 8833 w 10000"/>
                    <a:gd name="connsiteY57" fmla="*/ 2372 h 10000"/>
                    <a:gd name="connsiteX58" fmla="*/ 8722 w 10000"/>
                    <a:gd name="connsiteY58" fmla="*/ 2228 h 10000"/>
                    <a:gd name="connsiteX59" fmla="*/ 8556 w 10000"/>
                    <a:gd name="connsiteY59" fmla="*/ 2014 h 10000"/>
                    <a:gd name="connsiteX60" fmla="*/ 8556 w 10000"/>
                    <a:gd name="connsiteY60" fmla="*/ 2014 h 10000"/>
                    <a:gd name="connsiteX61" fmla="*/ 6556 w 10000"/>
                    <a:gd name="connsiteY61" fmla="*/ 722 h 10000"/>
                    <a:gd name="connsiteX62" fmla="*/ 6556 w 10000"/>
                    <a:gd name="connsiteY62" fmla="*/ 722 h 10000"/>
                    <a:gd name="connsiteX63" fmla="*/ 6333 w 10000"/>
                    <a:gd name="connsiteY63" fmla="*/ 510 h 10000"/>
                    <a:gd name="connsiteX64" fmla="*/ 6167 w 10000"/>
                    <a:gd name="connsiteY64" fmla="*/ 291 h 10000"/>
                    <a:gd name="connsiteX65" fmla="*/ 6056 w 10000"/>
                    <a:gd name="connsiteY65" fmla="*/ 73 h 10000"/>
                    <a:gd name="connsiteX66" fmla="*/ 6056 w 10000"/>
                    <a:gd name="connsiteY66" fmla="*/ 73 h 10000"/>
                    <a:gd name="connsiteX67" fmla="*/ 8056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722 w 10000"/>
                    <a:gd name="connsiteY71" fmla="*/ 9857 h 10000"/>
                    <a:gd name="connsiteX72" fmla="*/ 9389 w 10000"/>
                    <a:gd name="connsiteY72" fmla="*/ 9927 h 10000"/>
                    <a:gd name="connsiteX73" fmla="*/ 9389 w 10000"/>
                    <a:gd name="connsiteY73" fmla="*/ 9927 h 10000"/>
                    <a:gd name="connsiteX74" fmla="*/ 9278 w 10000"/>
                    <a:gd name="connsiteY74" fmla="*/ 10000 h 10000"/>
                    <a:gd name="connsiteX75" fmla="*/ 9056 w 10000"/>
                    <a:gd name="connsiteY75" fmla="*/ 9927 h 10000"/>
                    <a:gd name="connsiteX76" fmla="*/ 8889 w 10000"/>
                    <a:gd name="connsiteY76" fmla="*/ 9857 h 10000"/>
                    <a:gd name="connsiteX77" fmla="*/ 8722 w 10000"/>
                    <a:gd name="connsiteY77" fmla="*/ 9707 h 10000"/>
                    <a:gd name="connsiteX78" fmla="*/ 8611 w 10000"/>
                    <a:gd name="connsiteY78" fmla="*/ 9494 h 10000"/>
                    <a:gd name="connsiteX79" fmla="*/ 8444 w 10000"/>
                    <a:gd name="connsiteY79" fmla="*/ 9137 h 10000"/>
                    <a:gd name="connsiteX80" fmla="*/ 8444 w 10000"/>
                    <a:gd name="connsiteY80" fmla="*/ 9137 h 10000"/>
                    <a:gd name="connsiteX81" fmla="*/ 8222 w 10000"/>
                    <a:gd name="connsiteY81" fmla="*/ 8492 h 10000"/>
                    <a:gd name="connsiteX82" fmla="*/ 8111 w 10000"/>
                    <a:gd name="connsiteY82" fmla="*/ 8199 h 10000"/>
                    <a:gd name="connsiteX83" fmla="*/ 7944 w 10000"/>
                    <a:gd name="connsiteY83" fmla="*/ 7987 h 10000"/>
                    <a:gd name="connsiteX84" fmla="*/ 7778 w 10000"/>
                    <a:gd name="connsiteY84" fmla="*/ 7842 h 10000"/>
                    <a:gd name="connsiteX85" fmla="*/ 7556 w 10000"/>
                    <a:gd name="connsiteY85" fmla="*/ 7765 h 10000"/>
                    <a:gd name="connsiteX86" fmla="*/ 7333 w 10000"/>
                    <a:gd name="connsiteY86" fmla="*/ 7695 h 10000"/>
                    <a:gd name="connsiteX87" fmla="*/ 7000 w 10000"/>
                    <a:gd name="connsiteY87" fmla="*/ 7622 h 10000"/>
                    <a:gd name="connsiteX88" fmla="*/ 7000 w 10000"/>
                    <a:gd name="connsiteY88" fmla="*/ 7622 h 10000"/>
                    <a:gd name="connsiteX89" fmla="*/ 6556 w 10000"/>
                    <a:gd name="connsiteY89" fmla="*/ 7695 h 10000"/>
                    <a:gd name="connsiteX90" fmla="*/ 6222 w 10000"/>
                    <a:gd name="connsiteY90" fmla="*/ 7695 h 10000"/>
                    <a:gd name="connsiteX91" fmla="*/ 6111 w 10000"/>
                    <a:gd name="connsiteY91" fmla="*/ 7622 h 10000"/>
                    <a:gd name="connsiteX92" fmla="*/ 6056 w 10000"/>
                    <a:gd name="connsiteY92" fmla="*/ 7550 h 10000"/>
                    <a:gd name="connsiteX93" fmla="*/ 6056 w 10000"/>
                    <a:gd name="connsiteY93" fmla="*/ 7550 h 10000"/>
                    <a:gd name="connsiteX94" fmla="*/ 6056 w 10000"/>
                    <a:gd name="connsiteY94" fmla="*/ 6257 h 10000"/>
                    <a:gd name="connsiteX95" fmla="*/ 6056 w 10000"/>
                    <a:gd name="connsiteY95" fmla="*/ 6257 h 10000"/>
                    <a:gd name="connsiteX96" fmla="*/ 6056 w 10000"/>
                    <a:gd name="connsiteY96" fmla="*/ 5968 h 10000"/>
                    <a:gd name="connsiteX97" fmla="*/ 5944 w 10000"/>
                    <a:gd name="connsiteY97" fmla="*/ 5609 h 10000"/>
                    <a:gd name="connsiteX98" fmla="*/ 5889 w 10000"/>
                    <a:gd name="connsiteY98" fmla="*/ 5539 h 10000"/>
                    <a:gd name="connsiteX99" fmla="*/ 5778 w 10000"/>
                    <a:gd name="connsiteY99" fmla="*/ 5464 h 10000"/>
                    <a:gd name="connsiteX100" fmla="*/ 5667 w 10000"/>
                    <a:gd name="connsiteY100" fmla="*/ 5464 h 10000"/>
                    <a:gd name="connsiteX101" fmla="*/ 5500 w 10000"/>
                    <a:gd name="connsiteY101" fmla="*/ 5539 h 10000"/>
                    <a:gd name="connsiteX102" fmla="*/ 5500 w 10000"/>
                    <a:gd name="connsiteY102" fmla="*/ 5539 h 10000"/>
                    <a:gd name="connsiteX103" fmla="*/ 4889 w 10000"/>
                    <a:gd name="connsiteY103" fmla="*/ 6042 h 10000"/>
                    <a:gd name="connsiteX104" fmla="*/ 4611 w 10000"/>
                    <a:gd name="connsiteY104" fmla="*/ 6185 h 10000"/>
                    <a:gd name="connsiteX105" fmla="*/ 4556 w 10000"/>
                    <a:gd name="connsiteY105" fmla="*/ 6257 h 10000"/>
                    <a:gd name="connsiteX106" fmla="*/ 4500 w 10000"/>
                    <a:gd name="connsiteY106" fmla="*/ 6185 h 10000"/>
                    <a:gd name="connsiteX107" fmla="*/ 4500 w 10000"/>
                    <a:gd name="connsiteY107" fmla="*/ 6185 h 10000"/>
                    <a:gd name="connsiteX108" fmla="*/ 4222 w 10000"/>
                    <a:gd name="connsiteY108" fmla="*/ 5464 h 10000"/>
                    <a:gd name="connsiteX109" fmla="*/ 4222 w 10000"/>
                    <a:gd name="connsiteY109" fmla="*/ 5464 h 10000"/>
                    <a:gd name="connsiteX110" fmla="*/ 4111 w 10000"/>
                    <a:gd name="connsiteY110" fmla="*/ 5108 h 10000"/>
                    <a:gd name="connsiteX111" fmla="*/ 4111 w 10000"/>
                    <a:gd name="connsiteY111" fmla="*/ 4889 h 10000"/>
                    <a:gd name="connsiteX112" fmla="*/ 4111 w 10000"/>
                    <a:gd name="connsiteY112" fmla="*/ 4676 h 10000"/>
                    <a:gd name="connsiteX113" fmla="*/ 4111 w 10000"/>
                    <a:gd name="connsiteY113" fmla="*/ 4676 h 10000"/>
                    <a:gd name="connsiteX114" fmla="*/ 4278 w 10000"/>
                    <a:gd name="connsiteY114" fmla="*/ 4459 h 10000"/>
                    <a:gd name="connsiteX115" fmla="*/ 4389 w 10000"/>
                    <a:gd name="connsiteY115" fmla="*/ 4388 h 10000"/>
                    <a:gd name="connsiteX116" fmla="*/ 4389 w 10000"/>
                    <a:gd name="connsiteY116" fmla="*/ 4388 h 10000"/>
                    <a:gd name="connsiteX117" fmla="*/ 4000 w 10000"/>
                    <a:gd name="connsiteY117" fmla="*/ 4388 h 10000"/>
                    <a:gd name="connsiteX118" fmla="*/ 3722 w 10000"/>
                    <a:gd name="connsiteY118" fmla="*/ 4459 h 10000"/>
                    <a:gd name="connsiteX119" fmla="*/ 3611 w 10000"/>
                    <a:gd name="connsiteY119" fmla="*/ 4537 h 10000"/>
                    <a:gd name="connsiteX120" fmla="*/ 3556 w 10000"/>
                    <a:gd name="connsiteY120" fmla="*/ 4603 h 10000"/>
                    <a:gd name="connsiteX121" fmla="*/ 3556 w 10000"/>
                    <a:gd name="connsiteY121" fmla="*/ 4603 h 10000"/>
                    <a:gd name="connsiteX122" fmla="*/ 3444 w 10000"/>
                    <a:gd name="connsiteY122" fmla="*/ 4889 h 10000"/>
                    <a:gd name="connsiteX123" fmla="*/ 3278 w 10000"/>
                    <a:gd name="connsiteY123" fmla="*/ 5323 h 10000"/>
                    <a:gd name="connsiteX124" fmla="*/ 3000 w 10000"/>
                    <a:gd name="connsiteY124" fmla="*/ 5829 h 10000"/>
                    <a:gd name="connsiteX125" fmla="*/ 2667 w 10000"/>
                    <a:gd name="connsiteY125" fmla="*/ 6185 h 10000"/>
                    <a:gd name="connsiteX126" fmla="*/ 2667 w 10000"/>
                    <a:gd name="connsiteY126" fmla="*/ 6185 h 10000"/>
                    <a:gd name="connsiteX127" fmla="*/ 2333 w 10000"/>
                    <a:gd name="connsiteY127" fmla="*/ 6471 h 10000"/>
                    <a:gd name="connsiteX128" fmla="*/ 1833 w 10000"/>
                    <a:gd name="connsiteY128" fmla="*/ 6762 h 10000"/>
                    <a:gd name="connsiteX129" fmla="*/ 1389 w 10000"/>
                    <a:gd name="connsiteY129" fmla="*/ 6908 h 10000"/>
                    <a:gd name="connsiteX130" fmla="*/ 889 w 10000"/>
                    <a:gd name="connsiteY130" fmla="*/ 6976 h 10000"/>
                    <a:gd name="connsiteX131" fmla="*/ 889 w 10000"/>
                    <a:gd name="connsiteY131" fmla="*/ 6976 h 10000"/>
                    <a:gd name="connsiteX132" fmla="*/ 500 w 10000"/>
                    <a:gd name="connsiteY132" fmla="*/ 7050 h 10000"/>
                    <a:gd name="connsiteX133" fmla="*/ 222 w 10000"/>
                    <a:gd name="connsiteY133" fmla="*/ 7124 h 10000"/>
                    <a:gd name="connsiteX134" fmla="*/ 0 w 10000"/>
                    <a:gd name="connsiteY134" fmla="*/ 7200 h 10000"/>
                    <a:gd name="connsiteX135" fmla="*/ 0 w 10000"/>
                    <a:gd name="connsiteY135" fmla="*/ 7200 h 10000"/>
                    <a:gd name="connsiteX136" fmla="*/ 278 w 10000"/>
                    <a:gd name="connsiteY136" fmla="*/ 8341 h 10000"/>
                    <a:gd name="connsiteX137" fmla="*/ 722 w 10000"/>
                    <a:gd name="connsiteY137" fmla="*/ 9927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222 w 10000"/>
                    <a:gd name="connsiteY2" fmla="*/ 9927 h 10000"/>
                    <a:gd name="connsiteX3" fmla="*/ 8944 w 10000"/>
                    <a:gd name="connsiteY3" fmla="*/ 9927 h 10000"/>
                    <a:gd name="connsiteX4" fmla="*/ 8833 w 10000"/>
                    <a:gd name="connsiteY4" fmla="*/ 9857 h 10000"/>
                    <a:gd name="connsiteX5" fmla="*/ 8778 w 10000"/>
                    <a:gd name="connsiteY5" fmla="*/ 9782 h 10000"/>
                    <a:gd name="connsiteX6" fmla="*/ 8778 w 10000"/>
                    <a:gd name="connsiteY6" fmla="*/ 9782 h 10000"/>
                    <a:gd name="connsiteX7" fmla="*/ 8444 w 10000"/>
                    <a:gd name="connsiteY7" fmla="*/ 8915 h 10000"/>
                    <a:gd name="connsiteX8" fmla="*/ 8167 w 10000"/>
                    <a:gd name="connsiteY8" fmla="*/ 8129 h 10000"/>
                    <a:gd name="connsiteX9" fmla="*/ 8167 w 10000"/>
                    <a:gd name="connsiteY9" fmla="*/ 8129 h 10000"/>
                    <a:gd name="connsiteX10" fmla="*/ 8056 w 10000"/>
                    <a:gd name="connsiteY10" fmla="*/ 7987 h 10000"/>
                    <a:gd name="connsiteX11" fmla="*/ 7889 w 10000"/>
                    <a:gd name="connsiteY11" fmla="*/ 7842 h 10000"/>
                    <a:gd name="connsiteX12" fmla="*/ 7444 w 10000"/>
                    <a:gd name="connsiteY12" fmla="*/ 7765 h 10000"/>
                    <a:gd name="connsiteX13" fmla="*/ 6889 w 10000"/>
                    <a:gd name="connsiteY13" fmla="*/ 7695 h 10000"/>
                    <a:gd name="connsiteX14" fmla="*/ 6389 w 10000"/>
                    <a:gd name="connsiteY14" fmla="*/ 7695 h 10000"/>
                    <a:gd name="connsiteX15" fmla="*/ 6389 w 10000"/>
                    <a:gd name="connsiteY15" fmla="*/ 7695 h 10000"/>
                    <a:gd name="connsiteX16" fmla="*/ 6167 w 10000"/>
                    <a:gd name="connsiteY16" fmla="*/ 7622 h 10000"/>
                    <a:gd name="connsiteX17" fmla="*/ 6056 w 10000"/>
                    <a:gd name="connsiteY17" fmla="*/ 7484 h 10000"/>
                    <a:gd name="connsiteX18" fmla="*/ 6000 w 10000"/>
                    <a:gd name="connsiteY18" fmla="*/ 7339 h 10000"/>
                    <a:gd name="connsiteX19" fmla="*/ 6000 w 10000"/>
                    <a:gd name="connsiteY19" fmla="*/ 7050 h 10000"/>
                    <a:gd name="connsiteX20" fmla="*/ 6056 w 10000"/>
                    <a:gd name="connsiteY20" fmla="*/ 6471 h 10000"/>
                    <a:gd name="connsiteX21" fmla="*/ 6111 w 10000"/>
                    <a:gd name="connsiteY21" fmla="*/ 6185 h 10000"/>
                    <a:gd name="connsiteX22" fmla="*/ 6056 w 10000"/>
                    <a:gd name="connsiteY22" fmla="*/ 5829 h 10000"/>
                    <a:gd name="connsiteX23" fmla="*/ 6056 w 10000"/>
                    <a:gd name="connsiteY23" fmla="*/ 5829 h 10000"/>
                    <a:gd name="connsiteX24" fmla="*/ 6000 w 10000"/>
                    <a:gd name="connsiteY24" fmla="*/ 5609 h 10000"/>
                    <a:gd name="connsiteX25" fmla="*/ 5944 w 10000"/>
                    <a:gd name="connsiteY25" fmla="*/ 5464 h 10000"/>
                    <a:gd name="connsiteX26" fmla="*/ 5833 w 10000"/>
                    <a:gd name="connsiteY26" fmla="*/ 5464 h 10000"/>
                    <a:gd name="connsiteX27" fmla="*/ 5667 w 10000"/>
                    <a:gd name="connsiteY27" fmla="*/ 5539 h 10000"/>
                    <a:gd name="connsiteX28" fmla="*/ 5333 w 10000"/>
                    <a:gd name="connsiteY28" fmla="*/ 5752 h 10000"/>
                    <a:gd name="connsiteX29" fmla="*/ 4889 w 10000"/>
                    <a:gd name="connsiteY29" fmla="*/ 6117 h 10000"/>
                    <a:gd name="connsiteX30" fmla="*/ 4889 w 10000"/>
                    <a:gd name="connsiteY30" fmla="*/ 6117 h 10000"/>
                    <a:gd name="connsiteX31" fmla="*/ 4611 w 10000"/>
                    <a:gd name="connsiteY31" fmla="*/ 6185 h 10000"/>
                    <a:gd name="connsiteX32" fmla="*/ 4500 w 10000"/>
                    <a:gd name="connsiteY32" fmla="*/ 6185 h 10000"/>
                    <a:gd name="connsiteX33" fmla="*/ 4444 w 10000"/>
                    <a:gd name="connsiteY33" fmla="*/ 6117 h 10000"/>
                    <a:gd name="connsiteX34" fmla="*/ 4389 w 10000"/>
                    <a:gd name="connsiteY34" fmla="*/ 5829 h 10000"/>
                    <a:gd name="connsiteX35" fmla="*/ 4222 w 10000"/>
                    <a:gd name="connsiteY35" fmla="*/ 5464 h 10000"/>
                    <a:gd name="connsiteX36" fmla="*/ 4222 w 10000"/>
                    <a:gd name="connsiteY36" fmla="*/ 5464 h 10000"/>
                    <a:gd name="connsiteX37" fmla="*/ 4111 w 10000"/>
                    <a:gd name="connsiteY37" fmla="*/ 5254 h 10000"/>
                    <a:gd name="connsiteX38" fmla="*/ 4111 w 10000"/>
                    <a:gd name="connsiteY38" fmla="*/ 5035 h 10000"/>
                    <a:gd name="connsiteX39" fmla="*/ 4111 w 10000"/>
                    <a:gd name="connsiteY39" fmla="*/ 4889 h 10000"/>
                    <a:gd name="connsiteX40" fmla="*/ 4167 w 10000"/>
                    <a:gd name="connsiteY40" fmla="*/ 4750 h 10000"/>
                    <a:gd name="connsiteX41" fmla="*/ 4278 w 10000"/>
                    <a:gd name="connsiteY41" fmla="*/ 4459 h 10000"/>
                    <a:gd name="connsiteX42" fmla="*/ 4389 w 10000"/>
                    <a:gd name="connsiteY42" fmla="*/ 4388 h 10000"/>
                    <a:gd name="connsiteX43" fmla="*/ 4389 w 10000"/>
                    <a:gd name="connsiteY43" fmla="*/ 4388 h 10000"/>
                    <a:gd name="connsiteX44" fmla="*/ 4389 w 10000"/>
                    <a:gd name="connsiteY44" fmla="*/ 4320 h 10000"/>
                    <a:gd name="connsiteX45" fmla="*/ 4444 w 10000"/>
                    <a:gd name="connsiteY45" fmla="*/ 4245 h 10000"/>
                    <a:gd name="connsiteX46" fmla="*/ 4667 w 10000"/>
                    <a:gd name="connsiteY46" fmla="*/ 4170 h 10000"/>
                    <a:gd name="connsiteX47" fmla="*/ 5333 w 10000"/>
                    <a:gd name="connsiteY47" fmla="*/ 4031 h 10000"/>
                    <a:gd name="connsiteX48" fmla="*/ 6500 w 10000"/>
                    <a:gd name="connsiteY48" fmla="*/ 3815 h 10000"/>
                    <a:gd name="connsiteX49" fmla="*/ 6500 w 10000"/>
                    <a:gd name="connsiteY49" fmla="*/ 3815 h 10000"/>
                    <a:gd name="connsiteX50" fmla="*/ 7167 w 10000"/>
                    <a:gd name="connsiteY50" fmla="*/ 3598 h 10000"/>
                    <a:gd name="connsiteX51" fmla="*/ 8389 w 10000"/>
                    <a:gd name="connsiteY51" fmla="*/ 3165 h 10000"/>
                    <a:gd name="connsiteX52" fmla="*/ 8389 w 10000"/>
                    <a:gd name="connsiteY52" fmla="*/ 3165 h 10000"/>
                    <a:gd name="connsiteX53" fmla="*/ 8667 w 10000"/>
                    <a:gd name="connsiteY53" fmla="*/ 3013 h 10000"/>
                    <a:gd name="connsiteX54" fmla="*/ 8778 w 10000"/>
                    <a:gd name="connsiteY54" fmla="*/ 2803 h 10000"/>
                    <a:gd name="connsiteX55" fmla="*/ 8889 w 10000"/>
                    <a:gd name="connsiteY55" fmla="*/ 2660 h 10000"/>
                    <a:gd name="connsiteX56" fmla="*/ 8833 w 10000"/>
                    <a:gd name="connsiteY56" fmla="*/ 2516 h 10000"/>
                    <a:gd name="connsiteX57" fmla="*/ 8833 w 10000"/>
                    <a:gd name="connsiteY57" fmla="*/ 2372 h 10000"/>
                    <a:gd name="connsiteX58" fmla="*/ 8722 w 10000"/>
                    <a:gd name="connsiteY58" fmla="*/ 2228 h 10000"/>
                    <a:gd name="connsiteX59" fmla="*/ 8556 w 10000"/>
                    <a:gd name="connsiteY59" fmla="*/ 2014 h 10000"/>
                    <a:gd name="connsiteX60" fmla="*/ 8556 w 10000"/>
                    <a:gd name="connsiteY60" fmla="*/ 2014 h 10000"/>
                    <a:gd name="connsiteX61" fmla="*/ 6556 w 10000"/>
                    <a:gd name="connsiteY61" fmla="*/ 722 h 10000"/>
                    <a:gd name="connsiteX62" fmla="*/ 6556 w 10000"/>
                    <a:gd name="connsiteY62" fmla="*/ 722 h 10000"/>
                    <a:gd name="connsiteX63" fmla="*/ 6333 w 10000"/>
                    <a:gd name="connsiteY63" fmla="*/ 510 h 10000"/>
                    <a:gd name="connsiteX64" fmla="*/ 6167 w 10000"/>
                    <a:gd name="connsiteY64" fmla="*/ 291 h 10000"/>
                    <a:gd name="connsiteX65" fmla="*/ 6056 w 10000"/>
                    <a:gd name="connsiteY65" fmla="*/ 73 h 10000"/>
                    <a:gd name="connsiteX66" fmla="*/ 6056 w 10000"/>
                    <a:gd name="connsiteY66" fmla="*/ 73 h 10000"/>
                    <a:gd name="connsiteX67" fmla="*/ 8056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722 w 10000"/>
                    <a:gd name="connsiteY71" fmla="*/ 9857 h 10000"/>
                    <a:gd name="connsiteX72" fmla="*/ 9389 w 10000"/>
                    <a:gd name="connsiteY72" fmla="*/ 9927 h 10000"/>
                    <a:gd name="connsiteX73" fmla="*/ 9389 w 10000"/>
                    <a:gd name="connsiteY73" fmla="*/ 9927 h 10000"/>
                    <a:gd name="connsiteX74" fmla="*/ 9278 w 10000"/>
                    <a:gd name="connsiteY74" fmla="*/ 10000 h 10000"/>
                    <a:gd name="connsiteX75" fmla="*/ 9056 w 10000"/>
                    <a:gd name="connsiteY75" fmla="*/ 9927 h 10000"/>
                    <a:gd name="connsiteX76" fmla="*/ 8889 w 10000"/>
                    <a:gd name="connsiteY76" fmla="*/ 9857 h 10000"/>
                    <a:gd name="connsiteX77" fmla="*/ 8722 w 10000"/>
                    <a:gd name="connsiteY77" fmla="*/ 9707 h 10000"/>
                    <a:gd name="connsiteX78" fmla="*/ 8611 w 10000"/>
                    <a:gd name="connsiteY78" fmla="*/ 9494 h 10000"/>
                    <a:gd name="connsiteX79" fmla="*/ 8444 w 10000"/>
                    <a:gd name="connsiteY79" fmla="*/ 9137 h 10000"/>
                    <a:gd name="connsiteX80" fmla="*/ 8444 w 10000"/>
                    <a:gd name="connsiteY80" fmla="*/ 9137 h 10000"/>
                    <a:gd name="connsiteX81" fmla="*/ 8222 w 10000"/>
                    <a:gd name="connsiteY81" fmla="*/ 8492 h 10000"/>
                    <a:gd name="connsiteX82" fmla="*/ 8111 w 10000"/>
                    <a:gd name="connsiteY82" fmla="*/ 8199 h 10000"/>
                    <a:gd name="connsiteX83" fmla="*/ 7944 w 10000"/>
                    <a:gd name="connsiteY83" fmla="*/ 7987 h 10000"/>
                    <a:gd name="connsiteX84" fmla="*/ 7778 w 10000"/>
                    <a:gd name="connsiteY84" fmla="*/ 7842 h 10000"/>
                    <a:gd name="connsiteX85" fmla="*/ 7556 w 10000"/>
                    <a:gd name="connsiteY85" fmla="*/ 7765 h 10000"/>
                    <a:gd name="connsiteX86" fmla="*/ 7333 w 10000"/>
                    <a:gd name="connsiteY86" fmla="*/ 7695 h 10000"/>
                    <a:gd name="connsiteX87" fmla="*/ 7000 w 10000"/>
                    <a:gd name="connsiteY87" fmla="*/ 7622 h 10000"/>
                    <a:gd name="connsiteX88" fmla="*/ 7000 w 10000"/>
                    <a:gd name="connsiteY88" fmla="*/ 7622 h 10000"/>
                    <a:gd name="connsiteX89" fmla="*/ 6556 w 10000"/>
                    <a:gd name="connsiteY89" fmla="*/ 7695 h 10000"/>
                    <a:gd name="connsiteX90" fmla="*/ 6222 w 10000"/>
                    <a:gd name="connsiteY90" fmla="*/ 7695 h 10000"/>
                    <a:gd name="connsiteX91" fmla="*/ 6111 w 10000"/>
                    <a:gd name="connsiteY91" fmla="*/ 7622 h 10000"/>
                    <a:gd name="connsiteX92" fmla="*/ 6056 w 10000"/>
                    <a:gd name="connsiteY92" fmla="*/ 7550 h 10000"/>
                    <a:gd name="connsiteX93" fmla="*/ 6056 w 10000"/>
                    <a:gd name="connsiteY93" fmla="*/ 7550 h 10000"/>
                    <a:gd name="connsiteX94" fmla="*/ 6056 w 10000"/>
                    <a:gd name="connsiteY94" fmla="*/ 6257 h 10000"/>
                    <a:gd name="connsiteX95" fmla="*/ 6056 w 10000"/>
                    <a:gd name="connsiteY95" fmla="*/ 6257 h 10000"/>
                    <a:gd name="connsiteX96" fmla="*/ 6056 w 10000"/>
                    <a:gd name="connsiteY96" fmla="*/ 5968 h 10000"/>
                    <a:gd name="connsiteX97" fmla="*/ 5944 w 10000"/>
                    <a:gd name="connsiteY97" fmla="*/ 5609 h 10000"/>
                    <a:gd name="connsiteX98" fmla="*/ 5889 w 10000"/>
                    <a:gd name="connsiteY98" fmla="*/ 5539 h 10000"/>
                    <a:gd name="connsiteX99" fmla="*/ 5778 w 10000"/>
                    <a:gd name="connsiteY99" fmla="*/ 5464 h 10000"/>
                    <a:gd name="connsiteX100" fmla="*/ 5667 w 10000"/>
                    <a:gd name="connsiteY100" fmla="*/ 5464 h 10000"/>
                    <a:gd name="connsiteX101" fmla="*/ 5500 w 10000"/>
                    <a:gd name="connsiteY101" fmla="*/ 5539 h 10000"/>
                    <a:gd name="connsiteX102" fmla="*/ 5500 w 10000"/>
                    <a:gd name="connsiteY102" fmla="*/ 5539 h 10000"/>
                    <a:gd name="connsiteX103" fmla="*/ 4889 w 10000"/>
                    <a:gd name="connsiteY103" fmla="*/ 6042 h 10000"/>
                    <a:gd name="connsiteX104" fmla="*/ 4611 w 10000"/>
                    <a:gd name="connsiteY104" fmla="*/ 6185 h 10000"/>
                    <a:gd name="connsiteX105" fmla="*/ 4556 w 10000"/>
                    <a:gd name="connsiteY105" fmla="*/ 6257 h 10000"/>
                    <a:gd name="connsiteX106" fmla="*/ 4500 w 10000"/>
                    <a:gd name="connsiteY106" fmla="*/ 6185 h 10000"/>
                    <a:gd name="connsiteX107" fmla="*/ 4500 w 10000"/>
                    <a:gd name="connsiteY107" fmla="*/ 6185 h 10000"/>
                    <a:gd name="connsiteX108" fmla="*/ 4222 w 10000"/>
                    <a:gd name="connsiteY108" fmla="*/ 5464 h 10000"/>
                    <a:gd name="connsiteX109" fmla="*/ 4222 w 10000"/>
                    <a:gd name="connsiteY109" fmla="*/ 5464 h 10000"/>
                    <a:gd name="connsiteX110" fmla="*/ 4111 w 10000"/>
                    <a:gd name="connsiteY110" fmla="*/ 5108 h 10000"/>
                    <a:gd name="connsiteX111" fmla="*/ 4111 w 10000"/>
                    <a:gd name="connsiteY111" fmla="*/ 4889 h 10000"/>
                    <a:gd name="connsiteX112" fmla="*/ 4111 w 10000"/>
                    <a:gd name="connsiteY112" fmla="*/ 4676 h 10000"/>
                    <a:gd name="connsiteX113" fmla="*/ 4111 w 10000"/>
                    <a:gd name="connsiteY113" fmla="*/ 4676 h 10000"/>
                    <a:gd name="connsiteX114" fmla="*/ 4278 w 10000"/>
                    <a:gd name="connsiteY114" fmla="*/ 4459 h 10000"/>
                    <a:gd name="connsiteX115" fmla="*/ 4389 w 10000"/>
                    <a:gd name="connsiteY115" fmla="*/ 4388 h 10000"/>
                    <a:gd name="connsiteX116" fmla="*/ 4389 w 10000"/>
                    <a:gd name="connsiteY116" fmla="*/ 4388 h 10000"/>
                    <a:gd name="connsiteX117" fmla="*/ 4000 w 10000"/>
                    <a:gd name="connsiteY117" fmla="*/ 4388 h 10000"/>
                    <a:gd name="connsiteX118" fmla="*/ 3722 w 10000"/>
                    <a:gd name="connsiteY118" fmla="*/ 4459 h 10000"/>
                    <a:gd name="connsiteX119" fmla="*/ 3611 w 10000"/>
                    <a:gd name="connsiteY119" fmla="*/ 4537 h 10000"/>
                    <a:gd name="connsiteX120" fmla="*/ 3556 w 10000"/>
                    <a:gd name="connsiteY120" fmla="*/ 4603 h 10000"/>
                    <a:gd name="connsiteX121" fmla="*/ 3556 w 10000"/>
                    <a:gd name="connsiteY121" fmla="*/ 4603 h 10000"/>
                    <a:gd name="connsiteX122" fmla="*/ 3444 w 10000"/>
                    <a:gd name="connsiteY122" fmla="*/ 4889 h 10000"/>
                    <a:gd name="connsiteX123" fmla="*/ 3278 w 10000"/>
                    <a:gd name="connsiteY123" fmla="*/ 5323 h 10000"/>
                    <a:gd name="connsiteX124" fmla="*/ 3000 w 10000"/>
                    <a:gd name="connsiteY124" fmla="*/ 5829 h 10000"/>
                    <a:gd name="connsiteX125" fmla="*/ 2667 w 10000"/>
                    <a:gd name="connsiteY125" fmla="*/ 6185 h 10000"/>
                    <a:gd name="connsiteX126" fmla="*/ 2667 w 10000"/>
                    <a:gd name="connsiteY126" fmla="*/ 6185 h 10000"/>
                    <a:gd name="connsiteX127" fmla="*/ 2333 w 10000"/>
                    <a:gd name="connsiteY127" fmla="*/ 6471 h 10000"/>
                    <a:gd name="connsiteX128" fmla="*/ 1833 w 10000"/>
                    <a:gd name="connsiteY128" fmla="*/ 6762 h 10000"/>
                    <a:gd name="connsiteX129" fmla="*/ 1389 w 10000"/>
                    <a:gd name="connsiteY129" fmla="*/ 6908 h 10000"/>
                    <a:gd name="connsiteX130" fmla="*/ 889 w 10000"/>
                    <a:gd name="connsiteY130" fmla="*/ 6976 h 10000"/>
                    <a:gd name="connsiteX131" fmla="*/ 889 w 10000"/>
                    <a:gd name="connsiteY131" fmla="*/ 6976 h 10000"/>
                    <a:gd name="connsiteX132" fmla="*/ 500 w 10000"/>
                    <a:gd name="connsiteY132" fmla="*/ 7050 h 10000"/>
                    <a:gd name="connsiteX133" fmla="*/ 222 w 10000"/>
                    <a:gd name="connsiteY133" fmla="*/ 7124 h 10000"/>
                    <a:gd name="connsiteX134" fmla="*/ 0 w 10000"/>
                    <a:gd name="connsiteY134" fmla="*/ 7200 h 10000"/>
                    <a:gd name="connsiteX135" fmla="*/ 0 w 10000"/>
                    <a:gd name="connsiteY135" fmla="*/ 7200 h 10000"/>
                    <a:gd name="connsiteX136" fmla="*/ 278 w 10000"/>
                    <a:gd name="connsiteY136" fmla="*/ 8341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222 w 10000"/>
                    <a:gd name="connsiteY2" fmla="*/ 9927 h 10000"/>
                    <a:gd name="connsiteX3" fmla="*/ 8944 w 10000"/>
                    <a:gd name="connsiteY3" fmla="*/ 9927 h 10000"/>
                    <a:gd name="connsiteX4" fmla="*/ 8833 w 10000"/>
                    <a:gd name="connsiteY4" fmla="*/ 9857 h 10000"/>
                    <a:gd name="connsiteX5" fmla="*/ 8778 w 10000"/>
                    <a:gd name="connsiteY5" fmla="*/ 9782 h 10000"/>
                    <a:gd name="connsiteX6" fmla="*/ 8778 w 10000"/>
                    <a:gd name="connsiteY6" fmla="*/ 9782 h 10000"/>
                    <a:gd name="connsiteX7" fmla="*/ 8444 w 10000"/>
                    <a:gd name="connsiteY7" fmla="*/ 8915 h 10000"/>
                    <a:gd name="connsiteX8" fmla="*/ 8167 w 10000"/>
                    <a:gd name="connsiteY8" fmla="*/ 8129 h 10000"/>
                    <a:gd name="connsiteX9" fmla="*/ 8167 w 10000"/>
                    <a:gd name="connsiteY9" fmla="*/ 8129 h 10000"/>
                    <a:gd name="connsiteX10" fmla="*/ 8056 w 10000"/>
                    <a:gd name="connsiteY10" fmla="*/ 7987 h 10000"/>
                    <a:gd name="connsiteX11" fmla="*/ 7889 w 10000"/>
                    <a:gd name="connsiteY11" fmla="*/ 7842 h 10000"/>
                    <a:gd name="connsiteX12" fmla="*/ 7444 w 10000"/>
                    <a:gd name="connsiteY12" fmla="*/ 7765 h 10000"/>
                    <a:gd name="connsiteX13" fmla="*/ 6889 w 10000"/>
                    <a:gd name="connsiteY13" fmla="*/ 7695 h 10000"/>
                    <a:gd name="connsiteX14" fmla="*/ 6389 w 10000"/>
                    <a:gd name="connsiteY14" fmla="*/ 7695 h 10000"/>
                    <a:gd name="connsiteX15" fmla="*/ 6389 w 10000"/>
                    <a:gd name="connsiteY15" fmla="*/ 7695 h 10000"/>
                    <a:gd name="connsiteX16" fmla="*/ 6167 w 10000"/>
                    <a:gd name="connsiteY16" fmla="*/ 7622 h 10000"/>
                    <a:gd name="connsiteX17" fmla="*/ 6056 w 10000"/>
                    <a:gd name="connsiteY17" fmla="*/ 7484 h 10000"/>
                    <a:gd name="connsiteX18" fmla="*/ 6000 w 10000"/>
                    <a:gd name="connsiteY18" fmla="*/ 7339 h 10000"/>
                    <a:gd name="connsiteX19" fmla="*/ 6000 w 10000"/>
                    <a:gd name="connsiteY19" fmla="*/ 7050 h 10000"/>
                    <a:gd name="connsiteX20" fmla="*/ 6056 w 10000"/>
                    <a:gd name="connsiteY20" fmla="*/ 6471 h 10000"/>
                    <a:gd name="connsiteX21" fmla="*/ 6111 w 10000"/>
                    <a:gd name="connsiteY21" fmla="*/ 6185 h 10000"/>
                    <a:gd name="connsiteX22" fmla="*/ 6056 w 10000"/>
                    <a:gd name="connsiteY22" fmla="*/ 5829 h 10000"/>
                    <a:gd name="connsiteX23" fmla="*/ 6056 w 10000"/>
                    <a:gd name="connsiteY23" fmla="*/ 5829 h 10000"/>
                    <a:gd name="connsiteX24" fmla="*/ 6000 w 10000"/>
                    <a:gd name="connsiteY24" fmla="*/ 5609 h 10000"/>
                    <a:gd name="connsiteX25" fmla="*/ 5944 w 10000"/>
                    <a:gd name="connsiteY25" fmla="*/ 5464 h 10000"/>
                    <a:gd name="connsiteX26" fmla="*/ 5833 w 10000"/>
                    <a:gd name="connsiteY26" fmla="*/ 5464 h 10000"/>
                    <a:gd name="connsiteX27" fmla="*/ 5667 w 10000"/>
                    <a:gd name="connsiteY27" fmla="*/ 5539 h 10000"/>
                    <a:gd name="connsiteX28" fmla="*/ 5333 w 10000"/>
                    <a:gd name="connsiteY28" fmla="*/ 5752 h 10000"/>
                    <a:gd name="connsiteX29" fmla="*/ 4889 w 10000"/>
                    <a:gd name="connsiteY29" fmla="*/ 6117 h 10000"/>
                    <a:gd name="connsiteX30" fmla="*/ 4889 w 10000"/>
                    <a:gd name="connsiteY30" fmla="*/ 6117 h 10000"/>
                    <a:gd name="connsiteX31" fmla="*/ 4611 w 10000"/>
                    <a:gd name="connsiteY31" fmla="*/ 6185 h 10000"/>
                    <a:gd name="connsiteX32" fmla="*/ 4500 w 10000"/>
                    <a:gd name="connsiteY32" fmla="*/ 6185 h 10000"/>
                    <a:gd name="connsiteX33" fmla="*/ 4444 w 10000"/>
                    <a:gd name="connsiteY33" fmla="*/ 6117 h 10000"/>
                    <a:gd name="connsiteX34" fmla="*/ 4389 w 10000"/>
                    <a:gd name="connsiteY34" fmla="*/ 5829 h 10000"/>
                    <a:gd name="connsiteX35" fmla="*/ 4222 w 10000"/>
                    <a:gd name="connsiteY35" fmla="*/ 5464 h 10000"/>
                    <a:gd name="connsiteX36" fmla="*/ 4222 w 10000"/>
                    <a:gd name="connsiteY36" fmla="*/ 5464 h 10000"/>
                    <a:gd name="connsiteX37" fmla="*/ 4111 w 10000"/>
                    <a:gd name="connsiteY37" fmla="*/ 5254 h 10000"/>
                    <a:gd name="connsiteX38" fmla="*/ 4111 w 10000"/>
                    <a:gd name="connsiteY38" fmla="*/ 5035 h 10000"/>
                    <a:gd name="connsiteX39" fmla="*/ 4111 w 10000"/>
                    <a:gd name="connsiteY39" fmla="*/ 4889 h 10000"/>
                    <a:gd name="connsiteX40" fmla="*/ 4167 w 10000"/>
                    <a:gd name="connsiteY40" fmla="*/ 4750 h 10000"/>
                    <a:gd name="connsiteX41" fmla="*/ 4278 w 10000"/>
                    <a:gd name="connsiteY41" fmla="*/ 4459 h 10000"/>
                    <a:gd name="connsiteX42" fmla="*/ 4389 w 10000"/>
                    <a:gd name="connsiteY42" fmla="*/ 4388 h 10000"/>
                    <a:gd name="connsiteX43" fmla="*/ 4389 w 10000"/>
                    <a:gd name="connsiteY43" fmla="*/ 4388 h 10000"/>
                    <a:gd name="connsiteX44" fmla="*/ 4389 w 10000"/>
                    <a:gd name="connsiteY44" fmla="*/ 4320 h 10000"/>
                    <a:gd name="connsiteX45" fmla="*/ 4444 w 10000"/>
                    <a:gd name="connsiteY45" fmla="*/ 4245 h 10000"/>
                    <a:gd name="connsiteX46" fmla="*/ 4667 w 10000"/>
                    <a:gd name="connsiteY46" fmla="*/ 4170 h 10000"/>
                    <a:gd name="connsiteX47" fmla="*/ 5333 w 10000"/>
                    <a:gd name="connsiteY47" fmla="*/ 4031 h 10000"/>
                    <a:gd name="connsiteX48" fmla="*/ 6500 w 10000"/>
                    <a:gd name="connsiteY48" fmla="*/ 3815 h 10000"/>
                    <a:gd name="connsiteX49" fmla="*/ 6500 w 10000"/>
                    <a:gd name="connsiteY49" fmla="*/ 3815 h 10000"/>
                    <a:gd name="connsiteX50" fmla="*/ 7167 w 10000"/>
                    <a:gd name="connsiteY50" fmla="*/ 3598 h 10000"/>
                    <a:gd name="connsiteX51" fmla="*/ 8389 w 10000"/>
                    <a:gd name="connsiteY51" fmla="*/ 3165 h 10000"/>
                    <a:gd name="connsiteX52" fmla="*/ 8389 w 10000"/>
                    <a:gd name="connsiteY52" fmla="*/ 3165 h 10000"/>
                    <a:gd name="connsiteX53" fmla="*/ 8667 w 10000"/>
                    <a:gd name="connsiteY53" fmla="*/ 3013 h 10000"/>
                    <a:gd name="connsiteX54" fmla="*/ 8778 w 10000"/>
                    <a:gd name="connsiteY54" fmla="*/ 2803 h 10000"/>
                    <a:gd name="connsiteX55" fmla="*/ 8889 w 10000"/>
                    <a:gd name="connsiteY55" fmla="*/ 2660 h 10000"/>
                    <a:gd name="connsiteX56" fmla="*/ 8833 w 10000"/>
                    <a:gd name="connsiteY56" fmla="*/ 2516 h 10000"/>
                    <a:gd name="connsiteX57" fmla="*/ 8833 w 10000"/>
                    <a:gd name="connsiteY57" fmla="*/ 2372 h 10000"/>
                    <a:gd name="connsiteX58" fmla="*/ 8722 w 10000"/>
                    <a:gd name="connsiteY58" fmla="*/ 2228 h 10000"/>
                    <a:gd name="connsiteX59" fmla="*/ 8556 w 10000"/>
                    <a:gd name="connsiteY59" fmla="*/ 2014 h 10000"/>
                    <a:gd name="connsiteX60" fmla="*/ 8556 w 10000"/>
                    <a:gd name="connsiteY60" fmla="*/ 2014 h 10000"/>
                    <a:gd name="connsiteX61" fmla="*/ 6556 w 10000"/>
                    <a:gd name="connsiteY61" fmla="*/ 722 h 10000"/>
                    <a:gd name="connsiteX62" fmla="*/ 6556 w 10000"/>
                    <a:gd name="connsiteY62" fmla="*/ 722 h 10000"/>
                    <a:gd name="connsiteX63" fmla="*/ 6333 w 10000"/>
                    <a:gd name="connsiteY63" fmla="*/ 510 h 10000"/>
                    <a:gd name="connsiteX64" fmla="*/ 6167 w 10000"/>
                    <a:gd name="connsiteY64" fmla="*/ 291 h 10000"/>
                    <a:gd name="connsiteX65" fmla="*/ 6056 w 10000"/>
                    <a:gd name="connsiteY65" fmla="*/ 73 h 10000"/>
                    <a:gd name="connsiteX66" fmla="*/ 6056 w 10000"/>
                    <a:gd name="connsiteY66" fmla="*/ 73 h 10000"/>
                    <a:gd name="connsiteX67" fmla="*/ 8056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722 w 10000"/>
                    <a:gd name="connsiteY71" fmla="*/ 9857 h 10000"/>
                    <a:gd name="connsiteX72" fmla="*/ 9389 w 10000"/>
                    <a:gd name="connsiteY72" fmla="*/ 9927 h 10000"/>
                    <a:gd name="connsiteX73" fmla="*/ 9389 w 10000"/>
                    <a:gd name="connsiteY73" fmla="*/ 9927 h 10000"/>
                    <a:gd name="connsiteX74" fmla="*/ 9278 w 10000"/>
                    <a:gd name="connsiteY74" fmla="*/ 10000 h 10000"/>
                    <a:gd name="connsiteX75" fmla="*/ 9056 w 10000"/>
                    <a:gd name="connsiteY75" fmla="*/ 9927 h 10000"/>
                    <a:gd name="connsiteX76" fmla="*/ 8889 w 10000"/>
                    <a:gd name="connsiteY76" fmla="*/ 9857 h 10000"/>
                    <a:gd name="connsiteX77" fmla="*/ 8722 w 10000"/>
                    <a:gd name="connsiteY77" fmla="*/ 9707 h 10000"/>
                    <a:gd name="connsiteX78" fmla="*/ 8611 w 10000"/>
                    <a:gd name="connsiteY78" fmla="*/ 9494 h 10000"/>
                    <a:gd name="connsiteX79" fmla="*/ 8444 w 10000"/>
                    <a:gd name="connsiteY79" fmla="*/ 9137 h 10000"/>
                    <a:gd name="connsiteX80" fmla="*/ 8444 w 10000"/>
                    <a:gd name="connsiteY80" fmla="*/ 9137 h 10000"/>
                    <a:gd name="connsiteX81" fmla="*/ 8222 w 10000"/>
                    <a:gd name="connsiteY81" fmla="*/ 8492 h 10000"/>
                    <a:gd name="connsiteX82" fmla="*/ 8111 w 10000"/>
                    <a:gd name="connsiteY82" fmla="*/ 8199 h 10000"/>
                    <a:gd name="connsiteX83" fmla="*/ 7944 w 10000"/>
                    <a:gd name="connsiteY83" fmla="*/ 7987 h 10000"/>
                    <a:gd name="connsiteX84" fmla="*/ 7778 w 10000"/>
                    <a:gd name="connsiteY84" fmla="*/ 7842 h 10000"/>
                    <a:gd name="connsiteX85" fmla="*/ 7556 w 10000"/>
                    <a:gd name="connsiteY85" fmla="*/ 7765 h 10000"/>
                    <a:gd name="connsiteX86" fmla="*/ 7333 w 10000"/>
                    <a:gd name="connsiteY86" fmla="*/ 7695 h 10000"/>
                    <a:gd name="connsiteX87" fmla="*/ 7000 w 10000"/>
                    <a:gd name="connsiteY87" fmla="*/ 7622 h 10000"/>
                    <a:gd name="connsiteX88" fmla="*/ 7000 w 10000"/>
                    <a:gd name="connsiteY88" fmla="*/ 7622 h 10000"/>
                    <a:gd name="connsiteX89" fmla="*/ 6556 w 10000"/>
                    <a:gd name="connsiteY89" fmla="*/ 7695 h 10000"/>
                    <a:gd name="connsiteX90" fmla="*/ 6222 w 10000"/>
                    <a:gd name="connsiteY90" fmla="*/ 7695 h 10000"/>
                    <a:gd name="connsiteX91" fmla="*/ 6111 w 10000"/>
                    <a:gd name="connsiteY91" fmla="*/ 7622 h 10000"/>
                    <a:gd name="connsiteX92" fmla="*/ 6056 w 10000"/>
                    <a:gd name="connsiteY92" fmla="*/ 7550 h 10000"/>
                    <a:gd name="connsiteX93" fmla="*/ 6056 w 10000"/>
                    <a:gd name="connsiteY93" fmla="*/ 7550 h 10000"/>
                    <a:gd name="connsiteX94" fmla="*/ 6056 w 10000"/>
                    <a:gd name="connsiteY94" fmla="*/ 6257 h 10000"/>
                    <a:gd name="connsiteX95" fmla="*/ 6056 w 10000"/>
                    <a:gd name="connsiteY95" fmla="*/ 6257 h 10000"/>
                    <a:gd name="connsiteX96" fmla="*/ 6056 w 10000"/>
                    <a:gd name="connsiteY96" fmla="*/ 5968 h 10000"/>
                    <a:gd name="connsiteX97" fmla="*/ 5944 w 10000"/>
                    <a:gd name="connsiteY97" fmla="*/ 5609 h 10000"/>
                    <a:gd name="connsiteX98" fmla="*/ 5889 w 10000"/>
                    <a:gd name="connsiteY98" fmla="*/ 5539 h 10000"/>
                    <a:gd name="connsiteX99" fmla="*/ 5778 w 10000"/>
                    <a:gd name="connsiteY99" fmla="*/ 5464 h 10000"/>
                    <a:gd name="connsiteX100" fmla="*/ 5667 w 10000"/>
                    <a:gd name="connsiteY100" fmla="*/ 5464 h 10000"/>
                    <a:gd name="connsiteX101" fmla="*/ 5500 w 10000"/>
                    <a:gd name="connsiteY101" fmla="*/ 5539 h 10000"/>
                    <a:gd name="connsiteX102" fmla="*/ 5500 w 10000"/>
                    <a:gd name="connsiteY102" fmla="*/ 5539 h 10000"/>
                    <a:gd name="connsiteX103" fmla="*/ 4889 w 10000"/>
                    <a:gd name="connsiteY103" fmla="*/ 6042 h 10000"/>
                    <a:gd name="connsiteX104" fmla="*/ 4611 w 10000"/>
                    <a:gd name="connsiteY104" fmla="*/ 6185 h 10000"/>
                    <a:gd name="connsiteX105" fmla="*/ 4556 w 10000"/>
                    <a:gd name="connsiteY105" fmla="*/ 6257 h 10000"/>
                    <a:gd name="connsiteX106" fmla="*/ 4500 w 10000"/>
                    <a:gd name="connsiteY106" fmla="*/ 6185 h 10000"/>
                    <a:gd name="connsiteX107" fmla="*/ 4500 w 10000"/>
                    <a:gd name="connsiteY107" fmla="*/ 6185 h 10000"/>
                    <a:gd name="connsiteX108" fmla="*/ 4222 w 10000"/>
                    <a:gd name="connsiteY108" fmla="*/ 5464 h 10000"/>
                    <a:gd name="connsiteX109" fmla="*/ 4222 w 10000"/>
                    <a:gd name="connsiteY109" fmla="*/ 5464 h 10000"/>
                    <a:gd name="connsiteX110" fmla="*/ 4111 w 10000"/>
                    <a:gd name="connsiteY110" fmla="*/ 5108 h 10000"/>
                    <a:gd name="connsiteX111" fmla="*/ 4111 w 10000"/>
                    <a:gd name="connsiteY111" fmla="*/ 4889 h 10000"/>
                    <a:gd name="connsiteX112" fmla="*/ 4111 w 10000"/>
                    <a:gd name="connsiteY112" fmla="*/ 4676 h 10000"/>
                    <a:gd name="connsiteX113" fmla="*/ 4111 w 10000"/>
                    <a:gd name="connsiteY113" fmla="*/ 4676 h 10000"/>
                    <a:gd name="connsiteX114" fmla="*/ 4278 w 10000"/>
                    <a:gd name="connsiteY114" fmla="*/ 4459 h 10000"/>
                    <a:gd name="connsiteX115" fmla="*/ 4389 w 10000"/>
                    <a:gd name="connsiteY115" fmla="*/ 4388 h 10000"/>
                    <a:gd name="connsiteX116" fmla="*/ 4389 w 10000"/>
                    <a:gd name="connsiteY116" fmla="*/ 4388 h 10000"/>
                    <a:gd name="connsiteX117" fmla="*/ 4000 w 10000"/>
                    <a:gd name="connsiteY117" fmla="*/ 4388 h 10000"/>
                    <a:gd name="connsiteX118" fmla="*/ 3722 w 10000"/>
                    <a:gd name="connsiteY118" fmla="*/ 4459 h 10000"/>
                    <a:gd name="connsiteX119" fmla="*/ 3611 w 10000"/>
                    <a:gd name="connsiteY119" fmla="*/ 4537 h 10000"/>
                    <a:gd name="connsiteX120" fmla="*/ 3556 w 10000"/>
                    <a:gd name="connsiteY120" fmla="*/ 4603 h 10000"/>
                    <a:gd name="connsiteX121" fmla="*/ 3556 w 10000"/>
                    <a:gd name="connsiteY121" fmla="*/ 4603 h 10000"/>
                    <a:gd name="connsiteX122" fmla="*/ 3444 w 10000"/>
                    <a:gd name="connsiteY122" fmla="*/ 4889 h 10000"/>
                    <a:gd name="connsiteX123" fmla="*/ 3278 w 10000"/>
                    <a:gd name="connsiteY123" fmla="*/ 5323 h 10000"/>
                    <a:gd name="connsiteX124" fmla="*/ 3000 w 10000"/>
                    <a:gd name="connsiteY124" fmla="*/ 5829 h 10000"/>
                    <a:gd name="connsiteX125" fmla="*/ 2667 w 10000"/>
                    <a:gd name="connsiteY125" fmla="*/ 6185 h 10000"/>
                    <a:gd name="connsiteX126" fmla="*/ 2667 w 10000"/>
                    <a:gd name="connsiteY126" fmla="*/ 6185 h 10000"/>
                    <a:gd name="connsiteX127" fmla="*/ 2333 w 10000"/>
                    <a:gd name="connsiteY127" fmla="*/ 6471 h 10000"/>
                    <a:gd name="connsiteX128" fmla="*/ 1833 w 10000"/>
                    <a:gd name="connsiteY128" fmla="*/ 6762 h 10000"/>
                    <a:gd name="connsiteX129" fmla="*/ 1389 w 10000"/>
                    <a:gd name="connsiteY129" fmla="*/ 6908 h 10000"/>
                    <a:gd name="connsiteX130" fmla="*/ 889 w 10000"/>
                    <a:gd name="connsiteY130" fmla="*/ 6976 h 10000"/>
                    <a:gd name="connsiteX131" fmla="*/ 889 w 10000"/>
                    <a:gd name="connsiteY131" fmla="*/ 6976 h 10000"/>
                    <a:gd name="connsiteX132" fmla="*/ 500 w 10000"/>
                    <a:gd name="connsiteY132" fmla="*/ 7050 h 10000"/>
                    <a:gd name="connsiteX133" fmla="*/ 222 w 10000"/>
                    <a:gd name="connsiteY133" fmla="*/ 7124 h 10000"/>
                    <a:gd name="connsiteX134" fmla="*/ 0 w 10000"/>
                    <a:gd name="connsiteY134" fmla="*/ 7200 h 10000"/>
                    <a:gd name="connsiteX135" fmla="*/ 0 w 10000"/>
                    <a:gd name="connsiteY135" fmla="*/ 720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222 w 10000"/>
                    <a:gd name="connsiteY2" fmla="*/ 9927 h 10000"/>
                    <a:gd name="connsiteX3" fmla="*/ 8944 w 10000"/>
                    <a:gd name="connsiteY3" fmla="*/ 9927 h 10000"/>
                    <a:gd name="connsiteX4" fmla="*/ 8833 w 10000"/>
                    <a:gd name="connsiteY4" fmla="*/ 9857 h 10000"/>
                    <a:gd name="connsiteX5" fmla="*/ 8778 w 10000"/>
                    <a:gd name="connsiteY5" fmla="*/ 9782 h 10000"/>
                    <a:gd name="connsiteX6" fmla="*/ 8778 w 10000"/>
                    <a:gd name="connsiteY6" fmla="*/ 9782 h 10000"/>
                    <a:gd name="connsiteX7" fmla="*/ 8444 w 10000"/>
                    <a:gd name="connsiteY7" fmla="*/ 8915 h 10000"/>
                    <a:gd name="connsiteX8" fmla="*/ 8167 w 10000"/>
                    <a:gd name="connsiteY8" fmla="*/ 8129 h 10000"/>
                    <a:gd name="connsiteX9" fmla="*/ 8167 w 10000"/>
                    <a:gd name="connsiteY9" fmla="*/ 8129 h 10000"/>
                    <a:gd name="connsiteX10" fmla="*/ 8056 w 10000"/>
                    <a:gd name="connsiteY10" fmla="*/ 7987 h 10000"/>
                    <a:gd name="connsiteX11" fmla="*/ 7889 w 10000"/>
                    <a:gd name="connsiteY11" fmla="*/ 7842 h 10000"/>
                    <a:gd name="connsiteX12" fmla="*/ 7444 w 10000"/>
                    <a:gd name="connsiteY12" fmla="*/ 7765 h 10000"/>
                    <a:gd name="connsiteX13" fmla="*/ 6889 w 10000"/>
                    <a:gd name="connsiteY13" fmla="*/ 7695 h 10000"/>
                    <a:gd name="connsiteX14" fmla="*/ 6389 w 10000"/>
                    <a:gd name="connsiteY14" fmla="*/ 7695 h 10000"/>
                    <a:gd name="connsiteX15" fmla="*/ 6389 w 10000"/>
                    <a:gd name="connsiteY15" fmla="*/ 7695 h 10000"/>
                    <a:gd name="connsiteX16" fmla="*/ 6167 w 10000"/>
                    <a:gd name="connsiteY16" fmla="*/ 7622 h 10000"/>
                    <a:gd name="connsiteX17" fmla="*/ 6056 w 10000"/>
                    <a:gd name="connsiteY17" fmla="*/ 7484 h 10000"/>
                    <a:gd name="connsiteX18" fmla="*/ 6000 w 10000"/>
                    <a:gd name="connsiteY18" fmla="*/ 7339 h 10000"/>
                    <a:gd name="connsiteX19" fmla="*/ 6000 w 10000"/>
                    <a:gd name="connsiteY19" fmla="*/ 7050 h 10000"/>
                    <a:gd name="connsiteX20" fmla="*/ 6056 w 10000"/>
                    <a:gd name="connsiteY20" fmla="*/ 6471 h 10000"/>
                    <a:gd name="connsiteX21" fmla="*/ 6111 w 10000"/>
                    <a:gd name="connsiteY21" fmla="*/ 6185 h 10000"/>
                    <a:gd name="connsiteX22" fmla="*/ 6056 w 10000"/>
                    <a:gd name="connsiteY22" fmla="*/ 5829 h 10000"/>
                    <a:gd name="connsiteX23" fmla="*/ 6056 w 10000"/>
                    <a:gd name="connsiteY23" fmla="*/ 5829 h 10000"/>
                    <a:gd name="connsiteX24" fmla="*/ 6000 w 10000"/>
                    <a:gd name="connsiteY24" fmla="*/ 5609 h 10000"/>
                    <a:gd name="connsiteX25" fmla="*/ 5944 w 10000"/>
                    <a:gd name="connsiteY25" fmla="*/ 5464 h 10000"/>
                    <a:gd name="connsiteX26" fmla="*/ 5833 w 10000"/>
                    <a:gd name="connsiteY26" fmla="*/ 5464 h 10000"/>
                    <a:gd name="connsiteX27" fmla="*/ 5667 w 10000"/>
                    <a:gd name="connsiteY27" fmla="*/ 5539 h 10000"/>
                    <a:gd name="connsiteX28" fmla="*/ 5333 w 10000"/>
                    <a:gd name="connsiteY28" fmla="*/ 5752 h 10000"/>
                    <a:gd name="connsiteX29" fmla="*/ 4889 w 10000"/>
                    <a:gd name="connsiteY29" fmla="*/ 6117 h 10000"/>
                    <a:gd name="connsiteX30" fmla="*/ 4889 w 10000"/>
                    <a:gd name="connsiteY30" fmla="*/ 6117 h 10000"/>
                    <a:gd name="connsiteX31" fmla="*/ 4611 w 10000"/>
                    <a:gd name="connsiteY31" fmla="*/ 6185 h 10000"/>
                    <a:gd name="connsiteX32" fmla="*/ 4500 w 10000"/>
                    <a:gd name="connsiteY32" fmla="*/ 6185 h 10000"/>
                    <a:gd name="connsiteX33" fmla="*/ 4444 w 10000"/>
                    <a:gd name="connsiteY33" fmla="*/ 6117 h 10000"/>
                    <a:gd name="connsiteX34" fmla="*/ 4389 w 10000"/>
                    <a:gd name="connsiteY34" fmla="*/ 5829 h 10000"/>
                    <a:gd name="connsiteX35" fmla="*/ 4222 w 10000"/>
                    <a:gd name="connsiteY35" fmla="*/ 5464 h 10000"/>
                    <a:gd name="connsiteX36" fmla="*/ 4222 w 10000"/>
                    <a:gd name="connsiteY36" fmla="*/ 5464 h 10000"/>
                    <a:gd name="connsiteX37" fmla="*/ 4111 w 10000"/>
                    <a:gd name="connsiteY37" fmla="*/ 5254 h 10000"/>
                    <a:gd name="connsiteX38" fmla="*/ 4111 w 10000"/>
                    <a:gd name="connsiteY38" fmla="*/ 5035 h 10000"/>
                    <a:gd name="connsiteX39" fmla="*/ 4111 w 10000"/>
                    <a:gd name="connsiteY39" fmla="*/ 4889 h 10000"/>
                    <a:gd name="connsiteX40" fmla="*/ 4167 w 10000"/>
                    <a:gd name="connsiteY40" fmla="*/ 4750 h 10000"/>
                    <a:gd name="connsiteX41" fmla="*/ 4278 w 10000"/>
                    <a:gd name="connsiteY41" fmla="*/ 4459 h 10000"/>
                    <a:gd name="connsiteX42" fmla="*/ 4389 w 10000"/>
                    <a:gd name="connsiteY42" fmla="*/ 4388 h 10000"/>
                    <a:gd name="connsiteX43" fmla="*/ 4389 w 10000"/>
                    <a:gd name="connsiteY43" fmla="*/ 4388 h 10000"/>
                    <a:gd name="connsiteX44" fmla="*/ 4389 w 10000"/>
                    <a:gd name="connsiteY44" fmla="*/ 4320 h 10000"/>
                    <a:gd name="connsiteX45" fmla="*/ 4444 w 10000"/>
                    <a:gd name="connsiteY45" fmla="*/ 4245 h 10000"/>
                    <a:gd name="connsiteX46" fmla="*/ 4667 w 10000"/>
                    <a:gd name="connsiteY46" fmla="*/ 4170 h 10000"/>
                    <a:gd name="connsiteX47" fmla="*/ 5333 w 10000"/>
                    <a:gd name="connsiteY47" fmla="*/ 4031 h 10000"/>
                    <a:gd name="connsiteX48" fmla="*/ 6500 w 10000"/>
                    <a:gd name="connsiteY48" fmla="*/ 3815 h 10000"/>
                    <a:gd name="connsiteX49" fmla="*/ 6500 w 10000"/>
                    <a:gd name="connsiteY49" fmla="*/ 3815 h 10000"/>
                    <a:gd name="connsiteX50" fmla="*/ 7167 w 10000"/>
                    <a:gd name="connsiteY50" fmla="*/ 3598 h 10000"/>
                    <a:gd name="connsiteX51" fmla="*/ 8389 w 10000"/>
                    <a:gd name="connsiteY51" fmla="*/ 3165 h 10000"/>
                    <a:gd name="connsiteX52" fmla="*/ 8389 w 10000"/>
                    <a:gd name="connsiteY52" fmla="*/ 3165 h 10000"/>
                    <a:gd name="connsiteX53" fmla="*/ 8667 w 10000"/>
                    <a:gd name="connsiteY53" fmla="*/ 3013 h 10000"/>
                    <a:gd name="connsiteX54" fmla="*/ 8778 w 10000"/>
                    <a:gd name="connsiteY54" fmla="*/ 2803 h 10000"/>
                    <a:gd name="connsiteX55" fmla="*/ 8889 w 10000"/>
                    <a:gd name="connsiteY55" fmla="*/ 2660 h 10000"/>
                    <a:gd name="connsiteX56" fmla="*/ 8833 w 10000"/>
                    <a:gd name="connsiteY56" fmla="*/ 2516 h 10000"/>
                    <a:gd name="connsiteX57" fmla="*/ 8833 w 10000"/>
                    <a:gd name="connsiteY57" fmla="*/ 2372 h 10000"/>
                    <a:gd name="connsiteX58" fmla="*/ 8722 w 10000"/>
                    <a:gd name="connsiteY58" fmla="*/ 2228 h 10000"/>
                    <a:gd name="connsiteX59" fmla="*/ 8556 w 10000"/>
                    <a:gd name="connsiteY59" fmla="*/ 2014 h 10000"/>
                    <a:gd name="connsiteX60" fmla="*/ 8556 w 10000"/>
                    <a:gd name="connsiteY60" fmla="*/ 2014 h 10000"/>
                    <a:gd name="connsiteX61" fmla="*/ 6556 w 10000"/>
                    <a:gd name="connsiteY61" fmla="*/ 722 h 10000"/>
                    <a:gd name="connsiteX62" fmla="*/ 6556 w 10000"/>
                    <a:gd name="connsiteY62" fmla="*/ 722 h 10000"/>
                    <a:gd name="connsiteX63" fmla="*/ 6333 w 10000"/>
                    <a:gd name="connsiteY63" fmla="*/ 510 h 10000"/>
                    <a:gd name="connsiteX64" fmla="*/ 6167 w 10000"/>
                    <a:gd name="connsiteY64" fmla="*/ 291 h 10000"/>
                    <a:gd name="connsiteX65" fmla="*/ 6056 w 10000"/>
                    <a:gd name="connsiteY65" fmla="*/ 73 h 10000"/>
                    <a:gd name="connsiteX66" fmla="*/ 6056 w 10000"/>
                    <a:gd name="connsiteY66" fmla="*/ 73 h 10000"/>
                    <a:gd name="connsiteX67" fmla="*/ 8056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722 w 10000"/>
                    <a:gd name="connsiteY71" fmla="*/ 9857 h 10000"/>
                    <a:gd name="connsiteX72" fmla="*/ 9389 w 10000"/>
                    <a:gd name="connsiteY72" fmla="*/ 9927 h 10000"/>
                    <a:gd name="connsiteX73" fmla="*/ 9389 w 10000"/>
                    <a:gd name="connsiteY73" fmla="*/ 9927 h 10000"/>
                    <a:gd name="connsiteX74" fmla="*/ 9278 w 10000"/>
                    <a:gd name="connsiteY74" fmla="*/ 10000 h 10000"/>
                    <a:gd name="connsiteX75" fmla="*/ 9056 w 10000"/>
                    <a:gd name="connsiteY75" fmla="*/ 9927 h 10000"/>
                    <a:gd name="connsiteX76" fmla="*/ 8889 w 10000"/>
                    <a:gd name="connsiteY76" fmla="*/ 9857 h 10000"/>
                    <a:gd name="connsiteX77" fmla="*/ 8722 w 10000"/>
                    <a:gd name="connsiteY77" fmla="*/ 9707 h 10000"/>
                    <a:gd name="connsiteX78" fmla="*/ 8611 w 10000"/>
                    <a:gd name="connsiteY78" fmla="*/ 9494 h 10000"/>
                    <a:gd name="connsiteX79" fmla="*/ 8444 w 10000"/>
                    <a:gd name="connsiteY79" fmla="*/ 9137 h 10000"/>
                    <a:gd name="connsiteX80" fmla="*/ 8444 w 10000"/>
                    <a:gd name="connsiteY80" fmla="*/ 9137 h 10000"/>
                    <a:gd name="connsiteX81" fmla="*/ 8222 w 10000"/>
                    <a:gd name="connsiteY81" fmla="*/ 8492 h 10000"/>
                    <a:gd name="connsiteX82" fmla="*/ 8111 w 10000"/>
                    <a:gd name="connsiteY82" fmla="*/ 8199 h 10000"/>
                    <a:gd name="connsiteX83" fmla="*/ 7944 w 10000"/>
                    <a:gd name="connsiteY83" fmla="*/ 7987 h 10000"/>
                    <a:gd name="connsiteX84" fmla="*/ 7778 w 10000"/>
                    <a:gd name="connsiteY84" fmla="*/ 7842 h 10000"/>
                    <a:gd name="connsiteX85" fmla="*/ 7556 w 10000"/>
                    <a:gd name="connsiteY85" fmla="*/ 7765 h 10000"/>
                    <a:gd name="connsiteX86" fmla="*/ 7333 w 10000"/>
                    <a:gd name="connsiteY86" fmla="*/ 7695 h 10000"/>
                    <a:gd name="connsiteX87" fmla="*/ 7000 w 10000"/>
                    <a:gd name="connsiteY87" fmla="*/ 7622 h 10000"/>
                    <a:gd name="connsiteX88" fmla="*/ 7000 w 10000"/>
                    <a:gd name="connsiteY88" fmla="*/ 7622 h 10000"/>
                    <a:gd name="connsiteX89" fmla="*/ 6556 w 10000"/>
                    <a:gd name="connsiteY89" fmla="*/ 7695 h 10000"/>
                    <a:gd name="connsiteX90" fmla="*/ 6222 w 10000"/>
                    <a:gd name="connsiteY90" fmla="*/ 7695 h 10000"/>
                    <a:gd name="connsiteX91" fmla="*/ 6111 w 10000"/>
                    <a:gd name="connsiteY91" fmla="*/ 7622 h 10000"/>
                    <a:gd name="connsiteX92" fmla="*/ 6056 w 10000"/>
                    <a:gd name="connsiteY92" fmla="*/ 7550 h 10000"/>
                    <a:gd name="connsiteX93" fmla="*/ 6056 w 10000"/>
                    <a:gd name="connsiteY93" fmla="*/ 7550 h 10000"/>
                    <a:gd name="connsiteX94" fmla="*/ 6056 w 10000"/>
                    <a:gd name="connsiteY94" fmla="*/ 6257 h 10000"/>
                    <a:gd name="connsiteX95" fmla="*/ 6056 w 10000"/>
                    <a:gd name="connsiteY95" fmla="*/ 6257 h 10000"/>
                    <a:gd name="connsiteX96" fmla="*/ 6056 w 10000"/>
                    <a:gd name="connsiteY96" fmla="*/ 5968 h 10000"/>
                    <a:gd name="connsiteX97" fmla="*/ 5944 w 10000"/>
                    <a:gd name="connsiteY97" fmla="*/ 5609 h 10000"/>
                    <a:gd name="connsiteX98" fmla="*/ 5889 w 10000"/>
                    <a:gd name="connsiteY98" fmla="*/ 5539 h 10000"/>
                    <a:gd name="connsiteX99" fmla="*/ 5778 w 10000"/>
                    <a:gd name="connsiteY99" fmla="*/ 5464 h 10000"/>
                    <a:gd name="connsiteX100" fmla="*/ 5667 w 10000"/>
                    <a:gd name="connsiteY100" fmla="*/ 5464 h 10000"/>
                    <a:gd name="connsiteX101" fmla="*/ 5500 w 10000"/>
                    <a:gd name="connsiteY101" fmla="*/ 5539 h 10000"/>
                    <a:gd name="connsiteX102" fmla="*/ 5500 w 10000"/>
                    <a:gd name="connsiteY102" fmla="*/ 5539 h 10000"/>
                    <a:gd name="connsiteX103" fmla="*/ 4889 w 10000"/>
                    <a:gd name="connsiteY103" fmla="*/ 6042 h 10000"/>
                    <a:gd name="connsiteX104" fmla="*/ 4611 w 10000"/>
                    <a:gd name="connsiteY104" fmla="*/ 6185 h 10000"/>
                    <a:gd name="connsiteX105" fmla="*/ 4556 w 10000"/>
                    <a:gd name="connsiteY105" fmla="*/ 6257 h 10000"/>
                    <a:gd name="connsiteX106" fmla="*/ 4500 w 10000"/>
                    <a:gd name="connsiteY106" fmla="*/ 6185 h 10000"/>
                    <a:gd name="connsiteX107" fmla="*/ 4500 w 10000"/>
                    <a:gd name="connsiteY107" fmla="*/ 6185 h 10000"/>
                    <a:gd name="connsiteX108" fmla="*/ 4222 w 10000"/>
                    <a:gd name="connsiteY108" fmla="*/ 5464 h 10000"/>
                    <a:gd name="connsiteX109" fmla="*/ 4222 w 10000"/>
                    <a:gd name="connsiteY109" fmla="*/ 5464 h 10000"/>
                    <a:gd name="connsiteX110" fmla="*/ 4111 w 10000"/>
                    <a:gd name="connsiteY110" fmla="*/ 5108 h 10000"/>
                    <a:gd name="connsiteX111" fmla="*/ 4111 w 10000"/>
                    <a:gd name="connsiteY111" fmla="*/ 4889 h 10000"/>
                    <a:gd name="connsiteX112" fmla="*/ 4111 w 10000"/>
                    <a:gd name="connsiteY112" fmla="*/ 4676 h 10000"/>
                    <a:gd name="connsiteX113" fmla="*/ 4111 w 10000"/>
                    <a:gd name="connsiteY113" fmla="*/ 4676 h 10000"/>
                    <a:gd name="connsiteX114" fmla="*/ 4278 w 10000"/>
                    <a:gd name="connsiteY114" fmla="*/ 4459 h 10000"/>
                    <a:gd name="connsiteX115" fmla="*/ 4389 w 10000"/>
                    <a:gd name="connsiteY115" fmla="*/ 4388 h 10000"/>
                    <a:gd name="connsiteX116" fmla="*/ 4389 w 10000"/>
                    <a:gd name="connsiteY116" fmla="*/ 4388 h 10000"/>
                    <a:gd name="connsiteX117" fmla="*/ 4000 w 10000"/>
                    <a:gd name="connsiteY117" fmla="*/ 4388 h 10000"/>
                    <a:gd name="connsiteX118" fmla="*/ 3722 w 10000"/>
                    <a:gd name="connsiteY118" fmla="*/ 4459 h 10000"/>
                    <a:gd name="connsiteX119" fmla="*/ 3611 w 10000"/>
                    <a:gd name="connsiteY119" fmla="*/ 4537 h 10000"/>
                    <a:gd name="connsiteX120" fmla="*/ 3556 w 10000"/>
                    <a:gd name="connsiteY120" fmla="*/ 4603 h 10000"/>
                    <a:gd name="connsiteX121" fmla="*/ 3556 w 10000"/>
                    <a:gd name="connsiteY121" fmla="*/ 4603 h 10000"/>
                    <a:gd name="connsiteX122" fmla="*/ 3444 w 10000"/>
                    <a:gd name="connsiteY122" fmla="*/ 4889 h 10000"/>
                    <a:gd name="connsiteX123" fmla="*/ 3278 w 10000"/>
                    <a:gd name="connsiteY123" fmla="*/ 5323 h 10000"/>
                    <a:gd name="connsiteX124" fmla="*/ 3000 w 10000"/>
                    <a:gd name="connsiteY124" fmla="*/ 5829 h 10000"/>
                    <a:gd name="connsiteX125" fmla="*/ 2667 w 10000"/>
                    <a:gd name="connsiteY125" fmla="*/ 6185 h 10000"/>
                    <a:gd name="connsiteX126" fmla="*/ 2667 w 10000"/>
                    <a:gd name="connsiteY126" fmla="*/ 6185 h 10000"/>
                    <a:gd name="connsiteX127" fmla="*/ 2333 w 10000"/>
                    <a:gd name="connsiteY127" fmla="*/ 6471 h 10000"/>
                    <a:gd name="connsiteX128" fmla="*/ 1833 w 10000"/>
                    <a:gd name="connsiteY128" fmla="*/ 6762 h 10000"/>
                    <a:gd name="connsiteX129" fmla="*/ 1389 w 10000"/>
                    <a:gd name="connsiteY129" fmla="*/ 6908 h 10000"/>
                    <a:gd name="connsiteX130" fmla="*/ 889 w 10000"/>
                    <a:gd name="connsiteY130" fmla="*/ 6976 h 10000"/>
                    <a:gd name="connsiteX131" fmla="*/ 889 w 10000"/>
                    <a:gd name="connsiteY131" fmla="*/ 6976 h 10000"/>
                    <a:gd name="connsiteX132" fmla="*/ 500 w 10000"/>
                    <a:gd name="connsiteY132" fmla="*/ 7050 h 10000"/>
                    <a:gd name="connsiteX133" fmla="*/ 222 w 10000"/>
                    <a:gd name="connsiteY133" fmla="*/ 7124 h 10000"/>
                    <a:gd name="connsiteX134" fmla="*/ 0 w 10000"/>
                    <a:gd name="connsiteY134" fmla="*/ 7200 h 10000"/>
                    <a:gd name="connsiteX0" fmla="*/ 9778 w 9778"/>
                    <a:gd name="connsiteY0" fmla="*/ 9857 h 10000"/>
                    <a:gd name="connsiteX1" fmla="*/ 9778 w 9778"/>
                    <a:gd name="connsiteY1" fmla="*/ 9857 h 10000"/>
                    <a:gd name="connsiteX2" fmla="*/ 9000 w 9778"/>
                    <a:gd name="connsiteY2" fmla="*/ 9927 h 10000"/>
                    <a:gd name="connsiteX3" fmla="*/ 8722 w 9778"/>
                    <a:gd name="connsiteY3" fmla="*/ 9927 h 10000"/>
                    <a:gd name="connsiteX4" fmla="*/ 8611 w 9778"/>
                    <a:gd name="connsiteY4" fmla="*/ 9857 h 10000"/>
                    <a:gd name="connsiteX5" fmla="*/ 8556 w 9778"/>
                    <a:gd name="connsiteY5" fmla="*/ 9782 h 10000"/>
                    <a:gd name="connsiteX6" fmla="*/ 8556 w 9778"/>
                    <a:gd name="connsiteY6" fmla="*/ 9782 h 10000"/>
                    <a:gd name="connsiteX7" fmla="*/ 8222 w 9778"/>
                    <a:gd name="connsiteY7" fmla="*/ 8915 h 10000"/>
                    <a:gd name="connsiteX8" fmla="*/ 7945 w 9778"/>
                    <a:gd name="connsiteY8" fmla="*/ 8129 h 10000"/>
                    <a:gd name="connsiteX9" fmla="*/ 7945 w 9778"/>
                    <a:gd name="connsiteY9" fmla="*/ 8129 h 10000"/>
                    <a:gd name="connsiteX10" fmla="*/ 7834 w 9778"/>
                    <a:gd name="connsiteY10" fmla="*/ 7987 h 10000"/>
                    <a:gd name="connsiteX11" fmla="*/ 7667 w 9778"/>
                    <a:gd name="connsiteY11" fmla="*/ 7842 h 10000"/>
                    <a:gd name="connsiteX12" fmla="*/ 7222 w 9778"/>
                    <a:gd name="connsiteY12" fmla="*/ 7765 h 10000"/>
                    <a:gd name="connsiteX13" fmla="*/ 6667 w 9778"/>
                    <a:gd name="connsiteY13" fmla="*/ 7695 h 10000"/>
                    <a:gd name="connsiteX14" fmla="*/ 6167 w 9778"/>
                    <a:gd name="connsiteY14" fmla="*/ 7695 h 10000"/>
                    <a:gd name="connsiteX15" fmla="*/ 6167 w 9778"/>
                    <a:gd name="connsiteY15" fmla="*/ 7695 h 10000"/>
                    <a:gd name="connsiteX16" fmla="*/ 5945 w 9778"/>
                    <a:gd name="connsiteY16" fmla="*/ 7622 h 10000"/>
                    <a:gd name="connsiteX17" fmla="*/ 5834 w 9778"/>
                    <a:gd name="connsiteY17" fmla="*/ 7484 h 10000"/>
                    <a:gd name="connsiteX18" fmla="*/ 5778 w 9778"/>
                    <a:gd name="connsiteY18" fmla="*/ 7339 h 10000"/>
                    <a:gd name="connsiteX19" fmla="*/ 5778 w 9778"/>
                    <a:gd name="connsiteY19" fmla="*/ 7050 h 10000"/>
                    <a:gd name="connsiteX20" fmla="*/ 5834 w 9778"/>
                    <a:gd name="connsiteY20" fmla="*/ 6471 h 10000"/>
                    <a:gd name="connsiteX21" fmla="*/ 5889 w 9778"/>
                    <a:gd name="connsiteY21" fmla="*/ 6185 h 10000"/>
                    <a:gd name="connsiteX22" fmla="*/ 5834 w 9778"/>
                    <a:gd name="connsiteY22" fmla="*/ 5829 h 10000"/>
                    <a:gd name="connsiteX23" fmla="*/ 5834 w 9778"/>
                    <a:gd name="connsiteY23" fmla="*/ 5829 h 10000"/>
                    <a:gd name="connsiteX24" fmla="*/ 5778 w 9778"/>
                    <a:gd name="connsiteY24" fmla="*/ 5609 h 10000"/>
                    <a:gd name="connsiteX25" fmla="*/ 5722 w 9778"/>
                    <a:gd name="connsiteY25" fmla="*/ 5464 h 10000"/>
                    <a:gd name="connsiteX26" fmla="*/ 5611 w 9778"/>
                    <a:gd name="connsiteY26" fmla="*/ 5464 h 10000"/>
                    <a:gd name="connsiteX27" fmla="*/ 5445 w 9778"/>
                    <a:gd name="connsiteY27" fmla="*/ 5539 h 10000"/>
                    <a:gd name="connsiteX28" fmla="*/ 5111 w 9778"/>
                    <a:gd name="connsiteY28" fmla="*/ 5752 h 10000"/>
                    <a:gd name="connsiteX29" fmla="*/ 4667 w 9778"/>
                    <a:gd name="connsiteY29" fmla="*/ 6117 h 10000"/>
                    <a:gd name="connsiteX30" fmla="*/ 4667 w 9778"/>
                    <a:gd name="connsiteY30" fmla="*/ 6117 h 10000"/>
                    <a:gd name="connsiteX31" fmla="*/ 4389 w 9778"/>
                    <a:gd name="connsiteY31" fmla="*/ 6185 h 10000"/>
                    <a:gd name="connsiteX32" fmla="*/ 4278 w 9778"/>
                    <a:gd name="connsiteY32" fmla="*/ 6185 h 10000"/>
                    <a:gd name="connsiteX33" fmla="*/ 4222 w 9778"/>
                    <a:gd name="connsiteY33" fmla="*/ 6117 h 10000"/>
                    <a:gd name="connsiteX34" fmla="*/ 4167 w 9778"/>
                    <a:gd name="connsiteY34" fmla="*/ 5829 h 10000"/>
                    <a:gd name="connsiteX35" fmla="*/ 4000 w 9778"/>
                    <a:gd name="connsiteY35" fmla="*/ 5464 h 10000"/>
                    <a:gd name="connsiteX36" fmla="*/ 4000 w 9778"/>
                    <a:gd name="connsiteY36" fmla="*/ 5464 h 10000"/>
                    <a:gd name="connsiteX37" fmla="*/ 3889 w 9778"/>
                    <a:gd name="connsiteY37" fmla="*/ 5254 h 10000"/>
                    <a:gd name="connsiteX38" fmla="*/ 3889 w 9778"/>
                    <a:gd name="connsiteY38" fmla="*/ 5035 h 10000"/>
                    <a:gd name="connsiteX39" fmla="*/ 3889 w 9778"/>
                    <a:gd name="connsiteY39" fmla="*/ 4889 h 10000"/>
                    <a:gd name="connsiteX40" fmla="*/ 3945 w 9778"/>
                    <a:gd name="connsiteY40" fmla="*/ 4750 h 10000"/>
                    <a:gd name="connsiteX41" fmla="*/ 4056 w 9778"/>
                    <a:gd name="connsiteY41" fmla="*/ 4459 h 10000"/>
                    <a:gd name="connsiteX42" fmla="*/ 4167 w 9778"/>
                    <a:gd name="connsiteY42" fmla="*/ 4388 h 10000"/>
                    <a:gd name="connsiteX43" fmla="*/ 4167 w 9778"/>
                    <a:gd name="connsiteY43" fmla="*/ 4388 h 10000"/>
                    <a:gd name="connsiteX44" fmla="*/ 4167 w 9778"/>
                    <a:gd name="connsiteY44" fmla="*/ 4320 h 10000"/>
                    <a:gd name="connsiteX45" fmla="*/ 4222 w 9778"/>
                    <a:gd name="connsiteY45" fmla="*/ 4245 h 10000"/>
                    <a:gd name="connsiteX46" fmla="*/ 4445 w 9778"/>
                    <a:gd name="connsiteY46" fmla="*/ 4170 h 10000"/>
                    <a:gd name="connsiteX47" fmla="*/ 5111 w 9778"/>
                    <a:gd name="connsiteY47" fmla="*/ 4031 h 10000"/>
                    <a:gd name="connsiteX48" fmla="*/ 6278 w 9778"/>
                    <a:gd name="connsiteY48" fmla="*/ 3815 h 10000"/>
                    <a:gd name="connsiteX49" fmla="*/ 6278 w 9778"/>
                    <a:gd name="connsiteY49" fmla="*/ 3815 h 10000"/>
                    <a:gd name="connsiteX50" fmla="*/ 6945 w 9778"/>
                    <a:gd name="connsiteY50" fmla="*/ 3598 h 10000"/>
                    <a:gd name="connsiteX51" fmla="*/ 8167 w 9778"/>
                    <a:gd name="connsiteY51" fmla="*/ 3165 h 10000"/>
                    <a:gd name="connsiteX52" fmla="*/ 8167 w 9778"/>
                    <a:gd name="connsiteY52" fmla="*/ 3165 h 10000"/>
                    <a:gd name="connsiteX53" fmla="*/ 8445 w 9778"/>
                    <a:gd name="connsiteY53" fmla="*/ 3013 h 10000"/>
                    <a:gd name="connsiteX54" fmla="*/ 8556 w 9778"/>
                    <a:gd name="connsiteY54" fmla="*/ 2803 h 10000"/>
                    <a:gd name="connsiteX55" fmla="*/ 8667 w 9778"/>
                    <a:gd name="connsiteY55" fmla="*/ 2660 h 10000"/>
                    <a:gd name="connsiteX56" fmla="*/ 8611 w 9778"/>
                    <a:gd name="connsiteY56" fmla="*/ 2516 h 10000"/>
                    <a:gd name="connsiteX57" fmla="*/ 8611 w 9778"/>
                    <a:gd name="connsiteY57" fmla="*/ 2372 h 10000"/>
                    <a:gd name="connsiteX58" fmla="*/ 8500 w 9778"/>
                    <a:gd name="connsiteY58" fmla="*/ 2228 h 10000"/>
                    <a:gd name="connsiteX59" fmla="*/ 8334 w 9778"/>
                    <a:gd name="connsiteY59" fmla="*/ 2014 h 10000"/>
                    <a:gd name="connsiteX60" fmla="*/ 8334 w 9778"/>
                    <a:gd name="connsiteY60" fmla="*/ 2014 h 10000"/>
                    <a:gd name="connsiteX61" fmla="*/ 6334 w 9778"/>
                    <a:gd name="connsiteY61" fmla="*/ 722 h 10000"/>
                    <a:gd name="connsiteX62" fmla="*/ 6334 w 9778"/>
                    <a:gd name="connsiteY62" fmla="*/ 722 h 10000"/>
                    <a:gd name="connsiteX63" fmla="*/ 6111 w 9778"/>
                    <a:gd name="connsiteY63" fmla="*/ 510 h 10000"/>
                    <a:gd name="connsiteX64" fmla="*/ 5945 w 9778"/>
                    <a:gd name="connsiteY64" fmla="*/ 291 h 10000"/>
                    <a:gd name="connsiteX65" fmla="*/ 5834 w 9778"/>
                    <a:gd name="connsiteY65" fmla="*/ 73 h 10000"/>
                    <a:gd name="connsiteX66" fmla="*/ 5834 w 9778"/>
                    <a:gd name="connsiteY66" fmla="*/ 73 h 10000"/>
                    <a:gd name="connsiteX67" fmla="*/ 7834 w 9778"/>
                    <a:gd name="connsiteY67" fmla="*/ 0 h 10000"/>
                    <a:gd name="connsiteX68" fmla="*/ 9778 w 9778"/>
                    <a:gd name="connsiteY68" fmla="*/ 722 h 10000"/>
                    <a:gd name="connsiteX69" fmla="*/ 9778 w 9778"/>
                    <a:gd name="connsiteY69" fmla="*/ 9927 h 10000"/>
                    <a:gd name="connsiteX70" fmla="*/ 9778 w 9778"/>
                    <a:gd name="connsiteY70" fmla="*/ 9927 h 10000"/>
                    <a:gd name="connsiteX71" fmla="*/ 9500 w 9778"/>
                    <a:gd name="connsiteY71" fmla="*/ 9857 h 10000"/>
                    <a:gd name="connsiteX72" fmla="*/ 9167 w 9778"/>
                    <a:gd name="connsiteY72" fmla="*/ 9927 h 10000"/>
                    <a:gd name="connsiteX73" fmla="*/ 9167 w 9778"/>
                    <a:gd name="connsiteY73" fmla="*/ 9927 h 10000"/>
                    <a:gd name="connsiteX74" fmla="*/ 9056 w 9778"/>
                    <a:gd name="connsiteY74" fmla="*/ 10000 h 10000"/>
                    <a:gd name="connsiteX75" fmla="*/ 8834 w 9778"/>
                    <a:gd name="connsiteY75" fmla="*/ 9927 h 10000"/>
                    <a:gd name="connsiteX76" fmla="*/ 8667 w 9778"/>
                    <a:gd name="connsiteY76" fmla="*/ 9857 h 10000"/>
                    <a:gd name="connsiteX77" fmla="*/ 8500 w 9778"/>
                    <a:gd name="connsiteY77" fmla="*/ 9707 h 10000"/>
                    <a:gd name="connsiteX78" fmla="*/ 8389 w 9778"/>
                    <a:gd name="connsiteY78" fmla="*/ 9494 h 10000"/>
                    <a:gd name="connsiteX79" fmla="*/ 8222 w 9778"/>
                    <a:gd name="connsiteY79" fmla="*/ 9137 h 10000"/>
                    <a:gd name="connsiteX80" fmla="*/ 8222 w 9778"/>
                    <a:gd name="connsiteY80" fmla="*/ 9137 h 10000"/>
                    <a:gd name="connsiteX81" fmla="*/ 8000 w 9778"/>
                    <a:gd name="connsiteY81" fmla="*/ 8492 h 10000"/>
                    <a:gd name="connsiteX82" fmla="*/ 7889 w 9778"/>
                    <a:gd name="connsiteY82" fmla="*/ 8199 h 10000"/>
                    <a:gd name="connsiteX83" fmla="*/ 7722 w 9778"/>
                    <a:gd name="connsiteY83" fmla="*/ 7987 h 10000"/>
                    <a:gd name="connsiteX84" fmla="*/ 7556 w 9778"/>
                    <a:gd name="connsiteY84" fmla="*/ 7842 h 10000"/>
                    <a:gd name="connsiteX85" fmla="*/ 7334 w 9778"/>
                    <a:gd name="connsiteY85" fmla="*/ 7765 h 10000"/>
                    <a:gd name="connsiteX86" fmla="*/ 7111 w 9778"/>
                    <a:gd name="connsiteY86" fmla="*/ 7695 h 10000"/>
                    <a:gd name="connsiteX87" fmla="*/ 6778 w 9778"/>
                    <a:gd name="connsiteY87" fmla="*/ 7622 h 10000"/>
                    <a:gd name="connsiteX88" fmla="*/ 6778 w 9778"/>
                    <a:gd name="connsiteY88" fmla="*/ 7622 h 10000"/>
                    <a:gd name="connsiteX89" fmla="*/ 6334 w 9778"/>
                    <a:gd name="connsiteY89" fmla="*/ 7695 h 10000"/>
                    <a:gd name="connsiteX90" fmla="*/ 6000 w 9778"/>
                    <a:gd name="connsiteY90" fmla="*/ 7695 h 10000"/>
                    <a:gd name="connsiteX91" fmla="*/ 5889 w 9778"/>
                    <a:gd name="connsiteY91" fmla="*/ 7622 h 10000"/>
                    <a:gd name="connsiteX92" fmla="*/ 5834 w 9778"/>
                    <a:gd name="connsiteY92" fmla="*/ 7550 h 10000"/>
                    <a:gd name="connsiteX93" fmla="*/ 5834 w 9778"/>
                    <a:gd name="connsiteY93" fmla="*/ 7550 h 10000"/>
                    <a:gd name="connsiteX94" fmla="*/ 5834 w 9778"/>
                    <a:gd name="connsiteY94" fmla="*/ 6257 h 10000"/>
                    <a:gd name="connsiteX95" fmla="*/ 5834 w 9778"/>
                    <a:gd name="connsiteY95" fmla="*/ 6257 h 10000"/>
                    <a:gd name="connsiteX96" fmla="*/ 5834 w 9778"/>
                    <a:gd name="connsiteY96" fmla="*/ 5968 h 10000"/>
                    <a:gd name="connsiteX97" fmla="*/ 5722 w 9778"/>
                    <a:gd name="connsiteY97" fmla="*/ 5609 h 10000"/>
                    <a:gd name="connsiteX98" fmla="*/ 5667 w 9778"/>
                    <a:gd name="connsiteY98" fmla="*/ 5539 h 10000"/>
                    <a:gd name="connsiteX99" fmla="*/ 5556 w 9778"/>
                    <a:gd name="connsiteY99" fmla="*/ 5464 h 10000"/>
                    <a:gd name="connsiteX100" fmla="*/ 5445 w 9778"/>
                    <a:gd name="connsiteY100" fmla="*/ 5464 h 10000"/>
                    <a:gd name="connsiteX101" fmla="*/ 5278 w 9778"/>
                    <a:gd name="connsiteY101" fmla="*/ 5539 h 10000"/>
                    <a:gd name="connsiteX102" fmla="*/ 5278 w 9778"/>
                    <a:gd name="connsiteY102" fmla="*/ 5539 h 10000"/>
                    <a:gd name="connsiteX103" fmla="*/ 4667 w 9778"/>
                    <a:gd name="connsiteY103" fmla="*/ 6042 h 10000"/>
                    <a:gd name="connsiteX104" fmla="*/ 4389 w 9778"/>
                    <a:gd name="connsiteY104" fmla="*/ 6185 h 10000"/>
                    <a:gd name="connsiteX105" fmla="*/ 4334 w 9778"/>
                    <a:gd name="connsiteY105" fmla="*/ 6257 h 10000"/>
                    <a:gd name="connsiteX106" fmla="*/ 4278 w 9778"/>
                    <a:gd name="connsiteY106" fmla="*/ 6185 h 10000"/>
                    <a:gd name="connsiteX107" fmla="*/ 4278 w 9778"/>
                    <a:gd name="connsiteY107" fmla="*/ 6185 h 10000"/>
                    <a:gd name="connsiteX108" fmla="*/ 4000 w 9778"/>
                    <a:gd name="connsiteY108" fmla="*/ 5464 h 10000"/>
                    <a:gd name="connsiteX109" fmla="*/ 4000 w 9778"/>
                    <a:gd name="connsiteY109" fmla="*/ 5464 h 10000"/>
                    <a:gd name="connsiteX110" fmla="*/ 3889 w 9778"/>
                    <a:gd name="connsiteY110" fmla="*/ 5108 h 10000"/>
                    <a:gd name="connsiteX111" fmla="*/ 3889 w 9778"/>
                    <a:gd name="connsiteY111" fmla="*/ 4889 h 10000"/>
                    <a:gd name="connsiteX112" fmla="*/ 3889 w 9778"/>
                    <a:gd name="connsiteY112" fmla="*/ 4676 h 10000"/>
                    <a:gd name="connsiteX113" fmla="*/ 3889 w 9778"/>
                    <a:gd name="connsiteY113" fmla="*/ 4676 h 10000"/>
                    <a:gd name="connsiteX114" fmla="*/ 4056 w 9778"/>
                    <a:gd name="connsiteY114" fmla="*/ 4459 h 10000"/>
                    <a:gd name="connsiteX115" fmla="*/ 4167 w 9778"/>
                    <a:gd name="connsiteY115" fmla="*/ 4388 h 10000"/>
                    <a:gd name="connsiteX116" fmla="*/ 4167 w 9778"/>
                    <a:gd name="connsiteY116" fmla="*/ 4388 h 10000"/>
                    <a:gd name="connsiteX117" fmla="*/ 3778 w 9778"/>
                    <a:gd name="connsiteY117" fmla="*/ 4388 h 10000"/>
                    <a:gd name="connsiteX118" fmla="*/ 3500 w 9778"/>
                    <a:gd name="connsiteY118" fmla="*/ 4459 h 10000"/>
                    <a:gd name="connsiteX119" fmla="*/ 3389 w 9778"/>
                    <a:gd name="connsiteY119" fmla="*/ 4537 h 10000"/>
                    <a:gd name="connsiteX120" fmla="*/ 3334 w 9778"/>
                    <a:gd name="connsiteY120" fmla="*/ 4603 h 10000"/>
                    <a:gd name="connsiteX121" fmla="*/ 3334 w 9778"/>
                    <a:gd name="connsiteY121" fmla="*/ 4603 h 10000"/>
                    <a:gd name="connsiteX122" fmla="*/ 3222 w 9778"/>
                    <a:gd name="connsiteY122" fmla="*/ 4889 h 10000"/>
                    <a:gd name="connsiteX123" fmla="*/ 3056 w 9778"/>
                    <a:gd name="connsiteY123" fmla="*/ 5323 h 10000"/>
                    <a:gd name="connsiteX124" fmla="*/ 2778 w 9778"/>
                    <a:gd name="connsiteY124" fmla="*/ 5829 h 10000"/>
                    <a:gd name="connsiteX125" fmla="*/ 2445 w 9778"/>
                    <a:gd name="connsiteY125" fmla="*/ 6185 h 10000"/>
                    <a:gd name="connsiteX126" fmla="*/ 2445 w 9778"/>
                    <a:gd name="connsiteY126" fmla="*/ 6185 h 10000"/>
                    <a:gd name="connsiteX127" fmla="*/ 2111 w 9778"/>
                    <a:gd name="connsiteY127" fmla="*/ 6471 h 10000"/>
                    <a:gd name="connsiteX128" fmla="*/ 1611 w 9778"/>
                    <a:gd name="connsiteY128" fmla="*/ 6762 h 10000"/>
                    <a:gd name="connsiteX129" fmla="*/ 1167 w 9778"/>
                    <a:gd name="connsiteY129" fmla="*/ 6908 h 10000"/>
                    <a:gd name="connsiteX130" fmla="*/ 667 w 9778"/>
                    <a:gd name="connsiteY130" fmla="*/ 6976 h 10000"/>
                    <a:gd name="connsiteX131" fmla="*/ 667 w 9778"/>
                    <a:gd name="connsiteY131" fmla="*/ 6976 h 10000"/>
                    <a:gd name="connsiteX132" fmla="*/ 278 w 9778"/>
                    <a:gd name="connsiteY132" fmla="*/ 7050 h 10000"/>
                    <a:gd name="connsiteX133" fmla="*/ 0 w 9778"/>
                    <a:gd name="connsiteY133" fmla="*/ 7124 h 10000"/>
                    <a:gd name="connsiteX0" fmla="*/ 9716 w 9716"/>
                    <a:gd name="connsiteY0" fmla="*/ 9857 h 10000"/>
                    <a:gd name="connsiteX1" fmla="*/ 9716 w 9716"/>
                    <a:gd name="connsiteY1" fmla="*/ 9857 h 10000"/>
                    <a:gd name="connsiteX2" fmla="*/ 8920 w 9716"/>
                    <a:gd name="connsiteY2" fmla="*/ 9927 h 10000"/>
                    <a:gd name="connsiteX3" fmla="*/ 8636 w 9716"/>
                    <a:gd name="connsiteY3" fmla="*/ 9927 h 10000"/>
                    <a:gd name="connsiteX4" fmla="*/ 8523 w 9716"/>
                    <a:gd name="connsiteY4" fmla="*/ 9857 h 10000"/>
                    <a:gd name="connsiteX5" fmla="*/ 8466 w 9716"/>
                    <a:gd name="connsiteY5" fmla="*/ 9782 h 10000"/>
                    <a:gd name="connsiteX6" fmla="*/ 8466 w 9716"/>
                    <a:gd name="connsiteY6" fmla="*/ 9782 h 10000"/>
                    <a:gd name="connsiteX7" fmla="*/ 8125 w 9716"/>
                    <a:gd name="connsiteY7" fmla="*/ 8915 h 10000"/>
                    <a:gd name="connsiteX8" fmla="*/ 7841 w 9716"/>
                    <a:gd name="connsiteY8" fmla="*/ 8129 h 10000"/>
                    <a:gd name="connsiteX9" fmla="*/ 7841 w 9716"/>
                    <a:gd name="connsiteY9" fmla="*/ 8129 h 10000"/>
                    <a:gd name="connsiteX10" fmla="*/ 7728 w 9716"/>
                    <a:gd name="connsiteY10" fmla="*/ 7987 h 10000"/>
                    <a:gd name="connsiteX11" fmla="*/ 7557 w 9716"/>
                    <a:gd name="connsiteY11" fmla="*/ 7842 h 10000"/>
                    <a:gd name="connsiteX12" fmla="*/ 7102 w 9716"/>
                    <a:gd name="connsiteY12" fmla="*/ 7765 h 10000"/>
                    <a:gd name="connsiteX13" fmla="*/ 6534 w 9716"/>
                    <a:gd name="connsiteY13" fmla="*/ 7695 h 10000"/>
                    <a:gd name="connsiteX14" fmla="*/ 6023 w 9716"/>
                    <a:gd name="connsiteY14" fmla="*/ 7695 h 10000"/>
                    <a:gd name="connsiteX15" fmla="*/ 6023 w 9716"/>
                    <a:gd name="connsiteY15" fmla="*/ 7695 h 10000"/>
                    <a:gd name="connsiteX16" fmla="*/ 5796 w 9716"/>
                    <a:gd name="connsiteY16" fmla="*/ 7622 h 10000"/>
                    <a:gd name="connsiteX17" fmla="*/ 5682 w 9716"/>
                    <a:gd name="connsiteY17" fmla="*/ 7484 h 10000"/>
                    <a:gd name="connsiteX18" fmla="*/ 5625 w 9716"/>
                    <a:gd name="connsiteY18" fmla="*/ 7339 h 10000"/>
                    <a:gd name="connsiteX19" fmla="*/ 5625 w 9716"/>
                    <a:gd name="connsiteY19" fmla="*/ 7050 h 10000"/>
                    <a:gd name="connsiteX20" fmla="*/ 5682 w 9716"/>
                    <a:gd name="connsiteY20" fmla="*/ 6471 h 10000"/>
                    <a:gd name="connsiteX21" fmla="*/ 5739 w 9716"/>
                    <a:gd name="connsiteY21" fmla="*/ 6185 h 10000"/>
                    <a:gd name="connsiteX22" fmla="*/ 5682 w 9716"/>
                    <a:gd name="connsiteY22" fmla="*/ 5829 h 10000"/>
                    <a:gd name="connsiteX23" fmla="*/ 5682 w 9716"/>
                    <a:gd name="connsiteY23" fmla="*/ 5829 h 10000"/>
                    <a:gd name="connsiteX24" fmla="*/ 5625 w 9716"/>
                    <a:gd name="connsiteY24" fmla="*/ 5609 h 10000"/>
                    <a:gd name="connsiteX25" fmla="*/ 5568 w 9716"/>
                    <a:gd name="connsiteY25" fmla="*/ 5464 h 10000"/>
                    <a:gd name="connsiteX26" fmla="*/ 5454 w 9716"/>
                    <a:gd name="connsiteY26" fmla="*/ 5464 h 10000"/>
                    <a:gd name="connsiteX27" fmla="*/ 5285 w 9716"/>
                    <a:gd name="connsiteY27" fmla="*/ 5539 h 10000"/>
                    <a:gd name="connsiteX28" fmla="*/ 4943 w 9716"/>
                    <a:gd name="connsiteY28" fmla="*/ 5752 h 10000"/>
                    <a:gd name="connsiteX29" fmla="*/ 4489 w 9716"/>
                    <a:gd name="connsiteY29" fmla="*/ 6117 h 10000"/>
                    <a:gd name="connsiteX30" fmla="*/ 4489 w 9716"/>
                    <a:gd name="connsiteY30" fmla="*/ 6117 h 10000"/>
                    <a:gd name="connsiteX31" fmla="*/ 4205 w 9716"/>
                    <a:gd name="connsiteY31" fmla="*/ 6185 h 10000"/>
                    <a:gd name="connsiteX32" fmla="*/ 4091 w 9716"/>
                    <a:gd name="connsiteY32" fmla="*/ 6185 h 10000"/>
                    <a:gd name="connsiteX33" fmla="*/ 4034 w 9716"/>
                    <a:gd name="connsiteY33" fmla="*/ 6117 h 10000"/>
                    <a:gd name="connsiteX34" fmla="*/ 3978 w 9716"/>
                    <a:gd name="connsiteY34" fmla="*/ 5829 h 10000"/>
                    <a:gd name="connsiteX35" fmla="*/ 3807 w 9716"/>
                    <a:gd name="connsiteY35" fmla="*/ 5464 h 10000"/>
                    <a:gd name="connsiteX36" fmla="*/ 3807 w 9716"/>
                    <a:gd name="connsiteY36" fmla="*/ 5464 h 10000"/>
                    <a:gd name="connsiteX37" fmla="*/ 3693 w 9716"/>
                    <a:gd name="connsiteY37" fmla="*/ 5254 h 10000"/>
                    <a:gd name="connsiteX38" fmla="*/ 3693 w 9716"/>
                    <a:gd name="connsiteY38" fmla="*/ 5035 h 10000"/>
                    <a:gd name="connsiteX39" fmla="*/ 3693 w 9716"/>
                    <a:gd name="connsiteY39" fmla="*/ 4889 h 10000"/>
                    <a:gd name="connsiteX40" fmla="*/ 3751 w 9716"/>
                    <a:gd name="connsiteY40" fmla="*/ 4750 h 10000"/>
                    <a:gd name="connsiteX41" fmla="*/ 3864 w 9716"/>
                    <a:gd name="connsiteY41" fmla="*/ 4459 h 10000"/>
                    <a:gd name="connsiteX42" fmla="*/ 3978 w 9716"/>
                    <a:gd name="connsiteY42" fmla="*/ 4388 h 10000"/>
                    <a:gd name="connsiteX43" fmla="*/ 3978 w 9716"/>
                    <a:gd name="connsiteY43" fmla="*/ 4388 h 10000"/>
                    <a:gd name="connsiteX44" fmla="*/ 3978 w 9716"/>
                    <a:gd name="connsiteY44" fmla="*/ 4320 h 10000"/>
                    <a:gd name="connsiteX45" fmla="*/ 4034 w 9716"/>
                    <a:gd name="connsiteY45" fmla="*/ 4245 h 10000"/>
                    <a:gd name="connsiteX46" fmla="*/ 4262 w 9716"/>
                    <a:gd name="connsiteY46" fmla="*/ 4170 h 10000"/>
                    <a:gd name="connsiteX47" fmla="*/ 4943 w 9716"/>
                    <a:gd name="connsiteY47" fmla="*/ 4031 h 10000"/>
                    <a:gd name="connsiteX48" fmla="*/ 6137 w 9716"/>
                    <a:gd name="connsiteY48" fmla="*/ 3815 h 10000"/>
                    <a:gd name="connsiteX49" fmla="*/ 6137 w 9716"/>
                    <a:gd name="connsiteY49" fmla="*/ 3815 h 10000"/>
                    <a:gd name="connsiteX50" fmla="*/ 6819 w 9716"/>
                    <a:gd name="connsiteY50" fmla="*/ 3598 h 10000"/>
                    <a:gd name="connsiteX51" fmla="*/ 8068 w 9716"/>
                    <a:gd name="connsiteY51" fmla="*/ 3165 h 10000"/>
                    <a:gd name="connsiteX52" fmla="*/ 8068 w 9716"/>
                    <a:gd name="connsiteY52" fmla="*/ 3165 h 10000"/>
                    <a:gd name="connsiteX53" fmla="*/ 8353 w 9716"/>
                    <a:gd name="connsiteY53" fmla="*/ 3013 h 10000"/>
                    <a:gd name="connsiteX54" fmla="*/ 8466 w 9716"/>
                    <a:gd name="connsiteY54" fmla="*/ 2803 h 10000"/>
                    <a:gd name="connsiteX55" fmla="*/ 8580 w 9716"/>
                    <a:gd name="connsiteY55" fmla="*/ 2660 h 10000"/>
                    <a:gd name="connsiteX56" fmla="*/ 8523 w 9716"/>
                    <a:gd name="connsiteY56" fmla="*/ 2516 h 10000"/>
                    <a:gd name="connsiteX57" fmla="*/ 8523 w 9716"/>
                    <a:gd name="connsiteY57" fmla="*/ 2372 h 10000"/>
                    <a:gd name="connsiteX58" fmla="*/ 8409 w 9716"/>
                    <a:gd name="connsiteY58" fmla="*/ 2228 h 10000"/>
                    <a:gd name="connsiteX59" fmla="*/ 8239 w 9716"/>
                    <a:gd name="connsiteY59" fmla="*/ 2014 h 10000"/>
                    <a:gd name="connsiteX60" fmla="*/ 8239 w 9716"/>
                    <a:gd name="connsiteY60" fmla="*/ 2014 h 10000"/>
                    <a:gd name="connsiteX61" fmla="*/ 6194 w 9716"/>
                    <a:gd name="connsiteY61" fmla="*/ 722 h 10000"/>
                    <a:gd name="connsiteX62" fmla="*/ 6194 w 9716"/>
                    <a:gd name="connsiteY62" fmla="*/ 722 h 10000"/>
                    <a:gd name="connsiteX63" fmla="*/ 5966 w 9716"/>
                    <a:gd name="connsiteY63" fmla="*/ 510 h 10000"/>
                    <a:gd name="connsiteX64" fmla="*/ 5796 w 9716"/>
                    <a:gd name="connsiteY64" fmla="*/ 291 h 10000"/>
                    <a:gd name="connsiteX65" fmla="*/ 5682 w 9716"/>
                    <a:gd name="connsiteY65" fmla="*/ 73 h 10000"/>
                    <a:gd name="connsiteX66" fmla="*/ 5682 w 9716"/>
                    <a:gd name="connsiteY66" fmla="*/ 73 h 10000"/>
                    <a:gd name="connsiteX67" fmla="*/ 7728 w 9716"/>
                    <a:gd name="connsiteY67" fmla="*/ 0 h 10000"/>
                    <a:gd name="connsiteX68" fmla="*/ 9716 w 9716"/>
                    <a:gd name="connsiteY68" fmla="*/ 722 h 10000"/>
                    <a:gd name="connsiteX69" fmla="*/ 9716 w 9716"/>
                    <a:gd name="connsiteY69" fmla="*/ 9927 h 10000"/>
                    <a:gd name="connsiteX70" fmla="*/ 9716 w 9716"/>
                    <a:gd name="connsiteY70" fmla="*/ 9927 h 10000"/>
                    <a:gd name="connsiteX71" fmla="*/ 9432 w 9716"/>
                    <a:gd name="connsiteY71" fmla="*/ 9857 h 10000"/>
                    <a:gd name="connsiteX72" fmla="*/ 9091 w 9716"/>
                    <a:gd name="connsiteY72" fmla="*/ 9927 h 10000"/>
                    <a:gd name="connsiteX73" fmla="*/ 9091 w 9716"/>
                    <a:gd name="connsiteY73" fmla="*/ 9927 h 10000"/>
                    <a:gd name="connsiteX74" fmla="*/ 8978 w 9716"/>
                    <a:gd name="connsiteY74" fmla="*/ 10000 h 10000"/>
                    <a:gd name="connsiteX75" fmla="*/ 8751 w 9716"/>
                    <a:gd name="connsiteY75" fmla="*/ 9927 h 10000"/>
                    <a:gd name="connsiteX76" fmla="*/ 8580 w 9716"/>
                    <a:gd name="connsiteY76" fmla="*/ 9857 h 10000"/>
                    <a:gd name="connsiteX77" fmla="*/ 8409 w 9716"/>
                    <a:gd name="connsiteY77" fmla="*/ 9707 h 10000"/>
                    <a:gd name="connsiteX78" fmla="*/ 8295 w 9716"/>
                    <a:gd name="connsiteY78" fmla="*/ 9494 h 10000"/>
                    <a:gd name="connsiteX79" fmla="*/ 8125 w 9716"/>
                    <a:gd name="connsiteY79" fmla="*/ 9137 h 10000"/>
                    <a:gd name="connsiteX80" fmla="*/ 8125 w 9716"/>
                    <a:gd name="connsiteY80" fmla="*/ 9137 h 10000"/>
                    <a:gd name="connsiteX81" fmla="*/ 7898 w 9716"/>
                    <a:gd name="connsiteY81" fmla="*/ 8492 h 10000"/>
                    <a:gd name="connsiteX82" fmla="*/ 7784 w 9716"/>
                    <a:gd name="connsiteY82" fmla="*/ 8199 h 10000"/>
                    <a:gd name="connsiteX83" fmla="*/ 7613 w 9716"/>
                    <a:gd name="connsiteY83" fmla="*/ 7987 h 10000"/>
                    <a:gd name="connsiteX84" fmla="*/ 7444 w 9716"/>
                    <a:gd name="connsiteY84" fmla="*/ 7842 h 10000"/>
                    <a:gd name="connsiteX85" fmla="*/ 7217 w 9716"/>
                    <a:gd name="connsiteY85" fmla="*/ 7765 h 10000"/>
                    <a:gd name="connsiteX86" fmla="*/ 6988 w 9716"/>
                    <a:gd name="connsiteY86" fmla="*/ 7695 h 10000"/>
                    <a:gd name="connsiteX87" fmla="*/ 6648 w 9716"/>
                    <a:gd name="connsiteY87" fmla="*/ 7622 h 10000"/>
                    <a:gd name="connsiteX88" fmla="*/ 6648 w 9716"/>
                    <a:gd name="connsiteY88" fmla="*/ 7622 h 10000"/>
                    <a:gd name="connsiteX89" fmla="*/ 6194 w 9716"/>
                    <a:gd name="connsiteY89" fmla="*/ 7695 h 10000"/>
                    <a:gd name="connsiteX90" fmla="*/ 5852 w 9716"/>
                    <a:gd name="connsiteY90" fmla="*/ 7695 h 10000"/>
                    <a:gd name="connsiteX91" fmla="*/ 5739 w 9716"/>
                    <a:gd name="connsiteY91" fmla="*/ 7622 h 10000"/>
                    <a:gd name="connsiteX92" fmla="*/ 5682 w 9716"/>
                    <a:gd name="connsiteY92" fmla="*/ 7550 h 10000"/>
                    <a:gd name="connsiteX93" fmla="*/ 5682 w 9716"/>
                    <a:gd name="connsiteY93" fmla="*/ 7550 h 10000"/>
                    <a:gd name="connsiteX94" fmla="*/ 5682 w 9716"/>
                    <a:gd name="connsiteY94" fmla="*/ 6257 h 10000"/>
                    <a:gd name="connsiteX95" fmla="*/ 5682 w 9716"/>
                    <a:gd name="connsiteY95" fmla="*/ 6257 h 10000"/>
                    <a:gd name="connsiteX96" fmla="*/ 5682 w 9716"/>
                    <a:gd name="connsiteY96" fmla="*/ 5968 h 10000"/>
                    <a:gd name="connsiteX97" fmla="*/ 5568 w 9716"/>
                    <a:gd name="connsiteY97" fmla="*/ 5609 h 10000"/>
                    <a:gd name="connsiteX98" fmla="*/ 5512 w 9716"/>
                    <a:gd name="connsiteY98" fmla="*/ 5539 h 10000"/>
                    <a:gd name="connsiteX99" fmla="*/ 5398 w 9716"/>
                    <a:gd name="connsiteY99" fmla="*/ 5464 h 10000"/>
                    <a:gd name="connsiteX100" fmla="*/ 5285 w 9716"/>
                    <a:gd name="connsiteY100" fmla="*/ 5464 h 10000"/>
                    <a:gd name="connsiteX101" fmla="*/ 5114 w 9716"/>
                    <a:gd name="connsiteY101" fmla="*/ 5539 h 10000"/>
                    <a:gd name="connsiteX102" fmla="*/ 5114 w 9716"/>
                    <a:gd name="connsiteY102" fmla="*/ 5539 h 10000"/>
                    <a:gd name="connsiteX103" fmla="*/ 4489 w 9716"/>
                    <a:gd name="connsiteY103" fmla="*/ 6042 h 10000"/>
                    <a:gd name="connsiteX104" fmla="*/ 4205 w 9716"/>
                    <a:gd name="connsiteY104" fmla="*/ 6185 h 10000"/>
                    <a:gd name="connsiteX105" fmla="*/ 4148 w 9716"/>
                    <a:gd name="connsiteY105" fmla="*/ 6257 h 10000"/>
                    <a:gd name="connsiteX106" fmla="*/ 4091 w 9716"/>
                    <a:gd name="connsiteY106" fmla="*/ 6185 h 10000"/>
                    <a:gd name="connsiteX107" fmla="*/ 4091 w 9716"/>
                    <a:gd name="connsiteY107" fmla="*/ 6185 h 10000"/>
                    <a:gd name="connsiteX108" fmla="*/ 3807 w 9716"/>
                    <a:gd name="connsiteY108" fmla="*/ 5464 h 10000"/>
                    <a:gd name="connsiteX109" fmla="*/ 3807 w 9716"/>
                    <a:gd name="connsiteY109" fmla="*/ 5464 h 10000"/>
                    <a:gd name="connsiteX110" fmla="*/ 3693 w 9716"/>
                    <a:gd name="connsiteY110" fmla="*/ 5108 h 10000"/>
                    <a:gd name="connsiteX111" fmla="*/ 3693 w 9716"/>
                    <a:gd name="connsiteY111" fmla="*/ 4889 h 10000"/>
                    <a:gd name="connsiteX112" fmla="*/ 3693 w 9716"/>
                    <a:gd name="connsiteY112" fmla="*/ 4676 h 10000"/>
                    <a:gd name="connsiteX113" fmla="*/ 3693 w 9716"/>
                    <a:gd name="connsiteY113" fmla="*/ 4676 h 10000"/>
                    <a:gd name="connsiteX114" fmla="*/ 3864 w 9716"/>
                    <a:gd name="connsiteY114" fmla="*/ 4459 h 10000"/>
                    <a:gd name="connsiteX115" fmla="*/ 3978 w 9716"/>
                    <a:gd name="connsiteY115" fmla="*/ 4388 h 10000"/>
                    <a:gd name="connsiteX116" fmla="*/ 3978 w 9716"/>
                    <a:gd name="connsiteY116" fmla="*/ 4388 h 10000"/>
                    <a:gd name="connsiteX117" fmla="*/ 3580 w 9716"/>
                    <a:gd name="connsiteY117" fmla="*/ 4388 h 10000"/>
                    <a:gd name="connsiteX118" fmla="*/ 3295 w 9716"/>
                    <a:gd name="connsiteY118" fmla="*/ 4459 h 10000"/>
                    <a:gd name="connsiteX119" fmla="*/ 3182 w 9716"/>
                    <a:gd name="connsiteY119" fmla="*/ 4537 h 10000"/>
                    <a:gd name="connsiteX120" fmla="*/ 3126 w 9716"/>
                    <a:gd name="connsiteY120" fmla="*/ 4603 h 10000"/>
                    <a:gd name="connsiteX121" fmla="*/ 3126 w 9716"/>
                    <a:gd name="connsiteY121" fmla="*/ 4603 h 10000"/>
                    <a:gd name="connsiteX122" fmla="*/ 3011 w 9716"/>
                    <a:gd name="connsiteY122" fmla="*/ 4889 h 10000"/>
                    <a:gd name="connsiteX123" fmla="*/ 2841 w 9716"/>
                    <a:gd name="connsiteY123" fmla="*/ 5323 h 10000"/>
                    <a:gd name="connsiteX124" fmla="*/ 2557 w 9716"/>
                    <a:gd name="connsiteY124" fmla="*/ 5829 h 10000"/>
                    <a:gd name="connsiteX125" fmla="*/ 2217 w 9716"/>
                    <a:gd name="connsiteY125" fmla="*/ 6185 h 10000"/>
                    <a:gd name="connsiteX126" fmla="*/ 2217 w 9716"/>
                    <a:gd name="connsiteY126" fmla="*/ 6185 h 10000"/>
                    <a:gd name="connsiteX127" fmla="*/ 1875 w 9716"/>
                    <a:gd name="connsiteY127" fmla="*/ 6471 h 10000"/>
                    <a:gd name="connsiteX128" fmla="*/ 1364 w 9716"/>
                    <a:gd name="connsiteY128" fmla="*/ 6762 h 10000"/>
                    <a:gd name="connsiteX129" fmla="*/ 909 w 9716"/>
                    <a:gd name="connsiteY129" fmla="*/ 6908 h 10000"/>
                    <a:gd name="connsiteX130" fmla="*/ 398 w 9716"/>
                    <a:gd name="connsiteY130" fmla="*/ 6976 h 10000"/>
                    <a:gd name="connsiteX131" fmla="*/ 398 w 9716"/>
                    <a:gd name="connsiteY131" fmla="*/ 6976 h 10000"/>
                    <a:gd name="connsiteX132" fmla="*/ 0 w 9716"/>
                    <a:gd name="connsiteY132" fmla="*/ 7050 h 10000"/>
                    <a:gd name="connsiteX0" fmla="*/ 9590 w 9590"/>
                    <a:gd name="connsiteY0" fmla="*/ 9857 h 10000"/>
                    <a:gd name="connsiteX1" fmla="*/ 9590 w 9590"/>
                    <a:gd name="connsiteY1" fmla="*/ 9857 h 10000"/>
                    <a:gd name="connsiteX2" fmla="*/ 8771 w 9590"/>
                    <a:gd name="connsiteY2" fmla="*/ 9927 h 10000"/>
                    <a:gd name="connsiteX3" fmla="*/ 8478 w 9590"/>
                    <a:gd name="connsiteY3" fmla="*/ 9927 h 10000"/>
                    <a:gd name="connsiteX4" fmla="*/ 8362 w 9590"/>
                    <a:gd name="connsiteY4" fmla="*/ 9857 h 10000"/>
                    <a:gd name="connsiteX5" fmla="*/ 8303 w 9590"/>
                    <a:gd name="connsiteY5" fmla="*/ 9782 h 10000"/>
                    <a:gd name="connsiteX6" fmla="*/ 8303 w 9590"/>
                    <a:gd name="connsiteY6" fmla="*/ 9782 h 10000"/>
                    <a:gd name="connsiteX7" fmla="*/ 7952 w 9590"/>
                    <a:gd name="connsiteY7" fmla="*/ 8915 h 10000"/>
                    <a:gd name="connsiteX8" fmla="*/ 7660 w 9590"/>
                    <a:gd name="connsiteY8" fmla="*/ 8129 h 10000"/>
                    <a:gd name="connsiteX9" fmla="*/ 7660 w 9590"/>
                    <a:gd name="connsiteY9" fmla="*/ 8129 h 10000"/>
                    <a:gd name="connsiteX10" fmla="*/ 7544 w 9590"/>
                    <a:gd name="connsiteY10" fmla="*/ 7987 h 10000"/>
                    <a:gd name="connsiteX11" fmla="*/ 7368 w 9590"/>
                    <a:gd name="connsiteY11" fmla="*/ 7842 h 10000"/>
                    <a:gd name="connsiteX12" fmla="*/ 6900 w 9590"/>
                    <a:gd name="connsiteY12" fmla="*/ 7765 h 10000"/>
                    <a:gd name="connsiteX13" fmla="*/ 6315 w 9590"/>
                    <a:gd name="connsiteY13" fmla="*/ 7695 h 10000"/>
                    <a:gd name="connsiteX14" fmla="*/ 5789 w 9590"/>
                    <a:gd name="connsiteY14" fmla="*/ 7695 h 10000"/>
                    <a:gd name="connsiteX15" fmla="*/ 5789 w 9590"/>
                    <a:gd name="connsiteY15" fmla="*/ 7695 h 10000"/>
                    <a:gd name="connsiteX16" fmla="*/ 5555 w 9590"/>
                    <a:gd name="connsiteY16" fmla="*/ 7622 h 10000"/>
                    <a:gd name="connsiteX17" fmla="*/ 5438 w 9590"/>
                    <a:gd name="connsiteY17" fmla="*/ 7484 h 10000"/>
                    <a:gd name="connsiteX18" fmla="*/ 5379 w 9590"/>
                    <a:gd name="connsiteY18" fmla="*/ 7339 h 10000"/>
                    <a:gd name="connsiteX19" fmla="*/ 5379 w 9590"/>
                    <a:gd name="connsiteY19" fmla="*/ 7050 h 10000"/>
                    <a:gd name="connsiteX20" fmla="*/ 5438 w 9590"/>
                    <a:gd name="connsiteY20" fmla="*/ 6471 h 10000"/>
                    <a:gd name="connsiteX21" fmla="*/ 5497 w 9590"/>
                    <a:gd name="connsiteY21" fmla="*/ 6185 h 10000"/>
                    <a:gd name="connsiteX22" fmla="*/ 5438 w 9590"/>
                    <a:gd name="connsiteY22" fmla="*/ 5829 h 10000"/>
                    <a:gd name="connsiteX23" fmla="*/ 5438 w 9590"/>
                    <a:gd name="connsiteY23" fmla="*/ 5829 h 10000"/>
                    <a:gd name="connsiteX24" fmla="*/ 5379 w 9590"/>
                    <a:gd name="connsiteY24" fmla="*/ 5609 h 10000"/>
                    <a:gd name="connsiteX25" fmla="*/ 5321 w 9590"/>
                    <a:gd name="connsiteY25" fmla="*/ 5464 h 10000"/>
                    <a:gd name="connsiteX26" fmla="*/ 5203 w 9590"/>
                    <a:gd name="connsiteY26" fmla="*/ 5464 h 10000"/>
                    <a:gd name="connsiteX27" fmla="*/ 5029 w 9590"/>
                    <a:gd name="connsiteY27" fmla="*/ 5539 h 10000"/>
                    <a:gd name="connsiteX28" fmla="*/ 4677 w 9590"/>
                    <a:gd name="connsiteY28" fmla="*/ 5752 h 10000"/>
                    <a:gd name="connsiteX29" fmla="*/ 4210 w 9590"/>
                    <a:gd name="connsiteY29" fmla="*/ 6117 h 10000"/>
                    <a:gd name="connsiteX30" fmla="*/ 4210 w 9590"/>
                    <a:gd name="connsiteY30" fmla="*/ 6117 h 10000"/>
                    <a:gd name="connsiteX31" fmla="*/ 3918 w 9590"/>
                    <a:gd name="connsiteY31" fmla="*/ 6185 h 10000"/>
                    <a:gd name="connsiteX32" fmla="*/ 3801 w 9590"/>
                    <a:gd name="connsiteY32" fmla="*/ 6185 h 10000"/>
                    <a:gd name="connsiteX33" fmla="*/ 3742 w 9590"/>
                    <a:gd name="connsiteY33" fmla="*/ 6117 h 10000"/>
                    <a:gd name="connsiteX34" fmla="*/ 3684 w 9590"/>
                    <a:gd name="connsiteY34" fmla="*/ 5829 h 10000"/>
                    <a:gd name="connsiteX35" fmla="*/ 3508 w 9590"/>
                    <a:gd name="connsiteY35" fmla="*/ 5464 h 10000"/>
                    <a:gd name="connsiteX36" fmla="*/ 3508 w 9590"/>
                    <a:gd name="connsiteY36" fmla="*/ 5464 h 10000"/>
                    <a:gd name="connsiteX37" fmla="*/ 3391 w 9590"/>
                    <a:gd name="connsiteY37" fmla="*/ 5254 h 10000"/>
                    <a:gd name="connsiteX38" fmla="*/ 3391 w 9590"/>
                    <a:gd name="connsiteY38" fmla="*/ 5035 h 10000"/>
                    <a:gd name="connsiteX39" fmla="*/ 3391 w 9590"/>
                    <a:gd name="connsiteY39" fmla="*/ 4889 h 10000"/>
                    <a:gd name="connsiteX40" fmla="*/ 3451 w 9590"/>
                    <a:gd name="connsiteY40" fmla="*/ 4750 h 10000"/>
                    <a:gd name="connsiteX41" fmla="*/ 3567 w 9590"/>
                    <a:gd name="connsiteY41" fmla="*/ 4459 h 10000"/>
                    <a:gd name="connsiteX42" fmla="*/ 3684 w 9590"/>
                    <a:gd name="connsiteY42" fmla="*/ 4388 h 10000"/>
                    <a:gd name="connsiteX43" fmla="*/ 3684 w 9590"/>
                    <a:gd name="connsiteY43" fmla="*/ 4388 h 10000"/>
                    <a:gd name="connsiteX44" fmla="*/ 3684 w 9590"/>
                    <a:gd name="connsiteY44" fmla="*/ 4320 h 10000"/>
                    <a:gd name="connsiteX45" fmla="*/ 3742 w 9590"/>
                    <a:gd name="connsiteY45" fmla="*/ 4245 h 10000"/>
                    <a:gd name="connsiteX46" fmla="*/ 3977 w 9590"/>
                    <a:gd name="connsiteY46" fmla="*/ 4170 h 10000"/>
                    <a:gd name="connsiteX47" fmla="*/ 4677 w 9590"/>
                    <a:gd name="connsiteY47" fmla="*/ 4031 h 10000"/>
                    <a:gd name="connsiteX48" fmla="*/ 5906 w 9590"/>
                    <a:gd name="connsiteY48" fmla="*/ 3815 h 10000"/>
                    <a:gd name="connsiteX49" fmla="*/ 5906 w 9590"/>
                    <a:gd name="connsiteY49" fmla="*/ 3815 h 10000"/>
                    <a:gd name="connsiteX50" fmla="*/ 6608 w 9590"/>
                    <a:gd name="connsiteY50" fmla="*/ 3598 h 10000"/>
                    <a:gd name="connsiteX51" fmla="*/ 7894 w 9590"/>
                    <a:gd name="connsiteY51" fmla="*/ 3165 h 10000"/>
                    <a:gd name="connsiteX52" fmla="*/ 7894 w 9590"/>
                    <a:gd name="connsiteY52" fmla="*/ 3165 h 10000"/>
                    <a:gd name="connsiteX53" fmla="*/ 8187 w 9590"/>
                    <a:gd name="connsiteY53" fmla="*/ 3013 h 10000"/>
                    <a:gd name="connsiteX54" fmla="*/ 8303 w 9590"/>
                    <a:gd name="connsiteY54" fmla="*/ 2803 h 10000"/>
                    <a:gd name="connsiteX55" fmla="*/ 8421 w 9590"/>
                    <a:gd name="connsiteY55" fmla="*/ 2660 h 10000"/>
                    <a:gd name="connsiteX56" fmla="*/ 8362 w 9590"/>
                    <a:gd name="connsiteY56" fmla="*/ 2516 h 10000"/>
                    <a:gd name="connsiteX57" fmla="*/ 8362 w 9590"/>
                    <a:gd name="connsiteY57" fmla="*/ 2372 h 10000"/>
                    <a:gd name="connsiteX58" fmla="*/ 8245 w 9590"/>
                    <a:gd name="connsiteY58" fmla="*/ 2228 h 10000"/>
                    <a:gd name="connsiteX59" fmla="*/ 8070 w 9590"/>
                    <a:gd name="connsiteY59" fmla="*/ 2014 h 10000"/>
                    <a:gd name="connsiteX60" fmla="*/ 8070 w 9590"/>
                    <a:gd name="connsiteY60" fmla="*/ 2014 h 10000"/>
                    <a:gd name="connsiteX61" fmla="*/ 5965 w 9590"/>
                    <a:gd name="connsiteY61" fmla="*/ 722 h 10000"/>
                    <a:gd name="connsiteX62" fmla="*/ 5965 w 9590"/>
                    <a:gd name="connsiteY62" fmla="*/ 722 h 10000"/>
                    <a:gd name="connsiteX63" fmla="*/ 5730 w 9590"/>
                    <a:gd name="connsiteY63" fmla="*/ 510 h 10000"/>
                    <a:gd name="connsiteX64" fmla="*/ 5555 w 9590"/>
                    <a:gd name="connsiteY64" fmla="*/ 291 h 10000"/>
                    <a:gd name="connsiteX65" fmla="*/ 5438 w 9590"/>
                    <a:gd name="connsiteY65" fmla="*/ 73 h 10000"/>
                    <a:gd name="connsiteX66" fmla="*/ 5438 w 9590"/>
                    <a:gd name="connsiteY66" fmla="*/ 73 h 10000"/>
                    <a:gd name="connsiteX67" fmla="*/ 7544 w 9590"/>
                    <a:gd name="connsiteY67" fmla="*/ 0 h 10000"/>
                    <a:gd name="connsiteX68" fmla="*/ 9590 w 9590"/>
                    <a:gd name="connsiteY68" fmla="*/ 722 h 10000"/>
                    <a:gd name="connsiteX69" fmla="*/ 9590 w 9590"/>
                    <a:gd name="connsiteY69" fmla="*/ 9927 h 10000"/>
                    <a:gd name="connsiteX70" fmla="*/ 9590 w 9590"/>
                    <a:gd name="connsiteY70" fmla="*/ 9927 h 10000"/>
                    <a:gd name="connsiteX71" fmla="*/ 9298 w 9590"/>
                    <a:gd name="connsiteY71" fmla="*/ 9857 h 10000"/>
                    <a:gd name="connsiteX72" fmla="*/ 8947 w 9590"/>
                    <a:gd name="connsiteY72" fmla="*/ 9927 h 10000"/>
                    <a:gd name="connsiteX73" fmla="*/ 8947 w 9590"/>
                    <a:gd name="connsiteY73" fmla="*/ 9927 h 10000"/>
                    <a:gd name="connsiteX74" fmla="*/ 8830 w 9590"/>
                    <a:gd name="connsiteY74" fmla="*/ 10000 h 10000"/>
                    <a:gd name="connsiteX75" fmla="*/ 8597 w 9590"/>
                    <a:gd name="connsiteY75" fmla="*/ 9927 h 10000"/>
                    <a:gd name="connsiteX76" fmla="*/ 8421 w 9590"/>
                    <a:gd name="connsiteY76" fmla="*/ 9857 h 10000"/>
                    <a:gd name="connsiteX77" fmla="*/ 8245 w 9590"/>
                    <a:gd name="connsiteY77" fmla="*/ 9707 h 10000"/>
                    <a:gd name="connsiteX78" fmla="*/ 8127 w 9590"/>
                    <a:gd name="connsiteY78" fmla="*/ 9494 h 10000"/>
                    <a:gd name="connsiteX79" fmla="*/ 7952 w 9590"/>
                    <a:gd name="connsiteY79" fmla="*/ 9137 h 10000"/>
                    <a:gd name="connsiteX80" fmla="*/ 7952 w 9590"/>
                    <a:gd name="connsiteY80" fmla="*/ 9137 h 10000"/>
                    <a:gd name="connsiteX81" fmla="*/ 7719 w 9590"/>
                    <a:gd name="connsiteY81" fmla="*/ 8492 h 10000"/>
                    <a:gd name="connsiteX82" fmla="*/ 7602 w 9590"/>
                    <a:gd name="connsiteY82" fmla="*/ 8199 h 10000"/>
                    <a:gd name="connsiteX83" fmla="*/ 7426 w 9590"/>
                    <a:gd name="connsiteY83" fmla="*/ 7987 h 10000"/>
                    <a:gd name="connsiteX84" fmla="*/ 7252 w 9590"/>
                    <a:gd name="connsiteY84" fmla="*/ 7842 h 10000"/>
                    <a:gd name="connsiteX85" fmla="*/ 7018 w 9590"/>
                    <a:gd name="connsiteY85" fmla="*/ 7765 h 10000"/>
                    <a:gd name="connsiteX86" fmla="*/ 6782 w 9590"/>
                    <a:gd name="connsiteY86" fmla="*/ 7695 h 10000"/>
                    <a:gd name="connsiteX87" fmla="*/ 6432 w 9590"/>
                    <a:gd name="connsiteY87" fmla="*/ 7622 h 10000"/>
                    <a:gd name="connsiteX88" fmla="*/ 6432 w 9590"/>
                    <a:gd name="connsiteY88" fmla="*/ 7622 h 10000"/>
                    <a:gd name="connsiteX89" fmla="*/ 5965 w 9590"/>
                    <a:gd name="connsiteY89" fmla="*/ 7695 h 10000"/>
                    <a:gd name="connsiteX90" fmla="*/ 5613 w 9590"/>
                    <a:gd name="connsiteY90" fmla="*/ 7695 h 10000"/>
                    <a:gd name="connsiteX91" fmla="*/ 5497 w 9590"/>
                    <a:gd name="connsiteY91" fmla="*/ 7622 h 10000"/>
                    <a:gd name="connsiteX92" fmla="*/ 5438 w 9590"/>
                    <a:gd name="connsiteY92" fmla="*/ 7550 h 10000"/>
                    <a:gd name="connsiteX93" fmla="*/ 5438 w 9590"/>
                    <a:gd name="connsiteY93" fmla="*/ 7550 h 10000"/>
                    <a:gd name="connsiteX94" fmla="*/ 5438 w 9590"/>
                    <a:gd name="connsiteY94" fmla="*/ 6257 h 10000"/>
                    <a:gd name="connsiteX95" fmla="*/ 5438 w 9590"/>
                    <a:gd name="connsiteY95" fmla="*/ 6257 h 10000"/>
                    <a:gd name="connsiteX96" fmla="*/ 5438 w 9590"/>
                    <a:gd name="connsiteY96" fmla="*/ 5968 h 10000"/>
                    <a:gd name="connsiteX97" fmla="*/ 5321 w 9590"/>
                    <a:gd name="connsiteY97" fmla="*/ 5609 h 10000"/>
                    <a:gd name="connsiteX98" fmla="*/ 5263 w 9590"/>
                    <a:gd name="connsiteY98" fmla="*/ 5539 h 10000"/>
                    <a:gd name="connsiteX99" fmla="*/ 5146 w 9590"/>
                    <a:gd name="connsiteY99" fmla="*/ 5464 h 10000"/>
                    <a:gd name="connsiteX100" fmla="*/ 5029 w 9590"/>
                    <a:gd name="connsiteY100" fmla="*/ 5464 h 10000"/>
                    <a:gd name="connsiteX101" fmla="*/ 4853 w 9590"/>
                    <a:gd name="connsiteY101" fmla="*/ 5539 h 10000"/>
                    <a:gd name="connsiteX102" fmla="*/ 4853 w 9590"/>
                    <a:gd name="connsiteY102" fmla="*/ 5539 h 10000"/>
                    <a:gd name="connsiteX103" fmla="*/ 4210 w 9590"/>
                    <a:gd name="connsiteY103" fmla="*/ 6042 h 10000"/>
                    <a:gd name="connsiteX104" fmla="*/ 3918 w 9590"/>
                    <a:gd name="connsiteY104" fmla="*/ 6185 h 10000"/>
                    <a:gd name="connsiteX105" fmla="*/ 3859 w 9590"/>
                    <a:gd name="connsiteY105" fmla="*/ 6257 h 10000"/>
                    <a:gd name="connsiteX106" fmla="*/ 3801 w 9590"/>
                    <a:gd name="connsiteY106" fmla="*/ 6185 h 10000"/>
                    <a:gd name="connsiteX107" fmla="*/ 3801 w 9590"/>
                    <a:gd name="connsiteY107" fmla="*/ 6185 h 10000"/>
                    <a:gd name="connsiteX108" fmla="*/ 3508 w 9590"/>
                    <a:gd name="connsiteY108" fmla="*/ 5464 h 10000"/>
                    <a:gd name="connsiteX109" fmla="*/ 3508 w 9590"/>
                    <a:gd name="connsiteY109" fmla="*/ 5464 h 10000"/>
                    <a:gd name="connsiteX110" fmla="*/ 3391 w 9590"/>
                    <a:gd name="connsiteY110" fmla="*/ 5108 h 10000"/>
                    <a:gd name="connsiteX111" fmla="*/ 3391 w 9590"/>
                    <a:gd name="connsiteY111" fmla="*/ 4889 h 10000"/>
                    <a:gd name="connsiteX112" fmla="*/ 3391 w 9590"/>
                    <a:gd name="connsiteY112" fmla="*/ 4676 h 10000"/>
                    <a:gd name="connsiteX113" fmla="*/ 3391 w 9590"/>
                    <a:gd name="connsiteY113" fmla="*/ 4676 h 10000"/>
                    <a:gd name="connsiteX114" fmla="*/ 3567 w 9590"/>
                    <a:gd name="connsiteY114" fmla="*/ 4459 h 10000"/>
                    <a:gd name="connsiteX115" fmla="*/ 3684 w 9590"/>
                    <a:gd name="connsiteY115" fmla="*/ 4388 h 10000"/>
                    <a:gd name="connsiteX116" fmla="*/ 3684 w 9590"/>
                    <a:gd name="connsiteY116" fmla="*/ 4388 h 10000"/>
                    <a:gd name="connsiteX117" fmla="*/ 3275 w 9590"/>
                    <a:gd name="connsiteY117" fmla="*/ 4388 h 10000"/>
                    <a:gd name="connsiteX118" fmla="*/ 2981 w 9590"/>
                    <a:gd name="connsiteY118" fmla="*/ 4459 h 10000"/>
                    <a:gd name="connsiteX119" fmla="*/ 2865 w 9590"/>
                    <a:gd name="connsiteY119" fmla="*/ 4537 h 10000"/>
                    <a:gd name="connsiteX120" fmla="*/ 2807 w 9590"/>
                    <a:gd name="connsiteY120" fmla="*/ 4603 h 10000"/>
                    <a:gd name="connsiteX121" fmla="*/ 2807 w 9590"/>
                    <a:gd name="connsiteY121" fmla="*/ 4603 h 10000"/>
                    <a:gd name="connsiteX122" fmla="*/ 2689 w 9590"/>
                    <a:gd name="connsiteY122" fmla="*/ 4889 h 10000"/>
                    <a:gd name="connsiteX123" fmla="*/ 2514 w 9590"/>
                    <a:gd name="connsiteY123" fmla="*/ 5323 h 10000"/>
                    <a:gd name="connsiteX124" fmla="*/ 2222 w 9590"/>
                    <a:gd name="connsiteY124" fmla="*/ 5829 h 10000"/>
                    <a:gd name="connsiteX125" fmla="*/ 1872 w 9590"/>
                    <a:gd name="connsiteY125" fmla="*/ 6185 h 10000"/>
                    <a:gd name="connsiteX126" fmla="*/ 1872 w 9590"/>
                    <a:gd name="connsiteY126" fmla="*/ 6185 h 10000"/>
                    <a:gd name="connsiteX127" fmla="*/ 1520 w 9590"/>
                    <a:gd name="connsiteY127" fmla="*/ 6471 h 10000"/>
                    <a:gd name="connsiteX128" fmla="*/ 994 w 9590"/>
                    <a:gd name="connsiteY128" fmla="*/ 6762 h 10000"/>
                    <a:gd name="connsiteX129" fmla="*/ 526 w 9590"/>
                    <a:gd name="connsiteY129" fmla="*/ 6908 h 10000"/>
                    <a:gd name="connsiteX130" fmla="*/ 0 w 9590"/>
                    <a:gd name="connsiteY130" fmla="*/ 6976 h 10000"/>
                    <a:gd name="connsiteX131" fmla="*/ 0 w 9590"/>
                    <a:gd name="connsiteY131" fmla="*/ 6976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146 w 10000"/>
                    <a:gd name="connsiteY2" fmla="*/ 9927 h 10000"/>
                    <a:gd name="connsiteX3" fmla="*/ 8840 w 10000"/>
                    <a:gd name="connsiteY3" fmla="*/ 9927 h 10000"/>
                    <a:gd name="connsiteX4" fmla="*/ 8719 w 10000"/>
                    <a:gd name="connsiteY4" fmla="*/ 9857 h 10000"/>
                    <a:gd name="connsiteX5" fmla="*/ 8658 w 10000"/>
                    <a:gd name="connsiteY5" fmla="*/ 9782 h 10000"/>
                    <a:gd name="connsiteX6" fmla="*/ 8658 w 10000"/>
                    <a:gd name="connsiteY6" fmla="*/ 9782 h 10000"/>
                    <a:gd name="connsiteX7" fmla="*/ 8292 w 10000"/>
                    <a:gd name="connsiteY7" fmla="*/ 8915 h 10000"/>
                    <a:gd name="connsiteX8" fmla="*/ 7987 w 10000"/>
                    <a:gd name="connsiteY8" fmla="*/ 8129 h 10000"/>
                    <a:gd name="connsiteX9" fmla="*/ 7987 w 10000"/>
                    <a:gd name="connsiteY9" fmla="*/ 8129 h 10000"/>
                    <a:gd name="connsiteX10" fmla="*/ 7867 w 10000"/>
                    <a:gd name="connsiteY10" fmla="*/ 7987 h 10000"/>
                    <a:gd name="connsiteX11" fmla="*/ 7683 w 10000"/>
                    <a:gd name="connsiteY11" fmla="*/ 7842 h 10000"/>
                    <a:gd name="connsiteX12" fmla="*/ 7195 w 10000"/>
                    <a:gd name="connsiteY12" fmla="*/ 7765 h 10000"/>
                    <a:gd name="connsiteX13" fmla="*/ 6585 w 10000"/>
                    <a:gd name="connsiteY13" fmla="*/ 7695 h 10000"/>
                    <a:gd name="connsiteX14" fmla="*/ 6036 w 10000"/>
                    <a:gd name="connsiteY14" fmla="*/ 7695 h 10000"/>
                    <a:gd name="connsiteX15" fmla="*/ 6036 w 10000"/>
                    <a:gd name="connsiteY15" fmla="*/ 7695 h 10000"/>
                    <a:gd name="connsiteX16" fmla="*/ 5792 w 10000"/>
                    <a:gd name="connsiteY16" fmla="*/ 7622 h 10000"/>
                    <a:gd name="connsiteX17" fmla="*/ 5670 w 10000"/>
                    <a:gd name="connsiteY17" fmla="*/ 7484 h 10000"/>
                    <a:gd name="connsiteX18" fmla="*/ 5609 w 10000"/>
                    <a:gd name="connsiteY18" fmla="*/ 7339 h 10000"/>
                    <a:gd name="connsiteX19" fmla="*/ 5609 w 10000"/>
                    <a:gd name="connsiteY19" fmla="*/ 7050 h 10000"/>
                    <a:gd name="connsiteX20" fmla="*/ 5670 w 10000"/>
                    <a:gd name="connsiteY20" fmla="*/ 6471 h 10000"/>
                    <a:gd name="connsiteX21" fmla="*/ 5732 w 10000"/>
                    <a:gd name="connsiteY21" fmla="*/ 6185 h 10000"/>
                    <a:gd name="connsiteX22" fmla="*/ 5670 w 10000"/>
                    <a:gd name="connsiteY22" fmla="*/ 5829 h 10000"/>
                    <a:gd name="connsiteX23" fmla="*/ 5670 w 10000"/>
                    <a:gd name="connsiteY23" fmla="*/ 5829 h 10000"/>
                    <a:gd name="connsiteX24" fmla="*/ 5609 w 10000"/>
                    <a:gd name="connsiteY24" fmla="*/ 5609 h 10000"/>
                    <a:gd name="connsiteX25" fmla="*/ 5548 w 10000"/>
                    <a:gd name="connsiteY25" fmla="*/ 5464 h 10000"/>
                    <a:gd name="connsiteX26" fmla="*/ 5425 w 10000"/>
                    <a:gd name="connsiteY26" fmla="*/ 5464 h 10000"/>
                    <a:gd name="connsiteX27" fmla="*/ 5244 w 10000"/>
                    <a:gd name="connsiteY27" fmla="*/ 5539 h 10000"/>
                    <a:gd name="connsiteX28" fmla="*/ 4877 w 10000"/>
                    <a:gd name="connsiteY28" fmla="*/ 5752 h 10000"/>
                    <a:gd name="connsiteX29" fmla="*/ 4390 w 10000"/>
                    <a:gd name="connsiteY29" fmla="*/ 6117 h 10000"/>
                    <a:gd name="connsiteX30" fmla="*/ 4390 w 10000"/>
                    <a:gd name="connsiteY30" fmla="*/ 6117 h 10000"/>
                    <a:gd name="connsiteX31" fmla="*/ 4086 w 10000"/>
                    <a:gd name="connsiteY31" fmla="*/ 6185 h 10000"/>
                    <a:gd name="connsiteX32" fmla="*/ 3964 w 10000"/>
                    <a:gd name="connsiteY32" fmla="*/ 6185 h 10000"/>
                    <a:gd name="connsiteX33" fmla="*/ 3902 w 10000"/>
                    <a:gd name="connsiteY33" fmla="*/ 6117 h 10000"/>
                    <a:gd name="connsiteX34" fmla="*/ 3842 w 10000"/>
                    <a:gd name="connsiteY34" fmla="*/ 5829 h 10000"/>
                    <a:gd name="connsiteX35" fmla="*/ 3658 w 10000"/>
                    <a:gd name="connsiteY35" fmla="*/ 5464 h 10000"/>
                    <a:gd name="connsiteX36" fmla="*/ 3658 w 10000"/>
                    <a:gd name="connsiteY36" fmla="*/ 5464 h 10000"/>
                    <a:gd name="connsiteX37" fmla="*/ 3536 w 10000"/>
                    <a:gd name="connsiteY37" fmla="*/ 5254 h 10000"/>
                    <a:gd name="connsiteX38" fmla="*/ 3536 w 10000"/>
                    <a:gd name="connsiteY38" fmla="*/ 5035 h 10000"/>
                    <a:gd name="connsiteX39" fmla="*/ 3536 w 10000"/>
                    <a:gd name="connsiteY39" fmla="*/ 4889 h 10000"/>
                    <a:gd name="connsiteX40" fmla="*/ 3599 w 10000"/>
                    <a:gd name="connsiteY40" fmla="*/ 4750 h 10000"/>
                    <a:gd name="connsiteX41" fmla="*/ 3719 w 10000"/>
                    <a:gd name="connsiteY41" fmla="*/ 4459 h 10000"/>
                    <a:gd name="connsiteX42" fmla="*/ 3842 w 10000"/>
                    <a:gd name="connsiteY42" fmla="*/ 4388 h 10000"/>
                    <a:gd name="connsiteX43" fmla="*/ 3842 w 10000"/>
                    <a:gd name="connsiteY43" fmla="*/ 4388 h 10000"/>
                    <a:gd name="connsiteX44" fmla="*/ 3842 w 10000"/>
                    <a:gd name="connsiteY44" fmla="*/ 4320 h 10000"/>
                    <a:gd name="connsiteX45" fmla="*/ 3902 w 10000"/>
                    <a:gd name="connsiteY45" fmla="*/ 4245 h 10000"/>
                    <a:gd name="connsiteX46" fmla="*/ 4147 w 10000"/>
                    <a:gd name="connsiteY46" fmla="*/ 4170 h 10000"/>
                    <a:gd name="connsiteX47" fmla="*/ 4877 w 10000"/>
                    <a:gd name="connsiteY47" fmla="*/ 4031 h 10000"/>
                    <a:gd name="connsiteX48" fmla="*/ 6158 w 10000"/>
                    <a:gd name="connsiteY48" fmla="*/ 3815 h 10000"/>
                    <a:gd name="connsiteX49" fmla="*/ 6158 w 10000"/>
                    <a:gd name="connsiteY49" fmla="*/ 3815 h 10000"/>
                    <a:gd name="connsiteX50" fmla="*/ 6891 w 10000"/>
                    <a:gd name="connsiteY50" fmla="*/ 3598 h 10000"/>
                    <a:gd name="connsiteX51" fmla="*/ 8231 w 10000"/>
                    <a:gd name="connsiteY51" fmla="*/ 3165 h 10000"/>
                    <a:gd name="connsiteX52" fmla="*/ 8231 w 10000"/>
                    <a:gd name="connsiteY52" fmla="*/ 3165 h 10000"/>
                    <a:gd name="connsiteX53" fmla="*/ 8537 w 10000"/>
                    <a:gd name="connsiteY53" fmla="*/ 3013 h 10000"/>
                    <a:gd name="connsiteX54" fmla="*/ 8658 w 10000"/>
                    <a:gd name="connsiteY54" fmla="*/ 2803 h 10000"/>
                    <a:gd name="connsiteX55" fmla="*/ 8781 w 10000"/>
                    <a:gd name="connsiteY55" fmla="*/ 2660 h 10000"/>
                    <a:gd name="connsiteX56" fmla="*/ 8719 w 10000"/>
                    <a:gd name="connsiteY56" fmla="*/ 2516 h 10000"/>
                    <a:gd name="connsiteX57" fmla="*/ 8719 w 10000"/>
                    <a:gd name="connsiteY57" fmla="*/ 2372 h 10000"/>
                    <a:gd name="connsiteX58" fmla="*/ 8597 w 10000"/>
                    <a:gd name="connsiteY58" fmla="*/ 2228 h 10000"/>
                    <a:gd name="connsiteX59" fmla="*/ 8415 w 10000"/>
                    <a:gd name="connsiteY59" fmla="*/ 2014 h 10000"/>
                    <a:gd name="connsiteX60" fmla="*/ 8415 w 10000"/>
                    <a:gd name="connsiteY60" fmla="*/ 2014 h 10000"/>
                    <a:gd name="connsiteX61" fmla="*/ 6220 w 10000"/>
                    <a:gd name="connsiteY61" fmla="*/ 722 h 10000"/>
                    <a:gd name="connsiteX62" fmla="*/ 6220 w 10000"/>
                    <a:gd name="connsiteY62" fmla="*/ 722 h 10000"/>
                    <a:gd name="connsiteX63" fmla="*/ 5975 w 10000"/>
                    <a:gd name="connsiteY63" fmla="*/ 510 h 10000"/>
                    <a:gd name="connsiteX64" fmla="*/ 5792 w 10000"/>
                    <a:gd name="connsiteY64" fmla="*/ 291 h 10000"/>
                    <a:gd name="connsiteX65" fmla="*/ 5670 w 10000"/>
                    <a:gd name="connsiteY65" fmla="*/ 73 h 10000"/>
                    <a:gd name="connsiteX66" fmla="*/ 5670 w 10000"/>
                    <a:gd name="connsiteY66" fmla="*/ 73 h 10000"/>
                    <a:gd name="connsiteX67" fmla="*/ 7867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696 w 10000"/>
                    <a:gd name="connsiteY71" fmla="*/ 9857 h 10000"/>
                    <a:gd name="connsiteX72" fmla="*/ 9330 w 10000"/>
                    <a:gd name="connsiteY72" fmla="*/ 9927 h 10000"/>
                    <a:gd name="connsiteX73" fmla="*/ 9330 w 10000"/>
                    <a:gd name="connsiteY73" fmla="*/ 9927 h 10000"/>
                    <a:gd name="connsiteX74" fmla="*/ 9208 w 10000"/>
                    <a:gd name="connsiteY74" fmla="*/ 10000 h 10000"/>
                    <a:gd name="connsiteX75" fmla="*/ 8965 w 10000"/>
                    <a:gd name="connsiteY75" fmla="*/ 9927 h 10000"/>
                    <a:gd name="connsiteX76" fmla="*/ 8781 w 10000"/>
                    <a:gd name="connsiteY76" fmla="*/ 9857 h 10000"/>
                    <a:gd name="connsiteX77" fmla="*/ 8597 w 10000"/>
                    <a:gd name="connsiteY77" fmla="*/ 9707 h 10000"/>
                    <a:gd name="connsiteX78" fmla="*/ 8474 w 10000"/>
                    <a:gd name="connsiteY78" fmla="*/ 9494 h 10000"/>
                    <a:gd name="connsiteX79" fmla="*/ 8292 w 10000"/>
                    <a:gd name="connsiteY79" fmla="*/ 9137 h 10000"/>
                    <a:gd name="connsiteX80" fmla="*/ 8292 w 10000"/>
                    <a:gd name="connsiteY80" fmla="*/ 9137 h 10000"/>
                    <a:gd name="connsiteX81" fmla="*/ 8049 w 10000"/>
                    <a:gd name="connsiteY81" fmla="*/ 8492 h 10000"/>
                    <a:gd name="connsiteX82" fmla="*/ 7927 w 10000"/>
                    <a:gd name="connsiteY82" fmla="*/ 8199 h 10000"/>
                    <a:gd name="connsiteX83" fmla="*/ 7743 w 10000"/>
                    <a:gd name="connsiteY83" fmla="*/ 7987 h 10000"/>
                    <a:gd name="connsiteX84" fmla="*/ 7562 w 10000"/>
                    <a:gd name="connsiteY84" fmla="*/ 7842 h 10000"/>
                    <a:gd name="connsiteX85" fmla="*/ 7318 w 10000"/>
                    <a:gd name="connsiteY85" fmla="*/ 7765 h 10000"/>
                    <a:gd name="connsiteX86" fmla="*/ 7072 w 10000"/>
                    <a:gd name="connsiteY86" fmla="*/ 7695 h 10000"/>
                    <a:gd name="connsiteX87" fmla="*/ 6707 w 10000"/>
                    <a:gd name="connsiteY87" fmla="*/ 7622 h 10000"/>
                    <a:gd name="connsiteX88" fmla="*/ 6707 w 10000"/>
                    <a:gd name="connsiteY88" fmla="*/ 7622 h 10000"/>
                    <a:gd name="connsiteX89" fmla="*/ 6220 w 10000"/>
                    <a:gd name="connsiteY89" fmla="*/ 7695 h 10000"/>
                    <a:gd name="connsiteX90" fmla="*/ 5853 w 10000"/>
                    <a:gd name="connsiteY90" fmla="*/ 7695 h 10000"/>
                    <a:gd name="connsiteX91" fmla="*/ 5732 w 10000"/>
                    <a:gd name="connsiteY91" fmla="*/ 7622 h 10000"/>
                    <a:gd name="connsiteX92" fmla="*/ 5670 w 10000"/>
                    <a:gd name="connsiteY92" fmla="*/ 7550 h 10000"/>
                    <a:gd name="connsiteX93" fmla="*/ 5670 w 10000"/>
                    <a:gd name="connsiteY93" fmla="*/ 7550 h 10000"/>
                    <a:gd name="connsiteX94" fmla="*/ 5670 w 10000"/>
                    <a:gd name="connsiteY94" fmla="*/ 6257 h 10000"/>
                    <a:gd name="connsiteX95" fmla="*/ 5670 w 10000"/>
                    <a:gd name="connsiteY95" fmla="*/ 6257 h 10000"/>
                    <a:gd name="connsiteX96" fmla="*/ 5670 w 10000"/>
                    <a:gd name="connsiteY96" fmla="*/ 5968 h 10000"/>
                    <a:gd name="connsiteX97" fmla="*/ 5548 w 10000"/>
                    <a:gd name="connsiteY97" fmla="*/ 5609 h 10000"/>
                    <a:gd name="connsiteX98" fmla="*/ 5488 w 10000"/>
                    <a:gd name="connsiteY98" fmla="*/ 5539 h 10000"/>
                    <a:gd name="connsiteX99" fmla="*/ 5366 w 10000"/>
                    <a:gd name="connsiteY99" fmla="*/ 5464 h 10000"/>
                    <a:gd name="connsiteX100" fmla="*/ 5244 w 10000"/>
                    <a:gd name="connsiteY100" fmla="*/ 5464 h 10000"/>
                    <a:gd name="connsiteX101" fmla="*/ 5060 w 10000"/>
                    <a:gd name="connsiteY101" fmla="*/ 5539 h 10000"/>
                    <a:gd name="connsiteX102" fmla="*/ 5060 w 10000"/>
                    <a:gd name="connsiteY102" fmla="*/ 5539 h 10000"/>
                    <a:gd name="connsiteX103" fmla="*/ 4390 w 10000"/>
                    <a:gd name="connsiteY103" fmla="*/ 6042 h 10000"/>
                    <a:gd name="connsiteX104" fmla="*/ 4086 w 10000"/>
                    <a:gd name="connsiteY104" fmla="*/ 6185 h 10000"/>
                    <a:gd name="connsiteX105" fmla="*/ 4024 w 10000"/>
                    <a:gd name="connsiteY105" fmla="*/ 6257 h 10000"/>
                    <a:gd name="connsiteX106" fmla="*/ 3964 w 10000"/>
                    <a:gd name="connsiteY106" fmla="*/ 6185 h 10000"/>
                    <a:gd name="connsiteX107" fmla="*/ 3964 w 10000"/>
                    <a:gd name="connsiteY107" fmla="*/ 6185 h 10000"/>
                    <a:gd name="connsiteX108" fmla="*/ 3658 w 10000"/>
                    <a:gd name="connsiteY108" fmla="*/ 5464 h 10000"/>
                    <a:gd name="connsiteX109" fmla="*/ 3658 w 10000"/>
                    <a:gd name="connsiteY109" fmla="*/ 5464 h 10000"/>
                    <a:gd name="connsiteX110" fmla="*/ 3536 w 10000"/>
                    <a:gd name="connsiteY110" fmla="*/ 5108 h 10000"/>
                    <a:gd name="connsiteX111" fmla="*/ 3536 w 10000"/>
                    <a:gd name="connsiteY111" fmla="*/ 4889 h 10000"/>
                    <a:gd name="connsiteX112" fmla="*/ 3536 w 10000"/>
                    <a:gd name="connsiteY112" fmla="*/ 4676 h 10000"/>
                    <a:gd name="connsiteX113" fmla="*/ 3536 w 10000"/>
                    <a:gd name="connsiteY113" fmla="*/ 4676 h 10000"/>
                    <a:gd name="connsiteX114" fmla="*/ 3719 w 10000"/>
                    <a:gd name="connsiteY114" fmla="*/ 4459 h 10000"/>
                    <a:gd name="connsiteX115" fmla="*/ 3842 w 10000"/>
                    <a:gd name="connsiteY115" fmla="*/ 4388 h 10000"/>
                    <a:gd name="connsiteX116" fmla="*/ 3842 w 10000"/>
                    <a:gd name="connsiteY116" fmla="*/ 4388 h 10000"/>
                    <a:gd name="connsiteX117" fmla="*/ 3415 w 10000"/>
                    <a:gd name="connsiteY117" fmla="*/ 4388 h 10000"/>
                    <a:gd name="connsiteX118" fmla="*/ 3108 w 10000"/>
                    <a:gd name="connsiteY118" fmla="*/ 4459 h 10000"/>
                    <a:gd name="connsiteX119" fmla="*/ 2987 w 10000"/>
                    <a:gd name="connsiteY119" fmla="*/ 4537 h 10000"/>
                    <a:gd name="connsiteX120" fmla="*/ 2927 w 10000"/>
                    <a:gd name="connsiteY120" fmla="*/ 4603 h 10000"/>
                    <a:gd name="connsiteX121" fmla="*/ 2927 w 10000"/>
                    <a:gd name="connsiteY121" fmla="*/ 4603 h 10000"/>
                    <a:gd name="connsiteX122" fmla="*/ 2804 w 10000"/>
                    <a:gd name="connsiteY122" fmla="*/ 4889 h 10000"/>
                    <a:gd name="connsiteX123" fmla="*/ 2621 w 10000"/>
                    <a:gd name="connsiteY123" fmla="*/ 5323 h 10000"/>
                    <a:gd name="connsiteX124" fmla="*/ 2317 w 10000"/>
                    <a:gd name="connsiteY124" fmla="*/ 5829 h 10000"/>
                    <a:gd name="connsiteX125" fmla="*/ 1952 w 10000"/>
                    <a:gd name="connsiteY125" fmla="*/ 6185 h 10000"/>
                    <a:gd name="connsiteX126" fmla="*/ 1952 w 10000"/>
                    <a:gd name="connsiteY126" fmla="*/ 6185 h 10000"/>
                    <a:gd name="connsiteX127" fmla="*/ 1585 w 10000"/>
                    <a:gd name="connsiteY127" fmla="*/ 6471 h 10000"/>
                    <a:gd name="connsiteX128" fmla="*/ 1036 w 10000"/>
                    <a:gd name="connsiteY128" fmla="*/ 6762 h 10000"/>
                    <a:gd name="connsiteX129" fmla="*/ 0 w 10000"/>
                    <a:gd name="connsiteY129" fmla="*/ 6976 h 10000"/>
                    <a:gd name="connsiteX130" fmla="*/ 0 w 10000"/>
                    <a:gd name="connsiteY130" fmla="*/ 6976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146 w 10000"/>
                    <a:gd name="connsiteY2" fmla="*/ 9927 h 10000"/>
                    <a:gd name="connsiteX3" fmla="*/ 8840 w 10000"/>
                    <a:gd name="connsiteY3" fmla="*/ 9927 h 10000"/>
                    <a:gd name="connsiteX4" fmla="*/ 8719 w 10000"/>
                    <a:gd name="connsiteY4" fmla="*/ 9857 h 10000"/>
                    <a:gd name="connsiteX5" fmla="*/ 8658 w 10000"/>
                    <a:gd name="connsiteY5" fmla="*/ 9782 h 10000"/>
                    <a:gd name="connsiteX6" fmla="*/ 8658 w 10000"/>
                    <a:gd name="connsiteY6" fmla="*/ 9782 h 10000"/>
                    <a:gd name="connsiteX7" fmla="*/ 8292 w 10000"/>
                    <a:gd name="connsiteY7" fmla="*/ 8915 h 10000"/>
                    <a:gd name="connsiteX8" fmla="*/ 7987 w 10000"/>
                    <a:gd name="connsiteY8" fmla="*/ 8129 h 10000"/>
                    <a:gd name="connsiteX9" fmla="*/ 7987 w 10000"/>
                    <a:gd name="connsiteY9" fmla="*/ 8129 h 10000"/>
                    <a:gd name="connsiteX10" fmla="*/ 7867 w 10000"/>
                    <a:gd name="connsiteY10" fmla="*/ 7987 h 10000"/>
                    <a:gd name="connsiteX11" fmla="*/ 7683 w 10000"/>
                    <a:gd name="connsiteY11" fmla="*/ 7842 h 10000"/>
                    <a:gd name="connsiteX12" fmla="*/ 7195 w 10000"/>
                    <a:gd name="connsiteY12" fmla="*/ 7765 h 10000"/>
                    <a:gd name="connsiteX13" fmla="*/ 6585 w 10000"/>
                    <a:gd name="connsiteY13" fmla="*/ 7695 h 10000"/>
                    <a:gd name="connsiteX14" fmla="*/ 6036 w 10000"/>
                    <a:gd name="connsiteY14" fmla="*/ 7695 h 10000"/>
                    <a:gd name="connsiteX15" fmla="*/ 6036 w 10000"/>
                    <a:gd name="connsiteY15" fmla="*/ 7695 h 10000"/>
                    <a:gd name="connsiteX16" fmla="*/ 5792 w 10000"/>
                    <a:gd name="connsiteY16" fmla="*/ 7622 h 10000"/>
                    <a:gd name="connsiteX17" fmla="*/ 5670 w 10000"/>
                    <a:gd name="connsiteY17" fmla="*/ 7484 h 10000"/>
                    <a:gd name="connsiteX18" fmla="*/ 5609 w 10000"/>
                    <a:gd name="connsiteY18" fmla="*/ 7339 h 10000"/>
                    <a:gd name="connsiteX19" fmla="*/ 5609 w 10000"/>
                    <a:gd name="connsiteY19" fmla="*/ 7050 h 10000"/>
                    <a:gd name="connsiteX20" fmla="*/ 5670 w 10000"/>
                    <a:gd name="connsiteY20" fmla="*/ 6471 h 10000"/>
                    <a:gd name="connsiteX21" fmla="*/ 5732 w 10000"/>
                    <a:gd name="connsiteY21" fmla="*/ 6185 h 10000"/>
                    <a:gd name="connsiteX22" fmla="*/ 5670 w 10000"/>
                    <a:gd name="connsiteY22" fmla="*/ 5829 h 10000"/>
                    <a:gd name="connsiteX23" fmla="*/ 5670 w 10000"/>
                    <a:gd name="connsiteY23" fmla="*/ 5829 h 10000"/>
                    <a:gd name="connsiteX24" fmla="*/ 5609 w 10000"/>
                    <a:gd name="connsiteY24" fmla="*/ 5609 h 10000"/>
                    <a:gd name="connsiteX25" fmla="*/ 5548 w 10000"/>
                    <a:gd name="connsiteY25" fmla="*/ 5464 h 10000"/>
                    <a:gd name="connsiteX26" fmla="*/ 5425 w 10000"/>
                    <a:gd name="connsiteY26" fmla="*/ 5464 h 10000"/>
                    <a:gd name="connsiteX27" fmla="*/ 5244 w 10000"/>
                    <a:gd name="connsiteY27" fmla="*/ 5539 h 10000"/>
                    <a:gd name="connsiteX28" fmla="*/ 4877 w 10000"/>
                    <a:gd name="connsiteY28" fmla="*/ 5752 h 10000"/>
                    <a:gd name="connsiteX29" fmla="*/ 4390 w 10000"/>
                    <a:gd name="connsiteY29" fmla="*/ 6117 h 10000"/>
                    <a:gd name="connsiteX30" fmla="*/ 4390 w 10000"/>
                    <a:gd name="connsiteY30" fmla="*/ 6117 h 10000"/>
                    <a:gd name="connsiteX31" fmla="*/ 4086 w 10000"/>
                    <a:gd name="connsiteY31" fmla="*/ 6185 h 10000"/>
                    <a:gd name="connsiteX32" fmla="*/ 3964 w 10000"/>
                    <a:gd name="connsiteY32" fmla="*/ 6185 h 10000"/>
                    <a:gd name="connsiteX33" fmla="*/ 3902 w 10000"/>
                    <a:gd name="connsiteY33" fmla="*/ 6117 h 10000"/>
                    <a:gd name="connsiteX34" fmla="*/ 3842 w 10000"/>
                    <a:gd name="connsiteY34" fmla="*/ 5829 h 10000"/>
                    <a:gd name="connsiteX35" fmla="*/ 3658 w 10000"/>
                    <a:gd name="connsiteY35" fmla="*/ 5464 h 10000"/>
                    <a:gd name="connsiteX36" fmla="*/ 3658 w 10000"/>
                    <a:gd name="connsiteY36" fmla="*/ 5464 h 10000"/>
                    <a:gd name="connsiteX37" fmla="*/ 3536 w 10000"/>
                    <a:gd name="connsiteY37" fmla="*/ 5254 h 10000"/>
                    <a:gd name="connsiteX38" fmla="*/ 3536 w 10000"/>
                    <a:gd name="connsiteY38" fmla="*/ 5035 h 10000"/>
                    <a:gd name="connsiteX39" fmla="*/ 3536 w 10000"/>
                    <a:gd name="connsiteY39" fmla="*/ 4889 h 10000"/>
                    <a:gd name="connsiteX40" fmla="*/ 3599 w 10000"/>
                    <a:gd name="connsiteY40" fmla="*/ 4750 h 10000"/>
                    <a:gd name="connsiteX41" fmla="*/ 3719 w 10000"/>
                    <a:gd name="connsiteY41" fmla="*/ 4459 h 10000"/>
                    <a:gd name="connsiteX42" fmla="*/ 3842 w 10000"/>
                    <a:gd name="connsiteY42" fmla="*/ 4388 h 10000"/>
                    <a:gd name="connsiteX43" fmla="*/ 3842 w 10000"/>
                    <a:gd name="connsiteY43" fmla="*/ 4388 h 10000"/>
                    <a:gd name="connsiteX44" fmla="*/ 3842 w 10000"/>
                    <a:gd name="connsiteY44" fmla="*/ 4320 h 10000"/>
                    <a:gd name="connsiteX45" fmla="*/ 3902 w 10000"/>
                    <a:gd name="connsiteY45" fmla="*/ 4245 h 10000"/>
                    <a:gd name="connsiteX46" fmla="*/ 4147 w 10000"/>
                    <a:gd name="connsiteY46" fmla="*/ 4170 h 10000"/>
                    <a:gd name="connsiteX47" fmla="*/ 4877 w 10000"/>
                    <a:gd name="connsiteY47" fmla="*/ 4031 h 10000"/>
                    <a:gd name="connsiteX48" fmla="*/ 6158 w 10000"/>
                    <a:gd name="connsiteY48" fmla="*/ 3815 h 10000"/>
                    <a:gd name="connsiteX49" fmla="*/ 6158 w 10000"/>
                    <a:gd name="connsiteY49" fmla="*/ 3815 h 10000"/>
                    <a:gd name="connsiteX50" fmla="*/ 6891 w 10000"/>
                    <a:gd name="connsiteY50" fmla="*/ 3598 h 10000"/>
                    <a:gd name="connsiteX51" fmla="*/ 8231 w 10000"/>
                    <a:gd name="connsiteY51" fmla="*/ 3165 h 10000"/>
                    <a:gd name="connsiteX52" fmla="*/ 8231 w 10000"/>
                    <a:gd name="connsiteY52" fmla="*/ 3165 h 10000"/>
                    <a:gd name="connsiteX53" fmla="*/ 8537 w 10000"/>
                    <a:gd name="connsiteY53" fmla="*/ 3013 h 10000"/>
                    <a:gd name="connsiteX54" fmla="*/ 8658 w 10000"/>
                    <a:gd name="connsiteY54" fmla="*/ 2803 h 10000"/>
                    <a:gd name="connsiteX55" fmla="*/ 8781 w 10000"/>
                    <a:gd name="connsiteY55" fmla="*/ 2660 h 10000"/>
                    <a:gd name="connsiteX56" fmla="*/ 8719 w 10000"/>
                    <a:gd name="connsiteY56" fmla="*/ 2516 h 10000"/>
                    <a:gd name="connsiteX57" fmla="*/ 8719 w 10000"/>
                    <a:gd name="connsiteY57" fmla="*/ 2372 h 10000"/>
                    <a:gd name="connsiteX58" fmla="*/ 8597 w 10000"/>
                    <a:gd name="connsiteY58" fmla="*/ 2228 h 10000"/>
                    <a:gd name="connsiteX59" fmla="*/ 8415 w 10000"/>
                    <a:gd name="connsiteY59" fmla="*/ 2014 h 10000"/>
                    <a:gd name="connsiteX60" fmla="*/ 8415 w 10000"/>
                    <a:gd name="connsiteY60" fmla="*/ 2014 h 10000"/>
                    <a:gd name="connsiteX61" fmla="*/ 6220 w 10000"/>
                    <a:gd name="connsiteY61" fmla="*/ 722 h 10000"/>
                    <a:gd name="connsiteX62" fmla="*/ 6220 w 10000"/>
                    <a:gd name="connsiteY62" fmla="*/ 722 h 10000"/>
                    <a:gd name="connsiteX63" fmla="*/ 5975 w 10000"/>
                    <a:gd name="connsiteY63" fmla="*/ 510 h 10000"/>
                    <a:gd name="connsiteX64" fmla="*/ 5792 w 10000"/>
                    <a:gd name="connsiteY64" fmla="*/ 291 h 10000"/>
                    <a:gd name="connsiteX65" fmla="*/ 5670 w 10000"/>
                    <a:gd name="connsiteY65" fmla="*/ 73 h 10000"/>
                    <a:gd name="connsiteX66" fmla="*/ 5670 w 10000"/>
                    <a:gd name="connsiteY66" fmla="*/ 73 h 10000"/>
                    <a:gd name="connsiteX67" fmla="*/ 7867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696 w 10000"/>
                    <a:gd name="connsiteY71" fmla="*/ 9857 h 10000"/>
                    <a:gd name="connsiteX72" fmla="*/ 9330 w 10000"/>
                    <a:gd name="connsiteY72" fmla="*/ 9927 h 10000"/>
                    <a:gd name="connsiteX73" fmla="*/ 9330 w 10000"/>
                    <a:gd name="connsiteY73" fmla="*/ 9927 h 10000"/>
                    <a:gd name="connsiteX74" fmla="*/ 9208 w 10000"/>
                    <a:gd name="connsiteY74" fmla="*/ 10000 h 10000"/>
                    <a:gd name="connsiteX75" fmla="*/ 8965 w 10000"/>
                    <a:gd name="connsiteY75" fmla="*/ 9927 h 10000"/>
                    <a:gd name="connsiteX76" fmla="*/ 8781 w 10000"/>
                    <a:gd name="connsiteY76" fmla="*/ 9857 h 10000"/>
                    <a:gd name="connsiteX77" fmla="*/ 8597 w 10000"/>
                    <a:gd name="connsiteY77" fmla="*/ 9707 h 10000"/>
                    <a:gd name="connsiteX78" fmla="*/ 8474 w 10000"/>
                    <a:gd name="connsiteY78" fmla="*/ 9494 h 10000"/>
                    <a:gd name="connsiteX79" fmla="*/ 8292 w 10000"/>
                    <a:gd name="connsiteY79" fmla="*/ 9137 h 10000"/>
                    <a:gd name="connsiteX80" fmla="*/ 8292 w 10000"/>
                    <a:gd name="connsiteY80" fmla="*/ 9137 h 10000"/>
                    <a:gd name="connsiteX81" fmla="*/ 8049 w 10000"/>
                    <a:gd name="connsiteY81" fmla="*/ 8492 h 10000"/>
                    <a:gd name="connsiteX82" fmla="*/ 7927 w 10000"/>
                    <a:gd name="connsiteY82" fmla="*/ 8199 h 10000"/>
                    <a:gd name="connsiteX83" fmla="*/ 7743 w 10000"/>
                    <a:gd name="connsiteY83" fmla="*/ 7987 h 10000"/>
                    <a:gd name="connsiteX84" fmla="*/ 7562 w 10000"/>
                    <a:gd name="connsiteY84" fmla="*/ 7842 h 10000"/>
                    <a:gd name="connsiteX85" fmla="*/ 7318 w 10000"/>
                    <a:gd name="connsiteY85" fmla="*/ 7765 h 10000"/>
                    <a:gd name="connsiteX86" fmla="*/ 7072 w 10000"/>
                    <a:gd name="connsiteY86" fmla="*/ 7695 h 10000"/>
                    <a:gd name="connsiteX87" fmla="*/ 6707 w 10000"/>
                    <a:gd name="connsiteY87" fmla="*/ 7622 h 10000"/>
                    <a:gd name="connsiteX88" fmla="*/ 6707 w 10000"/>
                    <a:gd name="connsiteY88" fmla="*/ 7622 h 10000"/>
                    <a:gd name="connsiteX89" fmla="*/ 6220 w 10000"/>
                    <a:gd name="connsiteY89" fmla="*/ 7695 h 10000"/>
                    <a:gd name="connsiteX90" fmla="*/ 5853 w 10000"/>
                    <a:gd name="connsiteY90" fmla="*/ 7695 h 10000"/>
                    <a:gd name="connsiteX91" fmla="*/ 5732 w 10000"/>
                    <a:gd name="connsiteY91" fmla="*/ 7622 h 10000"/>
                    <a:gd name="connsiteX92" fmla="*/ 5670 w 10000"/>
                    <a:gd name="connsiteY92" fmla="*/ 7550 h 10000"/>
                    <a:gd name="connsiteX93" fmla="*/ 5670 w 10000"/>
                    <a:gd name="connsiteY93" fmla="*/ 7550 h 10000"/>
                    <a:gd name="connsiteX94" fmla="*/ 5670 w 10000"/>
                    <a:gd name="connsiteY94" fmla="*/ 6257 h 10000"/>
                    <a:gd name="connsiteX95" fmla="*/ 5670 w 10000"/>
                    <a:gd name="connsiteY95" fmla="*/ 6257 h 10000"/>
                    <a:gd name="connsiteX96" fmla="*/ 5670 w 10000"/>
                    <a:gd name="connsiteY96" fmla="*/ 5968 h 10000"/>
                    <a:gd name="connsiteX97" fmla="*/ 5548 w 10000"/>
                    <a:gd name="connsiteY97" fmla="*/ 5609 h 10000"/>
                    <a:gd name="connsiteX98" fmla="*/ 5488 w 10000"/>
                    <a:gd name="connsiteY98" fmla="*/ 5539 h 10000"/>
                    <a:gd name="connsiteX99" fmla="*/ 5366 w 10000"/>
                    <a:gd name="connsiteY99" fmla="*/ 5464 h 10000"/>
                    <a:gd name="connsiteX100" fmla="*/ 5244 w 10000"/>
                    <a:gd name="connsiteY100" fmla="*/ 5464 h 10000"/>
                    <a:gd name="connsiteX101" fmla="*/ 5060 w 10000"/>
                    <a:gd name="connsiteY101" fmla="*/ 5539 h 10000"/>
                    <a:gd name="connsiteX102" fmla="*/ 5060 w 10000"/>
                    <a:gd name="connsiteY102" fmla="*/ 5539 h 10000"/>
                    <a:gd name="connsiteX103" fmla="*/ 4390 w 10000"/>
                    <a:gd name="connsiteY103" fmla="*/ 6042 h 10000"/>
                    <a:gd name="connsiteX104" fmla="*/ 4086 w 10000"/>
                    <a:gd name="connsiteY104" fmla="*/ 6185 h 10000"/>
                    <a:gd name="connsiteX105" fmla="*/ 4024 w 10000"/>
                    <a:gd name="connsiteY105" fmla="*/ 6257 h 10000"/>
                    <a:gd name="connsiteX106" fmla="*/ 3964 w 10000"/>
                    <a:gd name="connsiteY106" fmla="*/ 6185 h 10000"/>
                    <a:gd name="connsiteX107" fmla="*/ 3964 w 10000"/>
                    <a:gd name="connsiteY107" fmla="*/ 6185 h 10000"/>
                    <a:gd name="connsiteX108" fmla="*/ 3658 w 10000"/>
                    <a:gd name="connsiteY108" fmla="*/ 5464 h 10000"/>
                    <a:gd name="connsiteX109" fmla="*/ 3658 w 10000"/>
                    <a:gd name="connsiteY109" fmla="*/ 5464 h 10000"/>
                    <a:gd name="connsiteX110" fmla="*/ 3536 w 10000"/>
                    <a:gd name="connsiteY110" fmla="*/ 5108 h 10000"/>
                    <a:gd name="connsiteX111" fmla="*/ 3536 w 10000"/>
                    <a:gd name="connsiteY111" fmla="*/ 4889 h 10000"/>
                    <a:gd name="connsiteX112" fmla="*/ 3536 w 10000"/>
                    <a:gd name="connsiteY112" fmla="*/ 4676 h 10000"/>
                    <a:gd name="connsiteX113" fmla="*/ 3536 w 10000"/>
                    <a:gd name="connsiteY113" fmla="*/ 4676 h 10000"/>
                    <a:gd name="connsiteX114" fmla="*/ 3719 w 10000"/>
                    <a:gd name="connsiteY114" fmla="*/ 4459 h 10000"/>
                    <a:gd name="connsiteX115" fmla="*/ 3842 w 10000"/>
                    <a:gd name="connsiteY115" fmla="*/ 4388 h 10000"/>
                    <a:gd name="connsiteX116" fmla="*/ 3842 w 10000"/>
                    <a:gd name="connsiteY116" fmla="*/ 4388 h 10000"/>
                    <a:gd name="connsiteX117" fmla="*/ 3415 w 10000"/>
                    <a:gd name="connsiteY117" fmla="*/ 4388 h 10000"/>
                    <a:gd name="connsiteX118" fmla="*/ 3108 w 10000"/>
                    <a:gd name="connsiteY118" fmla="*/ 4459 h 10000"/>
                    <a:gd name="connsiteX119" fmla="*/ 2987 w 10000"/>
                    <a:gd name="connsiteY119" fmla="*/ 4537 h 10000"/>
                    <a:gd name="connsiteX120" fmla="*/ 2927 w 10000"/>
                    <a:gd name="connsiteY120" fmla="*/ 4603 h 10000"/>
                    <a:gd name="connsiteX121" fmla="*/ 2927 w 10000"/>
                    <a:gd name="connsiteY121" fmla="*/ 4603 h 10000"/>
                    <a:gd name="connsiteX122" fmla="*/ 2804 w 10000"/>
                    <a:gd name="connsiteY122" fmla="*/ 4889 h 10000"/>
                    <a:gd name="connsiteX123" fmla="*/ 2621 w 10000"/>
                    <a:gd name="connsiteY123" fmla="*/ 5323 h 10000"/>
                    <a:gd name="connsiteX124" fmla="*/ 2317 w 10000"/>
                    <a:gd name="connsiteY124" fmla="*/ 5829 h 10000"/>
                    <a:gd name="connsiteX125" fmla="*/ 1952 w 10000"/>
                    <a:gd name="connsiteY125" fmla="*/ 6185 h 10000"/>
                    <a:gd name="connsiteX126" fmla="*/ 1952 w 10000"/>
                    <a:gd name="connsiteY126" fmla="*/ 6185 h 10000"/>
                    <a:gd name="connsiteX127" fmla="*/ 1585 w 10000"/>
                    <a:gd name="connsiteY127" fmla="*/ 6471 h 10000"/>
                    <a:gd name="connsiteX128" fmla="*/ 1036 w 10000"/>
                    <a:gd name="connsiteY128" fmla="*/ 6762 h 10000"/>
                    <a:gd name="connsiteX129" fmla="*/ 397 w 10000"/>
                    <a:gd name="connsiteY129" fmla="*/ 6990 h 10000"/>
                    <a:gd name="connsiteX130" fmla="*/ 0 w 10000"/>
                    <a:gd name="connsiteY130" fmla="*/ 6976 h 10000"/>
                    <a:gd name="connsiteX131" fmla="*/ 0 w 10000"/>
                    <a:gd name="connsiteY131" fmla="*/ 6976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9146 w 10000"/>
                    <a:gd name="connsiteY2" fmla="*/ 9927 h 10000"/>
                    <a:gd name="connsiteX3" fmla="*/ 8840 w 10000"/>
                    <a:gd name="connsiteY3" fmla="*/ 9927 h 10000"/>
                    <a:gd name="connsiteX4" fmla="*/ 8719 w 10000"/>
                    <a:gd name="connsiteY4" fmla="*/ 9857 h 10000"/>
                    <a:gd name="connsiteX5" fmla="*/ 8658 w 10000"/>
                    <a:gd name="connsiteY5" fmla="*/ 9782 h 10000"/>
                    <a:gd name="connsiteX6" fmla="*/ 8658 w 10000"/>
                    <a:gd name="connsiteY6" fmla="*/ 9782 h 10000"/>
                    <a:gd name="connsiteX7" fmla="*/ 8292 w 10000"/>
                    <a:gd name="connsiteY7" fmla="*/ 8915 h 10000"/>
                    <a:gd name="connsiteX8" fmla="*/ 7987 w 10000"/>
                    <a:gd name="connsiteY8" fmla="*/ 8129 h 10000"/>
                    <a:gd name="connsiteX9" fmla="*/ 7987 w 10000"/>
                    <a:gd name="connsiteY9" fmla="*/ 8129 h 10000"/>
                    <a:gd name="connsiteX10" fmla="*/ 7867 w 10000"/>
                    <a:gd name="connsiteY10" fmla="*/ 7987 h 10000"/>
                    <a:gd name="connsiteX11" fmla="*/ 7683 w 10000"/>
                    <a:gd name="connsiteY11" fmla="*/ 7842 h 10000"/>
                    <a:gd name="connsiteX12" fmla="*/ 7195 w 10000"/>
                    <a:gd name="connsiteY12" fmla="*/ 7765 h 10000"/>
                    <a:gd name="connsiteX13" fmla="*/ 6585 w 10000"/>
                    <a:gd name="connsiteY13" fmla="*/ 7695 h 10000"/>
                    <a:gd name="connsiteX14" fmla="*/ 6036 w 10000"/>
                    <a:gd name="connsiteY14" fmla="*/ 7695 h 10000"/>
                    <a:gd name="connsiteX15" fmla="*/ 6036 w 10000"/>
                    <a:gd name="connsiteY15" fmla="*/ 7695 h 10000"/>
                    <a:gd name="connsiteX16" fmla="*/ 5792 w 10000"/>
                    <a:gd name="connsiteY16" fmla="*/ 7622 h 10000"/>
                    <a:gd name="connsiteX17" fmla="*/ 5670 w 10000"/>
                    <a:gd name="connsiteY17" fmla="*/ 7484 h 10000"/>
                    <a:gd name="connsiteX18" fmla="*/ 5609 w 10000"/>
                    <a:gd name="connsiteY18" fmla="*/ 7339 h 10000"/>
                    <a:gd name="connsiteX19" fmla="*/ 5609 w 10000"/>
                    <a:gd name="connsiteY19" fmla="*/ 7050 h 10000"/>
                    <a:gd name="connsiteX20" fmla="*/ 5670 w 10000"/>
                    <a:gd name="connsiteY20" fmla="*/ 6471 h 10000"/>
                    <a:gd name="connsiteX21" fmla="*/ 5732 w 10000"/>
                    <a:gd name="connsiteY21" fmla="*/ 6185 h 10000"/>
                    <a:gd name="connsiteX22" fmla="*/ 5670 w 10000"/>
                    <a:gd name="connsiteY22" fmla="*/ 5829 h 10000"/>
                    <a:gd name="connsiteX23" fmla="*/ 5670 w 10000"/>
                    <a:gd name="connsiteY23" fmla="*/ 5829 h 10000"/>
                    <a:gd name="connsiteX24" fmla="*/ 5609 w 10000"/>
                    <a:gd name="connsiteY24" fmla="*/ 5609 h 10000"/>
                    <a:gd name="connsiteX25" fmla="*/ 5548 w 10000"/>
                    <a:gd name="connsiteY25" fmla="*/ 5464 h 10000"/>
                    <a:gd name="connsiteX26" fmla="*/ 5425 w 10000"/>
                    <a:gd name="connsiteY26" fmla="*/ 5464 h 10000"/>
                    <a:gd name="connsiteX27" fmla="*/ 5244 w 10000"/>
                    <a:gd name="connsiteY27" fmla="*/ 5539 h 10000"/>
                    <a:gd name="connsiteX28" fmla="*/ 4877 w 10000"/>
                    <a:gd name="connsiteY28" fmla="*/ 5752 h 10000"/>
                    <a:gd name="connsiteX29" fmla="*/ 4390 w 10000"/>
                    <a:gd name="connsiteY29" fmla="*/ 6117 h 10000"/>
                    <a:gd name="connsiteX30" fmla="*/ 4390 w 10000"/>
                    <a:gd name="connsiteY30" fmla="*/ 6117 h 10000"/>
                    <a:gd name="connsiteX31" fmla="*/ 4086 w 10000"/>
                    <a:gd name="connsiteY31" fmla="*/ 6185 h 10000"/>
                    <a:gd name="connsiteX32" fmla="*/ 3964 w 10000"/>
                    <a:gd name="connsiteY32" fmla="*/ 6185 h 10000"/>
                    <a:gd name="connsiteX33" fmla="*/ 3902 w 10000"/>
                    <a:gd name="connsiteY33" fmla="*/ 6117 h 10000"/>
                    <a:gd name="connsiteX34" fmla="*/ 3842 w 10000"/>
                    <a:gd name="connsiteY34" fmla="*/ 5829 h 10000"/>
                    <a:gd name="connsiteX35" fmla="*/ 3658 w 10000"/>
                    <a:gd name="connsiteY35" fmla="*/ 5464 h 10000"/>
                    <a:gd name="connsiteX36" fmla="*/ 3658 w 10000"/>
                    <a:gd name="connsiteY36" fmla="*/ 5464 h 10000"/>
                    <a:gd name="connsiteX37" fmla="*/ 3536 w 10000"/>
                    <a:gd name="connsiteY37" fmla="*/ 5254 h 10000"/>
                    <a:gd name="connsiteX38" fmla="*/ 3536 w 10000"/>
                    <a:gd name="connsiteY38" fmla="*/ 5035 h 10000"/>
                    <a:gd name="connsiteX39" fmla="*/ 3536 w 10000"/>
                    <a:gd name="connsiteY39" fmla="*/ 4889 h 10000"/>
                    <a:gd name="connsiteX40" fmla="*/ 3599 w 10000"/>
                    <a:gd name="connsiteY40" fmla="*/ 4750 h 10000"/>
                    <a:gd name="connsiteX41" fmla="*/ 3719 w 10000"/>
                    <a:gd name="connsiteY41" fmla="*/ 4459 h 10000"/>
                    <a:gd name="connsiteX42" fmla="*/ 3842 w 10000"/>
                    <a:gd name="connsiteY42" fmla="*/ 4388 h 10000"/>
                    <a:gd name="connsiteX43" fmla="*/ 3842 w 10000"/>
                    <a:gd name="connsiteY43" fmla="*/ 4388 h 10000"/>
                    <a:gd name="connsiteX44" fmla="*/ 3842 w 10000"/>
                    <a:gd name="connsiteY44" fmla="*/ 4320 h 10000"/>
                    <a:gd name="connsiteX45" fmla="*/ 3902 w 10000"/>
                    <a:gd name="connsiteY45" fmla="*/ 4245 h 10000"/>
                    <a:gd name="connsiteX46" fmla="*/ 4147 w 10000"/>
                    <a:gd name="connsiteY46" fmla="*/ 4170 h 10000"/>
                    <a:gd name="connsiteX47" fmla="*/ 4877 w 10000"/>
                    <a:gd name="connsiteY47" fmla="*/ 4031 h 10000"/>
                    <a:gd name="connsiteX48" fmla="*/ 6158 w 10000"/>
                    <a:gd name="connsiteY48" fmla="*/ 3815 h 10000"/>
                    <a:gd name="connsiteX49" fmla="*/ 6158 w 10000"/>
                    <a:gd name="connsiteY49" fmla="*/ 3815 h 10000"/>
                    <a:gd name="connsiteX50" fmla="*/ 6891 w 10000"/>
                    <a:gd name="connsiteY50" fmla="*/ 3598 h 10000"/>
                    <a:gd name="connsiteX51" fmla="*/ 8231 w 10000"/>
                    <a:gd name="connsiteY51" fmla="*/ 3165 h 10000"/>
                    <a:gd name="connsiteX52" fmla="*/ 8231 w 10000"/>
                    <a:gd name="connsiteY52" fmla="*/ 3165 h 10000"/>
                    <a:gd name="connsiteX53" fmla="*/ 8537 w 10000"/>
                    <a:gd name="connsiteY53" fmla="*/ 3013 h 10000"/>
                    <a:gd name="connsiteX54" fmla="*/ 8658 w 10000"/>
                    <a:gd name="connsiteY54" fmla="*/ 2803 h 10000"/>
                    <a:gd name="connsiteX55" fmla="*/ 8781 w 10000"/>
                    <a:gd name="connsiteY55" fmla="*/ 2660 h 10000"/>
                    <a:gd name="connsiteX56" fmla="*/ 8719 w 10000"/>
                    <a:gd name="connsiteY56" fmla="*/ 2516 h 10000"/>
                    <a:gd name="connsiteX57" fmla="*/ 8719 w 10000"/>
                    <a:gd name="connsiteY57" fmla="*/ 2372 h 10000"/>
                    <a:gd name="connsiteX58" fmla="*/ 8597 w 10000"/>
                    <a:gd name="connsiteY58" fmla="*/ 2228 h 10000"/>
                    <a:gd name="connsiteX59" fmla="*/ 8415 w 10000"/>
                    <a:gd name="connsiteY59" fmla="*/ 2014 h 10000"/>
                    <a:gd name="connsiteX60" fmla="*/ 8415 w 10000"/>
                    <a:gd name="connsiteY60" fmla="*/ 2014 h 10000"/>
                    <a:gd name="connsiteX61" fmla="*/ 6220 w 10000"/>
                    <a:gd name="connsiteY61" fmla="*/ 722 h 10000"/>
                    <a:gd name="connsiteX62" fmla="*/ 6220 w 10000"/>
                    <a:gd name="connsiteY62" fmla="*/ 722 h 10000"/>
                    <a:gd name="connsiteX63" fmla="*/ 5975 w 10000"/>
                    <a:gd name="connsiteY63" fmla="*/ 510 h 10000"/>
                    <a:gd name="connsiteX64" fmla="*/ 5792 w 10000"/>
                    <a:gd name="connsiteY64" fmla="*/ 291 h 10000"/>
                    <a:gd name="connsiteX65" fmla="*/ 5670 w 10000"/>
                    <a:gd name="connsiteY65" fmla="*/ 73 h 10000"/>
                    <a:gd name="connsiteX66" fmla="*/ 5670 w 10000"/>
                    <a:gd name="connsiteY66" fmla="*/ 73 h 10000"/>
                    <a:gd name="connsiteX67" fmla="*/ 7867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696 w 10000"/>
                    <a:gd name="connsiteY71" fmla="*/ 9857 h 10000"/>
                    <a:gd name="connsiteX72" fmla="*/ 9330 w 10000"/>
                    <a:gd name="connsiteY72" fmla="*/ 9927 h 10000"/>
                    <a:gd name="connsiteX73" fmla="*/ 9330 w 10000"/>
                    <a:gd name="connsiteY73" fmla="*/ 9927 h 10000"/>
                    <a:gd name="connsiteX74" fmla="*/ 9208 w 10000"/>
                    <a:gd name="connsiteY74" fmla="*/ 10000 h 10000"/>
                    <a:gd name="connsiteX75" fmla="*/ 8965 w 10000"/>
                    <a:gd name="connsiteY75" fmla="*/ 9927 h 10000"/>
                    <a:gd name="connsiteX76" fmla="*/ 8781 w 10000"/>
                    <a:gd name="connsiteY76" fmla="*/ 9857 h 10000"/>
                    <a:gd name="connsiteX77" fmla="*/ 8597 w 10000"/>
                    <a:gd name="connsiteY77" fmla="*/ 9707 h 10000"/>
                    <a:gd name="connsiteX78" fmla="*/ 8474 w 10000"/>
                    <a:gd name="connsiteY78" fmla="*/ 9494 h 10000"/>
                    <a:gd name="connsiteX79" fmla="*/ 8292 w 10000"/>
                    <a:gd name="connsiteY79" fmla="*/ 9137 h 10000"/>
                    <a:gd name="connsiteX80" fmla="*/ 8292 w 10000"/>
                    <a:gd name="connsiteY80" fmla="*/ 9137 h 10000"/>
                    <a:gd name="connsiteX81" fmla="*/ 8049 w 10000"/>
                    <a:gd name="connsiteY81" fmla="*/ 8492 h 10000"/>
                    <a:gd name="connsiteX82" fmla="*/ 7927 w 10000"/>
                    <a:gd name="connsiteY82" fmla="*/ 8199 h 10000"/>
                    <a:gd name="connsiteX83" fmla="*/ 7743 w 10000"/>
                    <a:gd name="connsiteY83" fmla="*/ 7987 h 10000"/>
                    <a:gd name="connsiteX84" fmla="*/ 7562 w 10000"/>
                    <a:gd name="connsiteY84" fmla="*/ 7842 h 10000"/>
                    <a:gd name="connsiteX85" fmla="*/ 7318 w 10000"/>
                    <a:gd name="connsiteY85" fmla="*/ 7765 h 10000"/>
                    <a:gd name="connsiteX86" fmla="*/ 7072 w 10000"/>
                    <a:gd name="connsiteY86" fmla="*/ 7695 h 10000"/>
                    <a:gd name="connsiteX87" fmla="*/ 6707 w 10000"/>
                    <a:gd name="connsiteY87" fmla="*/ 7622 h 10000"/>
                    <a:gd name="connsiteX88" fmla="*/ 6707 w 10000"/>
                    <a:gd name="connsiteY88" fmla="*/ 7622 h 10000"/>
                    <a:gd name="connsiteX89" fmla="*/ 6220 w 10000"/>
                    <a:gd name="connsiteY89" fmla="*/ 7695 h 10000"/>
                    <a:gd name="connsiteX90" fmla="*/ 5853 w 10000"/>
                    <a:gd name="connsiteY90" fmla="*/ 7695 h 10000"/>
                    <a:gd name="connsiteX91" fmla="*/ 5732 w 10000"/>
                    <a:gd name="connsiteY91" fmla="*/ 7622 h 10000"/>
                    <a:gd name="connsiteX92" fmla="*/ 5670 w 10000"/>
                    <a:gd name="connsiteY92" fmla="*/ 7550 h 10000"/>
                    <a:gd name="connsiteX93" fmla="*/ 5670 w 10000"/>
                    <a:gd name="connsiteY93" fmla="*/ 7550 h 10000"/>
                    <a:gd name="connsiteX94" fmla="*/ 5670 w 10000"/>
                    <a:gd name="connsiteY94" fmla="*/ 6257 h 10000"/>
                    <a:gd name="connsiteX95" fmla="*/ 5670 w 10000"/>
                    <a:gd name="connsiteY95" fmla="*/ 6257 h 10000"/>
                    <a:gd name="connsiteX96" fmla="*/ 5670 w 10000"/>
                    <a:gd name="connsiteY96" fmla="*/ 5968 h 10000"/>
                    <a:gd name="connsiteX97" fmla="*/ 5548 w 10000"/>
                    <a:gd name="connsiteY97" fmla="*/ 5609 h 10000"/>
                    <a:gd name="connsiteX98" fmla="*/ 5488 w 10000"/>
                    <a:gd name="connsiteY98" fmla="*/ 5539 h 10000"/>
                    <a:gd name="connsiteX99" fmla="*/ 5366 w 10000"/>
                    <a:gd name="connsiteY99" fmla="*/ 5464 h 10000"/>
                    <a:gd name="connsiteX100" fmla="*/ 5244 w 10000"/>
                    <a:gd name="connsiteY100" fmla="*/ 5464 h 10000"/>
                    <a:gd name="connsiteX101" fmla="*/ 5060 w 10000"/>
                    <a:gd name="connsiteY101" fmla="*/ 5539 h 10000"/>
                    <a:gd name="connsiteX102" fmla="*/ 5060 w 10000"/>
                    <a:gd name="connsiteY102" fmla="*/ 5539 h 10000"/>
                    <a:gd name="connsiteX103" fmla="*/ 4390 w 10000"/>
                    <a:gd name="connsiteY103" fmla="*/ 6042 h 10000"/>
                    <a:gd name="connsiteX104" fmla="*/ 4086 w 10000"/>
                    <a:gd name="connsiteY104" fmla="*/ 6185 h 10000"/>
                    <a:gd name="connsiteX105" fmla="*/ 4024 w 10000"/>
                    <a:gd name="connsiteY105" fmla="*/ 6257 h 10000"/>
                    <a:gd name="connsiteX106" fmla="*/ 3964 w 10000"/>
                    <a:gd name="connsiteY106" fmla="*/ 6185 h 10000"/>
                    <a:gd name="connsiteX107" fmla="*/ 3964 w 10000"/>
                    <a:gd name="connsiteY107" fmla="*/ 6185 h 10000"/>
                    <a:gd name="connsiteX108" fmla="*/ 3658 w 10000"/>
                    <a:gd name="connsiteY108" fmla="*/ 5464 h 10000"/>
                    <a:gd name="connsiteX109" fmla="*/ 3658 w 10000"/>
                    <a:gd name="connsiteY109" fmla="*/ 5464 h 10000"/>
                    <a:gd name="connsiteX110" fmla="*/ 3536 w 10000"/>
                    <a:gd name="connsiteY110" fmla="*/ 5108 h 10000"/>
                    <a:gd name="connsiteX111" fmla="*/ 3536 w 10000"/>
                    <a:gd name="connsiteY111" fmla="*/ 4889 h 10000"/>
                    <a:gd name="connsiteX112" fmla="*/ 3536 w 10000"/>
                    <a:gd name="connsiteY112" fmla="*/ 4676 h 10000"/>
                    <a:gd name="connsiteX113" fmla="*/ 3536 w 10000"/>
                    <a:gd name="connsiteY113" fmla="*/ 4676 h 10000"/>
                    <a:gd name="connsiteX114" fmla="*/ 3719 w 10000"/>
                    <a:gd name="connsiteY114" fmla="*/ 4459 h 10000"/>
                    <a:gd name="connsiteX115" fmla="*/ 3842 w 10000"/>
                    <a:gd name="connsiteY115" fmla="*/ 4388 h 10000"/>
                    <a:gd name="connsiteX116" fmla="*/ 3842 w 10000"/>
                    <a:gd name="connsiteY116" fmla="*/ 4388 h 10000"/>
                    <a:gd name="connsiteX117" fmla="*/ 3415 w 10000"/>
                    <a:gd name="connsiteY117" fmla="*/ 4388 h 10000"/>
                    <a:gd name="connsiteX118" fmla="*/ 3108 w 10000"/>
                    <a:gd name="connsiteY118" fmla="*/ 4459 h 10000"/>
                    <a:gd name="connsiteX119" fmla="*/ 2987 w 10000"/>
                    <a:gd name="connsiteY119" fmla="*/ 4537 h 10000"/>
                    <a:gd name="connsiteX120" fmla="*/ 2927 w 10000"/>
                    <a:gd name="connsiteY120" fmla="*/ 4603 h 10000"/>
                    <a:gd name="connsiteX121" fmla="*/ 2927 w 10000"/>
                    <a:gd name="connsiteY121" fmla="*/ 4603 h 10000"/>
                    <a:gd name="connsiteX122" fmla="*/ 2804 w 10000"/>
                    <a:gd name="connsiteY122" fmla="*/ 4889 h 10000"/>
                    <a:gd name="connsiteX123" fmla="*/ 2621 w 10000"/>
                    <a:gd name="connsiteY123" fmla="*/ 5323 h 10000"/>
                    <a:gd name="connsiteX124" fmla="*/ 2317 w 10000"/>
                    <a:gd name="connsiteY124" fmla="*/ 5829 h 10000"/>
                    <a:gd name="connsiteX125" fmla="*/ 1952 w 10000"/>
                    <a:gd name="connsiteY125" fmla="*/ 6185 h 10000"/>
                    <a:gd name="connsiteX126" fmla="*/ 1952 w 10000"/>
                    <a:gd name="connsiteY126" fmla="*/ 6185 h 10000"/>
                    <a:gd name="connsiteX127" fmla="*/ 1585 w 10000"/>
                    <a:gd name="connsiteY127" fmla="*/ 6471 h 10000"/>
                    <a:gd name="connsiteX128" fmla="*/ 1036 w 10000"/>
                    <a:gd name="connsiteY128" fmla="*/ 6762 h 10000"/>
                    <a:gd name="connsiteX129" fmla="*/ 397 w 10000"/>
                    <a:gd name="connsiteY129" fmla="*/ 6990 h 10000"/>
                    <a:gd name="connsiteX130" fmla="*/ 0 w 10000"/>
                    <a:gd name="connsiteY130" fmla="*/ 6976 h 10000"/>
                    <a:gd name="connsiteX0" fmla="*/ 9603 w 9603"/>
                    <a:gd name="connsiteY0" fmla="*/ 9857 h 10000"/>
                    <a:gd name="connsiteX1" fmla="*/ 9603 w 9603"/>
                    <a:gd name="connsiteY1" fmla="*/ 9857 h 10000"/>
                    <a:gd name="connsiteX2" fmla="*/ 8749 w 9603"/>
                    <a:gd name="connsiteY2" fmla="*/ 9927 h 10000"/>
                    <a:gd name="connsiteX3" fmla="*/ 8443 w 9603"/>
                    <a:gd name="connsiteY3" fmla="*/ 9927 h 10000"/>
                    <a:gd name="connsiteX4" fmla="*/ 8322 w 9603"/>
                    <a:gd name="connsiteY4" fmla="*/ 9857 h 10000"/>
                    <a:gd name="connsiteX5" fmla="*/ 8261 w 9603"/>
                    <a:gd name="connsiteY5" fmla="*/ 9782 h 10000"/>
                    <a:gd name="connsiteX6" fmla="*/ 8261 w 9603"/>
                    <a:gd name="connsiteY6" fmla="*/ 9782 h 10000"/>
                    <a:gd name="connsiteX7" fmla="*/ 7895 w 9603"/>
                    <a:gd name="connsiteY7" fmla="*/ 8915 h 10000"/>
                    <a:gd name="connsiteX8" fmla="*/ 7590 w 9603"/>
                    <a:gd name="connsiteY8" fmla="*/ 8129 h 10000"/>
                    <a:gd name="connsiteX9" fmla="*/ 7590 w 9603"/>
                    <a:gd name="connsiteY9" fmla="*/ 8129 h 10000"/>
                    <a:gd name="connsiteX10" fmla="*/ 7470 w 9603"/>
                    <a:gd name="connsiteY10" fmla="*/ 7987 h 10000"/>
                    <a:gd name="connsiteX11" fmla="*/ 7286 w 9603"/>
                    <a:gd name="connsiteY11" fmla="*/ 7842 h 10000"/>
                    <a:gd name="connsiteX12" fmla="*/ 6798 w 9603"/>
                    <a:gd name="connsiteY12" fmla="*/ 7765 h 10000"/>
                    <a:gd name="connsiteX13" fmla="*/ 6188 w 9603"/>
                    <a:gd name="connsiteY13" fmla="*/ 7695 h 10000"/>
                    <a:gd name="connsiteX14" fmla="*/ 5639 w 9603"/>
                    <a:gd name="connsiteY14" fmla="*/ 7695 h 10000"/>
                    <a:gd name="connsiteX15" fmla="*/ 5639 w 9603"/>
                    <a:gd name="connsiteY15" fmla="*/ 7695 h 10000"/>
                    <a:gd name="connsiteX16" fmla="*/ 5395 w 9603"/>
                    <a:gd name="connsiteY16" fmla="*/ 7622 h 10000"/>
                    <a:gd name="connsiteX17" fmla="*/ 5273 w 9603"/>
                    <a:gd name="connsiteY17" fmla="*/ 7484 h 10000"/>
                    <a:gd name="connsiteX18" fmla="*/ 5212 w 9603"/>
                    <a:gd name="connsiteY18" fmla="*/ 7339 h 10000"/>
                    <a:gd name="connsiteX19" fmla="*/ 5212 w 9603"/>
                    <a:gd name="connsiteY19" fmla="*/ 7050 h 10000"/>
                    <a:gd name="connsiteX20" fmla="*/ 5273 w 9603"/>
                    <a:gd name="connsiteY20" fmla="*/ 6471 h 10000"/>
                    <a:gd name="connsiteX21" fmla="*/ 5335 w 9603"/>
                    <a:gd name="connsiteY21" fmla="*/ 6185 h 10000"/>
                    <a:gd name="connsiteX22" fmla="*/ 5273 w 9603"/>
                    <a:gd name="connsiteY22" fmla="*/ 5829 h 10000"/>
                    <a:gd name="connsiteX23" fmla="*/ 5273 w 9603"/>
                    <a:gd name="connsiteY23" fmla="*/ 5829 h 10000"/>
                    <a:gd name="connsiteX24" fmla="*/ 5212 w 9603"/>
                    <a:gd name="connsiteY24" fmla="*/ 5609 h 10000"/>
                    <a:gd name="connsiteX25" fmla="*/ 5151 w 9603"/>
                    <a:gd name="connsiteY25" fmla="*/ 5464 h 10000"/>
                    <a:gd name="connsiteX26" fmla="*/ 5028 w 9603"/>
                    <a:gd name="connsiteY26" fmla="*/ 5464 h 10000"/>
                    <a:gd name="connsiteX27" fmla="*/ 4847 w 9603"/>
                    <a:gd name="connsiteY27" fmla="*/ 5539 h 10000"/>
                    <a:gd name="connsiteX28" fmla="*/ 4480 w 9603"/>
                    <a:gd name="connsiteY28" fmla="*/ 5752 h 10000"/>
                    <a:gd name="connsiteX29" fmla="*/ 3993 w 9603"/>
                    <a:gd name="connsiteY29" fmla="*/ 6117 h 10000"/>
                    <a:gd name="connsiteX30" fmla="*/ 3993 w 9603"/>
                    <a:gd name="connsiteY30" fmla="*/ 6117 h 10000"/>
                    <a:gd name="connsiteX31" fmla="*/ 3689 w 9603"/>
                    <a:gd name="connsiteY31" fmla="*/ 6185 h 10000"/>
                    <a:gd name="connsiteX32" fmla="*/ 3567 w 9603"/>
                    <a:gd name="connsiteY32" fmla="*/ 6185 h 10000"/>
                    <a:gd name="connsiteX33" fmla="*/ 3505 w 9603"/>
                    <a:gd name="connsiteY33" fmla="*/ 6117 h 10000"/>
                    <a:gd name="connsiteX34" fmla="*/ 3445 w 9603"/>
                    <a:gd name="connsiteY34" fmla="*/ 5829 h 10000"/>
                    <a:gd name="connsiteX35" fmla="*/ 3261 w 9603"/>
                    <a:gd name="connsiteY35" fmla="*/ 5464 h 10000"/>
                    <a:gd name="connsiteX36" fmla="*/ 3261 w 9603"/>
                    <a:gd name="connsiteY36" fmla="*/ 5464 h 10000"/>
                    <a:gd name="connsiteX37" fmla="*/ 3139 w 9603"/>
                    <a:gd name="connsiteY37" fmla="*/ 5254 h 10000"/>
                    <a:gd name="connsiteX38" fmla="*/ 3139 w 9603"/>
                    <a:gd name="connsiteY38" fmla="*/ 5035 h 10000"/>
                    <a:gd name="connsiteX39" fmla="*/ 3139 w 9603"/>
                    <a:gd name="connsiteY39" fmla="*/ 4889 h 10000"/>
                    <a:gd name="connsiteX40" fmla="*/ 3202 w 9603"/>
                    <a:gd name="connsiteY40" fmla="*/ 4750 h 10000"/>
                    <a:gd name="connsiteX41" fmla="*/ 3322 w 9603"/>
                    <a:gd name="connsiteY41" fmla="*/ 4459 h 10000"/>
                    <a:gd name="connsiteX42" fmla="*/ 3445 w 9603"/>
                    <a:gd name="connsiteY42" fmla="*/ 4388 h 10000"/>
                    <a:gd name="connsiteX43" fmla="*/ 3445 w 9603"/>
                    <a:gd name="connsiteY43" fmla="*/ 4388 h 10000"/>
                    <a:gd name="connsiteX44" fmla="*/ 3445 w 9603"/>
                    <a:gd name="connsiteY44" fmla="*/ 4320 h 10000"/>
                    <a:gd name="connsiteX45" fmla="*/ 3505 w 9603"/>
                    <a:gd name="connsiteY45" fmla="*/ 4245 h 10000"/>
                    <a:gd name="connsiteX46" fmla="*/ 3750 w 9603"/>
                    <a:gd name="connsiteY46" fmla="*/ 4170 h 10000"/>
                    <a:gd name="connsiteX47" fmla="*/ 4480 w 9603"/>
                    <a:gd name="connsiteY47" fmla="*/ 4031 h 10000"/>
                    <a:gd name="connsiteX48" fmla="*/ 5761 w 9603"/>
                    <a:gd name="connsiteY48" fmla="*/ 3815 h 10000"/>
                    <a:gd name="connsiteX49" fmla="*/ 5761 w 9603"/>
                    <a:gd name="connsiteY49" fmla="*/ 3815 h 10000"/>
                    <a:gd name="connsiteX50" fmla="*/ 6494 w 9603"/>
                    <a:gd name="connsiteY50" fmla="*/ 3598 h 10000"/>
                    <a:gd name="connsiteX51" fmla="*/ 7834 w 9603"/>
                    <a:gd name="connsiteY51" fmla="*/ 3165 h 10000"/>
                    <a:gd name="connsiteX52" fmla="*/ 7834 w 9603"/>
                    <a:gd name="connsiteY52" fmla="*/ 3165 h 10000"/>
                    <a:gd name="connsiteX53" fmla="*/ 8140 w 9603"/>
                    <a:gd name="connsiteY53" fmla="*/ 3013 h 10000"/>
                    <a:gd name="connsiteX54" fmla="*/ 8261 w 9603"/>
                    <a:gd name="connsiteY54" fmla="*/ 2803 h 10000"/>
                    <a:gd name="connsiteX55" fmla="*/ 8384 w 9603"/>
                    <a:gd name="connsiteY55" fmla="*/ 2660 h 10000"/>
                    <a:gd name="connsiteX56" fmla="*/ 8322 w 9603"/>
                    <a:gd name="connsiteY56" fmla="*/ 2516 h 10000"/>
                    <a:gd name="connsiteX57" fmla="*/ 8322 w 9603"/>
                    <a:gd name="connsiteY57" fmla="*/ 2372 h 10000"/>
                    <a:gd name="connsiteX58" fmla="*/ 8200 w 9603"/>
                    <a:gd name="connsiteY58" fmla="*/ 2228 h 10000"/>
                    <a:gd name="connsiteX59" fmla="*/ 8018 w 9603"/>
                    <a:gd name="connsiteY59" fmla="*/ 2014 h 10000"/>
                    <a:gd name="connsiteX60" fmla="*/ 8018 w 9603"/>
                    <a:gd name="connsiteY60" fmla="*/ 2014 h 10000"/>
                    <a:gd name="connsiteX61" fmla="*/ 5823 w 9603"/>
                    <a:gd name="connsiteY61" fmla="*/ 722 h 10000"/>
                    <a:gd name="connsiteX62" fmla="*/ 5823 w 9603"/>
                    <a:gd name="connsiteY62" fmla="*/ 722 h 10000"/>
                    <a:gd name="connsiteX63" fmla="*/ 5578 w 9603"/>
                    <a:gd name="connsiteY63" fmla="*/ 510 h 10000"/>
                    <a:gd name="connsiteX64" fmla="*/ 5395 w 9603"/>
                    <a:gd name="connsiteY64" fmla="*/ 291 h 10000"/>
                    <a:gd name="connsiteX65" fmla="*/ 5273 w 9603"/>
                    <a:gd name="connsiteY65" fmla="*/ 73 h 10000"/>
                    <a:gd name="connsiteX66" fmla="*/ 5273 w 9603"/>
                    <a:gd name="connsiteY66" fmla="*/ 73 h 10000"/>
                    <a:gd name="connsiteX67" fmla="*/ 7470 w 9603"/>
                    <a:gd name="connsiteY67" fmla="*/ 0 h 10000"/>
                    <a:gd name="connsiteX68" fmla="*/ 9603 w 9603"/>
                    <a:gd name="connsiteY68" fmla="*/ 722 h 10000"/>
                    <a:gd name="connsiteX69" fmla="*/ 9603 w 9603"/>
                    <a:gd name="connsiteY69" fmla="*/ 9927 h 10000"/>
                    <a:gd name="connsiteX70" fmla="*/ 9603 w 9603"/>
                    <a:gd name="connsiteY70" fmla="*/ 9927 h 10000"/>
                    <a:gd name="connsiteX71" fmla="*/ 9299 w 9603"/>
                    <a:gd name="connsiteY71" fmla="*/ 9857 h 10000"/>
                    <a:gd name="connsiteX72" fmla="*/ 8933 w 9603"/>
                    <a:gd name="connsiteY72" fmla="*/ 9927 h 10000"/>
                    <a:gd name="connsiteX73" fmla="*/ 8933 w 9603"/>
                    <a:gd name="connsiteY73" fmla="*/ 9927 h 10000"/>
                    <a:gd name="connsiteX74" fmla="*/ 8811 w 9603"/>
                    <a:gd name="connsiteY74" fmla="*/ 10000 h 10000"/>
                    <a:gd name="connsiteX75" fmla="*/ 8568 w 9603"/>
                    <a:gd name="connsiteY75" fmla="*/ 9927 h 10000"/>
                    <a:gd name="connsiteX76" fmla="*/ 8384 w 9603"/>
                    <a:gd name="connsiteY76" fmla="*/ 9857 h 10000"/>
                    <a:gd name="connsiteX77" fmla="*/ 8200 w 9603"/>
                    <a:gd name="connsiteY77" fmla="*/ 9707 h 10000"/>
                    <a:gd name="connsiteX78" fmla="*/ 8077 w 9603"/>
                    <a:gd name="connsiteY78" fmla="*/ 9494 h 10000"/>
                    <a:gd name="connsiteX79" fmla="*/ 7895 w 9603"/>
                    <a:gd name="connsiteY79" fmla="*/ 9137 h 10000"/>
                    <a:gd name="connsiteX80" fmla="*/ 7895 w 9603"/>
                    <a:gd name="connsiteY80" fmla="*/ 9137 h 10000"/>
                    <a:gd name="connsiteX81" fmla="*/ 7652 w 9603"/>
                    <a:gd name="connsiteY81" fmla="*/ 8492 h 10000"/>
                    <a:gd name="connsiteX82" fmla="*/ 7530 w 9603"/>
                    <a:gd name="connsiteY82" fmla="*/ 8199 h 10000"/>
                    <a:gd name="connsiteX83" fmla="*/ 7346 w 9603"/>
                    <a:gd name="connsiteY83" fmla="*/ 7987 h 10000"/>
                    <a:gd name="connsiteX84" fmla="*/ 7165 w 9603"/>
                    <a:gd name="connsiteY84" fmla="*/ 7842 h 10000"/>
                    <a:gd name="connsiteX85" fmla="*/ 6921 w 9603"/>
                    <a:gd name="connsiteY85" fmla="*/ 7765 h 10000"/>
                    <a:gd name="connsiteX86" fmla="*/ 6675 w 9603"/>
                    <a:gd name="connsiteY86" fmla="*/ 7695 h 10000"/>
                    <a:gd name="connsiteX87" fmla="*/ 6310 w 9603"/>
                    <a:gd name="connsiteY87" fmla="*/ 7622 h 10000"/>
                    <a:gd name="connsiteX88" fmla="*/ 6310 w 9603"/>
                    <a:gd name="connsiteY88" fmla="*/ 7622 h 10000"/>
                    <a:gd name="connsiteX89" fmla="*/ 5823 w 9603"/>
                    <a:gd name="connsiteY89" fmla="*/ 7695 h 10000"/>
                    <a:gd name="connsiteX90" fmla="*/ 5456 w 9603"/>
                    <a:gd name="connsiteY90" fmla="*/ 7695 h 10000"/>
                    <a:gd name="connsiteX91" fmla="*/ 5335 w 9603"/>
                    <a:gd name="connsiteY91" fmla="*/ 7622 h 10000"/>
                    <a:gd name="connsiteX92" fmla="*/ 5273 w 9603"/>
                    <a:gd name="connsiteY92" fmla="*/ 7550 h 10000"/>
                    <a:gd name="connsiteX93" fmla="*/ 5273 w 9603"/>
                    <a:gd name="connsiteY93" fmla="*/ 7550 h 10000"/>
                    <a:gd name="connsiteX94" fmla="*/ 5273 w 9603"/>
                    <a:gd name="connsiteY94" fmla="*/ 6257 h 10000"/>
                    <a:gd name="connsiteX95" fmla="*/ 5273 w 9603"/>
                    <a:gd name="connsiteY95" fmla="*/ 6257 h 10000"/>
                    <a:gd name="connsiteX96" fmla="*/ 5273 w 9603"/>
                    <a:gd name="connsiteY96" fmla="*/ 5968 h 10000"/>
                    <a:gd name="connsiteX97" fmla="*/ 5151 w 9603"/>
                    <a:gd name="connsiteY97" fmla="*/ 5609 h 10000"/>
                    <a:gd name="connsiteX98" fmla="*/ 5091 w 9603"/>
                    <a:gd name="connsiteY98" fmla="*/ 5539 h 10000"/>
                    <a:gd name="connsiteX99" fmla="*/ 4969 w 9603"/>
                    <a:gd name="connsiteY99" fmla="*/ 5464 h 10000"/>
                    <a:gd name="connsiteX100" fmla="*/ 4847 w 9603"/>
                    <a:gd name="connsiteY100" fmla="*/ 5464 h 10000"/>
                    <a:gd name="connsiteX101" fmla="*/ 4663 w 9603"/>
                    <a:gd name="connsiteY101" fmla="*/ 5539 h 10000"/>
                    <a:gd name="connsiteX102" fmla="*/ 4663 w 9603"/>
                    <a:gd name="connsiteY102" fmla="*/ 5539 h 10000"/>
                    <a:gd name="connsiteX103" fmla="*/ 3993 w 9603"/>
                    <a:gd name="connsiteY103" fmla="*/ 6042 h 10000"/>
                    <a:gd name="connsiteX104" fmla="*/ 3689 w 9603"/>
                    <a:gd name="connsiteY104" fmla="*/ 6185 h 10000"/>
                    <a:gd name="connsiteX105" fmla="*/ 3627 w 9603"/>
                    <a:gd name="connsiteY105" fmla="*/ 6257 h 10000"/>
                    <a:gd name="connsiteX106" fmla="*/ 3567 w 9603"/>
                    <a:gd name="connsiteY106" fmla="*/ 6185 h 10000"/>
                    <a:gd name="connsiteX107" fmla="*/ 3567 w 9603"/>
                    <a:gd name="connsiteY107" fmla="*/ 6185 h 10000"/>
                    <a:gd name="connsiteX108" fmla="*/ 3261 w 9603"/>
                    <a:gd name="connsiteY108" fmla="*/ 5464 h 10000"/>
                    <a:gd name="connsiteX109" fmla="*/ 3261 w 9603"/>
                    <a:gd name="connsiteY109" fmla="*/ 5464 h 10000"/>
                    <a:gd name="connsiteX110" fmla="*/ 3139 w 9603"/>
                    <a:gd name="connsiteY110" fmla="*/ 5108 h 10000"/>
                    <a:gd name="connsiteX111" fmla="*/ 3139 w 9603"/>
                    <a:gd name="connsiteY111" fmla="*/ 4889 h 10000"/>
                    <a:gd name="connsiteX112" fmla="*/ 3139 w 9603"/>
                    <a:gd name="connsiteY112" fmla="*/ 4676 h 10000"/>
                    <a:gd name="connsiteX113" fmla="*/ 3139 w 9603"/>
                    <a:gd name="connsiteY113" fmla="*/ 4676 h 10000"/>
                    <a:gd name="connsiteX114" fmla="*/ 3322 w 9603"/>
                    <a:gd name="connsiteY114" fmla="*/ 4459 h 10000"/>
                    <a:gd name="connsiteX115" fmla="*/ 3445 w 9603"/>
                    <a:gd name="connsiteY115" fmla="*/ 4388 h 10000"/>
                    <a:gd name="connsiteX116" fmla="*/ 3445 w 9603"/>
                    <a:gd name="connsiteY116" fmla="*/ 4388 h 10000"/>
                    <a:gd name="connsiteX117" fmla="*/ 3018 w 9603"/>
                    <a:gd name="connsiteY117" fmla="*/ 4388 h 10000"/>
                    <a:gd name="connsiteX118" fmla="*/ 2711 w 9603"/>
                    <a:gd name="connsiteY118" fmla="*/ 4459 h 10000"/>
                    <a:gd name="connsiteX119" fmla="*/ 2590 w 9603"/>
                    <a:gd name="connsiteY119" fmla="*/ 4537 h 10000"/>
                    <a:gd name="connsiteX120" fmla="*/ 2530 w 9603"/>
                    <a:gd name="connsiteY120" fmla="*/ 4603 h 10000"/>
                    <a:gd name="connsiteX121" fmla="*/ 2530 w 9603"/>
                    <a:gd name="connsiteY121" fmla="*/ 4603 h 10000"/>
                    <a:gd name="connsiteX122" fmla="*/ 2407 w 9603"/>
                    <a:gd name="connsiteY122" fmla="*/ 4889 h 10000"/>
                    <a:gd name="connsiteX123" fmla="*/ 2224 w 9603"/>
                    <a:gd name="connsiteY123" fmla="*/ 5323 h 10000"/>
                    <a:gd name="connsiteX124" fmla="*/ 1920 w 9603"/>
                    <a:gd name="connsiteY124" fmla="*/ 5829 h 10000"/>
                    <a:gd name="connsiteX125" fmla="*/ 1555 w 9603"/>
                    <a:gd name="connsiteY125" fmla="*/ 6185 h 10000"/>
                    <a:gd name="connsiteX126" fmla="*/ 1555 w 9603"/>
                    <a:gd name="connsiteY126" fmla="*/ 6185 h 10000"/>
                    <a:gd name="connsiteX127" fmla="*/ 1188 w 9603"/>
                    <a:gd name="connsiteY127" fmla="*/ 6471 h 10000"/>
                    <a:gd name="connsiteX128" fmla="*/ 639 w 9603"/>
                    <a:gd name="connsiteY128" fmla="*/ 6762 h 10000"/>
                    <a:gd name="connsiteX129" fmla="*/ 0 w 9603"/>
                    <a:gd name="connsiteY129" fmla="*/ 6990 h 10000"/>
                    <a:gd name="connsiteX0" fmla="*/ 9335 w 9335"/>
                    <a:gd name="connsiteY0" fmla="*/ 9857 h 10000"/>
                    <a:gd name="connsiteX1" fmla="*/ 9335 w 9335"/>
                    <a:gd name="connsiteY1" fmla="*/ 9857 h 10000"/>
                    <a:gd name="connsiteX2" fmla="*/ 8446 w 9335"/>
                    <a:gd name="connsiteY2" fmla="*/ 9927 h 10000"/>
                    <a:gd name="connsiteX3" fmla="*/ 8127 w 9335"/>
                    <a:gd name="connsiteY3" fmla="*/ 9927 h 10000"/>
                    <a:gd name="connsiteX4" fmla="*/ 8001 w 9335"/>
                    <a:gd name="connsiteY4" fmla="*/ 9857 h 10000"/>
                    <a:gd name="connsiteX5" fmla="*/ 7938 w 9335"/>
                    <a:gd name="connsiteY5" fmla="*/ 9782 h 10000"/>
                    <a:gd name="connsiteX6" fmla="*/ 7938 w 9335"/>
                    <a:gd name="connsiteY6" fmla="*/ 9782 h 10000"/>
                    <a:gd name="connsiteX7" fmla="*/ 7556 w 9335"/>
                    <a:gd name="connsiteY7" fmla="*/ 8915 h 10000"/>
                    <a:gd name="connsiteX8" fmla="*/ 7239 w 9335"/>
                    <a:gd name="connsiteY8" fmla="*/ 8129 h 10000"/>
                    <a:gd name="connsiteX9" fmla="*/ 7239 w 9335"/>
                    <a:gd name="connsiteY9" fmla="*/ 8129 h 10000"/>
                    <a:gd name="connsiteX10" fmla="*/ 7114 w 9335"/>
                    <a:gd name="connsiteY10" fmla="*/ 7987 h 10000"/>
                    <a:gd name="connsiteX11" fmla="*/ 6922 w 9335"/>
                    <a:gd name="connsiteY11" fmla="*/ 7842 h 10000"/>
                    <a:gd name="connsiteX12" fmla="*/ 6414 w 9335"/>
                    <a:gd name="connsiteY12" fmla="*/ 7765 h 10000"/>
                    <a:gd name="connsiteX13" fmla="*/ 5779 w 9335"/>
                    <a:gd name="connsiteY13" fmla="*/ 7695 h 10000"/>
                    <a:gd name="connsiteX14" fmla="*/ 5207 w 9335"/>
                    <a:gd name="connsiteY14" fmla="*/ 7695 h 10000"/>
                    <a:gd name="connsiteX15" fmla="*/ 5207 w 9335"/>
                    <a:gd name="connsiteY15" fmla="*/ 7695 h 10000"/>
                    <a:gd name="connsiteX16" fmla="*/ 4953 w 9335"/>
                    <a:gd name="connsiteY16" fmla="*/ 7622 h 10000"/>
                    <a:gd name="connsiteX17" fmla="*/ 4826 w 9335"/>
                    <a:gd name="connsiteY17" fmla="*/ 7484 h 10000"/>
                    <a:gd name="connsiteX18" fmla="*/ 4762 w 9335"/>
                    <a:gd name="connsiteY18" fmla="*/ 7339 h 10000"/>
                    <a:gd name="connsiteX19" fmla="*/ 4762 w 9335"/>
                    <a:gd name="connsiteY19" fmla="*/ 7050 h 10000"/>
                    <a:gd name="connsiteX20" fmla="*/ 4826 w 9335"/>
                    <a:gd name="connsiteY20" fmla="*/ 6471 h 10000"/>
                    <a:gd name="connsiteX21" fmla="*/ 4891 w 9335"/>
                    <a:gd name="connsiteY21" fmla="*/ 6185 h 10000"/>
                    <a:gd name="connsiteX22" fmla="*/ 4826 w 9335"/>
                    <a:gd name="connsiteY22" fmla="*/ 5829 h 10000"/>
                    <a:gd name="connsiteX23" fmla="*/ 4826 w 9335"/>
                    <a:gd name="connsiteY23" fmla="*/ 5829 h 10000"/>
                    <a:gd name="connsiteX24" fmla="*/ 4762 w 9335"/>
                    <a:gd name="connsiteY24" fmla="*/ 5609 h 10000"/>
                    <a:gd name="connsiteX25" fmla="*/ 4699 w 9335"/>
                    <a:gd name="connsiteY25" fmla="*/ 5464 h 10000"/>
                    <a:gd name="connsiteX26" fmla="*/ 4571 w 9335"/>
                    <a:gd name="connsiteY26" fmla="*/ 5464 h 10000"/>
                    <a:gd name="connsiteX27" fmla="*/ 4382 w 9335"/>
                    <a:gd name="connsiteY27" fmla="*/ 5539 h 10000"/>
                    <a:gd name="connsiteX28" fmla="*/ 4000 w 9335"/>
                    <a:gd name="connsiteY28" fmla="*/ 5752 h 10000"/>
                    <a:gd name="connsiteX29" fmla="*/ 3493 w 9335"/>
                    <a:gd name="connsiteY29" fmla="*/ 6117 h 10000"/>
                    <a:gd name="connsiteX30" fmla="*/ 3493 w 9335"/>
                    <a:gd name="connsiteY30" fmla="*/ 6117 h 10000"/>
                    <a:gd name="connsiteX31" fmla="*/ 3177 w 9335"/>
                    <a:gd name="connsiteY31" fmla="*/ 6185 h 10000"/>
                    <a:gd name="connsiteX32" fmla="*/ 3049 w 9335"/>
                    <a:gd name="connsiteY32" fmla="*/ 6185 h 10000"/>
                    <a:gd name="connsiteX33" fmla="*/ 2985 w 9335"/>
                    <a:gd name="connsiteY33" fmla="*/ 6117 h 10000"/>
                    <a:gd name="connsiteX34" fmla="*/ 2922 w 9335"/>
                    <a:gd name="connsiteY34" fmla="*/ 5829 h 10000"/>
                    <a:gd name="connsiteX35" fmla="*/ 2731 w 9335"/>
                    <a:gd name="connsiteY35" fmla="*/ 5464 h 10000"/>
                    <a:gd name="connsiteX36" fmla="*/ 2731 w 9335"/>
                    <a:gd name="connsiteY36" fmla="*/ 5464 h 10000"/>
                    <a:gd name="connsiteX37" fmla="*/ 2604 w 9335"/>
                    <a:gd name="connsiteY37" fmla="*/ 5254 h 10000"/>
                    <a:gd name="connsiteX38" fmla="*/ 2604 w 9335"/>
                    <a:gd name="connsiteY38" fmla="*/ 5035 h 10000"/>
                    <a:gd name="connsiteX39" fmla="*/ 2604 w 9335"/>
                    <a:gd name="connsiteY39" fmla="*/ 4889 h 10000"/>
                    <a:gd name="connsiteX40" fmla="*/ 2669 w 9335"/>
                    <a:gd name="connsiteY40" fmla="*/ 4750 h 10000"/>
                    <a:gd name="connsiteX41" fmla="*/ 2794 w 9335"/>
                    <a:gd name="connsiteY41" fmla="*/ 4459 h 10000"/>
                    <a:gd name="connsiteX42" fmla="*/ 2922 w 9335"/>
                    <a:gd name="connsiteY42" fmla="*/ 4388 h 10000"/>
                    <a:gd name="connsiteX43" fmla="*/ 2922 w 9335"/>
                    <a:gd name="connsiteY43" fmla="*/ 4388 h 10000"/>
                    <a:gd name="connsiteX44" fmla="*/ 2922 w 9335"/>
                    <a:gd name="connsiteY44" fmla="*/ 4320 h 10000"/>
                    <a:gd name="connsiteX45" fmla="*/ 2985 w 9335"/>
                    <a:gd name="connsiteY45" fmla="*/ 4245 h 10000"/>
                    <a:gd name="connsiteX46" fmla="*/ 3240 w 9335"/>
                    <a:gd name="connsiteY46" fmla="*/ 4170 h 10000"/>
                    <a:gd name="connsiteX47" fmla="*/ 4000 w 9335"/>
                    <a:gd name="connsiteY47" fmla="*/ 4031 h 10000"/>
                    <a:gd name="connsiteX48" fmla="*/ 5334 w 9335"/>
                    <a:gd name="connsiteY48" fmla="*/ 3815 h 10000"/>
                    <a:gd name="connsiteX49" fmla="*/ 5334 w 9335"/>
                    <a:gd name="connsiteY49" fmla="*/ 3815 h 10000"/>
                    <a:gd name="connsiteX50" fmla="*/ 6097 w 9335"/>
                    <a:gd name="connsiteY50" fmla="*/ 3598 h 10000"/>
                    <a:gd name="connsiteX51" fmla="*/ 7493 w 9335"/>
                    <a:gd name="connsiteY51" fmla="*/ 3165 h 10000"/>
                    <a:gd name="connsiteX52" fmla="*/ 7493 w 9335"/>
                    <a:gd name="connsiteY52" fmla="*/ 3165 h 10000"/>
                    <a:gd name="connsiteX53" fmla="*/ 7812 w 9335"/>
                    <a:gd name="connsiteY53" fmla="*/ 3013 h 10000"/>
                    <a:gd name="connsiteX54" fmla="*/ 7938 w 9335"/>
                    <a:gd name="connsiteY54" fmla="*/ 2803 h 10000"/>
                    <a:gd name="connsiteX55" fmla="*/ 8066 w 9335"/>
                    <a:gd name="connsiteY55" fmla="*/ 2660 h 10000"/>
                    <a:gd name="connsiteX56" fmla="*/ 8001 w 9335"/>
                    <a:gd name="connsiteY56" fmla="*/ 2516 h 10000"/>
                    <a:gd name="connsiteX57" fmla="*/ 8001 w 9335"/>
                    <a:gd name="connsiteY57" fmla="*/ 2372 h 10000"/>
                    <a:gd name="connsiteX58" fmla="*/ 7874 w 9335"/>
                    <a:gd name="connsiteY58" fmla="*/ 2228 h 10000"/>
                    <a:gd name="connsiteX59" fmla="*/ 7684 w 9335"/>
                    <a:gd name="connsiteY59" fmla="*/ 2014 h 10000"/>
                    <a:gd name="connsiteX60" fmla="*/ 7684 w 9335"/>
                    <a:gd name="connsiteY60" fmla="*/ 2014 h 10000"/>
                    <a:gd name="connsiteX61" fmla="*/ 5399 w 9335"/>
                    <a:gd name="connsiteY61" fmla="*/ 722 h 10000"/>
                    <a:gd name="connsiteX62" fmla="*/ 5399 w 9335"/>
                    <a:gd name="connsiteY62" fmla="*/ 722 h 10000"/>
                    <a:gd name="connsiteX63" fmla="*/ 5144 w 9335"/>
                    <a:gd name="connsiteY63" fmla="*/ 510 h 10000"/>
                    <a:gd name="connsiteX64" fmla="*/ 4953 w 9335"/>
                    <a:gd name="connsiteY64" fmla="*/ 291 h 10000"/>
                    <a:gd name="connsiteX65" fmla="*/ 4826 w 9335"/>
                    <a:gd name="connsiteY65" fmla="*/ 73 h 10000"/>
                    <a:gd name="connsiteX66" fmla="*/ 4826 w 9335"/>
                    <a:gd name="connsiteY66" fmla="*/ 73 h 10000"/>
                    <a:gd name="connsiteX67" fmla="*/ 7114 w 9335"/>
                    <a:gd name="connsiteY67" fmla="*/ 0 h 10000"/>
                    <a:gd name="connsiteX68" fmla="*/ 9335 w 9335"/>
                    <a:gd name="connsiteY68" fmla="*/ 722 h 10000"/>
                    <a:gd name="connsiteX69" fmla="*/ 9335 w 9335"/>
                    <a:gd name="connsiteY69" fmla="*/ 9927 h 10000"/>
                    <a:gd name="connsiteX70" fmla="*/ 9335 w 9335"/>
                    <a:gd name="connsiteY70" fmla="*/ 9927 h 10000"/>
                    <a:gd name="connsiteX71" fmla="*/ 9018 w 9335"/>
                    <a:gd name="connsiteY71" fmla="*/ 9857 h 10000"/>
                    <a:gd name="connsiteX72" fmla="*/ 8637 w 9335"/>
                    <a:gd name="connsiteY72" fmla="*/ 9927 h 10000"/>
                    <a:gd name="connsiteX73" fmla="*/ 8637 w 9335"/>
                    <a:gd name="connsiteY73" fmla="*/ 9927 h 10000"/>
                    <a:gd name="connsiteX74" fmla="*/ 8510 w 9335"/>
                    <a:gd name="connsiteY74" fmla="*/ 10000 h 10000"/>
                    <a:gd name="connsiteX75" fmla="*/ 8257 w 9335"/>
                    <a:gd name="connsiteY75" fmla="*/ 9927 h 10000"/>
                    <a:gd name="connsiteX76" fmla="*/ 8066 w 9335"/>
                    <a:gd name="connsiteY76" fmla="*/ 9857 h 10000"/>
                    <a:gd name="connsiteX77" fmla="*/ 7874 w 9335"/>
                    <a:gd name="connsiteY77" fmla="*/ 9707 h 10000"/>
                    <a:gd name="connsiteX78" fmla="*/ 7746 w 9335"/>
                    <a:gd name="connsiteY78" fmla="*/ 9494 h 10000"/>
                    <a:gd name="connsiteX79" fmla="*/ 7556 w 9335"/>
                    <a:gd name="connsiteY79" fmla="*/ 9137 h 10000"/>
                    <a:gd name="connsiteX80" fmla="*/ 7556 w 9335"/>
                    <a:gd name="connsiteY80" fmla="*/ 9137 h 10000"/>
                    <a:gd name="connsiteX81" fmla="*/ 7303 w 9335"/>
                    <a:gd name="connsiteY81" fmla="*/ 8492 h 10000"/>
                    <a:gd name="connsiteX82" fmla="*/ 7176 w 9335"/>
                    <a:gd name="connsiteY82" fmla="*/ 8199 h 10000"/>
                    <a:gd name="connsiteX83" fmla="*/ 6985 w 9335"/>
                    <a:gd name="connsiteY83" fmla="*/ 7987 h 10000"/>
                    <a:gd name="connsiteX84" fmla="*/ 6796 w 9335"/>
                    <a:gd name="connsiteY84" fmla="*/ 7842 h 10000"/>
                    <a:gd name="connsiteX85" fmla="*/ 6542 w 9335"/>
                    <a:gd name="connsiteY85" fmla="*/ 7765 h 10000"/>
                    <a:gd name="connsiteX86" fmla="*/ 6286 w 9335"/>
                    <a:gd name="connsiteY86" fmla="*/ 7695 h 10000"/>
                    <a:gd name="connsiteX87" fmla="*/ 5906 w 9335"/>
                    <a:gd name="connsiteY87" fmla="*/ 7622 h 10000"/>
                    <a:gd name="connsiteX88" fmla="*/ 5906 w 9335"/>
                    <a:gd name="connsiteY88" fmla="*/ 7622 h 10000"/>
                    <a:gd name="connsiteX89" fmla="*/ 5399 w 9335"/>
                    <a:gd name="connsiteY89" fmla="*/ 7695 h 10000"/>
                    <a:gd name="connsiteX90" fmla="*/ 5017 w 9335"/>
                    <a:gd name="connsiteY90" fmla="*/ 7695 h 10000"/>
                    <a:gd name="connsiteX91" fmla="*/ 4891 w 9335"/>
                    <a:gd name="connsiteY91" fmla="*/ 7622 h 10000"/>
                    <a:gd name="connsiteX92" fmla="*/ 4826 w 9335"/>
                    <a:gd name="connsiteY92" fmla="*/ 7550 h 10000"/>
                    <a:gd name="connsiteX93" fmla="*/ 4826 w 9335"/>
                    <a:gd name="connsiteY93" fmla="*/ 7550 h 10000"/>
                    <a:gd name="connsiteX94" fmla="*/ 4826 w 9335"/>
                    <a:gd name="connsiteY94" fmla="*/ 6257 h 10000"/>
                    <a:gd name="connsiteX95" fmla="*/ 4826 w 9335"/>
                    <a:gd name="connsiteY95" fmla="*/ 6257 h 10000"/>
                    <a:gd name="connsiteX96" fmla="*/ 4826 w 9335"/>
                    <a:gd name="connsiteY96" fmla="*/ 5968 h 10000"/>
                    <a:gd name="connsiteX97" fmla="*/ 4699 w 9335"/>
                    <a:gd name="connsiteY97" fmla="*/ 5609 h 10000"/>
                    <a:gd name="connsiteX98" fmla="*/ 4636 w 9335"/>
                    <a:gd name="connsiteY98" fmla="*/ 5539 h 10000"/>
                    <a:gd name="connsiteX99" fmla="*/ 4509 w 9335"/>
                    <a:gd name="connsiteY99" fmla="*/ 5464 h 10000"/>
                    <a:gd name="connsiteX100" fmla="*/ 4382 w 9335"/>
                    <a:gd name="connsiteY100" fmla="*/ 5464 h 10000"/>
                    <a:gd name="connsiteX101" fmla="*/ 4191 w 9335"/>
                    <a:gd name="connsiteY101" fmla="*/ 5539 h 10000"/>
                    <a:gd name="connsiteX102" fmla="*/ 4191 w 9335"/>
                    <a:gd name="connsiteY102" fmla="*/ 5539 h 10000"/>
                    <a:gd name="connsiteX103" fmla="*/ 3493 w 9335"/>
                    <a:gd name="connsiteY103" fmla="*/ 6042 h 10000"/>
                    <a:gd name="connsiteX104" fmla="*/ 3177 w 9335"/>
                    <a:gd name="connsiteY104" fmla="*/ 6185 h 10000"/>
                    <a:gd name="connsiteX105" fmla="*/ 3112 w 9335"/>
                    <a:gd name="connsiteY105" fmla="*/ 6257 h 10000"/>
                    <a:gd name="connsiteX106" fmla="*/ 3049 w 9335"/>
                    <a:gd name="connsiteY106" fmla="*/ 6185 h 10000"/>
                    <a:gd name="connsiteX107" fmla="*/ 3049 w 9335"/>
                    <a:gd name="connsiteY107" fmla="*/ 6185 h 10000"/>
                    <a:gd name="connsiteX108" fmla="*/ 2731 w 9335"/>
                    <a:gd name="connsiteY108" fmla="*/ 5464 h 10000"/>
                    <a:gd name="connsiteX109" fmla="*/ 2731 w 9335"/>
                    <a:gd name="connsiteY109" fmla="*/ 5464 h 10000"/>
                    <a:gd name="connsiteX110" fmla="*/ 2604 w 9335"/>
                    <a:gd name="connsiteY110" fmla="*/ 5108 h 10000"/>
                    <a:gd name="connsiteX111" fmla="*/ 2604 w 9335"/>
                    <a:gd name="connsiteY111" fmla="*/ 4889 h 10000"/>
                    <a:gd name="connsiteX112" fmla="*/ 2604 w 9335"/>
                    <a:gd name="connsiteY112" fmla="*/ 4676 h 10000"/>
                    <a:gd name="connsiteX113" fmla="*/ 2604 w 9335"/>
                    <a:gd name="connsiteY113" fmla="*/ 4676 h 10000"/>
                    <a:gd name="connsiteX114" fmla="*/ 2794 w 9335"/>
                    <a:gd name="connsiteY114" fmla="*/ 4459 h 10000"/>
                    <a:gd name="connsiteX115" fmla="*/ 2922 w 9335"/>
                    <a:gd name="connsiteY115" fmla="*/ 4388 h 10000"/>
                    <a:gd name="connsiteX116" fmla="*/ 2922 w 9335"/>
                    <a:gd name="connsiteY116" fmla="*/ 4388 h 10000"/>
                    <a:gd name="connsiteX117" fmla="*/ 2478 w 9335"/>
                    <a:gd name="connsiteY117" fmla="*/ 4388 h 10000"/>
                    <a:gd name="connsiteX118" fmla="*/ 2158 w 9335"/>
                    <a:gd name="connsiteY118" fmla="*/ 4459 h 10000"/>
                    <a:gd name="connsiteX119" fmla="*/ 2032 w 9335"/>
                    <a:gd name="connsiteY119" fmla="*/ 4537 h 10000"/>
                    <a:gd name="connsiteX120" fmla="*/ 1970 w 9335"/>
                    <a:gd name="connsiteY120" fmla="*/ 4603 h 10000"/>
                    <a:gd name="connsiteX121" fmla="*/ 1970 w 9335"/>
                    <a:gd name="connsiteY121" fmla="*/ 4603 h 10000"/>
                    <a:gd name="connsiteX122" fmla="*/ 1842 w 9335"/>
                    <a:gd name="connsiteY122" fmla="*/ 4889 h 10000"/>
                    <a:gd name="connsiteX123" fmla="*/ 1651 w 9335"/>
                    <a:gd name="connsiteY123" fmla="*/ 5323 h 10000"/>
                    <a:gd name="connsiteX124" fmla="*/ 1334 w 9335"/>
                    <a:gd name="connsiteY124" fmla="*/ 5829 h 10000"/>
                    <a:gd name="connsiteX125" fmla="*/ 954 w 9335"/>
                    <a:gd name="connsiteY125" fmla="*/ 6185 h 10000"/>
                    <a:gd name="connsiteX126" fmla="*/ 954 w 9335"/>
                    <a:gd name="connsiteY126" fmla="*/ 6185 h 10000"/>
                    <a:gd name="connsiteX127" fmla="*/ 572 w 9335"/>
                    <a:gd name="connsiteY127" fmla="*/ 6471 h 10000"/>
                    <a:gd name="connsiteX128" fmla="*/ 0 w 9335"/>
                    <a:gd name="connsiteY128" fmla="*/ 6762 h 10000"/>
                    <a:gd name="connsiteX0" fmla="*/ 9387 w 9387"/>
                    <a:gd name="connsiteY0" fmla="*/ 9857 h 10000"/>
                    <a:gd name="connsiteX1" fmla="*/ 9387 w 9387"/>
                    <a:gd name="connsiteY1" fmla="*/ 9857 h 10000"/>
                    <a:gd name="connsiteX2" fmla="*/ 8435 w 9387"/>
                    <a:gd name="connsiteY2" fmla="*/ 9927 h 10000"/>
                    <a:gd name="connsiteX3" fmla="*/ 8093 w 9387"/>
                    <a:gd name="connsiteY3" fmla="*/ 9927 h 10000"/>
                    <a:gd name="connsiteX4" fmla="*/ 7958 w 9387"/>
                    <a:gd name="connsiteY4" fmla="*/ 9857 h 10000"/>
                    <a:gd name="connsiteX5" fmla="*/ 7890 w 9387"/>
                    <a:gd name="connsiteY5" fmla="*/ 9782 h 10000"/>
                    <a:gd name="connsiteX6" fmla="*/ 7890 w 9387"/>
                    <a:gd name="connsiteY6" fmla="*/ 9782 h 10000"/>
                    <a:gd name="connsiteX7" fmla="*/ 7481 w 9387"/>
                    <a:gd name="connsiteY7" fmla="*/ 8915 h 10000"/>
                    <a:gd name="connsiteX8" fmla="*/ 7142 w 9387"/>
                    <a:gd name="connsiteY8" fmla="*/ 8129 h 10000"/>
                    <a:gd name="connsiteX9" fmla="*/ 7142 w 9387"/>
                    <a:gd name="connsiteY9" fmla="*/ 8129 h 10000"/>
                    <a:gd name="connsiteX10" fmla="*/ 7008 w 9387"/>
                    <a:gd name="connsiteY10" fmla="*/ 7987 h 10000"/>
                    <a:gd name="connsiteX11" fmla="*/ 6802 w 9387"/>
                    <a:gd name="connsiteY11" fmla="*/ 7842 h 10000"/>
                    <a:gd name="connsiteX12" fmla="*/ 6258 w 9387"/>
                    <a:gd name="connsiteY12" fmla="*/ 7765 h 10000"/>
                    <a:gd name="connsiteX13" fmla="*/ 5578 w 9387"/>
                    <a:gd name="connsiteY13" fmla="*/ 7695 h 10000"/>
                    <a:gd name="connsiteX14" fmla="*/ 4965 w 9387"/>
                    <a:gd name="connsiteY14" fmla="*/ 7695 h 10000"/>
                    <a:gd name="connsiteX15" fmla="*/ 4965 w 9387"/>
                    <a:gd name="connsiteY15" fmla="*/ 7695 h 10000"/>
                    <a:gd name="connsiteX16" fmla="*/ 4693 w 9387"/>
                    <a:gd name="connsiteY16" fmla="*/ 7622 h 10000"/>
                    <a:gd name="connsiteX17" fmla="*/ 4557 w 9387"/>
                    <a:gd name="connsiteY17" fmla="*/ 7484 h 10000"/>
                    <a:gd name="connsiteX18" fmla="*/ 4488 w 9387"/>
                    <a:gd name="connsiteY18" fmla="*/ 7339 h 10000"/>
                    <a:gd name="connsiteX19" fmla="*/ 4488 w 9387"/>
                    <a:gd name="connsiteY19" fmla="*/ 7050 h 10000"/>
                    <a:gd name="connsiteX20" fmla="*/ 4557 w 9387"/>
                    <a:gd name="connsiteY20" fmla="*/ 6471 h 10000"/>
                    <a:gd name="connsiteX21" fmla="*/ 4626 w 9387"/>
                    <a:gd name="connsiteY21" fmla="*/ 6185 h 10000"/>
                    <a:gd name="connsiteX22" fmla="*/ 4557 w 9387"/>
                    <a:gd name="connsiteY22" fmla="*/ 5829 h 10000"/>
                    <a:gd name="connsiteX23" fmla="*/ 4557 w 9387"/>
                    <a:gd name="connsiteY23" fmla="*/ 5829 h 10000"/>
                    <a:gd name="connsiteX24" fmla="*/ 4488 w 9387"/>
                    <a:gd name="connsiteY24" fmla="*/ 5609 h 10000"/>
                    <a:gd name="connsiteX25" fmla="*/ 4421 w 9387"/>
                    <a:gd name="connsiteY25" fmla="*/ 5464 h 10000"/>
                    <a:gd name="connsiteX26" fmla="*/ 4284 w 9387"/>
                    <a:gd name="connsiteY26" fmla="*/ 5464 h 10000"/>
                    <a:gd name="connsiteX27" fmla="*/ 4081 w 9387"/>
                    <a:gd name="connsiteY27" fmla="*/ 5539 h 10000"/>
                    <a:gd name="connsiteX28" fmla="*/ 3672 w 9387"/>
                    <a:gd name="connsiteY28" fmla="*/ 5752 h 10000"/>
                    <a:gd name="connsiteX29" fmla="*/ 3129 w 9387"/>
                    <a:gd name="connsiteY29" fmla="*/ 6117 h 10000"/>
                    <a:gd name="connsiteX30" fmla="*/ 3129 w 9387"/>
                    <a:gd name="connsiteY30" fmla="*/ 6117 h 10000"/>
                    <a:gd name="connsiteX31" fmla="*/ 2790 w 9387"/>
                    <a:gd name="connsiteY31" fmla="*/ 6185 h 10000"/>
                    <a:gd name="connsiteX32" fmla="*/ 2653 w 9387"/>
                    <a:gd name="connsiteY32" fmla="*/ 6185 h 10000"/>
                    <a:gd name="connsiteX33" fmla="*/ 2585 w 9387"/>
                    <a:gd name="connsiteY33" fmla="*/ 6117 h 10000"/>
                    <a:gd name="connsiteX34" fmla="*/ 2517 w 9387"/>
                    <a:gd name="connsiteY34" fmla="*/ 5829 h 10000"/>
                    <a:gd name="connsiteX35" fmla="*/ 2313 w 9387"/>
                    <a:gd name="connsiteY35" fmla="*/ 5464 h 10000"/>
                    <a:gd name="connsiteX36" fmla="*/ 2313 w 9387"/>
                    <a:gd name="connsiteY36" fmla="*/ 5464 h 10000"/>
                    <a:gd name="connsiteX37" fmla="*/ 2177 w 9387"/>
                    <a:gd name="connsiteY37" fmla="*/ 5254 h 10000"/>
                    <a:gd name="connsiteX38" fmla="*/ 2177 w 9387"/>
                    <a:gd name="connsiteY38" fmla="*/ 5035 h 10000"/>
                    <a:gd name="connsiteX39" fmla="*/ 2177 w 9387"/>
                    <a:gd name="connsiteY39" fmla="*/ 4889 h 10000"/>
                    <a:gd name="connsiteX40" fmla="*/ 2246 w 9387"/>
                    <a:gd name="connsiteY40" fmla="*/ 4750 h 10000"/>
                    <a:gd name="connsiteX41" fmla="*/ 2380 w 9387"/>
                    <a:gd name="connsiteY41" fmla="*/ 4459 h 10000"/>
                    <a:gd name="connsiteX42" fmla="*/ 2517 w 9387"/>
                    <a:gd name="connsiteY42" fmla="*/ 4388 h 10000"/>
                    <a:gd name="connsiteX43" fmla="*/ 2517 w 9387"/>
                    <a:gd name="connsiteY43" fmla="*/ 4388 h 10000"/>
                    <a:gd name="connsiteX44" fmla="*/ 2517 w 9387"/>
                    <a:gd name="connsiteY44" fmla="*/ 4320 h 10000"/>
                    <a:gd name="connsiteX45" fmla="*/ 2585 w 9387"/>
                    <a:gd name="connsiteY45" fmla="*/ 4245 h 10000"/>
                    <a:gd name="connsiteX46" fmla="*/ 2858 w 9387"/>
                    <a:gd name="connsiteY46" fmla="*/ 4170 h 10000"/>
                    <a:gd name="connsiteX47" fmla="*/ 3672 w 9387"/>
                    <a:gd name="connsiteY47" fmla="*/ 4031 h 10000"/>
                    <a:gd name="connsiteX48" fmla="*/ 5101 w 9387"/>
                    <a:gd name="connsiteY48" fmla="*/ 3815 h 10000"/>
                    <a:gd name="connsiteX49" fmla="*/ 5101 w 9387"/>
                    <a:gd name="connsiteY49" fmla="*/ 3815 h 10000"/>
                    <a:gd name="connsiteX50" fmla="*/ 5918 w 9387"/>
                    <a:gd name="connsiteY50" fmla="*/ 3598 h 10000"/>
                    <a:gd name="connsiteX51" fmla="*/ 7414 w 9387"/>
                    <a:gd name="connsiteY51" fmla="*/ 3165 h 10000"/>
                    <a:gd name="connsiteX52" fmla="*/ 7414 w 9387"/>
                    <a:gd name="connsiteY52" fmla="*/ 3165 h 10000"/>
                    <a:gd name="connsiteX53" fmla="*/ 7756 w 9387"/>
                    <a:gd name="connsiteY53" fmla="*/ 3013 h 10000"/>
                    <a:gd name="connsiteX54" fmla="*/ 7890 w 9387"/>
                    <a:gd name="connsiteY54" fmla="*/ 2803 h 10000"/>
                    <a:gd name="connsiteX55" fmla="*/ 8028 w 9387"/>
                    <a:gd name="connsiteY55" fmla="*/ 2660 h 10000"/>
                    <a:gd name="connsiteX56" fmla="*/ 7958 w 9387"/>
                    <a:gd name="connsiteY56" fmla="*/ 2516 h 10000"/>
                    <a:gd name="connsiteX57" fmla="*/ 7958 w 9387"/>
                    <a:gd name="connsiteY57" fmla="*/ 2372 h 10000"/>
                    <a:gd name="connsiteX58" fmla="*/ 7822 w 9387"/>
                    <a:gd name="connsiteY58" fmla="*/ 2228 h 10000"/>
                    <a:gd name="connsiteX59" fmla="*/ 7618 w 9387"/>
                    <a:gd name="connsiteY59" fmla="*/ 2014 h 10000"/>
                    <a:gd name="connsiteX60" fmla="*/ 7618 w 9387"/>
                    <a:gd name="connsiteY60" fmla="*/ 2014 h 10000"/>
                    <a:gd name="connsiteX61" fmla="*/ 5171 w 9387"/>
                    <a:gd name="connsiteY61" fmla="*/ 722 h 10000"/>
                    <a:gd name="connsiteX62" fmla="*/ 5171 w 9387"/>
                    <a:gd name="connsiteY62" fmla="*/ 722 h 10000"/>
                    <a:gd name="connsiteX63" fmla="*/ 4897 w 9387"/>
                    <a:gd name="connsiteY63" fmla="*/ 510 h 10000"/>
                    <a:gd name="connsiteX64" fmla="*/ 4693 w 9387"/>
                    <a:gd name="connsiteY64" fmla="*/ 291 h 10000"/>
                    <a:gd name="connsiteX65" fmla="*/ 4557 w 9387"/>
                    <a:gd name="connsiteY65" fmla="*/ 73 h 10000"/>
                    <a:gd name="connsiteX66" fmla="*/ 4557 w 9387"/>
                    <a:gd name="connsiteY66" fmla="*/ 73 h 10000"/>
                    <a:gd name="connsiteX67" fmla="*/ 7008 w 9387"/>
                    <a:gd name="connsiteY67" fmla="*/ 0 h 10000"/>
                    <a:gd name="connsiteX68" fmla="*/ 9387 w 9387"/>
                    <a:gd name="connsiteY68" fmla="*/ 722 h 10000"/>
                    <a:gd name="connsiteX69" fmla="*/ 9387 w 9387"/>
                    <a:gd name="connsiteY69" fmla="*/ 9927 h 10000"/>
                    <a:gd name="connsiteX70" fmla="*/ 9387 w 9387"/>
                    <a:gd name="connsiteY70" fmla="*/ 9927 h 10000"/>
                    <a:gd name="connsiteX71" fmla="*/ 9047 w 9387"/>
                    <a:gd name="connsiteY71" fmla="*/ 9857 h 10000"/>
                    <a:gd name="connsiteX72" fmla="*/ 8639 w 9387"/>
                    <a:gd name="connsiteY72" fmla="*/ 9927 h 10000"/>
                    <a:gd name="connsiteX73" fmla="*/ 8639 w 9387"/>
                    <a:gd name="connsiteY73" fmla="*/ 9927 h 10000"/>
                    <a:gd name="connsiteX74" fmla="*/ 8503 w 9387"/>
                    <a:gd name="connsiteY74" fmla="*/ 10000 h 10000"/>
                    <a:gd name="connsiteX75" fmla="*/ 8232 w 9387"/>
                    <a:gd name="connsiteY75" fmla="*/ 9927 h 10000"/>
                    <a:gd name="connsiteX76" fmla="*/ 8028 w 9387"/>
                    <a:gd name="connsiteY76" fmla="*/ 9857 h 10000"/>
                    <a:gd name="connsiteX77" fmla="*/ 7822 w 9387"/>
                    <a:gd name="connsiteY77" fmla="*/ 9707 h 10000"/>
                    <a:gd name="connsiteX78" fmla="*/ 7685 w 9387"/>
                    <a:gd name="connsiteY78" fmla="*/ 9494 h 10000"/>
                    <a:gd name="connsiteX79" fmla="*/ 7481 w 9387"/>
                    <a:gd name="connsiteY79" fmla="*/ 9137 h 10000"/>
                    <a:gd name="connsiteX80" fmla="*/ 7481 w 9387"/>
                    <a:gd name="connsiteY80" fmla="*/ 9137 h 10000"/>
                    <a:gd name="connsiteX81" fmla="*/ 7210 w 9387"/>
                    <a:gd name="connsiteY81" fmla="*/ 8492 h 10000"/>
                    <a:gd name="connsiteX82" fmla="*/ 7074 w 9387"/>
                    <a:gd name="connsiteY82" fmla="*/ 8199 h 10000"/>
                    <a:gd name="connsiteX83" fmla="*/ 6870 w 9387"/>
                    <a:gd name="connsiteY83" fmla="*/ 7987 h 10000"/>
                    <a:gd name="connsiteX84" fmla="*/ 6667 w 9387"/>
                    <a:gd name="connsiteY84" fmla="*/ 7842 h 10000"/>
                    <a:gd name="connsiteX85" fmla="*/ 6395 w 9387"/>
                    <a:gd name="connsiteY85" fmla="*/ 7765 h 10000"/>
                    <a:gd name="connsiteX86" fmla="*/ 6121 w 9387"/>
                    <a:gd name="connsiteY86" fmla="*/ 7695 h 10000"/>
                    <a:gd name="connsiteX87" fmla="*/ 5714 w 9387"/>
                    <a:gd name="connsiteY87" fmla="*/ 7622 h 10000"/>
                    <a:gd name="connsiteX88" fmla="*/ 5714 w 9387"/>
                    <a:gd name="connsiteY88" fmla="*/ 7622 h 10000"/>
                    <a:gd name="connsiteX89" fmla="*/ 5171 w 9387"/>
                    <a:gd name="connsiteY89" fmla="*/ 7695 h 10000"/>
                    <a:gd name="connsiteX90" fmla="*/ 4761 w 9387"/>
                    <a:gd name="connsiteY90" fmla="*/ 7695 h 10000"/>
                    <a:gd name="connsiteX91" fmla="*/ 4626 w 9387"/>
                    <a:gd name="connsiteY91" fmla="*/ 7622 h 10000"/>
                    <a:gd name="connsiteX92" fmla="*/ 4557 w 9387"/>
                    <a:gd name="connsiteY92" fmla="*/ 7550 h 10000"/>
                    <a:gd name="connsiteX93" fmla="*/ 4557 w 9387"/>
                    <a:gd name="connsiteY93" fmla="*/ 7550 h 10000"/>
                    <a:gd name="connsiteX94" fmla="*/ 4557 w 9387"/>
                    <a:gd name="connsiteY94" fmla="*/ 6257 h 10000"/>
                    <a:gd name="connsiteX95" fmla="*/ 4557 w 9387"/>
                    <a:gd name="connsiteY95" fmla="*/ 6257 h 10000"/>
                    <a:gd name="connsiteX96" fmla="*/ 4557 w 9387"/>
                    <a:gd name="connsiteY96" fmla="*/ 5968 h 10000"/>
                    <a:gd name="connsiteX97" fmla="*/ 4421 w 9387"/>
                    <a:gd name="connsiteY97" fmla="*/ 5609 h 10000"/>
                    <a:gd name="connsiteX98" fmla="*/ 4353 w 9387"/>
                    <a:gd name="connsiteY98" fmla="*/ 5539 h 10000"/>
                    <a:gd name="connsiteX99" fmla="*/ 4217 w 9387"/>
                    <a:gd name="connsiteY99" fmla="*/ 5464 h 10000"/>
                    <a:gd name="connsiteX100" fmla="*/ 4081 w 9387"/>
                    <a:gd name="connsiteY100" fmla="*/ 5464 h 10000"/>
                    <a:gd name="connsiteX101" fmla="*/ 3877 w 9387"/>
                    <a:gd name="connsiteY101" fmla="*/ 5539 h 10000"/>
                    <a:gd name="connsiteX102" fmla="*/ 3877 w 9387"/>
                    <a:gd name="connsiteY102" fmla="*/ 5539 h 10000"/>
                    <a:gd name="connsiteX103" fmla="*/ 3129 w 9387"/>
                    <a:gd name="connsiteY103" fmla="*/ 6042 h 10000"/>
                    <a:gd name="connsiteX104" fmla="*/ 2790 w 9387"/>
                    <a:gd name="connsiteY104" fmla="*/ 6185 h 10000"/>
                    <a:gd name="connsiteX105" fmla="*/ 2721 w 9387"/>
                    <a:gd name="connsiteY105" fmla="*/ 6257 h 10000"/>
                    <a:gd name="connsiteX106" fmla="*/ 2653 w 9387"/>
                    <a:gd name="connsiteY106" fmla="*/ 6185 h 10000"/>
                    <a:gd name="connsiteX107" fmla="*/ 2653 w 9387"/>
                    <a:gd name="connsiteY107" fmla="*/ 6185 h 10000"/>
                    <a:gd name="connsiteX108" fmla="*/ 2313 w 9387"/>
                    <a:gd name="connsiteY108" fmla="*/ 5464 h 10000"/>
                    <a:gd name="connsiteX109" fmla="*/ 2313 w 9387"/>
                    <a:gd name="connsiteY109" fmla="*/ 5464 h 10000"/>
                    <a:gd name="connsiteX110" fmla="*/ 2177 w 9387"/>
                    <a:gd name="connsiteY110" fmla="*/ 5108 h 10000"/>
                    <a:gd name="connsiteX111" fmla="*/ 2177 w 9387"/>
                    <a:gd name="connsiteY111" fmla="*/ 4889 h 10000"/>
                    <a:gd name="connsiteX112" fmla="*/ 2177 w 9387"/>
                    <a:gd name="connsiteY112" fmla="*/ 4676 h 10000"/>
                    <a:gd name="connsiteX113" fmla="*/ 2177 w 9387"/>
                    <a:gd name="connsiteY113" fmla="*/ 4676 h 10000"/>
                    <a:gd name="connsiteX114" fmla="*/ 2380 w 9387"/>
                    <a:gd name="connsiteY114" fmla="*/ 4459 h 10000"/>
                    <a:gd name="connsiteX115" fmla="*/ 2517 w 9387"/>
                    <a:gd name="connsiteY115" fmla="*/ 4388 h 10000"/>
                    <a:gd name="connsiteX116" fmla="*/ 2517 w 9387"/>
                    <a:gd name="connsiteY116" fmla="*/ 4388 h 10000"/>
                    <a:gd name="connsiteX117" fmla="*/ 2042 w 9387"/>
                    <a:gd name="connsiteY117" fmla="*/ 4388 h 10000"/>
                    <a:gd name="connsiteX118" fmla="*/ 1699 w 9387"/>
                    <a:gd name="connsiteY118" fmla="*/ 4459 h 10000"/>
                    <a:gd name="connsiteX119" fmla="*/ 1564 w 9387"/>
                    <a:gd name="connsiteY119" fmla="*/ 4537 h 10000"/>
                    <a:gd name="connsiteX120" fmla="*/ 1497 w 9387"/>
                    <a:gd name="connsiteY120" fmla="*/ 4603 h 10000"/>
                    <a:gd name="connsiteX121" fmla="*/ 1497 w 9387"/>
                    <a:gd name="connsiteY121" fmla="*/ 4603 h 10000"/>
                    <a:gd name="connsiteX122" fmla="*/ 1360 w 9387"/>
                    <a:gd name="connsiteY122" fmla="*/ 4889 h 10000"/>
                    <a:gd name="connsiteX123" fmla="*/ 1156 w 9387"/>
                    <a:gd name="connsiteY123" fmla="*/ 5323 h 10000"/>
                    <a:gd name="connsiteX124" fmla="*/ 816 w 9387"/>
                    <a:gd name="connsiteY124" fmla="*/ 5829 h 10000"/>
                    <a:gd name="connsiteX125" fmla="*/ 409 w 9387"/>
                    <a:gd name="connsiteY125" fmla="*/ 6185 h 10000"/>
                    <a:gd name="connsiteX126" fmla="*/ 409 w 9387"/>
                    <a:gd name="connsiteY126" fmla="*/ 6185 h 10000"/>
                    <a:gd name="connsiteX127" fmla="*/ 0 w 9387"/>
                    <a:gd name="connsiteY127" fmla="*/ 6471 h 10000"/>
                    <a:gd name="connsiteX0" fmla="*/ 9564 w 9564"/>
                    <a:gd name="connsiteY0" fmla="*/ 9857 h 10000"/>
                    <a:gd name="connsiteX1" fmla="*/ 9564 w 9564"/>
                    <a:gd name="connsiteY1" fmla="*/ 9857 h 10000"/>
                    <a:gd name="connsiteX2" fmla="*/ 8550 w 9564"/>
                    <a:gd name="connsiteY2" fmla="*/ 9927 h 10000"/>
                    <a:gd name="connsiteX3" fmla="*/ 8185 w 9564"/>
                    <a:gd name="connsiteY3" fmla="*/ 9927 h 10000"/>
                    <a:gd name="connsiteX4" fmla="*/ 8042 w 9564"/>
                    <a:gd name="connsiteY4" fmla="*/ 9857 h 10000"/>
                    <a:gd name="connsiteX5" fmla="*/ 7969 w 9564"/>
                    <a:gd name="connsiteY5" fmla="*/ 9782 h 10000"/>
                    <a:gd name="connsiteX6" fmla="*/ 7969 w 9564"/>
                    <a:gd name="connsiteY6" fmla="*/ 9782 h 10000"/>
                    <a:gd name="connsiteX7" fmla="*/ 7534 w 9564"/>
                    <a:gd name="connsiteY7" fmla="*/ 8915 h 10000"/>
                    <a:gd name="connsiteX8" fmla="*/ 7172 w 9564"/>
                    <a:gd name="connsiteY8" fmla="*/ 8129 h 10000"/>
                    <a:gd name="connsiteX9" fmla="*/ 7172 w 9564"/>
                    <a:gd name="connsiteY9" fmla="*/ 8129 h 10000"/>
                    <a:gd name="connsiteX10" fmla="*/ 7030 w 9564"/>
                    <a:gd name="connsiteY10" fmla="*/ 7987 h 10000"/>
                    <a:gd name="connsiteX11" fmla="*/ 6810 w 9564"/>
                    <a:gd name="connsiteY11" fmla="*/ 7842 h 10000"/>
                    <a:gd name="connsiteX12" fmla="*/ 6231 w 9564"/>
                    <a:gd name="connsiteY12" fmla="*/ 7765 h 10000"/>
                    <a:gd name="connsiteX13" fmla="*/ 5506 w 9564"/>
                    <a:gd name="connsiteY13" fmla="*/ 7695 h 10000"/>
                    <a:gd name="connsiteX14" fmla="*/ 4853 w 9564"/>
                    <a:gd name="connsiteY14" fmla="*/ 7695 h 10000"/>
                    <a:gd name="connsiteX15" fmla="*/ 4853 w 9564"/>
                    <a:gd name="connsiteY15" fmla="*/ 7695 h 10000"/>
                    <a:gd name="connsiteX16" fmla="*/ 4563 w 9564"/>
                    <a:gd name="connsiteY16" fmla="*/ 7622 h 10000"/>
                    <a:gd name="connsiteX17" fmla="*/ 4419 w 9564"/>
                    <a:gd name="connsiteY17" fmla="*/ 7484 h 10000"/>
                    <a:gd name="connsiteX18" fmla="*/ 4345 w 9564"/>
                    <a:gd name="connsiteY18" fmla="*/ 7339 h 10000"/>
                    <a:gd name="connsiteX19" fmla="*/ 4345 w 9564"/>
                    <a:gd name="connsiteY19" fmla="*/ 7050 h 10000"/>
                    <a:gd name="connsiteX20" fmla="*/ 4419 w 9564"/>
                    <a:gd name="connsiteY20" fmla="*/ 6471 h 10000"/>
                    <a:gd name="connsiteX21" fmla="*/ 4492 w 9564"/>
                    <a:gd name="connsiteY21" fmla="*/ 6185 h 10000"/>
                    <a:gd name="connsiteX22" fmla="*/ 4419 w 9564"/>
                    <a:gd name="connsiteY22" fmla="*/ 5829 h 10000"/>
                    <a:gd name="connsiteX23" fmla="*/ 4419 w 9564"/>
                    <a:gd name="connsiteY23" fmla="*/ 5829 h 10000"/>
                    <a:gd name="connsiteX24" fmla="*/ 4345 w 9564"/>
                    <a:gd name="connsiteY24" fmla="*/ 5609 h 10000"/>
                    <a:gd name="connsiteX25" fmla="*/ 4274 w 9564"/>
                    <a:gd name="connsiteY25" fmla="*/ 5464 h 10000"/>
                    <a:gd name="connsiteX26" fmla="*/ 4128 w 9564"/>
                    <a:gd name="connsiteY26" fmla="*/ 5464 h 10000"/>
                    <a:gd name="connsiteX27" fmla="*/ 3912 w 9564"/>
                    <a:gd name="connsiteY27" fmla="*/ 5539 h 10000"/>
                    <a:gd name="connsiteX28" fmla="*/ 3476 w 9564"/>
                    <a:gd name="connsiteY28" fmla="*/ 5752 h 10000"/>
                    <a:gd name="connsiteX29" fmla="*/ 2897 w 9564"/>
                    <a:gd name="connsiteY29" fmla="*/ 6117 h 10000"/>
                    <a:gd name="connsiteX30" fmla="*/ 2897 w 9564"/>
                    <a:gd name="connsiteY30" fmla="*/ 6117 h 10000"/>
                    <a:gd name="connsiteX31" fmla="*/ 2536 w 9564"/>
                    <a:gd name="connsiteY31" fmla="*/ 6185 h 10000"/>
                    <a:gd name="connsiteX32" fmla="*/ 2390 w 9564"/>
                    <a:gd name="connsiteY32" fmla="*/ 6185 h 10000"/>
                    <a:gd name="connsiteX33" fmla="*/ 2318 w 9564"/>
                    <a:gd name="connsiteY33" fmla="*/ 6117 h 10000"/>
                    <a:gd name="connsiteX34" fmla="*/ 2245 w 9564"/>
                    <a:gd name="connsiteY34" fmla="*/ 5829 h 10000"/>
                    <a:gd name="connsiteX35" fmla="*/ 2028 w 9564"/>
                    <a:gd name="connsiteY35" fmla="*/ 5464 h 10000"/>
                    <a:gd name="connsiteX36" fmla="*/ 2028 w 9564"/>
                    <a:gd name="connsiteY36" fmla="*/ 5464 h 10000"/>
                    <a:gd name="connsiteX37" fmla="*/ 1883 w 9564"/>
                    <a:gd name="connsiteY37" fmla="*/ 5254 h 10000"/>
                    <a:gd name="connsiteX38" fmla="*/ 1883 w 9564"/>
                    <a:gd name="connsiteY38" fmla="*/ 5035 h 10000"/>
                    <a:gd name="connsiteX39" fmla="*/ 1883 w 9564"/>
                    <a:gd name="connsiteY39" fmla="*/ 4889 h 10000"/>
                    <a:gd name="connsiteX40" fmla="*/ 1957 w 9564"/>
                    <a:gd name="connsiteY40" fmla="*/ 4750 h 10000"/>
                    <a:gd name="connsiteX41" fmla="*/ 2099 w 9564"/>
                    <a:gd name="connsiteY41" fmla="*/ 4459 h 10000"/>
                    <a:gd name="connsiteX42" fmla="*/ 2245 w 9564"/>
                    <a:gd name="connsiteY42" fmla="*/ 4388 h 10000"/>
                    <a:gd name="connsiteX43" fmla="*/ 2245 w 9564"/>
                    <a:gd name="connsiteY43" fmla="*/ 4388 h 10000"/>
                    <a:gd name="connsiteX44" fmla="*/ 2245 w 9564"/>
                    <a:gd name="connsiteY44" fmla="*/ 4320 h 10000"/>
                    <a:gd name="connsiteX45" fmla="*/ 2318 w 9564"/>
                    <a:gd name="connsiteY45" fmla="*/ 4245 h 10000"/>
                    <a:gd name="connsiteX46" fmla="*/ 2609 w 9564"/>
                    <a:gd name="connsiteY46" fmla="*/ 4170 h 10000"/>
                    <a:gd name="connsiteX47" fmla="*/ 3476 w 9564"/>
                    <a:gd name="connsiteY47" fmla="*/ 4031 h 10000"/>
                    <a:gd name="connsiteX48" fmla="*/ 4998 w 9564"/>
                    <a:gd name="connsiteY48" fmla="*/ 3815 h 10000"/>
                    <a:gd name="connsiteX49" fmla="*/ 4998 w 9564"/>
                    <a:gd name="connsiteY49" fmla="*/ 3815 h 10000"/>
                    <a:gd name="connsiteX50" fmla="*/ 5868 w 9564"/>
                    <a:gd name="connsiteY50" fmla="*/ 3598 h 10000"/>
                    <a:gd name="connsiteX51" fmla="*/ 7462 w 9564"/>
                    <a:gd name="connsiteY51" fmla="*/ 3165 h 10000"/>
                    <a:gd name="connsiteX52" fmla="*/ 7462 w 9564"/>
                    <a:gd name="connsiteY52" fmla="*/ 3165 h 10000"/>
                    <a:gd name="connsiteX53" fmla="*/ 7826 w 9564"/>
                    <a:gd name="connsiteY53" fmla="*/ 3013 h 10000"/>
                    <a:gd name="connsiteX54" fmla="*/ 7969 w 9564"/>
                    <a:gd name="connsiteY54" fmla="*/ 2803 h 10000"/>
                    <a:gd name="connsiteX55" fmla="*/ 8116 w 9564"/>
                    <a:gd name="connsiteY55" fmla="*/ 2660 h 10000"/>
                    <a:gd name="connsiteX56" fmla="*/ 8042 w 9564"/>
                    <a:gd name="connsiteY56" fmla="*/ 2516 h 10000"/>
                    <a:gd name="connsiteX57" fmla="*/ 8042 w 9564"/>
                    <a:gd name="connsiteY57" fmla="*/ 2372 h 10000"/>
                    <a:gd name="connsiteX58" fmla="*/ 7897 w 9564"/>
                    <a:gd name="connsiteY58" fmla="*/ 2228 h 10000"/>
                    <a:gd name="connsiteX59" fmla="*/ 7679 w 9564"/>
                    <a:gd name="connsiteY59" fmla="*/ 2014 h 10000"/>
                    <a:gd name="connsiteX60" fmla="*/ 7679 w 9564"/>
                    <a:gd name="connsiteY60" fmla="*/ 2014 h 10000"/>
                    <a:gd name="connsiteX61" fmla="*/ 5073 w 9564"/>
                    <a:gd name="connsiteY61" fmla="*/ 722 h 10000"/>
                    <a:gd name="connsiteX62" fmla="*/ 5073 w 9564"/>
                    <a:gd name="connsiteY62" fmla="*/ 722 h 10000"/>
                    <a:gd name="connsiteX63" fmla="*/ 4781 w 9564"/>
                    <a:gd name="connsiteY63" fmla="*/ 510 h 10000"/>
                    <a:gd name="connsiteX64" fmla="*/ 4563 w 9564"/>
                    <a:gd name="connsiteY64" fmla="*/ 291 h 10000"/>
                    <a:gd name="connsiteX65" fmla="*/ 4419 w 9564"/>
                    <a:gd name="connsiteY65" fmla="*/ 73 h 10000"/>
                    <a:gd name="connsiteX66" fmla="*/ 4419 w 9564"/>
                    <a:gd name="connsiteY66" fmla="*/ 73 h 10000"/>
                    <a:gd name="connsiteX67" fmla="*/ 7030 w 9564"/>
                    <a:gd name="connsiteY67" fmla="*/ 0 h 10000"/>
                    <a:gd name="connsiteX68" fmla="*/ 9564 w 9564"/>
                    <a:gd name="connsiteY68" fmla="*/ 722 h 10000"/>
                    <a:gd name="connsiteX69" fmla="*/ 9564 w 9564"/>
                    <a:gd name="connsiteY69" fmla="*/ 9927 h 10000"/>
                    <a:gd name="connsiteX70" fmla="*/ 9564 w 9564"/>
                    <a:gd name="connsiteY70" fmla="*/ 9927 h 10000"/>
                    <a:gd name="connsiteX71" fmla="*/ 9202 w 9564"/>
                    <a:gd name="connsiteY71" fmla="*/ 9857 h 10000"/>
                    <a:gd name="connsiteX72" fmla="*/ 8767 w 9564"/>
                    <a:gd name="connsiteY72" fmla="*/ 9927 h 10000"/>
                    <a:gd name="connsiteX73" fmla="*/ 8767 w 9564"/>
                    <a:gd name="connsiteY73" fmla="*/ 9927 h 10000"/>
                    <a:gd name="connsiteX74" fmla="*/ 8622 w 9564"/>
                    <a:gd name="connsiteY74" fmla="*/ 10000 h 10000"/>
                    <a:gd name="connsiteX75" fmla="*/ 8334 w 9564"/>
                    <a:gd name="connsiteY75" fmla="*/ 9927 h 10000"/>
                    <a:gd name="connsiteX76" fmla="*/ 8116 w 9564"/>
                    <a:gd name="connsiteY76" fmla="*/ 9857 h 10000"/>
                    <a:gd name="connsiteX77" fmla="*/ 7897 w 9564"/>
                    <a:gd name="connsiteY77" fmla="*/ 9707 h 10000"/>
                    <a:gd name="connsiteX78" fmla="*/ 7751 w 9564"/>
                    <a:gd name="connsiteY78" fmla="*/ 9494 h 10000"/>
                    <a:gd name="connsiteX79" fmla="*/ 7534 w 9564"/>
                    <a:gd name="connsiteY79" fmla="*/ 9137 h 10000"/>
                    <a:gd name="connsiteX80" fmla="*/ 7534 w 9564"/>
                    <a:gd name="connsiteY80" fmla="*/ 9137 h 10000"/>
                    <a:gd name="connsiteX81" fmla="*/ 7245 w 9564"/>
                    <a:gd name="connsiteY81" fmla="*/ 8492 h 10000"/>
                    <a:gd name="connsiteX82" fmla="*/ 7100 w 9564"/>
                    <a:gd name="connsiteY82" fmla="*/ 8199 h 10000"/>
                    <a:gd name="connsiteX83" fmla="*/ 6883 w 9564"/>
                    <a:gd name="connsiteY83" fmla="*/ 7987 h 10000"/>
                    <a:gd name="connsiteX84" fmla="*/ 6666 w 9564"/>
                    <a:gd name="connsiteY84" fmla="*/ 7842 h 10000"/>
                    <a:gd name="connsiteX85" fmla="*/ 6377 w 9564"/>
                    <a:gd name="connsiteY85" fmla="*/ 7765 h 10000"/>
                    <a:gd name="connsiteX86" fmla="*/ 6085 w 9564"/>
                    <a:gd name="connsiteY86" fmla="*/ 7695 h 10000"/>
                    <a:gd name="connsiteX87" fmla="*/ 5651 w 9564"/>
                    <a:gd name="connsiteY87" fmla="*/ 7622 h 10000"/>
                    <a:gd name="connsiteX88" fmla="*/ 5651 w 9564"/>
                    <a:gd name="connsiteY88" fmla="*/ 7622 h 10000"/>
                    <a:gd name="connsiteX89" fmla="*/ 5073 w 9564"/>
                    <a:gd name="connsiteY89" fmla="*/ 7695 h 10000"/>
                    <a:gd name="connsiteX90" fmla="*/ 4636 w 9564"/>
                    <a:gd name="connsiteY90" fmla="*/ 7695 h 10000"/>
                    <a:gd name="connsiteX91" fmla="*/ 4492 w 9564"/>
                    <a:gd name="connsiteY91" fmla="*/ 7622 h 10000"/>
                    <a:gd name="connsiteX92" fmla="*/ 4419 w 9564"/>
                    <a:gd name="connsiteY92" fmla="*/ 7550 h 10000"/>
                    <a:gd name="connsiteX93" fmla="*/ 4419 w 9564"/>
                    <a:gd name="connsiteY93" fmla="*/ 7550 h 10000"/>
                    <a:gd name="connsiteX94" fmla="*/ 4419 w 9564"/>
                    <a:gd name="connsiteY94" fmla="*/ 6257 h 10000"/>
                    <a:gd name="connsiteX95" fmla="*/ 4419 w 9564"/>
                    <a:gd name="connsiteY95" fmla="*/ 6257 h 10000"/>
                    <a:gd name="connsiteX96" fmla="*/ 4419 w 9564"/>
                    <a:gd name="connsiteY96" fmla="*/ 5968 h 10000"/>
                    <a:gd name="connsiteX97" fmla="*/ 4274 w 9564"/>
                    <a:gd name="connsiteY97" fmla="*/ 5609 h 10000"/>
                    <a:gd name="connsiteX98" fmla="*/ 4201 w 9564"/>
                    <a:gd name="connsiteY98" fmla="*/ 5539 h 10000"/>
                    <a:gd name="connsiteX99" fmla="*/ 4056 w 9564"/>
                    <a:gd name="connsiteY99" fmla="*/ 5464 h 10000"/>
                    <a:gd name="connsiteX100" fmla="*/ 3912 w 9564"/>
                    <a:gd name="connsiteY100" fmla="*/ 5464 h 10000"/>
                    <a:gd name="connsiteX101" fmla="*/ 3694 w 9564"/>
                    <a:gd name="connsiteY101" fmla="*/ 5539 h 10000"/>
                    <a:gd name="connsiteX102" fmla="*/ 3694 w 9564"/>
                    <a:gd name="connsiteY102" fmla="*/ 5539 h 10000"/>
                    <a:gd name="connsiteX103" fmla="*/ 2897 w 9564"/>
                    <a:gd name="connsiteY103" fmla="*/ 6042 h 10000"/>
                    <a:gd name="connsiteX104" fmla="*/ 2536 w 9564"/>
                    <a:gd name="connsiteY104" fmla="*/ 6185 h 10000"/>
                    <a:gd name="connsiteX105" fmla="*/ 2463 w 9564"/>
                    <a:gd name="connsiteY105" fmla="*/ 6257 h 10000"/>
                    <a:gd name="connsiteX106" fmla="*/ 2390 w 9564"/>
                    <a:gd name="connsiteY106" fmla="*/ 6185 h 10000"/>
                    <a:gd name="connsiteX107" fmla="*/ 2390 w 9564"/>
                    <a:gd name="connsiteY107" fmla="*/ 6185 h 10000"/>
                    <a:gd name="connsiteX108" fmla="*/ 2028 w 9564"/>
                    <a:gd name="connsiteY108" fmla="*/ 5464 h 10000"/>
                    <a:gd name="connsiteX109" fmla="*/ 2028 w 9564"/>
                    <a:gd name="connsiteY109" fmla="*/ 5464 h 10000"/>
                    <a:gd name="connsiteX110" fmla="*/ 1883 w 9564"/>
                    <a:gd name="connsiteY110" fmla="*/ 5108 h 10000"/>
                    <a:gd name="connsiteX111" fmla="*/ 1883 w 9564"/>
                    <a:gd name="connsiteY111" fmla="*/ 4889 h 10000"/>
                    <a:gd name="connsiteX112" fmla="*/ 1883 w 9564"/>
                    <a:gd name="connsiteY112" fmla="*/ 4676 h 10000"/>
                    <a:gd name="connsiteX113" fmla="*/ 1883 w 9564"/>
                    <a:gd name="connsiteY113" fmla="*/ 4676 h 10000"/>
                    <a:gd name="connsiteX114" fmla="*/ 2099 w 9564"/>
                    <a:gd name="connsiteY114" fmla="*/ 4459 h 10000"/>
                    <a:gd name="connsiteX115" fmla="*/ 2245 w 9564"/>
                    <a:gd name="connsiteY115" fmla="*/ 4388 h 10000"/>
                    <a:gd name="connsiteX116" fmla="*/ 2245 w 9564"/>
                    <a:gd name="connsiteY116" fmla="*/ 4388 h 10000"/>
                    <a:gd name="connsiteX117" fmla="*/ 1739 w 9564"/>
                    <a:gd name="connsiteY117" fmla="*/ 4388 h 10000"/>
                    <a:gd name="connsiteX118" fmla="*/ 1374 w 9564"/>
                    <a:gd name="connsiteY118" fmla="*/ 4459 h 10000"/>
                    <a:gd name="connsiteX119" fmla="*/ 1230 w 9564"/>
                    <a:gd name="connsiteY119" fmla="*/ 4537 h 10000"/>
                    <a:gd name="connsiteX120" fmla="*/ 1159 w 9564"/>
                    <a:gd name="connsiteY120" fmla="*/ 4603 h 10000"/>
                    <a:gd name="connsiteX121" fmla="*/ 1159 w 9564"/>
                    <a:gd name="connsiteY121" fmla="*/ 4603 h 10000"/>
                    <a:gd name="connsiteX122" fmla="*/ 1013 w 9564"/>
                    <a:gd name="connsiteY122" fmla="*/ 4889 h 10000"/>
                    <a:gd name="connsiteX123" fmla="*/ 795 w 9564"/>
                    <a:gd name="connsiteY123" fmla="*/ 5323 h 10000"/>
                    <a:gd name="connsiteX124" fmla="*/ 433 w 9564"/>
                    <a:gd name="connsiteY124" fmla="*/ 5829 h 10000"/>
                    <a:gd name="connsiteX125" fmla="*/ 0 w 9564"/>
                    <a:gd name="connsiteY125" fmla="*/ 6185 h 10000"/>
                    <a:gd name="connsiteX126" fmla="*/ 0 w 9564"/>
                    <a:gd name="connsiteY126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940 w 10000"/>
                    <a:gd name="connsiteY2" fmla="*/ 9927 h 10000"/>
                    <a:gd name="connsiteX3" fmla="*/ 8558 w 10000"/>
                    <a:gd name="connsiteY3" fmla="*/ 9927 h 10000"/>
                    <a:gd name="connsiteX4" fmla="*/ 8409 w 10000"/>
                    <a:gd name="connsiteY4" fmla="*/ 9857 h 10000"/>
                    <a:gd name="connsiteX5" fmla="*/ 8332 w 10000"/>
                    <a:gd name="connsiteY5" fmla="*/ 9782 h 10000"/>
                    <a:gd name="connsiteX6" fmla="*/ 8332 w 10000"/>
                    <a:gd name="connsiteY6" fmla="*/ 9782 h 10000"/>
                    <a:gd name="connsiteX7" fmla="*/ 7877 w 10000"/>
                    <a:gd name="connsiteY7" fmla="*/ 8915 h 10000"/>
                    <a:gd name="connsiteX8" fmla="*/ 7499 w 10000"/>
                    <a:gd name="connsiteY8" fmla="*/ 8129 h 10000"/>
                    <a:gd name="connsiteX9" fmla="*/ 7499 w 10000"/>
                    <a:gd name="connsiteY9" fmla="*/ 8129 h 10000"/>
                    <a:gd name="connsiteX10" fmla="*/ 7350 w 10000"/>
                    <a:gd name="connsiteY10" fmla="*/ 7987 h 10000"/>
                    <a:gd name="connsiteX11" fmla="*/ 7120 w 10000"/>
                    <a:gd name="connsiteY11" fmla="*/ 7842 h 10000"/>
                    <a:gd name="connsiteX12" fmla="*/ 6515 w 10000"/>
                    <a:gd name="connsiteY12" fmla="*/ 7765 h 10000"/>
                    <a:gd name="connsiteX13" fmla="*/ 5757 w 10000"/>
                    <a:gd name="connsiteY13" fmla="*/ 7695 h 10000"/>
                    <a:gd name="connsiteX14" fmla="*/ 5074 w 10000"/>
                    <a:gd name="connsiteY14" fmla="*/ 7695 h 10000"/>
                    <a:gd name="connsiteX15" fmla="*/ 5074 w 10000"/>
                    <a:gd name="connsiteY15" fmla="*/ 7695 h 10000"/>
                    <a:gd name="connsiteX16" fmla="*/ 4771 w 10000"/>
                    <a:gd name="connsiteY16" fmla="*/ 7622 h 10000"/>
                    <a:gd name="connsiteX17" fmla="*/ 4620 w 10000"/>
                    <a:gd name="connsiteY17" fmla="*/ 7484 h 10000"/>
                    <a:gd name="connsiteX18" fmla="*/ 4543 w 10000"/>
                    <a:gd name="connsiteY18" fmla="*/ 7339 h 10000"/>
                    <a:gd name="connsiteX19" fmla="*/ 4543 w 10000"/>
                    <a:gd name="connsiteY19" fmla="*/ 7050 h 10000"/>
                    <a:gd name="connsiteX20" fmla="*/ 4620 w 10000"/>
                    <a:gd name="connsiteY20" fmla="*/ 6471 h 10000"/>
                    <a:gd name="connsiteX21" fmla="*/ 4697 w 10000"/>
                    <a:gd name="connsiteY21" fmla="*/ 6185 h 10000"/>
                    <a:gd name="connsiteX22" fmla="*/ 4620 w 10000"/>
                    <a:gd name="connsiteY22" fmla="*/ 5829 h 10000"/>
                    <a:gd name="connsiteX23" fmla="*/ 4620 w 10000"/>
                    <a:gd name="connsiteY23" fmla="*/ 5829 h 10000"/>
                    <a:gd name="connsiteX24" fmla="*/ 4543 w 10000"/>
                    <a:gd name="connsiteY24" fmla="*/ 5609 h 10000"/>
                    <a:gd name="connsiteX25" fmla="*/ 4469 w 10000"/>
                    <a:gd name="connsiteY25" fmla="*/ 5464 h 10000"/>
                    <a:gd name="connsiteX26" fmla="*/ 4316 w 10000"/>
                    <a:gd name="connsiteY26" fmla="*/ 5464 h 10000"/>
                    <a:gd name="connsiteX27" fmla="*/ 4090 w 10000"/>
                    <a:gd name="connsiteY27" fmla="*/ 5539 h 10000"/>
                    <a:gd name="connsiteX28" fmla="*/ 3634 w 10000"/>
                    <a:gd name="connsiteY28" fmla="*/ 5752 h 10000"/>
                    <a:gd name="connsiteX29" fmla="*/ 3029 w 10000"/>
                    <a:gd name="connsiteY29" fmla="*/ 6117 h 10000"/>
                    <a:gd name="connsiteX30" fmla="*/ 3029 w 10000"/>
                    <a:gd name="connsiteY30" fmla="*/ 6117 h 10000"/>
                    <a:gd name="connsiteX31" fmla="*/ 2652 w 10000"/>
                    <a:gd name="connsiteY31" fmla="*/ 6185 h 10000"/>
                    <a:gd name="connsiteX32" fmla="*/ 2499 w 10000"/>
                    <a:gd name="connsiteY32" fmla="*/ 6185 h 10000"/>
                    <a:gd name="connsiteX33" fmla="*/ 2424 w 10000"/>
                    <a:gd name="connsiteY33" fmla="*/ 6117 h 10000"/>
                    <a:gd name="connsiteX34" fmla="*/ 2347 w 10000"/>
                    <a:gd name="connsiteY34" fmla="*/ 5829 h 10000"/>
                    <a:gd name="connsiteX35" fmla="*/ 2120 w 10000"/>
                    <a:gd name="connsiteY35" fmla="*/ 5464 h 10000"/>
                    <a:gd name="connsiteX36" fmla="*/ 2120 w 10000"/>
                    <a:gd name="connsiteY36" fmla="*/ 5464 h 10000"/>
                    <a:gd name="connsiteX37" fmla="*/ 1969 w 10000"/>
                    <a:gd name="connsiteY37" fmla="*/ 5254 h 10000"/>
                    <a:gd name="connsiteX38" fmla="*/ 1969 w 10000"/>
                    <a:gd name="connsiteY38" fmla="*/ 5035 h 10000"/>
                    <a:gd name="connsiteX39" fmla="*/ 1969 w 10000"/>
                    <a:gd name="connsiteY39" fmla="*/ 4889 h 10000"/>
                    <a:gd name="connsiteX40" fmla="*/ 2046 w 10000"/>
                    <a:gd name="connsiteY40" fmla="*/ 4750 h 10000"/>
                    <a:gd name="connsiteX41" fmla="*/ 2195 w 10000"/>
                    <a:gd name="connsiteY41" fmla="*/ 4459 h 10000"/>
                    <a:gd name="connsiteX42" fmla="*/ 2347 w 10000"/>
                    <a:gd name="connsiteY42" fmla="*/ 4388 h 10000"/>
                    <a:gd name="connsiteX43" fmla="*/ 2347 w 10000"/>
                    <a:gd name="connsiteY43" fmla="*/ 4388 h 10000"/>
                    <a:gd name="connsiteX44" fmla="*/ 2347 w 10000"/>
                    <a:gd name="connsiteY44" fmla="*/ 4320 h 10000"/>
                    <a:gd name="connsiteX45" fmla="*/ 2424 w 10000"/>
                    <a:gd name="connsiteY45" fmla="*/ 4245 h 10000"/>
                    <a:gd name="connsiteX46" fmla="*/ 2728 w 10000"/>
                    <a:gd name="connsiteY46" fmla="*/ 4170 h 10000"/>
                    <a:gd name="connsiteX47" fmla="*/ 3634 w 10000"/>
                    <a:gd name="connsiteY47" fmla="*/ 4031 h 10000"/>
                    <a:gd name="connsiteX48" fmla="*/ 5226 w 10000"/>
                    <a:gd name="connsiteY48" fmla="*/ 3815 h 10000"/>
                    <a:gd name="connsiteX49" fmla="*/ 5226 w 10000"/>
                    <a:gd name="connsiteY49" fmla="*/ 3815 h 10000"/>
                    <a:gd name="connsiteX50" fmla="*/ 6136 w 10000"/>
                    <a:gd name="connsiteY50" fmla="*/ 3598 h 10000"/>
                    <a:gd name="connsiteX51" fmla="*/ 7802 w 10000"/>
                    <a:gd name="connsiteY51" fmla="*/ 3165 h 10000"/>
                    <a:gd name="connsiteX52" fmla="*/ 7802 w 10000"/>
                    <a:gd name="connsiteY52" fmla="*/ 3165 h 10000"/>
                    <a:gd name="connsiteX53" fmla="*/ 8183 w 10000"/>
                    <a:gd name="connsiteY53" fmla="*/ 3013 h 10000"/>
                    <a:gd name="connsiteX54" fmla="*/ 8332 w 10000"/>
                    <a:gd name="connsiteY54" fmla="*/ 2803 h 10000"/>
                    <a:gd name="connsiteX55" fmla="*/ 8486 w 10000"/>
                    <a:gd name="connsiteY55" fmla="*/ 2660 h 10000"/>
                    <a:gd name="connsiteX56" fmla="*/ 8409 w 10000"/>
                    <a:gd name="connsiteY56" fmla="*/ 2516 h 10000"/>
                    <a:gd name="connsiteX57" fmla="*/ 8409 w 10000"/>
                    <a:gd name="connsiteY57" fmla="*/ 2372 h 10000"/>
                    <a:gd name="connsiteX58" fmla="*/ 8257 w 10000"/>
                    <a:gd name="connsiteY58" fmla="*/ 2228 h 10000"/>
                    <a:gd name="connsiteX59" fmla="*/ 8029 w 10000"/>
                    <a:gd name="connsiteY59" fmla="*/ 2014 h 10000"/>
                    <a:gd name="connsiteX60" fmla="*/ 8029 w 10000"/>
                    <a:gd name="connsiteY60" fmla="*/ 2014 h 10000"/>
                    <a:gd name="connsiteX61" fmla="*/ 5304 w 10000"/>
                    <a:gd name="connsiteY61" fmla="*/ 722 h 10000"/>
                    <a:gd name="connsiteX62" fmla="*/ 5304 w 10000"/>
                    <a:gd name="connsiteY62" fmla="*/ 722 h 10000"/>
                    <a:gd name="connsiteX63" fmla="*/ 4999 w 10000"/>
                    <a:gd name="connsiteY63" fmla="*/ 510 h 10000"/>
                    <a:gd name="connsiteX64" fmla="*/ 4771 w 10000"/>
                    <a:gd name="connsiteY64" fmla="*/ 291 h 10000"/>
                    <a:gd name="connsiteX65" fmla="*/ 4620 w 10000"/>
                    <a:gd name="connsiteY65" fmla="*/ 73 h 10000"/>
                    <a:gd name="connsiteX66" fmla="*/ 4620 w 10000"/>
                    <a:gd name="connsiteY66" fmla="*/ 73 h 10000"/>
                    <a:gd name="connsiteX67" fmla="*/ 735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621 w 10000"/>
                    <a:gd name="connsiteY71" fmla="*/ 9857 h 10000"/>
                    <a:gd name="connsiteX72" fmla="*/ 9167 w 10000"/>
                    <a:gd name="connsiteY72" fmla="*/ 9927 h 10000"/>
                    <a:gd name="connsiteX73" fmla="*/ 9167 w 10000"/>
                    <a:gd name="connsiteY73" fmla="*/ 9927 h 10000"/>
                    <a:gd name="connsiteX74" fmla="*/ 9015 w 10000"/>
                    <a:gd name="connsiteY74" fmla="*/ 10000 h 10000"/>
                    <a:gd name="connsiteX75" fmla="*/ 8714 w 10000"/>
                    <a:gd name="connsiteY75" fmla="*/ 9927 h 10000"/>
                    <a:gd name="connsiteX76" fmla="*/ 8486 w 10000"/>
                    <a:gd name="connsiteY76" fmla="*/ 9857 h 10000"/>
                    <a:gd name="connsiteX77" fmla="*/ 8257 w 10000"/>
                    <a:gd name="connsiteY77" fmla="*/ 9707 h 10000"/>
                    <a:gd name="connsiteX78" fmla="*/ 8104 w 10000"/>
                    <a:gd name="connsiteY78" fmla="*/ 9494 h 10000"/>
                    <a:gd name="connsiteX79" fmla="*/ 7877 w 10000"/>
                    <a:gd name="connsiteY79" fmla="*/ 9137 h 10000"/>
                    <a:gd name="connsiteX80" fmla="*/ 7877 w 10000"/>
                    <a:gd name="connsiteY80" fmla="*/ 9137 h 10000"/>
                    <a:gd name="connsiteX81" fmla="*/ 7575 w 10000"/>
                    <a:gd name="connsiteY81" fmla="*/ 8492 h 10000"/>
                    <a:gd name="connsiteX82" fmla="*/ 7424 w 10000"/>
                    <a:gd name="connsiteY82" fmla="*/ 8199 h 10000"/>
                    <a:gd name="connsiteX83" fmla="*/ 7197 w 10000"/>
                    <a:gd name="connsiteY83" fmla="*/ 7987 h 10000"/>
                    <a:gd name="connsiteX84" fmla="*/ 6970 w 10000"/>
                    <a:gd name="connsiteY84" fmla="*/ 7842 h 10000"/>
                    <a:gd name="connsiteX85" fmla="*/ 6668 w 10000"/>
                    <a:gd name="connsiteY85" fmla="*/ 7765 h 10000"/>
                    <a:gd name="connsiteX86" fmla="*/ 6362 w 10000"/>
                    <a:gd name="connsiteY86" fmla="*/ 7695 h 10000"/>
                    <a:gd name="connsiteX87" fmla="*/ 5909 w 10000"/>
                    <a:gd name="connsiteY87" fmla="*/ 7622 h 10000"/>
                    <a:gd name="connsiteX88" fmla="*/ 5909 w 10000"/>
                    <a:gd name="connsiteY88" fmla="*/ 7622 h 10000"/>
                    <a:gd name="connsiteX89" fmla="*/ 5304 w 10000"/>
                    <a:gd name="connsiteY89" fmla="*/ 7695 h 10000"/>
                    <a:gd name="connsiteX90" fmla="*/ 4847 w 10000"/>
                    <a:gd name="connsiteY90" fmla="*/ 7695 h 10000"/>
                    <a:gd name="connsiteX91" fmla="*/ 4697 w 10000"/>
                    <a:gd name="connsiteY91" fmla="*/ 7622 h 10000"/>
                    <a:gd name="connsiteX92" fmla="*/ 4620 w 10000"/>
                    <a:gd name="connsiteY92" fmla="*/ 7550 h 10000"/>
                    <a:gd name="connsiteX93" fmla="*/ 4620 w 10000"/>
                    <a:gd name="connsiteY93" fmla="*/ 7550 h 10000"/>
                    <a:gd name="connsiteX94" fmla="*/ 4620 w 10000"/>
                    <a:gd name="connsiteY94" fmla="*/ 6257 h 10000"/>
                    <a:gd name="connsiteX95" fmla="*/ 4620 w 10000"/>
                    <a:gd name="connsiteY95" fmla="*/ 6257 h 10000"/>
                    <a:gd name="connsiteX96" fmla="*/ 4620 w 10000"/>
                    <a:gd name="connsiteY96" fmla="*/ 5968 h 10000"/>
                    <a:gd name="connsiteX97" fmla="*/ 4469 w 10000"/>
                    <a:gd name="connsiteY97" fmla="*/ 5609 h 10000"/>
                    <a:gd name="connsiteX98" fmla="*/ 4393 w 10000"/>
                    <a:gd name="connsiteY98" fmla="*/ 5539 h 10000"/>
                    <a:gd name="connsiteX99" fmla="*/ 4241 w 10000"/>
                    <a:gd name="connsiteY99" fmla="*/ 5464 h 10000"/>
                    <a:gd name="connsiteX100" fmla="*/ 4090 w 10000"/>
                    <a:gd name="connsiteY100" fmla="*/ 5464 h 10000"/>
                    <a:gd name="connsiteX101" fmla="*/ 3862 w 10000"/>
                    <a:gd name="connsiteY101" fmla="*/ 5539 h 10000"/>
                    <a:gd name="connsiteX102" fmla="*/ 3862 w 10000"/>
                    <a:gd name="connsiteY102" fmla="*/ 5539 h 10000"/>
                    <a:gd name="connsiteX103" fmla="*/ 3029 w 10000"/>
                    <a:gd name="connsiteY103" fmla="*/ 6042 h 10000"/>
                    <a:gd name="connsiteX104" fmla="*/ 2652 w 10000"/>
                    <a:gd name="connsiteY104" fmla="*/ 6185 h 10000"/>
                    <a:gd name="connsiteX105" fmla="*/ 2575 w 10000"/>
                    <a:gd name="connsiteY105" fmla="*/ 6257 h 10000"/>
                    <a:gd name="connsiteX106" fmla="*/ 2499 w 10000"/>
                    <a:gd name="connsiteY106" fmla="*/ 6185 h 10000"/>
                    <a:gd name="connsiteX107" fmla="*/ 2499 w 10000"/>
                    <a:gd name="connsiteY107" fmla="*/ 6185 h 10000"/>
                    <a:gd name="connsiteX108" fmla="*/ 2120 w 10000"/>
                    <a:gd name="connsiteY108" fmla="*/ 5464 h 10000"/>
                    <a:gd name="connsiteX109" fmla="*/ 2120 w 10000"/>
                    <a:gd name="connsiteY109" fmla="*/ 5464 h 10000"/>
                    <a:gd name="connsiteX110" fmla="*/ 1969 w 10000"/>
                    <a:gd name="connsiteY110" fmla="*/ 5108 h 10000"/>
                    <a:gd name="connsiteX111" fmla="*/ 1969 w 10000"/>
                    <a:gd name="connsiteY111" fmla="*/ 4889 h 10000"/>
                    <a:gd name="connsiteX112" fmla="*/ 1969 w 10000"/>
                    <a:gd name="connsiteY112" fmla="*/ 4676 h 10000"/>
                    <a:gd name="connsiteX113" fmla="*/ 1969 w 10000"/>
                    <a:gd name="connsiteY113" fmla="*/ 4676 h 10000"/>
                    <a:gd name="connsiteX114" fmla="*/ 2195 w 10000"/>
                    <a:gd name="connsiteY114" fmla="*/ 4459 h 10000"/>
                    <a:gd name="connsiteX115" fmla="*/ 2347 w 10000"/>
                    <a:gd name="connsiteY115" fmla="*/ 4388 h 10000"/>
                    <a:gd name="connsiteX116" fmla="*/ 2347 w 10000"/>
                    <a:gd name="connsiteY116" fmla="*/ 4388 h 10000"/>
                    <a:gd name="connsiteX117" fmla="*/ 1818 w 10000"/>
                    <a:gd name="connsiteY117" fmla="*/ 4388 h 10000"/>
                    <a:gd name="connsiteX118" fmla="*/ 1437 w 10000"/>
                    <a:gd name="connsiteY118" fmla="*/ 4459 h 10000"/>
                    <a:gd name="connsiteX119" fmla="*/ 1286 w 10000"/>
                    <a:gd name="connsiteY119" fmla="*/ 4537 h 10000"/>
                    <a:gd name="connsiteX120" fmla="*/ 1212 w 10000"/>
                    <a:gd name="connsiteY120" fmla="*/ 4603 h 10000"/>
                    <a:gd name="connsiteX121" fmla="*/ 1212 w 10000"/>
                    <a:gd name="connsiteY121" fmla="*/ 4603 h 10000"/>
                    <a:gd name="connsiteX122" fmla="*/ 1059 w 10000"/>
                    <a:gd name="connsiteY122" fmla="*/ 4889 h 10000"/>
                    <a:gd name="connsiteX123" fmla="*/ 831 w 10000"/>
                    <a:gd name="connsiteY123" fmla="*/ 5323 h 10000"/>
                    <a:gd name="connsiteX124" fmla="*/ 453 w 10000"/>
                    <a:gd name="connsiteY124" fmla="*/ 5829 h 10000"/>
                    <a:gd name="connsiteX125" fmla="*/ 0 w 10000"/>
                    <a:gd name="connsiteY125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940 w 10000"/>
                    <a:gd name="connsiteY2" fmla="*/ 9927 h 10000"/>
                    <a:gd name="connsiteX3" fmla="*/ 8558 w 10000"/>
                    <a:gd name="connsiteY3" fmla="*/ 9927 h 10000"/>
                    <a:gd name="connsiteX4" fmla="*/ 8409 w 10000"/>
                    <a:gd name="connsiteY4" fmla="*/ 9857 h 10000"/>
                    <a:gd name="connsiteX5" fmla="*/ 8332 w 10000"/>
                    <a:gd name="connsiteY5" fmla="*/ 9782 h 10000"/>
                    <a:gd name="connsiteX6" fmla="*/ 8332 w 10000"/>
                    <a:gd name="connsiteY6" fmla="*/ 9782 h 10000"/>
                    <a:gd name="connsiteX7" fmla="*/ 7877 w 10000"/>
                    <a:gd name="connsiteY7" fmla="*/ 8915 h 10000"/>
                    <a:gd name="connsiteX8" fmla="*/ 7499 w 10000"/>
                    <a:gd name="connsiteY8" fmla="*/ 8129 h 10000"/>
                    <a:gd name="connsiteX9" fmla="*/ 7499 w 10000"/>
                    <a:gd name="connsiteY9" fmla="*/ 8129 h 10000"/>
                    <a:gd name="connsiteX10" fmla="*/ 7350 w 10000"/>
                    <a:gd name="connsiteY10" fmla="*/ 7987 h 10000"/>
                    <a:gd name="connsiteX11" fmla="*/ 7120 w 10000"/>
                    <a:gd name="connsiteY11" fmla="*/ 7842 h 10000"/>
                    <a:gd name="connsiteX12" fmla="*/ 6515 w 10000"/>
                    <a:gd name="connsiteY12" fmla="*/ 7765 h 10000"/>
                    <a:gd name="connsiteX13" fmla="*/ 5757 w 10000"/>
                    <a:gd name="connsiteY13" fmla="*/ 7695 h 10000"/>
                    <a:gd name="connsiteX14" fmla="*/ 5074 w 10000"/>
                    <a:gd name="connsiteY14" fmla="*/ 7695 h 10000"/>
                    <a:gd name="connsiteX15" fmla="*/ 5074 w 10000"/>
                    <a:gd name="connsiteY15" fmla="*/ 7695 h 10000"/>
                    <a:gd name="connsiteX16" fmla="*/ 4771 w 10000"/>
                    <a:gd name="connsiteY16" fmla="*/ 7622 h 10000"/>
                    <a:gd name="connsiteX17" fmla="*/ 4620 w 10000"/>
                    <a:gd name="connsiteY17" fmla="*/ 7484 h 10000"/>
                    <a:gd name="connsiteX18" fmla="*/ 4543 w 10000"/>
                    <a:gd name="connsiteY18" fmla="*/ 7339 h 10000"/>
                    <a:gd name="connsiteX19" fmla="*/ 4543 w 10000"/>
                    <a:gd name="connsiteY19" fmla="*/ 7050 h 10000"/>
                    <a:gd name="connsiteX20" fmla="*/ 4620 w 10000"/>
                    <a:gd name="connsiteY20" fmla="*/ 6471 h 10000"/>
                    <a:gd name="connsiteX21" fmla="*/ 4697 w 10000"/>
                    <a:gd name="connsiteY21" fmla="*/ 6185 h 10000"/>
                    <a:gd name="connsiteX22" fmla="*/ 4620 w 10000"/>
                    <a:gd name="connsiteY22" fmla="*/ 5829 h 10000"/>
                    <a:gd name="connsiteX23" fmla="*/ 4620 w 10000"/>
                    <a:gd name="connsiteY23" fmla="*/ 5829 h 10000"/>
                    <a:gd name="connsiteX24" fmla="*/ 4543 w 10000"/>
                    <a:gd name="connsiteY24" fmla="*/ 5609 h 10000"/>
                    <a:gd name="connsiteX25" fmla="*/ 4469 w 10000"/>
                    <a:gd name="connsiteY25" fmla="*/ 5464 h 10000"/>
                    <a:gd name="connsiteX26" fmla="*/ 4316 w 10000"/>
                    <a:gd name="connsiteY26" fmla="*/ 5464 h 10000"/>
                    <a:gd name="connsiteX27" fmla="*/ 4090 w 10000"/>
                    <a:gd name="connsiteY27" fmla="*/ 5539 h 10000"/>
                    <a:gd name="connsiteX28" fmla="*/ 3634 w 10000"/>
                    <a:gd name="connsiteY28" fmla="*/ 5752 h 10000"/>
                    <a:gd name="connsiteX29" fmla="*/ 3029 w 10000"/>
                    <a:gd name="connsiteY29" fmla="*/ 6117 h 10000"/>
                    <a:gd name="connsiteX30" fmla="*/ 3029 w 10000"/>
                    <a:gd name="connsiteY30" fmla="*/ 6117 h 10000"/>
                    <a:gd name="connsiteX31" fmla="*/ 2652 w 10000"/>
                    <a:gd name="connsiteY31" fmla="*/ 6185 h 10000"/>
                    <a:gd name="connsiteX32" fmla="*/ 2499 w 10000"/>
                    <a:gd name="connsiteY32" fmla="*/ 6185 h 10000"/>
                    <a:gd name="connsiteX33" fmla="*/ 2424 w 10000"/>
                    <a:gd name="connsiteY33" fmla="*/ 6117 h 10000"/>
                    <a:gd name="connsiteX34" fmla="*/ 2347 w 10000"/>
                    <a:gd name="connsiteY34" fmla="*/ 5829 h 10000"/>
                    <a:gd name="connsiteX35" fmla="*/ 2120 w 10000"/>
                    <a:gd name="connsiteY35" fmla="*/ 5464 h 10000"/>
                    <a:gd name="connsiteX36" fmla="*/ 2120 w 10000"/>
                    <a:gd name="connsiteY36" fmla="*/ 5464 h 10000"/>
                    <a:gd name="connsiteX37" fmla="*/ 1969 w 10000"/>
                    <a:gd name="connsiteY37" fmla="*/ 5254 h 10000"/>
                    <a:gd name="connsiteX38" fmla="*/ 1969 w 10000"/>
                    <a:gd name="connsiteY38" fmla="*/ 5035 h 10000"/>
                    <a:gd name="connsiteX39" fmla="*/ 1969 w 10000"/>
                    <a:gd name="connsiteY39" fmla="*/ 4889 h 10000"/>
                    <a:gd name="connsiteX40" fmla="*/ 2046 w 10000"/>
                    <a:gd name="connsiteY40" fmla="*/ 4750 h 10000"/>
                    <a:gd name="connsiteX41" fmla="*/ 2195 w 10000"/>
                    <a:gd name="connsiteY41" fmla="*/ 4459 h 10000"/>
                    <a:gd name="connsiteX42" fmla="*/ 2347 w 10000"/>
                    <a:gd name="connsiteY42" fmla="*/ 4388 h 10000"/>
                    <a:gd name="connsiteX43" fmla="*/ 2347 w 10000"/>
                    <a:gd name="connsiteY43" fmla="*/ 4388 h 10000"/>
                    <a:gd name="connsiteX44" fmla="*/ 2347 w 10000"/>
                    <a:gd name="connsiteY44" fmla="*/ 4320 h 10000"/>
                    <a:gd name="connsiteX45" fmla="*/ 2424 w 10000"/>
                    <a:gd name="connsiteY45" fmla="*/ 4245 h 10000"/>
                    <a:gd name="connsiteX46" fmla="*/ 2728 w 10000"/>
                    <a:gd name="connsiteY46" fmla="*/ 4170 h 10000"/>
                    <a:gd name="connsiteX47" fmla="*/ 3634 w 10000"/>
                    <a:gd name="connsiteY47" fmla="*/ 4031 h 10000"/>
                    <a:gd name="connsiteX48" fmla="*/ 5226 w 10000"/>
                    <a:gd name="connsiteY48" fmla="*/ 3815 h 10000"/>
                    <a:gd name="connsiteX49" fmla="*/ 5226 w 10000"/>
                    <a:gd name="connsiteY49" fmla="*/ 3815 h 10000"/>
                    <a:gd name="connsiteX50" fmla="*/ 6136 w 10000"/>
                    <a:gd name="connsiteY50" fmla="*/ 3598 h 10000"/>
                    <a:gd name="connsiteX51" fmla="*/ 7802 w 10000"/>
                    <a:gd name="connsiteY51" fmla="*/ 3165 h 10000"/>
                    <a:gd name="connsiteX52" fmla="*/ 7802 w 10000"/>
                    <a:gd name="connsiteY52" fmla="*/ 3165 h 10000"/>
                    <a:gd name="connsiteX53" fmla="*/ 8183 w 10000"/>
                    <a:gd name="connsiteY53" fmla="*/ 3013 h 10000"/>
                    <a:gd name="connsiteX54" fmla="*/ 8332 w 10000"/>
                    <a:gd name="connsiteY54" fmla="*/ 2803 h 10000"/>
                    <a:gd name="connsiteX55" fmla="*/ 8486 w 10000"/>
                    <a:gd name="connsiteY55" fmla="*/ 2660 h 10000"/>
                    <a:gd name="connsiteX56" fmla="*/ 8409 w 10000"/>
                    <a:gd name="connsiteY56" fmla="*/ 2516 h 10000"/>
                    <a:gd name="connsiteX57" fmla="*/ 8409 w 10000"/>
                    <a:gd name="connsiteY57" fmla="*/ 2372 h 10000"/>
                    <a:gd name="connsiteX58" fmla="*/ 8257 w 10000"/>
                    <a:gd name="connsiteY58" fmla="*/ 2228 h 10000"/>
                    <a:gd name="connsiteX59" fmla="*/ 8029 w 10000"/>
                    <a:gd name="connsiteY59" fmla="*/ 2014 h 10000"/>
                    <a:gd name="connsiteX60" fmla="*/ 8029 w 10000"/>
                    <a:gd name="connsiteY60" fmla="*/ 2014 h 10000"/>
                    <a:gd name="connsiteX61" fmla="*/ 5304 w 10000"/>
                    <a:gd name="connsiteY61" fmla="*/ 722 h 10000"/>
                    <a:gd name="connsiteX62" fmla="*/ 5304 w 10000"/>
                    <a:gd name="connsiteY62" fmla="*/ 722 h 10000"/>
                    <a:gd name="connsiteX63" fmla="*/ 4999 w 10000"/>
                    <a:gd name="connsiteY63" fmla="*/ 510 h 10000"/>
                    <a:gd name="connsiteX64" fmla="*/ 4771 w 10000"/>
                    <a:gd name="connsiteY64" fmla="*/ 291 h 10000"/>
                    <a:gd name="connsiteX65" fmla="*/ 4620 w 10000"/>
                    <a:gd name="connsiteY65" fmla="*/ 73 h 10000"/>
                    <a:gd name="connsiteX66" fmla="*/ 4620 w 10000"/>
                    <a:gd name="connsiteY66" fmla="*/ 73 h 10000"/>
                    <a:gd name="connsiteX67" fmla="*/ 735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621 w 10000"/>
                    <a:gd name="connsiteY71" fmla="*/ 9857 h 10000"/>
                    <a:gd name="connsiteX72" fmla="*/ 9167 w 10000"/>
                    <a:gd name="connsiteY72" fmla="*/ 9927 h 10000"/>
                    <a:gd name="connsiteX73" fmla="*/ 9167 w 10000"/>
                    <a:gd name="connsiteY73" fmla="*/ 9927 h 10000"/>
                    <a:gd name="connsiteX74" fmla="*/ 9015 w 10000"/>
                    <a:gd name="connsiteY74" fmla="*/ 10000 h 10000"/>
                    <a:gd name="connsiteX75" fmla="*/ 8714 w 10000"/>
                    <a:gd name="connsiteY75" fmla="*/ 9927 h 10000"/>
                    <a:gd name="connsiteX76" fmla="*/ 8486 w 10000"/>
                    <a:gd name="connsiteY76" fmla="*/ 9857 h 10000"/>
                    <a:gd name="connsiteX77" fmla="*/ 8257 w 10000"/>
                    <a:gd name="connsiteY77" fmla="*/ 9707 h 10000"/>
                    <a:gd name="connsiteX78" fmla="*/ 8104 w 10000"/>
                    <a:gd name="connsiteY78" fmla="*/ 9494 h 10000"/>
                    <a:gd name="connsiteX79" fmla="*/ 7877 w 10000"/>
                    <a:gd name="connsiteY79" fmla="*/ 9137 h 10000"/>
                    <a:gd name="connsiteX80" fmla="*/ 7877 w 10000"/>
                    <a:gd name="connsiteY80" fmla="*/ 9137 h 10000"/>
                    <a:gd name="connsiteX81" fmla="*/ 7575 w 10000"/>
                    <a:gd name="connsiteY81" fmla="*/ 8492 h 10000"/>
                    <a:gd name="connsiteX82" fmla="*/ 7424 w 10000"/>
                    <a:gd name="connsiteY82" fmla="*/ 8199 h 10000"/>
                    <a:gd name="connsiteX83" fmla="*/ 7197 w 10000"/>
                    <a:gd name="connsiteY83" fmla="*/ 7987 h 10000"/>
                    <a:gd name="connsiteX84" fmla="*/ 6970 w 10000"/>
                    <a:gd name="connsiteY84" fmla="*/ 7842 h 10000"/>
                    <a:gd name="connsiteX85" fmla="*/ 6668 w 10000"/>
                    <a:gd name="connsiteY85" fmla="*/ 7765 h 10000"/>
                    <a:gd name="connsiteX86" fmla="*/ 6362 w 10000"/>
                    <a:gd name="connsiteY86" fmla="*/ 7695 h 10000"/>
                    <a:gd name="connsiteX87" fmla="*/ 5909 w 10000"/>
                    <a:gd name="connsiteY87" fmla="*/ 7622 h 10000"/>
                    <a:gd name="connsiteX88" fmla="*/ 5909 w 10000"/>
                    <a:gd name="connsiteY88" fmla="*/ 7622 h 10000"/>
                    <a:gd name="connsiteX89" fmla="*/ 5304 w 10000"/>
                    <a:gd name="connsiteY89" fmla="*/ 7695 h 10000"/>
                    <a:gd name="connsiteX90" fmla="*/ 4847 w 10000"/>
                    <a:gd name="connsiteY90" fmla="*/ 7695 h 10000"/>
                    <a:gd name="connsiteX91" fmla="*/ 4697 w 10000"/>
                    <a:gd name="connsiteY91" fmla="*/ 7622 h 10000"/>
                    <a:gd name="connsiteX92" fmla="*/ 4620 w 10000"/>
                    <a:gd name="connsiteY92" fmla="*/ 7550 h 10000"/>
                    <a:gd name="connsiteX93" fmla="*/ 4620 w 10000"/>
                    <a:gd name="connsiteY93" fmla="*/ 7550 h 10000"/>
                    <a:gd name="connsiteX94" fmla="*/ 4620 w 10000"/>
                    <a:gd name="connsiteY94" fmla="*/ 6257 h 10000"/>
                    <a:gd name="connsiteX95" fmla="*/ 4620 w 10000"/>
                    <a:gd name="connsiteY95" fmla="*/ 6257 h 10000"/>
                    <a:gd name="connsiteX96" fmla="*/ 4620 w 10000"/>
                    <a:gd name="connsiteY96" fmla="*/ 5968 h 10000"/>
                    <a:gd name="connsiteX97" fmla="*/ 4469 w 10000"/>
                    <a:gd name="connsiteY97" fmla="*/ 5609 h 10000"/>
                    <a:gd name="connsiteX98" fmla="*/ 4393 w 10000"/>
                    <a:gd name="connsiteY98" fmla="*/ 5539 h 10000"/>
                    <a:gd name="connsiteX99" fmla="*/ 4241 w 10000"/>
                    <a:gd name="connsiteY99" fmla="*/ 5464 h 10000"/>
                    <a:gd name="connsiteX100" fmla="*/ 4090 w 10000"/>
                    <a:gd name="connsiteY100" fmla="*/ 5464 h 10000"/>
                    <a:gd name="connsiteX101" fmla="*/ 3862 w 10000"/>
                    <a:gd name="connsiteY101" fmla="*/ 5539 h 10000"/>
                    <a:gd name="connsiteX102" fmla="*/ 3862 w 10000"/>
                    <a:gd name="connsiteY102" fmla="*/ 5539 h 10000"/>
                    <a:gd name="connsiteX103" fmla="*/ 3029 w 10000"/>
                    <a:gd name="connsiteY103" fmla="*/ 6042 h 10000"/>
                    <a:gd name="connsiteX104" fmla="*/ 2652 w 10000"/>
                    <a:gd name="connsiteY104" fmla="*/ 6185 h 10000"/>
                    <a:gd name="connsiteX105" fmla="*/ 2575 w 10000"/>
                    <a:gd name="connsiteY105" fmla="*/ 6257 h 10000"/>
                    <a:gd name="connsiteX106" fmla="*/ 2499 w 10000"/>
                    <a:gd name="connsiteY106" fmla="*/ 6185 h 10000"/>
                    <a:gd name="connsiteX107" fmla="*/ 2499 w 10000"/>
                    <a:gd name="connsiteY107" fmla="*/ 6185 h 10000"/>
                    <a:gd name="connsiteX108" fmla="*/ 2120 w 10000"/>
                    <a:gd name="connsiteY108" fmla="*/ 5464 h 10000"/>
                    <a:gd name="connsiteX109" fmla="*/ 2120 w 10000"/>
                    <a:gd name="connsiteY109" fmla="*/ 5464 h 10000"/>
                    <a:gd name="connsiteX110" fmla="*/ 1969 w 10000"/>
                    <a:gd name="connsiteY110" fmla="*/ 5108 h 10000"/>
                    <a:gd name="connsiteX111" fmla="*/ 1969 w 10000"/>
                    <a:gd name="connsiteY111" fmla="*/ 4889 h 10000"/>
                    <a:gd name="connsiteX112" fmla="*/ 1969 w 10000"/>
                    <a:gd name="connsiteY112" fmla="*/ 4676 h 10000"/>
                    <a:gd name="connsiteX113" fmla="*/ 1969 w 10000"/>
                    <a:gd name="connsiteY113" fmla="*/ 4676 h 10000"/>
                    <a:gd name="connsiteX114" fmla="*/ 2195 w 10000"/>
                    <a:gd name="connsiteY114" fmla="*/ 4459 h 10000"/>
                    <a:gd name="connsiteX115" fmla="*/ 2347 w 10000"/>
                    <a:gd name="connsiteY115" fmla="*/ 4388 h 10000"/>
                    <a:gd name="connsiteX116" fmla="*/ 2347 w 10000"/>
                    <a:gd name="connsiteY116" fmla="*/ 4388 h 10000"/>
                    <a:gd name="connsiteX117" fmla="*/ 1818 w 10000"/>
                    <a:gd name="connsiteY117" fmla="*/ 4388 h 10000"/>
                    <a:gd name="connsiteX118" fmla="*/ 1437 w 10000"/>
                    <a:gd name="connsiteY118" fmla="*/ 4459 h 10000"/>
                    <a:gd name="connsiteX119" fmla="*/ 1286 w 10000"/>
                    <a:gd name="connsiteY119" fmla="*/ 4537 h 10000"/>
                    <a:gd name="connsiteX120" fmla="*/ 1212 w 10000"/>
                    <a:gd name="connsiteY120" fmla="*/ 4603 h 10000"/>
                    <a:gd name="connsiteX121" fmla="*/ 1212 w 10000"/>
                    <a:gd name="connsiteY121" fmla="*/ 4603 h 10000"/>
                    <a:gd name="connsiteX122" fmla="*/ 1059 w 10000"/>
                    <a:gd name="connsiteY122" fmla="*/ 4889 h 10000"/>
                    <a:gd name="connsiteX123" fmla="*/ 831 w 10000"/>
                    <a:gd name="connsiteY123" fmla="*/ 5323 h 10000"/>
                    <a:gd name="connsiteX124" fmla="*/ 0 w 10000"/>
                    <a:gd name="connsiteY124" fmla="*/ 6185 h 10000"/>
                    <a:gd name="connsiteX0" fmla="*/ 9169 w 9169"/>
                    <a:gd name="connsiteY0" fmla="*/ 9857 h 10000"/>
                    <a:gd name="connsiteX1" fmla="*/ 9169 w 9169"/>
                    <a:gd name="connsiteY1" fmla="*/ 9857 h 10000"/>
                    <a:gd name="connsiteX2" fmla="*/ 8109 w 9169"/>
                    <a:gd name="connsiteY2" fmla="*/ 9927 h 10000"/>
                    <a:gd name="connsiteX3" fmla="*/ 7727 w 9169"/>
                    <a:gd name="connsiteY3" fmla="*/ 9927 h 10000"/>
                    <a:gd name="connsiteX4" fmla="*/ 7578 w 9169"/>
                    <a:gd name="connsiteY4" fmla="*/ 9857 h 10000"/>
                    <a:gd name="connsiteX5" fmla="*/ 7501 w 9169"/>
                    <a:gd name="connsiteY5" fmla="*/ 9782 h 10000"/>
                    <a:gd name="connsiteX6" fmla="*/ 7501 w 9169"/>
                    <a:gd name="connsiteY6" fmla="*/ 9782 h 10000"/>
                    <a:gd name="connsiteX7" fmla="*/ 7046 w 9169"/>
                    <a:gd name="connsiteY7" fmla="*/ 8915 h 10000"/>
                    <a:gd name="connsiteX8" fmla="*/ 6668 w 9169"/>
                    <a:gd name="connsiteY8" fmla="*/ 8129 h 10000"/>
                    <a:gd name="connsiteX9" fmla="*/ 6668 w 9169"/>
                    <a:gd name="connsiteY9" fmla="*/ 8129 h 10000"/>
                    <a:gd name="connsiteX10" fmla="*/ 6519 w 9169"/>
                    <a:gd name="connsiteY10" fmla="*/ 7987 h 10000"/>
                    <a:gd name="connsiteX11" fmla="*/ 6289 w 9169"/>
                    <a:gd name="connsiteY11" fmla="*/ 7842 h 10000"/>
                    <a:gd name="connsiteX12" fmla="*/ 5684 w 9169"/>
                    <a:gd name="connsiteY12" fmla="*/ 7765 h 10000"/>
                    <a:gd name="connsiteX13" fmla="*/ 4926 w 9169"/>
                    <a:gd name="connsiteY13" fmla="*/ 7695 h 10000"/>
                    <a:gd name="connsiteX14" fmla="*/ 4243 w 9169"/>
                    <a:gd name="connsiteY14" fmla="*/ 7695 h 10000"/>
                    <a:gd name="connsiteX15" fmla="*/ 4243 w 9169"/>
                    <a:gd name="connsiteY15" fmla="*/ 7695 h 10000"/>
                    <a:gd name="connsiteX16" fmla="*/ 3940 w 9169"/>
                    <a:gd name="connsiteY16" fmla="*/ 7622 h 10000"/>
                    <a:gd name="connsiteX17" fmla="*/ 3789 w 9169"/>
                    <a:gd name="connsiteY17" fmla="*/ 7484 h 10000"/>
                    <a:gd name="connsiteX18" fmla="*/ 3712 w 9169"/>
                    <a:gd name="connsiteY18" fmla="*/ 7339 h 10000"/>
                    <a:gd name="connsiteX19" fmla="*/ 3712 w 9169"/>
                    <a:gd name="connsiteY19" fmla="*/ 7050 h 10000"/>
                    <a:gd name="connsiteX20" fmla="*/ 3789 w 9169"/>
                    <a:gd name="connsiteY20" fmla="*/ 6471 h 10000"/>
                    <a:gd name="connsiteX21" fmla="*/ 3866 w 9169"/>
                    <a:gd name="connsiteY21" fmla="*/ 6185 h 10000"/>
                    <a:gd name="connsiteX22" fmla="*/ 3789 w 9169"/>
                    <a:gd name="connsiteY22" fmla="*/ 5829 h 10000"/>
                    <a:gd name="connsiteX23" fmla="*/ 3789 w 9169"/>
                    <a:gd name="connsiteY23" fmla="*/ 5829 h 10000"/>
                    <a:gd name="connsiteX24" fmla="*/ 3712 w 9169"/>
                    <a:gd name="connsiteY24" fmla="*/ 5609 h 10000"/>
                    <a:gd name="connsiteX25" fmla="*/ 3638 w 9169"/>
                    <a:gd name="connsiteY25" fmla="*/ 5464 h 10000"/>
                    <a:gd name="connsiteX26" fmla="*/ 3485 w 9169"/>
                    <a:gd name="connsiteY26" fmla="*/ 5464 h 10000"/>
                    <a:gd name="connsiteX27" fmla="*/ 3259 w 9169"/>
                    <a:gd name="connsiteY27" fmla="*/ 5539 h 10000"/>
                    <a:gd name="connsiteX28" fmla="*/ 2803 w 9169"/>
                    <a:gd name="connsiteY28" fmla="*/ 5752 h 10000"/>
                    <a:gd name="connsiteX29" fmla="*/ 2198 w 9169"/>
                    <a:gd name="connsiteY29" fmla="*/ 6117 h 10000"/>
                    <a:gd name="connsiteX30" fmla="*/ 2198 w 9169"/>
                    <a:gd name="connsiteY30" fmla="*/ 6117 h 10000"/>
                    <a:gd name="connsiteX31" fmla="*/ 1821 w 9169"/>
                    <a:gd name="connsiteY31" fmla="*/ 6185 h 10000"/>
                    <a:gd name="connsiteX32" fmla="*/ 1668 w 9169"/>
                    <a:gd name="connsiteY32" fmla="*/ 6185 h 10000"/>
                    <a:gd name="connsiteX33" fmla="*/ 1593 w 9169"/>
                    <a:gd name="connsiteY33" fmla="*/ 6117 h 10000"/>
                    <a:gd name="connsiteX34" fmla="*/ 1516 w 9169"/>
                    <a:gd name="connsiteY34" fmla="*/ 5829 h 10000"/>
                    <a:gd name="connsiteX35" fmla="*/ 1289 w 9169"/>
                    <a:gd name="connsiteY35" fmla="*/ 5464 h 10000"/>
                    <a:gd name="connsiteX36" fmla="*/ 1289 w 9169"/>
                    <a:gd name="connsiteY36" fmla="*/ 5464 h 10000"/>
                    <a:gd name="connsiteX37" fmla="*/ 1138 w 9169"/>
                    <a:gd name="connsiteY37" fmla="*/ 5254 h 10000"/>
                    <a:gd name="connsiteX38" fmla="*/ 1138 w 9169"/>
                    <a:gd name="connsiteY38" fmla="*/ 5035 h 10000"/>
                    <a:gd name="connsiteX39" fmla="*/ 1138 w 9169"/>
                    <a:gd name="connsiteY39" fmla="*/ 4889 h 10000"/>
                    <a:gd name="connsiteX40" fmla="*/ 1215 w 9169"/>
                    <a:gd name="connsiteY40" fmla="*/ 4750 h 10000"/>
                    <a:gd name="connsiteX41" fmla="*/ 1364 w 9169"/>
                    <a:gd name="connsiteY41" fmla="*/ 4459 h 10000"/>
                    <a:gd name="connsiteX42" fmla="*/ 1516 w 9169"/>
                    <a:gd name="connsiteY42" fmla="*/ 4388 h 10000"/>
                    <a:gd name="connsiteX43" fmla="*/ 1516 w 9169"/>
                    <a:gd name="connsiteY43" fmla="*/ 4388 h 10000"/>
                    <a:gd name="connsiteX44" fmla="*/ 1516 w 9169"/>
                    <a:gd name="connsiteY44" fmla="*/ 4320 h 10000"/>
                    <a:gd name="connsiteX45" fmla="*/ 1593 w 9169"/>
                    <a:gd name="connsiteY45" fmla="*/ 4245 h 10000"/>
                    <a:gd name="connsiteX46" fmla="*/ 1897 w 9169"/>
                    <a:gd name="connsiteY46" fmla="*/ 4170 h 10000"/>
                    <a:gd name="connsiteX47" fmla="*/ 2803 w 9169"/>
                    <a:gd name="connsiteY47" fmla="*/ 4031 h 10000"/>
                    <a:gd name="connsiteX48" fmla="*/ 4395 w 9169"/>
                    <a:gd name="connsiteY48" fmla="*/ 3815 h 10000"/>
                    <a:gd name="connsiteX49" fmla="*/ 4395 w 9169"/>
                    <a:gd name="connsiteY49" fmla="*/ 3815 h 10000"/>
                    <a:gd name="connsiteX50" fmla="*/ 5305 w 9169"/>
                    <a:gd name="connsiteY50" fmla="*/ 3598 h 10000"/>
                    <a:gd name="connsiteX51" fmla="*/ 6971 w 9169"/>
                    <a:gd name="connsiteY51" fmla="*/ 3165 h 10000"/>
                    <a:gd name="connsiteX52" fmla="*/ 6971 w 9169"/>
                    <a:gd name="connsiteY52" fmla="*/ 3165 h 10000"/>
                    <a:gd name="connsiteX53" fmla="*/ 7352 w 9169"/>
                    <a:gd name="connsiteY53" fmla="*/ 3013 h 10000"/>
                    <a:gd name="connsiteX54" fmla="*/ 7501 w 9169"/>
                    <a:gd name="connsiteY54" fmla="*/ 2803 h 10000"/>
                    <a:gd name="connsiteX55" fmla="*/ 7655 w 9169"/>
                    <a:gd name="connsiteY55" fmla="*/ 2660 h 10000"/>
                    <a:gd name="connsiteX56" fmla="*/ 7578 w 9169"/>
                    <a:gd name="connsiteY56" fmla="*/ 2516 h 10000"/>
                    <a:gd name="connsiteX57" fmla="*/ 7578 w 9169"/>
                    <a:gd name="connsiteY57" fmla="*/ 2372 h 10000"/>
                    <a:gd name="connsiteX58" fmla="*/ 7426 w 9169"/>
                    <a:gd name="connsiteY58" fmla="*/ 2228 h 10000"/>
                    <a:gd name="connsiteX59" fmla="*/ 7198 w 9169"/>
                    <a:gd name="connsiteY59" fmla="*/ 2014 h 10000"/>
                    <a:gd name="connsiteX60" fmla="*/ 7198 w 9169"/>
                    <a:gd name="connsiteY60" fmla="*/ 2014 h 10000"/>
                    <a:gd name="connsiteX61" fmla="*/ 4473 w 9169"/>
                    <a:gd name="connsiteY61" fmla="*/ 722 h 10000"/>
                    <a:gd name="connsiteX62" fmla="*/ 4473 w 9169"/>
                    <a:gd name="connsiteY62" fmla="*/ 722 h 10000"/>
                    <a:gd name="connsiteX63" fmla="*/ 4168 w 9169"/>
                    <a:gd name="connsiteY63" fmla="*/ 510 h 10000"/>
                    <a:gd name="connsiteX64" fmla="*/ 3940 w 9169"/>
                    <a:gd name="connsiteY64" fmla="*/ 291 h 10000"/>
                    <a:gd name="connsiteX65" fmla="*/ 3789 w 9169"/>
                    <a:gd name="connsiteY65" fmla="*/ 73 h 10000"/>
                    <a:gd name="connsiteX66" fmla="*/ 3789 w 9169"/>
                    <a:gd name="connsiteY66" fmla="*/ 73 h 10000"/>
                    <a:gd name="connsiteX67" fmla="*/ 6519 w 9169"/>
                    <a:gd name="connsiteY67" fmla="*/ 0 h 10000"/>
                    <a:gd name="connsiteX68" fmla="*/ 9169 w 9169"/>
                    <a:gd name="connsiteY68" fmla="*/ 722 h 10000"/>
                    <a:gd name="connsiteX69" fmla="*/ 9169 w 9169"/>
                    <a:gd name="connsiteY69" fmla="*/ 9927 h 10000"/>
                    <a:gd name="connsiteX70" fmla="*/ 9169 w 9169"/>
                    <a:gd name="connsiteY70" fmla="*/ 9927 h 10000"/>
                    <a:gd name="connsiteX71" fmla="*/ 8790 w 9169"/>
                    <a:gd name="connsiteY71" fmla="*/ 9857 h 10000"/>
                    <a:gd name="connsiteX72" fmla="*/ 8336 w 9169"/>
                    <a:gd name="connsiteY72" fmla="*/ 9927 h 10000"/>
                    <a:gd name="connsiteX73" fmla="*/ 8336 w 9169"/>
                    <a:gd name="connsiteY73" fmla="*/ 9927 h 10000"/>
                    <a:gd name="connsiteX74" fmla="*/ 8184 w 9169"/>
                    <a:gd name="connsiteY74" fmla="*/ 10000 h 10000"/>
                    <a:gd name="connsiteX75" fmla="*/ 7883 w 9169"/>
                    <a:gd name="connsiteY75" fmla="*/ 9927 h 10000"/>
                    <a:gd name="connsiteX76" fmla="*/ 7655 w 9169"/>
                    <a:gd name="connsiteY76" fmla="*/ 9857 h 10000"/>
                    <a:gd name="connsiteX77" fmla="*/ 7426 w 9169"/>
                    <a:gd name="connsiteY77" fmla="*/ 9707 h 10000"/>
                    <a:gd name="connsiteX78" fmla="*/ 7273 w 9169"/>
                    <a:gd name="connsiteY78" fmla="*/ 9494 h 10000"/>
                    <a:gd name="connsiteX79" fmla="*/ 7046 w 9169"/>
                    <a:gd name="connsiteY79" fmla="*/ 9137 h 10000"/>
                    <a:gd name="connsiteX80" fmla="*/ 7046 w 9169"/>
                    <a:gd name="connsiteY80" fmla="*/ 9137 h 10000"/>
                    <a:gd name="connsiteX81" fmla="*/ 6744 w 9169"/>
                    <a:gd name="connsiteY81" fmla="*/ 8492 h 10000"/>
                    <a:gd name="connsiteX82" fmla="*/ 6593 w 9169"/>
                    <a:gd name="connsiteY82" fmla="*/ 8199 h 10000"/>
                    <a:gd name="connsiteX83" fmla="*/ 6366 w 9169"/>
                    <a:gd name="connsiteY83" fmla="*/ 7987 h 10000"/>
                    <a:gd name="connsiteX84" fmla="*/ 6139 w 9169"/>
                    <a:gd name="connsiteY84" fmla="*/ 7842 h 10000"/>
                    <a:gd name="connsiteX85" fmla="*/ 5837 w 9169"/>
                    <a:gd name="connsiteY85" fmla="*/ 7765 h 10000"/>
                    <a:gd name="connsiteX86" fmla="*/ 5531 w 9169"/>
                    <a:gd name="connsiteY86" fmla="*/ 7695 h 10000"/>
                    <a:gd name="connsiteX87" fmla="*/ 5078 w 9169"/>
                    <a:gd name="connsiteY87" fmla="*/ 7622 h 10000"/>
                    <a:gd name="connsiteX88" fmla="*/ 5078 w 9169"/>
                    <a:gd name="connsiteY88" fmla="*/ 7622 h 10000"/>
                    <a:gd name="connsiteX89" fmla="*/ 4473 w 9169"/>
                    <a:gd name="connsiteY89" fmla="*/ 7695 h 10000"/>
                    <a:gd name="connsiteX90" fmla="*/ 4016 w 9169"/>
                    <a:gd name="connsiteY90" fmla="*/ 7695 h 10000"/>
                    <a:gd name="connsiteX91" fmla="*/ 3866 w 9169"/>
                    <a:gd name="connsiteY91" fmla="*/ 7622 h 10000"/>
                    <a:gd name="connsiteX92" fmla="*/ 3789 w 9169"/>
                    <a:gd name="connsiteY92" fmla="*/ 7550 h 10000"/>
                    <a:gd name="connsiteX93" fmla="*/ 3789 w 9169"/>
                    <a:gd name="connsiteY93" fmla="*/ 7550 h 10000"/>
                    <a:gd name="connsiteX94" fmla="*/ 3789 w 9169"/>
                    <a:gd name="connsiteY94" fmla="*/ 6257 h 10000"/>
                    <a:gd name="connsiteX95" fmla="*/ 3789 w 9169"/>
                    <a:gd name="connsiteY95" fmla="*/ 6257 h 10000"/>
                    <a:gd name="connsiteX96" fmla="*/ 3789 w 9169"/>
                    <a:gd name="connsiteY96" fmla="*/ 5968 h 10000"/>
                    <a:gd name="connsiteX97" fmla="*/ 3638 w 9169"/>
                    <a:gd name="connsiteY97" fmla="*/ 5609 h 10000"/>
                    <a:gd name="connsiteX98" fmla="*/ 3562 w 9169"/>
                    <a:gd name="connsiteY98" fmla="*/ 5539 h 10000"/>
                    <a:gd name="connsiteX99" fmla="*/ 3410 w 9169"/>
                    <a:gd name="connsiteY99" fmla="*/ 5464 h 10000"/>
                    <a:gd name="connsiteX100" fmla="*/ 3259 w 9169"/>
                    <a:gd name="connsiteY100" fmla="*/ 5464 h 10000"/>
                    <a:gd name="connsiteX101" fmla="*/ 3031 w 9169"/>
                    <a:gd name="connsiteY101" fmla="*/ 5539 h 10000"/>
                    <a:gd name="connsiteX102" fmla="*/ 3031 w 9169"/>
                    <a:gd name="connsiteY102" fmla="*/ 5539 h 10000"/>
                    <a:gd name="connsiteX103" fmla="*/ 2198 w 9169"/>
                    <a:gd name="connsiteY103" fmla="*/ 6042 h 10000"/>
                    <a:gd name="connsiteX104" fmla="*/ 1821 w 9169"/>
                    <a:gd name="connsiteY104" fmla="*/ 6185 h 10000"/>
                    <a:gd name="connsiteX105" fmla="*/ 1744 w 9169"/>
                    <a:gd name="connsiteY105" fmla="*/ 6257 h 10000"/>
                    <a:gd name="connsiteX106" fmla="*/ 1668 w 9169"/>
                    <a:gd name="connsiteY106" fmla="*/ 6185 h 10000"/>
                    <a:gd name="connsiteX107" fmla="*/ 1668 w 9169"/>
                    <a:gd name="connsiteY107" fmla="*/ 6185 h 10000"/>
                    <a:gd name="connsiteX108" fmla="*/ 1289 w 9169"/>
                    <a:gd name="connsiteY108" fmla="*/ 5464 h 10000"/>
                    <a:gd name="connsiteX109" fmla="*/ 1289 w 9169"/>
                    <a:gd name="connsiteY109" fmla="*/ 5464 h 10000"/>
                    <a:gd name="connsiteX110" fmla="*/ 1138 w 9169"/>
                    <a:gd name="connsiteY110" fmla="*/ 5108 h 10000"/>
                    <a:gd name="connsiteX111" fmla="*/ 1138 w 9169"/>
                    <a:gd name="connsiteY111" fmla="*/ 4889 h 10000"/>
                    <a:gd name="connsiteX112" fmla="*/ 1138 w 9169"/>
                    <a:gd name="connsiteY112" fmla="*/ 4676 h 10000"/>
                    <a:gd name="connsiteX113" fmla="*/ 1138 w 9169"/>
                    <a:gd name="connsiteY113" fmla="*/ 4676 h 10000"/>
                    <a:gd name="connsiteX114" fmla="*/ 1364 w 9169"/>
                    <a:gd name="connsiteY114" fmla="*/ 4459 h 10000"/>
                    <a:gd name="connsiteX115" fmla="*/ 1516 w 9169"/>
                    <a:gd name="connsiteY115" fmla="*/ 4388 h 10000"/>
                    <a:gd name="connsiteX116" fmla="*/ 1516 w 9169"/>
                    <a:gd name="connsiteY116" fmla="*/ 4388 h 10000"/>
                    <a:gd name="connsiteX117" fmla="*/ 987 w 9169"/>
                    <a:gd name="connsiteY117" fmla="*/ 4388 h 10000"/>
                    <a:gd name="connsiteX118" fmla="*/ 606 w 9169"/>
                    <a:gd name="connsiteY118" fmla="*/ 4459 h 10000"/>
                    <a:gd name="connsiteX119" fmla="*/ 455 w 9169"/>
                    <a:gd name="connsiteY119" fmla="*/ 4537 h 10000"/>
                    <a:gd name="connsiteX120" fmla="*/ 381 w 9169"/>
                    <a:gd name="connsiteY120" fmla="*/ 4603 h 10000"/>
                    <a:gd name="connsiteX121" fmla="*/ 381 w 9169"/>
                    <a:gd name="connsiteY121" fmla="*/ 4603 h 10000"/>
                    <a:gd name="connsiteX122" fmla="*/ 228 w 9169"/>
                    <a:gd name="connsiteY122" fmla="*/ 4889 h 10000"/>
                    <a:gd name="connsiteX123" fmla="*/ 0 w 9169"/>
                    <a:gd name="connsiteY123" fmla="*/ 5323 h 10000"/>
                    <a:gd name="connsiteX0" fmla="*/ 9751 w 9751"/>
                    <a:gd name="connsiteY0" fmla="*/ 9857 h 10000"/>
                    <a:gd name="connsiteX1" fmla="*/ 9751 w 9751"/>
                    <a:gd name="connsiteY1" fmla="*/ 9857 h 10000"/>
                    <a:gd name="connsiteX2" fmla="*/ 8595 w 9751"/>
                    <a:gd name="connsiteY2" fmla="*/ 9927 h 10000"/>
                    <a:gd name="connsiteX3" fmla="*/ 8178 w 9751"/>
                    <a:gd name="connsiteY3" fmla="*/ 9927 h 10000"/>
                    <a:gd name="connsiteX4" fmla="*/ 8016 w 9751"/>
                    <a:gd name="connsiteY4" fmla="*/ 9857 h 10000"/>
                    <a:gd name="connsiteX5" fmla="*/ 7932 w 9751"/>
                    <a:gd name="connsiteY5" fmla="*/ 9782 h 10000"/>
                    <a:gd name="connsiteX6" fmla="*/ 7932 w 9751"/>
                    <a:gd name="connsiteY6" fmla="*/ 9782 h 10000"/>
                    <a:gd name="connsiteX7" fmla="*/ 7436 w 9751"/>
                    <a:gd name="connsiteY7" fmla="*/ 8915 h 10000"/>
                    <a:gd name="connsiteX8" fmla="*/ 7023 w 9751"/>
                    <a:gd name="connsiteY8" fmla="*/ 8129 h 10000"/>
                    <a:gd name="connsiteX9" fmla="*/ 7023 w 9751"/>
                    <a:gd name="connsiteY9" fmla="*/ 8129 h 10000"/>
                    <a:gd name="connsiteX10" fmla="*/ 6861 w 9751"/>
                    <a:gd name="connsiteY10" fmla="*/ 7987 h 10000"/>
                    <a:gd name="connsiteX11" fmla="*/ 6610 w 9751"/>
                    <a:gd name="connsiteY11" fmla="*/ 7842 h 10000"/>
                    <a:gd name="connsiteX12" fmla="*/ 5950 w 9751"/>
                    <a:gd name="connsiteY12" fmla="*/ 7765 h 10000"/>
                    <a:gd name="connsiteX13" fmla="*/ 5123 w 9751"/>
                    <a:gd name="connsiteY13" fmla="*/ 7695 h 10000"/>
                    <a:gd name="connsiteX14" fmla="*/ 4379 w 9751"/>
                    <a:gd name="connsiteY14" fmla="*/ 7695 h 10000"/>
                    <a:gd name="connsiteX15" fmla="*/ 4379 w 9751"/>
                    <a:gd name="connsiteY15" fmla="*/ 7695 h 10000"/>
                    <a:gd name="connsiteX16" fmla="*/ 4048 w 9751"/>
                    <a:gd name="connsiteY16" fmla="*/ 7622 h 10000"/>
                    <a:gd name="connsiteX17" fmla="*/ 3883 w 9751"/>
                    <a:gd name="connsiteY17" fmla="*/ 7484 h 10000"/>
                    <a:gd name="connsiteX18" fmla="*/ 3799 w 9751"/>
                    <a:gd name="connsiteY18" fmla="*/ 7339 h 10000"/>
                    <a:gd name="connsiteX19" fmla="*/ 3799 w 9751"/>
                    <a:gd name="connsiteY19" fmla="*/ 7050 h 10000"/>
                    <a:gd name="connsiteX20" fmla="*/ 3883 w 9751"/>
                    <a:gd name="connsiteY20" fmla="*/ 6471 h 10000"/>
                    <a:gd name="connsiteX21" fmla="*/ 3967 w 9751"/>
                    <a:gd name="connsiteY21" fmla="*/ 6185 h 10000"/>
                    <a:gd name="connsiteX22" fmla="*/ 3883 w 9751"/>
                    <a:gd name="connsiteY22" fmla="*/ 5829 h 10000"/>
                    <a:gd name="connsiteX23" fmla="*/ 3883 w 9751"/>
                    <a:gd name="connsiteY23" fmla="*/ 5829 h 10000"/>
                    <a:gd name="connsiteX24" fmla="*/ 3799 w 9751"/>
                    <a:gd name="connsiteY24" fmla="*/ 5609 h 10000"/>
                    <a:gd name="connsiteX25" fmla="*/ 3719 w 9751"/>
                    <a:gd name="connsiteY25" fmla="*/ 5464 h 10000"/>
                    <a:gd name="connsiteX26" fmla="*/ 3552 w 9751"/>
                    <a:gd name="connsiteY26" fmla="*/ 5464 h 10000"/>
                    <a:gd name="connsiteX27" fmla="*/ 3305 w 9751"/>
                    <a:gd name="connsiteY27" fmla="*/ 5539 h 10000"/>
                    <a:gd name="connsiteX28" fmla="*/ 2808 w 9751"/>
                    <a:gd name="connsiteY28" fmla="*/ 5752 h 10000"/>
                    <a:gd name="connsiteX29" fmla="*/ 2148 w 9751"/>
                    <a:gd name="connsiteY29" fmla="*/ 6117 h 10000"/>
                    <a:gd name="connsiteX30" fmla="*/ 2148 w 9751"/>
                    <a:gd name="connsiteY30" fmla="*/ 6117 h 10000"/>
                    <a:gd name="connsiteX31" fmla="*/ 1737 w 9751"/>
                    <a:gd name="connsiteY31" fmla="*/ 6185 h 10000"/>
                    <a:gd name="connsiteX32" fmla="*/ 1570 w 9751"/>
                    <a:gd name="connsiteY32" fmla="*/ 6185 h 10000"/>
                    <a:gd name="connsiteX33" fmla="*/ 1488 w 9751"/>
                    <a:gd name="connsiteY33" fmla="*/ 6117 h 10000"/>
                    <a:gd name="connsiteX34" fmla="*/ 1404 w 9751"/>
                    <a:gd name="connsiteY34" fmla="*/ 5829 h 10000"/>
                    <a:gd name="connsiteX35" fmla="*/ 1157 w 9751"/>
                    <a:gd name="connsiteY35" fmla="*/ 5464 h 10000"/>
                    <a:gd name="connsiteX36" fmla="*/ 1157 w 9751"/>
                    <a:gd name="connsiteY36" fmla="*/ 5464 h 10000"/>
                    <a:gd name="connsiteX37" fmla="*/ 992 w 9751"/>
                    <a:gd name="connsiteY37" fmla="*/ 5254 h 10000"/>
                    <a:gd name="connsiteX38" fmla="*/ 992 w 9751"/>
                    <a:gd name="connsiteY38" fmla="*/ 5035 h 10000"/>
                    <a:gd name="connsiteX39" fmla="*/ 992 w 9751"/>
                    <a:gd name="connsiteY39" fmla="*/ 4889 h 10000"/>
                    <a:gd name="connsiteX40" fmla="*/ 1076 w 9751"/>
                    <a:gd name="connsiteY40" fmla="*/ 4750 h 10000"/>
                    <a:gd name="connsiteX41" fmla="*/ 1239 w 9751"/>
                    <a:gd name="connsiteY41" fmla="*/ 4459 h 10000"/>
                    <a:gd name="connsiteX42" fmla="*/ 1404 w 9751"/>
                    <a:gd name="connsiteY42" fmla="*/ 4388 h 10000"/>
                    <a:gd name="connsiteX43" fmla="*/ 1404 w 9751"/>
                    <a:gd name="connsiteY43" fmla="*/ 4388 h 10000"/>
                    <a:gd name="connsiteX44" fmla="*/ 1404 w 9751"/>
                    <a:gd name="connsiteY44" fmla="*/ 4320 h 10000"/>
                    <a:gd name="connsiteX45" fmla="*/ 1488 w 9751"/>
                    <a:gd name="connsiteY45" fmla="*/ 4245 h 10000"/>
                    <a:gd name="connsiteX46" fmla="*/ 1820 w 9751"/>
                    <a:gd name="connsiteY46" fmla="*/ 4170 h 10000"/>
                    <a:gd name="connsiteX47" fmla="*/ 2808 w 9751"/>
                    <a:gd name="connsiteY47" fmla="*/ 4031 h 10000"/>
                    <a:gd name="connsiteX48" fmla="*/ 4544 w 9751"/>
                    <a:gd name="connsiteY48" fmla="*/ 3815 h 10000"/>
                    <a:gd name="connsiteX49" fmla="*/ 4544 w 9751"/>
                    <a:gd name="connsiteY49" fmla="*/ 3815 h 10000"/>
                    <a:gd name="connsiteX50" fmla="*/ 5537 w 9751"/>
                    <a:gd name="connsiteY50" fmla="*/ 3598 h 10000"/>
                    <a:gd name="connsiteX51" fmla="*/ 7354 w 9751"/>
                    <a:gd name="connsiteY51" fmla="*/ 3165 h 10000"/>
                    <a:gd name="connsiteX52" fmla="*/ 7354 w 9751"/>
                    <a:gd name="connsiteY52" fmla="*/ 3165 h 10000"/>
                    <a:gd name="connsiteX53" fmla="*/ 7769 w 9751"/>
                    <a:gd name="connsiteY53" fmla="*/ 3013 h 10000"/>
                    <a:gd name="connsiteX54" fmla="*/ 7932 w 9751"/>
                    <a:gd name="connsiteY54" fmla="*/ 2803 h 10000"/>
                    <a:gd name="connsiteX55" fmla="*/ 8100 w 9751"/>
                    <a:gd name="connsiteY55" fmla="*/ 2660 h 10000"/>
                    <a:gd name="connsiteX56" fmla="*/ 8016 w 9751"/>
                    <a:gd name="connsiteY56" fmla="*/ 2516 h 10000"/>
                    <a:gd name="connsiteX57" fmla="*/ 8016 w 9751"/>
                    <a:gd name="connsiteY57" fmla="*/ 2372 h 10000"/>
                    <a:gd name="connsiteX58" fmla="*/ 7850 w 9751"/>
                    <a:gd name="connsiteY58" fmla="*/ 2228 h 10000"/>
                    <a:gd name="connsiteX59" fmla="*/ 7601 w 9751"/>
                    <a:gd name="connsiteY59" fmla="*/ 2014 h 10000"/>
                    <a:gd name="connsiteX60" fmla="*/ 7601 w 9751"/>
                    <a:gd name="connsiteY60" fmla="*/ 2014 h 10000"/>
                    <a:gd name="connsiteX61" fmla="*/ 4629 w 9751"/>
                    <a:gd name="connsiteY61" fmla="*/ 722 h 10000"/>
                    <a:gd name="connsiteX62" fmla="*/ 4629 w 9751"/>
                    <a:gd name="connsiteY62" fmla="*/ 722 h 10000"/>
                    <a:gd name="connsiteX63" fmla="*/ 4297 w 9751"/>
                    <a:gd name="connsiteY63" fmla="*/ 510 h 10000"/>
                    <a:gd name="connsiteX64" fmla="*/ 4048 w 9751"/>
                    <a:gd name="connsiteY64" fmla="*/ 291 h 10000"/>
                    <a:gd name="connsiteX65" fmla="*/ 3883 w 9751"/>
                    <a:gd name="connsiteY65" fmla="*/ 73 h 10000"/>
                    <a:gd name="connsiteX66" fmla="*/ 3883 w 9751"/>
                    <a:gd name="connsiteY66" fmla="*/ 73 h 10000"/>
                    <a:gd name="connsiteX67" fmla="*/ 6861 w 9751"/>
                    <a:gd name="connsiteY67" fmla="*/ 0 h 10000"/>
                    <a:gd name="connsiteX68" fmla="*/ 9751 w 9751"/>
                    <a:gd name="connsiteY68" fmla="*/ 722 h 10000"/>
                    <a:gd name="connsiteX69" fmla="*/ 9751 w 9751"/>
                    <a:gd name="connsiteY69" fmla="*/ 9927 h 10000"/>
                    <a:gd name="connsiteX70" fmla="*/ 9751 w 9751"/>
                    <a:gd name="connsiteY70" fmla="*/ 9927 h 10000"/>
                    <a:gd name="connsiteX71" fmla="*/ 9338 w 9751"/>
                    <a:gd name="connsiteY71" fmla="*/ 9857 h 10000"/>
                    <a:gd name="connsiteX72" fmla="*/ 8843 w 9751"/>
                    <a:gd name="connsiteY72" fmla="*/ 9927 h 10000"/>
                    <a:gd name="connsiteX73" fmla="*/ 8843 w 9751"/>
                    <a:gd name="connsiteY73" fmla="*/ 9927 h 10000"/>
                    <a:gd name="connsiteX74" fmla="*/ 8677 w 9751"/>
                    <a:gd name="connsiteY74" fmla="*/ 10000 h 10000"/>
                    <a:gd name="connsiteX75" fmla="*/ 8348 w 9751"/>
                    <a:gd name="connsiteY75" fmla="*/ 9927 h 10000"/>
                    <a:gd name="connsiteX76" fmla="*/ 8100 w 9751"/>
                    <a:gd name="connsiteY76" fmla="*/ 9857 h 10000"/>
                    <a:gd name="connsiteX77" fmla="*/ 7850 w 9751"/>
                    <a:gd name="connsiteY77" fmla="*/ 9707 h 10000"/>
                    <a:gd name="connsiteX78" fmla="*/ 7683 w 9751"/>
                    <a:gd name="connsiteY78" fmla="*/ 9494 h 10000"/>
                    <a:gd name="connsiteX79" fmla="*/ 7436 w 9751"/>
                    <a:gd name="connsiteY79" fmla="*/ 9137 h 10000"/>
                    <a:gd name="connsiteX80" fmla="*/ 7436 w 9751"/>
                    <a:gd name="connsiteY80" fmla="*/ 9137 h 10000"/>
                    <a:gd name="connsiteX81" fmla="*/ 7106 w 9751"/>
                    <a:gd name="connsiteY81" fmla="*/ 8492 h 10000"/>
                    <a:gd name="connsiteX82" fmla="*/ 6942 w 9751"/>
                    <a:gd name="connsiteY82" fmla="*/ 8199 h 10000"/>
                    <a:gd name="connsiteX83" fmla="*/ 6694 w 9751"/>
                    <a:gd name="connsiteY83" fmla="*/ 7987 h 10000"/>
                    <a:gd name="connsiteX84" fmla="*/ 6446 w 9751"/>
                    <a:gd name="connsiteY84" fmla="*/ 7842 h 10000"/>
                    <a:gd name="connsiteX85" fmla="*/ 6117 w 9751"/>
                    <a:gd name="connsiteY85" fmla="*/ 7765 h 10000"/>
                    <a:gd name="connsiteX86" fmla="*/ 5783 w 9751"/>
                    <a:gd name="connsiteY86" fmla="*/ 7695 h 10000"/>
                    <a:gd name="connsiteX87" fmla="*/ 5289 w 9751"/>
                    <a:gd name="connsiteY87" fmla="*/ 7622 h 10000"/>
                    <a:gd name="connsiteX88" fmla="*/ 5289 w 9751"/>
                    <a:gd name="connsiteY88" fmla="*/ 7622 h 10000"/>
                    <a:gd name="connsiteX89" fmla="*/ 4629 w 9751"/>
                    <a:gd name="connsiteY89" fmla="*/ 7695 h 10000"/>
                    <a:gd name="connsiteX90" fmla="*/ 4131 w 9751"/>
                    <a:gd name="connsiteY90" fmla="*/ 7695 h 10000"/>
                    <a:gd name="connsiteX91" fmla="*/ 3967 w 9751"/>
                    <a:gd name="connsiteY91" fmla="*/ 7622 h 10000"/>
                    <a:gd name="connsiteX92" fmla="*/ 3883 w 9751"/>
                    <a:gd name="connsiteY92" fmla="*/ 7550 h 10000"/>
                    <a:gd name="connsiteX93" fmla="*/ 3883 w 9751"/>
                    <a:gd name="connsiteY93" fmla="*/ 7550 h 10000"/>
                    <a:gd name="connsiteX94" fmla="*/ 3883 w 9751"/>
                    <a:gd name="connsiteY94" fmla="*/ 6257 h 10000"/>
                    <a:gd name="connsiteX95" fmla="*/ 3883 w 9751"/>
                    <a:gd name="connsiteY95" fmla="*/ 6257 h 10000"/>
                    <a:gd name="connsiteX96" fmla="*/ 3883 w 9751"/>
                    <a:gd name="connsiteY96" fmla="*/ 5968 h 10000"/>
                    <a:gd name="connsiteX97" fmla="*/ 3719 w 9751"/>
                    <a:gd name="connsiteY97" fmla="*/ 5609 h 10000"/>
                    <a:gd name="connsiteX98" fmla="*/ 3636 w 9751"/>
                    <a:gd name="connsiteY98" fmla="*/ 5539 h 10000"/>
                    <a:gd name="connsiteX99" fmla="*/ 3470 w 9751"/>
                    <a:gd name="connsiteY99" fmla="*/ 5464 h 10000"/>
                    <a:gd name="connsiteX100" fmla="*/ 3305 w 9751"/>
                    <a:gd name="connsiteY100" fmla="*/ 5464 h 10000"/>
                    <a:gd name="connsiteX101" fmla="*/ 3057 w 9751"/>
                    <a:gd name="connsiteY101" fmla="*/ 5539 h 10000"/>
                    <a:gd name="connsiteX102" fmla="*/ 3057 w 9751"/>
                    <a:gd name="connsiteY102" fmla="*/ 5539 h 10000"/>
                    <a:gd name="connsiteX103" fmla="*/ 2148 w 9751"/>
                    <a:gd name="connsiteY103" fmla="*/ 6042 h 10000"/>
                    <a:gd name="connsiteX104" fmla="*/ 1737 w 9751"/>
                    <a:gd name="connsiteY104" fmla="*/ 6185 h 10000"/>
                    <a:gd name="connsiteX105" fmla="*/ 1653 w 9751"/>
                    <a:gd name="connsiteY105" fmla="*/ 6257 h 10000"/>
                    <a:gd name="connsiteX106" fmla="*/ 1570 w 9751"/>
                    <a:gd name="connsiteY106" fmla="*/ 6185 h 10000"/>
                    <a:gd name="connsiteX107" fmla="*/ 1570 w 9751"/>
                    <a:gd name="connsiteY107" fmla="*/ 6185 h 10000"/>
                    <a:gd name="connsiteX108" fmla="*/ 1157 w 9751"/>
                    <a:gd name="connsiteY108" fmla="*/ 5464 h 10000"/>
                    <a:gd name="connsiteX109" fmla="*/ 1157 w 9751"/>
                    <a:gd name="connsiteY109" fmla="*/ 5464 h 10000"/>
                    <a:gd name="connsiteX110" fmla="*/ 992 w 9751"/>
                    <a:gd name="connsiteY110" fmla="*/ 5108 h 10000"/>
                    <a:gd name="connsiteX111" fmla="*/ 992 w 9751"/>
                    <a:gd name="connsiteY111" fmla="*/ 4889 h 10000"/>
                    <a:gd name="connsiteX112" fmla="*/ 992 w 9751"/>
                    <a:gd name="connsiteY112" fmla="*/ 4676 h 10000"/>
                    <a:gd name="connsiteX113" fmla="*/ 992 w 9751"/>
                    <a:gd name="connsiteY113" fmla="*/ 4676 h 10000"/>
                    <a:gd name="connsiteX114" fmla="*/ 1239 w 9751"/>
                    <a:gd name="connsiteY114" fmla="*/ 4459 h 10000"/>
                    <a:gd name="connsiteX115" fmla="*/ 1404 w 9751"/>
                    <a:gd name="connsiteY115" fmla="*/ 4388 h 10000"/>
                    <a:gd name="connsiteX116" fmla="*/ 1404 w 9751"/>
                    <a:gd name="connsiteY116" fmla="*/ 4388 h 10000"/>
                    <a:gd name="connsiteX117" fmla="*/ 827 w 9751"/>
                    <a:gd name="connsiteY117" fmla="*/ 4388 h 10000"/>
                    <a:gd name="connsiteX118" fmla="*/ 412 w 9751"/>
                    <a:gd name="connsiteY118" fmla="*/ 4459 h 10000"/>
                    <a:gd name="connsiteX119" fmla="*/ 247 w 9751"/>
                    <a:gd name="connsiteY119" fmla="*/ 4537 h 10000"/>
                    <a:gd name="connsiteX120" fmla="*/ 167 w 9751"/>
                    <a:gd name="connsiteY120" fmla="*/ 4603 h 10000"/>
                    <a:gd name="connsiteX121" fmla="*/ 167 w 9751"/>
                    <a:gd name="connsiteY121" fmla="*/ 4603 h 10000"/>
                    <a:gd name="connsiteX122" fmla="*/ 0 w 9751"/>
                    <a:gd name="connsiteY122" fmla="*/ 4889 h 10000"/>
                    <a:gd name="connsiteX0" fmla="*/ 9829 w 9829"/>
                    <a:gd name="connsiteY0" fmla="*/ 9857 h 10000"/>
                    <a:gd name="connsiteX1" fmla="*/ 9829 w 9829"/>
                    <a:gd name="connsiteY1" fmla="*/ 9857 h 10000"/>
                    <a:gd name="connsiteX2" fmla="*/ 8643 w 9829"/>
                    <a:gd name="connsiteY2" fmla="*/ 9927 h 10000"/>
                    <a:gd name="connsiteX3" fmla="*/ 8216 w 9829"/>
                    <a:gd name="connsiteY3" fmla="*/ 9927 h 10000"/>
                    <a:gd name="connsiteX4" fmla="*/ 8050 w 9829"/>
                    <a:gd name="connsiteY4" fmla="*/ 9857 h 10000"/>
                    <a:gd name="connsiteX5" fmla="*/ 7964 w 9829"/>
                    <a:gd name="connsiteY5" fmla="*/ 9782 h 10000"/>
                    <a:gd name="connsiteX6" fmla="*/ 7964 w 9829"/>
                    <a:gd name="connsiteY6" fmla="*/ 9782 h 10000"/>
                    <a:gd name="connsiteX7" fmla="*/ 7455 w 9829"/>
                    <a:gd name="connsiteY7" fmla="*/ 8915 h 10000"/>
                    <a:gd name="connsiteX8" fmla="*/ 7031 w 9829"/>
                    <a:gd name="connsiteY8" fmla="*/ 8129 h 10000"/>
                    <a:gd name="connsiteX9" fmla="*/ 7031 w 9829"/>
                    <a:gd name="connsiteY9" fmla="*/ 8129 h 10000"/>
                    <a:gd name="connsiteX10" fmla="*/ 6865 w 9829"/>
                    <a:gd name="connsiteY10" fmla="*/ 7987 h 10000"/>
                    <a:gd name="connsiteX11" fmla="*/ 6608 w 9829"/>
                    <a:gd name="connsiteY11" fmla="*/ 7842 h 10000"/>
                    <a:gd name="connsiteX12" fmla="*/ 5931 w 9829"/>
                    <a:gd name="connsiteY12" fmla="*/ 7765 h 10000"/>
                    <a:gd name="connsiteX13" fmla="*/ 5083 w 9829"/>
                    <a:gd name="connsiteY13" fmla="*/ 7695 h 10000"/>
                    <a:gd name="connsiteX14" fmla="*/ 4320 w 9829"/>
                    <a:gd name="connsiteY14" fmla="*/ 7695 h 10000"/>
                    <a:gd name="connsiteX15" fmla="*/ 4320 w 9829"/>
                    <a:gd name="connsiteY15" fmla="*/ 7695 h 10000"/>
                    <a:gd name="connsiteX16" fmla="*/ 3980 w 9829"/>
                    <a:gd name="connsiteY16" fmla="*/ 7622 h 10000"/>
                    <a:gd name="connsiteX17" fmla="*/ 3811 w 9829"/>
                    <a:gd name="connsiteY17" fmla="*/ 7484 h 10000"/>
                    <a:gd name="connsiteX18" fmla="*/ 3725 w 9829"/>
                    <a:gd name="connsiteY18" fmla="*/ 7339 h 10000"/>
                    <a:gd name="connsiteX19" fmla="*/ 3725 w 9829"/>
                    <a:gd name="connsiteY19" fmla="*/ 7050 h 10000"/>
                    <a:gd name="connsiteX20" fmla="*/ 3811 w 9829"/>
                    <a:gd name="connsiteY20" fmla="*/ 6471 h 10000"/>
                    <a:gd name="connsiteX21" fmla="*/ 3897 w 9829"/>
                    <a:gd name="connsiteY21" fmla="*/ 6185 h 10000"/>
                    <a:gd name="connsiteX22" fmla="*/ 3811 w 9829"/>
                    <a:gd name="connsiteY22" fmla="*/ 5829 h 10000"/>
                    <a:gd name="connsiteX23" fmla="*/ 3811 w 9829"/>
                    <a:gd name="connsiteY23" fmla="*/ 5829 h 10000"/>
                    <a:gd name="connsiteX24" fmla="*/ 3725 w 9829"/>
                    <a:gd name="connsiteY24" fmla="*/ 5609 h 10000"/>
                    <a:gd name="connsiteX25" fmla="*/ 3643 w 9829"/>
                    <a:gd name="connsiteY25" fmla="*/ 5464 h 10000"/>
                    <a:gd name="connsiteX26" fmla="*/ 3472 w 9829"/>
                    <a:gd name="connsiteY26" fmla="*/ 5464 h 10000"/>
                    <a:gd name="connsiteX27" fmla="*/ 3218 w 9829"/>
                    <a:gd name="connsiteY27" fmla="*/ 5539 h 10000"/>
                    <a:gd name="connsiteX28" fmla="*/ 2709 w 9829"/>
                    <a:gd name="connsiteY28" fmla="*/ 5752 h 10000"/>
                    <a:gd name="connsiteX29" fmla="*/ 2032 w 9829"/>
                    <a:gd name="connsiteY29" fmla="*/ 6117 h 10000"/>
                    <a:gd name="connsiteX30" fmla="*/ 2032 w 9829"/>
                    <a:gd name="connsiteY30" fmla="*/ 6117 h 10000"/>
                    <a:gd name="connsiteX31" fmla="*/ 1610 w 9829"/>
                    <a:gd name="connsiteY31" fmla="*/ 6185 h 10000"/>
                    <a:gd name="connsiteX32" fmla="*/ 1439 w 9829"/>
                    <a:gd name="connsiteY32" fmla="*/ 6185 h 10000"/>
                    <a:gd name="connsiteX33" fmla="*/ 1355 w 9829"/>
                    <a:gd name="connsiteY33" fmla="*/ 6117 h 10000"/>
                    <a:gd name="connsiteX34" fmla="*/ 1269 w 9829"/>
                    <a:gd name="connsiteY34" fmla="*/ 5829 h 10000"/>
                    <a:gd name="connsiteX35" fmla="*/ 1016 w 9829"/>
                    <a:gd name="connsiteY35" fmla="*/ 5464 h 10000"/>
                    <a:gd name="connsiteX36" fmla="*/ 1016 w 9829"/>
                    <a:gd name="connsiteY36" fmla="*/ 5464 h 10000"/>
                    <a:gd name="connsiteX37" fmla="*/ 846 w 9829"/>
                    <a:gd name="connsiteY37" fmla="*/ 5254 h 10000"/>
                    <a:gd name="connsiteX38" fmla="*/ 846 w 9829"/>
                    <a:gd name="connsiteY38" fmla="*/ 5035 h 10000"/>
                    <a:gd name="connsiteX39" fmla="*/ 846 w 9829"/>
                    <a:gd name="connsiteY39" fmla="*/ 4889 h 10000"/>
                    <a:gd name="connsiteX40" fmla="*/ 932 w 9829"/>
                    <a:gd name="connsiteY40" fmla="*/ 4750 h 10000"/>
                    <a:gd name="connsiteX41" fmla="*/ 1100 w 9829"/>
                    <a:gd name="connsiteY41" fmla="*/ 4459 h 10000"/>
                    <a:gd name="connsiteX42" fmla="*/ 1269 w 9829"/>
                    <a:gd name="connsiteY42" fmla="*/ 4388 h 10000"/>
                    <a:gd name="connsiteX43" fmla="*/ 1269 w 9829"/>
                    <a:gd name="connsiteY43" fmla="*/ 4388 h 10000"/>
                    <a:gd name="connsiteX44" fmla="*/ 1269 w 9829"/>
                    <a:gd name="connsiteY44" fmla="*/ 4320 h 10000"/>
                    <a:gd name="connsiteX45" fmla="*/ 1355 w 9829"/>
                    <a:gd name="connsiteY45" fmla="*/ 4245 h 10000"/>
                    <a:gd name="connsiteX46" fmla="*/ 1695 w 9829"/>
                    <a:gd name="connsiteY46" fmla="*/ 4170 h 10000"/>
                    <a:gd name="connsiteX47" fmla="*/ 2709 w 9829"/>
                    <a:gd name="connsiteY47" fmla="*/ 4031 h 10000"/>
                    <a:gd name="connsiteX48" fmla="*/ 4489 w 9829"/>
                    <a:gd name="connsiteY48" fmla="*/ 3815 h 10000"/>
                    <a:gd name="connsiteX49" fmla="*/ 4489 w 9829"/>
                    <a:gd name="connsiteY49" fmla="*/ 3815 h 10000"/>
                    <a:gd name="connsiteX50" fmla="*/ 5507 w 9829"/>
                    <a:gd name="connsiteY50" fmla="*/ 3598 h 10000"/>
                    <a:gd name="connsiteX51" fmla="*/ 7371 w 9829"/>
                    <a:gd name="connsiteY51" fmla="*/ 3165 h 10000"/>
                    <a:gd name="connsiteX52" fmla="*/ 7371 w 9829"/>
                    <a:gd name="connsiteY52" fmla="*/ 3165 h 10000"/>
                    <a:gd name="connsiteX53" fmla="*/ 7796 w 9829"/>
                    <a:gd name="connsiteY53" fmla="*/ 3013 h 10000"/>
                    <a:gd name="connsiteX54" fmla="*/ 7964 w 9829"/>
                    <a:gd name="connsiteY54" fmla="*/ 2803 h 10000"/>
                    <a:gd name="connsiteX55" fmla="*/ 8136 w 9829"/>
                    <a:gd name="connsiteY55" fmla="*/ 2660 h 10000"/>
                    <a:gd name="connsiteX56" fmla="*/ 8050 w 9829"/>
                    <a:gd name="connsiteY56" fmla="*/ 2516 h 10000"/>
                    <a:gd name="connsiteX57" fmla="*/ 8050 w 9829"/>
                    <a:gd name="connsiteY57" fmla="*/ 2372 h 10000"/>
                    <a:gd name="connsiteX58" fmla="*/ 7879 w 9829"/>
                    <a:gd name="connsiteY58" fmla="*/ 2228 h 10000"/>
                    <a:gd name="connsiteX59" fmla="*/ 7624 w 9829"/>
                    <a:gd name="connsiteY59" fmla="*/ 2014 h 10000"/>
                    <a:gd name="connsiteX60" fmla="*/ 7624 w 9829"/>
                    <a:gd name="connsiteY60" fmla="*/ 2014 h 10000"/>
                    <a:gd name="connsiteX61" fmla="*/ 4576 w 9829"/>
                    <a:gd name="connsiteY61" fmla="*/ 722 h 10000"/>
                    <a:gd name="connsiteX62" fmla="*/ 4576 w 9829"/>
                    <a:gd name="connsiteY62" fmla="*/ 722 h 10000"/>
                    <a:gd name="connsiteX63" fmla="*/ 4236 w 9829"/>
                    <a:gd name="connsiteY63" fmla="*/ 510 h 10000"/>
                    <a:gd name="connsiteX64" fmla="*/ 3980 w 9829"/>
                    <a:gd name="connsiteY64" fmla="*/ 291 h 10000"/>
                    <a:gd name="connsiteX65" fmla="*/ 3811 w 9829"/>
                    <a:gd name="connsiteY65" fmla="*/ 73 h 10000"/>
                    <a:gd name="connsiteX66" fmla="*/ 3811 w 9829"/>
                    <a:gd name="connsiteY66" fmla="*/ 73 h 10000"/>
                    <a:gd name="connsiteX67" fmla="*/ 6865 w 9829"/>
                    <a:gd name="connsiteY67" fmla="*/ 0 h 10000"/>
                    <a:gd name="connsiteX68" fmla="*/ 9829 w 9829"/>
                    <a:gd name="connsiteY68" fmla="*/ 722 h 10000"/>
                    <a:gd name="connsiteX69" fmla="*/ 9829 w 9829"/>
                    <a:gd name="connsiteY69" fmla="*/ 9927 h 10000"/>
                    <a:gd name="connsiteX70" fmla="*/ 9829 w 9829"/>
                    <a:gd name="connsiteY70" fmla="*/ 9927 h 10000"/>
                    <a:gd name="connsiteX71" fmla="*/ 9405 w 9829"/>
                    <a:gd name="connsiteY71" fmla="*/ 9857 h 10000"/>
                    <a:gd name="connsiteX72" fmla="*/ 8898 w 9829"/>
                    <a:gd name="connsiteY72" fmla="*/ 9927 h 10000"/>
                    <a:gd name="connsiteX73" fmla="*/ 8898 w 9829"/>
                    <a:gd name="connsiteY73" fmla="*/ 9927 h 10000"/>
                    <a:gd name="connsiteX74" fmla="*/ 8728 w 9829"/>
                    <a:gd name="connsiteY74" fmla="*/ 10000 h 10000"/>
                    <a:gd name="connsiteX75" fmla="*/ 8390 w 9829"/>
                    <a:gd name="connsiteY75" fmla="*/ 9927 h 10000"/>
                    <a:gd name="connsiteX76" fmla="*/ 8136 w 9829"/>
                    <a:gd name="connsiteY76" fmla="*/ 9857 h 10000"/>
                    <a:gd name="connsiteX77" fmla="*/ 7879 w 9829"/>
                    <a:gd name="connsiteY77" fmla="*/ 9707 h 10000"/>
                    <a:gd name="connsiteX78" fmla="*/ 7708 w 9829"/>
                    <a:gd name="connsiteY78" fmla="*/ 9494 h 10000"/>
                    <a:gd name="connsiteX79" fmla="*/ 7455 w 9829"/>
                    <a:gd name="connsiteY79" fmla="*/ 9137 h 10000"/>
                    <a:gd name="connsiteX80" fmla="*/ 7455 w 9829"/>
                    <a:gd name="connsiteY80" fmla="*/ 9137 h 10000"/>
                    <a:gd name="connsiteX81" fmla="*/ 7116 w 9829"/>
                    <a:gd name="connsiteY81" fmla="*/ 8492 h 10000"/>
                    <a:gd name="connsiteX82" fmla="*/ 6948 w 9829"/>
                    <a:gd name="connsiteY82" fmla="*/ 8199 h 10000"/>
                    <a:gd name="connsiteX83" fmla="*/ 6694 w 9829"/>
                    <a:gd name="connsiteY83" fmla="*/ 7987 h 10000"/>
                    <a:gd name="connsiteX84" fmla="*/ 6440 w 9829"/>
                    <a:gd name="connsiteY84" fmla="*/ 7842 h 10000"/>
                    <a:gd name="connsiteX85" fmla="*/ 6102 w 9829"/>
                    <a:gd name="connsiteY85" fmla="*/ 7765 h 10000"/>
                    <a:gd name="connsiteX86" fmla="*/ 5760 w 9829"/>
                    <a:gd name="connsiteY86" fmla="*/ 7695 h 10000"/>
                    <a:gd name="connsiteX87" fmla="*/ 5253 w 9829"/>
                    <a:gd name="connsiteY87" fmla="*/ 7622 h 10000"/>
                    <a:gd name="connsiteX88" fmla="*/ 5253 w 9829"/>
                    <a:gd name="connsiteY88" fmla="*/ 7622 h 10000"/>
                    <a:gd name="connsiteX89" fmla="*/ 4576 w 9829"/>
                    <a:gd name="connsiteY89" fmla="*/ 7695 h 10000"/>
                    <a:gd name="connsiteX90" fmla="*/ 4065 w 9829"/>
                    <a:gd name="connsiteY90" fmla="*/ 7695 h 10000"/>
                    <a:gd name="connsiteX91" fmla="*/ 3897 w 9829"/>
                    <a:gd name="connsiteY91" fmla="*/ 7622 h 10000"/>
                    <a:gd name="connsiteX92" fmla="*/ 3811 w 9829"/>
                    <a:gd name="connsiteY92" fmla="*/ 7550 h 10000"/>
                    <a:gd name="connsiteX93" fmla="*/ 3811 w 9829"/>
                    <a:gd name="connsiteY93" fmla="*/ 7550 h 10000"/>
                    <a:gd name="connsiteX94" fmla="*/ 3811 w 9829"/>
                    <a:gd name="connsiteY94" fmla="*/ 6257 h 10000"/>
                    <a:gd name="connsiteX95" fmla="*/ 3811 w 9829"/>
                    <a:gd name="connsiteY95" fmla="*/ 6257 h 10000"/>
                    <a:gd name="connsiteX96" fmla="*/ 3811 w 9829"/>
                    <a:gd name="connsiteY96" fmla="*/ 5968 h 10000"/>
                    <a:gd name="connsiteX97" fmla="*/ 3643 w 9829"/>
                    <a:gd name="connsiteY97" fmla="*/ 5609 h 10000"/>
                    <a:gd name="connsiteX98" fmla="*/ 3558 w 9829"/>
                    <a:gd name="connsiteY98" fmla="*/ 5539 h 10000"/>
                    <a:gd name="connsiteX99" fmla="*/ 3388 w 9829"/>
                    <a:gd name="connsiteY99" fmla="*/ 5464 h 10000"/>
                    <a:gd name="connsiteX100" fmla="*/ 3218 w 9829"/>
                    <a:gd name="connsiteY100" fmla="*/ 5464 h 10000"/>
                    <a:gd name="connsiteX101" fmla="*/ 2964 w 9829"/>
                    <a:gd name="connsiteY101" fmla="*/ 5539 h 10000"/>
                    <a:gd name="connsiteX102" fmla="*/ 2964 w 9829"/>
                    <a:gd name="connsiteY102" fmla="*/ 5539 h 10000"/>
                    <a:gd name="connsiteX103" fmla="*/ 2032 w 9829"/>
                    <a:gd name="connsiteY103" fmla="*/ 6042 h 10000"/>
                    <a:gd name="connsiteX104" fmla="*/ 1610 w 9829"/>
                    <a:gd name="connsiteY104" fmla="*/ 6185 h 10000"/>
                    <a:gd name="connsiteX105" fmla="*/ 1524 w 9829"/>
                    <a:gd name="connsiteY105" fmla="*/ 6257 h 10000"/>
                    <a:gd name="connsiteX106" fmla="*/ 1439 w 9829"/>
                    <a:gd name="connsiteY106" fmla="*/ 6185 h 10000"/>
                    <a:gd name="connsiteX107" fmla="*/ 1439 w 9829"/>
                    <a:gd name="connsiteY107" fmla="*/ 6185 h 10000"/>
                    <a:gd name="connsiteX108" fmla="*/ 1016 w 9829"/>
                    <a:gd name="connsiteY108" fmla="*/ 5464 h 10000"/>
                    <a:gd name="connsiteX109" fmla="*/ 1016 w 9829"/>
                    <a:gd name="connsiteY109" fmla="*/ 5464 h 10000"/>
                    <a:gd name="connsiteX110" fmla="*/ 846 w 9829"/>
                    <a:gd name="connsiteY110" fmla="*/ 5108 h 10000"/>
                    <a:gd name="connsiteX111" fmla="*/ 846 w 9829"/>
                    <a:gd name="connsiteY111" fmla="*/ 4889 h 10000"/>
                    <a:gd name="connsiteX112" fmla="*/ 846 w 9829"/>
                    <a:gd name="connsiteY112" fmla="*/ 4676 h 10000"/>
                    <a:gd name="connsiteX113" fmla="*/ 846 w 9829"/>
                    <a:gd name="connsiteY113" fmla="*/ 4676 h 10000"/>
                    <a:gd name="connsiteX114" fmla="*/ 1100 w 9829"/>
                    <a:gd name="connsiteY114" fmla="*/ 4459 h 10000"/>
                    <a:gd name="connsiteX115" fmla="*/ 1269 w 9829"/>
                    <a:gd name="connsiteY115" fmla="*/ 4388 h 10000"/>
                    <a:gd name="connsiteX116" fmla="*/ 1269 w 9829"/>
                    <a:gd name="connsiteY116" fmla="*/ 4388 h 10000"/>
                    <a:gd name="connsiteX117" fmla="*/ 677 w 9829"/>
                    <a:gd name="connsiteY117" fmla="*/ 4388 h 10000"/>
                    <a:gd name="connsiteX118" fmla="*/ 252 w 9829"/>
                    <a:gd name="connsiteY118" fmla="*/ 4459 h 10000"/>
                    <a:gd name="connsiteX119" fmla="*/ 82 w 9829"/>
                    <a:gd name="connsiteY119" fmla="*/ 4537 h 10000"/>
                    <a:gd name="connsiteX120" fmla="*/ 0 w 9829"/>
                    <a:gd name="connsiteY120" fmla="*/ 4603 h 10000"/>
                    <a:gd name="connsiteX121" fmla="*/ 0 w 9829"/>
                    <a:gd name="connsiteY121" fmla="*/ 4603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793 w 10000"/>
                    <a:gd name="connsiteY2" fmla="*/ 9927 h 10000"/>
                    <a:gd name="connsiteX3" fmla="*/ 8359 w 10000"/>
                    <a:gd name="connsiteY3" fmla="*/ 9927 h 10000"/>
                    <a:gd name="connsiteX4" fmla="*/ 8190 w 10000"/>
                    <a:gd name="connsiteY4" fmla="*/ 9857 h 10000"/>
                    <a:gd name="connsiteX5" fmla="*/ 8103 w 10000"/>
                    <a:gd name="connsiteY5" fmla="*/ 9782 h 10000"/>
                    <a:gd name="connsiteX6" fmla="*/ 8103 w 10000"/>
                    <a:gd name="connsiteY6" fmla="*/ 9782 h 10000"/>
                    <a:gd name="connsiteX7" fmla="*/ 7585 w 10000"/>
                    <a:gd name="connsiteY7" fmla="*/ 8915 h 10000"/>
                    <a:gd name="connsiteX8" fmla="*/ 7153 w 10000"/>
                    <a:gd name="connsiteY8" fmla="*/ 8129 h 10000"/>
                    <a:gd name="connsiteX9" fmla="*/ 7153 w 10000"/>
                    <a:gd name="connsiteY9" fmla="*/ 8129 h 10000"/>
                    <a:gd name="connsiteX10" fmla="*/ 6984 w 10000"/>
                    <a:gd name="connsiteY10" fmla="*/ 7987 h 10000"/>
                    <a:gd name="connsiteX11" fmla="*/ 6723 w 10000"/>
                    <a:gd name="connsiteY11" fmla="*/ 7842 h 10000"/>
                    <a:gd name="connsiteX12" fmla="*/ 6034 w 10000"/>
                    <a:gd name="connsiteY12" fmla="*/ 7765 h 10000"/>
                    <a:gd name="connsiteX13" fmla="*/ 5171 w 10000"/>
                    <a:gd name="connsiteY13" fmla="*/ 7695 h 10000"/>
                    <a:gd name="connsiteX14" fmla="*/ 4395 w 10000"/>
                    <a:gd name="connsiteY14" fmla="*/ 7695 h 10000"/>
                    <a:gd name="connsiteX15" fmla="*/ 4395 w 10000"/>
                    <a:gd name="connsiteY15" fmla="*/ 7695 h 10000"/>
                    <a:gd name="connsiteX16" fmla="*/ 4049 w 10000"/>
                    <a:gd name="connsiteY16" fmla="*/ 7622 h 10000"/>
                    <a:gd name="connsiteX17" fmla="*/ 3877 w 10000"/>
                    <a:gd name="connsiteY17" fmla="*/ 7484 h 10000"/>
                    <a:gd name="connsiteX18" fmla="*/ 3790 w 10000"/>
                    <a:gd name="connsiteY18" fmla="*/ 7339 h 10000"/>
                    <a:gd name="connsiteX19" fmla="*/ 3790 w 10000"/>
                    <a:gd name="connsiteY19" fmla="*/ 7050 h 10000"/>
                    <a:gd name="connsiteX20" fmla="*/ 3877 w 10000"/>
                    <a:gd name="connsiteY20" fmla="*/ 6471 h 10000"/>
                    <a:gd name="connsiteX21" fmla="*/ 3965 w 10000"/>
                    <a:gd name="connsiteY21" fmla="*/ 6185 h 10000"/>
                    <a:gd name="connsiteX22" fmla="*/ 3877 w 10000"/>
                    <a:gd name="connsiteY22" fmla="*/ 5829 h 10000"/>
                    <a:gd name="connsiteX23" fmla="*/ 3877 w 10000"/>
                    <a:gd name="connsiteY23" fmla="*/ 5829 h 10000"/>
                    <a:gd name="connsiteX24" fmla="*/ 3790 w 10000"/>
                    <a:gd name="connsiteY24" fmla="*/ 5609 h 10000"/>
                    <a:gd name="connsiteX25" fmla="*/ 3706 w 10000"/>
                    <a:gd name="connsiteY25" fmla="*/ 5464 h 10000"/>
                    <a:gd name="connsiteX26" fmla="*/ 3532 w 10000"/>
                    <a:gd name="connsiteY26" fmla="*/ 5464 h 10000"/>
                    <a:gd name="connsiteX27" fmla="*/ 3274 w 10000"/>
                    <a:gd name="connsiteY27" fmla="*/ 5539 h 10000"/>
                    <a:gd name="connsiteX28" fmla="*/ 2756 w 10000"/>
                    <a:gd name="connsiteY28" fmla="*/ 5752 h 10000"/>
                    <a:gd name="connsiteX29" fmla="*/ 2067 w 10000"/>
                    <a:gd name="connsiteY29" fmla="*/ 6117 h 10000"/>
                    <a:gd name="connsiteX30" fmla="*/ 2067 w 10000"/>
                    <a:gd name="connsiteY30" fmla="*/ 6117 h 10000"/>
                    <a:gd name="connsiteX31" fmla="*/ 1638 w 10000"/>
                    <a:gd name="connsiteY31" fmla="*/ 6185 h 10000"/>
                    <a:gd name="connsiteX32" fmla="*/ 1464 w 10000"/>
                    <a:gd name="connsiteY32" fmla="*/ 6185 h 10000"/>
                    <a:gd name="connsiteX33" fmla="*/ 1379 w 10000"/>
                    <a:gd name="connsiteY33" fmla="*/ 6117 h 10000"/>
                    <a:gd name="connsiteX34" fmla="*/ 1291 w 10000"/>
                    <a:gd name="connsiteY34" fmla="*/ 5829 h 10000"/>
                    <a:gd name="connsiteX35" fmla="*/ 1034 w 10000"/>
                    <a:gd name="connsiteY35" fmla="*/ 5464 h 10000"/>
                    <a:gd name="connsiteX36" fmla="*/ 1034 w 10000"/>
                    <a:gd name="connsiteY36" fmla="*/ 5464 h 10000"/>
                    <a:gd name="connsiteX37" fmla="*/ 861 w 10000"/>
                    <a:gd name="connsiteY37" fmla="*/ 5254 h 10000"/>
                    <a:gd name="connsiteX38" fmla="*/ 861 w 10000"/>
                    <a:gd name="connsiteY38" fmla="*/ 5035 h 10000"/>
                    <a:gd name="connsiteX39" fmla="*/ 861 w 10000"/>
                    <a:gd name="connsiteY39" fmla="*/ 4889 h 10000"/>
                    <a:gd name="connsiteX40" fmla="*/ 948 w 10000"/>
                    <a:gd name="connsiteY40" fmla="*/ 4750 h 10000"/>
                    <a:gd name="connsiteX41" fmla="*/ 1119 w 10000"/>
                    <a:gd name="connsiteY41" fmla="*/ 4459 h 10000"/>
                    <a:gd name="connsiteX42" fmla="*/ 1291 w 10000"/>
                    <a:gd name="connsiteY42" fmla="*/ 4388 h 10000"/>
                    <a:gd name="connsiteX43" fmla="*/ 1291 w 10000"/>
                    <a:gd name="connsiteY43" fmla="*/ 4388 h 10000"/>
                    <a:gd name="connsiteX44" fmla="*/ 1291 w 10000"/>
                    <a:gd name="connsiteY44" fmla="*/ 4320 h 10000"/>
                    <a:gd name="connsiteX45" fmla="*/ 1379 w 10000"/>
                    <a:gd name="connsiteY45" fmla="*/ 4245 h 10000"/>
                    <a:gd name="connsiteX46" fmla="*/ 1724 w 10000"/>
                    <a:gd name="connsiteY46" fmla="*/ 4170 h 10000"/>
                    <a:gd name="connsiteX47" fmla="*/ 2756 w 10000"/>
                    <a:gd name="connsiteY47" fmla="*/ 4031 h 10000"/>
                    <a:gd name="connsiteX48" fmla="*/ 4567 w 10000"/>
                    <a:gd name="connsiteY48" fmla="*/ 3815 h 10000"/>
                    <a:gd name="connsiteX49" fmla="*/ 4567 w 10000"/>
                    <a:gd name="connsiteY49" fmla="*/ 3815 h 10000"/>
                    <a:gd name="connsiteX50" fmla="*/ 5603 w 10000"/>
                    <a:gd name="connsiteY50" fmla="*/ 3598 h 10000"/>
                    <a:gd name="connsiteX51" fmla="*/ 7499 w 10000"/>
                    <a:gd name="connsiteY51" fmla="*/ 3165 h 10000"/>
                    <a:gd name="connsiteX52" fmla="*/ 7499 w 10000"/>
                    <a:gd name="connsiteY52" fmla="*/ 3165 h 10000"/>
                    <a:gd name="connsiteX53" fmla="*/ 7932 w 10000"/>
                    <a:gd name="connsiteY53" fmla="*/ 3013 h 10000"/>
                    <a:gd name="connsiteX54" fmla="*/ 8103 w 10000"/>
                    <a:gd name="connsiteY54" fmla="*/ 2803 h 10000"/>
                    <a:gd name="connsiteX55" fmla="*/ 8278 w 10000"/>
                    <a:gd name="connsiteY55" fmla="*/ 2660 h 10000"/>
                    <a:gd name="connsiteX56" fmla="*/ 8190 w 10000"/>
                    <a:gd name="connsiteY56" fmla="*/ 2516 h 10000"/>
                    <a:gd name="connsiteX57" fmla="*/ 8190 w 10000"/>
                    <a:gd name="connsiteY57" fmla="*/ 2372 h 10000"/>
                    <a:gd name="connsiteX58" fmla="*/ 8016 w 10000"/>
                    <a:gd name="connsiteY58" fmla="*/ 2228 h 10000"/>
                    <a:gd name="connsiteX59" fmla="*/ 7757 w 10000"/>
                    <a:gd name="connsiteY59" fmla="*/ 2014 h 10000"/>
                    <a:gd name="connsiteX60" fmla="*/ 7757 w 10000"/>
                    <a:gd name="connsiteY60" fmla="*/ 2014 h 10000"/>
                    <a:gd name="connsiteX61" fmla="*/ 4656 w 10000"/>
                    <a:gd name="connsiteY61" fmla="*/ 722 h 10000"/>
                    <a:gd name="connsiteX62" fmla="*/ 4656 w 10000"/>
                    <a:gd name="connsiteY62" fmla="*/ 722 h 10000"/>
                    <a:gd name="connsiteX63" fmla="*/ 4310 w 10000"/>
                    <a:gd name="connsiteY63" fmla="*/ 510 h 10000"/>
                    <a:gd name="connsiteX64" fmla="*/ 4049 w 10000"/>
                    <a:gd name="connsiteY64" fmla="*/ 291 h 10000"/>
                    <a:gd name="connsiteX65" fmla="*/ 3877 w 10000"/>
                    <a:gd name="connsiteY65" fmla="*/ 73 h 10000"/>
                    <a:gd name="connsiteX66" fmla="*/ 3877 w 10000"/>
                    <a:gd name="connsiteY66" fmla="*/ 73 h 10000"/>
                    <a:gd name="connsiteX67" fmla="*/ 6984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69 w 10000"/>
                    <a:gd name="connsiteY71" fmla="*/ 9857 h 10000"/>
                    <a:gd name="connsiteX72" fmla="*/ 9053 w 10000"/>
                    <a:gd name="connsiteY72" fmla="*/ 9927 h 10000"/>
                    <a:gd name="connsiteX73" fmla="*/ 9053 w 10000"/>
                    <a:gd name="connsiteY73" fmla="*/ 9927 h 10000"/>
                    <a:gd name="connsiteX74" fmla="*/ 8880 w 10000"/>
                    <a:gd name="connsiteY74" fmla="*/ 10000 h 10000"/>
                    <a:gd name="connsiteX75" fmla="*/ 8536 w 10000"/>
                    <a:gd name="connsiteY75" fmla="*/ 9927 h 10000"/>
                    <a:gd name="connsiteX76" fmla="*/ 8278 w 10000"/>
                    <a:gd name="connsiteY76" fmla="*/ 9857 h 10000"/>
                    <a:gd name="connsiteX77" fmla="*/ 8016 w 10000"/>
                    <a:gd name="connsiteY77" fmla="*/ 9707 h 10000"/>
                    <a:gd name="connsiteX78" fmla="*/ 7842 w 10000"/>
                    <a:gd name="connsiteY78" fmla="*/ 9494 h 10000"/>
                    <a:gd name="connsiteX79" fmla="*/ 7585 w 10000"/>
                    <a:gd name="connsiteY79" fmla="*/ 9137 h 10000"/>
                    <a:gd name="connsiteX80" fmla="*/ 7585 w 10000"/>
                    <a:gd name="connsiteY80" fmla="*/ 9137 h 10000"/>
                    <a:gd name="connsiteX81" fmla="*/ 7240 w 10000"/>
                    <a:gd name="connsiteY81" fmla="*/ 8492 h 10000"/>
                    <a:gd name="connsiteX82" fmla="*/ 7069 w 10000"/>
                    <a:gd name="connsiteY82" fmla="*/ 8199 h 10000"/>
                    <a:gd name="connsiteX83" fmla="*/ 6810 w 10000"/>
                    <a:gd name="connsiteY83" fmla="*/ 7987 h 10000"/>
                    <a:gd name="connsiteX84" fmla="*/ 6552 w 10000"/>
                    <a:gd name="connsiteY84" fmla="*/ 7842 h 10000"/>
                    <a:gd name="connsiteX85" fmla="*/ 6208 w 10000"/>
                    <a:gd name="connsiteY85" fmla="*/ 7765 h 10000"/>
                    <a:gd name="connsiteX86" fmla="*/ 5860 w 10000"/>
                    <a:gd name="connsiteY86" fmla="*/ 7695 h 10000"/>
                    <a:gd name="connsiteX87" fmla="*/ 5344 w 10000"/>
                    <a:gd name="connsiteY87" fmla="*/ 7622 h 10000"/>
                    <a:gd name="connsiteX88" fmla="*/ 5344 w 10000"/>
                    <a:gd name="connsiteY88" fmla="*/ 7622 h 10000"/>
                    <a:gd name="connsiteX89" fmla="*/ 4656 w 10000"/>
                    <a:gd name="connsiteY89" fmla="*/ 7695 h 10000"/>
                    <a:gd name="connsiteX90" fmla="*/ 4136 w 10000"/>
                    <a:gd name="connsiteY90" fmla="*/ 7695 h 10000"/>
                    <a:gd name="connsiteX91" fmla="*/ 3965 w 10000"/>
                    <a:gd name="connsiteY91" fmla="*/ 7622 h 10000"/>
                    <a:gd name="connsiteX92" fmla="*/ 3877 w 10000"/>
                    <a:gd name="connsiteY92" fmla="*/ 7550 h 10000"/>
                    <a:gd name="connsiteX93" fmla="*/ 3877 w 10000"/>
                    <a:gd name="connsiteY93" fmla="*/ 7550 h 10000"/>
                    <a:gd name="connsiteX94" fmla="*/ 3877 w 10000"/>
                    <a:gd name="connsiteY94" fmla="*/ 6257 h 10000"/>
                    <a:gd name="connsiteX95" fmla="*/ 3877 w 10000"/>
                    <a:gd name="connsiteY95" fmla="*/ 6257 h 10000"/>
                    <a:gd name="connsiteX96" fmla="*/ 3877 w 10000"/>
                    <a:gd name="connsiteY96" fmla="*/ 5968 h 10000"/>
                    <a:gd name="connsiteX97" fmla="*/ 3706 w 10000"/>
                    <a:gd name="connsiteY97" fmla="*/ 5609 h 10000"/>
                    <a:gd name="connsiteX98" fmla="*/ 3620 w 10000"/>
                    <a:gd name="connsiteY98" fmla="*/ 5539 h 10000"/>
                    <a:gd name="connsiteX99" fmla="*/ 3447 w 10000"/>
                    <a:gd name="connsiteY99" fmla="*/ 5464 h 10000"/>
                    <a:gd name="connsiteX100" fmla="*/ 3274 w 10000"/>
                    <a:gd name="connsiteY100" fmla="*/ 5464 h 10000"/>
                    <a:gd name="connsiteX101" fmla="*/ 3016 w 10000"/>
                    <a:gd name="connsiteY101" fmla="*/ 5539 h 10000"/>
                    <a:gd name="connsiteX102" fmla="*/ 3016 w 10000"/>
                    <a:gd name="connsiteY102" fmla="*/ 5539 h 10000"/>
                    <a:gd name="connsiteX103" fmla="*/ 2067 w 10000"/>
                    <a:gd name="connsiteY103" fmla="*/ 6042 h 10000"/>
                    <a:gd name="connsiteX104" fmla="*/ 1638 w 10000"/>
                    <a:gd name="connsiteY104" fmla="*/ 6185 h 10000"/>
                    <a:gd name="connsiteX105" fmla="*/ 1551 w 10000"/>
                    <a:gd name="connsiteY105" fmla="*/ 6257 h 10000"/>
                    <a:gd name="connsiteX106" fmla="*/ 1464 w 10000"/>
                    <a:gd name="connsiteY106" fmla="*/ 6185 h 10000"/>
                    <a:gd name="connsiteX107" fmla="*/ 1464 w 10000"/>
                    <a:gd name="connsiteY107" fmla="*/ 6185 h 10000"/>
                    <a:gd name="connsiteX108" fmla="*/ 1034 w 10000"/>
                    <a:gd name="connsiteY108" fmla="*/ 5464 h 10000"/>
                    <a:gd name="connsiteX109" fmla="*/ 1034 w 10000"/>
                    <a:gd name="connsiteY109" fmla="*/ 5464 h 10000"/>
                    <a:gd name="connsiteX110" fmla="*/ 861 w 10000"/>
                    <a:gd name="connsiteY110" fmla="*/ 5108 h 10000"/>
                    <a:gd name="connsiteX111" fmla="*/ 861 w 10000"/>
                    <a:gd name="connsiteY111" fmla="*/ 4889 h 10000"/>
                    <a:gd name="connsiteX112" fmla="*/ 861 w 10000"/>
                    <a:gd name="connsiteY112" fmla="*/ 4676 h 10000"/>
                    <a:gd name="connsiteX113" fmla="*/ 861 w 10000"/>
                    <a:gd name="connsiteY113" fmla="*/ 4676 h 10000"/>
                    <a:gd name="connsiteX114" fmla="*/ 1119 w 10000"/>
                    <a:gd name="connsiteY114" fmla="*/ 4459 h 10000"/>
                    <a:gd name="connsiteX115" fmla="*/ 1291 w 10000"/>
                    <a:gd name="connsiteY115" fmla="*/ 4388 h 10000"/>
                    <a:gd name="connsiteX116" fmla="*/ 1291 w 10000"/>
                    <a:gd name="connsiteY116" fmla="*/ 4388 h 10000"/>
                    <a:gd name="connsiteX117" fmla="*/ 689 w 10000"/>
                    <a:gd name="connsiteY117" fmla="*/ 4388 h 10000"/>
                    <a:gd name="connsiteX118" fmla="*/ 256 w 10000"/>
                    <a:gd name="connsiteY118" fmla="*/ 4459 h 10000"/>
                    <a:gd name="connsiteX119" fmla="*/ 83 w 10000"/>
                    <a:gd name="connsiteY119" fmla="*/ 4537 h 10000"/>
                    <a:gd name="connsiteX120" fmla="*/ 0 w 10000"/>
                    <a:gd name="connsiteY120" fmla="*/ 4603 h 10000"/>
                    <a:gd name="connsiteX0" fmla="*/ 9917 w 9917"/>
                    <a:gd name="connsiteY0" fmla="*/ 9857 h 10000"/>
                    <a:gd name="connsiteX1" fmla="*/ 9917 w 9917"/>
                    <a:gd name="connsiteY1" fmla="*/ 9857 h 10000"/>
                    <a:gd name="connsiteX2" fmla="*/ 8710 w 9917"/>
                    <a:gd name="connsiteY2" fmla="*/ 9927 h 10000"/>
                    <a:gd name="connsiteX3" fmla="*/ 8276 w 9917"/>
                    <a:gd name="connsiteY3" fmla="*/ 9927 h 10000"/>
                    <a:gd name="connsiteX4" fmla="*/ 8107 w 9917"/>
                    <a:gd name="connsiteY4" fmla="*/ 9857 h 10000"/>
                    <a:gd name="connsiteX5" fmla="*/ 8020 w 9917"/>
                    <a:gd name="connsiteY5" fmla="*/ 9782 h 10000"/>
                    <a:gd name="connsiteX6" fmla="*/ 8020 w 9917"/>
                    <a:gd name="connsiteY6" fmla="*/ 9782 h 10000"/>
                    <a:gd name="connsiteX7" fmla="*/ 7502 w 9917"/>
                    <a:gd name="connsiteY7" fmla="*/ 8915 h 10000"/>
                    <a:gd name="connsiteX8" fmla="*/ 7070 w 9917"/>
                    <a:gd name="connsiteY8" fmla="*/ 8129 h 10000"/>
                    <a:gd name="connsiteX9" fmla="*/ 7070 w 9917"/>
                    <a:gd name="connsiteY9" fmla="*/ 8129 h 10000"/>
                    <a:gd name="connsiteX10" fmla="*/ 6901 w 9917"/>
                    <a:gd name="connsiteY10" fmla="*/ 7987 h 10000"/>
                    <a:gd name="connsiteX11" fmla="*/ 6640 w 9917"/>
                    <a:gd name="connsiteY11" fmla="*/ 7842 h 10000"/>
                    <a:gd name="connsiteX12" fmla="*/ 5951 w 9917"/>
                    <a:gd name="connsiteY12" fmla="*/ 7765 h 10000"/>
                    <a:gd name="connsiteX13" fmla="*/ 5088 w 9917"/>
                    <a:gd name="connsiteY13" fmla="*/ 7695 h 10000"/>
                    <a:gd name="connsiteX14" fmla="*/ 4312 w 9917"/>
                    <a:gd name="connsiteY14" fmla="*/ 7695 h 10000"/>
                    <a:gd name="connsiteX15" fmla="*/ 4312 w 9917"/>
                    <a:gd name="connsiteY15" fmla="*/ 7695 h 10000"/>
                    <a:gd name="connsiteX16" fmla="*/ 3966 w 9917"/>
                    <a:gd name="connsiteY16" fmla="*/ 7622 h 10000"/>
                    <a:gd name="connsiteX17" fmla="*/ 3794 w 9917"/>
                    <a:gd name="connsiteY17" fmla="*/ 7484 h 10000"/>
                    <a:gd name="connsiteX18" fmla="*/ 3707 w 9917"/>
                    <a:gd name="connsiteY18" fmla="*/ 7339 h 10000"/>
                    <a:gd name="connsiteX19" fmla="*/ 3707 w 9917"/>
                    <a:gd name="connsiteY19" fmla="*/ 7050 h 10000"/>
                    <a:gd name="connsiteX20" fmla="*/ 3794 w 9917"/>
                    <a:gd name="connsiteY20" fmla="*/ 6471 h 10000"/>
                    <a:gd name="connsiteX21" fmla="*/ 3882 w 9917"/>
                    <a:gd name="connsiteY21" fmla="*/ 6185 h 10000"/>
                    <a:gd name="connsiteX22" fmla="*/ 3794 w 9917"/>
                    <a:gd name="connsiteY22" fmla="*/ 5829 h 10000"/>
                    <a:gd name="connsiteX23" fmla="*/ 3794 w 9917"/>
                    <a:gd name="connsiteY23" fmla="*/ 5829 h 10000"/>
                    <a:gd name="connsiteX24" fmla="*/ 3707 w 9917"/>
                    <a:gd name="connsiteY24" fmla="*/ 5609 h 10000"/>
                    <a:gd name="connsiteX25" fmla="*/ 3623 w 9917"/>
                    <a:gd name="connsiteY25" fmla="*/ 5464 h 10000"/>
                    <a:gd name="connsiteX26" fmla="*/ 3449 w 9917"/>
                    <a:gd name="connsiteY26" fmla="*/ 5464 h 10000"/>
                    <a:gd name="connsiteX27" fmla="*/ 3191 w 9917"/>
                    <a:gd name="connsiteY27" fmla="*/ 5539 h 10000"/>
                    <a:gd name="connsiteX28" fmla="*/ 2673 w 9917"/>
                    <a:gd name="connsiteY28" fmla="*/ 5752 h 10000"/>
                    <a:gd name="connsiteX29" fmla="*/ 1984 w 9917"/>
                    <a:gd name="connsiteY29" fmla="*/ 6117 h 10000"/>
                    <a:gd name="connsiteX30" fmla="*/ 1984 w 9917"/>
                    <a:gd name="connsiteY30" fmla="*/ 6117 h 10000"/>
                    <a:gd name="connsiteX31" fmla="*/ 1555 w 9917"/>
                    <a:gd name="connsiteY31" fmla="*/ 6185 h 10000"/>
                    <a:gd name="connsiteX32" fmla="*/ 1381 w 9917"/>
                    <a:gd name="connsiteY32" fmla="*/ 6185 h 10000"/>
                    <a:gd name="connsiteX33" fmla="*/ 1296 w 9917"/>
                    <a:gd name="connsiteY33" fmla="*/ 6117 h 10000"/>
                    <a:gd name="connsiteX34" fmla="*/ 1208 w 9917"/>
                    <a:gd name="connsiteY34" fmla="*/ 5829 h 10000"/>
                    <a:gd name="connsiteX35" fmla="*/ 951 w 9917"/>
                    <a:gd name="connsiteY35" fmla="*/ 5464 h 10000"/>
                    <a:gd name="connsiteX36" fmla="*/ 951 w 9917"/>
                    <a:gd name="connsiteY36" fmla="*/ 5464 h 10000"/>
                    <a:gd name="connsiteX37" fmla="*/ 778 w 9917"/>
                    <a:gd name="connsiteY37" fmla="*/ 5254 h 10000"/>
                    <a:gd name="connsiteX38" fmla="*/ 778 w 9917"/>
                    <a:gd name="connsiteY38" fmla="*/ 5035 h 10000"/>
                    <a:gd name="connsiteX39" fmla="*/ 778 w 9917"/>
                    <a:gd name="connsiteY39" fmla="*/ 4889 h 10000"/>
                    <a:gd name="connsiteX40" fmla="*/ 865 w 9917"/>
                    <a:gd name="connsiteY40" fmla="*/ 4750 h 10000"/>
                    <a:gd name="connsiteX41" fmla="*/ 1036 w 9917"/>
                    <a:gd name="connsiteY41" fmla="*/ 4459 h 10000"/>
                    <a:gd name="connsiteX42" fmla="*/ 1208 w 9917"/>
                    <a:gd name="connsiteY42" fmla="*/ 4388 h 10000"/>
                    <a:gd name="connsiteX43" fmla="*/ 1208 w 9917"/>
                    <a:gd name="connsiteY43" fmla="*/ 4388 h 10000"/>
                    <a:gd name="connsiteX44" fmla="*/ 1208 w 9917"/>
                    <a:gd name="connsiteY44" fmla="*/ 4320 h 10000"/>
                    <a:gd name="connsiteX45" fmla="*/ 1296 w 9917"/>
                    <a:gd name="connsiteY45" fmla="*/ 4245 h 10000"/>
                    <a:gd name="connsiteX46" fmla="*/ 1641 w 9917"/>
                    <a:gd name="connsiteY46" fmla="*/ 4170 h 10000"/>
                    <a:gd name="connsiteX47" fmla="*/ 2673 w 9917"/>
                    <a:gd name="connsiteY47" fmla="*/ 4031 h 10000"/>
                    <a:gd name="connsiteX48" fmla="*/ 4484 w 9917"/>
                    <a:gd name="connsiteY48" fmla="*/ 3815 h 10000"/>
                    <a:gd name="connsiteX49" fmla="*/ 4484 w 9917"/>
                    <a:gd name="connsiteY49" fmla="*/ 3815 h 10000"/>
                    <a:gd name="connsiteX50" fmla="*/ 5520 w 9917"/>
                    <a:gd name="connsiteY50" fmla="*/ 3598 h 10000"/>
                    <a:gd name="connsiteX51" fmla="*/ 7416 w 9917"/>
                    <a:gd name="connsiteY51" fmla="*/ 3165 h 10000"/>
                    <a:gd name="connsiteX52" fmla="*/ 7416 w 9917"/>
                    <a:gd name="connsiteY52" fmla="*/ 3165 h 10000"/>
                    <a:gd name="connsiteX53" fmla="*/ 7849 w 9917"/>
                    <a:gd name="connsiteY53" fmla="*/ 3013 h 10000"/>
                    <a:gd name="connsiteX54" fmla="*/ 8020 w 9917"/>
                    <a:gd name="connsiteY54" fmla="*/ 2803 h 10000"/>
                    <a:gd name="connsiteX55" fmla="*/ 8195 w 9917"/>
                    <a:gd name="connsiteY55" fmla="*/ 2660 h 10000"/>
                    <a:gd name="connsiteX56" fmla="*/ 8107 w 9917"/>
                    <a:gd name="connsiteY56" fmla="*/ 2516 h 10000"/>
                    <a:gd name="connsiteX57" fmla="*/ 8107 w 9917"/>
                    <a:gd name="connsiteY57" fmla="*/ 2372 h 10000"/>
                    <a:gd name="connsiteX58" fmla="*/ 7933 w 9917"/>
                    <a:gd name="connsiteY58" fmla="*/ 2228 h 10000"/>
                    <a:gd name="connsiteX59" fmla="*/ 7674 w 9917"/>
                    <a:gd name="connsiteY59" fmla="*/ 2014 h 10000"/>
                    <a:gd name="connsiteX60" fmla="*/ 7674 w 9917"/>
                    <a:gd name="connsiteY60" fmla="*/ 2014 h 10000"/>
                    <a:gd name="connsiteX61" fmla="*/ 4573 w 9917"/>
                    <a:gd name="connsiteY61" fmla="*/ 722 h 10000"/>
                    <a:gd name="connsiteX62" fmla="*/ 4573 w 9917"/>
                    <a:gd name="connsiteY62" fmla="*/ 722 h 10000"/>
                    <a:gd name="connsiteX63" fmla="*/ 4227 w 9917"/>
                    <a:gd name="connsiteY63" fmla="*/ 510 h 10000"/>
                    <a:gd name="connsiteX64" fmla="*/ 3966 w 9917"/>
                    <a:gd name="connsiteY64" fmla="*/ 291 h 10000"/>
                    <a:gd name="connsiteX65" fmla="*/ 3794 w 9917"/>
                    <a:gd name="connsiteY65" fmla="*/ 73 h 10000"/>
                    <a:gd name="connsiteX66" fmla="*/ 3794 w 9917"/>
                    <a:gd name="connsiteY66" fmla="*/ 73 h 10000"/>
                    <a:gd name="connsiteX67" fmla="*/ 6901 w 9917"/>
                    <a:gd name="connsiteY67" fmla="*/ 0 h 10000"/>
                    <a:gd name="connsiteX68" fmla="*/ 9917 w 9917"/>
                    <a:gd name="connsiteY68" fmla="*/ 722 h 10000"/>
                    <a:gd name="connsiteX69" fmla="*/ 9917 w 9917"/>
                    <a:gd name="connsiteY69" fmla="*/ 9927 h 10000"/>
                    <a:gd name="connsiteX70" fmla="*/ 9917 w 9917"/>
                    <a:gd name="connsiteY70" fmla="*/ 9927 h 10000"/>
                    <a:gd name="connsiteX71" fmla="*/ 9486 w 9917"/>
                    <a:gd name="connsiteY71" fmla="*/ 9857 h 10000"/>
                    <a:gd name="connsiteX72" fmla="*/ 8970 w 9917"/>
                    <a:gd name="connsiteY72" fmla="*/ 9927 h 10000"/>
                    <a:gd name="connsiteX73" fmla="*/ 8970 w 9917"/>
                    <a:gd name="connsiteY73" fmla="*/ 9927 h 10000"/>
                    <a:gd name="connsiteX74" fmla="*/ 8797 w 9917"/>
                    <a:gd name="connsiteY74" fmla="*/ 10000 h 10000"/>
                    <a:gd name="connsiteX75" fmla="*/ 8453 w 9917"/>
                    <a:gd name="connsiteY75" fmla="*/ 9927 h 10000"/>
                    <a:gd name="connsiteX76" fmla="*/ 8195 w 9917"/>
                    <a:gd name="connsiteY76" fmla="*/ 9857 h 10000"/>
                    <a:gd name="connsiteX77" fmla="*/ 7933 w 9917"/>
                    <a:gd name="connsiteY77" fmla="*/ 9707 h 10000"/>
                    <a:gd name="connsiteX78" fmla="*/ 7759 w 9917"/>
                    <a:gd name="connsiteY78" fmla="*/ 9494 h 10000"/>
                    <a:gd name="connsiteX79" fmla="*/ 7502 w 9917"/>
                    <a:gd name="connsiteY79" fmla="*/ 9137 h 10000"/>
                    <a:gd name="connsiteX80" fmla="*/ 7502 w 9917"/>
                    <a:gd name="connsiteY80" fmla="*/ 9137 h 10000"/>
                    <a:gd name="connsiteX81" fmla="*/ 7157 w 9917"/>
                    <a:gd name="connsiteY81" fmla="*/ 8492 h 10000"/>
                    <a:gd name="connsiteX82" fmla="*/ 6986 w 9917"/>
                    <a:gd name="connsiteY82" fmla="*/ 8199 h 10000"/>
                    <a:gd name="connsiteX83" fmla="*/ 6727 w 9917"/>
                    <a:gd name="connsiteY83" fmla="*/ 7987 h 10000"/>
                    <a:gd name="connsiteX84" fmla="*/ 6469 w 9917"/>
                    <a:gd name="connsiteY84" fmla="*/ 7842 h 10000"/>
                    <a:gd name="connsiteX85" fmla="*/ 6125 w 9917"/>
                    <a:gd name="connsiteY85" fmla="*/ 7765 h 10000"/>
                    <a:gd name="connsiteX86" fmla="*/ 5777 w 9917"/>
                    <a:gd name="connsiteY86" fmla="*/ 7695 h 10000"/>
                    <a:gd name="connsiteX87" fmla="*/ 5261 w 9917"/>
                    <a:gd name="connsiteY87" fmla="*/ 7622 h 10000"/>
                    <a:gd name="connsiteX88" fmla="*/ 5261 w 9917"/>
                    <a:gd name="connsiteY88" fmla="*/ 7622 h 10000"/>
                    <a:gd name="connsiteX89" fmla="*/ 4573 w 9917"/>
                    <a:gd name="connsiteY89" fmla="*/ 7695 h 10000"/>
                    <a:gd name="connsiteX90" fmla="*/ 4053 w 9917"/>
                    <a:gd name="connsiteY90" fmla="*/ 7695 h 10000"/>
                    <a:gd name="connsiteX91" fmla="*/ 3882 w 9917"/>
                    <a:gd name="connsiteY91" fmla="*/ 7622 h 10000"/>
                    <a:gd name="connsiteX92" fmla="*/ 3794 w 9917"/>
                    <a:gd name="connsiteY92" fmla="*/ 7550 h 10000"/>
                    <a:gd name="connsiteX93" fmla="*/ 3794 w 9917"/>
                    <a:gd name="connsiteY93" fmla="*/ 7550 h 10000"/>
                    <a:gd name="connsiteX94" fmla="*/ 3794 w 9917"/>
                    <a:gd name="connsiteY94" fmla="*/ 6257 h 10000"/>
                    <a:gd name="connsiteX95" fmla="*/ 3794 w 9917"/>
                    <a:gd name="connsiteY95" fmla="*/ 6257 h 10000"/>
                    <a:gd name="connsiteX96" fmla="*/ 3794 w 9917"/>
                    <a:gd name="connsiteY96" fmla="*/ 5968 h 10000"/>
                    <a:gd name="connsiteX97" fmla="*/ 3623 w 9917"/>
                    <a:gd name="connsiteY97" fmla="*/ 5609 h 10000"/>
                    <a:gd name="connsiteX98" fmla="*/ 3537 w 9917"/>
                    <a:gd name="connsiteY98" fmla="*/ 5539 h 10000"/>
                    <a:gd name="connsiteX99" fmla="*/ 3364 w 9917"/>
                    <a:gd name="connsiteY99" fmla="*/ 5464 h 10000"/>
                    <a:gd name="connsiteX100" fmla="*/ 3191 w 9917"/>
                    <a:gd name="connsiteY100" fmla="*/ 5464 h 10000"/>
                    <a:gd name="connsiteX101" fmla="*/ 2933 w 9917"/>
                    <a:gd name="connsiteY101" fmla="*/ 5539 h 10000"/>
                    <a:gd name="connsiteX102" fmla="*/ 2933 w 9917"/>
                    <a:gd name="connsiteY102" fmla="*/ 5539 h 10000"/>
                    <a:gd name="connsiteX103" fmla="*/ 1984 w 9917"/>
                    <a:gd name="connsiteY103" fmla="*/ 6042 h 10000"/>
                    <a:gd name="connsiteX104" fmla="*/ 1555 w 9917"/>
                    <a:gd name="connsiteY104" fmla="*/ 6185 h 10000"/>
                    <a:gd name="connsiteX105" fmla="*/ 1468 w 9917"/>
                    <a:gd name="connsiteY105" fmla="*/ 6257 h 10000"/>
                    <a:gd name="connsiteX106" fmla="*/ 1381 w 9917"/>
                    <a:gd name="connsiteY106" fmla="*/ 6185 h 10000"/>
                    <a:gd name="connsiteX107" fmla="*/ 1381 w 9917"/>
                    <a:gd name="connsiteY107" fmla="*/ 6185 h 10000"/>
                    <a:gd name="connsiteX108" fmla="*/ 951 w 9917"/>
                    <a:gd name="connsiteY108" fmla="*/ 5464 h 10000"/>
                    <a:gd name="connsiteX109" fmla="*/ 951 w 9917"/>
                    <a:gd name="connsiteY109" fmla="*/ 5464 h 10000"/>
                    <a:gd name="connsiteX110" fmla="*/ 778 w 9917"/>
                    <a:gd name="connsiteY110" fmla="*/ 5108 h 10000"/>
                    <a:gd name="connsiteX111" fmla="*/ 778 w 9917"/>
                    <a:gd name="connsiteY111" fmla="*/ 4889 h 10000"/>
                    <a:gd name="connsiteX112" fmla="*/ 778 w 9917"/>
                    <a:gd name="connsiteY112" fmla="*/ 4676 h 10000"/>
                    <a:gd name="connsiteX113" fmla="*/ 778 w 9917"/>
                    <a:gd name="connsiteY113" fmla="*/ 4676 h 10000"/>
                    <a:gd name="connsiteX114" fmla="*/ 1036 w 9917"/>
                    <a:gd name="connsiteY114" fmla="*/ 4459 h 10000"/>
                    <a:gd name="connsiteX115" fmla="*/ 1208 w 9917"/>
                    <a:gd name="connsiteY115" fmla="*/ 4388 h 10000"/>
                    <a:gd name="connsiteX116" fmla="*/ 1208 w 9917"/>
                    <a:gd name="connsiteY116" fmla="*/ 4388 h 10000"/>
                    <a:gd name="connsiteX117" fmla="*/ 606 w 9917"/>
                    <a:gd name="connsiteY117" fmla="*/ 4388 h 10000"/>
                    <a:gd name="connsiteX118" fmla="*/ 173 w 9917"/>
                    <a:gd name="connsiteY118" fmla="*/ 4459 h 10000"/>
                    <a:gd name="connsiteX119" fmla="*/ 0 w 9917"/>
                    <a:gd name="connsiteY119" fmla="*/ 4537 h 10000"/>
                    <a:gd name="connsiteX0" fmla="*/ 9826 w 9826"/>
                    <a:gd name="connsiteY0" fmla="*/ 9857 h 10000"/>
                    <a:gd name="connsiteX1" fmla="*/ 9826 w 9826"/>
                    <a:gd name="connsiteY1" fmla="*/ 9857 h 10000"/>
                    <a:gd name="connsiteX2" fmla="*/ 8609 w 9826"/>
                    <a:gd name="connsiteY2" fmla="*/ 9927 h 10000"/>
                    <a:gd name="connsiteX3" fmla="*/ 8171 w 9826"/>
                    <a:gd name="connsiteY3" fmla="*/ 9927 h 10000"/>
                    <a:gd name="connsiteX4" fmla="*/ 8001 w 9826"/>
                    <a:gd name="connsiteY4" fmla="*/ 9857 h 10000"/>
                    <a:gd name="connsiteX5" fmla="*/ 7913 w 9826"/>
                    <a:gd name="connsiteY5" fmla="*/ 9782 h 10000"/>
                    <a:gd name="connsiteX6" fmla="*/ 7913 w 9826"/>
                    <a:gd name="connsiteY6" fmla="*/ 9782 h 10000"/>
                    <a:gd name="connsiteX7" fmla="*/ 7391 w 9826"/>
                    <a:gd name="connsiteY7" fmla="*/ 8915 h 10000"/>
                    <a:gd name="connsiteX8" fmla="*/ 6955 w 9826"/>
                    <a:gd name="connsiteY8" fmla="*/ 8129 h 10000"/>
                    <a:gd name="connsiteX9" fmla="*/ 6955 w 9826"/>
                    <a:gd name="connsiteY9" fmla="*/ 8129 h 10000"/>
                    <a:gd name="connsiteX10" fmla="*/ 6785 w 9826"/>
                    <a:gd name="connsiteY10" fmla="*/ 7987 h 10000"/>
                    <a:gd name="connsiteX11" fmla="*/ 6522 w 9826"/>
                    <a:gd name="connsiteY11" fmla="*/ 7842 h 10000"/>
                    <a:gd name="connsiteX12" fmla="*/ 5827 w 9826"/>
                    <a:gd name="connsiteY12" fmla="*/ 7765 h 10000"/>
                    <a:gd name="connsiteX13" fmla="*/ 4957 w 9826"/>
                    <a:gd name="connsiteY13" fmla="*/ 7695 h 10000"/>
                    <a:gd name="connsiteX14" fmla="*/ 4174 w 9826"/>
                    <a:gd name="connsiteY14" fmla="*/ 7695 h 10000"/>
                    <a:gd name="connsiteX15" fmla="*/ 4174 w 9826"/>
                    <a:gd name="connsiteY15" fmla="*/ 7695 h 10000"/>
                    <a:gd name="connsiteX16" fmla="*/ 3825 w 9826"/>
                    <a:gd name="connsiteY16" fmla="*/ 7622 h 10000"/>
                    <a:gd name="connsiteX17" fmla="*/ 3652 w 9826"/>
                    <a:gd name="connsiteY17" fmla="*/ 7484 h 10000"/>
                    <a:gd name="connsiteX18" fmla="*/ 3564 w 9826"/>
                    <a:gd name="connsiteY18" fmla="*/ 7339 h 10000"/>
                    <a:gd name="connsiteX19" fmla="*/ 3564 w 9826"/>
                    <a:gd name="connsiteY19" fmla="*/ 7050 h 10000"/>
                    <a:gd name="connsiteX20" fmla="*/ 3652 w 9826"/>
                    <a:gd name="connsiteY20" fmla="*/ 6471 h 10000"/>
                    <a:gd name="connsiteX21" fmla="*/ 3740 w 9826"/>
                    <a:gd name="connsiteY21" fmla="*/ 6185 h 10000"/>
                    <a:gd name="connsiteX22" fmla="*/ 3652 w 9826"/>
                    <a:gd name="connsiteY22" fmla="*/ 5829 h 10000"/>
                    <a:gd name="connsiteX23" fmla="*/ 3652 w 9826"/>
                    <a:gd name="connsiteY23" fmla="*/ 5829 h 10000"/>
                    <a:gd name="connsiteX24" fmla="*/ 3564 w 9826"/>
                    <a:gd name="connsiteY24" fmla="*/ 5609 h 10000"/>
                    <a:gd name="connsiteX25" fmla="*/ 3479 w 9826"/>
                    <a:gd name="connsiteY25" fmla="*/ 5464 h 10000"/>
                    <a:gd name="connsiteX26" fmla="*/ 3304 w 9826"/>
                    <a:gd name="connsiteY26" fmla="*/ 5464 h 10000"/>
                    <a:gd name="connsiteX27" fmla="*/ 3044 w 9826"/>
                    <a:gd name="connsiteY27" fmla="*/ 5539 h 10000"/>
                    <a:gd name="connsiteX28" fmla="*/ 2521 w 9826"/>
                    <a:gd name="connsiteY28" fmla="*/ 5752 h 10000"/>
                    <a:gd name="connsiteX29" fmla="*/ 1827 w 9826"/>
                    <a:gd name="connsiteY29" fmla="*/ 6117 h 10000"/>
                    <a:gd name="connsiteX30" fmla="*/ 1827 w 9826"/>
                    <a:gd name="connsiteY30" fmla="*/ 6117 h 10000"/>
                    <a:gd name="connsiteX31" fmla="*/ 1394 w 9826"/>
                    <a:gd name="connsiteY31" fmla="*/ 6185 h 10000"/>
                    <a:gd name="connsiteX32" fmla="*/ 1219 w 9826"/>
                    <a:gd name="connsiteY32" fmla="*/ 6185 h 10000"/>
                    <a:gd name="connsiteX33" fmla="*/ 1133 w 9826"/>
                    <a:gd name="connsiteY33" fmla="*/ 6117 h 10000"/>
                    <a:gd name="connsiteX34" fmla="*/ 1044 w 9826"/>
                    <a:gd name="connsiteY34" fmla="*/ 5829 h 10000"/>
                    <a:gd name="connsiteX35" fmla="*/ 785 w 9826"/>
                    <a:gd name="connsiteY35" fmla="*/ 5464 h 10000"/>
                    <a:gd name="connsiteX36" fmla="*/ 785 w 9826"/>
                    <a:gd name="connsiteY36" fmla="*/ 5464 h 10000"/>
                    <a:gd name="connsiteX37" fmla="*/ 611 w 9826"/>
                    <a:gd name="connsiteY37" fmla="*/ 5254 h 10000"/>
                    <a:gd name="connsiteX38" fmla="*/ 611 w 9826"/>
                    <a:gd name="connsiteY38" fmla="*/ 5035 h 10000"/>
                    <a:gd name="connsiteX39" fmla="*/ 611 w 9826"/>
                    <a:gd name="connsiteY39" fmla="*/ 4889 h 10000"/>
                    <a:gd name="connsiteX40" fmla="*/ 698 w 9826"/>
                    <a:gd name="connsiteY40" fmla="*/ 4750 h 10000"/>
                    <a:gd name="connsiteX41" fmla="*/ 871 w 9826"/>
                    <a:gd name="connsiteY41" fmla="*/ 4459 h 10000"/>
                    <a:gd name="connsiteX42" fmla="*/ 1044 w 9826"/>
                    <a:gd name="connsiteY42" fmla="*/ 4388 h 10000"/>
                    <a:gd name="connsiteX43" fmla="*/ 1044 w 9826"/>
                    <a:gd name="connsiteY43" fmla="*/ 4388 h 10000"/>
                    <a:gd name="connsiteX44" fmla="*/ 1044 w 9826"/>
                    <a:gd name="connsiteY44" fmla="*/ 4320 h 10000"/>
                    <a:gd name="connsiteX45" fmla="*/ 1133 w 9826"/>
                    <a:gd name="connsiteY45" fmla="*/ 4245 h 10000"/>
                    <a:gd name="connsiteX46" fmla="*/ 1481 w 9826"/>
                    <a:gd name="connsiteY46" fmla="*/ 4170 h 10000"/>
                    <a:gd name="connsiteX47" fmla="*/ 2521 w 9826"/>
                    <a:gd name="connsiteY47" fmla="*/ 4031 h 10000"/>
                    <a:gd name="connsiteX48" fmla="*/ 4348 w 9826"/>
                    <a:gd name="connsiteY48" fmla="*/ 3815 h 10000"/>
                    <a:gd name="connsiteX49" fmla="*/ 4348 w 9826"/>
                    <a:gd name="connsiteY49" fmla="*/ 3815 h 10000"/>
                    <a:gd name="connsiteX50" fmla="*/ 5392 w 9826"/>
                    <a:gd name="connsiteY50" fmla="*/ 3598 h 10000"/>
                    <a:gd name="connsiteX51" fmla="*/ 7304 w 9826"/>
                    <a:gd name="connsiteY51" fmla="*/ 3165 h 10000"/>
                    <a:gd name="connsiteX52" fmla="*/ 7304 w 9826"/>
                    <a:gd name="connsiteY52" fmla="*/ 3165 h 10000"/>
                    <a:gd name="connsiteX53" fmla="*/ 7741 w 9826"/>
                    <a:gd name="connsiteY53" fmla="*/ 3013 h 10000"/>
                    <a:gd name="connsiteX54" fmla="*/ 7913 w 9826"/>
                    <a:gd name="connsiteY54" fmla="*/ 2803 h 10000"/>
                    <a:gd name="connsiteX55" fmla="*/ 8090 w 9826"/>
                    <a:gd name="connsiteY55" fmla="*/ 2660 h 10000"/>
                    <a:gd name="connsiteX56" fmla="*/ 8001 w 9826"/>
                    <a:gd name="connsiteY56" fmla="*/ 2516 h 10000"/>
                    <a:gd name="connsiteX57" fmla="*/ 8001 w 9826"/>
                    <a:gd name="connsiteY57" fmla="*/ 2372 h 10000"/>
                    <a:gd name="connsiteX58" fmla="*/ 7825 w 9826"/>
                    <a:gd name="connsiteY58" fmla="*/ 2228 h 10000"/>
                    <a:gd name="connsiteX59" fmla="*/ 7564 w 9826"/>
                    <a:gd name="connsiteY59" fmla="*/ 2014 h 10000"/>
                    <a:gd name="connsiteX60" fmla="*/ 7564 w 9826"/>
                    <a:gd name="connsiteY60" fmla="*/ 2014 h 10000"/>
                    <a:gd name="connsiteX61" fmla="*/ 4437 w 9826"/>
                    <a:gd name="connsiteY61" fmla="*/ 722 h 10000"/>
                    <a:gd name="connsiteX62" fmla="*/ 4437 w 9826"/>
                    <a:gd name="connsiteY62" fmla="*/ 722 h 10000"/>
                    <a:gd name="connsiteX63" fmla="*/ 4088 w 9826"/>
                    <a:gd name="connsiteY63" fmla="*/ 510 h 10000"/>
                    <a:gd name="connsiteX64" fmla="*/ 3825 w 9826"/>
                    <a:gd name="connsiteY64" fmla="*/ 291 h 10000"/>
                    <a:gd name="connsiteX65" fmla="*/ 3652 w 9826"/>
                    <a:gd name="connsiteY65" fmla="*/ 73 h 10000"/>
                    <a:gd name="connsiteX66" fmla="*/ 3652 w 9826"/>
                    <a:gd name="connsiteY66" fmla="*/ 73 h 10000"/>
                    <a:gd name="connsiteX67" fmla="*/ 6785 w 9826"/>
                    <a:gd name="connsiteY67" fmla="*/ 0 h 10000"/>
                    <a:gd name="connsiteX68" fmla="*/ 9826 w 9826"/>
                    <a:gd name="connsiteY68" fmla="*/ 722 h 10000"/>
                    <a:gd name="connsiteX69" fmla="*/ 9826 w 9826"/>
                    <a:gd name="connsiteY69" fmla="*/ 9927 h 10000"/>
                    <a:gd name="connsiteX70" fmla="*/ 9826 w 9826"/>
                    <a:gd name="connsiteY70" fmla="*/ 9927 h 10000"/>
                    <a:gd name="connsiteX71" fmla="*/ 9391 w 9826"/>
                    <a:gd name="connsiteY71" fmla="*/ 9857 h 10000"/>
                    <a:gd name="connsiteX72" fmla="*/ 8871 w 9826"/>
                    <a:gd name="connsiteY72" fmla="*/ 9927 h 10000"/>
                    <a:gd name="connsiteX73" fmla="*/ 8871 w 9826"/>
                    <a:gd name="connsiteY73" fmla="*/ 9927 h 10000"/>
                    <a:gd name="connsiteX74" fmla="*/ 8697 w 9826"/>
                    <a:gd name="connsiteY74" fmla="*/ 10000 h 10000"/>
                    <a:gd name="connsiteX75" fmla="*/ 8350 w 9826"/>
                    <a:gd name="connsiteY75" fmla="*/ 9927 h 10000"/>
                    <a:gd name="connsiteX76" fmla="*/ 8090 w 9826"/>
                    <a:gd name="connsiteY76" fmla="*/ 9857 h 10000"/>
                    <a:gd name="connsiteX77" fmla="*/ 7825 w 9826"/>
                    <a:gd name="connsiteY77" fmla="*/ 9707 h 10000"/>
                    <a:gd name="connsiteX78" fmla="*/ 7650 w 9826"/>
                    <a:gd name="connsiteY78" fmla="*/ 9494 h 10000"/>
                    <a:gd name="connsiteX79" fmla="*/ 7391 w 9826"/>
                    <a:gd name="connsiteY79" fmla="*/ 9137 h 10000"/>
                    <a:gd name="connsiteX80" fmla="*/ 7391 w 9826"/>
                    <a:gd name="connsiteY80" fmla="*/ 9137 h 10000"/>
                    <a:gd name="connsiteX81" fmla="*/ 7043 w 9826"/>
                    <a:gd name="connsiteY81" fmla="*/ 8492 h 10000"/>
                    <a:gd name="connsiteX82" fmla="*/ 6870 w 9826"/>
                    <a:gd name="connsiteY82" fmla="*/ 8199 h 10000"/>
                    <a:gd name="connsiteX83" fmla="*/ 6609 w 9826"/>
                    <a:gd name="connsiteY83" fmla="*/ 7987 h 10000"/>
                    <a:gd name="connsiteX84" fmla="*/ 6349 w 9826"/>
                    <a:gd name="connsiteY84" fmla="*/ 7842 h 10000"/>
                    <a:gd name="connsiteX85" fmla="*/ 6002 w 9826"/>
                    <a:gd name="connsiteY85" fmla="*/ 7765 h 10000"/>
                    <a:gd name="connsiteX86" fmla="*/ 5651 w 9826"/>
                    <a:gd name="connsiteY86" fmla="*/ 7695 h 10000"/>
                    <a:gd name="connsiteX87" fmla="*/ 5131 w 9826"/>
                    <a:gd name="connsiteY87" fmla="*/ 7622 h 10000"/>
                    <a:gd name="connsiteX88" fmla="*/ 5131 w 9826"/>
                    <a:gd name="connsiteY88" fmla="*/ 7622 h 10000"/>
                    <a:gd name="connsiteX89" fmla="*/ 4437 w 9826"/>
                    <a:gd name="connsiteY89" fmla="*/ 7695 h 10000"/>
                    <a:gd name="connsiteX90" fmla="*/ 3913 w 9826"/>
                    <a:gd name="connsiteY90" fmla="*/ 7695 h 10000"/>
                    <a:gd name="connsiteX91" fmla="*/ 3740 w 9826"/>
                    <a:gd name="connsiteY91" fmla="*/ 7622 h 10000"/>
                    <a:gd name="connsiteX92" fmla="*/ 3652 w 9826"/>
                    <a:gd name="connsiteY92" fmla="*/ 7550 h 10000"/>
                    <a:gd name="connsiteX93" fmla="*/ 3652 w 9826"/>
                    <a:gd name="connsiteY93" fmla="*/ 7550 h 10000"/>
                    <a:gd name="connsiteX94" fmla="*/ 3652 w 9826"/>
                    <a:gd name="connsiteY94" fmla="*/ 6257 h 10000"/>
                    <a:gd name="connsiteX95" fmla="*/ 3652 w 9826"/>
                    <a:gd name="connsiteY95" fmla="*/ 6257 h 10000"/>
                    <a:gd name="connsiteX96" fmla="*/ 3652 w 9826"/>
                    <a:gd name="connsiteY96" fmla="*/ 5968 h 10000"/>
                    <a:gd name="connsiteX97" fmla="*/ 3479 w 9826"/>
                    <a:gd name="connsiteY97" fmla="*/ 5609 h 10000"/>
                    <a:gd name="connsiteX98" fmla="*/ 3393 w 9826"/>
                    <a:gd name="connsiteY98" fmla="*/ 5539 h 10000"/>
                    <a:gd name="connsiteX99" fmla="*/ 3218 w 9826"/>
                    <a:gd name="connsiteY99" fmla="*/ 5464 h 10000"/>
                    <a:gd name="connsiteX100" fmla="*/ 3044 w 9826"/>
                    <a:gd name="connsiteY100" fmla="*/ 5464 h 10000"/>
                    <a:gd name="connsiteX101" fmla="*/ 2784 w 9826"/>
                    <a:gd name="connsiteY101" fmla="*/ 5539 h 10000"/>
                    <a:gd name="connsiteX102" fmla="*/ 2784 w 9826"/>
                    <a:gd name="connsiteY102" fmla="*/ 5539 h 10000"/>
                    <a:gd name="connsiteX103" fmla="*/ 1827 w 9826"/>
                    <a:gd name="connsiteY103" fmla="*/ 6042 h 10000"/>
                    <a:gd name="connsiteX104" fmla="*/ 1394 w 9826"/>
                    <a:gd name="connsiteY104" fmla="*/ 6185 h 10000"/>
                    <a:gd name="connsiteX105" fmla="*/ 1306 w 9826"/>
                    <a:gd name="connsiteY105" fmla="*/ 6257 h 10000"/>
                    <a:gd name="connsiteX106" fmla="*/ 1219 w 9826"/>
                    <a:gd name="connsiteY106" fmla="*/ 6185 h 10000"/>
                    <a:gd name="connsiteX107" fmla="*/ 1219 w 9826"/>
                    <a:gd name="connsiteY107" fmla="*/ 6185 h 10000"/>
                    <a:gd name="connsiteX108" fmla="*/ 785 w 9826"/>
                    <a:gd name="connsiteY108" fmla="*/ 5464 h 10000"/>
                    <a:gd name="connsiteX109" fmla="*/ 785 w 9826"/>
                    <a:gd name="connsiteY109" fmla="*/ 5464 h 10000"/>
                    <a:gd name="connsiteX110" fmla="*/ 611 w 9826"/>
                    <a:gd name="connsiteY110" fmla="*/ 5108 h 10000"/>
                    <a:gd name="connsiteX111" fmla="*/ 611 w 9826"/>
                    <a:gd name="connsiteY111" fmla="*/ 4889 h 10000"/>
                    <a:gd name="connsiteX112" fmla="*/ 611 w 9826"/>
                    <a:gd name="connsiteY112" fmla="*/ 4676 h 10000"/>
                    <a:gd name="connsiteX113" fmla="*/ 611 w 9826"/>
                    <a:gd name="connsiteY113" fmla="*/ 4676 h 10000"/>
                    <a:gd name="connsiteX114" fmla="*/ 871 w 9826"/>
                    <a:gd name="connsiteY114" fmla="*/ 4459 h 10000"/>
                    <a:gd name="connsiteX115" fmla="*/ 1044 w 9826"/>
                    <a:gd name="connsiteY115" fmla="*/ 4388 h 10000"/>
                    <a:gd name="connsiteX116" fmla="*/ 1044 w 9826"/>
                    <a:gd name="connsiteY116" fmla="*/ 4388 h 10000"/>
                    <a:gd name="connsiteX117" fmla="*/ 437 w 9826"/>
                    <a:gd name="connsiteY117" fmla="*/ 4388 h 10000"/>
                    <a:gd name="connsiteX118" fmla="*/ 0 w 9826"/>
                    <a:gd name="connsiteY118" fmla="*/ 4459 h 10000"/>
                    <a:gd name="connsiteX0" fmla="*/ 9555 w 9555"/>
                    <a:gd name="connsiteY0" fmla="*/ 9857 h 10000"/>
                    <a:gd name="connsiteX1" fmla="*/ 9555 w 9555"/>
                    <a:gd name="connsiteY1" fmla="*/ 9857 h 10000"/>
                    <a:gd name="connsiteX2" fmla="*/ 8316 w 9555"/>
                    <a:gd name="connsiteY2" fmla="*/ 9927 h 10000"/>
                    <a:gd name="connsiteX3" fmla="*/ 7871 w 9555"/>
                    <a:gd name="connsiteY3" fmla="*/ 9927 h 10000"/>
                    <a:gd name="connsiteX4" fmla="*/ 7698 w 9555"/>
                    <a:gd name="connsiteY4" fmla="*/ 9857 h 10000"/>
                    <a:gd name="connsiteX5" fmla="*/ 7608 w 9555"/>
                    <a:gd name="connsiteY5" fmla="*/ 9782 h 10000"/>
                    <a:gd name="connsiteX6" fmla="*/ 7608 w 9555"/>
                    <a:gd name="connsiteY6" fmla="*/ 9782 h 10000"/>
                    <a:gd name="connsiteX7" fmla="*/ 7077 w 9555"/>
                    <a:gd name="connsiteY7" fmla="*/ 8915 h 10000"/>
                    <a:gd name="connsiteX8" fmla="*/ 6633 w 9555"/>
                    <a:gd name="connsiteY8" fmla="*/ 8129 h 10000"/>
                    <a:gd name="connsiteX9" fmla="*/ 6633 w 9555"/>
                    <a:gd name="connsiteY9" fmla="*/ 8129 h 10000"/>
                    <a:gd name="connsiteX10" fmla="*/ 6460 w 9555"/>
                    <a:gd name="connsiteY10" fmla="*/ 7987 h 10000"/>
                    <a:gd name="connsiteX11" fmla="*/ 6192 w 9555"/>
                    <a:gd name="connsiteY11" fmla="*/ 7842 h 10000"/>
                    <a:gd name="connsiteX12" fmla="*/ 5485 w 9555"/>
                    <a:gd name="connsiteY12" fmla="*/ 7765 h 10000"/>
                    <a:gd name="connsiteX13" fmla="*/ 4600 w 9555"/>
                    <a:gd name="connsiteY13" fmla="*/ 7695 h 10000"/>
                    <a:gd name="connsiteX14" fmla="*/ 3803 w 9555"/>
                    <a:gd name="connsiteY14" fmla="*/ 7695 h 10000"/>
                    <a:gd name="connsiteX15" fmla="*/ 3803 w 9555"/>
                    <a:gd name="connsiteY15" fmla="*/ 7695 h 10000"/>
                    <a:gd name="connsiteX16" fmla="*/ 3448 w 9555"/>
                    <a:gd name="connsiteY16" fmla="*/ 7622 h 10000"/>
                    <a:gd name="connsiteX17" fmla="*/ 3272 w 9555"/>
                    <a:gd name="connsiteY17" fmla="*/ 7484 h 10000"/>
                    <a:gd name="connsiteX18" fmla="*/ 3182 w 9555"/>
                    <a:gd name="connsiteY18" fmla="*/ 7339 h 10000"/>
                    <a:gd name="connsiteX19" fmla="*/ 3182 w 9555"/>
                    <a:gd name="connsiteY19" fmla="*/ 7050 h 10000"/>
                    <a:gd name="connsiteX20" fmla="*/ 3272 w 9555"/>
                    <a:gd name="connsiteY20" fmla="*/ 6471 h 10000"/>
                    <a:gd name="connsiteX21" fmla="*/ 3361 w 9555"/>
                    <a:gd name="connsiteY21" fmla="*/ 6185 h 10000"/>
                    <a:gd name="connsiteX22" fmla="*/ 3272 w 9555"/>
                    <a:gd name="connsiteY22" fmla="*/ 5829 h 10000"/>
                    <a:gd name="connsiteX23" fmla="*/ 3272 w 9555"/>
                    <a:gd name="connsiteY23" fmla="*/ 5829 h 10000"/>
                    <a:gd name="connsiteX24" fmla="*/ 3182 w 9555"/>
                    <a:gd name="connsiteY24" fmla="*/ 5609 h 10000"/>
                    <a:gd name="connsiteX25" fmla="*/ 3096 w 9555"/>
                    <a:gd name="connsiteY25" fmla="*/ 5464 h 10000"/>
                    <a:gd name="connsiteX26" fmla="*/ 2918 w 9555"/>
                    <a:gd name="connsiteY26" fmla="*/ 5464 h 10000"/>
                    <a:gd name="connsiteX27" fmla="*/ 2653 w 9555"/>
                    <a:gd name="connsiteY27" fmla="*/ 5539 h 10000"/>
                    <a:gd name="connsiteX28" fmla="*/ 2121 w 9555"/>
                    <a:gd name="connsiteY28" fmla="*/ 5752 h 10000"/>
                    <a:gd name="connsiteX29" fmla="*/ 1414 w 9555"/>
                    <a:gd name="connsiteY29" fmla="*/ 6117 h 10000"/>
                    <a:gd name="connsiteX30" fmla="*/ 1414 w 9555"/>
                    <a:gd name="connsiteY30" fmla="*/ 6117 h 10000"/>
                    <a:gd name="connsiteX31" fmla="*/ 974 w 9555"/>
                    <a:gd name="connsiteY31" fmla="*/ 6185 h 10000"/>
                    <a:gd name="connsiteX32" fmla="*/ 796 w 9555"/>
                    <a:gd name="connsiteY32" fmla="*/ 6185 h 10000"/>
                    <a:gd name="connsiteX33" fmla="*/ 708 w 9555"/>
                    <a:gd name="connsiteY33" fmla="*/ 6117 h 10000"/>
                    <a:gd name="connsiteX34" fmla="*/ 617 w 9555"/>
                    <a:gd name="connsiteY34" fmla="*/ 5829 h 10000"/>
                    <a:gd name="connsiteX35" fmla="*/ 354 w 9555"/>
                    <a:gd name="connsiteY35" fmla="*/ 5464 h 10000"/>
                    <a:gd name="connsiteX36" fmla="*/ 354 w 9555"/>
                    <a:gd name="connsiteY36" fmla="*/ 5464 h 10000"/>
                    <a:gd name="connsiteX37" fmla="*/ 177 w 9555"/>
                    <a:gd name="connsiteY37" fmla="*/ 5254 h 10000"/>
                    <a:gd name="connsiteX38" fmla="*/ 177 w 9555"/>
                    <a:gd name="connsiteY38" fmla="*/ 5035 h 10000"/>
                    <a:gd name="connsiteX39" fmla="*/ 177 w 9555"/>
                    <a:gd name="connsiteY39" fmla="*/ 4889 h 10000"/>
                    <a:gd name="connsiteX40" fmla="*/ 265 w 9555"/>
                    <a:gd name="connsiteY40" fmla="*/ 4750 h 10000"/>
                    <a:gd name="connsiteX41" fmla="*/ 441 w 9555"/>
                    <a:gd name="connsiteY41" fmla="*/ 4459 h 10000"/>
                    <a:gd name="connsiteX42" fmla="*/ 617 w 9555"/>
                    <a:gd name="connsiteY42" fmla="*/ 4388 h 10000"/>
                    <a:gd name="connsiteX43" fmla="*/ 617 w 9555"/>
                    <a:gd name="connsiteY43" fmla="*/ 4388 h 10000"/>
                    <a:gd name="connsiteX44" fmla="*/ 617 w 9555"/>
                    <a:gd name="connsiteY44" fmla="*/ 4320 h 10000"/>
                    <a:gd name="connsiteX45" fmla="*/ 708 w 9555"/>
                    <a:gd name="connsiteY45" fmla="*/ 4245 h 10000"/>
                    <a:gd name="connsiteX46" fmla="*/ 1062 w 9555"/>
                    <a:gd name="connsiteY46" fmla="*/ 4170 h 10000"/>
                    <a:gd name="connsiteX47" fmla="*/ 2121 w 9555"/>
                    <a:gd name="connsiteY47" fmla="*/ 4031 h 10000"/>
                    <a:gd name="connsiteX48" fmla="*/ 3980 w 9555"/>
                    <a:gd name="connsiteY48" fmla="*/ 3815 h 10000"/>
                    <a:gd name="connsiteX49" fmla="*/ 3980 w 9555"/>
                    <a:gd name="connsiteY49" fmla="*/ 3815 h 10000"/>
                    <a:gd name="connsiteX50" fmla="*/ 5042 w 9555"/>
                    <a:gd name="connsiteY50" fmla="*/ 3598 h 10000"/>
                    <a:gd name="connsiteX51" fmla="*/ 6988 w 9555"/>
                    <a:gd name="connsiteY51" fmla="*/ 3165 h 10000"/>
                    <a:gd name="connsiteX52" fmla="*/ 6988 w 9555"/>
                    <a:gd name="connsiteY52" fmla="*/ 3165 h 10000"/>
                    <a:gd name="connsiteX53" fmla="*/ 7433 w 9555"/>
                    <a:gd name="connsiteY53" fmla="*/ 3013 h 10000"/>
                    <a:gd name="connsiteX54" fmla="*/ 7608 w 9555"/>
                    <a:gd name="connsiteY54" fmla="*/ 2803 h 10000"/>
                    <a:gd name="connsiteX55" fmla="*/ 7788 w 9555"/>
                    <a:gd name="connsiteY55" fmla="*/ 2660 h 10000"/>
                    <a:gd name="connsiteX56" fmla="*/ 7698 w 9555"/>
                    <a:gd name="connsiteY56" fmla="*/ 2516 h 10000"/>
                    <a:gd name="connsiteX57" fmla="*/ 7698 w 9555"/>
                    <a:gd name="connsiteY57" fmla="*/ 2372 h 10000"/>
                    <a:gd name="connsiteX58" fmla="*/ 7519 w 9555"/>
                    <a:gd name="connsiteY58" fmla="*/ 2228 h 10000"/>
                    <a:gd name="connsiteX59" fmla="*/ 7253 w 9555"/>
                    <a:gd name="connsiteY59" fmla="*/ 2014 h 10000"/>
                    <a:gd name="connsiteX60" fmla="*/ 7253 w 9555"/>
                    <a:gd name="connsiteY60" fmla="*/ 2014 h 10000"/>
                    <a:gd name="connsiteX61" fmla="*/ 4071 w 9555"/>
                    <a:gd name="connsiteY61" fmla="*/ 722 h 10000"/>
                    <a:gd name="connsiteX62" fmla="*/ 4071 w 9555"/>
                    <a:gd name="connsiteY62" fmla="*/ 722 h 10000"/>
                    <a:gd name="connsiteX63" fmla="*/ 3715 w 9555"/>
                    <a:gd name="connsiteY63" fmla="*/ 510 h 10000"/>
                    <a:gd name="connsiteX64" fmla="*/ 3448 w 9555"/>
                    <a:gd name="connsiteY64" fmla="*/ 291 h 10000"/>
                    <a:gd name="connsiteX65" fmla="*/ 3272 w 9555"/>
                    <a:gd name="connsiteY65" fmla="*/ 73 h 10000"/>
                    <a:gd name="connsiteX66" fmla="*/ 3272 w 9555"/>
                    <a:gd name="connsiteY66" fmla="*/ 73 h 10000"/>
                    <a:gd name="connsiteX67" fmla="*/ 6460 w 9555"/>
                    <a:gd name="connsiteY67" fmla="*/ 0 h 10000"/>
                    <a:gd name="connsiteX68" fmla="*/ 9555 w 9555"/>
                    <a:gd name="connsiteY68" fmla="*/ 722 h 10000"/>
                    <a:gd name="connsiteX69" fmla="*/ 9555 w 9555"/>
                    <a:gd name="connsiteY69" fmla="*/ 9927 h 10000"/>
                    <a:gd name="connsiteX70" fmla="*/ 9555 w 9555"/>
                    <a:gd name="connsiteY70" fmla="*/ 9927 h 10000"/>
                    <a:gd name="connsiteX71" fmla="*/ 9112 w 9555"/>
                    <a:gd name="connsiteY71" fmla="*/ 9857 h 10000"/>
                    <a:gd name="connsiteX72" fmla="*/ 8583 w 9555"/>
                    <a:gd name="connsiteY72" fmla="*/ 9927 h 10000"/>
                    <a:gd name="connsiteX73" fmla="*/ 8583 w 9555"/>
                    <a:gd name="connsiteY73" fmla="*/ 9927 h 10000"/>
                    <a:gd name="connsiteX74" fmla="*/ 8406 w 9555"/>
                    <a:gd name="connsiteY74" fmla="*/ 10000 h 10000"/>
                    <a:gd name="connsiteX75" fmla="*/ 8053 w 9555"/>
                    <a:gd name="connsiteY75" fmla="*/ 9927 h 10000"/>
                    <a:gd name="connsiteX76" fmla="*/ 7788 w 9555"/>
                    <a:gd name="connsiteY76" fmla="*/ 9857 h 10000"/>
                    <a:gd name="connsiteX77" fmla="*/ 7519 w 9555"/>
                    <a:gd name="connsiteY77" fmla="*/ 9707 h 10000"/>
                    <a:gd name="connsiteX78" fmla="*/ 7340 w 9555"/>
                    <a:gd name="connsiteY78" fmla="*/ 9494 h 10000"/>
                    <a:gd name="connsiteX79" fmla="*/ 7077 w 9555"/>
                    <a:gd name="connsiteY79" fmla="*/ 9137 h 10000"/>
                    <a:gd name="connsiteX80" fmla="*/ 7077 w 9555"/>
                    <a:gd name="connsiteY80" fmla="*/ 9137 h 10000"/>
                    <a:gd name="connsiteX81" fmla="*/ 6723 w 9555"/>
                    <a:gd name="connsiteY81" fmla="*/ 8492 h 10000"/>
                    <a:gd name="connsiteX82" fmla="*/ 6547 w 9555"/>
                    <a:gd name="connsiteY82" fmla="*/ 8199 h 10000"/>
                    <a:gd name="connsiteX83" fmla="*/ 6281 w 9555"/>
                    <a:gd name="connsiteY83" fmla="*/ 7987 h 10000"/>
                    <a:gd name="connsiteX84" fmla="*/ 6016 w 9555"/>
                    <a:gd name="connsiteY84" fmla="*/ 7842 h 10000"/>
                    <a:gd name="connsiteX85" fmla="*/ 5663 w 9555"/>
                    <a:gd name="connsiteY85" fmla="*/ 7765 h 10000"/>
                    <a:gd name="connsiteX86" fmla="*/ 5306 w 9555"/>
                    <a:gd name="connsiteY86" fmla="*/ 7695 h 10000"/>
                    <a:gd name="connsiteX87" fmla="*/ 4777 w 9555"/>
                    <a:gd name="connsiteY87" fmla="*/ 7622 h 10000"/>
                    <a:gd name="connsiteX88" fmla="*/ 4777 w 9555"/>
                    <a:gd name="connsiteY88" fmla="*/ 7622 h 10000"/>
                    <a:gd name="connsiteX89" fmla="*/ 4071 w 9555"/>
                    <a:gd name="connsiteY89" fmla="*/ 7695 h 10000"/>
                    <a:gd name="connsiteX90" fmla="*/ 3537 w 9555"/>
                    <a:gd name="connsiteY90" fmla="*/ 7695 h 10000"/>
                    <a:gd name="connsiteX91" fmla="*/ 3361 w 9555"/>
                    <a:gd name="connsiteY91" fmla="*/ 7622 h 10000"/>
                    <a:gd name="connsiteX92" fmla="*/ 3272 w 9555"/>
                    <a:gd name="connsiteY92" fmla="*/ 7550 h 10000"/>
                    <a:gd name="connsiteX93" fmla="*/ 3272 w 9555"/>
                    <a:gd name="connsiteY93" fmla="*/ 7550 h 10000"/>
                    <a:gd name="connsiteX94" fmla="*/ 3272 w 9555"/>
                    <a:gd name="connsiteY94" fmla="*/ 6257 h 10000"/>
                    <a:gd name="connsiteX95" fmla="*/ 3272 w 9555"/>
                    <a:gd name="connsiteY95" fmla="*/ 6257 h 10000"/>
                    <a:gd name="connsiteX96" fmla="*/ 3272 w 9555"/>
                    <a:gd name="connsiteY96" fmla="*/ 5968 h 10000"/>
                    <a:gd name="connsiteX97" fmla="*/ 3096 w 9555"/>
                    <a:gd name="connsiteY97" fmla="*/ 5609 h 10000"/>
                    <a:gd name="connsiteX98" fmla="*/ 3008 w 9555"/>
                    <a:gd name="connsiteY98" fmla="*/ 5539 h 10000"/>
                    <a:gd name="connsiteX99" fmla="*/ 2830 w 9555"/>
                    <a:gd name="connsiteY99" fmla="*/ 5464 h 10000"/>
                    <a:gd name="connsiteX100" fmla="*/ 2653 w 9555"/>
                    <a:gd name="connsiteY100" fmla="*/ 5464 h 10000"/>
                    <a:gd name="connsiteX101" fmla="*/ 2388 w 9555"/>
                    <a:gd name="connsiteY101" fmla="*/ 5539 h 10000"/>
                    <a:gd name="connsiteX102" fmla="*/ 2388 w 9555"/>
                    <a:gd name="connsiteY102" fmla="*/ 5539 h 10000"/>
                    <a:gd name="connsiteX103" fmla="*/ 1414 w 9555"/>
                    <a:gd name="connsiteY103" fmla="*/ 6042 h 10000"/>
                    <a:gd name="connsiteX104" fmla="*/ 974 w 9555"/>
                    <a:gd name="connsiteY104" fmla="*/ 6185 h 10000"/>
                    <a:gd name="connsiteX105" fmla="*/ 884 w 9555"/>
                    <a:gd name="connsiteY105" fmla="*/ 6257 h 10000"/>
                    <a:gd name="connsiteX106" fmla="*/ 796 w 9555"/>
                    <a:gd name="connsiteY106" fmla="*/ 6185 h 10000"/>
                    <a:gd name="connsiteX107" fmla="*/ 796 w 9555"/>
                    <a:gd name="connsiteY107" fmla="*/ 6185 h 10000"/>
                    <a:gd name="connsiteX108" fmla="*/ 354 w 9555"/>
                    <a:gd name="connsiteY108" fmla="*/ 5464 h 10000"/>
                    <a:gd name="connsiteX109" fmla="*/ 354 w 9555"/>
                    <a:gd name="connsiteY109" fmla="*/ 5464 h 10000"/>
                    <a:gd name="connsiteX110" fmla="*/ 177 w 9555"/>
                    <a:gd name="connsiteY110" fmla="*/ 5108 h 10000"/>
                    <a:gd name="connsiteX111" fmla="*/ 177 w 9555"/>
                    <a:gd name="connsiteY111" fmla="*/ 4889 h 10000"/>
                    <a:gd name="connsiteX112" fmla="*/ 177 w 9555"/>
                    <a:gd name="connsiteY112" fmla="*/ 4676 h 10000"/>
                    <a:gd name="connsiteX113" fmla="*/ 177 w 9555"/>
                    <a:gd name="connsiteY113" fmla="*/ 4676 h 10000"/>
                    <a:gd name="connsiteX114" fmla="*/ 441 w 9555"/>
                    <a:gd name="connsiteY114" fmla="*/ 4459 h 10000"/>
                    <a:gd name="connsiteX115" fmla="*/ 617 w 9555"/>
                    <a:gd name="connsiteY115" fmla="*/ 4388 h 10000"/>
                    <a:gd name="connsiteX116" fmla="*/ 617 w 9555"/>
                    <a:gd name="connsiteY116" fmla="*/ 4388 h 10000"/>
                    <a:gd name="connsiteX117" fmla="*/ 0 w 9555"/>
                    <a:gd name="connsiteY117" fmla="*/ 4388 h 10000"/>
                    <a:gd name="connsiteX0" fmla="*/ 9815 w 9815"/>
                    <a:gd name="connsiteY0" fmla="*/ 9857 h 10000"/>
                    <a:gd name="connsiteX1" fmla="*/ 9815 w 9815"/>
                    <a:gd name="connsiteY1" fmla="*/ 9857 h 10000"/>
                    <a:gd name="connsiteX2" fmla="*/ 8518 w 9815"/>
                    <a:gd name="connsiteY2" fmla="*/ 9927 h 10000"/>
                    <a:gd name="connsiteX3" fmla="*/ 8053 w 9815"/>
                    <a:gd name="connsiteY3" fmla="*/ 9927 h 10000"/>
                    <a:gd name="connsiteX4" fmla="*/ 7872 w 9815"/>
                    <a:gd name="connsiteY4" fmla="*/ 9857 h 10000"/>
                    <a:gd name="connsiteX5" fmla="*/ 7777 w 9815"/>
                    <a:gd name="connsiteY5" fmla="*/ 9782 h 10000"/>
                    <a:gd name="connsiteX6" fmla="*/ 7777 w 9815"/>
                    <a:gd name="connsiteY6" fmla="*/ 9782 h 10000"/>
                    <a:gd name="connsiteX7" fmla="*/ 7222 w 9815"/>
                    <a:gd name="connsiteY7" fmla="*/ 8915 h 10000"/>
                    <a:gd name="connsiteX8" fmla="*/ 6757 w 9815"/>
                    <a:gd name="connsiteY8" fmla="*/ 8129 h 10000"/>
                    <a:gd name="connsiteX9" fmla="*/ 6757 w 9815"/>
                    <a:gd name="connsiteY9" fmla="*/ 8129 h 10000"/>
                    <a:gd name="connsiteX10" fmla="*/ 6576 w 9815"/>
                    <a:gd name="connsiteY10" fmla="*/ 7987 h 10000"/>
                    <a:gd name="connsiteX11" fmla="*/ 6295 w 9815"/>
                    <a:gd name="connsiteY11" fmla="*/ 7842 h 10000"/>
                    <a:gd name="connsiteX12" fmla="*/ 5555 w 9815"/>
                    <a:gd name="connsiteY12" fmla="*/ 7765 h 10000"/>
                    <a:gd name="connsiteX13" fmla="*/ 4629 w 9815"/>
                    <a:gd name="connsiteY13" fmla="*/ 7695 h 10000"/>
                    <a:gd name="connsiteX14" fmla="*/ 3795 w 9815"/>
                    <a:gd name="connsiteY14" fmla="*/ 7695 h 10000"/>
                    <a:gd name="connsiteX15" fmla="*/ 3795 w 9815"/>
                    <a:gd name="connsiteY15" fmla="*/ 7695 h 10000"/>
                    <a:gd name="connsiteX16" fmla="*/ 3424 w 9815"/>
                    <a:gd name="connsiteY16" fmla="*/ 7622 h 10000"/>
                    <a:gd name="connsiteX17" fmla="*/ 3239 w 9815"/>
                    <a:gd name="connsiteY17" fmla="*/ 7484 h 10000"/>
                    <a:gd name="connsiteX18" fmla="*/ 3145 w 9815"/>
                    <a:gd name="connsiteY18" fmla="*/ 7339 h 10000"/>
                    <a:gd name="connsiteX19" fmla="*/ 3145 w 9815"/>
                    <a:gd name="connsiteY19" fmla="*/ 7050 h 10000"/>
                    <a:gd name="connsiteX20" fmla="*/ 3239 w 9815"/>
                    <a:gd name="connsiteY20" fmla="*/ 6471 h 10000"/>
                    <a:gd name="connsiteX21" fmla="*/ 3333 w 9815"/>
                    <a:gd name="connsiteY21" fmla="*/ 6185 h 10000"/>
                    <a:gd name="connsiteX22" fmla="*/ 3239 w 9815"/>
                    <a:gd name="connsiteY22" fmla="*/ 5829 h 10000"/>
                    <a:gd name="connsiteX23" fmla="*/ 3239 w 9815"/>
                    <a:gd name="connsiteY23" fmla="*/ 5829 h 10000"/>
                    <a:gd name="connsiteX24" fmla="*/ 3145 w 9815"/>
                    <a:gd name="connsiteY24" fmla="*/ 5609 h 10000"/>
                    <a:gd name="connsiteX25" fmla="*/ 3055 w 9815"/>
                    <a:gd name="connsiteY25" fmla="*/ 5464 h 10000"/>
                    <a:gd name="connsiteX26" fmla="*/ 2869 w 9815"/>
                    <a:gd name="connsiteY26" fmla="*/ 5464 h 10000"/>
                    <a:gd name="connsiteX27" fmla="*/ 2592 w 9815"/>
                    <a:gd name="connsiteY27" fmla="*/ 5539 h 10000"/>
                    <a:gd name="connsiteX28" fmla="*/ 2035 w 9815"/>
                    <a:gd name="connsiteY28" fmla="*/ 5752 h 10000"/>
                    <a:gd name="connsiteX29" fmla="*/ 1295 w 9815"/>
                    <a:gd name="connsiteY29" fmla="*/ 6117 h 10000"/>
                    <a:gd name="connsiteX30" fmla="*/ 1295 w 9815"/>
                    <a:gd name="connsiteY30" fmla="*/ 6117 h 10000"/>
                    <a:gd name="connsiteX31" fmla="*/ 834 w 9815"/>
                    <a:gd name="connsiteY31" fmla="*/ 6185 h 10000"/>
                    <a:gd name="connsiteX32" fmla="*/ 648 w 9815"/>
                    <a:gd name="connsiteY32" fmla="*/ 6185 h 10000"/>
                    <a:gd name="connsiteX33" fmla="*/ 556 w 9815"/>
                    <a:gd name="connsiteY33" fmla="*/ 6117 h 10000"/>
                    <a:gd name="connsiteX34" fmla="*/ 461 w 9815"/>
                    <a:gd name="connsiteY34" fmla="*/ 5829 h 10000"/>
                    <a:gd name="connsiteX35" fmla="*/ 185 w 9815"/>
                    <a:gd name="connsiteY35" fmla="*/ 5464 h 10000"/>
                    <a:gd name="connsiteX36" fmla="*/ 185 w 9815"/>
                    <a:gd name="connsiteY36" fmla="*/ 5464 h 10000"/>
                    <a:gd name="connsiteX37" fmla="*/ 0 w 9815"/>
                    <a:gd name="connsiteY37" fmla="*/ 5254 h 10000"/>
                    <a:gd name="connsiteX38" fmla="*/ 0 w 9815"/>
                    <a:gd name="connsiteY38" fmla="*/ 5035 h 10000"/>
                    <a:gd name="connsiteX39" fmla="*/ 0 w 9815"/>
                    <a:gd name="connsiteY39" fmla="*/ 4889 h 10000"/>
                    <a:gd name="connsiteX40" fmla="*/ 92 w 9815"/>
                    <a:gd name="connsiteY40" fmla="*/ 4750 h 10000"/>
                    <a:gd name="connsiteX41" fmla="*/ 277 w 9815"/>
                    <a:gd name="connsiteY41" fmla="*/ 4459 h 10000"/>
                    <a:gd name="connsiteX42" fmla="*/ 461 w 9815"/>
                    <a:gd name="connsiteY42" fmla="*/ 4388 h 10000"/>
                    <a:gd name="connsiteX43" fmla="*/ 461 w 9815"/>
                    <a:gd name="connsiteY43" fmla="*/ 4388 h 10000"/>
                    <a:gd name="connsiteX44" fmla="*/ 461 w 9815"/>
                    <a:gd name="connsiteY44" fmla="*/ 4320 h 10000"/>
                    <a:gd name="connsiteX45" fmla="*/ 556 w 9815"/>
                    <a:gd name="connsiteY45" fmla="*/ 4245 h 10000"/>
                    <a:gd name="connsiteX46" fmla="*/ 926 w 9815"/>
                    <a:gd name="connsiteY46" fmla="*/ 4170 h 10000"/>
                    <a:gd name="connsiteX47" fmla="*/ 2035 w 9815"/>
                    <a:gd name="connsiteY47" fmla="*/ 4031 h 10000"/>
                    <a:gd name="connsiteX48" fmla="*/ 3980 w 9815"/>
                    <a:gd name="connsiteY48" fmla="*/ 3815 h 10000"/>
                    <a:gd name="connsiteX49" fmla="*/ 3980 w 9815"/>
                    <a:gd name="connsiteY49" fmla="*/ 3815 h 10000"/>
                    <a:gd name="connsiteX50" fmla="*/ 5092 w 9815"/>
                    <a:gd name="connsiteY50" fmla="*/ 3598 h 10000"/>
                    <a:gd name="connsiteX51" fmla="*/ 7128 w 9815"/>
                    <a:gd name="connsiteY51" fmla="*/ 3165 h 10000"/>
                    <a:gd name="connsiteX52" fmla="*/ 7128 w 9815"/>
                    <a:gd name="connsiteY52" fmla="*/ 3165 h 10000"/>
                    <a:gd name="connsiteX53" fmla="*/ 7594 w 9815"/>
                    <a:gd name="connsiteY53" fmla="*/ 3013 h 10000"/>
                    <a:gd name="connsiteX54" fmla="*/ 7777 w 9815"/>
                    <a:gd name="connsiteY54" fmla="*/ 2803 h 10000"/>
                    <a:gd name="connsiteX55" fmla="*/ 7966 w 9815"/>
                    <a:gd name="connsiteY55" fmla="*/ 2660 h 10000"/>
                    <a:gd name="connsiteX56" fmla="*/ 7872 w 9815"/>
                    <a:gd name="connsiteY56" fmla="*/ 2516 h 10000"/>
                    <a:gd name="connsiteX57" fmla="*/ 7872 w 9815"/>
                    <a:gd name="connsiteY57" fmla="*/ 2372 h 10000"/>
                    <a:gd name="connsiteX58" fmla="*/ 7684 w 9815"/>
                    <a:gd name="connsiteY58" fmla="*/ 2228 h 10000"/>
                    <a:gd name="connsiteX59" fmla="*/ 7406 w 9815"/>
                    <a:gd name="connsiteY59" fmla="*/ 2014 h 10000"/>
                    <a:gd name="connsiteX60" fmla="*/ 7406 w 9815"/>
                    <a:gd name="connsiteY60" fmla="*/ 2014 h 10000"/>
                    <a:gd name="connsiteX61" fmla="*/ 4076 w 9815"/>
                    <a:gd name="connsiteY61" fmla="*/ 722 h 10000"/>
                    <a:gd name="connsiteX62" fmla="*/ 4076 w 9815"/>
                    <a:gd name="connsiteY62" fmla="*/ 722 h 10000"/>
                    <a:gd name="connsiteX63" fmla="*/ 3703 w 9815"/>
                    <a:gd name="connsiteY63" fmla="*/ 510 h 10000"/>
                    <a:gd name="connsiteX64" fmla="*/ 3424 w 9815"/>
                    <a:gd name="connsiteY64" fmla="*/ 291 h 10000"/>
                    <a:gd name="connsiteX65" fmla="*/ 3239 w 9815"/>
                    <a:gd name="connsiteY65" fmla="*/ 73 h 10000"/>
                    <a:gd name="connsiteX66" fmla="*/ 3239 w 9815"/>
                    <a:gd name="connsiteY66" fmla="*/ 73 h 10000"/>
                    <a:gd name="connsiteX67" fmla="*/ 6576 w 9815"/>
                    <a:gd name="connsiteY67" fmla="*/ 0 h 10000"/>
                    <a:gd name="connsiteX68" fmla="*/ 9815 w 9815"/>
                    <a:gd name="connsiteY68" fmla="*/ 722 h 10000"/>
                    <a:gd name="connsiteX69" fmla="*/ 9815 w 9815"/>
                    <a:gd name="connsiteY69" fmla="*/ 9927 h 10000"/>
                    <a:gd name="connsiteX70" fmla="*/ 9815 w 9815"/>
                    <a:gd name="connsiteY70" fmla="*/ 9927 h 10000"/>
                    <a:gd name="connsiteX71" fmla="*/ 9351 w 9815"/>
                    <a:gd name="connsiteY71" fmla="*/ 9857 h 10000"/>
                    <a:gd name="connsiteX72" fmla="*/ 8798 w 9815"/>
                    <a:gd name="connsiteY72" fmla="*/ 9927 h 10000"/>
                    <a:gd name="connsiteX73" fmla="*/ 8798 w 9815"/>
                    <a:gd name="connsiteY73" fmla="*/ 9927 h 10000"/>
                    <a:gd name="connsiteX74" fmla="*/ 8612 w 9815"/>
                    <a:gd name="connsiteY74" fmla="*/ 10000 h 10000"/>
                    <a:gd name="connsiteX75" fmla="*/ 8243 w 9815"/>
                    <a:gd name="connsiteY75" fmla="*/ 9927 h 10000"/>
                    <a:gd name="connsiteX76" fmla="*/ 7966 w 9815"/>
                    <a:gd name="connsiteY76" fmla="*/ 9857 h 10000"/>
                    <a:gd name="connsiteX77" fmla="*/ 7684 w 9815"/>
                    <a:gd name="connsiteY77" fmla="*/ 9707 h 10000"/>
                    <a:gd name="connsiteX78" fmla="*/ 7497 w 9815"/>
                    <a:gd name="connsiteY78" fmla="*/ 9494 h 10000"/>
                    <a:gd name="connsiteX79" fmla="*/ 7222 w 9815"/>
                    <a:gd name="connsiteY79" fmla="*/ 9137 h 10000"/>
                    <a:gd name="connsiteX80" fmla="*/ 7222 w 9815"/>
                    <a:gd name="connsiteY80" fmla="*/ 9137 h 10000"/>
                    <a:gd name="connsiteX81" fmla="*/ 6851 w 9815"/>
                    <a:gd name="connsiteY81" fmla="*/ 8492 h 10000"/>
                    <a:gd name="connsiteX82" fmla="*/ 6667 w 9815"/>
                    <a:gd name="connsiteY82" fmla="*/ 8199 h 10000"/>
                    <a:gd name="connsiteX83" fmla="*/ 6389 w 9815"/>
                    <a:gd name="connsiteY83" fmla="*/ 7987 h 10000"/>
                    <a:gd name="connsiteX84" fmla="*/ 6111 w 9815"/>
                    <a:gd name="connsiteY84" fmla="*/ 7842 h 10000"/>
                    <a:gd name="connsiteX85" fmla="*/ 5742 w 9815"/>
                    <a:gd name="connsiteY85" fmla="*/ 7765 h 10000"/>
                    <a:gd name="connsiteX86" fmla="*/ 5368 w 9815"/>
                    <a:gd name="connsiteY86" fmla="*/ 7695 h 10000"/>
                    <a:gd name="connsiteX87" fmla="*/ 4814 w 9815"/>
                    <a:gd name="connsiteY87" fmla="*/ 7622 h 10000"/>
                    <a:gd name="connsiteX88" fmla="*/ 4814 w 9815"/>
                    <a:gd name="connsiteY88" fmla="*/ 7622 h 10000"/>
                    <a:gd name="connsiteX89" fmla="*/ 4076 w 9815"/>
                    <a:gd name="connsiteY89" fmla="*/ 7695 h 10000"/>
                    <a:gd name="connsiteX90" fmla="*/ 3517 w 9815"/>
                    <a:gd name="connsiteY90" fmla="*/ 7695 h 10000"/>
                    <a:gd name="connsiteX91" fmla="*/ 3333 w 9815"/>
                    <a:gd name="connsiteY91" fmla="*/ 7622 h 10000"/>
                    <a:gd name="connsiteX92" fmla="*/ 3239 w 9815"/>
                    <a:gd name="connsiteY92" fmla="*/ 7550 h 10000"/>
                    <a:gd name="connsiteX93" fmla="*/ 3239 w 9815"/>
                    <a:gd name="connsiteY93" fmla="*/ 7550 h 10000"/>
                    <a:gd name="connsiteX94" fmla="*/ 3239 w 9815"/>
                    <a:gd name="connsiteY94" fmla="*/ 6257 h 10000"/>
                    <a:gd name="connsiteX95" fmla="*/ 3239 w 9815"/>
                    <a:gd name="connsiteY95" fmla="*/ 6257 h 10000"/>
                    <a:gd name="connsiteX96" fmla="*/ 3239 w 9815"/>
                    <a:gd name="connsiteY96" fmla="*/ 5968 h 10000"/>
                    <a:gd name="connsiteX97" fmla="*/ 3055 w 9815"/>
                    <a:gd name="connsiteY97" fmla="*/ 5609 h 10000"/>
                    <a:gd name="connsiteX98" fmla="*/ 2963 w 9815"/>
                    <a:gd name="connsiteY98" fmla="*/ 5539 h 10000"/>
                    <a:gd name="connsiteX99" fmla="*/ 2777 w 9815"/>
                    <a:gd name="connsiteY99" fmla="*/ 5464 h 10000"/>
                    <a:gd name="connsiteX100" fmla="*/ 2592 w 9815"/>
                    <a:gd name="connsiteY100" fmla="*/ 5464 h 10000"/>
                    <a:gd name="connsiteX101" fmla="*/ 2314 w 9815"/>
                    <a:gd name="connsiteY101" fmla="*/ 5539 h 10000"/>
                    <a:gd name="connsiteX102" fmla="*/ 2314 w 9815"/>
                    <a:gd name="connsiteY102" fmla="*/ 5539 h 10000"/>
                    <a:gd name="connsiteX103" fmla="*/ 1295 w 9815"/>
                    <a:gd name="connsiteY103" fmla="*/ 6042 h 10000"/>
                    <a:gd name="connsiteX104" fmla="*/ 834 w 9815"/>
                    <a:gd name="connsiteY104" fmla="*/ 6185 h 10000"/>
                    <a:gd name="connsiteX105" fmla="*/ 740 w 9815"/>
                    <a:gd name="connsiteY105" fmla="*/ 6257 h 10000"/>
                    <a:gd name="connsiteX106" fmla="*/ 648 w 9815"/>
                    <a:gd name="connsiteY106" fmla="*/ 6185 h 10000"/>
                    <a:gd name="connsiteX107" fmla="*/ 648 w 9815"/>
                    <a:gd name="connsiteY107" fmla="*/ 6185 h 10000"/>
                    <a:gd name="connsiteX108" fmla="*/ 185 w 9815"/>
                    <a:gd name="connsiteY108" fmla="*/ 5464 h 10000"/>
                    <a:gd name="connsiteX109" fmla="*/ 185 w 9815"/>
                    <a:gd name="connsiteY109" fmla="*/ 5464 h 10000"/>
                    <a:gd name="connsiteX110" fmla="*/ 0 w 9815"/>
                    <a:gd name="connsiteY110" fmla="*/ 5108 h 10000"/>
                    <a:gd name="connsiteX111" fmla="*/ 0 w 9815"/>
                    <a:gd name="connsiteY111" fmla="*/ 4889 h 10000"/>
                    <a:gd name="connsiteX112" fmla="*/ 0 w 9815"/>
                    <a:gd name="connsiteY112" fmla="*/ 4676 h 10000"/>
                    <a:gd name="connsiteX113" fmla="*/ 0 w 9815"/>
                    <a:gd name="connsiteY113" fmla="*/ 4676 h 10000"/>
                    <a:gd name="connsiteX114" fmla="*/ 277 w 9815"/>
                    <a:gd name="connsiteY114" fmla="*/ 4459 h 10000"/>
                    <a:gd name="connsiteX115" fmla="*/ 461 w 9815"/>
                    <a:gd name="connsiteY115" fmla="*/ 4388 h 10000"/>
                    <a:gd name="connsiteX116" fmla="*/ 461 w 9815"/>
                    <a:gd name="connsiteY116" fmla="*/ 4388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112" fmla="*/ 0 w 10000"/>
                    <a:gd name="connsiteY112" fmla="*/ 4676 h 10000"/>
                    <a:gd name="connsiteX113" fmla="*/ 0 w 10000"/>
                    <a:gd name="connsiteY113" fmla="*/ 4676 h 10000"/>
                    <a:gd name="connsiteX114" fmla="*/ 282 w 10000"/>
                    <a:gd name="connsiteY114" fmla="*/ 4459 h 10000"/>
                    <a:gd name="connsiteX115" fmla="*/ 470 w 10000"/>
                    <a:gd name="connsiteY115" fmla="*/ 4388 h 10000"/>
                    <a:gd name="connsiteX116" fmla="*/ 790 w 10000"/>
                    <a:gd name="connsiteY116" fmla="*/ 4782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112" fmla="*/ 0 w 10000"/>
                    <a:gd name="connsiteY112" fmla="*/ 4676 h 10000"/>
                    <a:gd name="connsiteX113" fmla="*/ 0 w 10000"/>
                    <a:gd name="connsiteY113" fmla="*/ 4676 h 10000"/>
                    <a:gd name="connsiteX114" fmla="*/ 282 w 10000"/>
                    <a:gd name="connsiteY114" fmla="*/ 4459 h 10000"/>
                    <a:gd name="connsiteX115" fmla="*/ 470 w 10000"/>
                    <a:gd name="connsiteY115" fmla="*/ 4388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112" fmla="*/ 0 w 10000"/>
                    <a:gd name="connsiteY112" fmla="*/ 4676 h 10000"/>
                    <a:gd name="connsiteX113" fmla="*/ 0 w 10000"/>
                    <a:gd name="connsiteY113" fmla="*/ 4676 h 10000"/>
                    <a:gd name="connsiteX114" fmla="*/ 282 w 10000"/>
                    <a:gd name="connsiteY114" fmla="*/ 445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112" fmla="*/ 0 w 10000"/>
                    <a:gd name="connsiteY112" fmla="*/ 4676 h 10000"/>
                    <a:gd name="connsiteX113" fmla="*/ 0 w 10000"/>
                    <a:gd name="connsiteY113" fmla="*/ 4676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112" fmla="*/ 0 w 10000"/>
                    <a:gd name="connsiteY112" fmla="*/ 4676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111" fmla="*/ 0 w 10000"/>
                    <a:gd name="connsiteY111" fmla="*/ 488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110" fmla="*/ 0 w 10000"/>
                    <a:gd name="connsiteY110" fmla="*/ 5108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254 h 10000"/>
                    <a:gd name="connsiteX38" fmla="*/ 0 w 10000"/>
                    <a:gd name="connsiteY38" fmla="*/ 5035 h 10000"/>
                    <a:gd name="connsiteX39" fmla="*/ 0 w 10000"/>
                    <a:gd name="connsiteY39" fmla="*/ 4889 h 10000"/>
                    <a:gd name="connsiteX40" fmla="*/ 94 w 10000"/>
                    <a:gd name="connsiteY40" fmla="*/ 4750 h 10000"/>
                    <a:gd name="connsiteX41" fmla="*/ 282 w 10000"/>
                    <a:gd name="connsiteY41" fmla="*/ 4459 h 10000"/>
                    <a:gd name="connsiteX42" fmla="*/ 470 w 10000"/>
                    <a:gd name="connsiteY42" fmla="*/ 4388 h 10000"/>
                    <a:gd name="connsiteX43" fmla="*/ 470 w 10000"/>
                    <a:gd name="connsiteY43" fmla="*/ 4388 h 10000"/>
                    <a:gd name="connsiteX44" fmla="*/ 470 w 10000"/>
                    <a:gd name="connsiteY44" fmla="*/ 4320 h 10000"/>
                    <a:gd name="connsiteX45" fmla="*/ 566 w 10000"/>
                    <a:gd name="connsiteY45" fmla="*/ 4245 h 10000"/>
                    <a:gd name="connsiteX46" fmla="*/ 943 w 10000"/>
                    <a:gd name="connsiteY46" fmla="*/ 4170 h 10000"/>
                    <a:gd name="connsiteX47" fmla="*/ 2073 w 10000"/>
                    <a:gd name="connsiteY47" fmla="*/ 4031 h 10000"/>
                    <a:gd name="connsiteX48" fmla="*/ 4055 w 10000"/>
                    <a:gd name="connsiteY48" fmla="*/ 3815 h 10000"/>
                    <a:gd name="connsiteX49" fmla="*/ 4055 w 10000"/>
                    <a:gd name="connsiteY49" fmla="*/ 3815 h 10000"/>
                    <a:gd name="connsiteX50" fmla="*/ 5188 w 10000"/>
                    <a:gd name="connsiteY50" fmla="*/ 3598 h 10000"/>
                    <a:gd name="connsiteX51" fmla="*/ 7262 w 10000"/>
                    <a:gd name="connsiteY51" fmla="*/ 3165 h 10000"/>
                    <a:gd name="connsiteX52" fmla="*/ 7262 w 10000"/>
                    <a:gd name="connsiteY52" fmla="*/ 3165 h 10000"/>
                    <a:gd name="connsiteX53" fmla="*/ 7737 w 10000"/>
                    <a:gd name="connsiteY53" fmla="*/ 3013 h 10000"/>
                    <a:gd name="connsiteX54" fmla="*/ 7924 w 10000"/>
                    <a:gd name="connsiteY54" fmla="*/ 2803 h 10000"/>
                    <a:gd name="connsiteX55" fmla="*/ 8116 w 10000"/>
                    <a:gd name="connsiteY55" fmla="*/ 2660 h 10000"/>
                    <a:gd name="connsiteX56" fmla="*/ 8020 w 10000"/>
                    <a:gd name="connsiteY56" fmla="*/ 2516 h 10000"/>
                    <a:gd name="connsiteX57" fmla="*/ 8020 w 10000"/>
                    <a:gd name="connsiteY57" fmla="*/ 2372 h 10000"/>
                    <a:gd name="connsiteX58" fmla="*/ 7829 w 10000"/>
                    <a:gd name="connsiteY58" fmla="*/ 2228 h 10000"/>
                    <a:gd name="connsiteX59" fmla="*/ 7546 w 10000"/>
                    <a:gd name="connsiteY59" fmla="*/ 2014 h 10000"/>
                    <a:gd name="connsiteX60" fmla="*/ 7546 w 10000"/>
                    <a:gd name="connsiteY60" fmla="*/ 2014 h 10000"/>
                    <a:gd name="connsiteX61" fmla="*/ 4153 w 10000"/>
                    <a:gd name="connsiteY61" fmla="*/ 722 h 10000"/>
                    <a:gd name="connsiteX62" fmla="*/ 4153 w 10000"/>
                    <a:gd name="connsiteY62" fmla="*/ 722 h 10000"/>
                    <a:gd name="connsiteX63" fmla="*/ 3773 w 10000"/>
                    <a:gd name="connsiteY63" fmla="*/ 510 h 10000"/>
                    <a:gd name="connsiteX64" fmla="*/ 3489 w 10000"/>
                    <a:gd name="connsiteY64" fmla="*/ 291 h 10000"/>
                    <a:gd name="connsiteX65" fmla="*/ 3300 w 10000"/>
                    <a:gd name="connsiteY65" fmla="*/ 73 h 10000"/>
                    <a:gd name="connsiteX66" fmla="*/ 3300 w 10000"/>
                    <a:gd name="connsiteY66" fmla="*/ 73 h 10000"/>
                    <a:gd name="connsiteX67" fmla="*/ 6700 w 10000"/>
                    <a:gd name="connsiteY67" fmla="*/ 0 h 10000"/>
                    <a:gd name="connsiteX68" fmla="*/ 10000 w 10000"/>
                    <a:gd name="connsiteY68" fmla="*/ 722 h 10000"/>
                    <a:gd name="connsiteX69" fmla="*/ 10000 w 10000"/>
                    <a:gd name="connsiteY69" fmla="*/ 9927 h 10000"/>
                    <a:gd name="connsiteX70" fmla="*/ 10000 w 10000"/>
                    <a:gd name="connsiteY70" fmla="*/ 9927 h 10000"/>
                    <a:gd name="connsiteX71" fmla="*/ 9527 w 10000"/>
                    <a:gd name="connsiteY71" fmla="*/ 9857 h 10000"/>
                    <a:gd name="connsiteX72" fmla="*/ 8964 w 10000"/>
                    <a:gd name="connsiteY72" fmla="*/ 9927 h 10000"/>
                    <a:gd name="connsiteX73" fmla="*/ 8964 w 10000"/>
                    <a:gd name="connsiteY73" fmla="*/ 9927 h 10000"/>
                    <a:gd name="connsiteX74" fmla="*/ 8774 w 10000"/>
                    <a:gd name="connsiteY74" fmla="*/ 10000 h 10000"/>
                    <a:gd name="connsiteX75" fmla="*/ 8398 w 10000"/>
                    <a:gd name="connsiteY75" fmla="*/ 9927 h 10000"/>
                    <a:gd name="connsiteX76" fmla="*/ 8116 w 10000"/>
                    <a:gd name="connsiteY76" fmla="*/ 9857 h 10000"/>
                    <a:gd name="connsiteX77" fmla="*/ 7829 w 10000"/>
                    <a:gd name="connsiteY77" fmla="*/ 9707 h 10000"/>
                    <a:gd name="connsiteX78" fmla="*/ 7638 w 10000"/>
                    <a:gd name="connsiteY78" fmla="*/ 9494 h 10000"/>
                    <a:gd name="connsiteX79" fmla="*/ 7358 w 10000"/>
                    <a:gd name="connsiteY79" fmla="*/ 9137 h 10000"/>
                    <a:gd name="connsiteX80" fmla="*/ 7358 w 10000"/>
                    <a:gd name="connsiteY80" fmla="*/ 9137 h 10000"/>
                    <a:gd name="connsiteX81" fmla="*/ 6980 w 10000"/>
                    <a:gd name="connsiteY81" fmla="*/ 8492 h 10000"/>
                    <a:gd name="connsiteX82" fmla="*/ 6793 w 10000"/>
                    <a:gd name="connsiteY82" fmla="*/ 8199 h 10000"/>
                    <a:gd name="connsiteX83" fmla="*/ 6509 w 10000"/>
                    <a:gd name="connsiteY83" fmla="*/ 7987 h 10000"/>
                    <a:gd name="connsiteX84" fmla="*/ 6226 w 10000"/>
                    <a:gd name="connsiteY84" fmla="*/ 7842 h 10000"/>
                    <a:gd name="connsiteX85" fmla="*/ 5850 w 10000"/>
                    <a:gd name="connsiteY85" fmla="*/ 7765 h 10000"/>
                    <a:gd name="connsiteX86" fmla="*/ 5469 w 10000"/>
                    <a:gd name="connsiteY86" fmla="*/ 7695 h 10000"/>
                    <a:gd name="connsiteX87" fmla="*/ 4905 w 10000"/>
                    <a:gd name="connsiteY87" fmla="*/ 7622 h 10000"/>
                    <a:gd name="connsiteX88" fmla="*/ 4905 w 10000"/>
                    <a:gd name="connsiteY88" fmla="*/ 7622 h 10000"/>
                    <a:gd name="connsiteX89" fmla="*/ 4153 w 10000"/>
                    <a:gd name="connsiteY89" fmla="*/ 7695 h 10000"/>
                    <a:gd name="connsiteX90" fmla="*/ 3583 w 10000"/>
                    <a:gd name="connsiteY90" fmla="*/ 7695 h 10000"/>
                    <a:gd name="connsiteX91" fmla="*/ 3396 w 10000"/>
                    <a:gd name="connsiteY91" fmla="*/ 7622 h 10000"/>
                    <a:gd name="connsiteX92" fmla="*/ 3300 w 10000"/>
                    <a:gd name="connsiteY92" fmla="*/ 7550 h 10000"/>
                    <a:gd name="connsiteX93" fmla="*/ 3300 w 10000"/>
                    <a:gd name="connsiteY93" fmla="*/ 7550 h 10000"/>
                    <a:gd name="connsiteX94" fmla="*/ 3300 w 10000"/>
                    <a:gd name="connsiteY94" fmla="*/ 6257 h 10000"/>
                    <a:gd name="connsiteX95" fmla="*/ 3300 w 10000"/>
                    <a:gd name="connsiteY95" fmla="*/ 6257 h 10000"/>
                    <a:gd name="connsiteX96" fmla="*/ 3300 w 10000"/>
                    <a:gd name="connsiteY96" fmla="*/ 5968 h 10000"/>
                    <a:gd name="connsiteX97" fmla="*/ 3113 w 10000"/>
                    <a:gd name="connsiteY97" fmla="*/ 5609 h 10000"/>
                    <a:gd name="connsiteX98" fmla="*/ 3019 w 10000"/>
                    <a:gd name="connsiteY98" fmla="*/ 5539 h 10000"/>
                    <a:gd name="connsiteX99" fmla="*/ 2829 w 10000"/>
                    <a:gd name="connsiteY99" fmla="*/ 5464 h 10000"/>
                    <a:gd name="connsiteX100" fmla="*/ 2641 w 10000"/>
                    <a:gd name="connsiteY100" fmla="*/ 5464 h 10000"/>
                    <a:gd name="connsiteX101" fmla="*/ 2358 w 10000"/>
                    <a:gd name="connsiteY101" fmla="*/ 5539 h 10000"/>
                    <a:gd name="connsiteX102" fmla="*/ 2358 w 10000"/>
                    <a:gd name="connsiteY102" fmla="*/ 5539 h 10000"/>
                    <a:gd name="connsiteX103" fmla="*/ 1319 w 10000"/>
                    <a:gd name="connsiteY103" fmla="*/ 6042 h 10000"/>
                    <a:gd name="connsiteX104" fmla="*/ 850 w 10000"/>
                    <a:gd name="connsiteY104" fmla="*/ 6185 h 10000"/>
                    <a:gd name="connsiteX105" fmla="*/ 754 w 10000"/>
                    <a:gd name="connsiteY105" fmla="*/ 6257 h 10000"/>
                    <a:gd name="connsiteX106" fmla="*/ 660 w 10000"/>
                    <a:gd name="connsiteY106" fmla="*/ 6185 h 10000"/>
                    <a:gd name="connsiteX107" fmla="*/ 660 w 10000"/>
                    <a:gd name="connsiteY107" fmla="*/ 6185 h 10000"/>
                    <a:gd name="connsiteX108" fmla="*/ 188 w 10000"/>
                    <a:gd name="connsiteY108" fmla="*/ 5464 h 10000"/>
                    <a:gd name="connsiteX109" fmla="*/ 188 w 10000"/>
                    <a:gd name="connsiteY109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850 w 10000"/>
                    <a:gd name="connsiteY103" fmla="*/ 6185 h 10000"/>
                    <a:gd name="connsiteX104" fmla="*/ 754 w 10000"/>
                    <a:gd name="connsiteY104" fmla="*/ 6257 h 10000"/>
                    <a:gd name="connsiteX105" fmla="*/ 660 w 10000"/>
                    <a:gd name="connsiteY105" fmla="*/ 6185 h 10000"/>
                    <a:gd name="connsiteX106" fmla="*/ 660 w 10000"/>
                    <a:gd name="connsiteY106" fmla="*/ 6185 h 10000"/>
                    <a:gd name="connsiteX107" fmla="*/ 188 w 10000"/>
                    <a:gd name="connsiteY107" fmla="*/ 5464 h 10000"/>
                    <a:gd name="connsiteX108" fmla="*/ 188 w 10000"/>
                    <a:gd name="connsiteY108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850 w 10000"/>
                    <a:gd name="connsiteY103" fmla="*/ 6185 h 10000"/>
                    <a:gd name="connsiteX104" fmla="*/ 754 w 10000"/>
                    <a:gd name="connsiteY104" fmla="*/ 6257 h 10000"/>
                    <a:gd name="connsiteX105" fmla="*/ 660 w 10000"/>
                    <a:gd name="connsiteY105" fmla="*/ 6185 h 10000"/>
                    <a:gd name="connsiteX106" fmla="*/ 660 w 10000"/>
                    <a:gd name="connsiteY106" fmla="*/ 6185 h 10000"/>
                    <a:gd name="connsiteX107" fmla="*/ 188 w 10000"/>
                    <a:gd name="connsiteY107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850 w 10000"/>
                    <a:gd name="connsiteY103" fmla="*/ 6185 h 10000"/>
                    <a:gd name="connsiteX104" fmla="*/ 754 w 10000"/>
                    <a:gd name="connsiteY104" fmla="*/ 6257 h 10000"/>
                    <a:gd name="connsiteX105" fmla="*/ 660 w 10000"/>
                    <a:gd name="connsiteY105" fmla="*/ 6185 h 10000"/>
                    <a:gd name="connsiteX106" fmla="*/ 660 w 10000"/>
                    <a:gd name="connsiteY106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850 w 10000"/>
                    <a:gd name="connsiteY103" fmla="*/ 6185 h 10000"/>
                    <a:gd name="connsiteX104" fmla="*/ 754 w 10000"/>
                    <a:gd name="connsiteY104" fmla="*/ 6257 h 10000"/>
                    <a:gd name="connsiteX105" fmla="*/ 660 w 10000"/>
                    <a:gd name="connsiteY105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1847 w 10000"/>
                    <a:gd name="connsiteY103" fmla="*/ 6891 h 10000"/>
                    <a:gd name="connsiteX104" fmla="*/ 754 w 10000"/>
                    <a:gd name="connsiteY104" fmla="*/ 6257 h 10000"/>
                    <a:gd name="connsiteX105" fmla="*/ 660 w 10000"/>
                    <a:gd name="connsiteY105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754 w 10000"/>
                    <a:gd name="connsiteY103" fmla="*/ 6257 h 10000"/>
                    <a:gd name="connsiteX104" fmla="*/ 660 w 10000"/>
                    <a:gd name="connsiteY104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2073 w 10000"/>
                    <a:gd name="connsiteY28" fmla="*/ 5752 h 10000"/>
                    <a:gd name="connsiteX29" fmla="*/ 1319 w 10000"/>
                    <a:gd name="connsiteY29" fmla="*/ 6117 h 10000"/>
                    <a:gd name="connsiteX30" fmla="*/ 1319 w 10000"/>
                    <a:gd name="connsiteY30" fmla="*/ 6117 h 10000"/>
                    <a:gd name="connsiteX31" fmla="*/ 850 w 10000"/>
                    <a:gd name="connsiteY31" fmla="*/ 6185 h 10000"/>
                    <a:gd name="connsiteX32" fmla="*/ 660 w 10000"/>
                    <a:gd name="connsiteY32" fmla="*/ 6185 h 10000"/>
                    <a:gd name="connsiteX33" fmla="*/ 566 w 10000"/>
                    <a:gd name="connsiteY33" fmla="*/ 6117 h 10000"/>
                    <a:gd name="connsiteX34" fmla="*/ 470 w 10000"/>
                    <a:gd name="connsiteY34" fmla="*/ 5829 h 10000"/>
                    <a:gd name="connsiteX35" fmla="*/ 188 w 10000"/>
                    <a:gd name="connsiteY35" fmla="*/ 5464 h 10000"/>
                    <a:gd name="connsiteX36" fmla="*/ 188 w 10000"/>
                    <a:gd name="connsiteY36" fmla="*/ 5464 h 10000"/>
                    <a:gd name="connsiteX37" fmla="*/ 0 w 10000"/>
                    <a:gd name="connsiteY37" fmla="*/ 5035 h 10000"/>
                    <a:gd name="connsiteX38" fmla="*/ 0 w 10000"/>
                    <a:gd name="connsiteY38" fmla="*/ 4889 h 10000"/>
                    <a:gd name="connsiteX39" fmla="*/ 94 w 10000"/>
                    <a:gd name="connsiteY39" fmla="*/ 4750 h 10000"/>
                    <a:gd name="connsiteX40" fmla="*/ 282 w 10000"/>
                    <a:gd name="connsiteY40" fmla="*/ 4459 h 10000"/>
                    <a:gd name="connsiteX41" fmla="*/ 470 w 10000"/>
                    <a:gd name="connsiteY41" fmla="*/ 4388 h 10000"/>
                    <a:gd name="connsiteX42" fmla="*/ 470 w 10000"/>
                    <a:gd name="connsiteY42" fmla="*/ 4388 h 10000"/>
                    <a:gd name="connsiteX43" fmla="*/ 470 w 10000"/>
                    <a:gd name="connsiteY43" fmla="*/ 4320 h 10000"/>
                    <a:gd name="connsiteX44" fmla="*/ 566 w 10000"/>
                    <a:gd name="connsiteY44" fmla="*/ 4245 h 10000"/>
                    <a:gd name="connsiteX45" fmla="*/ 943 w 10000"/>
                    <a:gd name="connsiteY45" fmla="*/ 4170 h 10000"/>
                    <a:gd name="connsiteX46" fmla="*/ 2073 w 10000"/>
                    <a:gd name="connsiteY46" fmla="*/ 4031 h 10000"/>
                    <a:gd name="connsiteX47" fmla="*/ 4055 w 10000"/>
                    <a:gd name="connsiteY47" fmla="*/ 3815 h 10000"/>
                    <a:gd name="connsiteX48" fmla="*/ 4055 w 10000"/>
                    <a:gd name="connsiteY48" fmla="*/ 3815 h 10000"/>
                    <a:gd name="connsiteX49" fmla="*/ 5188 w 10000"/>
                    <a:gd name="connsiteY49" fmla="*/ 3598 h 10000"/>
                    <a:gd name="connsiteX50" fmla="*/ 7262 w 10000"/>
                    <a:gd name="connsiteY50" fmla="*/ 3165 h 10000"/>
                    <a:gd name="connsiteX51" fmla="*/ 7262 w 10000"/>
                    <a:gd name="connsiteY51" fmla="*/ 3165 h 10000"/>
                    <a:gd name="connsiteX52" fmla="*/ 7737 w 10000"/>
                    <a:gd name="connsiteY52" fmla="*/ 3013 h 10000"/>
                    <a:gd name="connsiteX53" fmla="*/ 7924 w 10000"/>
                    <a:gd name="connsiteY53" fmla="*/ 2803 h 10000"/>
                    <a:gd name="connsiteX54" fmla="*/ 8116 w 10000"/>
                    <a:gd name="connsiteY54" fmla="*/ 2660 h 10000"/>
                    <a:gd name="connsiteX55" fmla="*/ 8020 w 10000"/>
                    <a:gd name="connsiteY55" fmla="*/ 2516 h 10000"/>
                    <a:gd name="connsiteX56" fmla="*/ 8020 w 10000"/>
                    <a:gd name="connsiteY56" fmla="*/ 2372 h 10000"/>
                    <a:gd name="connsiteX57" fmla="*/ 7829 w 10000"/>
                    <a:gd name="connsiteY57" fmla="*/ 2228 h 10000"/>
                    <a:gd name="connsiteX58" fmla="*/ 7546 w 10000"/>
                    <a:gd name="connsiteY58" fmla="*/ 2014 h 10000"/>
                    <a:gd name="connsiteX59" fmla="*/ 7546 w 10000"/>
                    <a:gd name="connsiteY59" fmla="*/ 2014 h 10000"/>
                    <a:gd name="connsiteX60" fmla="*/ 4153 w 10000"/>
                    <a:gd name="connsiteY60" fmla="*/ 722 h 10000"/>
                    <a:gd name="connsiteX61" fmla="*/ 4153 w 10000"/>
                    <a:gd name="connsiteY61" fmla="*/ 722 h 10000"/>
                    <a:gd name="connsiteX62" fmla="*/ 3773 w 10000"/>
                    <a:gd name="connsiteY62" fmla="*/ 510 h 10000"/>
                    <a:gd name="connsiteX63" fmla="*/ 3489 w 10000"/>
                    <a:gd name="connsiteY63" fmla="*/ 291 h 10000"/>
                    <a:gd name="connsiteX64" fmla="*/ 3300 w 10000"/>
                    <a:gd name="connsiteY64" fmla="*/ 73 h 10000"/>
                    <a:gd name="connsiteX65" fmla="*/ 3300 w 10000"/>
                    <a:gd name="connsiteY65" fmla="*/ 73 h 10000"/>
                    <a:gd name="connsiteX66" fmla="*/ 6700 w 10000"/>
                    <a:gd name="connsiteY66" fmla="*/ 0 h 10000"/>
                    <a:gd name="connsiteX67" fmla="*/ 10000 w 10000"/>
                    <a:gd name="connsiteY67" fmla="*/ 722 h 10000"/>
                    <a:gd name="connsiteX68" fmla="*/ 10000 w 10000"/>
                    <a:gd name="connsiteY68" fmla="*/ 9927 h 10000"/>
                    <a:gd name="connsiteX69" fmla="*/ 10000 w 10000"/>
                    <a:gd name="connsiteY69" fmla="*/ 9927 h 10000"/>
                    <a:gd name="connsiteX70" fmla="*/ 9527 w 10000"/>
                    <a:gd name="connsiteY70" fmla="*/ 9857 h 10000"/>
                    <a:gd name="connsiteX71" fmla="*/ 8964 w 10000"/>
                    <a:gd name="connsiteY71" fmla="*/ 9927 h 10000"/>
                    <a:gd name="connsiteX72" fmla="*/ 8964 w 10000"/>
                    <a:gd name="connsiteY72" fmla="*/ 9927 h 10000"/>
                    <a:gd name="connsiteX73" fmla="*/ 8774 w 10000"/>
                    <a:gd name="connsiteY73" fmla="*/ 10000 h 10000"/>
                    <a:gd name="connsiteX74" fmla="*/ 8398 w 10000"/>
                    <a:gd name="connsiteY74" fmla="*/ 9927 h 10000"/>
                    <a:gd name="connsiteX75" fmla="*/ 8116 w 10000"/>
                    <a:gd name="connsiteY75" fmla="*/ 9857 h 10000"/>
                    <a:gd name="connsiteX76" fmla="*/ 7829 w 10000"/>
                    <a:gd name="connsiteY76" fmla="*/ 9707 h 10000"/>
                    <a:gd name="connsiteX77" fmla="*/ 7638 w 10000"/>
                    <a:gd name="connsiteY77" fmla="*/ 9494 h 10000"/>
                    <a:gd name="connsiteX78" fmla="*/ 7358 w 10000"/>
                    <a:gd name="connsiteY78" fmla="*/ 9137 h 10000"/>
                    <a:gd name="connsiteX79" fmla="*/ 7358 w 10000"/>
                    <a:gd name="connsiteY79" fmla="*/ 9137 h 10000"/>
                    <a:gd name="connsiteX80" fmla="*/ 6980 w 10000"/>
                    <a:gd name="connsiteY80" fmla="*/ 8492 h 10000"/>
                    <a:gd name="connsiteX81" fmla="*/ 6793 w 10000"/>
                    <a:gd name="connsiteY81" fmla="*/ 8199 h 10000"/>
                    <a:gd name="connsiteX82" fmla="*/ 6509 w 10000"/>
                    <a:gd name="connsiteY82" fmla="*/ 7987 h 10000"/>
                    <a:gd name="connsiteX83" fmla="*/ 6226 w 10000"/>
                    <a:gd name="connsiteY83" fmla="*/ 7842 h 10000"/>
                    <a:gd name="connsiteX84" fmla="*/ 5850 w 10000"/>
                    <a:gd name="connsiteY84" fmla="*/ 7765 h 10000"/>
                    <a:gd name="connsiteX85" fmla="*/ 5469 w 10000"/>
                    <a:gd name="connsiteY85" fmla="*/ 7695 h 10000"/>
                    <a:gd name="connsiteX86" fmla="*/ 4905 w 10000"/>
                    <a:gd name="connsiteY86" fmla="*/ 7622 h 10000"/>
                    <a:gd name="connsiteX87" fmla="*/ 4905 w 10000"/>
                    <a:gd name="connsiteY87" fmla="*/ 7622 h 10000"/>
                    <a:gd name="connsiteX88" fmla="*/ 4153 w 10000"/>
                    <a:gd name="connsiteY88" fmla="*/ 7695 h 10000"/>
                    <a:gd name="connsiteX89" fmla="*/ 3583 w 10000"/>
                    <a:gd name="connsiteY89" fmla="*/ 7695 h 10000"/>
                    <a:gd name="connsiteX90" fmla="*/ 3396 w 10000"/>
                    <a:gd name="connsiteY90" fmla="*/ 7622 h 10000"/>
                    <a:gd name="connsiteX91" fmla="*/ 3300 w 10000"/>
                    <a:gd name="connsiteY91" fmla="*/ 7550 h 10000"/>
                    <a:gd name="connsiteX92" fmla="*/ 3300 w 10000"/>
                    <a:gd name="connsiteY92" fmla="*/ 7550 h 10000"/>
                    <a:gd name="connsiteX93" fmla="*/ 3300 w 10000"/>
                    <a:gd name="connsiteY93" fmla="*/ 6257 h 10000"/>
                    <a:gd name="connsiteX94" fmla="*/ 3300 w 10000"/>
                    <a:gd name="connsiteY94" fmla="*/ 6257 h 10000"/>
                    <a:gd name="connsiteX95" fmla="*/ 3300 w 10000"/>
                    <a:gd name="connsiteY95" fmla="*/ 5968 h 10000"/>
                    <a:gd name="connsiteX96" fmla="*/ 3113 w 10000"/>
                    <a:gd name="connsiteY96" fmla="*/ 5609 h 10000"/>
                    <a:gd name="connsiteX97" fmla="*/ 3019 w 10000"/>
                    <a:gd name="connsiteY97" fmla="*/ 5539 h 10000"/>
                    <a:gd name="connsiteX98" fmla="*/ 2829 w 10000"/>
                    <a:gd name="connsiteY98" fmla="*/ 5464 h 10000"/>
                    <a:gd name="connsiteX99" fmla="*/ 2641 w 10000"/>
                    <a:gd name="connsiteY99" fmla="*/ 5464 h 10000"/>
                    <a:gd name="connsiteX100" fmla="*/ 2358 w 10000"/>
                    <a:gd name="connsiteY100" fmla="*/ 5539 h 10000"/>
                    <a:gd name="connsiteX101" fmla="*/ 2358 w 10000"/>
                    <a:gd name="connsiteY101" fmla="*/ 5539 h 10000"/>
                    <a:gd name="connsiteX102" fmla="*/ 1319 w 10000"/>
                    <a:gd name="connsiteY102" fmla="*/ 6042 h 10000"/>
                    <a:gd name="connsiteX103" fmla="*/ 660 w 10000"/>
                    <a:gd name="connsiteY103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1319 w 10000"/>
                    <a:gd name="connsiteY29" fmla="*/ 6117 h 10000"/>
                    <a:gd name="connsiteX30" fmla="*/ 850 w 10000"/>
                    <a:gd name="connsiteY30" fmla="*/ 6185 h 10000"/>
                    <a:gd name="connsiteX31" fmla="*/ 660 w 10000"/>
                    <a:gd name="connsiteY31" fmla="*/ 6185 h 10000"/>
                    <a:gd name="connsiteX32" fmla="*/ 566 w 10000"/>
                    <a:gd name="connsiteY32" fmla="*/ 6117 h 10000"/>
                    <a:gd name="connsiteX33" fmla="*/ 470 w 10000"/>
                    <a:gd name="connsiteY33" fmla="*/ 5829 h 10000"/>
                    <a:gd name="connsiteX34" fmla="*/ 188 w 10000"/>
                    <a:gd name="connsiteY34" fmla="*/ 5464 h 10000"/>
                    <a:gd name="connsiteX35" fmla="*/ 188 w 10000"/>
                    <a:gd name="connsiteY35" fmla="*/ 5464 h 10000"/>
                    <a:gd name="connsiteX36" fmla="*/ 0 w 10000"/>
                    <a:gd name="connsiteY36" fmla="*/ 5035 h 10000"/>
                    <a:gd name="connsiteX37" fmla="*/ 0 w 10000"/>
                    <a:gd name="connsiteY37" fmla="*/ 4889 h 10000"/>
                    <a:gd name="connsiteX38" fmla="*/ 94 w 10000"/>
                    <a:gd name="connsiteY38" fmla="*/ 4750 h 10000"/>
                    <a:gd name="connsiteX39" fmla="*/ 282 w 10000"/>
                    <a:gd name="connsiteY39" fmla="*/ 4459 h 10000"/>
                    <a:gd name="connsiteX40" fmla="*/ 470 w 10000"/>
                    <a:gd name="connsiteY40" fmla="*/ 4388 h 10000"/>
                    <a:gd name="connsiteX41" fmla="*/ 470 w 10000"/>
                    <a:gd name="connsiteY41" fmla="*/ 4388 h 10000"/>
                    <a:gd name="connsiteX42" fmla="*/ 470 w 10000"/>
                    <a:gd name="connsiteY42" fmla="*/ 4320 h 10000"/>
                    <a:gd name="connsiteX43" fmla="*/ 566 w 10000"/>
                    <a:gd name="connsiteY43" fmla="*/ 4245 h 10000"/>
                    <a:gd name="connsiteX44" fmla="*/ 943 w 10000"/>
                    <a:gd name="connsiteY44" fmla="*/ 4170 h 10000"/>
                    <a:gd name="connsiteX45" fmla="*/ 2073 w 10000"/>
                    <a:gd name="connsiteY45" fmla="*/ 4031 h 10000"/>
                    <a:gd name="connsiteX46" fmla="*/ 4055 w 10000"/>
                    <a:gd name="connsiteY46" fmla="*/ 3815 h 10000"/>
                    <a:gd name="connsiteX47" fmla="*/ 4055 w 10000"/>
                    <a:gd name="connsiteY47" fmla="*/ 3815 h 10000"/>
                    <a:gd name="connsiteX48" fmla="*/ 5188 w 10000"/>
                    <a:gd name="connsiteY48" fmla="*/ 3598 h 10000"/>
                    <a:gd name="connsiteX49" fmla="*/ 7262 w 10000"/>
                    <a:gd name="connsiteY49" fmla="*/ 3165 h 10000"/>
                    <a:gd name="connsiteX50" fmla="*/ 7262 w 10000"/>
                    <a:gd name="connsiteY50" fmla="*/ 3165 h 10000"/>
                    <a:gd name="connsiteX51" fmla="*/ 7737 w 10000"/>
                    <a:gd name="connsiteY51" fmla="*/ 3013 h 10000"/>
                    <a:gd name="connsiteX52" fmla="*/ 7924 w 10000"/>
                    <a:gd name="connsiteY52" fmla="*/ 2803 h 10000"/>
                    <a:gd name="connsiteX53" fmla="*/ 8116 w 10000"/>
                    <a:gd name="connsiteY53" fmla="*/ 2660 h 10000"/>
                    <a:gd name="connsiteX54" fmla="*/ 8020 w 10000"/>
                    <a:gd name="connsiteY54" fmla="*/ 2516 h 10000"/>
                    <a:gd name="connsiteX55" fmla="*/ 8020 w 10000"/>
                    <a:gd name="connsiteY55" fmla="*/ 2372 h 10000"/>
                    <a:gd name="connsiteX56" fmla="*/ 7829 w 10000"/>
                    <a:gd name="connsiteY56" fmla="*/ 2228 h 10000"/>
                    <a:gd name="connsiteX57" fmla="*/ 7546 w 10000"/>
                    <a:gd name="connsiteY57" fmla="*/ 2014 h 10000"/>
                    <a:gd name="connsiteX58" fmla="*/ 7546 w 10000"/>
                    <a:gd name="connsiteY58" fmla="*/ 2014 h 10000"/>
                    <a:gd name="connsiteX59" fmla="*/ 4153 w 10000"/>
                    <a:gd name="connsiteY59" fmla="*/ 722 h 10000"/>
                    <a:gd name="connsiteX60" fmla="*/ 4153 w 10000"/>
                    <a:gd name="connsiteY60" fmla="*/ 722 h 10000"/>
                    <a:gd name="connsiteX61" fmla="*/ 3773 w 10000"/>
                    <a:gd name="connsiteY61" fmla="*/ 510 h 10000"/>
                    <a:gd name="connsiteX62" fmla="*/ 3489 w 10000"/>
                    <a:gd name="connsiteY62" fmla="*/ 291 h 10000"/>
                    <a:gd name="connsiteX63" fmla="*/ 3300 w 10000"/>
                    <a:gd name="connsiteY63" fmla="*/ 73 h 10000"/>
                    <a:gd name="connsiteX64" fmla="*/ 3300 w 10000"/>
                    <a:gd name="connsiteY64" fmla="*/ 73 h 10000"/>
                    <a:gd name="connsiteX65" fmla="*/ 6700 w 10000"/>
                    <a:gd name="connsiteY65" fmla="*/ 0 h 10000"/>
                    <a:gd name="connsiteX66" fmla="*/ 10000 w 10000"/>
                    <a:gd name="connsiteY66" fmla="*/ 722 h 10000"/>
                    <a:gd name="connsiteX67" fmla="*/ 10000 w 10000"/>
                    <a:gd name="connsiteY67" fmla="*/ 9927 h 10000"/>
                    <a:gd name="connsiteX68" fmla="*/ 10000 w 10000"/>
                    <a:gd name="connsiteY68" fmla="*/ 9927 h 10000"/>
                    <a:gd name="connsiteX69" fmla="*/ 9527 w 10000"/>
                    <a:gd name="connsiteY69" fmla="*/ 9857 h 10000"/>
                    <a:gd name="connsiteX70" fmla="*/ 8964 w 10000"/>
                    <a:gd name="connsiteY70" fmla="*/ 9927 h 10000"/>
                    <a:gd name="connsiteX71" fmla="*/ 8964 w 10000"/>
                    <a:gd name="connsiteY71" fmla="*/ 9927 h 10000"/>
                    <a:gd name="connsiteX72" fmla="*/ 8774 w 10000"/>
                    <a:gd name="connsiteY72" fmla="*/ 10000 h 10000"/>
                    <a:gd name="connsiteX73" fmla="*/ 8398 w 10000"/>
                    <a:gd name="connsiteY73" fmla="*/ 9927 h 10000"/>
                    <a:gd name="connsiteX74" fmla="*/ 8116 w 10000"/>
                    <a:gd name="connsiteY74" fmla="*/ 9857 h 10000"/>
                    <a:gd name="connsiteX75" fmla="*/ 7829 w 10000"/>
                    <a:gd name="connsiteY75" fmla="*/ 9707 h 10000"/>
                    <a:gd name="connsiteX76" fmla="*/ 7638 w 10000"/>
                    <a:gd name="connsiteY76" fmla="*/ 9494 h 10000"/>
                    <a:gd name="connsiteX77" fmla="*/ 7358 w 10000"/>
                    <a:gd name="connsiteY77" fmla="*/ 9137 h 10000"/>
                    <a:gd name="connsiteX78" fmla="*/ 7358 w 10000"/>
                    <a:gd name="connsiteY78" fmla="*/ 9137 h 10000"/>
                    <a:gd name="connsiteX79" fmla="*/ 6980 w 10000"/>
                    <a:gd name="connsiteY79" fmla="*/ 8492 h 10000"/>
                    <a:gd name="connsiteX80" fmla="*/ 6793 w 10000"/>
                    <a:gd name="connsiteY80" fmla="*/ 8199 h 10000"/>
                    <a:gd name="connsiteX81" fmla="*/ 6509 w 10000"/>
                    <a:gd name="connsiteY81" fmla="*/ 7987 h 10000"/>
                    <a:gd name="connsiteX82" fmla="*/ 6226 w 10000"/>
                    <a:gd name="connsiteY82" fmla="*/ 7842 h 10000"/>
                    <a:gd name="connsiteX83" fmla="*/ 5850 w 10000"/>
                    <a:gd name="connsiteY83" fmla="*/ 7765 h 10000"/>
                    <a:gd name="connsiteX84" fmla="*/ 5469 w 10000"/>
                    <a:gd name="connsiteY84" fmla="*/ 7695 h 10000"/>
                    <a:gd name="connsiteX85" fmla="*/ 4905 w 10000"/>
                    <a:gd name="connsiteY85" fmla="*/ 7622 h 10000"/>
                    <a:gd name="connsiteX86" fmla="*/ 4905 w 10000"/>
                    <a:gd name="connsiteY86" fmla="*/ 7622 h 10000"/>
                    <a:gd name="connsiteX87" fmla="*/ 4153 w 10000"/>
                    <a:gd name="connsiteY87" fmla="*/ 7695 h 10000"/>
                    <a:gd name="connsiteX88" fmla="*/ 3583 w 10000"/>
                    <a:gd name="connsiteY88" fmla="*/ 7695 h 10000"/>
                    <a:gd name="connsiteX89" fmla="*/ 3396 w 10000"/>
                    <a:gd name="connsiteY89" fmla="*/ 7622 h 10000"/>
                    <a:gd name="connsiteX90" fmla="*/ 3300 w 10000"/>
                    <a:gd name="connsiteY90" fmla="*/ 7550 h 10000"/>
                    <a:gd name="connsiteX91" fmla="*/ 3300 w 10000"/>
                    <a:gd name="connsiteY91" fmla="*/ 7550 h 10000"/>
                    <a:gd name="connsiteX92" fmla="*/ 3300 w 10000"/>
                    <a:gd name="connsiteY92" fmla="*/ 6257 h 10000"/>
                    <a:gd name="connsiteX93" fmla="*/ 3300 w 10000"/>
                    <a:gd name="connsiteY93" fmla="*/ 6257 h 10000"/>
                    <a:gd name="connsiteX94" fmla="*/ 3300 w 10000"/>
                    <a:gd name="connsiteY94" fmla="*/ 5968 h 10000"/>
                    <a:gd name="connsiteX95" fmla="*/ 3113 w 10000"/>
                    <a:gd name="connsiteY95" fmla="*/ 5609 h 10000"/>
                    <a:gd name="connsiteX96" fmla="*/ 3019 w 10000"/>
                    <a:gd name="connsiteY96" fmla="*/ 5539 h 10000"/>
                    <a:gd name="connsiteX97" fmla="*/ 2829 w 10000"/>
                    <a:gd name="connsiteY97" fmla="*/ 5464 h 10000"/>
                    <a:gd name="connsiteX98" fmla="*/ 2641 w 10000"/>
                    <a:gd name="connsiteY98" fmla="*/ 5464 h 10000"/>
                    <a:gd name="connsiteX99" fmla="*/ 2358 w 10000"/>
                    <a:gd name="connsiteY99" fmla="*/ 5539 h 10000"/>
                    <a:gd name="connsiteX100" fmla="*/ 2358 w 10000"/>
                    <a:gd name="connsiteY100" fmla="*/ 5539 h 10000"/>
                    <a:gd name="connsiteX101" fmla="*/ 1319 w 10000"/>
                    <a:gd name="connsiteY101" fmla="*/ 6042 h 10000"/>
                    <a:gd name="connsiteX102" fmla="*/ 660 w 10000"/>
                    <a:gd name="connsiteY102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97" fmla="*/ 2641 w 10000"/>
                    <a:gd name="connsiteY97" fmla="*/ 5464 h 10000"/>
                    <a:gd name="connsiteX98" fmla="*/ 2358 w 10000"/>
                    <a:gd name="connsiteY98" fmla="*/ 5539 h 10000"/>
                    <a:gd name="connsiteX99" fmla="*/ 2358 w 10000"/>
                    <a:gd name="connsiteY99" fmla="*/ 5539 h 10000"/>
                    <a:gd name="connsiteX100" fmla="*/ 1319 w 10000"/>
                    <a:gd name="connsiteY100" fmla="*/ 6042 h 10000"/>
                    <a:gd name="connsiteX101" fmla="*/ 660 w 10000"/>
                    <a:gd name="connsiteY101" fmla="*/ 6185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97" fmla="*/ 2641 w 10000"/>
                    <a:gd name="connsiteY97" fmla="*/ 5464 h 10000"/>
                    <a:gd name="connsiteX98" fmla="*/ 2358 w 10000"/>
                    <a:gd name="connsiteY98" fmla="*/ 5539 h 10000"/>
                    <a:gd name="connsiteX99" fmla="*/ 2358 w 10000"/>
                    <a:gd name="connsiteY99" fmla="*/ 5539 h 10000"/>
                    <a:gd name="connsiteX100" fmla="*/ 1319 w 10000"/>
                    <a:gd name="connsiteY100" fmla="*/ 6042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97" fmla="*/ 2641 w 10000"/>
                    <a:gd name="connsiteY97" fmla="*/ 5464 h 10000"/>
                    <a:gd name="connsiteX98" fmla="*/ 2358 w 10000"/>
                    <a:gd name="connsiteY98" fmla="*/ 5539 h 10000"/>
                    <a:gd name="connsiteX99" fmla="*/ 2358 w 10000"/>
                    <a:gd name="connsiteY99" fmla="*/ 553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97" fmla="*/ 2641 w 10000"/>
                    <a:gd name="connsiteY97" fmla="*/ 5464 h 10000"/>
                    <a:gd name="connsiteX98" fmla="*/ 2358 w 10000"/>
                    <a:gd name="connsiteY98" fmla="*/ 553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97" fmla="*/ 2641 w 10000"/>
                    <a:gd name="connsiteY97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113 w 10000"/>
                    <a:gd name="connsiteY25" fmla="*/ 5464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3985 w 10000"/>
                    <a:gd name="connsiteY25" fmla="*/ 4948 h 10000"/>
                    <a:gd name="connsiteX26" fmla="*/ 2923 w 10000"/>
                    <a:gd name="connsiteY26" fmla="*/ 5464 h 10000"/>
                    <a:gd name="connsiteX27" fmla="*/ 2641 w 10000"/>
                    <a:gd name="connsiteY27" fmla="*/ 5539 h 10000"/>
                    <a:gd name="connsiteX28" fmla="*/ 1319 w 10000"/>
                    <a:gd name="connsiteY28" fmla="*/ 6117 h 10000"/>
                    <a:gd name="connsiteX29" fmla="*/ 850 w 10000"/>
                    <a:gd name="connsiteY29" fmla="*/ 6185 h 10000"/>
                    <a:gd name="connsiteX30" fmla="*/ 660 w 10000"/>
                    <a:gd name="connsiteY30" fmla="*/ 6185 h 10000"/>
                    <a:gd name="connsiteX31" fmla="*/ 566 w 10000"/>
                    <a:gd name="connsiteY31" fmla="*/ 6117 h 10000"/>
                    <a:gd name="connsiteX32" fmla="*/ 470 w 10000"/>
                    <a:gd name="connsiteY32" fmla="*/ 5829 h 10000"/>
                    <a:gd name="connsiteX33" fmla="*/ 188 w 10000"/>
                    <a:gd name="connsiteY33" fmla="*/ 5464 h 10000"/>
                    <a:gd name="connsiteX34" fmla="*/ 188 w 10000"/>
                    <a:gd name="connsiteY34" fmla="*/ 5464 h 10000"/>
                    <a:gd name="connsiteX35" fmla="*/ 0 w 10000"/>
                    <a:gd name="connsiteY35" fmla="*/ 5035 h 10000"/>
                    <a:gd name="connsiteX36" fmla="*/ 0 w 10000"/>
                    <a:gd name="connsiteY36" fmla="*/ 4889 h 10000"/>
                    <a:gd name="connsiteX37" fmla="*/ 94 w 10000"/>
                    <a:gd name="connsiteY37" fmla="*/ 4750 h 10000"/>
                    <a:gd name="connsiteX38" fmla="*/ 282 w 10000"/>
                    <a:gd name="connsiteY38" fmla="*/ 4459 h 10000"/>
                    <a:gd name="connsiteX39" fmla="*/ 470 w 10000"/>
                    <a:gd name="connsiteY39" fmla="*/ 4388 h 10000"/>
                    <a:gd name="connsiteX40" fmla="*/ 470 w 10000"/>
                    <a:gd name="connsiteY40" fmla="*/ 4388 h 10000"/>
                    <a:gd name="connsiteX41" fmla="*/ 470 w 10000"/>
                    <a:gd name="connsiteY41" fmla="*/ 4320 h 10000"/>
                    <a:gd name="connsiteX42" fmla="*/ 566 w 10000"/>
                    <a:gd name="connsiteY42" fmla="*/ 4245 h 10000"/>
                    <a:gd name="connsiteX43" fmla="*/ 943 w 10000"/>
                    <a:gd name="connsiteY43" fmla="*/ 4170 h 10000"/>
                    <a:gd name="connsiteX44" fmla="*/ 2073 w 10000"/>
                    <a:gd name="connsiteY44" fmla="*/ 4031 h 10000"/>
                    <a:gd name="connsiteX45" fmla="*/ 4055 w 10000"/>
                    <a:gd name="connsiteY45" fmla="*/ 3815 h 10000"/>
                    <a:gd name="connsiteX46" fmla="*/ 4055 w 10000"/>
                    <a:gd name="connsiteY46" fmla="*/ 3815 h 10000"/>
                    <a:gd name="connsiteX47" fmla="*/ 5188 w 10000"/>
                    <a:gd name="connsiteY47" fmla="*/ 3598 h 10000"/>
                    <a:gd name="connsiteX48" fmla="*/ 7262 w 10000"/>
                    <a:gd name="connsiteY48" fmla="*/ 3165 h 10000"/>
                    <a:gd name="connsiteX49" fmla="*/ 7262 w 10000"/>
                    <a:gd name="connsiteY49" fmla="*/ 3165 h 10000"/>
                    <a:gd name="connsiteX50" fmla="*/ 7737 w 10000"/>
                    <a:gd name="connsiteY50" fmla="*/ 3013 h 10000"/>
                    <a:gd name="connsiteX51" fmla="*/ 7924 w 10000"/>
                    <a:gd name="connsiteY51" fmla="*/ 2803 h 10000"/>
                    <a:gd name="connsiteX52" fmla="*/ 8116 w 10000"/>
                    <a:gd name="connsiteY52" fmla="*/ 2660 h 10000"/>
                    <a:gd name="connsiteX53" fmla="*/ 8020 w 10000"/>
                    <a:gd name="connsiteY53" fmla="*/ 2516 h 10000"/>
                    <a:gd name="connsiteX54" fmla="*/ 8020 w 10000"/>
                    <a:gd name="connsiteY54" fmla="*/ 2372 h 10000"/>
                    <a:gd name="connsiteX55" fmla="*/ 7829 w 10000"/>
                    <a:gd name="connsiteY55" fmla="*/ 2228 h 10000"/>
                    <a:gd name="connsiteX56" fmla="*/ 7546 w 10000"/>
                    <a:gd name="connsiteY56" fmla="*/ 2014 h 10000"/>
                    <a:gd name="connsiteX57" fmla="*/ 7546 w 10000"/>
                    <a:gd name="connsiteY57" fmla="*/ 2014 h 10000"/>
                    <a:gd name="connsiteX58" fmla="*/ 4153 w 10000"/>
                    <a:gd name="connsiteY58" fmla="*/ 722 h 10000"/>
                    <a:gd name="connsiteX59" fmla="*/ 4153 w 10000"/>
                    <a:gd name="connsiteY59" fmla="*/ 722 h 10000"/>
                    <a:gd name="connsiteX60" fmla="*/ 3773 w 10000"/>
                    <a:gd name="connsiteY60" fmla="*/ 510 h 10000"/>
                    <a:gd name="connsiteX61" fmla="*/ 3489 w 10000"/>
                    <a:gd name="connsiteY61" fmla="*/ 291 h 10000"/>
                    <a:gd name="connsiteX62" fmla="*/ 3300 w 10000"/>
                    <a:gd name="connsiteY62" fmla="*/ 73 h 10000"/>
                    <a:gd name="connsiteX63" fmla="*/ 3300 w 10000"/>
                    <a:gd name="connsiteY63" fmla="*/ 73 h 10000"/>
                    <a:gd name="connsiteX64" fmla="*/ 6700 w 10000"/>
                    <a:gd name="connsiteY64" fmla="*/ 0 h 10000"/>
                    <a:gd name="connsiteX65" fmla="*/ 10000 w 10000"/>
                    <a:gd name="connsiteY65" fmla="*/ 722 h 10000"/>
                    <a:gd name="connsiteX66" fmla="*/ 10000 w 10000"/>
                    <a:gd name="connsiteY66" fmla="*/ 9927 h 10000"/>
                    <a:gd name="connsiteX67" fmla="*/ 10000 w 10000"/>
                    <a:gd name="connsiteY67" fmla="*/ 9927 h 10000"/>
                    <a:gd name="connsiteX68" fmla="*/ 9527 w 10000"/>
                    <a:gd name="connsiteY68" fmla="*/ 9857 h 10000"/>
                    <a:gd name="connsiteX69" fmla="*/ 8964 w 10000"/>
                    <a:gd name="connsiteY69" fmla="*/ 9927 h 10000"/>
                    <a:gd name="connsiteX70" fmla="*/ 8964 w 10000"/>
                    <a:gd name="connsiteY70" fmla="*/ 9927 h 10000"/>
                    <a:gd name="connsiteX71" fmla="*/ 8774 w 10000"/>
                    <a:gd name="connsiteY71" fmla="*/ 10000 h 10000"/>
                    <a:gd name="connsiteX72" fmla="*/ 8398 w 10000"/>
                    <a:gd name="connsiteY72" fmla="*/ 9927 h 10000"/>
                    <a:gd name="connsiteX73" fmla="*/ 8116 w 10000"/>
                    <a:gd name="connsiteY73" fmla="*/ 9857 h 10000"/>
                    <a:gd name="connsiteX74" fmla="*/ 7829 w 10000"/>
                    <a:gd name="connsiteY74" fmla="*/ 9707 h 10000"/>
                    <a:gd name="connsiteX75" fmla="*/ 7638 w 10000"/>
                    <a:gd name="connsiteY75" fmla="*/ 9494 h 10000"/>
                    <a:gd name="connsiteX76" fmla="*/ 7358 w 10000"/>
                    <a:gd name="connsiteY76" fmla="*/ 9137 h 10000"/>
                    <a:gd name="connsiteX77" fmla="*/ 7358 w 10000"/>
                    <a:gd name="connsiteY77" fmla="*/ 9137 h 10000"/>
                    <a:gd name="connsiteX78" fmla="*/ 6980 w 10000"/>
                    <a:gd name="connsiteY78" fmla="*/ 8492 h 10000"/>
                    <a:gd name="connsiteX79" fmla="*/ 6793 w 10000"/>
                    <a:gd name="connsiteY79" fmla="*/ 8199 h 10000"/>
                    <a:gd name="connsiteX80" fmla="*/ 6509 w 10000"/>
                    <a:gd name="connsiteY80" fmla="*/ 7987 h 10000"/>
                    <a:gd name="connsiteX81" fmla="*/ 6226 w 10000"/>
                    <a:gd name="connsiteY81" fmla="*/ 7842 h 10000"/>
                    <a:gd name="connsiteX82" fmla="*/ 5850 w 10000"/>
                    <a:gd name="connsiteY82" fmla="*/ 7765 h 10000"/>
                    <a:gd name="connsiteX83" fmla="*/ 5469 w 10000"/>
                    <a:gd name="connsiteY83" fmla="*/ 7695 h 10000"/>
                    <a:gd name="connsiteX84" fmla="*/ 4905 w 10000"/>
                    <a:gd name="connsiteY84" fmla="*/ 7622 h 10000"/>
                    <a:gd name="connsiteX85" fmla="*/ 4905 w 10000"/>
                    <a:gd name="connsiteY85" fmla="*/ 7622 h 10000"/>
                    <a:gd name="connsiteX86" fmla="*/ 4153 w 10000"/>
                    <a:gd name="connsiteY86" fmla="*/ 7695 h 10000"/>
                    <a:gd name="connsiteX87" fmla="*/ 3583 w 10000"/>
                    <a:gd name="connsiteY87" fmla="*/ 7695 h 10000"/>
                    <a:gd name="connsiteX88" fmla="*/ 3396 w 10000"/>
                    <a:gd name="connsiteY88" fmla="*/ 7622 h 10000"/>
                    <a:gd name="connsiteX89" fmla="*/ 3300 w 10000"/>
                    <a:gd name="connsiteY89" fmla="*/ 7550 h 10000"/>
                    <a:gd name="connsiteX90" fmla="*/ 3300 w 10000"/>
                    <a:gd name="connsiteY90" fmla="*/ 7550 h 10000"/>
                    <a:gd name="connsiteX91" fmla="*/ 3300 w 10000"/>
                    <a:gd name="connsiteY91" fmla="*/ 6257 h 10000"/>
                    <a:gd name="connsiteX92" fmla="*/ 3300 w 10000"/>
                    <a:gd name="connsiteY92" fmla="*/ 6257 h 10000"/>
                    <a:gd name="connsiteX93" fmla="*/ 3300 w 10000"/>
                    <a:gd name="connsiteY93" fmla="*/ 5968 h 10000"/>
                    <a:gd name="connsiteX94" fmla="*/ 3113 w 10000"/>
                    <a:gd name="connsiteY94" fmla="*/ 5609 h 10000"/>
                    <a:gd name="connsiteX95" fmla="*/ 3019 w 10000"/>
                    <a:gd name="connsiteY95" fmla="*/ 5539 h 10000"/>
                    <a:gd name="connsiteX96" fmla="*/ 2829 w 10000"/>
                    <a:gd name="connsiteY96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3204 w 10000"/>
                    <a:gd name="connsiteY24" fmla="*/ 5609 h 10000"/>
                    <a:gd name="connsiteX25" fmla="*/ 2923 w 10000"/>
                    <a:gd name="connsiteY25" fmla="*/ 5464 h 10000"/>
                    <a:gd name="connsiteX26" fmla="*/ 2641 w 10000"/>
                    <a:gd name="connsiteY26" fmla="*/ 5539 h 10000"/>
                    <a:gd name="connsiteX27" fmla="*/ 1319 w 10000"/>
                    <a:gd name="connsiteY27" fmla="*/ 6117 h 10000"/>
                    <a:gd name="connsiteX28" fmla="*/ 850 w 10000"/>
                    <a:gd name="connsiteY28" fmla="*/ 6185 h 10000"/>
                    <a:gd name="connsiteX29" fmla="*/ 660 w 10000"/>
                    <a:gd name="connsiteY29" fmla="*/ 6185 h 10000"/>
                    <a:gd name="connsiteX30" fmla="*/ 566 w 10000"/>
                    <a:gd name="connsiteY30" fmla="*/ 6117 h 10000"/>
                    <a:gd name="connsiteX31" fmla="*/ 470 w 10000"/>
                    <a:gd name="connsiteY31" fmla="*/ 5829 h 10000"/>
                    <a:gd name="connsiteX32" fmla="*/ 188 w 10000"/>
                    <a:gd name="connsiteY32" fmla="*/ 5464 h 10000"/>
                    <a:gd name="connsiteX33" fmla="*/ 188 w 10000"/>
                    <a:gd name="connsiteY33" fmla="*/ 5464 h 10000"/>
                    <a:gd name="connsiteX34" fmla="*/ 0 w 10000"/>
                    <a:gd name="connsiteY34" fmla="*/ 5035 h 10000"/>
                    <a:gd name="connsiteX35" fmla="*/ 0 w 10000"/>
                    <a:gd name="connsiteY35" fmla="*/ 4889 h 10000"/>
                    <a:gd name="connsiteX36" fmla="*/ 94 w 10000"/>
                    <a:gd name="connsiteY36" fmla="*/ 4750 h 10000"/>
                    <a:gd name="connsiteX37" fmla="*/ 282 w 10000"/>
                    <a:gd name="connsiteY37" fmla="*/ 4459 h 10000"/>
                    <a:gd name="connsiteX38" fmla="*/ 470 w 10000"/>
                    <a:gd name="connsiteY38" fmla="*/ 4388 h 10000"/>
                    <a:gd name="connsiteX39" fmla="*/ 470 w 10000"/>
                    <a:gd name="connsiteY39" fmla="*/ 4388 h 10000"/>
                    <a:gd name="connsiteX40" fmla="*/ 470 w 10000"/>
                    <a:gd name="connsiteY40" fmla="*/ 4320 h 10000"/>
                    <a:gd name="connsiteX41" fmla="*/ 566 w 10000"/>
                    <a:gd name="connsiteY41" fmla="*/ 4245 h 10000"/>
                    <a:gd name="connsiteX42" fmla="*/ 943 w 10000"/>
                    <a:gd name="connsiteY42" fmla="*/ 4170 h 10000"/>
                    <a:gd name="connsiteX43" fmla="*/ 2073 w 10000"/>
                    <a:gd name="connsiteY43" fmla="*/ 4031 h 10000"/>
                    <a:gd name="connsiteX44" fmla="*/ 4055 w 10000"/>
                    <a:gd name="connsiteY44" fmla="*/ 3815 h 10000"/>
                    <a:gd name="connsiteX45" fmla="*/ 4055 w 10000"/>
                    <a:gd name="connsiteY45" fmla="*/ 3815 h 10000"/>
                    <a:gd name="connsiteX46" fmla="*/ 5188 w 10000"/>
                    <a:gd name="connsiteY46" fmla="*/ 3598 h 10000"/>
                    <a:gd name="connsiteX47" fmla="*/ 7262 w 10000"/>
                    <a:gd name="connsiteY47" fmla="*/ 3165 h 10000"/>
                    <a:gd name="connsiteX48" fmla="*/ 7262 w 10000"/>
                    <a:gd name="connsiteY48" fmla="*/ 3165 h 10000"/>
                    <a:gd name="connsiteX49" fmla="*/ 7737 w 10000"/>
                    <a:gd name="connsiteY49" fmla="*/ 3013 h 10000"/>
                    <a:gd name="connsiteX50" fmla="*/ 7924 w 10000"/>
                    <a:gd name="connsiteY50" fmla="*/ 2803 h 10000"/>
                    <a:gd name="connsiteX51" fmla="*/ 8116 w 10000"/>
                    <a:gd name="connsiteY51" fmla="*/ 2660 h 10000"/>
                    <a:gd name="connsiteX52" fmla="*/ 8020 w 10000"/>
                    <a:gd name="connsiteY52" fmla="*/ 2516 h 10000"/>
                    <a:gd name="connsiteX53" fmla="*/ 8020 w 10000"/>
                    <a:gd name="connsiteY53" fmla="*/ 2372 h 10000"/>
                    <a:gd name="connsiteX54" fmla="*/ 7829 w 10000"/>
                    <a:gd name="connsiteY54" fmla="*/ 2228 h 10000"/>
                    <a:gd name="connsiteX55" fmla="*/ 7546 w 10000"/>
                    <a:gd name="connsiteY55" fmla="*/ 2014 h 10000"/>
                    <a:gd name="connsiteX56" fmla="*/ 7546 w 10000"/>
                    <a:gd name="connsiteY56" fmla="*/ 2014 h 10000"/>
                    <a:gd name="connsiteX57" fmla="*/ 4153 w 10000"/>
                    <a:gd name="connsiteY57" fmla="*/ 722 h 10000"/>
                    <a:gd name="connsiteX58" fmla="*/ 4153 w 10000"/>
                    <a:gd name="connsiteY58" fmla="*/ 722 h 10000"/>
                    <a:gd name="connsiteX59" fmla="*/ 3773 w 10000"/>
                    <a:gd name="connsiteY59" fmla="*/ 510 h 10000"/>
                    <a:gd name="connsiteX60" fmla="*/ 3489 w 10000"/>
                    <a:gd name="connsiteY60" fmla="*/ 291 h 10000"/>
                    <a:gd name="connsiteX61" fmla="*/ 3300 w 10000"/>
                    <a:gd name="connsiteY61" fmla="*/ 73 h 10000"/>
                    <a:gd name="connsiteX62" fmla="*/ 3300 w 10000"/>
                    <a:gd name="connsiteY62" fmla="*/ 73 h 10000"/>
                    <a:gd name="connsiteX63" fmla="*/ 6700 w 10000"/>
                    <a:gd name="connsiteY63" fmla="*/ 0 h 10000"/>
                    <a:gd name="connsiteX64" fmla="*/ 10000 w 10000"/>
                    <a:gd name="connsiteY64" fmla="*/ 722 h 10000"/>
                    <a:gd name="connsiteX65" fmla="*/ 10000 w 10000"/>
                    <a:gd name="connsiteY65" fmla="*/ 9927 h 10000"/>
                    <a:gd name="connsiteX66" fmla="*/ 10000 w 10000"/>
                    <a:gd name="connsiteY66" fmla="*/ 9927 h 10000"/>
                    <a:gd name="connsiteX67" fmla="*/ 9527 w 10000"/>
                    <a:gd name="connsiteY67" fmla="*/ 9857 h 10000"/>
                    <a:gd name="connsiteX68" fmla="*/ 8964 w 10000"/>
                    <a:gd name="connsiteY68" fmla="*/ 9927 h 10000"/>
                    <a:gd name="connsiteX69" fmla="*/ 8964 w 10000"/>
                    <a:gd name="connsiteY69" fmla="*/ 9927 h 10000"/>
                    <a:gd name="connsiteX70" fmla="*/ 8774 w 10000"/>
                    <a:gd name="connsiteY70" fmla="*/ 10000 h 10000"/>
                    <a:gd name="connsiteX71" fmla="*/ 8398 w 10000"/>
                    <a:gd name="connsiteY71" fmla="*/ 9927 h 10000"/>
                    <a:gd name="connsiteX72" fmla="*/ 8116 w 10000"/>
                    <a:gd name="connsiteY72" fmla="*/ 9857 h 10000"/>
                    <a:gd name="connsiteX73" fmla="*/ 7829 w 10000"/>
                    <a:gd name="connsiteY73" fmla="*/ 9707 h 10000"/>
                    <a:gd name="connsiteX74" fmla="*/ 7638 w 10000"/>
                    <a:gd name="connsiteY74" fmla="*/ 9494 h 10000"/>
                    <a:gd name="connsiteX75" fmla="*/ 7358 w 10000"/>
                    <a:gd name="connsiteY75" fmla="*/ 9137 h 10000"/>
                    <a:gd name="connsiteX76" fmla="*/ 7358 w 10000"/>
                    <a:gd name="connsiteY76" fmla="*/ 9137 h 10000"/>
                    <a:gd name="connsiteX77" fmla="*/ 6980 w 10000"/>
                    <a:gd name="connsiteY77" fmla="*/ 8492 h 10000"/>
                    <a:gd name="connsiteX78" fmla="*/ 6793 w 10000"/>
                    <a:gd name="connsiteY78" fmla="*/ 8199 h 10000"/>
                    <a:gd name="connsiteX79" fmla="*/ 6509 w 10000"/>
                    <a:gd name="connsiteY79" fmla="*/ 7987 h 10000"/>
                    <a:gd name="connsiteX80" fmla="*/ 6226 w 10000"/>
                    <a:gd name="connsiteY80" fmla="*/ 7842 h 10000"/>
                    <a:gd name="connsiteX81" fmla="*/ 5850 w 10000"/>
                    <a:gd name="connsiteY81" fmla="*/ 7765 h 10000"/>
                    <a:gd name="connsiteX82" fmla="*/ 5469 w 10000"/>
                    <a:gd name="connsiteY82" fmla="*/ 7695 h 10000"/>
                    <a:gd name="connsiteX83" fmla="*/ 4905 w 10000"/>
                    <a:gd name="connsiteY83" fmla="*/ 7622 h 10000"/>
                    <a:gd name="connsiteX84" fmla="*/ 4905 w 10000"/>
                    <a:gd name="connsiteY84" fmla="*/ 7622 h 10000"/>
                    <a:gd name="connsiteX85" fmla="*/ 4153 w 10000"/>
                    <a:gd name="connsiteY85" fmla="*/ 7695 h 10000"/>
                    <a:gd name="connsiteX86" fmla="*/ 3583 w 10000"/>
                    <a:gd name="connsiteY86" fmla="*/ 7695 h 10000"/>
                    <a:gd name="connsiteX87" fmla="*/ 3396 w 10000"/>
                    <a:gd name="connsiteY87" fmla="*/ 7622 h 10000"/>
                    <a:gd name="connsiteX88" fmla="*/ 3300 w 10000"/>
                    <a:gd name="connsiteY88" fmla="*/ 7550 h 10000"/>
                    <a:gd name="connsiteX89" fmla="*/ 3300 w 10000"/>
                    <a:gd name="connsiteY89" fmla="*/ 7550 h 10000"/>
                    <a:gd name="connsiteX90" fmla="*/ 3300 w 10000"/>
                    <a:gd name="connsiteY90" fmla="*/ 6257 h 10000"/>
                    <a:gd name="connsiteX91" fmla="*/ 3300 w 10000"/>
                    <a:gd name="connsiteY91" fmla="*/ 6257 h 10000"/>
                    <a:gd name="connsiteX92" fmla="*/ 3300 w 10000"/>
                    <a:gd name="connsiteY92" fmla="*/ 5968 h 10000"/>
                    <a:gd name="connsiteX93" fmla="*/ 3113 w 10000"/>
                    <a:gd name="connsiteY93" fmla="*/ 5609 h 10000"/>
                    <a:gd name="connsiteX94" fmla="*/ 3019 w 10000"/>
                    <a:gd name="connsiteY94" fmla="*/ 5539 h 10000"/>
                    <a:gd name="connsiteX95" fmla="*/ 2829 w 10000"/>
                    <a:gd name="connsiteY95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90" fmla="*/ 3300 w 10000"/>
                    <a:gd name="connsiteY90" fmla="*/ 6257 h 10000"/>
                    <a:gd name="connsiteX91" fmla="*/ 3300 w 10000"/>
                    <a:gd name="connsiteY91" fmla="*/ 5968 h 10000"/>
                    <a:gd name="connsiteX92" fmla="*/ 3113 w 10000"/>
                    <a:gd name="connsiteY92" fmla="*/ 5609 h 10000"/>
                    <a:gd name="connsiteX93" fmla="*/ 3019 w 10000"/>
                    <a:gd name="connsiteY93" fmla="*/ 5539 h 10000"/>
                    <a:gd name="connsiteX94" fmla="*/ 2829 w 10000"/>
                    <a:gd name="connsiteY94" fmla="*/ 5464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90" fmla="*/ 3300 w 10000"/>
                    <a:gd name="connsiteY90" fmla="*/ 6257 h 10000"/>
                    <a:gd name="connsiteX91" fmla="*/ 3300 w 10000"/>
                    <a:gd name="connsiteY91" fmla="*/ 5968 h 10000"/>
                    <a:gd name="connsiteX92" fmla="*/ 3113 w 10000"/>
                    <a:gd name="connsiteY92" fmla="*/ 5609 h 10000"/>
                    <a:gd name="connsiteX93" fmla="*/ 3019 w 10000"/>
                    <a:gd name="connsiteY93" fmla="*/ 553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90" fmla="*/ 3300 w 10000"/>
                    <a:gd name="connsiteY90" fmla="*/ 6257 h 10000"/>
                    <a:gd name="connsiteX91" fmla="*/ 3300 w 10000"/>
                    <a:gd name="connsiteY91" fmla="*/ 5968 h 10000"/>
                    <a:gd name="connsiteX92" fmla="*/ 3113 w 10000"/>
                    <a:gd name="connsiteY92" fmla="*/ 5609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90" fmla="*/ 3300 w 10000"/>
                    <a:gd name="connsiteY90" fmla="*/ 6257 h 10000"/>
                    <a:gd name="connsiteX91" fmla="*/ 3300 w 10000"/>
                    <a:gd name="connsiteY91" fmla="*/ 5968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90" fmla="*/ 3300 w 10000"/>
                    <a:gd name="connsiteY90" fmla="*/ 6257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89" fmla="*/ 3300 w 10000"/>
                    <a:gd name="connsiteY89" fmla="*/ 6257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88" fmla="*/ 3300 w 10000"/>
                    <a:gd name="connsiteY88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4153 w 10000"/>
                    <a:gd name="connsiteY84" fmla="*/ 7695 h 10000"/>
                    <a:gd name="connsiteX85" fmla="*/ 3583 w 10000"/>
                    <a:gd name="connsiteY85" fmla="*/ 7695 h 10000"/>
                    <a:gd name="connsiteX86" fmla="*/ 3396 w 10000"/>
                    <a:gd name="connsiteY86" fmla="*/ 7622 h 10000"/>
                    <a:gd name="connsiteX87" fmla="*/ 3300 w 10000"/>
                    <a:gd name="connsiteY87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4716 w 10000"/>
                    <a:gd name="connsiteY13" fmla="*/ 7695 h 10000"/>
                    <a:gd name="connsiteX14" fmla="*/ 3867 w 10000"/>
                    <a:gd name="connsiteY14" fmla="*/ 7695 h 10000"/>
                    <a:gd name="connsiteX15" fmla="*/ 3867 w 10000"/>
                    <a:gd name="connsiteY15" fmla="*/ 7695 h 10000"/>
                    <a:gd name="connsiteX16" fmla="*/ 3489 w 10000"/>
                    <a:gd name="connsiteY16" fmla="*/ 7622 h 10000"/>
                    <a:gd name="connsiteX17" fmla="*/ 3300 w 10000"/>
                    <a:gd name="connsiteY17" fmla="*/ 7484 h 10000"/>
                    <a:gd name="connsiteX18" fmla="*/ 3204 w 10000"/>
                    <a:gd name="connsiteY18" fmla="*/ 7339 h 10000"/>
                    <a:gd name="connsiteX19" fmla="*/ 3204 w 10000"/>
                    <a:gd name="connsiteY19" fmla="*/ 7050 h 10000"/>
                    <a:gd name="connsiteX20" fmla="*/ 3300 w 10000"/>
                    <a:gd name="connsiteY20" fmla="*/ 6471 h 10000"/>
                    <a:gd name="connsiteX21" fmla="*/ 3396 w 10000"/>
                    <a:gd name="connsiteY21" fmla="*/ 6185 h 10000"/>
                    <a:gd name="connsiteX22" fmla="*/ 3300 w 10000"/>
                    <a:gd name="connsiteY22" fmla="*/ 5829 h 10000"/>
                    <a:gd name="connsiteX23" fmla="*/ 3300 w 10000"/>
                    <a:gd name="connsiteY23" fmla="*/ 5829 h 10000"/>
                    <a:gd name="connsiteX24" fmla="*/ 2923 w 10000"/>
                    <a:gd name="connsiteY24" fmla="*/ 5464 h 10000"/>
                    <a:gd name="connsiteX25" fmla="*/ 2641 w 10000"/>
                    <a:gd name="connsiteY25" fmla="*/ 5539 h 10000"/>
                    <a:gd name="connsiteX26" fmla="*/ 1319 w 10000"/>
                    <a:gd name="connsiteY26" fmla="*/ 6117 h 10000"/>
                    <a:gd name="connsiteX27" fmla="*/ 850 w 10000"/>
                    <a:gd name="connsiteY27" fmla="*/ 6185 h 10000"/>
                    <a:gd name="connsiteX28" fmla="*/ 660 w 10000"/>
                    <a:gd name="connsiteY28" fmla="*/ 6185 h 10000"/>
                    <a:gd name="connsiteX29" fmla="*/ 566 w 10000"/>
                    <a:gd name="connsiteY29" fmla="*/ 6117 h 10000"/>
                    <a:gd name="connsiteX30" fmla="*/ 470 w 10000"/>
                    <a:gd name="connsiteY30" fmla="*/ 5829 h 10000"/>
                    <a:gd name="connsiteX31" fmla="*/ 188 w 10000"/>
                    <a:gd name="connsiteY31" fmla="*/ 5464 h 10000"/>
                    <a:gd name="connsiteX32" fmla="*/ 188 w 10000"/>
                    <a:gd name="connsiteY32" fmla="*/ 5464 h 10000"/>
                    <a:gd name="connsiteX33" fmla="*/ 0 w 10000"/>
                    <a:gd name="connsiteY33" fmla="*/ 5035 h 10000"/>
                    <a:gd name="connsiteX34" fmla="*/ 0 w 10000"/>
                    <a:gd name="connsiteY34" fmla="*/ 4889 h 10000"/>
                    <a:gd name="connsiteX35" fmla="*/ 94 w 10000"/>
                    <a:gd name="connsiteY35" fmla="*/ 4750 h 10000"/>
                    <a:gd name="connsiteX36" fmla="*/ 282 w 10000"/>
                    <a:gd name="connsiteY36" fmla="*/ 4459 h 10000"/>
                    <a:gd name="connsiteX37" fmla="*/ 470 w 10000"/>
                    <a:gd name="connsiteY37" fmla="*/ 4388 h 10000"/>
                    <a:gd name="connsiteX38" fmla="*/ 470 w 10000"/>
                    <a:gd name="connsiteY38" fmla="*/ 4388 h 10000"/>
                    <a:gd name="connsiteX39" fmla="*/ 470 w 10000"/>
                    <a:gd name="connsiteY39" fmla="*/ 4320 h 10000"/>
                    <a:gd name="connsiteX40" fmla="*/ 566 w 10000"/>
                    <a:gd name="connsiteY40" fmla="*/ 4245 h 10000"/>
                    <a:gd name="connsiteX41" fmla="*/ 943 w 10000"/>
                    <a:gd name="connsiteY41" fmla="*/ 4170 h 10000"/>
                    <a:gd name="connsiteX42" fmla="*/ 2073 w 10000"/>
                    <a:gd name="connsiteY42" fmla="*/ 4031 h 10000"/>
                    <a:gd name="connsiteX43" fmla="*/ 4055 w 10000"/>
                    <a:gd name="connsiteY43" fmla="*/ 3815 h 10000"/>
                    <a:gd name="connsiteX44" fmla="*/ 4055 w 10000"/>
                    <a:gd name="connsiteY44" fmla="*/ 3815 h 10000"/>
                    <a:gd name="connsiteX45" fmla="*/ 5188 w 10000"/>
                    <a:gd name="connsiteY45" fmla="*/ 3598 h 10000"/>
                    <a:gd name="connsiteX46" fmla="*/ 7262 w 10000"/>
                    <a:gd name="connsiteY46" fmla="*/ 3165 h 10000"/>
                    <a:gd name="connsiteX47" fmla="*/ 7262 w 10000"/>
                    <a:gd name="connsiteY47" fmla="*/ 3165 h 10000"/>
                    <a:gd name="connsiteX48" fmla="*/ 7737 w 10000"/>
                    <a:gd name="connsiteY48" fmla="*/ 3013 h 10000"/>
                    <a:gd name="connsiteX49" fmla="*/ 7924 w 10000"/>
                    <a:gd name="connsiteY49" fmla="*/ 2803 h 10000"/>
                    <a:gd name="connsiteX50" fmla="*/ 8116 w 10000"/>
                    <a:gd name="connsiteY50" fmla="*/ 2660 h 10000"/>
                    <a:gd name="connsiteX51" fmla="*/ 8020 w 10000"/>
                    <a:gd name="connsiteY51" fmla="*/ 2516 h 10000"/>
                    <a:gd name="connsiteX52" fmla="*/ 8020 w 10000"/>
                    <a:gd name="connsiteY52" fmla="*/ 2372 h 10000"/>
                    <a:gd name="connsiteX53" fmla="*/ 7829 w 10000"/>
                    <a:gd name="connsiteY53" fmla="*/ 2228 h 10000"/>
                    <a:gd name="connsiteX54" fmla="*/ 7546 w 10000"/>
                    <a:gd name="connsiteY54" fmla="*/ 2014 h 10000"/>
                    <a:gd name="connsiteX55" fmla="*/ 7546 w 10000"/>
                    <a:gd name="connsiteY55" fmla="*/ 2014 h 10000"/>
                    <a:gd name="connsiteX56" fmla="*/ 4153 w 10000"/>
                    <a:gd name="connsiteY56" fmla="*/ 722 h 10000"/>
                    <a:gd name="connsiteX57" fmla="*/ 4153 w 10000"/>
                    <a:gd name="connsiteY57" fmla="*/ 722 h 10000"/>
                    <a:gd name="connsiteX58" fmla="*/ 3773 w 10000"/>
                    <a:gd name="connsiteY58" fmla="*/ 510 h 10000"/>
                    <a:gd name="connsiteX59" fmla="*/ 3489 w 10000"/>
                    <a:gd name="connsiteY59" fmla="*/ 291 h 10000"/>
                    <a:gd name="connsiteX60" fmla="*/ 3300 w 10000"/>
                    <a:gd name="connsiteY60" fmla="*/ 73 h 10000"/>
                    <a:gd name="connsiteX61" fmla="*/ 3300 w 10000"/>
                    <a:gd name="connsiteY61" fmla="*/ 73 h 10000"/>
                    <a:gd name="connsiteX62" fmla="*/ 6700 w 10000"/>
                    <a:gd name="connsiteY62" fmla="*/ 0 h 10000"/>
                    <a:gd name="connsiteX63" fmla="*/ 10000 w 10000"/>
                    <a:gd name="connsiteY63" fmla="*/ 722 h 10000"/>
                    <a:gd name="connsiteX64" fmla="*/ 10000 w 10000"/>
                    <a:gd name="connsiteY64" fmla="*/ 9927 h 10000"/>
                    <a:gd name="connsiteX65" fmla="*/ 10000 w 10000"/>
                    <a:gd name="connsiteY65" fmla="*/ 9927 h 10000"/>
                    <a:gd name="connsiteX66" fmla="*/ 9527 w 10000"/>
                    <a:gd name="connsiteY66" fmla="*/ 9857 h 10000"/>
                    <a:gd name="connsiteX67" fmla="*/ 8964 w 10000"/>
                    <a:gd name="connsiteY67" fmla="*/ 9927 h 10000"/>
                    <a:gd name="connsiteX68" fmla="*/ 8964 w 10000"/>
                    <a:gd name="connsiteY68" fmla="*/ 9927 h 10000"/>
                    <a:gd name="connsiteX69" fmla="*/ 8774 w 10000"/>
                    <a:gd name="connsiteY69" fmla="*/ 10000 h 10000"/>
                    <a:gd name="connsiteX70" fmla="*/ 8398 w 10000"/>
                    <a:gd name="connsiteY70" fmla="*/ 9927 h 10000"/>
                    <a:gd name="connsiteX71" fmla="*/ 8116 w 10000"/>
                    <a:gd name="connsiteY71" fmla="*/ 9857 h 10000"/>
                    <a:gd name="connsiteX72" fmla="*/ 7829 w 10000"/>
                    <a:gd name="connsiteY72" fmla="*/ 9707 h 10000"/>
                    <a:gd name="connsiteX73" fmla="*/ 7638 w 10000"/>
                    <a:gd name="connsiteY73" fmla="*/ 9494 h 10000"/>
                    <a:gd name="connsiteX74" fmla="*/ 7358 w 10000"/>
                    <a:gd name="connsiteY74" fmla="*/ 9137 h 10000"/>
                    <a:gd name="connsiteX75" fmla="*/ 7358 w 10000"/>
                    <a:gd name="connsiteY75" fmla="*/ 9137 h 10000"/>
                    <a:gd name="connsiteX76" fmla="*/ 6980 w 10000"/>
                    <a:gd name="connsiteY76" fmla="*/ 8492 h 10000"/>
                    <a:gd name="connsiteX77" fmla="*/ 6793 w 10000"/>
                    <a:gd name="connsiteY77" fmla="*/ 8199 h 10000"/>
                    <a:gd name="connsiteX78" fmla="*/ 6509 w 10000"/>
                    <a:gd name="connsiteY78" fmla="*/ 7987 h 10000"/>
                    <a:gd name="connsiteX79" fmla="*/ 6226 w 10000"/>
                    <a:gd name="connsiteY79" fmla="*/ 7842 h 10000"/>
                    <a:gd name="connsiteX80" fmla="*/ 5850 w 10000"/>
                    <a:gd name="connsiteY80" fmla="*/ 7765 h 10000"/>
                    <a:gd name="connsiteX81" fmla="*/ 5469 w 10000"/>
                    <a:gd name="connsiteY81" fmla="*/ 7695 h 10000"/>
                    <a:gd name="connsiteX82" fmla="*/ 4905 w 10000"/>
                    <a:gd name="connsiteY82" fmla="*/ 7622 h 10000"/>
                    <a:gd name="connsiteX83" fmla="*/ 4905 w 10000"/>
                    <a:gd name="connsiteY83" fmla="*/ 7622 h 10000"/>
                    <a:gd name="connsiteX84" fmla="*/ 3583 w 10000"/>
                    <a:gd name="connsiteY84" fmla="*/ 7695 h 10000"/>
                    <a:gd name="connsiteX85" fmla="*/ 3396 w 10000"/>
                    <a:gd name="connsiteY85" fmla="*/ 7622 h 10000"/>
                    <a:gd name="connsiteX86" fmla="*/ 3300 w 10000"/>
                    <a:gd name="connsiteY86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867 w 10000"/>
                    <a:gd name="connsiteY13" fmla="*/ 7695 h 10000"/>
                    <a:gd name="connsiteX14" fmla="*/ 3867 w 10000"/>
                    <a:gd name="connsiteY14" fmla="*/ 7695 h 10000"/>
                    <a:gd name="connsiteX15" fmla="*/ 3489 w 10000"/>
                    <a:gd name="connsiteY15" fmla="*/ 7622 h 10000"/>
                    <a:gd name="connsiteX16" fmla="*/ 3300 w 10000"/>
                    <a:gd name="connsiteY16" fmla="*/ 7484 h 10000"/>
                    <a:gd name="connsiteX17" fmla="*/ 3204 w 10000"/>
                    <a:gd name="connsiteY17" fmla="*/ 7339 h 10000"/>
                    <a:gd name="connsiteX18" fmla="*/ 3204 w 10000"/>
                    <a:gd name="connsiteY18" fmla="*/ 7050 h 10000"/>
                    <a:gd name="connsiteX19" fmla="*/ 3300 w 10000"/>
                    <a:gd name="connsiteY19" fmla="*/ 6471 h 10000"/>
                    <a:gd name="connsiteX20" fmla="*/ 3396 w 10000"/>
                    <a:gd name="connsiteY20" fmla="*/ 6185 h 10000"/>
                    <a:gd name="connsiteX21" fmla="*/ 3300 w 10000"/>
                    <a:gd name="connsiteY21" fmla="*/ 5829 h 10000"/>
                    <a:gd name="connsiteX22" fmla="*/ 3300 w 10000"/>
                    <a:gd name="connsiteY22" fmla="*/ 5829 h 10000"/>
                    <a:gd name="connsiteX23" fmla="*/ 2923 w 10000"/>
                    <a:gd name="connsiteY23" fmla="*/ 5464 h 10000"/>
                    <a:gd name="connsiteX24" fmla="*/ 2641 w 10000"/>
                    <a:gd name="connsiteY24" fmla="*/ 5539 h 10000"/>
                    <a:gd name="connsiteX25" fmla="*/ 1319 w 10000"/>
                    <a:gd name="connsiteY25" fmla="*/ 6117 h 10000"/>
                    <a:gd name="connsiteX26" fmla="*/ 850 w 10000"/>
                    <a:gd name="connsiteY26" fmla="*/ 6185 h 10000"/>
                    <a:gd name="connsiteX27" fmla="*/ 660 w 10000"/>
                    <a:gd name="connsiteY27" fmla="*/ 6185 h 10000"/>
                    <a:gd name="connsiteX28" fmla="*/ 566 w 10000"/>
                    <a:gd name="connsiteY28" fmla="*/ 6117 h 10000"/>
                    <a:gd name="connsiteX29" fmla="*/ 470 w 10000"/>
                    <a:gd name="connsiteY29" fmla="*/ 5829 h 10000"/>
                    <a:gd name="connsiteX30" fmla="*/ 188 w 10000"/>
                    <a:gd name="connsiteY30" fmla="*/ 5464 h 10000"/>
                    <a:gd name="connsiteX31" fmla="*/ 188 w 10000"/>
                    <a:gd name="connsiteY31" fmla="*/ 5464 h 10000"/>
                    <a:gd name="connsiteX32" fmla="*/ 0 w 10000"/>
                    <a:gd name="connsiteY32" fmla="*/ 5035 h 10000"/>
                    <a:gd name="connsiteX33" fmla="*/ 0 w 10000"/>
                    <a:gd name="connsiteY33" fmla="*/ 4889 h 10000"/>
                    <a:gd name="connsiteX34" fmla="*/ 94 w 10000"/>
                    <a:gd name="connsiteY34" fmla="*/ 4750 h 10000"/>
                    <a:gd name="connsiteX35" fmla="*/ 282 w 10000"/>
                    <a:gd name="connsiteY35" fmla="*/ 4459 h 10000"/>
                    <a:gd name="connsiteX36" fmla="*/ 470 w 10000"/>
                    <a:gd name="connsiteY36" fmla="*/ 4388 h 10000"/>
                    <a:gd name="connsiteX37" fmla="*/ 470 w 10000"/>
                    <a:gd name="connsiteY37" fmla="*/ 4388 h 10000"/>
                    <a:gd name="connsiteX38" fmla="*/ 470 w 10000"/>
                    <a:gd name="connsiteY38" fmla="*/ 4320 h 10000"/>
                    <a:gd name="connsiteX39" fmla="*/ 566 w 10000"/>
                    <a:gd name="connsiteY39" fmla="*/ 4245 h 10000"/>
                    <a:gd name="connsiteX40" fmla="*/ 943 w 10000"/>
                    <a:gd name="connsiteY40" fmla="*/ 4170 h 10000"/>
                    <a:gd name="connsiteX41" fmla="*/ 2073 w 10000"/>
                    <a:gd name="connsiteY41" fmla="*/ 4031 h 10000"/>
                    <a:gd name="connsiteX42" fmla="*/ 4055 w 10000"/>
                    <a:gd name="connsiteY42" fmla="*/ 3815 h 10000"/>
                    <a:gd name="connsiteX43" fmla="*/ 4055 w 10000"/>
                    <a:gd name="connsiteY43" fmla="*/ 3815 h 10000"/>
                    <a:gd name="connsiteX44" fmla="*/ 5188 w 10000"/>
                    <a:gd name="connsiteY44" fmla="*/ 3598 h 10000"/>
                    <a:gd name="connsiteX45" fmla="*/ 7262 w 10000"/>
                    <a:gd name="connsiteY45" fmla="*/ 3165 h 10000"/>
                    <a:gd name="connsiteX46" fmla="*/ 7262 w 10000"/>
                    <a:gd name="connsiteY46" fmla="*/ 3165 h 10000"/>
                    <a:gd name="connsiteX47" fmla="*/ 7737 w 10000"/>
                    <a:gd name="connsiteY47" fmla="*/ 3013 h 10000"/>
                    <a:gd name="connsiteX48" fmla="*/ 7924 w 10000"/>
                    <a:gd name="connsiteY48" fmla="*/ 2803 h 10000"/>
                    <a:gd name="connsiteX49" fmla="*/ 8116 w 10000"/>
                    <a:gd name="connsiteY49" fmla="*/ 2660 h 10000"/>
                    <a:gd name="connsiteX50" fmla="*/ 8020 w 10000"/>
                    <a:gd name="connsiteY50" fmla="*/ 2516 h 10000"/>
                    <a:gd name="connsiteX51" fmla="*/ 8020 w 10000"/>
                    <a:gd name="connsiteY51" fmla="*/ 2372 h 10000"/>
                    <a:gd name="connsiteX52" fmla="*/ 7829 w 10000"/>
                    <a:gd name="connsiteY52" fmla="*/ 2228 h 10000"/>
                    <a:gd name="connsiteX53" fmla="*/ 7546 w 10000"/>
                    <a:gd name="connsiteY53" fmla="*/ 2014 h 10000"/>
                    <a:gd name="connsiteX54" fmla="*/ 7546 w 10000"/>
                    <a:gd name="connsiteY54" fmla="*/ 2014 h 10000"/>
                    <a:gd name="connsiteX55" fmla="*/ 4153 w 10000"/>
                    <a:gd name="connsiteY55" fmla="*/ 722 h 10000"/>
                    <a:gd name="connsiteX56" fmla="*/ 4153 w 10000"/>
                    <a:gd name="connsiteY56" fmla="*/ 722 h 10000"/>
                    <a:gd name="connsiteX57" fmla="*/ 3773 w 10000"/>
                    <a:gd name="connsiteY57" fmla="*/ 510 h 10000"/>
                    <a:gd name="connsiteX58" fmla="*/ 3489 w 10000"/>
                    <a:gd name="connsiteY58" fmla="*/ 291 h 10000"/>
                    <a:gd name="connsiteX59" fmla="*/ 3300 w 10000"/>
                    <a:gd name="connsiteY59" fmla="*/ 73 h 10000"/>
                    <a:gd name="connsiteX60" fmla="*/ 3300 w 10000"/>
                    <a:gd name="connsiteY60" fmla="*/ 73 h 10000"/>
                    <a:gd name="connsiteX61" fmla="*/ 6700 w 10000"/>
                    <a:gd name="connsiteY61" fmla="*/ 0 h 10000"/>
                    <a:gd name="connsiteX62" fmla="*/ 10000 w 10000"/>
                    <a:gd name="connsiteY62" fmla="*/ 722 h 10000"/>
                    <a:gd name="connsiteX63" fmla="*/ 10000 w 10000"/>
                    <a:gd name="connsiteY63" fmla="*/ 9927 h 10000"/>
                    <a:gd name="connsiteX64" fmla="*/ 10000 w 10000"/>
                    <a:gd name="connsiteY64" fmla="*/ 9927 h 10000"/>
                    <a:gd name="connsiteX65" fmla="*/ 9527 w 10000"/>
                    <a:gd name="connsiteY65" fmla="*/ 9857 h 10000"/>
                    <a:gd name="connsiteX66" fmla="*/ 8964 w 10000"/>
                    <a:gd name="connsiteY66" fmla="*/ 9927 h 10000"/>
                    <a:gd name="connsiteX67" fmla="*/ 8964 w 10000"/>
                    <a:gd name="connsiteY67" fmla="*/ 9927 h 10000"/>
                    <a:gd name="connsiteX68" fmla="*/ 8774 w 10000"/>
                    <a:gd name="connsiteY68" fmla="*/ 10000 h 10000"/>
                    <a:gd name="connsiteX69" fmla="*/ 8398 w 10000"/>
                    <a:gd name="connsiteY69" fmla="*/ 9927 h 10000"/>
                    <a:gd name="connsiteX70" fmla="*/ 8116 w 10000"/>
                    <a:gd name="connsiteY70" fmla="*/ 9857 h 10000"/>
                    <a:gd name="connsiteX71" fmla="*/ 7829 w 10000"/>
                    <a:gd name="connsiteY71" fmla="*/ 9707 h 10000"/>
                    <a:gd name="connsiteX72" fmla="*/ 7638 w 10000"/>
                    <a:gd name="connsiteY72" fmla="*/ 9494 h 10000"/>
                    <a:gd name="connsiteX73" fmla="*/ 7358 w 10000"/>
                    <a:gd name="connsiteY73" fmla="*/ 9137 h 10000"/>
                    <a:gd name="connsiteX74" fmla="*/ 7358 w 10000"/>
                    <a:gd name="connsiteY74" fmla="*/ 9137 h 10000"/>
                    <a:gd name="connsiteX75" fmla="*/ 6980 w 10000"/>
                    <a:gd name="connsiteY75" fmla="*/ 8492 h 10000"/>
                    <a:gd name="connsiteX76" fmla="*/ 6793 w 10000"/>
                    <a:gd name="connsiteY76" fmla="*/ 8199 h 10000"/>
                    <a:gd name="connsiteX77" fmla="*/ 6509 w 10000"/>
                    <a:gd name="connsiteY77" fmla="*/ 7987 h 10000"/>
                    <a:gd name="connsiteX78" fmla="*/ 6226 w 10000"/>
                    <a:gd name="connsiteY78" fmla="*/ 7842 h 10000"/>
                    <a:gd name="connsiteX79" fmla="*/ 5850 w 10000"/>
                    <a:gd name="connsiteY79" fmla="*/ 7765 h 10000"/>
                    <a:gd name="connsiteX80" fmla="*/ 5469 w 10000"/>
                    <a:gd name="connsiteY80" fmla="*/ 7695 h 10000"/>
                    <a:gd name="connsiteX81" fmla="*/ 4905 w 10000"/>
                    <a:gd name="connsiteY81" fmla="*/ 7622 h 10000"/>
                    <a:gd name="connsiteX82" fmla="*/ 4905 w 10000"/>
                    <a:gd name="connsiteY82" fmla="*/ 7622 h 10000"/>
                    <a:gd name="connsiteX83" fmla="*/ 3583 w 10000"/>
                    <a:gd name="connsiteY83" fmla="*/ 7695 h 10000"/>
                    <a:gd name="connsiteX84" fmla="*/ 3396 w 10000"/>
                    <a:gd name="connsiteY84" fmla="*/ 7622 h 10000"/>
                    <a:gd name="connsiteX85" fmla="*/ 3300 w 10000"/>
                    <a:gd name="connsiteY85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867 w 10000"/>
                    <a:gd name="connsiteY13" fmla="*/ 7695 h 10000"/>
                    <a:gd name="connsiteX14" fmla="*/ 3489 w 10000"/>
                    <a:gd name="connsiteY14" fmla="*/ 7622 h 10000"/>
                    <a:gd name="connsiteX15" fmla="*/ 3300 w 10000"/>
                    <a:gd name="connsiteY15" fmla="*/ 7484 h 10000"/>
                    <a:gd name="connsiteX16" fmla="*/ 3204 w 10000"/>
                    <a:gd name="connsiteY16" fmla="*/ 7339 h 10000"/>
                    <a:gd name="connsiteX17" fmla="*/ 3204 w 10000"/>
                    <a:gd name="connsiteY17" fmla="*/ 7050 h 10000"/>
                    <a:gd name="connsiteX18" fmla="*/ 3300 w 10000"/>
                    <a:gd name="connsiteY18" fmla="*/ 6471 h 10000"/>
                    <a:gd name="connsiteX19" fmla="*/ 3396 w 10000"/>
                    <a:gd name="connsiteY19" fmla="*/ 6185 h 10000"/>
                    <a:gd name="connsiteX20" fmla="*/ 3300 w 10000"/>
                    <a:gd name="connsiteY20" fmla="*/ 5829 h 10000"/>
                    <a:gd name="connsiteX21" fmla="*/ 3300 w 10000"/>
                    <a:gd name="connsiteY21" fmla="*/ 5829 h 10000"/>
                    <a:gd name="connsiteX22" fmla="*/ 2923 w 10000"/>
                    <a:gd name="connsiteY22" fmla="*/ 5464 h 10000"/>
                    <a:gd name="connsiteX23" fmla="*/ 2641 w 10000"/>
                    <a:gd name="connsiteY23" fmla="*/ 5539 h 10000"/>
                    <a:gd name="connsiteX24" fmla="*/ 1319 w 10000"/>
                    <a:gd name="connsiteY24" fmla="*/ 6117 h 10000"/>
                    <a:gd name="connsiteX25" fmla="*/ 850 w 10000"/>
                    <a:gd name="connsiteY25" fmla="*/ 6185 h 10000"/>
                    <a:gd name="connsiteX26" fmla="*/ 660 w 10000"/>
                    <a:gd name="connsiteY26" fmla="*/ 6185 h 10000"/>
                    <a:gd name="connsiteX27" fmla="*/ 566 w 10000"/>
                    <a:gd name="connsiteY27" fmla="*/ 6117 h 10000"/>
                    <a:gd name="connsiteX28" fmla="*/ 470 w 10000"/>
                    <a:gd name="connsiteY28" fmla="*/ 5829 h 10000"/>
                    <a:gd name="connsiteX29" fmla="*/ 188 w 10000"/>
                    <a:gd name="connsiteY29" fmla="*/ 5464 h 10000"/>
                    <a:gd name="connsiteX30" fmla="*/ 188 w 10000"/>
                    <a:gd name="connsiteY30" fmla="*/ 5464 h 10000"/>
                    <a:gd name="connsiteX31" fmla="*/ 0 w 10000"/>
                    <a:gd name="connsiteY31" fmla="*/ 5035 h 10000"/>
                    <a:gd name="connsiteX32" fmla="*/ 0 w 10000"/>
                    <a:gd name="connsiteY32" fmla="*/ 4889 h 10000"/>
                    <a:gd name="connsiteX33" fmla="*/ 94 w 10000"/>
                    <a:gd name="connsiteY33" fmla="*/ 4750 h 10000"/>
                    <a:gd name="connsiteX34" fmla="*/ 282 w 10000"/>
                    <a:gd name="connsiteY34" fmla="*/ 4459 h 10000"/>
                    <a:gd name="connsiteX35" fmla="*/ 470 w 10000"/>
                    <a:gd name="connsiteY35" fmla="*/ 4388 h 10000"/>
                    <a:gd name="connsiteX36" fmla="*/ 470 w 10000"/>
                    <a:gd name="connsiteY36" fmla="*/ 4388 h 10000"/>
                    <a:gd name="connsiteX37" fmla="*/ 470 w 10000"/>
                    <a:gd name="connsiteY37" fmla="*/ 4320 h 10000"/>
                    <a:gd name="connsiteX38" fmla="*/ 566 w 10000"/>
                    <a:gd name="connsiteY38" fmla="*/ 4245 h 10000"/>
                    <a:gd name="connsiteX39" fmla="*/ 943 w 10000"/>
                    <a:gd name="connsiteY39" fmla="*/ 4170 h 10000"/>
                    <a:gd name="connsiteX40" fmla="*/ 2073 w 10000"/>
                    <a:gd name="connsiteY40" fmla="*/ 4031 h 10000"/>
                    <a:gd name="connsiteX41" fmla="*/ 4055 w 10000"/>
                    <a:gd name="connsiteY41" fmla="*/ 3815 h 10000"/>
                    <a:gd name="connsiteX42" fmla="*/ 4055 w 10000"/>
                    <a:gd name="connsiteY42" fmla="*/ 3815 h 10000"/>
                    <a:gd name="connsiteX43" fmla="*/ 5188 w 10000"/>
                    <a:gd name="connsiteY43" fmla="*/ 3598 h 10000"/>
                    <a:gd name="connsiteX44" fmla="*/ 7262 w 10000"/>
                    <a:gd name="connsiteY44" fmla="*/ 3165 h 10000"/>
                    <a:gd name="connsiteX45" fmla="*/ 7262 w 10000"/>
                    <a:gd name="connsiteY45" fmla="*/ 3165 h 10000"/>
                    <a:gd name="connsiteX46" fmla="*/ 7737 w 10000"/>
                    <a:gd name="connsiteY46" fmla="*/ 3013 h 10000"/>
                    <a:gd name="connsiteX47" fmla="*/ 7924 w 10000"/>
                    <a:gd name="connsiteY47" fmla="*/ 2803 h 10000"/>
                    <a:gd name="connsiteX48" fmla="*/ 8116 w 10000"/>
                    <a:gd name="connsiteY48" fmla="*/ 2660 h 10000"/>
                    <a:gd name="connsiteX49" fmla="*/ 8020 w 10000"/>
                    <a:gd name="connsiteY49" fmla="*/ 2516 h 10000"/>
                    <a:gd name="connsiteX50" fmla="*/ 8020 w 10000"/>
                    <a:gd name="connsiteY50" fmla="*/ 2372 h 10000"/>
                    <a:gd name="connsiteX51" fmla="*/ 7829 w 10000"/>
                    <a:gd name="connsiteY51" fmla="*/ 2228 h 10000"/>
                    <a:gd name="connsiteX52" fmla="*/ 7546 w 10000"/>
                    <a:gd name="connsiteY52" fmla="*/ 2014 h 10000"/>
                    <a:gd name="connsiteX53" fmla="*/ 7546 w 10000"/>
                    <a:gd name="connsiteY53" fmla="*/ 2014 h 10000"/>
                    <a:gd name="connsiteX54" fmla="*/ 4153 w 10000"/>
                    <a:gd name="connsiteY54" fmla="*/ 722 h 10000"/>
                    <a:gd name="connsiteX55" fmla="*/ 4153 w 10000"/>
                    <a:gd name="connsiteY55" fmla="*/ 722 h 10000"/>
                    <a:gd name="connsiteX56" fmla="*/ 3773 w 10000"/>
                    <a:gd name="connsiteY56" fmla="*/ 510 h 10000"/>
                    <a:gd name="connsiteX57" fmla="*/ 3489 w 10000"/>
                    <a:gd name="connsiteY57" fmla="*/ 291 h 10000"/>
                    <a:gd name="connsiteX58" fmla="*/ 3300 w 10000"/>
                    <a:gd name="connsiteY58" fmla="*/ 73 h 10000"/>
                    <a:gd name="connsiteX59" fmla="*/ 3300 w 10000"/>
                    <a:gd name="connsiteY59" fmla="*/ 73 h 10000"/>
                    <a:gd name="connsiteX60" fmla="*/ 6700 w 10000"/>
                    <a:gd name="connsiteY60" fmla="*/ 0 h 10000"/>
                    <a:gd name="connsiteX61" fmla="*/ 10000 w 10000"/>
                    <a:gd name="connsiteY61" fmla="*/ 722 h 10000"/>
                    <a:gd name="connsiteX62" fmla="*/ 10000 w 10000"/>
                    <a:gd name="connsiteY62" fmla="*/ 9927 h 10000"/>
                    <a:gd name="connsiteX63" fmla="*/ 10000 w 10000"/>
                    <a:gd name="connsiteY63" fmla="*/ 9927 h 10000"/>
                    <a:gd name="connsiteX64" fmla="*/ 9527 w 10000"/>
                    <a:gd name="connsiteY64" fmla="*/ 9857 h 10000"/>
                    <a:gd name="connsiteX65" fmla="*/ 8964 w 10000"/>
                    <a:gd name="connsiteY65" fmla="*/ 9927 h 10000"/>
                    <a:gd name="connsiteX66" fmla="*/ 8964 w 10000"/>
                    <a:gd name="connsiteY66" fmla="*/ 9927 h 10000"/>
                    <a:gd name="connsiteX67" fmla="*/ 8774 w 10000"/>
                    <a:gd name="connsiteY67" fmla="*/ 10000 h 10000"/>
                    <a:gd name="connsiteX68" fmla="*/ 8398 w 10000"/>
                    <a:gd name="connsiteY68" fmla="*/ 9927 h 10000"/>
                    <a:gd name="connsiteX69" fmla="*/ 8116 w 10000"/>
                    <a:gd name="connsiteY69" fmla="*/ 9857 h 10000"/>
                    <a:gd name="connsiteX70" fmla="*/ 7829 w 10000"/>
                    <a:gd name="connsiteY70" fmla="*/ 9707 h 10000"/>
                    <a:gd name="connsiteX71" fmla="*/ 7638 w 10000"/>
                    <a:gd name="connsiteY71" fmla="*/ 9494 h 10000"/>
                    <a:gd name="connsiteX72" fmla="*/ 7358 w 10000"/>
                    <a:gd name="connsiteY72" fmla="*/ 9137 h 10000"/>
                    <a:gd name="connsiteX73" fmla="*/ 7358 w 10000"/>
                    <a:gd name="connsiteY73" fmla="*/ 9137 h 10000"/>
                    <a:gd name="connsiteX74" fmla="*/ 6980 w 10000"/>
                    <a:gd name="connsiteY74" fmla="*/ 8492 h 10000"/>
                    <a:gd name="connsiteX75" fmla="*/ 6793 w 10000"/>
                    <a:gd name="connsiteY75" fmla="*/ 8199 h 10000"/>
                    <a:gd name="connsiteX76" fmla="*/ 6509 w 10000"/>
                    <a:gd name="connsiteY76" fmla="*/ 7987 h 10000"/>
                    <a:gd name="connsiteX77" fmla="*/ 6226 w 10000"/>
                    <a:gd name="connsiteY77" fmla="*/ 7842 h 10000"/>
                    <a:gd name="connsiteX78" fmla="*/ 5850 w 10000"/>
                    <a:gd name="connsiteY78" fmla="*/ 7765 h 10000"/>
                    <a:gd name="connsiteX79" fmla="*/ 5469 w 10000"/>
                    <a:gd name="connsiteY79" fmla="*/ 7695 h 10000"/>
                    <a:gd name="connsiteX80" fmla="*/ 4905 w 10000"/>
                    <a:gd name="connsiteY80" fmla="*/ 7622 h 10000"/>
                    <a:gd name="connsiteX81" fmla="*/ 4905 w 10000"/>
                    <a:gd name="connsiteY81" fmla="*/ 7622 h 10000"/>
                    <a:gd name="connsiteX82" fmla="*/ 3583 w 10000"/>
                    <a:gd name="connsiteY82" fmla="*/ 7695 h 10000"/>
                    <a:gd name="connsiteX83" fmla="*/ 3396 w 10000"/>
                    <a:gd name="connsiteY83" fmla="*/ 7622 h 10000"/>
                    <a:gd name="connsiteX84" fmla="*/ 3300 w 10000"/>
                    <a:gd name="connsiteY84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7358 w 10000"/>
                    <a:gd name="connsiteY71" fmla="*/ 9137 h 10000"/>
                    <a:gd name="connsiteX72" fmla="*/ 7358 w 10000"/>
                    <a:gd name="connsiteY72" fmla="*/ 9137 h 10000"/>
                    <a:gd name="connsiteX73" fmla="*/ 6980 w 10000"/>
                    <a:gd name="connsiteY73" fmla="*/ 8492 h 10000"/>
                    <a:gd name="connsiteX74" fmla="*/ 6793 w 10000"/>
                    <a:gd name="connsiteY74" fmla="*/ 8199 h 10000"/>
                    <a:gd name="connsiteX75" fmla="*/ 6509 w 10000"/>
                    <a:gd name="connsiteY75" fmla="*/ 7987 h 10000"/>
                    <a:gd name="connsiteX76" fmla="*/ 6226 w 10000"/>
                    <a:gd name="connsiteY76" fmla="*/ 7842 h 10000"/>
                    <a:gd name="connsiteX77" fmla="*/ 5850 w 10000"/>
                    <a:gd name="connsiteY77" fmla="*/ 7765 h 10000"/>
                    <a:gd name="connsiteX78" fmla="*/ 5469 w 10000"/>
                    <a:gd name="connsiteY78" fmla="*/ 7695 h 10000"/>
                    <a:gd name="connsiteX79" fmla="*/ 4905 w 10000"/>
                    <a:gd name="connsiteY79" fmla="*/ 7622 h 10000"/>
                    <a:gd name="connsiteX80" fmla="*/ 4905 w 10000"/>
                    <a:gd name="connsiteY80" fmla="*/ 7622 h 10000"/>
                    <a:gd name="connsiteX81" fmla="*/ 3583 w 10000"/>
                    <a:gd name="connsiteY81" fmla="*/ 7695 h 10000"/>
                    <a:gd name="connsiteX82" fmla="*/ 3396 w 10000"/>
                    <a:gd name="connsiteY82" fmla="*/ 7622 h 10000"/>
                    <a:gd name="connsiteX83" fmla="*/ 3300 w 10000"/>
                    <a:gd name="connsiteY83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7358 w 10000"/>
                    <a:gd name="connsiteY71" fmla="*/ 9137 h 10000"/>
                    <a:gd name="connsiteX72" fmla="*/ 7358 w 10000"/>
                    <a:gd name="connsiteY72" fmla="*/ 9137 h 10000"/>
                    <a:gd name="connsiteX73" fmla="*/ 6980 w 10000"/>
                    <a:gd name="connsiteY73" fmla="*/ 8492 h 10000"/>
                    <a:gd name="connsiteX74" fmla="*/ 6793 w 10000"/>
                    <a:gd name="connsiteY74" fmla="*/ 8199 h 10000"/>
                    <a:gd name="connsiteX75" fmla="*/ 6226 w 10000"/>
                    <a:gd name="connsiteY75" fmla="*/ 7842 h 10000"/>
                    <a:gd name="connsiteX76" fmla="*/ 5850 w 10000"/>
                    <a:gd name="connsiteY76" fmla="*/ 7765 h 10000"/>
                    <a:gd name="connsiteX77" fmla="*/ 5469 w 10000"/>
                    <a:gd name="connsiteY77" fmla="*/ 7695 h 10000"/>
                    <a:gd name="connsiteX78" fmla="*/ 4905 w 10000"/>
                    <a:gd name="connsiteY78" fmla="*/ 7622 h 10000"/>
                    <a:gd name="connsiteX79" fmla="*/ 4905 w 10000"/>
                    <a:gd name="connsiteY79" fmla="*/ 7622 h 10000"/>
                    <a:gd name="connsiteX80" fmla="*/ 3583 w 10000"/>
                    <a:gd name="connsiteY80" fmla="*/ 7695 h 10000"/>
                    <a:gd name="connsiteX81" fmla="*/ 3396 w 10000"/>
                    <a:gd name="connsiteY81" fmla="*/ 7622 h 10000"/>
                    <a:gd name="connsiteX82" fmla="*/ 3300 w 10000"/>
                    <a:gd name="connsiteY82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7358 w 10000"/>
                    <a:gd name="connsiteY71" fmla="*/ 9137 h 10000"/>
                    <a:gd name="connsiteX72" fmla="*/ 7358 w 10000"/>
                    <a:gd name="connsiteY72" fmla="*/ 9137 h 10000"/>
                    <a:gd name="connsiteX73" fmla="*/ 6980 w 10000"/>
                    <a:gd name="connsiteY73" fmla="*/ 8492 h 10000"/>
                    <a:gd name="connsiteX74" fmla="*/ 6226 w 10000"/>
                    <a:gd name="connsiteY74" fmla="*/ 7842 h 10000"/>
                    <a:gd name="connsiteX75" fmla="*/ 5850 w 10000"/>
                    <a:gd name="connsiteY75" fmla="*/ 7765 h 10000"/>
                    <a:gd name="connsiteX76" fmla="*/ 5469 w 10000"/>
                    <a:gd name="connsiteY76" fmla="*/ 7695 h 10000"/>
                    <a:gd name="connsiteX77" fmla="*/ 4905 w 10000"/>
                    <a:gd name="connsiteY77" fmla="*/ 7622 h 10000"/>
                    <a:gd name="connsiteX78" fmla="*/ 4905 w 10000"/>
                    <a:gd name="connsiteY78" fmla="*/ 7622 h 10000"/>
                    <a:gd name="connsiteX79" fmla="*/ 3583 w 10000"/>
                    <a:gd name="connsiteY79" fmla="*/ 7695 h 10000"/>
                    <a:gd name="connsiteX80" fmla="*/ 3396 w 10000"/>
                    <a:gd name="connsiteY80" fmla="*/ 7622 h 10000"/>
                    <a:gd name="connsiteX81" fmla="*/ 3300 w 10000"/>
                    <a:gd name="connsiteY81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7358 w 10000"/>
                    <a:gd name="connsiteY71" fmla="*/ 9137 h 10000"/>
                    <a:gd name="connsiteX72" fmla="*/ 7358 w 10000"/>
                    <a:gd name="connsiteY72" fmla="*/ 9137 h 10000"/>
                    <a:gd name="connsiteX73" fmla="*/ 6226 w 10000"/>
                    <a:gd name="connsiteY73" fmla="*/ 7842 h 10000"/>
                    <a:gd name="connsiteX74" fmla="*/ 5850 w 10000"/>
                    <a:gd name="connsiteY74" fmla="*/ 7765 h 10000"/>
                    <a:gd name="connsiteX75" fmla="*/ 5469 w 10000"/>
                    <a:gd name="connsiteY75" fmla="*/ 7695 h 10000"/>
                    <a:gd name="connsiteX76" fmla="*/ 4905 w 10000"/>
                    <a:gd name="connsiteY76" fmla="*/ 7622 h 10000"/>
                    <a:gd name="connsiteX77" fmla="*/ 4905 w 10000"/>
                    <a:gd name="connsiteY77" fmla="*/ 7622 h 10000"/>
                    <a:gd name="connsiteX78" fmla="*/ 3583 w 10000"/>
                    <a:gd name="connsiteY78" fmla="*/ 7695 h 10000"/>
                    <a:gd name="connsiteX79" fmla="*/ 3396 w 10000"/>
                    <a:gd name="connsiteY79" fmla="*/ 7622 h 10000"/>
                    <a:gd name="connsiteX80" fmla="*/ 3300 w 10000"/>
                    <a:gd name="connsiteY80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7358 w 10000"/>
                    <a:gd name="connsiteY71" fmla="*/ 9137 h 10000"/>
                    <a:gd name="connsiteX72" fmla="*/ 6226 w 10000"/>
                    <a:gd name="connsiteY72" fmla="*/ 7842 h 10000"/>
                    <a:gd name="connsiteX73" fmla="*/ 5850 w 10000"/>
                    <a:gd name="connsiteY73" fmla="*/ 7765 h 10000"/>
                    <a:gd name="connsiteX74" fmla="*/ 5469 w 10000"/>
                    <a:gd name="connsiteY74" fmla="*/ 7695 h 10000"/>
                    <a:gd name="connsiteX75" fmla="*/ 4905 w 10000"/>
                    <a:gd name="connsiteY75" fmla="*/ 7622 h 10000"/>
                    <a:gd name="connsiteX76" fmla="*/ 4905 w 10000"/>
                    <a:gd name="connsiteY76" fmla="*/ 7622 h 10000"/>
                    <a:gd name="connsiteX77" fmla="*/ 3583 w 10000"/>
                    <a:gd name="connsiteY77" fmla="*/ 7695 h 10000"/>
                    <a:gd name="connsiteX78" fmla="*/ 3396 w 10000"/>
                    <a:gd name="connsiteY78" fmla="*/ 7622 h 10000"/>
                    <a:gd name="connsiteX79" fmla="*/ 3300 w 10000"/>
                    <a:gd name="connsiteY79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7638 w 10000"/>
                    <a:gd name="connsiteY70" fmla="*/ 9494 h 10000"/>
                    <a:gd name="connsiteX71" fmla="*/ 6226 w 10000"/>
                    <a:gd name="connsiteY71" fmla="*/ 7842 h 10000"/>
                    <a:gd name="connsiteX72" fmla="*/ 5850 w 10000"/>
                    <a:gd name="connsiteY72" fmla="*/ 7765 h 10000"/>
                    <a:gd name="connsiteX73" fmla="*/ 5469 w 10000"/>
                    <a:gd name="connsiteY73" fmla="*/ 7695 h 10000"/>
                    <a:gd name="connsiteX74" fmla="*/ 4905 w 10000"/>
                    <a:gd name="connsiteY74" fmla="*/ 7622 h 10000"/>
                    <a:gd name="connsiteX75" fmla="*/ 4905 w 10000"/>
                    <a:gd name="connsiteY75" fmla="*/ 7622 h 10000"/>
                    <a:gd name="connsiteX76" fmla="*/ 3583 w 10000"/>
                    <a:gd name="connsiteY76" fmla="*/ 7695 h 10000"/>
                    <a:gd name="connsiteX77" fmla="*/ 3396 w 10000"/>
                    <a:gd name="connsiteY77" fmla="*/ 7622 h 10000"/>
                    <a:gd name="connsiteX78" fmla="*/ 3300 w 10000"/>
                    <a:gd name="connsiteY78" fmla="*/ 7550 h 10000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69" fmla="*/ 7829 w 10000"/>
                    <a:gd name="connsiteY69" fmla="*/ 9707 h 10000"/>
                    <a:gd name="connsiteX70" fmla="*/ 6226 w 10000"/>
                    <a:gd name="connsiteY70" fmla="*/ 7842 h 10000"/>
                    <a:gd name="connsiteX71" fmla="*/ 5850 w 10000"/>
                    <a:gd name="connsiteY71" fmla="*/ 7765 h 10000"/>
                    <a:gd name="connsiteX72" fmla="*/ 5469 w 10000"/>
                    <a:gd name="connsiteY72" fmla="*/ 7695 h 10000"/>
                    <a:gd name="connsiteX73" fmla="*/ 4905 w 10000"/>
                    <a:gd name="connsiteY73" fmla="*/ 7622 h 10000"/>
                    <a:gd name="connsiteX74" fmla="*/ 4905 w 10000"/>
                    <a:gd name="connsiteY74" fmla="*/ 7622 h 10000"/>
                    <a:gd name="connsiteX75" fmla="*/ 3583 w 10000"/>
                    <a:gd name="connsiteY75" fmla="*/ 7695 h 10000"/>
                    <a:gd name="connsiteX76" fmla="*/ 3396 w 10000"/>
                    <a:gd name="connsiteY76" fmla="*/ 7622 h 10000"/>
                    <a:gd name="connsiteX77" fmla="*/ 3300 w 10000"/>
                    <a:gd name="connsiteY77" fmla="*/ 7550 h 10000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6226 w 10000"/>
                    <a:gd name="connsiteY70" fmla="*/ 7842 h 10753"/>
                    <a:gd name="connsiteX71" fmla="*/ 5850 w 10000"/>
                    <a:gd name="connsiteY71" fmla="*/ 7765 h 10753"/>
                    <a:gd name="connsiteX72" fmla="*/ 5469 w 10000"/>
                    <a:gd name="connsiteY72" fmla="*/ 7695 h 10753"/>
                    <a:gd name="connsiteX73" fmla="*/ 4905 w 10000"/>
                    <a:gd name="connsiteY73" fmla="*/ 7622 h 10753"/>
                    <a:gd name="connsiteX74" fmla="*/ 4905 w 10000"/>
                    <a:gd name="connsiteY74" fmla="*/ 7622 h 10753"/>
                    <a:gd name="connsiteX75" fmla="*/ 3583 w 10000"/>
                    <a:gd name="connsiteY75" fmla="*/ 7695 h 10753"/>
                    <a:gd name="connsiteX76" fmla="*/ 3396 w 10000"/>
                    <a:gd name="connsiteY76" fmla="*/ 7622 h 10753"/>
                    <a:gd name="connsiteX77" fmla="*/ 3300 w 10000"/>
                    <a:gd name="connsiteY77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5850 w 10000"/>
                    <a:gd name="connsiteY70" fmla="*/ 7765 h 10753"/>
                    <a:gd name="connsiteX71" fmla="*/ 5469 w 10000"/>
                    <a:gd name="connsiteY71" fmla="*/ 7695 h 10753"/>
                    <a:gd name="connsiteX72" fmla="*/ 4905 w 10000"/>
                    <a:gd name="connsiteY72" fmla="*/ 7622 h 10753"/>
                    <a:gd name="connsiteX73" fmla="*/ 4905 w 10000"/>
                    <a:gd name="connsiteY73" fmla="*/ 7622 h 10753"/>
                    <a:gd name="connsiteX74" fmla="*/ 3583 w 10000"/>
                    <a:gd name="connsiteY74" fmla="*/ 7695 h 10753"/>
                    <a:gd name="connsiteX75" fmla="*/ 3396 w 10000"/>
                    <a:gd name="connsiteY75" fmla="*/ 7622 h 10753"/>
                    <a:gd name="connsiteX76" fmla="*/ 3300 w 10000"/>
                    <a:gd name="connsiteY76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5469 w 10000"/>
                    <a:gd name="connsiteY70" fmla="*/ 7695 h 10753"/>
                    <a:gd name="connsiteX71" fmla="*/ 4905 w 10000"/>
                    <a:gd name="connsiteY71" fmla="*/ 7622 h 10753"/>
                    <a:gd name="connsiteX72" fmla="*/ 4905 w 10000"/>
                    <a:gd name="connsiteY72" fmla="*/ 7622 h 10753"/>
                    <a:gd name="connsiteX73" fmla="*/ 3583 w 10000"/>
                    <a:gd name="connsiteY73" fmla="*/ 7695 h 10753"/>
                    <a:gd name="connsiteX74" fmla="*/ 3396 w 10000"/>
                    <a:gd name="connsiteY74" fmla="*/ 7622 h 10753"/>
                    <a:gd name="connsiteX75" fmla="*/ 3300 w 10000"/>
                    <a:gd name="connsiteY75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4905 w 10000"/>
                    <a:gd name="connsiteY70" fmla="*/ 7622 h 10753"/>
                    <a:gd name="connsiteX71" fmla="*/ 4905 w 10000"/>
                    <a:gd name="connsiteY71" fmla="*/ 7622 h 10753"/>
                    <a:gd name="connsiteX72" fmla="*/ 3583 w 10000"/>
                    <a:gd name="connsiteY72" fmla="*/ 7695 h 10753"/>
                    <a:gd name="connsiteX73" fmla="*/ 3396 w 10000"/>
                    <a:gd name="connsiteY73" fmla="*/ 7622 h 10753"/>
                    <a:gd name="connsiteX74" fmla="*/ 3300 w 10000"/>
                    <a:gd name="connsiteY74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4905 w 10000"/>
                    <a:gd name="connsiteY70" fmla="*/ 7622 h 10753"/>
                    <a:gd name="connsiteX71" fmla="*/ 3583 w 10000"/>
                    <a:gd name="connsiteY71" fmla="*/ 7695 h 10753"/>
                    <a:gd name="connsiteX72" fmla="*/ 3396 w 10000"/>
                    <a:gd name="connsiteY72" fmla="*/ 7622 h 10753"/>
                    <a:gd name="connsiteX73" fmla="*/ 3300 w 10000"/>
                    <a:gd name="connsiteY73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3583 w 10000"/>
                    <a:gd name="connsiteY70" fmla="*/ 7695 h 10753"/>
                    <a:gd name="connsiteX71" fmla="*/ 3396 w 10000"/>
                    <a:gd name="connsiteY71" fmla="*/ 7622 h 10753"/>
                    <a:gd name="connsiteX72" fmla="*/ 3300 w 10000"/>
                    <a:gd name="connsiteY72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3396 w 10000"/>
                    <a:gd name="connsiteY70" fmla="*/ 7622 h 10753"/>
                    <a:gd name="connsiteX71" fmla="*/ 3300 w 10000"/>
                    <a:gd name="connsiteY71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70" fmla="*/ 3300 w 10000"/>
                    <a:gd name="connsiteY70" fmla="*/ 7550 h 10753"/>
                    <a:gd name="connsiteX0" fmla="*/ 10000 w 10000"/>
                    <a:gd name="connsiteY0" fmla="*/ 9857 h 10753"/>
                    <a:gd name="connsiteX1" fmla="*/ 10000 w 10000"/>
                    <a:gd name="connsiteY1" fmla="*/ 9857 h 10753"/>
                    <a:gd name="connsiteX2" fmla="*/ 8679 w 10000"/>
                    <a:gd name="connsiteY2" fmla="*/ 9927 h 10753"/>
                    <a:gd name="connsiteX3" fmla="*/ 8205 w 10000"/>
                    <a:gd name="connsiteY3" fmla="*/ 9927 h 10753"/>
                    <a:gd name="connsiteX4" fmla="*/ 8020 w 10000"/>
                    <a:gd name="connsiteY4" fmla="*/ 9857 h 10753"/>
                    <a:gd name="connsiteX5" fmla="*/ 7924 w 10000"/>
                    <a:gd name="connsiteY5" fmla="*/ 9782 h 10753"/>
                    <a:gd name="connsiteX6" fmla="*/ 7924 w 10000"/>
                    <a:gd name="connsiteY6" fmla="*/ 9782 h 10753"/>
                    <a:gd name="connsiteX7" fmla="*/ 7358 w 10000"/>
                    <a:gd name="connsiteY7" fmla="*/ 8915 h 10753"/>
                    <a:gd name="connsiteX8" fmla="*/ 6884 w 10000"/>
                    <a:gd name="connsiteY8" fmla="*/ 8129 h 10753"/>
                    <a:gd name="connsiteX9" fmla="*/ 6884 w 10000"/>
                    <a:gd name="connsiteY9" fmla="*/ 8129 h 10753"/>
                    <a:gd name="connsiteX10" fmla="*/ 6700 w 10000"/>
                    <a:gd name="connsiteY10" fmla="*/ 7987 h 10753"/>
                    <a:gd name="connsiteX11" fmla="*/ 6414 w 10000"/>
                    <a:gd name="connsiteY11" fmla="*/ 7842 h 10753"/>
                    <a:gd name="connsiteX12" fmla="*/ 5660 w 10000"/>
                    <a:gd name="connsiteY12" fmla="*/ 7765 h 10753"/>
                    <a:gd name="connsiteX13" fmla="*/ 3489 w 10000"/>
                    <a:gd name="connsiteY13" fmla="*/ 7622 h 10753"/>
                    <a:gd name="connsiteX14" fmla="*/ 3300 w 10000"/>
                    <a:gd name="connsiteY14" fmla="*/ 7484 h 10753"/>
                    <a:gd name="connsiteX15" fmla="*/ 3204 w 10000"/>
                    <a:gd name="connsiteY15" fmla="*/ 7339 h 10753"/>
                    <a:gd name="connsiteX16" fmla="*/ 3204 w 10000"/>
                    <a:gd name="connsiteY16" fmla="*/ 7050 h 10753"/>
                    <a:gd name="connsiteX17" fmla="*/ 3300 w 10000"/>
                    <a:gd name="connsiteY17" fmla="*/ 6471 h 10753"/>
                    <a:gd name="connsiteX18" fmla="*/ 3396 w 10000"/>
                    <a:gd name="connsiteY18" fmla="*/ 6185 h 10753"/>
                    <a:gd name="connsiteX19" fmla="*/ 3300 w 10000"/>
                    <a:gd name="connsiteY19" fmla="*/ 5829 h 10753"/>
                    <a:gd name="connsiteX20" fmla="*/ 3300 w 10000"/>
                    <a:gd name="connsiteY20" fmla="*/ 5829 h 10753"/>
                    <a:gd name="connsiteX21" fmla="*/ 2923 w 10000"/>
                    <a:gd name="connsiteY21" fmla="*/ 5464 h 10753"/>
                    <a:gd name="connsiteX22" fmla="*/ 2641 w 10000"/>
                    <a:gd name="connsiteY22" fmla="*/ 5539 h 10753"/>
                    <a:gd name="connsiteX23" fmla="*/ 1319 w 10000"/>
                    <a:gd name="connsiteY23" fmla="*/ 6117 h 10753"/>
                    <a:gd name="connsiteX24" fmla="*/ 850 w 10000"/>
                    <a:gd name="connsiteY24" fmla="*/ 6185 h 10753"/>
                    <a:gd name="connsiteX25" fmla="*/ 660 w 10000"/>
                    <a:gd name="connsiteY25" fmla="*/ 6185 h 10753"/>
                    <a:gd name="connsiteX26" fmla="*/ 566 w 10000"/>
                    <a:gd name="connsiteY26" fmla="*/ 6117 h 10753"/>
                    <a:gd name="connsiteX27" fmla="*/ 470 w 10000"/>
                    <a:gd name="connsiteY27" fmla="*/ 5829 h 10753"/>
                    <a:gd name="connsiteX28" fmla="*/ 188 w 10000"/>
                    <a:gd name="connsiteY28" fmla="*/ 5464 h 10753"/>
                    <a:gd name="connsiteX29" fmla="*/ 188 w 10000"/>
                    <a:gd name="connsiteY29" fmla="*/ 5464 h 10753"/>
                    <a:gd name="connsiteX30" fmla="*/ 0 w 10000"/>
                    <a:gd name="connsiteY30" fmla="*/ 5035 h 10753"/>
                    <a:gd name="connsiteX31" fmla="*/ 0 w 10000"/>
                    <a:gd name="connsiteY31" fmla="*/ 4889 h 10753"/>
                    <a:gd name="connsiteX32" fmla="*/ 94 w 10000"/>
                    <a:gd name="connsiteY32" fmla="*/ 4750 h 10753"/>
                    <a:gd name="connsiteX33" fmla="*/ 282 w 10000"/>
                    <a:gd name="connsiteY33" fmla="*/ 4459 h 10753"/>
                    <a:gd name="connsiteX34" fmla="*/ 470 w 10000"/>
                    <a:gd name="connsiteY34" fmla="*/ 4388 h 10753"/>
                    <a:gd name="connsiteX35" fmla="*/ 470 w 10000"/>
                    <a:gd name="connsiteY35" fmla="*/ 4388 h 10753"/>
                    <a:gd name="connsiteX36" fmla="*/ 470 w 10000"/>
                    <a:gd name="connsiteY36" fmla="*/ 4320 h 10753"/>
                    <a:gd name="connsiteX37" fmla="*/ 566 w 10000"/>
                    <a:gd name="connsiteY37" fmla="*/ 4245 h 10753"/>
                    <a:gd name="connsiteX38" fmla="*/ 943 w 10000"/>
                    <a:gd name="connsiteY38" fmla="*/ 4170 h 10753"/>
                    <a:gd name="connsiteX39" fmla="*/ 2073 w 10000"/>
                    <a:gd name="connsiteY39" fmla="*/ 4031 h 10753"/>
                    <a:gd name="connsiteX40" fmla="*/ 4055 w 10000"/>
                    <a:gd name="connsiteY40" fmla="*/ 3815 h 10753"/>
                    <a:gd name="connsiteX41" fmla="*/ 4055 w 10000"/>
                    <a:gd name="connsiteY41" fmla="*/ 3815 h 10753"/>
                    <a:gd name="connsiteX42" fmla="*/ 5188 w 10000"/>
                    <a:gd name="connsiteY42" fmla="*/ 3598 h 10753"/>
                    <a:gd name="connsiteX43" fmla="*/ 7262 w 10000"/>
                    <a:gd name="connsiteY43" fmla="*/ 3165 h 10753"/>
                    <a:gd name="connsiteX44" fmla="*/ 7262 w 10000"/>
                    <a:gd name="connsiteY44" fmla="*/ 3165 h 10753"/>
                    <a:gd name="connsiteX45" fmla="*/ 7737 w 10000"/>
                    <a:gd name="connsiteY45" fmla="*/ 3013 h 10753"/>
                    <a:gd name="connsiteX46" fmla="*/ 7924 w 10000"/>
                    <a:gd name="connsiteY46" fmla="*/ 2803 h 10753"/>
                    <a:gd name="connsiteX47" fmla="*/ 8116 w 10000"/>
                    <a:gd name="connsiteY47" fmla="*/ 2660 h 10753"/>
                    <a:gd name="connsiteX48" fmla="*/ 8020 w 10000"/>
                    <a:gd name="connsiteY48" fmla="*/ 2516 h 10753"/>
                    <a:gd name="connsiteX49" fmla="*/ 8020 w 10000"/>
                    <a:gd name="connsiteY49" fmla="*/ 2372 h 10753"/>
                    <a:gd name="connsiteX50" fmla="*/ 7829 w 10000"/>
                    <a:gd name="connsiteY50" fmla="*/ 2228 h 10753"/>
                    <a:gd name="connsiteX51" fmla="*/ 7546 w 10000"/>
                    <a:gd name="connsiteY51" fmla="*/ 2014 h 10753"/>
                    <a:gd name="connsiteX52" fmla="*/ 7546 w 10000"/>
                    <a:gd name="connsiteY52" fmla="*/ 2014 h 10753"/>
                    <a:gd name="connsiteX53" fmla="*/ 4153 w 10000"/>
                    <a:gd name="connsiteY53" fmla="*/ 722 h 10753"/>
                    <a:gd name="connsiteX54" fmla="*/ 4153 w 10000"/>
                    <a:gd name="connsiteY54" fmla="*/ 722 h 10753"/>
                    <a:gd name="connsiteX55" fmla="*/ 3773 w 10000"/>
                    <a:gd name="connsiteY55" fmla="*/ 510 h 10753"/>
                    <a:gd name="connsiteX56" fmla="*/ 3489 w 10000"/>
                    <a:gd name="connsiteY56" fmla="*/ 291 h 10753"/>
                    <a:gd name="connsiteX57" fmla="*/ 3300 w 10000"/>
                    <a:gd name="connsiteY57" fmla="*/ 73 h 10753"/>
                    <a:gd name="connsiteX58" fmla="*/ 3300 w 10000"/>
                    <a:gd name="connsiteY58" fmla="*/ 73 h 10753"/>
                    <a:gd name="connsiteX59" fmla="*/ 6700 w 10000"/>
                    <a:gd name="connsiteY59" fmla="*/ 0 h 10753"/>
                    <a:gd name="connsiteX60" fmla="*/ 10000 w 10000"/>
                    <a:gd name="connsiteY60" fmla="*/ 722 h 10753"/>
                    <a:gd name="connsiteX61" fmla="*/ 10000 w 10000"/>
                    <a:gd name="connsiteY61" fmla="*/ 9927 h 10753"/>
                    <a:gd name="connsiteX62" fmla="*/ 10000 w 10000"/>
                    <a:gd name="connsiteY62" fmla="*/ 9927 h 10753"/>
                    <a:gd name="connsiteX63" fmla="*/ 9527 w 10000"/>
                    <a:gd name="connsiteY63" fmla="*/ 9857 h 10753"/>
                    <a:gd name="connsiteX64" fmla="*/ 8964 w 10000"/>
                    <a:gd name="connsiteY64" fmla="*/ 9927 h 10753"/>
                    <a:gd name="connsiteX65" fmla="*/ 8964 w 10000"/>
                    <a:gd name="connsiteY65" fmla="*/ 9927 h 10753"/>
                    <a:gd name="connsiteX66" fmla="*/ 8774 w 10000"/>
                    <a:gd name="connsiteY66" fmla="*/ 10000 h 10753"/>
                    <a:gd name="connsiteX67" fmla="*/ 8398 w 10000"/>
                    <a:gd name="connsiteY67" fmla="*/ 9927 h 10753"/>
                    <a:gd name="connsiteX68" fmla="*/ 8116 w 10000"/>
                    <a:gd name="connsiteY68" fmla="*/ 9857 h 10753"/>
                    <a:gd name="connsiteX69" fmla="*/ 5942 w 10000"/>
                    <a:gd name="connsiteY69" fmla="*/ 10752 h 10753"/>
                    <a:gd name="connsiteX0" fmla="*/ 10000 w 10000"/>
                    <a:gd name="connsiteY0" fmla="*/ 9857 h 10000"/>
                    <a:gd name="connsiteX1" fmla="*/ 10000 w 10000"/>
                    <a:gd name="connsiteY1" fmla="*/ 9857 h 10000"/>
                    <a:gd name="connsiteX2" fmla="*/ 8679 w 10000"/>
                    <a:gd name="connsiteY2" fmla="*/ 9927 h 10000"/>
                    <a:gd name="connsiteX3" fmla="*/ 8205 w 10000"/>
                    <a:gd name="connsiteY3" fmla="*/ 9927 h 10000"/>
                    <a:gd name="connsiteX4" fmla="*/ 8020 w 10000"/>
                    <a:gd name="connsiteY4" fmla="*/ 9857 h 10000"/>
                    <a:gd name="connsiteX5" fmla="*/ 7924 w 10000"/>
                    <a:gd name="connsiteY5" fmla="*/ 9782 h 10000"/>
                    <a:gd name="connsiteX6" fmla="*/ 7924 w 10000"/>
                    <a:gd name="connsiteY6" fmla="*/ 9782 h 10000"/>
                    <a:gd name="connsiteX7" fmla="*/ 7358 w 10000"/>
                    <a:gd name="connsiteY7" fmla="*/ 8915 h 10000"/>
                    <a:gd name="connsiteX8" fmla="*/ 6884 w 10000"/>
                    <a:gd name="connsiteY8" fmla="*/ 8129 h 10000"/>
                    <a:gd name="connsiteX9" fmla="*/ 6884 w 10000"/>
                    <a:gd name="connsiteY9" fmla="*/ 8129 h 10000"/>
                    <a:gd name="connsiteX10" fmla="*/ 6700 w 10000"/>
                    <a:gd name="connsiteY10" fmla="*/ 7987 h 10000"/>
                    <a:gd name="connsiteX11" fmla="*/ 6414 w 10000"/>
                    <a:gd name="connsiteY11" fmla="*/ 7842 h 10000"/>
                    <a:gd name="connsiteX12" fmla="*/ 5660 w 10000"/>
                    <a:gd name="connsiteY12" fmla="*/ 7765 h 10000"/>
                    <a:gd name="connsiteX13" fmla="*/ 3489 w 10000"/>
                    <a:gd name="connsiteY13" fmla="*/ 7622 h 10000"/>
                    <a:gd name="connsiteX14" fmla="*/ 3300 w 10000"/>
                    <a:gd name="connsiteY14" fmla="*/ 7484 h 10000"/>
                    <a:gd name="connsiteX15" fmla="*/ 3204 w 10000"/>
                    <a:gd name="connsiteY15" fmla="*/ 7339 h 10000"/>
                    <a:gd name="connsiteX16" fmla="*/ 3204 w 10000"/>
                    <a:gd name="connsiteY16" fmla="*/ 7050 h 10000"/>
                    <a:gd name="connsiteX17" fmla="*/ 3300 w 10000"/>
                    <a:gd name="connsiteY17" fmla="*/ 6471 h 10000"/>
                    <a:gd name="connsiteX18" fmla="*/ 3396 w 10000"/>
                    <a:gd name="connsiteY18" fmla="*/ 6185 h 10000"/>
                    <a:gd name="connsiteX19" fmla="*/ 3300 w 10000"/>
                    <a:gd name="connsiteY19" fmla="*/ 5829 h 10000"/>
                    <a:gd name="connsiteX20" fmla="*/ 3300 w 10000"/>
                    <a:gd name="connsiteY20" fmla="*/ 5829 h 10000"/>
                    <a:gd name="connsiteX21" fmla="*/ 2923 w 10000"/>
                    <a:gd name="connsiteY21" fmla="*/ 5464 h 10000"/>
                    <a:gd name="connsiteX22" fmla="*/ 2641 w 10000"/>
                    <a:gd name="connsiteY22" fmla="*/ 5539 h 10000"/>
                    <a:gd name="connsiteX23" fmla="*/ 1319 w 10000"/>
                    <a:gd name="connsiteY23" fmla="*/ 6117 h 10000"/>
                    <a:gd name="connsiteX24" fmla="*/ 850 w 10000"/>
                    <a:gd name="connsiteY24" fmla="*/ 6185 h 10000"/>
                    <a:gd name="connsiteX25" fmla="*/ 660 w 10000"/>
                    <a:gd name="connsiteY25" fmla="*/ 6185 h 10000"/>
                    <a:gd name="connsiteX26" fmla="*/ 566 w 10000"/>
                    <a:gd name="connsiteY26" fmla="*/ 6117 h 10000"/>
                    <a:gd name="connsiteX27" fmla="*/ 470 w 10000"/>
                    <a:gd name="connsiteY27" fmla="*/ 5829 h 10000"/>
                    <a:gd name="connsiteX28" fmla="*/ 188 w 10000"/>
                    <a:gd name="connsiteY28" fmla="*/ 5464 h 10000"/>
                    <a:gd name="connsiteX29" fmla="*/ 188 w 10000"/>
                    <a:gd name="connsiteY29" fmla="*/ 5464 h 10000"/>
                    <a:gd name="connsiteX30" fmla="*/ 0 w 10000"/>
                    <a:gd name="connsiteY30" fmla="*/ 5035 h 10000"/>
                    <a:gd name="connsiteX31" fmla="*/ 0 w 10000"/>
                    <a:gd name="connsiteY31" fmla="*/ 4889 h 10000"/>
                    <a:gd name="connsiteX32" fmla="*/ 94 w 10000"/>
                    <a:gd name="connsiteY32" fmla="*/ 4750 h 10000"/>
                    <a:gd name="connsiteX33" fmla="*/ 282 w 10000"/>
                    <a:gd name="connsiteY33" fmla="*/ 4459 h 10000"/>
                    <a:gd name="connsiteX34" fmla="*/ 470 w 10000"/>
                    <a:gd name="connsiteY34" fmla="*/ 4388 h 10000"/>
                    <a:gd name="connsiteX35" fmla="*/ 470 w 10000"/>
                    <a:gd name="connsiteY35" fmla="*/ 4388 h 10000"/>
                    <a:gd name="connsiteX36" fmla="*/ 470 w 10000"/>
                    <a:gd name="connsiteY36" fmla="*/ 4320 h 10000"/>
                    <a:gd name="connsiteX37" fmla="*/ 566 w 10000"/>
                    <a:gd name="connsiteY37" fmla="*/ 4245 h 10000"/>
                    <a:gd name="connsiteX38" fmla="*/ 943 w 10000"/>
                    <a:gd name="connsiteY38" fmla="*/ 4170 h 10000"/>
                    <a:gd name="connsiteX39" fmla="*/ 2073 w 10000"/>
                    <a:gd name="connsiteY39" fmla="*/ 4031 h 10000"/>
                    <a:gd name="connsiteX40" fmla="*/ 4055 w 10000"/>
                    <a:gd name="connsiteY40" fmla="*/ 3815 h 10000"/>
                    <a:gd name="connsiteX41" fmla="*/ 4055 w 10000"/>
                    <a:gd name="connsiteY41" fmla="*/ 3815 h 10000"/>
                    <a:gd name="connsiteX42" fmla="*/ 5188 w 10000"/>
                    <a:gd name="connsiteY42" fmla="*/ 3598 h 10000"/>
                    <a:gd name="connsiteX43" fmla="*/ 7262 w 10000"/>
                    <a:gd name="connsiteY43" fmla="*/ 3165 h 10000"/>
                    <a:gd name="connsiteX44" fmla="*/ 7262 w 10000"/>
                    <a:gd name="connsiteY44" fmla="*/ 3165 h 10000"/>
                    <a:gd name="connsiteX45" fmla="*/ 7737 w 10000"/>
                    <a:gd name="connsiteY45" fmla="*/ 3013 h 10000"/>
                    <a:gd name="connsiteX46" fmla="*/ 7924 w 10000"/>
                    <a:gd name="connsiteY46" fmla="*/ 2803 h 10000"/>
                    <a:gd name="connsiteX47" fmla="*/ 8116 w 10000"/>
                    <a:gd name="connsiteY47" fmla="*/ 2660 h 10000"/>
                    <a:gd name="connsiteX48" fmla="*/ 8020 w 10000"/>
                    <a:gd name="connsiteY48" fmla="*/ 2516 h 10000"/>
                    <a:gd name="connsiteX49" fmla="*/ 8020 w 10000"/>
                    <a:gd name="connsiteY49" fmla="*/ 2372 h 10000"/>
                    <a:gd name="connsiteX50" fmla="*/ 7829 w 10000"/>
                    <a:gd name="connsiteY50" fmla="*/ 2228 h 10000"/>
                    <a:gd name="connsiteX51" fmla="*/ 7546 w 10000"/>
                    <a:gd name="connsiteY51" fmla="*/ 2014 h 10000"/>
                    <a:gd name="connsiteX52" fmla="*/ 7546 w 10000"/>
                    <a:gd name="connsiteY52" fmla="*/ 2014 h 10000"/>
                    <a:gd name="connsiteX53" fmla="*/ 4153 w 10000"/>
                    <a:gd name="connsiteY53" fmla="*/ 722 h 10000"/>
                    <a:gd name="connsiteX54" fmla="*/ 4153 w 10000"/>
                    <a:gd name="connsiteY54" fmla="*/ 722 h 10000"/>
                    <a:gd name="connsiteX55" fmla="*/ 3773 w 10000"/>
                    <a:gd name="connsiteY55" fmla="*/ 510 h 10000"/>
                    <a:gd name="connsiteX56" fmla="*/ 3489 w 10000"/>
                    <a:gd name="connsiteY56" fmla="*/ 291 h 10000"/>
                    <a:gd name="connsiteX57" fmla="*/ 3300 w 10000"/>
                    <a:gd name="connsiteY57" fmla="*/ 73 h 10000"/>
                    <a:gd name="connsiteX58" fmla="*/ 3300 w 10000"/>
                    <a:gd name="connsiteY58" fmla="*/ 73 h 10000"/>
                    <a:gd name="connsiteX59" fmla="*/ 6700 w 10000"/>
                    <a:gd name="connsiteY59" fmla="*/ 0 h 10000"/>
                    <a:gd name="connsiteX60" fmla="*/ 10000 w 10000"/>
                    <a:gd name="connsiteY60" fmla="*/ 722 h 10000"/>
                    <a:gd name="connsiteX61" fmla="*/ 10000 w 10000"/>
                    <a:gd name="connsiteY61" fmla="*/ 9927 h 10000"/>
                    <a:gd name="connsiteX62" fmla="*/ 10000 w 10000"/>
                    <a:gd name="connsiteY62" fmla="*/ 9927 h 10000"/>
                    <a:gd name="connsiteX63" fmla="*/ 9527 w 10000"/>
                    <a:gd name="connsiteY63" fmla="*/ 9857 h 10000"/>
                    <a:gd name="connsiteX64" fmla="*/ 8964 w 10000"/>
                    <a:gd name="connsiteY64" fmla="*/ 9927 h 10000"/>
                    <a:gd name="connsiteX65" fmla="*/ 8964 w 10000"/>
                    <a:gd name="connsiteY65" fmla="*/ 9927 h 10000"/>
                    <a:gd name="connsiteX66" fmla="*/ 8774 w 10000"/>
                    <a:gd name="connsiteY66" fmla="*/ 10000 h 10000"/>
                    <a:gd name="connsiteX67" fmla="*/ 8398 w 10000"/>
                    <a:gd name="connsiteY67" fmla="*/ 9927 h 10000"/>
                    <a:gd name="connsiteX68" fmla="*/ 8116 w 10000"/>
                    <a:gd name="connsiteY68" fmla="*/ 9857 h 10000"/>
                    <a:gd name="connsiteX0" fmla="*/ 10000 w 10000"/>
                    <a:gd name="connsiteY0" fmla="*/ 9857 h 9927"/>
                    <a:gd name="connsiteX1" fmla="*/ 10000 w 10000"/>
                    <a:gd name="connsiteY1" fmla="*/ 9857 h 9927"/>
                    <a:gd name="connsiteX2" fmla="*/ 8679 w 10000"/>
                    <a:gd name="connsiteY2" fmla="*/ 9927 h 9927"/>
                    <a:gd name="connsiteX3" fmla="*/ 8205 w 10000"/>
                    <a:gd name="connsiteY3" fmla="*/ 9927 h 9927"/>
                    <a:gd name="connsiteX4" fmla="*/ 8020 w 10000"/>
                    <a:gd name="connsiteY4" fmla="*/ 9857 h 9927"/>
                    <a:gd name="connsiteX5" fmla="*/ 7924 w 10000"/>
                    <a:gd name="connsiteY5" fmla="*/ 9782 h 9927"/>
                    <a:gd name="connsiteX6" fmla="*/ 7924 w 10000"/>
                    <a:gd name="connsiteY6" fmla="*/ 9782 h 9927"/>
                    <a:gd name="connsiteX7" fmla="*/ 7358 w 10000"/>
                    <a:gd name="connsiteY7" fmla="*/ 8915 h 9927"/>
                    <a:gd name="connsiteX8" fmla="*/ 6884 w 10000"/>
                    <a:gd name="connsiteY8" fmla="*/ 8129 h 9927"/>
                    <a:gd name="connsiteX9" fmla="*/ 6884 w 10000"/>
                    <a:gd name="connsiteY9" fmla="*/ 8129 h 9927"/>
                    <a:gd name="connsiteX10" fmla="*/ 6700 w 10000"/>
                    <a:gd name="connsiteY10" fmla="*/ 7987 h 9927"/>
                    <a:gd name="connsiteX11" fmla="*/ 6414 w 10000"/>
                    <a:gd name="connsiteY11" fmla="*/ 7842 h 9927"/>
                    <a:gd name="connsiteX12" fmla="*/ 5660 w 10000"/>
                    <a:gd name="connsiteY12" fmla="*/ 7765 h 9927"/>
                    <a:gd name="connsiteX13" fmla="*/ 3489 w 10000"/>
                    <a:gd name="connsiteY13" fmla="*/ 7622 h 9927"/>
                    <a:gd name="connsiteX14" fmla="*/ 3300 w 10000"/>
                    <a:gd name="connsiteY14" fmla="*/ 7484 h 9927"/>
                    <a:gd name="connsiteX15" fmla="*/ 3204 w 10000"/>
                    <a:gd name="connsiteY15" fmla="*/ 7339 h 9927"/>
                    <a:gd name="connsiteX16" fmla="*/ 3204 w 10000"/>
                    <a:gd name="connsiteY16" fmla="*/ 7050 h 9927"/>
                    <a:gd name="connsiteX17" fmla="*/ 3300 w 10000"/>
                    <a:gd name="connsiteY17" fmla="*/ 6471 h 9927"/>
                    <a:gd name="connsiteX18" fmla="*/ 3396 w 10000"/>
                    <a:gd name="connsiteY18" fmla="*/ 6185 h 9927"/>
                    <a:gd name="connsiteX19" fmla="*/ 3300 w 10000"/>
                    <a:gd name="connsiteY19" fmla="*/ 5829 h 9927"/>
                    <a:gd name="connsiteX20" fmla="*/ 3300 w 10000"/>
                    <a:gd name="connsiteY20" fmla="*/ 5829 h 9927"/>
                    <a:gd name="connsiteX21" fmla="*/ 2923 w 10000"/>
                    <a:gd name="connsiteY21" fmla="*/ 5464 h 9927"/>
                    <a:gd name="connsiteX22" fmla="*/ 2641 w 10000"/>
                    <a:gd name="connsiteY22" fmla="*/ 5539 h 9927"/>
                    <a:gd name="connsiteX23" fmla="*/ 1319 w 10000"/>
                    <a:gd name="connsiteY23" fmla="*/ 6117 h 9927"/>
                    <a:gd name="connsiteX24" fmla="*/ 850 w 10000"/>
                    <a:gd name="connsiteY24" fmla="*/ 6185 h 9927"/>
                    <a:gd name="connsiteX25" fmla="*/ 660 w 10000"/>
                    <a:gd name="connsiteY25" fmla="*/ 6185 h 9927"/>
                    <a:gd name="connsiteX26" fmla="*/ 566 w 10000"/>
                    <a:gd name="connsiteY26" fmla="*/ 6117 h 9927"/>
                    <a:gd name="connsiteX27" fmla="*/ 470 w 10000"/>
                    <a:gd name="connsiteY27" fmla="*/ 5829 h 9927"/>
                    <a:gd name="connsiteX28" fmla="*/ 188 w 10000"/>
                    <a:gd name="connsiteY28" fmla="*/ 5464 h 9927"/>
                    <a:gd name="connsiteX29" fmla="*/ 188 w 10000"/>
                    <a:gd name="connsiteY29" fmla="*/ 5464 h 9927"/>
                    <a:gd name="connsiteX30" fmla="*/ 0 w 10000"/>
                    <a:gd name="connsiteY30" fmla="*/ 5035 h 9927"/>
                    <a:gd name="connsiteX31" fmla="*/ 0 w 10000"/>
                    <a:gd name="connsiteY31" fmla="*/ 4889 h 9927"/>
                    <a:gd name="connsiteX32" fmla="*/ 94 w 10000"/>
                    <a:gd name="connsiteY32" fmla="*/ 4750 h 9927"/>
                    <a:gd name="connsiteX33" fmla="*/ 282 w 10000"/>
                    <a:gd name="connsiteY33" fmla="*/ 4459 h 9927"/>
                    <a:gd name="connsiteX34" fmla="*/ 470 w 10000"/>
                    <a:gd name="connsiteY34" fmla="*/ 4388 h 9927"/>
                    <a:gd name="connsiteX35" fmla="*/ 470 w 10000"/>
                    <a:gd name="connsiteY35" fmla="*/ 4388 h 9927"/>
                    <a:gd name="connsiteX36" fmla="*/ 470 w 10000"/>
                    <a:gd name="connsiteY36" fmla="*/ 4320 h 9927"/>
                    <a:gd name="connsiteX37" fmla="*/ 566 w 10000"/>
                    <a:gd name="connsiteY37" fmla="*/ 4245 h 9927"/>
                    <a:gd name="connsiteX38" fmla="*/ 943 w 10000"/>
                    <a:gd name="connsiteY38" fmla="*/ 4170 h 9927"/>
                    <a:gd name="connsiteX39" fmla="*/ 2073 w 10000"/>
                    <a:gd name="connsiteY39" fmla="*/ 4031 h 9927"/>
                    <a:gd name="connsiteX40" fmla="*/ 4055 w 10000"/>
                    <a:gd name="connsiteY40" fmla="*/ 3815 h 9927"/>
                    <a:gd name="connsiteX41" fmla="*/ 4055 w 10000"/>
                    <a:gd name="connsiteY41" fmla="*/ 3815 h 9927"/>
                    <a:gd name="connsiteX42" fmla="*/ 5188 w 10000"/>
                    <a:gd name="connsiteY42" fmla="*/ 3598 h 9927"/>
                    <a:gd name="connsiteX43" fmla="*/ 7262 w 10000"/>
                    <a:gd name="connsiteY43" fmla="*/ 3165 h 9927"/>
                    <a:gd name="connsiteX44" fmla="*/ 7262 w 10000"/>
                    <a:gd name="connsiteY44" fmla="*/ 3165 h 9927"/>
                    <a:gd name="connsiteX45" fmla="*/ 7737 w 10000"/>
                    <a:gd name="connsiteY45" fmla="*/ 3013 h 9927"/>
                    <a:gd name="connsiteX46" fmla="*/ 7924 w 10000"/>
                    <a:gd name="connsiteY46" fmla="*/ 2803 h 9927"/>
                    <a:gd name="connsiteX47" fmla="*/ 8116 w 10000"/>
                    <a:gd name="connsiteY47" fmla="*/ 2660 h 9927"/>
                    <a:gd name="connsiteX48" fmla="*/ 8020 w 10000"/>
                    <a:gd name="connsiteY48" fmla="*/ 2516 h 9927"/>
                    <a:gd name="connsiteX49" fmla="*/ 8020 w 10000"/>
                    <a:gd name="connsiteY49" fmla="*/ 2372 h 9927"/>
                    <a:gd name="connsiteX50" fmla="*/ 7829 w 10000"/>
                    <a:gd name="connsiteY50" fmla="*/ 2228 h 9927"/>
                    <a:gd name="connsiteX51" fmla="*/ 7546 w 10000"/>
                    <a:gd name="connsiteY51" fmla="*/ 2014 h 9927"/>
                    <a:gd name="connsiteX52" fmla="*/ 7546 w 10000"/>
                    <a:gd name="connsiteY52" fmla="*/ 2014 h 9927"/>
                    <a:gd name="connsiteX53" fmla="*/ 4153 w 10000"/>
                    <a:gd name="connsiteY53" fmla="*/ 722 h 9927"/>
                    <a:gd name="connsiteX54" fmla="*/ 4153 w 10000"/>
                    <a:gd name="connsiteY54" fmla="*/ 722 h 9927"/>
                    <a:gd name="connsiteX55" fmla="*/ 3773 w 10000"/>
                    <a:gd name="connsiteY55" fmla="*/ 510 h 9927"/>
                    <a:gd name="connsiteX56" fmla="*/ 3489 w 10000"/>
                    <a:gd name="connsiteY56" fmla="*/ 291 h 9927"/>
                    <a:gd name="connsiteX57" fmla="*/ 3300 w 10000"/>
                    <a:gd name="connsiteY57" fmla="*/ 73 h 9927"/>
                    <a:gd name="connsiteX58" fmla="*/ 3300 w 10000"/>
                    <a:gd name="connsiteY58" fmla="*/ 73 h 9927"/>
                    <a:gd name="connsiteX59" fmla="*/ 6700 w 10000"/>
                    <a:gd name="connsiteY59" fmla="*/ 0 h 9927"/>
                    <a:gd name="connsiteX60" fmla="*/ 10000 w 10000"/>
                    <a:gd name="connsiteY60" fmla="*/ 722 h 9927"/>
                    <a:gd name="connsiteX61" fmla="*/ 10000 w 10000"/>
                    <a:gd name="connsiteY61" fmla="*/ 9927 h 9927"/>
                    <a:gd name="connsiteX62" fmla="*/ 10000 w 10000"/>
                    <a:gd name="connsiteY62" fmla="*/ 9927 h 9927"/>
                    <a:gd name="connsiteX63" fmla="*/ 9527 w 10000"/>
                    <a:gd name="connsiteY63" fmla="*/ 9857 h 9927"/>
                    <a:gd name="connsiteX64" fmla="*/ 8964 w 10000"/>
                    <a:gd name="connsiteY64" fmla="*/ 9927 h 9927"/>
                    <a:gd name="connsiteX65" fmla="*/ 8964 w 10000"/>
                    <a:gd name="connsiteY65" fmla="*/ 9927 h 9927"/>
                    <a:gd name="connsiteX66" fmla="*/ 8398 w 10000"/>
                    <a:gd name="connsiteY66" fmla="*/ 9927 h 9927"/>
                    <a:gd name="connsiteX67" fmla="*/ 8116 w 10000"/>
                    <a:gd name="connsiteY67" fmla="*/ 9857 h 9927"/>
                    <a:gd name="connsiteX0" fmla="*/ 10000 w 10000"/>
                    <a:gd name="connsiteY0" fmla="*/ 9929 h 10000"/>
                    <a:gd name="connsiteX1" fmla="*/ 8679 w 10000"/>
                    <a:gd name="connsiteY1" fmla="*/ 10000 h 10000"/>
                    <a:gd name="connsiteX2" fmla="*/ 8205 w 10000"/>
                    <a:gd name="connsiteY2" fmla="*/ 10000 h 10000"/>
                    <a:gd name="connsiteX3" fmla="*/ 8020 w 10000"/>
                    <a:gd name="connsiteY3" fmla="*/ 9929 h 10000"/>
                    <a:gd name="connsiteX4" fmla="*/ 7924 w 10000"/>
                    <a:gd name="connsiteY4" fmla="*/ 9854 h 10000"/>
                    <a:gd name="connsiteX5" fmla="*/ 7924 w 10000"/>
                    <a:gd name="connsiteY5" fmla="*/ 9854 h 10000"/>
                    <a:gd name="connsiteX6" fmla="*/ 7358 w 10000"/>
                    <a:gd name="connsiteY6" fmla="*/ 8981 h 10000"/>
                    <a:gd name="connsiteX7" fmla="*/ 6884 w 10000"/>
                    <a:gd name="connsiteY7" fmla="*/ 8189 h 10000"/>
                    <a:gd name="connsiteX8" fmla="*/ 6884 w 10000"/>
                    <a:gd name="connsiteY8" fmla="*/ 8189 h 10000"/>
                    <a:gd name="connsiteX9" fmla="*/ 6700 w 10000"/>
                    <a:gd name="connsiteY9" fmla="*/ 8046 h 10000"/>
                    <a:gd name="connsiteX10" fmla="*/ 6414 w 10000"/>
                    <a:gd name="connsiteY10" fmla="*/ 7900 h 10000"/>
                    <a:gd name="connsiteX11" fmla="*/ 5660 w 10000"/>
                    <a:gd name="connsiteY11" fmla="*/ 7822 h 10000"/>
                    <a:gd name="connsiteX12" fmla="*/ 3489 w 10000"/>
                    <a:gd name="connsiteY12" fmla="*/ 7678 h 10000"/>
                    <a:gd name="connsiteX13" fmla="*/ 3300 w 10000"/>
                    <a:gd name="connsiteY13" fmla="*/ 7539 h 10000"/>
                    <a:gd name="connsiteX14" fmla="*/ 3204 w 10000"/>
                    <a:gd name="connsiteY14" fmla="*/ 7393 h 10000"/>
                    <a:gd name="connsiteX15" fmla="*/ 3204 w 10000"/>
                    <a:gd name="connsiteY15" fmla="*/ 7102 h 10000"/>
                    <a:gd name="connsiteX16" fmla="*/ 3300 w 10000"/>
                    <a:gd name="connsiteY16" fmla="*/ 6519 h 10000"/>
                    <a:gd name="connsiteX17" fmla="*/ 3396 w 10000"/>
                    <a:gd name="connsiteY17" fmla="*/ 6230 h 10000"/>
                    <a:gd name="connsiteX18" fmla="*/ 3300 w 10000"/>
                    <a:gd name="connsiteY18" fmla="*/ 5872 h 10000"/>
                    <a:gd name="connsiteX19" fmla="*/ 3300 w 10000"/>
                    <a:gd name="connsiteY19" fmla="*/ 5872 h 10000"/>
                    <a:gd name="connsiteX20" fmla="*/ 2923 w 10000"/>
                    <a:gd name="connsiteY20" fmla="*/ 5504 h 10000"/>
                    <a:gd name="connsiteX21" fmla="*/ 2641 w 10000"/>
                    <a:gd name="connsiteY21" fmla="*/ 5580 h 10000"/>
                    <a:gd name="connsiteX22" fmla="*/ 1319 w 10000"/>
                    <a:gd name="connsiteY22" fmla="*/ 6162 h 10000"/>
                    <a:gd name="connsiteX23" fmla="*/ 850 w 10000"/>
                    <a:gd name="connsiteY23" fmla="*/ 6230 h 10000"/>
                    <a:gd name="connsiteX24" fmla="*/ 660 w 10000"/>
                    <a:gd name="connsiteY24" fmla="*/ 6230 h 10000"/>
                    <a:gd name="connsiteX25" fmla="*/ 566 w 10000"/>
                    <a:gd name="connsiteY25" fmla="*/ 6162 h 10000"/>
                    <a:gd name="connsiteX26" fmla="*/ 470 w 10000"/>
                    <a:gd name="connsiteY26" fmla="*/ 5872 h 10000"/>
                    <a:gd name="connsiteX27" fmla="*/ 188 w 10000"/>
                    <a:gd name="connsiteY27" fmla="*/ 5504 h 10000"/>
                    <a:gd name="connsiteX28" fmla="*/ 188 w 10000"/>
                    <a:gd name="connsiteY28" fmla="*/ 5504 h 10000"/>
                    <a:gd name="connsiteX29" fmla="*/ 0 w 10000"/>
                    <a:gd name="connsiteY29" fmla="*/ 5072 h 10000"/>
                    <a:gd name="connsiteX30" fmla="*/ 0 w 10000"/>
                    <a:gd name="connsiteY30" fmla="*/ 4925 h 10000"/>
                    <a:gd name="connsiteX31" fmla="*/ 94 w 10000"/>
                    <a:gd name="connsiteY31" fmla="*/ 4785 h 10000"/>
                    <a:gd name="connsiteX32" fmla="*/ 282 w 10000"/>
                    <a:gd name="connsiteY32" fmla="*/ 4492 h 10000"/>
                    <a:gd name="connsiteX33" fmla="*/ 470 w 10000"/>
                    <a:gd name="connsiteY33" fmla="*/ 4420 h 10000"/>
                    <a:gd name="connsiteX34" fmla="*/ 470 w 10000"/>
                    <a:gd name="connsiteY34" fmla="*/ 4420 h 10000"/>
                    <a:gd name="connsiteX35" fmla="*/ 470 w 10000"/>
                    <a:gd name="connsiteY35" fmla="*/ 4352 h 10000"/>
                    <a:gd name="connsiteX36" fmla="*/ 566 w 10000"/>
                    <a:gd name="connsiteY36" fmla="*/ 4276 h 10000"/>
                    <a:gd name="connsiteX37" fmla="*/ 943 w 10000"/>
                    <a:gd name="connsiteY37" fmla="*/ 4201 h 10000"/>
                    <a:gd name="connsiteX38" fmla="*/ 2073 w 10000"/>
                    <a:gd name="connsiteY38" fmla="*/ 4061 h 10000"/>
                    <a:gd name="connsiteX39" fmla="*/ 4055 w 10000"/>
                    <a:gd name="connsiteY39" fmla="*/ 3843 h 10000"/>
                    <a:gd name="connsiteX40" fmla="*/ 4055 w 10000"/>
                    <a:gd name="connsiteY40" fmla="*/ 3843 h 10000"/>
                    <a:gd name="connsiteX41" fmla="*/ 5188 w 10000"/>
                    <a:gd name="connsiteY41" fmla="*/ 3624 h 10000"/>
                    <a:gd name="connsiteX42" fmla="*/ 7262 w 10000"/>
                    <a:gd name="connsiteY42" fmla="*/ 3188 h 10000"/>
                    <a:gd name="connsiteX43" fmla="*/ 7262 w 10000"/>
                    <a:gd name="connsiteY43" fmla="*/ 3188 h 10000"/>
                    <a:gd name="connsiteX44" fmla="*/ 7737 w 10000"/>
                    <a:gd name="connsiteY44" fmla="*/ 3035 h 10000"/>
                    <a:gd name="connsiteX45" fmla="*/ 7924 w 10000"/>
                    <a:gd name="connsiteY45" fmla="*/ 2824 h 10000"/>
                    <a:gd name="connsiteX46" fmla="*/ 8116 w 10000"/>
                    <a:gd name="connsiteY46" fmla="*/ 2680 h 10000"/>
                    <a:gd name="connsiteX47" fmla="*/ 8020 w 10000"/>
                    <a:gd name="connsiteY47" fmla="*/ 2535 h 10000"/>
                    <a:gd name="connsiteX48" fmla="*/ 8020 w 10000"/>
                    <a:gd name="connsiteY48" fmla="*/ 2389 h 10000"/>
                    <a:gd name="connsiteX49" fmla="*/ 7829 w 10000"/>
                    <a:gd name="connsiteY49" fmla="*/ 2244 h 10000"/>
                    <a:gd name="connsiteX50" fmla="*/ 7546 w 10000"/>
                    <a:gd name="connsiteY50" fmla="*/ 2029 h 10000"/>
                    <a:gd name="connsiteX51" fmla="*/ 7546 w 10000"/>
                    <a:gd name="connsiteY51" fmla="*/ 2029 h 10000"/>
                    <a:gd name="connsiteX52" fmla="*/ 4153 w 10000"/>
                    <a:gd name="connsiteY52" fmla="*/ 727 h 10000"/>
                    <a:gd name="connsiteX53" fmla="*/ 4153 w 10000"/>
                    <a:gd name="connsiteY53" fmla="*/ 727 h 10000"/>
                    <a:gd name="connsiteX54" fmla="*/ 3773 w 10000"/>
                    <a:gd name="connsiteY54" fmla="*/ 514 h 10000"/>
                    <a:gd name="connsiteX55" fmla="*/ 3489 w 10000"/>
                    <a:gd name="connsiteY55" fmla="*/ 293 h 10000"/>
                    <a:gd name="connsiteX56" fmla="*/ 3300 w 10000"/>
                    <a:gd name="connsiteY56" fmla="*/ 74 h 10000"/>
                    <a:gd name="connsiteX57" fmla="*/ 3300 w 10000"/>
                    <a:gd name="connsiteY57" fmla="*/ 74 h 10000"/>
                    <a:gd name="connsiteX58" fmla="*/ 6700 w 10000"/>
                    <a:gd name="connsiteY58" fmla="*/ 0 h 10000"/>
                    <a:gd name="connsiteX59" fmla="*/ 10000 w 10000"/>
                    <a:gd name="connsiteY59" fmla="*/ 727 h 10000"/>
                    <a:gd name="connsiteX60" fmla="*/ 10000 w 10000"/>
                    <a:gd name="connsiteY60" fmla="*/ 10000 h 10000"/>
                    <a:gd name="connsiteX61" fmla="*/ 10000 w 10000"/>
                    <a:gd name="connsiteY61" fmla="*/ 10000 h 10000"/>
                    <a:gd name="connsiteX62" fmla="*/ 9527 w 10000"/>
                    <a:gd name="connsiteY62" fmla="*/ 9929 h 10000"/>
                    <a:gd name="connsiteX63" fmla="*/ 8964 w 10000"/>
                    <a:gd name="connsiteY63" fmla="*/ 10000 h 10000"/>
                    <a:gd name="connsiteX64" fmla="*/ 8964 w 10000"/>
                    <a:gd name="connsiteY64" fmla="*/ 10000 h 10000"/>
                    <a:gd name="connsiteX65" fmla="*/ 8398 w 10000"/>
                    <a:gd name="connsiteY65" fmla="*/ 10000 h 10000"/>
                    <a:gd name="connsiteX66" fmla="*/ 8116 w 10000"/>
                    <a:gd name="connsiteY66" fmla="*/ 9929 h 10000"/>
                    <a:gd name="connsiteX0" fmla="*/ 8679 w 10000"/>
                    <a:gd name="connsiteY0" fmla="*/ 10000 h 10000"/>
                    <a:gd name="connsiteX1" fmla="*/ 8205 w 10000"/>
                    <a:gd name="connsiteY1" fmla="*/ 10000 h 10000"/>
                    <a:gd name="connsiteX2" fmla="*/ 8020 w 10000"/>
                    <a:gd name="connsiteY2" fmla="*/ 9929 h 10000"/>
                    <a:gd name="connsiteX3" fmla="*/ 7924 w 10000"/>
                    <a:gd name="connsiteY3" fmla="*/ 9854 h 10000"/>
                    <a:gd name="connsiteX4" fmla="*/ 7924 w 10000"/>
                    <a:gd name="connsiteY4" fmla="*/ 9854 h 10000"/>
                    <a:gd name="connsiteX5" fmla="*/ 7358 w 10000"/>
                    <a:gd name="connsiteY5" fmla="*/ 8981 h 10000"/>
                    <a:gd name="connsiteX6" fmla="*/ 6884 w 10000"/>
                    <a:gd name="connsiteY6" fmla="*/ 8189 h 10000"/>
                    <a:gd name="connsiteX7" fmla="*/ 6884 w 10000"/>
                    <a:gd name="connsiteY7" fmla="*/ 8189 h 10000"/>
                    <a:gd name="connsiteX8" fmla="*/ 6700 w 10000"/>
                    <a:gd name="connsiteY8" fmla="*/ 8046 h 10000"/>
                    <a:gd name="connsiteX9" fmla="*/ 6414 w 10000"/>
                    <a:gd name="connsiteY9" fmla="*/ 7900 h 10000"/>
                    <a:gd name="connsiteX10" fmla="*/ 5660 w 10000"/>
                    <a:gd name="connsiteY10" fmla="*/ 7822 h 10000"/>
                    <a:gd name="connsiteX11" fmla="*/ 3489 w 10000"/>
                    <a:gd name="connsiteY11" fmla="*/ 7678 h 10000"/>
                    <a:gd name="connsiteX12" fmla="*/ 3300 w 10000"/>
                    <a:gd name="connsiteY12" fmla="*/ 7539 h 10000"/>
                    <a:gd name="connsiteX13" fmla="*/ 3204 w 10000"/>
                    <a:gd name="connsiteY13" fmla="*/ 7393 h 10000"/>
                    <a:gd name="connsiteX14" fmla="*/ 3204 w 10000"/>
                    <a:gd name="connsiteY14" fmla="*/ 7102 h 10000"/>
                    <a:gd name="connsiteX15" fmla="*/ 3300 w 10000"/>
                    <a:gd name="connsiteY15" fmla="*/ 6519 h 10000"/>
                    <a:gd name="connsiteX16" fmla="*/ 3396 w 10000"/>
                    <a:gd name="connsiteY16" fmla="*/ 6230 h 10000"/>
                    <a:gd name="connsiteX17" fmla="*/ 3300 w 10000"/>
                    <a:gd name="connsiteY17" fmla="*/ 5872 h 10000"/>
                    <a:gd name="connsiteX18" fmla="*/ 3300 w 10000"/>
                    <a:gd name="connsiteY18" fmla="*/ 5872 h 10000"/>
                    <a:gd name="connsiteX19" fmla="*/ 2923 w 10000"/>
                    <a:gd name="connsiteY19" fmla="*/ 5504 h 10000"/>
                    <a:gd name="connsiteX20" fmla="*/ 2641 w 10000"/>
                    <a:gd name="connsiteY20" fmla="*/ 5580 h 10000"/>
                    <a:gd name="connsiteX21" fmla="*/ 1319 w 10000"/>
                    <a:gd name="connsiteY21" fmla="*/ 6162 h 10000"/>
                    <a:gd name="connsiteX22" fmla="*/ 850 w 10000"/>
                    <a:gd name="connsiteY22" fmla="*/ 6230 h 10000"/>
                    <a:gd name="connsiteX23" fmla="*/ 660 w 10000"/>
                    <a:gd name="connsiteY23" fmla="*/ 6230 h 10000"/>
                    <a:gd name="connsiteX24" fmla="*/ 566 w 10000"/>
                    <a:gd name="connsiteY24" fmla="*/ 6162 h 10000"/>
                    <a:gd name="connsiteX25" fmla="*/ 470 w 10000"/>
                    <a:gd name="connsiteY25" fmla="*/ 5872 h 10000"/>
                    <a:gd name="connsiteX26" fmla="*/ 188 w 10000"/>
                    <a:gd name="connsiteY26" fmla="*/ 5504 h 10000"/>
                    <a:gd name="connsiteX27" fmla="*/ 188 w 10000"/>
                    <a:gd name="connsiteY27" fmla="*/ 5504 h 10000"/>
                    <a:gd name="connsiteX28" fmla="*/ 0 w 10000"/>
                    <a:gd name="connsiteY28" fmla="*/ 5072 h 10000"/>
                    <a:gd name="connsiteX29" fmla="*/ 0 w 10000"/>
                    <a:gd name="connsiteY29" fmla="*/ 4925 h 10000"/>
                    <a:gd name="connsiteX30" fmla="*/ 94 w 10000"/>
                    <a:gd name="connsiteY30" fmla="*/ 4785 h 10000"/>
                    <a:gd name="connsiteX31" fmla="*/ 282 w 10000"/>
                    <a:gd name="connsiteY31" fmla="*/ 4492 h 10000"/>
                    <a:gd name="connsiteX32" fmla="*/ 470 w 10000"/>
                    <a:gd name="connsiteY32" fmla="*/ 4420 h 10000"/>
                    <a:gd name="connsiteX33" fmla="*/ 470 w 10000"/>
                    <a:gd name="connsiteY33" fmla="*/ 4420 h 10000"/>
                    <a:gd name="connsiteX34" fmla="*/ 470 w 10000"/>
                    <a:gd name="connsiteY34" fmla="*/ 4352 h 10000"/>
                    <a:gd name="connsiteX35" fmla="*/ 566 w 10000"/>
                    <a:gd name="connsiteY35" fmla="*/ 4276 h 10000"/>
                    <a:gd name="connsiteX36" fmla="*/ 943 w 10000"/>
                    <a:gd name="connsiteY36" fmla="*/ 4201 h 10000"/>
                    <a:gd name="connsiteX37" fmla="*/ 2073 w 10000"/>
                    <a:gd name="connsiteY37" fmla="*/ 4061 h 10000"/>
                    <a:gd name="connsiteX38" fmla="*/ 4055 w 10000"/>
                    <a:gd name="connsiteY38" fmla="*/ 3843 h 10000"/>
                    <a:gd name="connsiteX39" fmla="*/ 4055 w 10000"/>
                    <a:gd name="connsiteY39" fmla="*/ 3843 h 10000"/>
                    <a:gd name="connsiteX40" fmla="*/ 5188 w 10000"/>
                    <a:gd name="connsiteY40" fmla="*/ 3624 h 10000"/>
                    <a:gd name="connsiteX41" fmla="*/ 7262 w 10000"/>
                    <a:gd name="connsiteY41" fmla="*/ 3188 h 10000"/>
                    <a:gd name="connsiteX42" fmla="*/ 7262 w 10000"/>
                    <a:gd name="connsiteY42" fmla="*/ 3188 h 10000"/>
                    <a:gd name="connsiteX43" fmla="*/ 7737 w 10000"/>
                    <a:gd name="connsiteY43" fmla="*/ 3035 h 10000"/>
                    <a:gd name="connsiteX44" fmla="*/ 7924 w 10000"/>
                    <a:gd name="connsiteY44" fmla="*/ 2824 h 10000"/>
                    <a:gd name="connsiteX45" fmla="*/ 8116 w 10000"/>
                    <a:gd name="connsiteY45" fmla="*/ 2680 h 10000"/>
                    <a:gd name="connsiteX46" fmla="*/ 8020 w 10000"/>
                    <a:gd name="connsiteY46" fmla="*/ 2535 h 10000"/>
                    <a:gd name="connsiteX47" fmla="*/ 8020 w 10000"/>
                    <a:gd name="connsiteY47" fmla="*/ 2389 h 10000"/>
                    <a:gd name="connsiteX48" fmla="*/ 7829 w 10000"/>
                    <a:gd name="connsiteY48" fmla="*/ 2244 h 10000"/>
                    <a:gd name="connsiteX49" fmla="*/ 7546 w 10000"/>
                    <a:gd name="connsiteY49" fmla="*/ 2029 h 10000"/>
                    <a:gd name="connsiteX50" fmla="*/ 7546 w 10000"/>
                    <a:gd name="connsiteY50" fmla="*/ 2029 h 10000"/>
                    <a:gd name="connsiteX51" fmla="*/ 4153 w 10000"/>
                    <a:gd name="connsiteY51" fmla="*/ 727 h 10000"/>
                    <a:gd name="connsiteX52" fmla="*/ 4153 w 10000"/>
                    <a:gd name="connsiteY52" fmla="*/ 727 h 10000"/>
                    <a:gd name="connsiteX53" fmla="*/ 3773 w 10000"/>
                    <a:gd name="connsiteY53" fmla="*/ 514 h 10000"/>
                    <a:gd name="connsiteX54" fmla="*/ 3489 w 10000"/>
                    <a:gd name="connsiteY54" fmla="*/ 293 h 10000"/>
                    <a:gd name="connsiteX55" fmla="*/ 3300 w 10000"/>
                    <a:gd name="connsiteY55" fmla="*/ 74 h 10000"/>
                    <a:gd name="connsiteX56" fmla="*/ 3300 w 10000"/>
                    <a:gd name="connsiteY56" fmla="*/ 74 h 10000"/>
                    <a:gd name="connsiteX57" fmla="*/ 6700 w 10000"/>
                    <a:gd name="connsiteY57" fmla="*/ 0 h 10000"/>
                    <a:gd name="connsiteX58" fmla="*/ 10000 w 10000"/>
                    <a:gd name="connsiteY58" fmla="*/ 727 h 10000"/>
                    <a:gd name="connsiteX59" fmla="*/ 10000 w 10000"/>
                    <a:gd name="connsiteY59" fmla="*/ 10000 h 10000"/>
                    <a:gd name="connsiteX60" fmla="*/ 10000 w 10000"/>
                    <a:gd name="connsiteY60" fmla="*/ 10000 h 10000"/>
                    <a:gd name="connsiteX61" fmla="*/ 9527 w 10000"/>
                    <a:gd name="connsiteY61" fmla="*/ 9929 h 10000"/>
                    <a:gd name="connsiteX62" fmla="*/ 8964 w 10000"/>
                    <a:gd name="connsiteY62" fmla="*/ 10000 h 10000"/>
                    <a:gd name="connsiteX63" fmla="*/ 8964 w 10000"/>
                    <a:gd name="connsiteY63" fmla="*/ 10000 h 10000"/>
                    <a:gd name="connsiteX64" fmla="*/ 8398 w 10000"/>
                    <a:gd name="connsiteY64" fmla="*/ 10000 h 10000"/>
                    <a:gd name="connsiteX65" fmla="*/ 8116 w 10000"/>
                    <a:gd name="connsiteY65" fmla="*/ 9929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0000" h="10000">
                      <a:moveTo>
                        <a:pt x="8679" y="10000"/>
                      </a:moveTo>
                      <a:lnTo>
                        <a:pt x="8205" y="10000"/>
                      </a:lnTo>
                      <a:lnTo>
                        <a:pt x="8020" y="9929"/>
                      </a:lnTo>
                      <a:cubicBezTo>
                        <a:pt x="7990" y="9904"/>
                        <a:pt x="7955" y="9882"/>
                        <a:pt x="7924" y="9854"/>
                      </a:cubicBezTo>
                      <a:lnTo>
                        <a:pt x="7924" y="9854"/>
                      </a:lnTo>
                      <a:lnTo>
                        <a:pt x="7358" y="8981"/>
                      </a:lnTo>
                      <a:cubicBezTo>
                        <a:pt x="7201" y="8717"/>
                        <a:pt x="7043" y="8454"/>
                        <a:pt x="6884" y="8189"/>
                      </a:cubicBezTo>
                      <a:lnTo>
                        <a:pt x="6884" y="8189"/>
                      </a:lnTo>
                      <a:cubicBezTo>
                        <a:pt x="6823" y="8141"/>
                        <a:pt x="6763" y="8093"/>
                        <a:pt x="6700" y="8046"/>
                      </a:cubicBezTo>
                      <a:cubicBezTo>
                        <a:pt x="6604" y="7998"/>
                        <a:pt x="6511" y="7947"/>
                        <a:pt x="6414" y="7900"/>
                      </a:cubicBezTo>
                      <a:lnTo>
                        <a:pt x="5660" y="7822"/>
                      </a:lnTo>
                      <a:lnTo>
                        <a:pt x="3489" y="7678"/>
                      </a:lnTo>
                      <a:lnTo>
                        <a:pt x="3300" y="7539"/>
                      </a:lnTo>
                      <a:cubicBezTo>
                        <a:pt x="3269" y="7491"/>
                        <a:pt x="3240" y="7441"/>
                        <a:pt x="3204" y="7393"/>
                      </a:cubicBezTo>
                      <a:lnTo>
                        <a:pt x="3204" y="7102"/>
                      </a:lnTo>
                      <a:cubicBezTo>
                        <a:pt x="3240" y="6910"/>
                        <a:pt x="3269" y="6715"/>
                        <a:pt x="3300" y="6519"/>
                      </a:cubicBezTo>
                      <a:cubicBezTo>
                        <a:pt x="3334" y="6419"/>
                        <a:pt x="3365" y="6327"/>
                        <a:pt x="3396" y="6230"/>
                      </a:cubicBezTo>
                      <a:cubicBezTo>
                        <a:pt x="3365" y="6108"/>
                        <a:pt x="3334" y="5993"/>
                        <a:pt x="3300" y="5872"/>
                      </a:cubicBezTo>
                      <a:lnTo>
                        <a:pt x="3300" y="5872"/>
                      </a:lnTo>
                      <a:cubicBezTo>
                        <a:pt x="3237" y="5810"/>
                        <a:pt x="3033" y="5553"/>
                        <a:pt x="2923" y="5504"/>
                      </a:cubicBezTo>
                      <a:lnTo>
                        <a:pt x="2641" y="5580"/>
                      </a:lnTo>
                      <a:lnTo>
                        <a:pt x="1319" y="6162"/>
                      </a:lnTo>
                      <a:lnTo>
                        <a:pt x="850" y="6230"/>
                      </a:lnTo>
                      <a:lnTo>
                        <a:pt x="660" y="6230"/>
                      </a:lnTo>
                      <a:cubicBezTo>
                        <a:pt x="630" y="6204"/>
                        <a:pt x="597" y="6178"/>
                        <a:pt x="566" y="6162"/>
                      </a:cubicBezTo>
                      <a:cubicBezTo>
                        <a:pt x="531" y="6063"/>
                        <a:pt x="502" y="5969"/>
                        <a:pt x="470" y="5872"/>
                      </a:cubicBezTo>
                      <a:lnTo>
                        <a:pt x="188" y="5504"/>
                      </a:lnTo>
                      <a:lnTo>
                        <a:pt x="188" y="5504"/>
                      </a:lnTo>
                      <a:cubicBezTo>
                        <a:pt x="157" y="5433"/>
                        <a:pt x="31" y="5169"/>
                        <a:pt x="0" y="5072"/>
                      </a:cubicBezTo>
                      <a:lnTo>
                        <a:pt x="0" y="4925"/>
                      </a:lnTo>
                      <a:cubicBezTo>
                        <a:pt x="34" y="4880"/>
                        <a:pt x="62" y="4831"/>
                        <a:pt x="94" y="4785"/>
                      </a:cubicBezTo>
                      <a:cubicBezTo>
                        <a:pt x="158" y="4687"/>
                        <a:pt x="218" y="4590"/>
                        <a:pt x="282" y="4492"/>
                      </a:cubicBezTo>
                      <a:lnTo>
                        <a:pt x="470" y="4420"/>
                      </a:lnTo>
                      <a:lnTo>
                        <a:pt x="470" y="4420"/>
                      </a:lnTo>
                      <a:lnTo>
                        <a:pt x="470" y="4352"/>
                      </a:lnTo>
                      <a:cubicBezTo>
                        <a:pt x="502" y="4327"/>
                        <a:pt x="531" y="4302"/>
                        <a:pt x="566" y="4276"/>
                      </a:cubicBezTo>
                      <a:lnTo>
                        <a:pt x="943" y="4201"/>
                      </a:lnTo>
                      <a:lnTo>
                        <a:pt x="2073" y="4061"/>
                      </a:lnTo>
                      <a:lnTo>
                        <a:pt x="4055" y="3843"/>
                      </a:lnTo>
                      <a:lnTo>
                        <a:pt x="4055" y="3843"/>
                      </a:lnTo>
                      <a:lnTo>
                        <a:pt x="5188" y="3624"/>
                      </a:lnTo>
                      <a:lnTo>
                        <a:pt x="7262" y="3188"/>
                      </a:lnTo>
                      <a:lnTo>
                        <a:pt x="7262" y="3188"/>
                      </a:lnTo>
                      <a:lnTo>
                        <a:pt x="7737" y="3035"/>
                      </a:lnTo>
                      <a:lnTo>
                        <a:pt x="7924" y="2824"/>
                      </a:lnTo>
                      <a:cubicBezTo>
                        <a:pt x="7987" y="2775"/>
                        <a:pt x="8051" y="2728"/>
                        <a:pt x="8116" y="2680"/>
                      </a:cubicBezTo>
                      <a:cubicBezTo>
                        <a:pt x="8080" y="2635"/>
                        <a:pt x="8051" y="2585"/>
                        <a:pt x="8020" y="2535"/>
                      </a:cubicBezTo>
                      <a:lnTo>
                        <a:pt x="8020" y="2389"/>
                      </a:lnTo>
                      <a:lnTo>
                        <a:pt x="7829" y="2244"/>
                      </a:lnTo>
                      <a:cubicBezTo>
                        <a:pt x="7737" y="2172"/>
                        <a:pt x="7638" y="2101"/>
                        <a:pt x="7546" y="2029"/>
                      </a:cubicBezTo>
                      <a:lnTo>
                        <a:pt x="7546" y="2029"/>
                      </a:lnTo>
                      <a:lnTo>
                        <a:pt x="4153" y="727"/>
                      </a:lnTo>
                      <a:lnTo>
                        <a:pt x="4153" y="727"/>
                      </a:lnTo>
                      <a:lnTo>
                        <a:pt x="3773" y="514"/>
                      </a:lnTo>
                      <a:cubicBezTo>
                        <a:pt x="3679" y="438"/>
                        <a:pt x="3583" y="369"/>
                        <a:pt x="3489" y="293"/>
                      </a:cubicBezTo>
                      <a:cubicBezTo>
                        <a:pt x="3428" y="220"/>
                        <a:pt x="3364" y="147"/>
                        <a:pt x="3300" y="74"/>
                      </a:cubicBezTo>
                      <a:lnTo>
                        <a:pt x="3300" y="74"/>
                      </a:lnTo>
                      <a:lnTo>
                        <a:pt x="6700" y="0"/>
                      </a:lnTo>
                      <a:lnTo>
                        <a:pt x="10000" y="727"/>
                      </a:lnTo>
                      <a:lnTo>
                        <a:pt x="10000" y="10000"/>
                      </a:lnTo>
                      <a:lnTo>
                        <a:pt x="10000" y="10000"/>
                      </a:lnTo>
                      <a:lnTo>
                        <a:pt x="9527" y="9929"/>
                      </a:lnTo>
                      <a:lnTo>
                        <a:pt x="8964" y="10000"/>
                      </a:lnTo>
                      <a:lnTo>
                        <a:pt x="8964" y="10000"/>
                      </a:lnTo>
                      <a:lnTo>
                        <a:pt x="8398" y="10000"/>
                      </a:lnTo>
                      <a:lnTo>
                        <a:pt x="8116" y="9929"/>
                      </a:lnTo>
                    </a:path>
                  </a:pathLst>
                </a:custGeom>
                <a:grpFill/>
                <a:ln w="6350" cap="rnd" cmpd="sng">
                  <a:solidFill>
                    <a:srgbClr val="FFFFFF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646464"/>
                    </a:solidFill>
                  </a:endParaRPr>
                </a:p>
              </p:txBody>
            </p:sp>
          </p:grp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9ECBA49E-A14B-4EB4-B9E7-E60ED8E2DA30}"/>
                  </a:ext>
                </a:extLst>
              </p:cNvPr>
              <p:cNvSpPr txBox="1"/>
              <p:nvPr/>
            </p:nvSpPr>
            <p:spPr>
              <a:xfrm>
                <a:off x="2869204" y="2121539"/>
                <a:ext cx="1276073" cy="186890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3916" fontAlgn="ctr">
                  <a:spcAft>
                    <a:spcPts val="30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ru-RU" sz="600" b="1" dirty="0">
                    <a:solidFill>
                      <a:srgbClr val="646464"/>
                    </a:solidFill>
                    <a:latin typeface="EYInterstate Light"/>
                  </a:rPr>
                  <a:t>Санкт-Петербург</a:t>
                </a:r>
                <a:endParaRPr lang="en-US" sz="600" b="1" dirty="0">
                  <a:solidFill>
                    <a:srgbClr val="646464"/>
                  </a:solidFill>
                  <a:latin typeface="EYInterstate Light"/>
                </a:endParaRP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C9795AF8-33B8-49B0-9BA4-855D4E82208A}"/>
                  </a:ext>
                </a:extLst>
              </p:cNvPr>
              <p:cNvSpPr txBox="1"/>
              <p:nvPr/>
            </p:nvSpPr>
            <p:spPr>
              <a:xfrm>
                <a:off x="2892543" y="2413963"/>
                <a:ext cx="771626" cy="186890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3916" fontAlgn="ctr">
                  <a:spcAft>
                    <a:spcPts val="30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ru-RU" sz="600" b="1" dirty="0">
                    <a:solidFill>
                      <a:srgbClr val="646464"/>
                    </a:solidFill>
                    <a:latin typeface="EYInterstate Light"/>
                  </a:rPr>
                  <a:t>Усть-Луга</a:t>
                </a:r>
                <a:endParaRPr lang="en-US" sz="600" b="1" dirty="0">
                  <a:solidFill>
                    <a:srgbClr val="646464"/>
                  </a:solidFill>
                  <a:latin typeface="EYInterstate Light"/>
                </a:endParaRP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B4696F17-4E14-4501-AA24-8E37D4AB2BD8}"/>
                  </a:ext>
                </a:extLst>
              </p:cNvPr>
              <p:cNvSpPr txBox="1"/>
              <p:nvPr/>
            </p:nvSpPr>
            <p:spPr>
              <a:xfrm>
                <a:off x="3727504" y="3499376"/>
                <a:ext cx="357957" cy="122005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3916" fontAlgn="ctr">
                  <a:spcAft>
                    <a:spcPts val="30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ru-RU" sz="600" b="1" dirty="0">
                    <a:solidFill>
                      <a:srgbClr val="646464"/>
                    </a:solidFill>
                    <a:latin typeface="EYInterstate Light"/>
                  </a:rPr>
                  <a:t>Туапсе</a:t>
                </a:r>
                <a:endParaRPr lang="en-US" sz="600" b="1" dirty="0">
                  <a:solidFill>
                    <a:srgbClr val="646464"/>
                  </a:solidFill>
                  <a:latin typeface="EYInterstate Light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94553988-0F42-454B-B090-E43FB11F9E93}"/>
                  </a:ext>
                </a:extLst>
              </p:cNvPr>
              <p:cNvSpPr txBox="1"/>
              <p:nvPr/>
            </p:nvSpPr>
            <p:spPr>
              <a:xfrm>
                <a:off x="3565999" y="3138965"/>
                <a:ext cx="626816" cy="186890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3916" fontAlgn="ctr">
                  <a:spcAft>
                    <a:spcPts val="300"/>
                  </a:spcAft>
                  <a:buClr>
                    <a:srgbClr val="646464"/>
                  </a:buClr>
                  <a:buSzPct val="100000"/>
                  <a:defRPr/>
                </a:pPr>
                <a:r>
                  <a:rPr lang="ru-RU" sz="600" b="1" dirty="0">
                    <a:solidFill>
                      <a:srgbClr val="646464"/>
                    </a:solidFill>
                    <a:latin typeface="EYInterstate Light"/>
                  </a:rPr>
                  <a:t>Таганрог</a:t>
                </a:r>
                <a:endParaRPr lang="en-US" sz="600" b="1" dirty="0">
                  <a:solidFill>
                    <a:srgbClr val="646464"/>
                  </a:solidFill>
                  <a:latin typeface="EYInterstate Light"/>
                </a:endParaRPr>
              </a:p>
            </p:txBody>
          </p:sp>
          <p:sp>
            <p:nvSpPr>
              <p:cNvPr id="198" name="Овал 1397">
                <a:extLst>
                  <a:ext uri="{FF2B5EF4-FFF2-40B4-BE49-F238E27FC236}">
                    <a16:creationId xmlns:a16="http://schemas.microsoft.com/office/drawing/2014/main" id="{A39D43DC-4733-4563-B2A4-6257B1C288D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810740" y="2262043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199" name="Овал 1397">
                <a:extLst>
                  <a:ext uri="{FF2B5EF4-FFF2-40B4-BE49-F238E27FC236}">
                    <a16:creationId xmlns:a16="http://schemas.microsoft.com/office/drawing/2014/main" id="{E1975D0B-EBFE-4689-A0E9-47034098505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34208" y="2315304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200" name="Овал 1397">
                <a:extLst>
                  <a:ext uri="{FF2B5EF4-FFF2-40B4-BE49-F238E27FC236}">
                    <a16:creationId xmlns:a16="http://schemas.microsoft.com/office/drawing/2014/main" id="{065354C6-2C63-4C85-8D6A-0C7112D99401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97818" y="2132393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201" name="Овал 1397">
                <a:extLst>
                  <a:ext uri="{FF2B5EF4-FFF2-40B4-BE49-F238E27FC236}">
                    <a16:creationId xmlns:a16="http://schemas.microsoft.com/office/drawing/2014/main" id="{6063F471-C8E6-4DBE-8C94-94DE773B03C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629038" y="3473495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202" name="Овал 1397">
                <a:extLst>
                  <a:ext uri="{FF2B5EF4-FFF2-40B4-BE49-F238E27FC236}">
                    <a16:creationId xmlns:a16="http://schemas.microsoft.com/office/drawing/2014/main" id="{A343AAF6-C1C5-4CE5-8E5E-05BF5D27B2D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517182" y="3449516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204" name="Овал 1397">
                <a:extLst>
                  <a:ext uri="{FF2B5EF4-FFF2-40B4-BE49-F238E27FC236}">
                    <a16:creationId xmlns:a16="http://schemas.microsoft.com/office/drawing/2014/main" id="{FA8AD29E-4EF4-4F1A-8CAC-3268C7FE2FA2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76632" y="3203072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  <p:sp>
            <p:nvSpPr>
              <p:cNvPr id="205" name="Овал 1397">
                <a:extLst>
                  <a:ext uri="{FF2B5EF4-FFF2-40B4-BE49-F238E27FC236}">
                    <a16:creationId xmlns:a16="http://schemas.microsoft.com/office/drawing/2014/main" id="{5E3FCC45-6FEA-474D-9A52-231300B5369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552483" y="2908073"/>
                <a:ext cx="116929" cy="116929"/>
              </a:xfrm>
              <a:prstGeom prst="ellipse">
                <a:avLst/>
              </a:prstGeom>
              <a:solidFill>
                <a:srgbClr val="FFD200"/>
              </a:solidFill>
              <a:ln w="3175" cap="flat" cmpd="sng" algn="ctr">
                <a:solidFill>
                  <a:srgbClr val="FFD2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lang="en-US" sz="1200" b="1" dirty="0">
                  <a:latin typeface="+mj-lt"/>
                </a:endParaRPr>
              </a:p>
            </p:txBody>
          </p:sp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EA4866E6-3BFB-4BBF-969B-B596CD7DC611}"/>
                </a:ext>
              </a:extLst>
            </p:cNvPr>
            <p:cNvSpPr txBox="1"/>
            <p:nvPr/>
          </p:nvSpPr>
          <p:spPr>
            <a:xfrm>
              <a:off x="3077605" y="3322888"/>
              <a:ext cx="1150257" cy="186890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овороссийск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440FCF1-5EB9-4877-AA6E-5F7D4BFF876B}"/>
              </a:ext>
            </a:extLst>
          </p:cNvPr>
          <p:cNvSpPr txBox="1"/>
          <p:nvPr/>
        </p:nvSpPr>
        <p:spPr>
          <a:xfrm>
            <a:off x="665339" y="5414107"/>
            <a:ext cx="840719" cy="30019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Импорт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9584587F-C1AC-4ED5-9170-D129CCA4E4E9}"/>
              </a:ext>
            </a:extLst>
          </p:cNvPr>
          <p:cNvSpPr txBox="1"/>
          <p:nvPr/>
        </p:nvSpPr>
        <p:spPr>
          <a:xfrm>
            <a:off x="4540121" y="1185590"/>
            <a:ext cx="7315817" cy="26187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200" b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Авто</a:t>
            </a:r>
            <a:r>
              <a:rPr lang="ru-RU" sz="1200" b="1" dirty="0">
                <a:solidFill>
                  <a:schemeClr val="tx1">
                    <a:lumMod val="50000"/>
                  </a:schemeClr>
                </a:solidFill>
              </a:rPr>
              <a:t>перевозки</a:t>
            </a:r>
            <a:endParaRPr lang="en-US" sz="1200" b="1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CFB91A78-856B-438F-BCC9-8679486FAA93}"/>
              </a:ext>
            </a:extLst>
          </p:cNvPr>
          <p:cNvSpPr txBox="1"/>
          <p:nvPr/>
        </p:nvSpPr>
        <p:spPr>
          <a:xfrm>
            <a:off x="4698964" y="1501835"/>
            <a:ext cx="7156974" cy="174786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7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граничения пропускной способности пограничных переходов с Польшей (38-42%) и Прибалтикой (70-85%)</a:t>
            </a:r>
            <a:r>
              <a:rPr lang="ru-RU" sz="1200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череди на переходах с Польшей 2-4 дня для экспортных грузов и до 4-х дней для импортных грузов</a:t>
            </a:r>
            <a:r>
              <a:rPr lang="ru-RU" sz="1200" baseline="30000" dirty="0">
                <a:solidFill>
                  <a:schemeClr val="tx1">
                    <a:lumMod val="50000"/>
                  </a:schemeClr>
                </a:solidFill>
              </a:rPr>
              <a:t>1</a:t>
            </a:r>
          </a:p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Начинает ощущаться дефицит транспортных средств на международных маршрутах</a:t>
            </a:r>
          </a:p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7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Стоимость экспортной перевозки для некоторых направлений выросла до 2х раз в сравнении с 2021 годом</a:t>
            </a:r>
          </a:p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7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чередь на погранпереходе границе РФ и Грузии достигают 2 недель</a:t>
            </a:r>
            <a:endParaRPr lang="en-US" sz="12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272A296A-D5DD-4CA2-BC8E-BC3F22C54DD2}"/>
              </a:ext>
            </a:extLst>
          </p:cNvPr>
          <p:cNvSpPr txBox="1"/>
          <p:nvPr/>
        </p:nvSpPr>
        <p:spPr>
          <a:xfrm>
            <a:off x="4540122" y="3304073"/>
            <a:ext cx="2561718" cy="30019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200" b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Железнодорожная логистика</a:t>
            </a:r>
            <a:endParaRPr lang="en-US" sz="1200" b="1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577584D4-11C6-4AB0-B67C-D0586DB6E519}"/>
              </a:ext>
            </a:extLst>
          </p:cNvPr>
          <p:cNvSpPr txBox="1"/>
          <p:nvPr/>
        </p:nvSpPr>
        <p:spPr>
          <a:xfrm>
            <a:off x="4698963" y="3625859"/>
            <a:ext cx="7137743" cy="85395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8"/>
              </a:buBlip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</a:rPr>
              <a:t>VR Transpoint (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Финляндия) с 27.03.2022 г прекратил обработку вагонов из России в Финляндию, возврат вагонов в Финляндия пока продолжится</a:t>
            </a:r>
            <a:r>
              <a:rPr lang="ru-RU" sz="1200" baseline="30000" dirty="0">
                <a:solidFill>
                  <a:schemeClr val="tx1">
                    <a:lumMod val="50000"/>
                  </a:schemeClr>
                </a:solidFill>
              </a:rPr>
              <a:t>2</a:t>
            </a:r>
          </a:p>
          <a:p>
            <a:pPr marL="171450" indent="-171450" fontAlgn="ctr">
              <a:spcAft>
                <a:spcPts val="300"/>
              </a:spcAft>
              <a:buClr>
                <a:schemeClr val="bg1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Ситуация с прямыми железнодорожными перевозками из Китая в Россию продолжает налаживается</a:t>
            </a:r>
          </a:p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endParaRPr lang="ru-RU" sz="1200" baseline="300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Font typeface="Arial" panose="020B0604020202020204" pitchFamily="34" charset="0"/>
              <a:buChar char="►"/>
            </a:pPr>
            <a:endParaRPr lang="en-US" sz="12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3CC47361-96F5-4B21-980C-90512AA525A7}"/>
              </a:ext>
            </a:extLst>
          </p:cNvPr>
          <p:cNvSpPr txBox="1"/>
          <p:nvPr/>
        </p:nvSpPr>
        <p:spPr>
          <a:xfrm>
            <a:off x="468646" y="6354834"/>
            <a:ext cx="4344675" cy="50382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r>
              <a:rPr lang="ru-RU" sz="800" baseline="30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1 </a:t>
            </a: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Официальный телеграм канал Пограничного комитета Беларуси 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t.me/gpkgovby</a:t>
            </a:r>
            <a:endParaRPr lang="ru-RU" sz="800" baseline="300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r>
              <a:rPr lang="ru-RU" sz="800" baseline="30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2</a:t>
            </a: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Официальный сайт 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VR Group</a:t>
            </a: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: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800" i="0" dirty="0">
                <a:solidFill>
                  <a:schemeClr val="tx1">
                    <a:lumMod val="50000"/>
                  </a:schemeClr>
                </a:solidFill>
                <a:effectLst/>
                <a:latin typeface="YS Tex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rtranspoint.fi/fi/vr-transpoint/uutiset/vr-transpoint-keskeyttaa-idan-tavaraliikenteen-toistaiseksi-pakotteiden-vuoksi-260320221420/</a:t>
            </a:r>
            <a:endParaRPr lang="ru-RU" sz="800" i="0" dirty="0">
              <a:solidFill>
                <a:schemeClr val="tx1">
                  <a:lumMod val="50000"/>
                </a:schemeClr>
              </a:solidFill>
              <a:effectLst/>
              <a:latin typeface="YS Text"/>
            </a:endParaRPr>
          </a:p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endParaRPr lang="ru-RU" sz="8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F8611FFF-B53C-48CB-A15C-1F450E0523BA}"/>
              </a:ext>
            </a:extLst>
          </p:cNvPr>
          <p:cNvSpPr txBox="1"/>
          <p:nvPr/>
        </p:nvSpPr>
        <p:spPr>
          <a:xfrm>
            <a:off x="4540122" y="4474839"/>
            <a:ext cx="2561718" cy="30019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200" b="1" dirty="0">
                <a:solidFill>
                  <a:schemeClr val="tx1">
                    <a:lumMod val="50000"/>
                  </a:schemeClr>
                </a:solidFill>
              </a:rPr>
              <a:t>Морские перевозки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535FD2A0-91D3-44A8-A184-C527D373DA42}"/>
              </a:ext>
            </a:extLst>
          </p:cNvPr>
          <p:cNvSpPr txBox="1"/>
          <p:nvPr/>
        </p:nvSpPr>
        <p:spPr>
          <a:xfrm>
            <a:off x="4698964" y="4809544"/>
            <a:ext cx="7156974" cy="133009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Blip>
                <a:blip r:embed="rId10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Блокировки грузов в морских портах Бельгии 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«в связи с проверкой», дозапрос сопроводительных документов</a:t>
            </a:r>
            <a:r>
              <a:rPr lang="ru-RU" sz="1200" baseline="30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3</a:t>
            </a: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Перевозки чер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ез порты Дальнего Востока продолжаются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Нарастает нехватка порожних контейнеров</a:t>
            </a:r>
            <a:r>
              <a:rPr lang="ru-RU" sz="1200" baseline="30000" dirty="0">
                <a:solidFill>
                  <a:schemeClr val="tx1">
                    <a:lumMod val="50000"/>
                  </a:schemeClr>
                </a:solidFill>
              </a:rPr>
              <a:t>4</a:t>
            </a: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Морские перевозки в Азовском море существенно ограничены</a:t>
            </a:r>
            <a:endParaRPr lang="ru-RU" sz="1200" baseline="30000" dirty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Blip>
                <a:blip r:embed="rId8"/>
              </a:buBlip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Наблюдается нехватка доступных грузовых судов в Балтийском и Черном морях</a:t>
            </a: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Font typeface="Arial" panose="020B0604020202020204" pitchFamily="34" charset="0"/>
              <a:buChar char="►"/>
            </a:pPr>
            <a:endParaRPr lang="ru-RU" sz="12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171450" indent="-171450" fontAlgn="ctr">
              <a:spcAft>
                <a:spcPts val="300"/>
              </a:spcAft>
              <a:buClr>
                <a:srgbClr val="FFC000"/>
              </a:buClr>
              <a:buSzPct val="100000"/>
              <a:buFont typeface="Arial" panose="020B0604020202020204" pitchFamily="34" charset="0"/>
              <a:buChar char="►"/>
            </a:pPr>
            <a:endParaRPr lang="en-US" sz="12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1693A575-6585-45D7-9AEB-2733F653B3F3}"/>
              </a:ext>
            </a:extLst>
          </p:cNvPr>
          <p:cNvSpPr txBox="1"/>
          <p:nvPr/>
        </p:nvSpPr>
        <p:spPr>
          <a:xfrm>
            <a:off x="5023469" y="6354834"/>
            <a:ext cx="6396140" cy="503828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r>
              <a:rPr lang="ru-RU" sz="800" baseline="30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3</a:t>
            </a: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Официальное издание 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  <a:latin typeface="+mn-lt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ndaard.be/</a:t>
            </a:r>
            <a:endParaRPr lang="ru-RU" sz="800" baseline="30000" dirty="0">
              <a:solidFill>
                <a:schemeClr val="tx1">
                  <a:lumMod val="50000"/>
                </a:schemeClr>
              </a:solidFill>
            </a:endParaRPr>
          </a:p>
          <a:p>
            <a:pPr fontAlgn="ctr">
              <a:spcAft>
                <a:spcPts val="300"/>
              </a:spcAft>
              <a:buClr>
                <a:srgbClr val="FFC000"/>
              </a:buClr>
              <a:buSzPct val="100000"/>
            </a:pPr>
            <a:r>
              <a:rPr lang="ru-RU" sz="800" baseline="30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4  </a:t>
            </a: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Официальный сайт Российской газеты 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https://rg.ru/2022/03/27/rossijskim-gruzam-ishchut-novye-puti-postavok.html</a:t>
            </a:r>
            <a:endParaRPr lang="ru-RU" sz="8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8" name="Picture 27" descr="Shape&#10;&#10;Description automatically generated with low confidence">
            <a:extLst>
              <a:ext uri="{FF2B5EF4-FFF2-40B4-BE49-F238E27FC236}">
                <a16:creationId xmlns:a16="http://schemas.microsoft.com/office/drawing/2014/main" id="{24DE72C5-0A58-434F-9A73-35397692FF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80" y="5485181"/>
            <a:ext cx="125079" cy="125079"/>
          </a:xfrm>
          <a:prstGeom prst="rect">
            <a:avLst/>
          </a:prstGeom>
        </p:spPr>
      </p:pic>
      <p:sp>
        <p:nvSpPr>
          <p:cNvPr id="266" name="TextBox 265">
            <a:extLst>
              <a:ext uri="{FF2B5EF4-FFF2-40B4-BE49-F238E27FC236}">
                <a16:creationId xmlns:a16="http://schemas.microsoft.com/office/drawing/2014/main" id="{7247E148-6961-48A5-BA50-12A6D4DE897B}"/>
              </a:ext>
            </a:extLst>
          </p:cNvPr>
          <p:cNvSpPr txBox="1"/>
          <p:nvPr/>
        </p:nvSpPr>
        <p:spPr>
          <a:xfrm>
            <a:off x="665339" y="5684312"/>
            <a:ext cx="840719" cy="30019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Экспорт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67" name="Picture 266" descr="Shape&#10;&#10;Description automatically generated with low confidence">
            <a:extLst>
              <a:ext uri="{FF2B5EF4-FFF2-40B4-BE49-F238E27FC236}">
                <a16:creationId xmlns:a16="http://schemas.microsoft.com/office/drawing/2014/main" id="{14D8E990-531E-48B4-B694-2102C7FF84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80" y="5771870"/>
            <a:ext cx="125079" cy="125079"/>
          </a:xfrm>
          <a:prstGeom prst="rect">
            <a:avLst/>
          </a:prstGeom>
        </p:spPr>
      </p:pic>
      <p:sp>
        <p:nvSpPr>
          <p:cNvPr id="268" name="TextBox 267">
            <a:extLst>
              <a:ext uri="{FF2B5EF4-FFF2-40B4-BE49-F238E27FC236}">
                <a16:creationId xmlns:a16="http://schemas.microsoft.com/office/drawing/2014/main" id="{24785DF3-EAB8-4478-9EA1-9C75B9101D00}"/>
              </a:ext>
            </a:extLst>
          </p:cNvPr>
          <p:cNvSpPr txBox="1"/>
          <p:nvPr/>
        </p:nvSpPr>
        <p:spPr>
          <a:xfrm>
            <a:off x="665339" y="5954516"/>
            <a:ext cx="1385568" cy="30019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fontAlgn="ctr">
              <a:spcAft>
                <a:spcPts val="300"/>
              </a:spcAft>
              <a:buClr>
                <a:schemeClr val="tx1"/>
              </a:buClr>
              <a:buSzPct val="100000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Импорт / Экспорт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269" name="Picture 268">
            <a:extLst>
              <a:ext uri="{FF2B5EF4-FFF2-40B4-BE49-F238E27FC236}">
                <a16:creationId xmlns:a16="http://schemas.microsoft.com/office/drawing/2014/main" id="{2AEFF89A-B4A1-4D0B-BDFF-C2F00C5F8C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7280" y="6025590"/>
            <a:ext cx="125079" cy="12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5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E435C8-2AC4-4CBC-80E3-BBFAFD1D3A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08488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E435C8-2AC4-4CBC-80E3-BBFAFD1D3A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16E4AF2-19F7-4327-908A-3D4FBB63C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1800" dirty="0"/>
              <a:t>Клиенты EY, осуществляющие стивидорную деятельность в крупнейших мировых портах</a:t>
            </a:r>
            <a:endParaRPr lang="en-US" sz="1800" dirty="0"/>
          </a:p>
        </p:txBody>
      </p:sp>
      <p:sp>
        <p:nvSpPr>
          <p:cNvPr id="1385" name="MCShape 175">
            <a:extLst>
              <a:ext uri="{FF2B5EF4-FFF2-40B4-BE49-F238E27FC236}">
                <a16:creationId xmlns:a16="http://schemas.microsoft.com/office/drawing/2014/main" id="{E7D96810-9707-4408-93D9-203950289216}"/>
              </a:ext>
            </a:extLst>
          </p:cNvPr>
          <p:cNvSpPr>
            <a:spLocks noEditPoints="1"/>
          </p:cNvSpPr>
          <p:nvPr/>
        </p:nvSpPr>
        <p:spPr bwMode="auto">
          <a:xfrm>
            <a:off x="68606" y="2019866"/>
            <a:ext cx="1208003" cy="524344"/>
          </a:xfrm>
          <a:custGeom>
            <a:avLst/>
            <a:gdLst>
              <a:gd name="T0" fmla="*/ 1650 w 2049"/>
              <a:gd name="T1" fmla="*/ 628 h 886"/>
              <a:gd name="T2" fmla="*/ 1600 w 2049"/>
              <a:gd name="T3" fmla="*/ 619 h 886"/>
              <a:gd name="T4" fmla="*/ 1594 w 2049"/>
              <a:gd name="T5" fmla="*/ 717 h 886"/>
              <a:gd name="T6" fmla="*/ 1594 w 2049"/>
              <a:gd name="T7" fmla="*/ 777 h 886"/>
              <a:gd name="T8" fmla="*/ 1677 w 2049"/>
              <a:gd name="T9" fmla="*/ 696 h 886"/>
              <a:gd name="T10" fmla="*/ 1691 w 2049"/>
              <a:gd name="T11" fmla="*/ 558 h 886"/>
              <a:gd name="T12" fmla="*/ 1597 w 2049"/>
              <a:gd name="T13" fmla="*/ 572 h 886"/>
              <a:gd name="T14" fmla="*/ 1561 w 2049"/>
              <a:gd name="T15" fmla="*/ 513 h 886"/>
              <a:gd name="T16" fmla="*/ 2008 w 2049"/>
              <a:gd name="T17" fmla="*/ 53 h 886"/>
              <a:gd name="T18" fmla="*/ 1735 w 2049"/>
              <a:gd name="T19" fmla="*/ 24 h 886"/>
              <a:gd name="T20" fmla="*/ 1622 w 2049"/>
              <a:gd name="T21" fmla="*/ 0 h 886"/>
              <a:gd name="T22" fmla="*/ 1141 w 2049"/>
              <a:gd name="T23" fmla="*/ 107 h 886"/>
              <a:gd name="T24" fmla="*/ 1138 w 2049"/>
              <a:gd name="T25" fmla="*/ 211 h 886"/>
              <a:gd name="T26" fmla="*/ 1051 w 2049"/>
              <a:gd name="T27" fmla="*/ 238 h 886"/>
              <a:gd name="T28" fmla="*/ 837 w 2049"/>
              <a:gd name="T29" fmla="*/ 261 h 886"/>
              <a:gd name="T30" fmla="*/ 939 w 2049"/>
              <a:gd name="T31" fmla="*/ 316 h 886"/>
              <a:gd name="T32" fmla="*/ 1037 w 2049"/>
              <a:gd name="T33" fmla="*/ 311 h 886"/>
              <a:gd name="T34" fmla="*/ 898 w 2049"/>
              <a:gd name="T35" fmla="*/ 357 h 886"/>
              <a:gd name="T36" fmla="*/ 745 w 2049"/>
              <a:gd name="T37" fmla="*/ 404 h 886"/>
              <a:gd name="T38" fmla="*/ 643 w 2049"/>
              <a:gd name="T39" fmla="*/ 462 h 886"/>
              <a:gd name="T40" fmla="*/ 689 w 2049"/>
              <a:gd name="T41" fmla="*/ 491 h 886"/>
              <a:gd name="T42" fmla="*/ 619 w 2049"/>
              <a:gd name="T43" fmla="*/ 510 h 886"/>
              <a:gd name="T44" fmla="*/ 678 w 2049"/>
              <a:gd name="T45" fmla="*/ 554 h 886"/>
              <a:gd name="T46" fmla="*/ 694 w 2049"/>
              <a:gd name="T47" fmla="*/ 576 h 886"/>
              <a:gd name="T48" fmla="*/ 785 w 2049"/>
              <a:gd name="T49" fmla="*/ 580 h 886"/>
              <a:gd name="T50" fmla="*/ 815 w 2049"/>
              <a:gd name="T51" fmla="*/ 598 h 886"/>
              <a:gd name="T52" fmla="*/ 697 w 2049"/>
              <a:gd name="T53" fmla="*/ 654 h 886"/>
              <a:gd name="T54" fmla="*/ 491 w 2049"/>
              <a:gd name="T55" fmla="*/ 747 h 886"/>
              <a:gd name="T56" fmla="*/ 385 w 2049"/>
              <a:gd name="T57" fmla="*/ 763 h 886"/>
              <a:gd name="T58" fmla="*/ 373 w 2049"/>
              <a:gd name="T59" fmla="*/ 783 h 886"/>
              <a:gd name="T60" fmla="*/ 514 w 2049"/>
              <a:gd name="T61" fmla="*/ 746 h 886"/>
              <a:gd name="T62" fmla="*/ 653 w 2049"/>
              <a:gd name="T63" fmla="*/ 697 h 886"/>
              <a:gd name="T64" fmla="*/ 841 w 2049"/>
              <a:gd name="T65" fmla="*/ 628 h 886"/>
              <a:gd name="T66" fmla="*/ 1015 w 2049"/>
              <a:gd name="T67" fmla="*/ 545 h 886"/>
              <a:gd name="T68" fmla="*/ 1234 w 2049"/>
              <a:gd name="T69" fmla="*/ 485 h 886"/>
              <a:gd name="T70" fmla="*/ 1075 w 2049"/>
              <a:gd name="T71" fmla="*/ 536 h 886"/>
              <a:gd name="T72" fmla="*/ 1211 w 2049"/>
              <a:gd name="T73" fmla="*/ 530 h 886"/>
              <a:gd name="T74" fmla="*/ 1336 w 2049"/>
              <a:gd name="T75" fmla="*/ 492 h 886"/>
              <a:gd name="T76" fmla="*/ 1472 w 2049"/>
              <a:gd name="T77" fmla="*/ 532 h 886"/>
              <a:gd name="T78" fmla="*/ 1541 w 2049"/>
              <a:gd name="T79" fmla="*/ 573 h 886"/>
              <a:gd name="T80" fmla="*/ 1630 w 2049"/>
              <a:gd name="T81" fmla="*/ 585 h 886"/>
              <a:gd name="T82" fmla="*/ 1679 w 2049"/>
              <a:gd name="T83" fmla="*/ 607 h 886"/>
              <a:gd name="T84" fmla="*/ 1636 w 2049"/>
              <a:gd name="T85" fmla="*/ 670 h 886"/>
              <a:gd name="T86" fmla="*/ 1660 w 2049"/>
              <a:gd name="T87" fmla="*/ 733 h 886"/>
              <a:gd name="T88" fmla="*/ 1623 w 2049"/>
              <a:gd name="T89" fmla="*/ 785 h 886"/>
              <a:gd name="T90" fmla="*/ 1707 w 2049"/>
              <a:gd name="T91" fmla="*/ 721 h 886"/>
              <a:gd name="T92" fmla="*/ 1598 w 2049"/>
              <a:gd name="T93" fmla="*/ 704 h 886"/>
              <a:gd name="T94" fmla="*/ 1546 w 2049"/>
              <a:gd name="T95" fmla="*/ 720 h 886"/>
              <a:gd name="T96" fmla="*/ 510 w 2049"/>
              <a:gd name="T97" fmla="*/ 517 h 886"/>
              <a:gd name="T98" fmla="*/ 76 w 2049"/>
              <a:gd name="T99" fmla="*/ 849 h 886"/>
              <a:gd name="T100" fmla="*/ 859 w 2049"/>
              <a:gd name="T101" fmla="*/ 663 h 886"/>
              <a:gd name="T102" fmla="*/ 881 w 2049"/>
              <a:gd name="T103" fmla="*/ 664 h 886"/>
              <a:gd name="T104" fmla="*/ 908 w 2049"/>
              <a:gd name="T105" fmla="*/ 635 h 886"/>
              <a:gd name="T106" fmla="*/ 1646 w 2049"/>
              <a:gd name="T107" fmla="*/ 762 h 886"/>
              <a:gd name="T108" fmla="*/ 923 w 2049"/>
              <a:gd name="T109" fmla="*/ 630 h 886"/>
              <a:gd name="T110" fmla="*/ 290 w 2049"/>
              <a:gd name="T111" fmla="*/ 788 h 886"/>
              <a:gd name="T112" fmla="*/ 221 w 2049"/>
              <a:gd name="T113" fmla="*/ 814 h 88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49"/>
              <a:gd name="T172" fmla="*/ 0 h 886"/>
              <a:gd name="T173" fmla="*/ 2049 w 2049"/>
              <a:gd name="T174" fmla="*/ 886 h 88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49" h="886">
                <a:moveTo>
                  <a:pt x="1636" y="622"/>
                </a:moveTo>
                <a:cubicBezTo>
                  <a:pt x="1628" y="629"/>
                  <a:pt x="1614" y="645"/>
                  <a:pt x="1614" y="645"/>
                </a:cubicBezTo>
                <a:cubicBezTo>
                  <a:pt x="1602" y="669"/>
                  <a:pt x="1602" y="669"/>
                  <a:pt x="1602" y="669"/>
                </a:cubicBezTo>
                <a:cubicBezTo>
                  <a:pt x="1602" y="669"/>
                  <a:pt x="1623" y="665"/>
                  <a:pt x="1633" y="656"/>
                </a:cubicBezTo>
                <a:cubicBezTo>
                  <a:pt x="1643" y="647"/>
                  <a:pt x="1640" y="638"/>
                  <a:pt x="1640" y="638"/>
                </a:cubicBezTo>
                <a:cubicBezTo>
                  <a:pt x="1650" y="628"/>
                  <a:pt x="1650" y="628"/>
                  <a:pt x="1650" y="628"/>
                </a:cubicBezTo>
                <a:cubicBezTo>
                  <a:pt x="1650" y="628"/>
                  <a:pt x="1644" y="615"/>
                  <a:pt x="1636" y="622"/>
                </a:cubicBezTo>
                <a:close/>
                <a:moveTo>
                  <a:pt x="1600" y="619"/>
                </a:moveTo>
                <a:cubicBezTo>
                  <a:pt x="1600" y="619"/>
                  <a:pt x="1575" y="626"/>
                  <a:pt x="1576" y="633"/>
                </a:cubicBezTo>
                <a:cubicBezTo>
                  <a:pt x="1577" y="640"/>
                  <a:pt x="1586" y="650"/>
                  <a:pt x="1586" y="650"/>
                </a:cubicBezTo>
                <a:cubicBezTo>
                  <a:pt x="1597" y="654"/>
                  <a:pt x="1614" y="646"/>
                  <a:pt x="1614" y="636"/>
                </a:cubicBezTo>
                <a:cubicBezTo>
                  <a:pt x="1614" y="626"/>
                  <a:pt x="1600" y="619"/>
                  <a:pt x="1600" y="619"/>
                </a:cubicBezTo>
                <a:close/>
                <a:moveTo>
                  <a:pt x="1544" y="792"/>
                </a:moveTo>
                <a:cubicBezTo>
                  <a:pt x="1553" y="793"/>
                  <a:pt x="1553" y="793"/>
                  <a:pt x="1553" y="793"/>
                </a:cubicBezTo>
                <a:cubicBezTo>
                  <a:pt x="1559" y="768"/>
                  <a:pt x="1559" y="768"/>
                  <a:pt x="1559" y="768"/>
                </a:cubicBezTo>
                <a:cubicBezTo>
                  <a:pt x="1548" y="773"/>
                  <a:pt x="1548" y="773"/>
                  <a:pt x="1548" y="773"/>
                </a:cubicBezTo>
                <a:lnTo>
                  <a:pt x="1544" y="792"/>
                </a:lnTo>
                <a:close/>
                <a:moveTo>
                  <a:pt x="1594" y="717"/>
                </a:moveTo>
                <a:cubicBezTo>
                  <a:pt x="1581" y="726"/>
                  <a:pt x="1581" y="726"/>
                  <a:pt x="1581" y="726"/>
                </a:cubicBezTo>
                <a:cubicBezTo>
                  <a:pt x="1581" y="726"/>
                  <a:pt x="1587" y="732"/>
                  <a:pt x="1591" y="733"/>
                </a:cubicBezTo>
                <a:cubicBezTo>
                  <a:pt x="1595" y="734"/>
                  <a:pt x="1577" y="743"/>
                  <a:pt x="1573" y="745"/>
                </a:cubicBezTo>
                <a:cubicBezTo>
                  <a:pt x="1569" y="747"/>
                  <a:pt x="1563" y="758"/>
                  <a:pt x="1568" y="767"/>
                </a:cubicBezTo>
                <a:cubicBezTo>
                  <a:pt x="1573" y="776"/>
                  <a:pt x="1572" y="794"/>
                  <a:pt x="1572" y="794"/>
                </a:cubicBezTo>
                <a:cubicBezTo>
                  <a:pt x="1572" y="794"/>
                  <a:pt x="1586" y="786"/>
                  <a:pt x="1594" y="777"/>
                </a:cubicBezTo>
                <a:cubicBezTo>
                  <a:pt x="1602" y="768"/>
                  <a:pt x="1590" y="756"/>
                  <a:pt x="1590" y="756"/>
                </a:cubicBezTo>
                <a:cubicBezTo>
                  <a:pt x="1590" y="756"/>
                  <a:pt x="1600" y="755"/>
                  <a:pt x="1609" y="745"/>
                </a:cubicBezTo>
                <a:cubicBezTo>
                  <a:pt x="1618" y="735"/>
                  <a:pt x="1594" y="717"/>
                  <a:pt x="1594" y="717"/>
                </a:cubicBezTo>
                <a:close/>
                <a:moveTo>
                  <a:pt x="1707" y="721"/>
                </a:moveTo>
                <a:cubicBezTo>
                  <a:pt x="1707" y="721"/>
                  <a:pt x="1700" y="719"/>
                  <a:pt x="1700" y="714"/>
                </a:cubicBezTo>
                <a:cubicBezTo>
                  <a:pt x="1700" y="710"/>
                  <a:pt x="1672" y="709"/>
                  <a:pt x="1677" y="696"/>
                </a:cubicBezTo>
                <a:cubicBezTo>
                  <a:pt x="1682" y="683"/>
                  <a:pt x="1688" y="666"/>
                  <a:pt x="1688" y="666"/>
                </a:cubicBezTo>
                <a:cubicBezTo>
                  <a:pt x="1688" y="642"/>
                  <a:pt x="1688" y="642"/>
                  <a:pt x="1688" y="642"/>
                </a:cubicBezTo>
                <a:cubicBezTo>
                  <a:pt x="1688" y="642"/>
                  <a:pt x="1705" y="623"/>
                  <a:pt x="1698" y="606"/>
                </a:cubicBezTo>
                <a:cubicBezTo>
                  <a:pt x="1692" y="588"/>
                  <a:pt x="1685" y="586"/>
                  <a:pt x="1685" y="586"/>
                </a:cubicBezTo>
                <a:cubicBezTo>
                  <a:pt x="1691" y="575"/>
                  <a:pt x="1691" y="575"/>
                  <a:pt x="1691" y="575"/>
                </a:cubicBezTo>
                <a:cubicBezTo>
                  <a:pt x="1691" y="558"/>
                  <a:pt x="1691" y="558"/>
                  <a:pt x="1691" y="558"/>
                </a:cubicBezTo>
                <a:cubicBezTo>
                  <a:pt x="1691" y="558"/>
                  <a:pt x="1718" y="548"/>
                  <a:pt x="1699" y="542"/>
                </a:cubicBezTo>
                <a:cubicBezTo>
                  <a:pt x="1681" y="537"/>
                  <a:pt x="1653" y="547"/>
                  <a:pt x="1653" y="547"/>
                </a:cubicBezTo>
                <a:cubicBezTo>
                  <a:pt x="1651" y="555"/>
                  <a:pt x="1651" y="555"/>
                  <a:pt x="1651" y="555"/>
                </a:cubicBezTo>
                <a:cubicBezTo>
                  <a:pt x="1639" y="555"/>
                  <a:pt x="1639" y="555"/>
                  <a:pt x="1639" y="555"/>
                </a:cubicBezTo>
                <a:cubicBezTo>
                  <a:pt x="1639" y="555"/>
                  <a:pt x="1633" y="565"/>
                  <a:pt x="1625" y="565"/>
                </a:cubicBezTo>
                <a:cubicBezTo>
                  <a:pt x="1618" y="565"/>
                  <a:pt x="1597" y="572"/>
                  <a:pt x="1597" y="572"/>
                </a:cubicBezTo>
                <a:cubicBezTo>
                  <a:pt x="1597" y="572"/>
                  <a:pt x="1581" y="585"/>
                  <a:pt x="1575" y="585"/>
                </a:cubicBezTo>
                <a:cubicBezTo>
                  <a:pt x="1570" y="585"/>
                  <a:pt x="1589" y="566"/>
                  <a:pt x="1589" y="566"/>
                </a:cubicBezTo>
                <a:cubicBezTo>
                  <a:pt x="1589" y="566"/>
                  <a:pt x="1570" y="558"/>
                  <a:pt x="1570" y="547"/>
                </a:cubicBezTo>
                <a:cubicBezTo>
                  <a:pt x="1570" y="537"/>
                  <a:pt x="1570" y="528"/>
                  <a:pt x="1570" y="528"/>
                </a:cubicBezTo>
                <a:cubicBezTo>
                  <a:pt x="1585" y="513"/>
                  <a:pt x="1585" y="513"/>
                  <a:pt x="1585" y="513"/>
                </a:cubicBezTo>
                <a:cubicBezTo>
                  <a:pt x="1561" y="513"/>
                  <a:pt x="1561" y="513"/>
                  <a:pt x="1561" y="513"/>
                </a:cubicBezTo>
                <a:cubicBezTo>
                  <a:pt x="1561" y="513"/>
                  <a:pt x="1552" y="518"/>
                  <a:pt x="1549" y="518"/>
                </a:cubicBezTo>
                <a:cubicBezTo>
                  <a:pt x="1549" y="518"/>
                  <a:pt x="1520" y="524"/>
                  <a:pt x="1514" y="518"/>
                </a:cubicBezTo>
                <a:cubicBezTo>
                  <a:pt x="1508" y="512"/>
                  <a:pt x="1534" y="498"/>
                  <a:pt x="1534" y="498"/>
                </a:cubicBezTo>
                <a:cubicBezTo>
                  <a:pt x="2049" y="74"/>
                  <a:pt x="2049" y="74"/>
                  <a:pt x="2049" y="74"/>
                </a:cubicBezTo>
                <a:cubicBezTo>
                  <a:pt x="2037" y="74"/>
                  <a:pt x="2037" y="74"/>
                  <a:pt x="2037" y="74"/>
                </a:cubicBezTo>
                <a:cubicBezTo>
                  <a:pt x="2037" y="74"/>
                  <a:pt x="2034" y="51"/>
                  <a:pt x="2008" y="53"/>
                </a:cubicBezTo>
                <a:cubicBezTo>
                  <a:pt x="1982" y="55"/>
                  <a:pt x="1951" y="64"/>
                  <a:pt x="1947" y="64"/>
                </a:cubicBezTo>
                <a:cubicBezTo>
                  <a:pt x="1943" y="64"/>
                  <a:pt x="1916" y="50"/>
                  <a:pt x="1912" y="48"/>
                </a:cubicBezTo>
                <a:cubicBezTo>
                  <a:pt x="1908" y="46"/>
                  <a:pt x="1858" y="47"/>
                  <a:pt x="1858" y="47"/>
                </a:cubicBezTo>
                <a:cubicBezTo>
                  <a:pt x="1858" y="47"/>
                  <a:pt x="1842" y="39"/>
                  <a:pt x="1824" y="37"/>
                </a:cubicBezTo>
                <a:cubicBezTo>
                  <a:pt x="1806" y="35"/>
                  <a:pt x="1735" y="38"/>
                  <a:pt x="1732" y="38"/>
                </a:cubicBezTo>
                <a:cubicBezTo>
                  <a:pt x="1729" y="38"/>
                  <a:pt x="1735" y="24"/>
                  <a:pt x="1735" y="24"/>
                </a:cubicBezTo>
                <a:cubicBezTo>
                  <a:pt x="1735" y="24"/>
                  <a:pt x="1699" y="19"/>
                  <a:pt x="1694" y="18"/>
                </a:cubicBezTo>
                <a:cubicBezTo>
                  <a:pt x="1689" y="17"/>
                  <a:pt x="1656" y="24"/>
                  <a:pt x="1656" y="24"/>
                </a:cubicBezTo>
                <a:cubicBezTo>
                  <a:pt x="1676" y="2"/>
                  <a:pt x="1676" y="2"/>
                  <a:pt x="1676" y="2"/>
                </a:cubicBezTo>
                <a:cubicBezTo>
                  <a:pt x="1621" y="24"/>
                  <a:pt x="1621" y="24"/>
                  <a:pt x="1621" y="24"/>
                </a:cubicBezTo>
                <a:cubicBezTo>
                  <a:pt x="1642" y="2"/>
                  <a:pt x="1642" y="2"/>
                  <a:pt x="1642" y="2"/>
                </a:cubicBezTo>
                <a:cubicBezTo>
                  <a:pt x="1622" y="0"/>
                  <a:pt x="1622" y="0"/>
                  <a:pt x="1622" y="0"/>
                </a:cubicBezTo>
                <a:cubicBezTo>
                  <a:pt x="1622" y="0"/>
                  <a:pt x="1591" y="22"/>
                  <a:pt x="1561" y="22"/>
                </a:cubicBezTo>
                <a:cubicBezTo>
                  <a:pt x="1531" y="22"/>
                  <a:pt x="1485" y="16"/>
                  <a:pt x="1477" y="24"/>
                </a:cubicBezTo>
                <a:cubicBezTo>
                  <a:pt x="1469" y="32"/>
                  <a:pt x="1439" y="39"/>
                  <a:pt x="1439" y="39"/>
                </a:cubicBezTo>
                <a:cubicBezTo>
                  <a:pt x="1439" y="39"/>
                  <a:pt x="1390" y="39"/>
                  <a:pt x="1364" y="42"/>
                </a:cubicBezTo>
                <a:cubicBezTo>
                  <a:pt x="1338" y="45"/>
                  <a:pt x="1277" y="91"/>
                  <a:pt x="1235" y="97"/>
                </a:cubicBezTo>
                <a:cubicBezTo>
                  <a:pt x="1193" y="103"/>
                  <a:pt x="1141" y="107"/>
                  <a:pt x="1141" y="107"/>
                </a:cubicBezTo>
                <a:cubicBezTo>
                  <a:pt x="1141" y="107"/>
                  <a:pt x="1078" y="128"/>
                  <a:pt x="1081" y="133"/>
                </a:cubicBezTo>
                <a:cubicBezTo>
                  <a:pt x="1084" y="138"/>
                  <a:pt x="1105" y="149"/>
                  <a:pt x="1105" y="149"/>
                </a:cubicBezTo>
                <a:cubicBezTo>
                  <a:pt x="1105" y="149"/>
                  <a:pt x="1118" y="172"/>
                  <a:pt x="1112" y="175"/>
                </a:cubicBezTo>
                <a:cubicBezTo>
                  <a:pt x="1106" y="178"/>
                  <a:pt x="1097" y="187"/>
                  <a:pt x="1097" y="187"/>
                </a:cubicBezTo>
                <a:cubicBezTo>
                  <a:pt x="1157" y="188"/>
                  <a:pt x="1157" y="188"/>
                  <a:pt x="1157" y="188"/>
                </a:cubicBezTo>
                <a:cubicBezTo>
                  <a:pt x="1138" y="211"/>
                  <a:pt x="1138" y="211"/>
                  <a:pt x="1138" y="211"/>
                </a:cubicBezTo>
                <a:cubicBezTo>
                  <a:pt x="1182" y="213"/>
                  <a:pt x="1182" y="213"/>
                  <a:pt x="1182" y="213"/>
                </a:cubicBezTo>
                <a:cubicBezTo>
                  <a:pt x="1175" y="225"/>
                  <a:pt x="1175" y="225"/>
                  <a:pt x="1175" y="225"/>
                </a:cubicBezTo>
                <a:cubicBezTo>
                  <a:pt x="1139" y="224"/>
                  <a:pt x="1139" y="224"/>
                  <a:pt x="1139" y="224"/>
                </a:cubicBezTo>
                <a:cubicBezTo>
                  <a:pt x="1132" y="232"/>
                  <a:pt x="1132" y="232"/>
                  <a:pt x="1132" y="232"/>
                </a:cubicBezTo>
                <a:cubicBezTo>
                  <a:pt x="1110" y="232"/>
                  <a:pt x="1110" y="232"/>
                  <a:pt x="1110" y="232"/>
                </a:cubicBezTo>
                <a:cubicBezTo>
                  <a:pt x="1110" y="232"/>
                  <a:pt x="1076" y="238"/>
                  <a:pt x="1051" y="238"/>
                </a:cubicBezTo>
                <a:cubicBezTo>
                  <a:pt x="1026" y="238"/>
                  <a:pt x="1031" y="228"/>
                  <a:pt x="1045" y="223"/>
                </a:cubicBezTo>
                <a:cubicBezTo>
                  <a:pt x="1059" y="218"/>
                  <a:pt x="1017" y="215"/>
                  <a:pt x="1017" y="215"/>
                </a:cubicBezTo>
                <a:cubicBezTo>
                  <a:pt x="1017" y="215"/>
                  <a:pt x="969" y="213"/>
                  <a:pt x="967" y="221"/>
                </a:cubicBezTo>
                <a:cubicBezTo>
                  <a:pt x="965" y="229"/>
                  <a:pt x="969" y="234"/>
                  <a:pt x="969" y="234"/>
                </a:cubicBezTo>
                <a:cubicBezTo>
                  <a:pt x="969" y="234"/>
                  <a:pt x="934" y="236"/>
                  <a:pt x="911" y="239"/>
                </a:cubicBezTo>
                <a:cubicBezTo>
                  <a:pt x="888" y="242"/>
                  <a:pt x="820" y="255"/>
                  <a:pt x="837" y="261"/>
                </a:cubicBezTo>
                <a:cubicBezTo>
                  <a:pt x="854" y="267"/>
                  <a:pt x="877" y="270"/>
                  <a:pt x="877" y="270"/>
                </a:cubicBezTo>
                <a:cubicBezTo>
                  <a:pt x="848" y="280"/>
                  <a:pt x="848" y="280"/>
                  <a:pt x="848" y="280"/>
                </a:cubicBezTo>
                <a:cubicBezTo>
                  <a:pt x="840" y="307"/>
                  <a:pt x="840" y="307"/>
                  <a:pt x="840" y="307"/>
                </a:cubicBezTo>
                <a:cubicBezTo>
                  <a:pt x="840" y="307"/>
                  <a:pt x="864" y="311"/>
                  <a:pt x="880" y="311"/>
                </a:cubicBezTo>
                <a:cubicBezTo>
                  <a:pt x="896" y="311"/>
                  <a:pt x="910" y="308"/>
                  <a:pt x="910" y="308"/>
                </a:cubicBezTo>
                <a:cubicBezTo>
                  <a:pt x="939" y="316"/>
                  <a:pt x="939" y="316"/>
                  <a:pt x="939" y="316"/>
                </a:cubicBezTo>
                <a:cubicBezTo>
                  <a:pt x="948" y="304"/>
                  <a:pt x="948" y="304"/>
                  <a:pt x="948" y="304"/>
                </a:cubicBezTo>
                <a:cubicBezTo>
                  <a:pt x="957" y="315"/>
                  <a:pt x="957" y="315"/>
                  <a:pt x="957" y="315"/>
                </a:cubicBezTo>
                <a:cubicBezTo>
                  <a:pt x="957" y="315"/>
                  <a:pt x="989" y="297"/>
                  <a:pt x="994" y="297"/>
                </a:cubicBezTo>
                <a:cubicBezTo>
                  <a:pt x="999" y="297"/>
                  <a:pt x="1007" y="303"/>
                  <a:pt x="1017" y="299"/>
                </a:cubicBezTo>
                <a:cubicBezTo>
                  <a:pt x="1027" y="295"/>
                  <a:pt x="1045" y="281"/>
                  <a:pt x="1046" y="290"/>
                </a:cubicBezTo>
                <a:cubicBezTo>
                  <a:pt x="1047" y="299"/>
                  <a:pt x="1037" y="311"/>
                  <a:pt x="1037" y="311"/>
                </a:cubicBezTo>
                <a:cubicBezTo>
                  <a:pt x="999" y="312"/>
                  <a:pt x="999" y="312"/>
                  <a:pt x="999" y="312"/>
                </a:cubicBezTo>
                <a:cubicBezTo>
                  <a:pt x="1004" y="333"/>
                  <a:pt x="1004" y="333"/>
                  <a:pt x="1004" y="333"/>
                </a:cubicBezTo>
                <a:cubicBezTo>
                  <a:pt x="1004" y="333"/>
                  <a:pt x="976" y="360"/>
                  <a:pt x="958" y="361"/>
                </a:cubicBezTo>
                <a:cubicBezTo>
                  <a:pt x="940" y="362"/>
                  <a:pt x="920" y="362"/>
                  <a:pt x="920" y="362"/>
                </a:cubicBezTo>
                <a:cubicBezTo>
                  <a:pt x="910" y="350"/>
                  <a:pt x="910" y="350"/>
                  <a:pt x="910" y="350"/>
                </a:cubicBezTo>
                <a:cubicBezTo>
                  <a:pt x="898" y="357"/>
                  <a:pt x="898" y="357"/>
                  <a:pt x="898" y="357"/>
                </a:cubicBezTo>
                <a:cubicBezTo>
                  <a:pt x="898" y="365"/>
                  <a:pt x="898" y="365"/>
                  <a:pt x="898" y="365"/>
                </a:cubicBezTo>
                <a:cubicBezTo>
                  <a:pt x="898" y="365"/>
                  <a:pt x="857" y="389"/>
                  <a:pt x="844" y="381"/>
                </a:cubicBezTo>
                <a:cubicBezTo>
                  <a:pt x="831" y="373"/>
                  <a:pt x="824" y="371"/>
                  <a:pt x="824" y="371"/>
                </a:cubicBezTo>
                <a:cubicBezTo>
                  <a:pt x="762" y="406"/>
                  <a:pt x="762" y="406"/>
                  <a:pt x="762" y="406"/>
                </a:cubicBezTo>
                <a:cubicBezTo>
                  <a:pt x="748" y="418"/>
                  <a:pt x="748" y="418"/>
                  <a:pt x="748" y="418"/>
                </a:cubicBezTo>
                <a:cubicBezTo>
                  <a:pt x="745" y="404"/>
                  <a:pt x="745" y="404"/>
                  <a:pt x="745" y="404"/>
                </a:cubicBezTo>
                <a:cubicBezTo>
                  <a:pt x="745" y="404"/>
                  <a:pt x="720" y="415"/>
                  <a:pt x="706" y="420"/>
                </a:cubicBezTo>
                <a:cubicBezTo>
                  <a:pt x="692" y="425"/>
                  <a:pt x="682" y="440"/>
                  <a:pt x="682" y="440"/>
                </a:cubicBezTo>
                <a:cubicBezTo>
                  <a:pt x="662" y="434"/>
                  <a:pt x="662" y="434"/>
                  <a:pt x="662" y="434"/>
                </a:cubicBezTo>
                <a:cubicBezTo>
                  <a:pt x="662" y="447"/>
                  <a:pt x="662" y="447"/>
                  <a:pt x="662" y="447"/>
                </a:cubicBezTo>
                <a:cubicBezTo>
                  <a:pt x="662" y="447"/>
                  <a:pt x="649" y="441"/>
                  <a:pt x="646" y="447"/>
                </a:cubicBezTo>
                <a:cubicBezTo>
                  <a:pt x="643" y="453"/>
                  <a:pt x="643" y="462"/>
                  <a:pt x="643" y="462"/>
                </a:cubicBezTo>
                <a:cubicBezTo>
                  <a:pt x="636" y="471"/>
                  <a:pt x="636" y="471"/>
                  <a:pt x="636" y="471"/>
                </a:cubicBezTo>
                <a:cubicBezTo>
                  <a:pt x="676" y="457"/>
                  <a:pt x="676" y="457"/>
                  <a:pt x="676" y="457"/>
                </a:cubicBezTo>
                <a:cubicBezTo>
                  <a:pt x="661" y="469"/>
                  <a:pt x="661" y="469"/>
                  <a:pt x="661" y="469"/>
                </a:cubicBezTo>
                <a:cubicBezTo>
                  <a:pt x="661" y="475"/>
                  <a:pt x="661" y="475"/>
                  <a:pt x="661" y="475"/>
                </a:cubicBezTo>
                <a:cubicBezTo>
                  <a:pt x="648" y="483"/>
                  <a:pt x="648" y="483"/>
                  <a:pt x="648" y="483"/>
                </a:cubicBezTo>
                <a:cubicBezTo>
                  <a:pt x="648" y="483"/>
                  <a:pt x="698" y="482"/>
                  <a:pt x="689" y="491"/>
                </a:cubicBezTo>
                <a:cubicBezTo>
                  <a:pt x="680" y="500"/>
                  <a:pt x="658" y="498"/>
                  <a:pt x="658" y="498"/>
                </a:cubicBezTo>
                <a:cubicBezTo>
                  <a:pt x="641" y="502"/>
                  <a:pt x="641" y="502"/>
                  <a:pt x="641" y="502"/>
                </a:cubicBezTo>
                <a:cubicBezTo>
                  <a:pt x="649" y="494"/>
                  <a:pt x="649" y="494"/>
                  <a:pt x="649" y="494"/>
                </a:cubicBezTo>
                <a:cubicBezTo>
                  <a:pt x="640" y="489"/>
                  <a:pt x="640" y="489"/>
                  <a:pt x="640" y="489"/>
                </a:cubicBezTo>
                <a:cubicBezTo>
                  <a:pt x="640" y="489"/>
                  <a:pt x="611" y="500"/>
                  <a:pt x="612" y="503"/>
                </a:cubicBezTo>
                <a:cubicBezTo>
                  <a:pt x="613" y="506"/>
                  <a:pt x="619" y="510"/>
                  <a:pt x="619" y="510"/>
                </a:cubicBezTo>
                <a:cubicBezTo>
                  <a:pt x="619" y="510"/>
                  <a:pt x="608" y="537"/>
                  <a:pt x="612" y="538"/>
                </a:cubicBezTo>
                <a:cubicBezTo>
                  <a:pt x="616" y="539"/>
                  <a:pt x="659" y="536"/>
                  <a:pt x="659" y="536"/>
                </a:cubicBezTo>
                <a:cubicBezTo>
                  <a:pt x="691" y="518"/>
                  <a:pt x="691" y="518"/>
                  <a:pt x="691" y="518"/>
                </a:cubicBezTo>
                <a:cubicBezTo>
                  <a:pt x="738" y="499"/>
                  <a:pt x="738" y="499"/>
                  <a:pt x="738" y="499"/>
                </a:cubicBezTo>
                <a:cubicBezTo>
                  <a:pt x="738" y="499"/>
                  <a:pt x="694" y="520"/>
                  <a:pt x="689" y="528"/>
                </a:cubicBezTo>
                <a:cubicBezTo>
                  <a:pt x="684" y="536"/>
                  <a:pt x="685" y="552"/>
                  <a:pt x="678" y="554"/>
                </a:cubicBezTo>
                <a:cubicBezTo>
                  <a:pt x="671" y="556"/>
                  <a:pt x="659" y="549"/>
                  <a:pt x="653" y="558"/>
                </a:cubicBezTo>
                <a:cubicBezTo>
                  <a:pt x="647" y="567"/>
                  <a:pt x="643" y="577"/>
                  <a:pt x="638" y="582"/>
                </a:cubicBezTo>
                <a:cubicBezTo>
                  <a:pt x="633" y="587"/>
                  <a:pt x="618" y="596"/>
                  <a:pt x="618" y="596"/>
                </a:cubicBezTo>
                <a:cubicBezTo>
                  <a:pt x="654" y="592"/>
                  <a:pt x="654" y="592"/>
                  <a:pt x="654" y="592"/>
                </a:cubicBezTo>
                <a:cubicBezTo>
                  <a:pt x="647" y="604"/>
                  <a:pt x="647" y="604"/>
                  <a:pt x="647" y="604"/>
                </a:cubicBezTo>
                <a:cubicBezTo>
                  <a:pt x="647" y="604"/>
                  <a:pt x="677" y="573"/>
                  <a:pt x="694" y="576"/>
                </a:cubicBezTo>
                <a:cubicBezTo>
                  <a:pt x="711" y="579"/>
                  <a:pt x="702" y="584"/>
                  <a:pt x="702" y="584"/>
                </a:cubicBezTo>
                <a:cubicBezTo>
                  <a:pt x="718" y="582"/>
                  <a:pt x="718" y="582"/>
                  <a:pt x="718" y="582"/>
                </a:cubicBezTo>
                <a:cubicBezTo>
                  <a:pt x="718" y="582"/>
                  <a:pt x="705" y="607"/>
                  <a:pt x="719" y="607"/>
                </a:cubicBezTo>
                <a:cubicBezTo>
                  <a:pt x="733" y="607"/>
                  <a:pt x="750" y="585"/>
                  <a:pt x="750" y="585"/>
                </a:cubicBezTo>
                <a:cubicBezTo>
                  <a:pt x="778" y="572"/>
                  <a:pt x="778" y="572"/>
                  <a:pt x="778" y="572"/>
                </a:cubicBezTo>
                <a:cubicBezTo>
                  <a:pt x="785" y="580"/>
                  <a:pt x="785" y="580"/>
                  <a:pt x="785" y="580"/>
                </a:cubicBezTo>
                <a:cubicBezTo>
                  <a:pt x="765" y="582"/>
                  <a:pt x="765" y="582"/>
                  <a:pt x="765" y="582"/>
                </a:cubicBezTo>
                <a:cubicBezTo>
                  <a:pt x="765" y="582"/>
                  <a:pt x="751" y="596"/>
                  <a:pt x="762" y="596"/>
                </a:cubicBezTo>
                <a:cubicBezTo>
                  <a:pt x="773" y="596"/>
                  <a:pt x="819" y="583"/>
                  <a:pt x="819" y="583"/>
                </a:cubicBezTo>
                <a:cubicBezTo>
                  <a:pt x="847" y="571"/>
                  <a:pt x="847" y="571"/>
                  <a:pt x="847" y="571"/>
                </a:cubicBezTo>
                <a:cubicBezTo>
                  <a:pt x="815" y="588"/>
                  <a:pt x="815" y="588"/>
                  <a:pt x="815" y="588"/>
                </a:cubicBezTo>
                <a:cubicBezTo>
                  <a:pt x="815" y="598"/>
                  <a:pt x="815" y="598"/>
                  <a:pt x="815" y="598"/>
                </a:cubicBezTo>
                <a:cubicBezTo>
                  <a:pt x="815" y="598"/>
                  <a:pt x="797" y="599"/>
                  <a:pt x="786" y="603"/>
                </a:cubicBezTo>
                <a:cubicBezTo>
                  <a:pt x="775" y="607"/>
                  <a:pt x="767" y="620"/>
                  <a:pt x="767" y="620"/>
                </a:cubicBezTo>
                <a:cubicBezTo>
                  <a:pt x="747" y="622"/>
                  <a:pt x="747" y="622"/>
                  <a:pt x="747" y="622"/>
                </a:cubicBezTo>
                <a:cubicBezTo>
                  <a:pt x="723" y="642"/>
                  <a:pt x="723" y="642"/>
                  <a:pt x="723" y="642"/>
                </a:cubicBezTo>
                <a:cubicBezTo>
                  <a:pt x="724" y="651"/>
                  <a:pt x="724" y="651"/>
                  <a:pt x="724" y="651"/>
                </a:cubicBezTo>
                <a:cubicBezTo>
                  <a:pt x="697" y="654"/>
                  <a:pt x="697" y="654"/>
                  <a:pt x="697" y="654"/>
                </a:cubicBezTo>
                <a:cubicBezTo>
                  <a:pt x="697" y="654"/>
                  <a:pt x="652" y="663"/>
                  <a:pt x="647" y="670"/>
                </a:cubicBezTo>
                <a:cubicBezTo>
                  <a:pt x="642" y="677"/>
                  <a:pt x="645" y="691"/>
                  <a:pt x="636" y="691"/>
                </a:cubicBezTo>
                <a:cubicBezTo>
                  <a:pt x="627" y="691"/>
                  <a:pt x="600" y="691"/>
                  <a:pt x="584" y="693"/>
                </a:cubicBezTo>
                <a:cubicBezTo>
                  <a:pt x="568" y="695"/>
                  <a:pt x="515" y="734"/>
                  <a:pt x="515" y="734"/>
                </a:cubicBezTo>
                <a:cubicBezTo>
                  <a:pt x="500" y="737"/>
                  <a:pt x="500" y="737"/>
                  <a:pt x="500" y="737"/>
                </a:cubicBezTo>
                <a:cubicBezTo>
                  <a:pt x="491" y="747"/>
                  <a:pt x="491" y="747"/>
                  <a:pt x="491" y="747"/>
                </a:cubicBezTo>
                <a:cubicBezTo>
                  <a:pt x="490" y="736"/>
                  <a:pt x="490" y="736"/>
                  <a:pt x="490" y="736"/>
                </a:cubicBezTo>
                <a:cubicBezTo>
                  <a:pt x="490" y="736"/>
                  <a:pt x="458" y="732"/>
                  <a:pt x="447" y="738"/>
                </a:cubicBezTo>
                <a:cubicBezTo>
                  <a:pt x="436" y="744"/>
                  <a:pt x="412" y="754"/>
                  <a:pt x="412" y="754"/>
                </a:cubicBezTo>
                <a:cubicBezTo>
                  <a:pt x="403" y="752"/>
                  <a:pt x="403" y="752"/>
                  <a:pt x="403" y="752"/>
                </a:cubicBezTo>
                <a:cubicBezTo>
                  <a:pt x="404" y="760"/>
                  <a:pt x="404" y="760"/>
                  <a:pt x="404" y="760"/>
                </a:cubicBezTo>
                <a:cubicBezTo>
                  <a:pt x="385" y="763"/>
                  <a:pt x="385" y="763"/>
                  <a:pt x="385" y="763"/>
                </a:cubicBezTo>
                <a:cubicBezTo>
                  <a:pt x="378" y="769"/>
                  <a:pt x="378" y="769"/>
                  <a:pt x="378" y="769"/>
                </a:cubicBezTo>
                <a:cubicBezTo>
                  <a:pt x="362" y="767"/>
                  <a:pt x="362" y="767"/>
                  <a:pt x="362" y="767"/>
                </a:cubicBezTo>
                <a:cubicBezTo>
                  <a:pt x="345" y="782"/>
                  <a:pt x="345" y="782"/>
                  <a:pt x="345" y="782"/>
                </a:cubicBezTo>
                <a:cubicBezTo>
                  <a:pt x="350" y="788"/>
                  <a:pt x="350" y="788"/>
                  <a:pt x="350" y="788"/>
                </a:cubicBezTo>
                <a:cubicBezTo>
                  <a:pt x="360" y="776"/>
                  <a:pt x="360" y="776"/>
                  <a:pt x="360" y="776"/>
                </a:cubicBezTo>
                <a:cubicBezTo>
                  <a:pt x="373" y="783"/>
                  <a:pt x="373" y="783"/>
                  <a:pt x="373" y="783"/>
                </a:cubicBezTo>
                <a:cubicBezTo>
                  <a:pt x="387" y="771"/>
                  <a:pt x="387" y="771"/>
                  <a:pt x="387" y="771"/>
                </a:cubicBezTo>
                <a:cubicBezTo>
                  <a:pt x="388" y="779"/>
                  <a:pt x="388" y="779"/>
                  <a:pt x="388" y="779"/>
                </a:cubicBezTo>
                <a:cubicBezTo>
                  <a:pt x="388" y="779"/>
                  <a:pt x="409" y="778"/>
                  <a:pt x="417" y="771"/>
                </a:cubicBezTo>
                <a:cubicBezTo>
                  <a:pt x="425" y="764"/>
                  <a:pt x="441" y="750"/>
                  <a:pt x="450" y="748"/>
                </a:cubicBezTo>
                <a:cubicBezTo>
                  <a:pt x="459" y="746"/>
                  <a:pt x="451" y="762"/>
                  <a:pt x="464" y="762"/>
                </a:cubicBezTo>
                <a:cubicBezTo>
                  <a:pt x="477" y="762"/>
                  <a:pt x="514" y="746"/>
                  <a:pt x="514" y="746"/>
                </a:cubicBezTo>
                <a:cubicBezTo>
                  <a:pt x="536" y="752"/>
                  <a:pt x="536" y="752"/>
                  <a:pt x="536" y="752"/>
                </a:cubicBezTo>
                <a:cubicBezTo>
                  <a:pt x="548" y="740"/>
                  <a:pt x="548" y="740"/>
                  <a:pt x="548" y="740"/>
                </a:cubicBezTo>
                <a:cubicBezTo>
                  <a:pt x="548" y="740"/>
                  <a:pt x="585" y="738"/>
                  <a:pt x="596" y="729"/>
                </a:cubicBezTo>
                <a:cubicBezTo>
                  <a:pt x="607" y="720"/>
                  <a:pt x="619" y="706"/>
                  <a:pt x="628" y="705"/>
                </a:cubicBezTo>
                <a:cubicBezTo>
                  <a:pt x="637" y="704"/>
                  <a:pt x="649" y="704"/>
                  <a:pt x="649" y="704"/>
                </a:cubicBezTo>
                <a:cubicBezTo>
                  <a:pt x="653" y="697"/>
                  <a:pt x="653" y="697"/>
                  <a:pt x="653" y="697"/>
                </a:cubicBezTo>
                <a:cubicBezTo>
                  <a:pt x="677" y="697"/>
                  <a:pt x="677" y="697"/>
                  <a:pt x="677" y="697"/>
                </a:cubicBezTo>
                <a:cubicBezTo>
                  <a:pt x="684" y="691"/>
                  <a:pt x="684" y="691"/>
                  <a:pt x="684" y="691"/>
                </a:cubicBezTo>
                <a:cubicBezTo>
                  <a:pt x="684" y="691"/>
                  <a:pt x="717" y="684"/>
                  <a:pt x="732" y="677"/>
                </a:cubicBezTo>
                <a:cubicBezTo>
                  <a:pt x="747" y="670"/>
                  <a:pt x="762" y="656"/>
                  <a:pt x="762" y="656"/>
                </a:cubicBezTo>
                <a:cubicBezTo>
                  <a:pt x="803" y="650"/>
                  <a:pt x="803" y="650"/>
                  <a:pt x="803" y="650"/>
                </a:cubicBezTo>
                <a:cubicBezTo>
                  <a:pt x="841" y="628"/>
                  <a:pt x="841" y="628"/>
                  <a:pt x="841" y="628"/>
                </a:cubicBezTo>
                <a:cubicBezTo>
                  <a:pt x="841" y="628"/>
                  <a:pt x="885" y="627"/>
                  <a:pt x="892" y="620"/>
                </a:cubicBezTo>
                <a:cubicBezTo>
                  <a:pt x="899" y="613"/>
                  <a:pt x="912" y="601"/>
                  <a:pt x="912" y="601"/>
                </a:cubicBezTo>
                <a:cubicBezTo>
                  <a:pt x="912" y="601"/>
                  <a:pt x="954" y="594"/>
                  <a:pt x="958" y="586"/>
                </a:cubicBezTo>
                <a:cubicBezTo>
                  <a:pt x="962" y="578"/>
                  <a:pt x="947" y="578"/>
                  <a:pt x="947" y="578"/>
                </a:cubicBezTo>
                <a:cubicBezTo>
                  <a:pt x="947" y="578"/>
                  <a:pt x="970" y="562"/>
                  <a:pt x="979" y="557"/>
                </a:cubicBezTo>
                <a:cubicBezTo>
                  <a:pt x="988" y="552"/>
                  <a:pt x="1015" y="545"/>
                  <a:pt x="1015" y="545"/>
                </a:cubicBezTo>
                <a:cubicBezTo>
                  <a:pt x="1066" y="526"/>
                  <a:pt x="1066" y="526"/>
                  <a:pt x="1066" y="526"/>
                </a:cubicBezTo>
                <a:cubicBezTo>
                  <a:pt x="1060" y="513"/>
                  <a:pt x="1060" y="513"/>
                  <a:pt x="1060" y="513"/>
                </a:cubicBezTo>
                <a:cubicBezTo>
                  <a:pt x="1060" y="513"/>
                  <a:pt x="1083" y="519"/>
                  <a:pt x="1090" y="514"/>
                </a:cubicBezTo>
                <a:cubicBezTo>
                  <a:pt x="1097" y="509"/>
                  <a:pt x="1130" y="494"/>
                  <a:pt x="1130" y="494"/>
                </a:cubicBezTo>
                <a:cubicBezTo>
                  <a:pt x="1130" y="494"/>
                  <a:pt x="1188" y="470"/>
                  <a:pt x="1196" y="467"/>
                </a:cubicBezTo>
                <a:cubicBezTo>
                  <a:pt x="1204" y="464"/>
                  <a:pt x="1234" y="485"/>
                  <a:pt x="1234" y="485"/>
                </a:cubicBezTo>
                <a:cubicBezTo>
                  <a:pt x="1210" y="485"/>
                  <a:pt x="1210" y="485"/>
                  <a:pt x="1210" y="485"/>
                </a:cubicBezTo>
                <a:cubicBezTo>
                  <a:pt x="1197" y="477"/>
                  <a:pt x="1197" y="477"/>
                  <a:pt x="1197" y="477"/>
                </a:cubicBezTo>
                <a:cubicBezTo>
                  <a:pt x="1174" y="493"/>
                  <a:pt x="1174" y="493"/>
                  <a:pt x="1174" y="493"/>
                </a:cubicBezTo>
                <a:cubicBezTo>
                  <a:pt x="1151" y="493"/>
                  <a:pt x="1151" y="493"/>
                  <a:pt x="1151" y="493"/>
                </a:cubicBezTo>
                <a:cubicBezTo>
                  <a:pt x="1151" y="493"/>
                  <a:pt x="1128" y="515"/>
                  <a:pt x="1119" y="518"/>
                </a:cubicBezTo>
                <a:cubicBezTo>
                  <a:pt x="1110" y="521"/>
                  <a:pt x="1071" y="527"/>
                  <a:pt x="1075" y="536"/>
                </a:cubicBezTo>
                <a:cubicBezTo>
                  <a:pt x="1079" y="545"/>
                  <a:pt x="1099" y="544"/>
                  <a:pt x="1099" y="544"/>
                </a:cubicBezTo>
                <a:cubicBezTo>
                  <a:pt x="1099" y="544"/>
                  <a:pt x="1079" y="552"/>
                  <a:pt x="1075" y="552"/>
                </a:cubicBezTo>
                <a:cubicBezTo>
                  <a:pt x="1071" y="552"/>
                  <a:pt x="1042" y="551"/>
                  <a:pt x="1042" y="557"/>
                </a:cubicBezTo>
                <a:cubicBezTo>
                  <a:pt x="1042" y="563"/>
                  <a:pt x="1045" y="576"/>
                  <a:pt x="1065" y="568"/>
                </a:cubicBezTo>
                <a:cubicBezTo>
                  <a:pt x="1085" y="560"/>
                  <a:pt x="1129" y="536"/>
                  <a:pt x="1147" y="532"/>
                </a:cubicBezTo>
                <a:cubicBezTo>
                  <a:pt x="1165" y="528"/>
                  <a:pt x="1197" y="537"/>
                  <a:pt x="1211" y="530"/>
                </a:cubicBezTo>
                <a:cubicBezTo>
                  <a:pt x="1225" y="523"/>
                  <a:pt x="1247" y="502"/>
                  <a:pt x="1247" y="502"/>
                </a:cubicBezTo>
                <a:cubicBezTo>
                  <a:pt x="1245" y="492"/>
                  <a:pt x="1245" y="492"/>
                  <a:pt x="1245" y="492"/>
                </a:cubicBezTo>
                <a:cubicBezTo>
                  <a:pt x="1245" y="492"/>
                  <a:pt x="1299" y="471"/>
                  <a:pt x="1309" y="472"/>
                </a:cubicBezTo>
                <a:cubicBezTo>
                  <a:pt x="1319" y="473"/>
                  <a:pt x="1322" y="483"/>
                  <a:pt x="1322" y="483"/>
                </a:cubicBezTo>
                <a:cubicBezTo>
                  <a:pt x="1364" y="470"/>
                  <a:pt x="1364" y="470"/>
                  <a:pt x="1364" y="470"/>
                </a:cubicBezTo>
                <a:cubicBezTo>
                  <a:pt x="1336" y="492"/>
                  <a:pt x="1336" y="492"/>
                  <a:pt x="1336" y="492"/>
                </a:cubicBezTo>
                <a:cubicBezTo>
                  <a:pt x="1350" y="498"/>
                  <a:pt x="1350" y="498"/>
                  <a:pt x="1350" y="498"/>
                </a:cubicBezTo>
                <a:cubicBezTo>
                  <a:pt x="1350" y="498"/>
                  <a:pt x="1346" y="510"/>
                  <a:pt x="1350" y="510"/>
                </a:cubicBezTo>
                <a:cubicBezTo>
                  <a:pt x="1354" y="510"/>
                  <a:pt x="1395" y="485"/>
                  <a:pt x="1395" y="485"/>
                </a:cubicBezTo>
                <a:cubicBezTo>
                  <a:pt x="1395" y="485"/>
                  <a:pt x="1356" y="515"/>
                  <a:pt x="1367" y="520"/>
                </a:cubicBezTo>
                <a:cubicBezTo>
                  <a:pt x="1378" y="525"/>
                  <a:pt x="1406" y="526"/>
                  <a:pt x="1406" y="526"/>
                </a:cubicBezTo>
                <a:cubicBezTo>
                  <a:pt x="1472" y="532"/>
                  <a:pt x="1472" y="532"/>
                  <a:pt x="1472" y="532"/>
                </a:cubicBezTo>
                <a:cubicBezTo>
                  <a:pt x="1493" y="519"/>
                  <a:pt x="1493" y="519"/>
                  <a:pt x="1493" y="519"/>
                </a:cubicBezTo>
                <a:cubicBezTo>
                  <a:pt x="1493" y="519"/>
                  <a:pt x="1480" y="541"/>
                  <a:pt x="1491" y="542"/>
                </a:cubicBezTo>
                <a:cubicBezTo>
                  <a:pt x="1502" y="543"/>
                  <a:pt x="1534" y="541"/>
                  <a:pt x="1534" y="541"/>
                </a:cubicBezTo>
                <a:cubicBezTo>
                  <a:pt x="1556" y="535"/>
                  <a:pt x="1556" y="535"/>
                  <a:pt x="1556" y="535"/>
                </a:cubicBezTo>
                <a:cubicBezTo>
                  <a:pt x="1556" y="535"/>
                  <a:pt x="1517" y="549"/>
                  <a:pt x="1520" y="557"/>
                </a:cubicBezTo>
                <a:cubicBezTo>
                  <a:pt x="1523" y="565"/>
                  <a:pt x="1541" y="573"/>
                  <a:pt x="1541" y="573"/>
                </a:cubicBezTo>
                <a:cubicBezTo>
                  <a:pt x="1541" y="573"/>
                  <a:pt x="1539" y="609"/>
                  <a:pt x="1551" y="609"/>
                </a:cubicBezTo>
                <a:cubicBezTo>
                  <a:pt x="1563" y="609"/>
                  <a:pt x="1594" y="606"/>
                  <a:pt x="1594" y="606"/>
                </a:cubicBezTo>
                <a:cubicBezTo>
                  <a:pt x="1587" y="585"/>
                  <a:pt x="1587" y="585"/>
                  <a:pt x="1587" y="585"/>
                </a:cubicBezTo>
                <a:cubicBezTo>
                  <a:pt x="1601" y="580"/>
                  <a:pt x="1601" y="580"/>
                  <a:pt x="1601" y="580"/>
                </a:cubicBezTo>
                <a:cubicBezTo>
                  <a:pt x="1610" y="591"/>
                  <a:pt x="1610" y="591"/>
                  <a:pt x="1610" y="591"/>
                </a:cubicBezTo>
                <a:cubicBezTo>
                  <a:pt x="1630" y="585"/>
                  <a:pt x="1630" y="585"/>
                  <a:pt x="1630" y="585"/>
                </a:cubicBezTo>
                <a:cubicBezTo>
                  <a:pt x="1630" y="585"/>
                  <a:pt x="1610" y="608"/>
                  <a:pt x="1621" y="612"/>
                </a:cubicBezTo>
                <a:cubicBezTo>
                  <a:pt x="1632" y="616"/>
                  <a:pt x="1650" y="586"/>
                  <a:pt x="1650" y="586"/>
                </a:cubicBezTo>
                <a:cubicBezTo>
                  <a:pt x="1670" y="557"/>
                  <a:pt x="1670" y="557"/>
                  <a:pt x="1670" y="557"/>
                </a:cubicBezTo>
                <a:cubicBezTo>
                  <a:pt x="1652" y="599"/>
                  <a:pt x="1652" y="599"/>
                  <a:pt x="1652" y="599"/>
                </a:cubicBezTo>
                <a:cubicBezTo>
                  <a:pt x="1656" y="615"/>
                  <a:pt x="1656" y="615"/>
                  <a:pt x="1656" y="615"/>
                </a:cubicBezTo>
                <a:cubicBezTo>
                  <a:pt x="1679" y="607"/>
                  <a:pt x="1679" y="607"/>
                  <a:pt x="1679" y="607"/>
                </a:cubicBezTo>
                <a:cubicBezTo>
                  <a:pt x="1664" y="623"/>
                  <a:pt x="1664" y="623"/>
                  <a:pt x="1664" y="623"/>
                </a:cubicBezTo>
                <a:cubicBezTo>
                  <a:pt x="1681" y="638"/>
                  <a:pt x="1681" y="638"/>
                  <a:pt x="1681" y="638"/>
                </a:cubicBezTo>
                <a:cubicBezTo>
                  <a:pt x="1669" y="635"/>
                  <a:pt x="1669" y="635"/>
                  <a:pt x="1669" y="635"/>
                </a:cubicBezTo>
                <a:cubicBezTo>
                  <a:pt x="1667" y="647"/>
                  <a:pt x="1667" y="647"/>
                  <a:pt x="1667" y="647"/>
                </a:cubicBezTo>
                <a:cubicBezTo>
                  <a:pt x="1648" y="660"/>
                  <a:pt x="1648" y="660"/>
                  <a:pt x="1648" y="660"/>
                </a:cubicBezTo>
                <a:cubicBezTo>
                  <a:pt x="1636" y="670"/>
                  <a:pt x="1636" y="670"/>
                  <a:pt x="1636" y="670"/>
                </a:cubicBezTo>
                <a:cubicBezTo>
                  <a:pt x="1657" y="681"/>
                  <a:pt x="1657" y="681"/>
                  <a:pt x="1657" y="681"/>
                </a:cubicBezTo>
                <a:cubicBezTo>
                  <a:pt x="1654" y="702"/>
                  <a:pt x="1654" y="702"/>
                  <a:pt x="1654" y="702"/>
                </a:cubicBezTo>
                <a:cubicBezTo>
                  <a:pt x="1642" y="714"/>
                  <a:pt x="1642" y="714"/>
                  <a:pt x="1642" y="714"/>
                </a:cubicBezTo>
                <a:cubicBezTo>
                  <a:pt x="1654" y="719"/>
                  <a:pt x="1654" y="719"/>
                  <a:pt x="1654" y="719"/>
                </a:cubicBezTo>
                <a:cubicBezTo>
                  <a:pt x="1639" y="733"/>
                  <a:pt x="1639" y="733"/>
                  <a:pt x="1639" y="733"/>
                </a:cubicBezTo>
                <a:cubicBezTo>
                  <a:pt x="1660" y="733"/>
                  <a:pt x="1660" y="733"/>
                  <a:pt x="1660" y="733"/>
                </a:cubicBezTo>
                <a:cubicBezTo>
                  <a:pt x="1685" y="724"/>
                  <a:pt x="1685" y="724"/>
                  <a:pt x="1685" y="724"/>
                </a:cubicBezTo>
                <a:cubicBezTo>
                  <a:pt x="1663" y="750"/>
                  <a:pt x="1663" y="750"/>
                  <a:pt x="1663" y="750"/>
                </a:cubicBezTo>
                <a:cubicBezTo>
                  <a:pt x="1652" y="760"/>
                  <a:pt x="1652" y="760"/>
                  <a:pt x="1652" y="760"/>
                </a:cubicBezTo>
                <a:cubicBezTo>
                  <a:pt x="1667" y="765"/>
                  <a:pt x="1667" y="765"/>
                  <a:pt x="1667" y="765"/>
                </a:cubicBezTo>
                <a:cubicBezTo>
                  <a:pt x="1637" y="777"/>
                  <a:pt x="1637" y="777"/>
                  <a:pt x="1637" y="777"/>
                </a:cubicBezTo>
                <a:cubicBezTo>
                  <a:pt x="1623" y="785"/>
                  <a:pt x="1623" y="785"/>
                  <a:pt x="1623" y="785"/>
                </a:cubicBezTo>
                <a:cubicBezTo>
                  <a:pt x="1637" y="791"/>
                  <a:pt x="1637" y="791"/>
                  <a:pt x="1637" y="791"/>
                </a:cubicBezTo>
                <a:cubicBezTo>
                  <a:pt x="1637" y="791"/>
                  <a:pt x="1636" y="794"/>
                  <a:pt x="1634" y="798"/>
                </a:cubicBezTo>
                <a:cubicBezTo>
                  <a:pt x="1655" y="788"/>
                  <a:pt x="1676" y="777"/>
                  <a:pt x="1680" y="773"/>
                </a:cubicBezTo>
                <a:cubicBezTo>
                  <a:pt x="1690" y="763"/>
                  <a:pt x="1690" y="747"/>
                  <a:pt x="1690" y="747"/>
                </a:cubicBezTo>
                <a:cubicBezTo>
                  <a:pt x="1690" y="747"/>
                  <a:pt x="1717" y="736"/>
                  <a:pt x="1717" y="728"/>
                </a:cubicBezTo>
                <a:cubicBezTo>
                  <a:pt x="1717" y="720"/>
                  <a:pt x="1707" y="721"/>
                  <a:pt x="1707" y="721"/>
                </a:cubicBezTo>
                <a:close/>
                <a:moveTo>
                  <a:pt x="1598" y="704"/>
                </a:moveTo>
                <a:cubicBezTo>
                  <a:pt x="1604" y="718"/>
                  <a:pt x="1624" y="696"/>
                  <a:pt x="1624" y="696"/>
                </a:cubicBezTo>
                <a:cubicBezTo>
                  <a:pt x="1639" y="692"/>
                  <a:pt x="1639" y="692"/>
                  <a:pt x="1639" y="692"/>
                </a:cubicBezTo>
                <a:cubicBezTo>
                  <a:pt x="1638" y="682"/>
                  <a:pt x="1638" y="682"/>
                  <a:pt x="1638" y="682"/>
                </a:cubicBezTo>
                <a:cubicBezTo>
                  <a:pt x="1620" y="679"/>
                  <a:pt x="1620" y="679"/>
                  <a:pt x="1620" y="679"/>
                </a:cubicBezTo>
                <a:cubicBezTo>
                  <a:pt x="1620" y="679"/>
                  <a:pt x="1595" y="697"/>
                  <a:pt x="1598" y="704"/>
                </a:cubicBezTo>
                <a:close/>
                <a:moveTo>
                  <a:pt x="1583" y="656"/>
                </a:moveTo>
                <a:cubicBezTo>
                  <a:pt x="1576" y="653"/>
                  <a:pt x="1559" y="664"/>
                  <a:pt x="1558" y="670"/>
                </a:cubicBezTo>
                <a:cubicBezTo>
                  <a:pt x="1557" y="676"/>
                  <a:pt x="1550" y="689"/>
                  <a:pt x="1550" y="689"/>
                </a:cubicBezTo>
                <a:cubicBezTo>
                  <a:pt x="1549" y="698"/>
                  <a:pt x="1549" y="698"/>
                  <a:pt x="1549" y="698"/>
                </a:cubicBezTo>
                <a:cubicBezTo>
                  <a:pt x="1549" y="698"/>
                  <a:pt x="1541" y="702"/>
                  <a:pt x="1540" y="709"/>
                </a:cubicBezTo>
                <a:cubicBezTo>
                  <a:pt x="1539" y="716"/>
                  <a:pt x="1546" y="720"/>
                  <a:pt x="1546" y="720"/>
                </a:cubicBezTo>
                <a:cubicBezTo>
                  <a:pt x="1546" y="720"/>
                  <a:pt x="1559" y="700"/>
                  <a:pt x="1576" y="687"/>
                </a:cubicBezTo>
                <a:cubicBezTo>
                  <a:pt x="1593" y="674"/>
                  <a:pt x="1590" y="659"/>
                  <a:pt x="1583" y="656"/>
                </a:cubicBezTo>
                <a:close/>
                <a:moveTo>
                  <a:pt x="525" y="542"/>
                </a:moveTo>
                <a:cubicBezTo>
                  <a:pt x="547" y="540"/>
                  <a:pt x="594" y="519"/>
                  <a:pt x="578" y="515"/>
                </a:cubicBezTo>
                <a:cubicBezTo>
                  <a:pt x="561" y="510"/>
                  <a:pt x="539" y="507"/>
                  <a:pt x="533" y="513"/>
                </a:cubicBezTo>
                <a:cubicBezTo>
                  <a:pt x="527" y="519"/>
                  <a:pt x="514" y="506"/>
                  <a:pt x="510" y="517"/>
                </a:cubicBezTo>
                <a:cubicBezTo>
                  <a:pt x="507" y="528"/>
                  <a:pt x="513" y="543"/>
                  <a:pt x="525" y="542"/>
                </a:cubicBezTo>
                <a:close/>
                <a:moveTo>
                  <a:pt x="0" y="886"/>
                </a:moveTo>
                <a:cubicBezTo>
                  <a:pt x="41" y="880"/>
                  <a:pt x="41" y="880"/>
                  <a:pt x="41" y="880"/>
                </a:cubicBezTo>
                <a:cubicBezTo>
                  <a:pt x="49" y="869"/>
                  <a:pt x="49" y="869"/>
                  <a:pt x="49" y="869"/>
                </a:cubicBezTo>
                <a:cubicBezTo>
                  <a:pt x="90" y="863"/>
                  <a:pt x="90" y="863"/>
                  <a:pt x="90" y="863"/>
                </a:cubicBezTo>
                <a:cubicBezTo>
                  <a:pt x="76" y="849"/>
                  <a:pt x="76" y="849"/>
                  <a:pt x="76" y="849"/>
                </a:cubicBezTo>
                <a:lnTo>
                  <a:pt x="0" y="886"/>
                </a:lnTo>
                <a:close/>
                <a:moveTo>
                  <a:pt x="908" y="635"/>
                </a:moveTo>
                <a:cubicBezTo>
                  <a:pt x="905" y="636"/>
                  <a:pt x="892" y="641"/>
                  <a:pt x="892" y="641"/>
                </a:cubicBezTo>
                <a:cubicBezTo>
                  <a:pt x="892" y="641"/>
                  <a:pt x="884" y="634"/>
                  <a:pt x="879" y="635"/>
                </a:cubicBezTo>
                <a:cubicBezTo>
                  <a:pt x="874" y="636"/>
                  <a:pt x="875" y="651"/>
                  <a:pt x="875" y="651"/>
                </a:cubicBezTo>
                <a:cubicBezTo>
                  <a:pt x="859" y="663"/>
                  <a:pt x="859" y="663"/>
                  <a:pt x="859" y="663"/>
                </a:cubicBezTo>
                <a:cubicBezTo>
                  <a:pt x="859" y="646"/>
                  <a:pt x="859" y="646"/>
                  <a:pt x="859" y="646"/>
                </a:cubicBezTo>
                <a:cubicBezTo>
                  <a:pt x="859" y="646"/>
                  <a:pt x="845" y="641"/>
                  <a:pt x="831" y="654"/>
                </a:cubicBezTo>
                <a:cubicBezTo>
                  <a:pt x="831" y="654"/>
                  <a:pt x="814" y="665"/>
                  <a:pt x="811" y="672"/>
                </a:cubicBezTo>
                <a:cubicBezTo>
                  <a:pt x="809" y="680"/>
                  <a:pt x="831" y="681"/>
                  <a:pt x="831" y="681"/>
                </a:cubicBezTo>
                <a:cubicBezTo>
                  <a:pt x="831" y="681"/>
                  <a:pt x="861" y="681"/>
                  <a:pt x="872" y="676"/>
                </a:cubicBezTo>
                <a:cubicBezTo>
                  <a:pt x="884" y="671"/>
                  <a:pt x="881" y="664"/>
                  <a:pt x="881" y="664"/>
                </a:cubicBezTo>
                <a:cubicBezTo>
                  <a:pt x="899" y="661"/>
                  <a:pt x="899" y="661"/>
                  <a:pt x="899" y="661"/>
                </a:cubicBezTo>
                <a:cubicBezTo>
                  <a:pt x="900" y="655"/>
                  <a:pt x="900" y="655"/>
                  <a:pt x="900" y="655"/>
                </a:cubicBezTo>
                <a:cubicBezTo>
                  <a:pt x="925" y="654"/>
                  <a:pt x="925" y="654"/>
                  <a:pt x="925" y="654"/>
                </a:cubicBezTo>
                <a:cubicBezTo>
                  <a:pt x="931" y="638"/>
                  <a:pt x="931" y="638"/>
                  <a:pt x="931" y="638"/>
                </a:cubicBezTo>
                <a:cubicBezTo>
                  <a:pt x="920" y="640"/>
                  <a:pt x="920" y="640"/>
                  <a:pt x="920" y="640"/>
                </a:cubicBezTo>
                <a:cubicBezTo>
                  <a:pt x="920" y="640"/>
                  <a:pt x="912" y="634"/>
                  <a:pt x="908" y="635"/>
                </a:cubicBezTo>
                <a:close/>
                <a:moveTo>
                  <a:pt x="107" y="860"/>
                </a:moveTo>
                <a:cubicBezTo>
                  <a:pt x="135" y="859"/>
                  <a:pt x="135" y="859"/>
                  <a:pt x="135" y="859"/>
                </a:cubicBezTo>
                <a:cubicBezTo>
                  <a:pt x="161" y="840"/>
                  <a:pt x="161" y="840"/>
                  <a:pt x="161" y="840"/>
                </a:cubicBezTo>
                <a:cubicBezTo>
                  <a:pt x="152" y="829"/>
                  <a:pt x="152" y="829"/>
                  <a:pt x="152" y="829"/>
                </a:cubicBezTo>
                <a:lnTo>
                  <a:pt x="107" y="860"/>
                </a:lnTo>
                <a:close/>
                <a:moveTo>
                  <a:pt x="1646" y="762"/>
                </a:moveTo>
                <a:cubicBezTo>
                  <a:pt x="1652" y="749"/>
                  <a:pt x="1637" y="734"/>
                  <a:pt x="1627" y="744"/>
                </a:cubicBezTo>
                <a:cubicBezTo>
                  <a:pt x="1617" y="754"/>
                  <a:pt x="1611" y="784"/>
                  <a:pt x="1611" y="784"/>
                </a:cubicBezTo>
                <a:cubicBezTo>
                  <a:pt x="1611" y="784"/>
                  <a:pt x="1624" y="773"/>
                  <a:pt x="1629" y="773"/>
                </a:cubicBezTo>
                <a:cubicBezTo>
                  <a:pt x="1634" y="773"/>
                  <a:pt x="1640" y="775"/>
                  <a:pt x="1646" y="762"/>
                </a:cubicBezTo>
                <a:close/>
                <a:moveTo>
                  <a:pt x="953" y="609"/>
                </a:moveTo>
                <a:cubicBezTo>
                  <a:pt x="940" y="618"/>
                  <a:pt x="916" y="623"/>
                  <a:pt x="923" y="630"/>
                </a:cubicBezTo>
                <a:cubicBezTo>
                  <a:pt x="934" y="641"/>
                  <a:pt x="959" y="629"/>
                  <a:pt x="959" y="629"/>
                </a:cubicBezTo>
                <a:cubicBezTo>
                  <a:pt x="966" y="620"/>
                  <a:pt x="966" y="620"/>
                  <a:pt x="966" y="620"/>
                </a:cubicBezTo>
                <a:cubicBezTo>
                  <a:pt x="966" y="620"/>
                  <a:pt x="982" y="624"/>
                  <a:pt x="979" y="618"/>
                </a:cubicBezTo>
                <a:cubicBezTo>
                  <a:pt x="977" y="612"/>
                  <a:pt x="967" y="600"/>
                  <a:pt x="953" y="609"/>
                </a:cubicBezTo>
                <a:close/>
                <a:moveTo>
                  <a:pt x="331" y="777"/>
                </a:moveTo>
                <a:cubicBezTo>
                  <a:pt x="319" y="777"/>
                  <a:pt x="290" y="788"/>
                  <a:pt x="290" y="788"/>
                </a:cubicBezTo>
                <a:cubicBezTo>
                  <a:pt x="290" y="788"/>
                  <a:pt x="253" y="802"/>
                  <a:pt x="254" y="809"/>
                </a:cubicBezTo>
                <a:cubicBezTo>
                  <a:pt x="256" y="818"/>
                  <a:pt x="270" y="812"/>
                  <a:pt x="289" y="806"/>
                </a:cubicBezTo>
                <a:cubicBezTo>
                  <a:pt x="308" y="799"/>
                  <a:pt x="328" y="809"/>
                  <a:pt x="335" y="803"/>
                </a:cubicBezTo>
                <a:cubicBezTo>
                  <a:pt x="342" y="797"/>
                  <a:pt x="344" y="777"/>
                  <a:pt x="331" y="777"/>
                </a:cubicBezTo>
                <a:close/>
                <a:moveTo>
                  <a:pt x="219" y="828"/>
                </a:moveTo>
                <a:cubicBezTo>
                  <a:pt x="221" y="814"/>
                  <a:pt x="221" y="814"/>
                  <a:pt x="221" y="814"/>
                </a:cubicBezTo>
                <a:cubicBezTo>
                  <a:pt x="184" y="829"/>
                  <a:pt x="184" y="829"/>
                  <a:pt x="184" y="829"/>
                </a:cubicBezTo>
                <a:lnTo>
                  <a:pt x="219" y="828"/>
                </a:lnTo>
                <a:close/>
              </a:path>
            </a:pathLst>
          </a:custGeom>
          <a:solidFill>
            <a:srgbClr val="FCFCFC"/>
          </a:solidFill>
          <a:ln w="6350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rgbClr val="646464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0760E7B-1F08-4824-8659-756DA821DF4E}"/>
              </a:ext>
            </a:extLst>
          </p:cNvPr>
          <p:cNvGrpSpPr>
            <a:grpSpLocks noChangeAspect="1"/>
          </p:cNvGrpSpPr>
          <p:nvPr/>
        </p:nvGrpSpPr>
        <p:grpSpPr>
          <a:xfrm>
            <a:off x="1320792" y="1268255"/>
            <a:ext cx="9444137" cy="5001733"/>
            <a:chOff x="239444" y="1237082"/>
            <a:chExt cx="8585578" cy="454703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94BAE0A1-FFBD-4DBB-B1B4-3DA4908687B9}"/>
                </a:ext>
              </a:extLst>
            </p:cNvPr>
            <p:cNvGrpSpPr/>
            <p:nvPr/>
          </p:nvGrpSpPr>
          <p:grpSpPr>
            <a:xfrm>
              <a:off x="336061" y="1237082"/>
              <a:ext cx="8488961" cy="4547030"/>
              <a:chOff x="727517" y="1736812"/>
              <a:chExt cx="7996638" cy="4231876"/>
            </a:xfrm>
          </p:grpSpPr>
          <p:sp>
            <p:nvSpPr>
              <p:cNvPr id="1223" name="MCShape 5">
                <a:extLst>
                  <a:ext uri="{FF2B5EF4-FFF2-40B4-BE49-F238E27FC236}">
                    <a16:creationId xmlns:a16="http://schemas.microsoft.com/office/drawing/2014/main" id="{B2423B8F-4BFA-492F-BF89-5FBA1A5B2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0792" y="4604464"/>
                <a:ext cx="241291" cy="440820"/>
              </a:xfrm>
              <a:custGeom>
                <a:avLst/>
                <a:gdLst>
                  <a:gd name="T0" fmla="*/ 88 w 409"/>
                  <a:gd name="T1" fmla="*/ 219 h 746"/>
                  <a:gd name="T2" fmla="*/ 104 w 409"/>
                  <a:gd name="T3" fmla="*/ 214 h 746"/>
                  <a:gd name="T4" fmla="*/ 134 w 409"/>
                  <a:gd name="T5" fmla="*/ 218 h 746"/>
                  <a:gd name="T6" fmla="*/ 134 w 409"/>
                  <a:gd name="T7" fmla="*/ 202 h 746"/>
                  <a:gd name="T8" fmla="*/ 173 w 409"/>
                  <a:gd name="T9" fmla="*/ 207 h 746"/>
                  <a:gd name="T10" fmla="*/ 186 w 409"/>
                  <a:gd name="T11" fmla="*/ 188 h 746"/>
                  <a:gd name="T12" fmla="*/ 216 w 409"/>
                  <a:gd name="T13" fmla="*/ 193 h 746"/>
                  <a:gd name="T14" fmla="*/ 214 w 409"/>
                  <a:gd name="T15" fmla="*/ 172 h 746"/>
                  <a:gd name="T16" fmla="*/ 223 w 409"/>
                  <a:gd name="T17" fmla="*/ 150 h 746"/>
                  <a:gd name="T18" fmla="*/ 225 w 409"/>
                  <a:gd name="T19" fmla="*/ 172 h 746"/>
                  <a:gd name="T20" fmla="*/ 230 w 409"/>
                  <a:gd name="T21" fmla="*/ 186 h 746"/>
                  <a:gd name="T22" fmla="*/ 239 w 409"/>
                  <a:gd name="T23" fmla="*/ 159 h 746"/>
                  <a:gd name="T24" fmla="*/ 244 w 409"/>
                  <a:gd name="T25" fmla="*/ 124 h 746"/>
                  <a:gd name="T26" fmla="*/ 255 w 409"/>
                  <a:gd name="T27" fmla="*/ 138 h 746"/>
                  <a:gd name="T28" fmla="*/ 269 w 409"/>
                  <a:gd name="T29" fmla="*/ 126 h 746"/>
                  <a:gd name="T30" fmla="*/ 271 w 409"/>
                  <a:gd name="T31" fmla="*/ 88 h 746"/>
                  <a:gd name="T32" fmla="*/ 288 w 409"/>
                  <a:gd name="T33" fmla="*/ 88 h 746"/>
                  <a:gd name="T34" fmla="*/ 312 w 409"/>
                  <a:gd name="T35" fmla="*/ 62 h 746"/>
                  <a:gd name="T36" fmla="*/ 315 w 409"/>
                  <a:gd name="T37" fmla="*/ 26 h 746"/>
                  <a:gd name="T38" fmla="*/ 336 w 409"/>
                  <a:gd name="T39" fmla="*/ 0 h 746"/>
                  <a:gd name="T40" fmla="*/ 372 w 409"/>
                  <a:gd name="T41" fmla="*/ 41 h 746"/>
                  <a:gd name="T42" fmla="*/ 372 w 409"/>
                  <a:gd name="T43" fmla="*/ 56 h 746"/>
                  <a:gd name="T44" fmla="*/ 395 w 409"/>
                  <a:gd name="T45" fmla="*/ 110 h 746"/>
                  <a:gd name="T46" fmla="*/ 382 w 409"/>
                  <a:gd name="T47" fmla="*/ 143 h 746"/>
                  <a:gd name="T48" fmla="*/ 402 w 409"/>
                  <a:gd name="T49" fmla="*/ 193 h 746"/>
                  <a:gd name="T50" fmla="*/ 375 w 409"/>
                  <a:gd name="T51" fmla="*/ 188 h 746"/>
                  <a:gd name="T52" fmla="*/ 354 w 409"/>
                  <a:gd name="T53" fmla="*/ 193 h 746"/>
                  <a:gd name="T54" fmla="*/ 358 w 409"/>
                  <a:gd name="T55" fmla="*/ 221 h 746"/>
                  <a:gd name="T56" fmla="*/ 333 w 409"/>
                  <a:gd name="T57" fmla="*/ 259 h 746"/>
                  <a:gd name="T58" fmla="*/ 338 w 409"/>
                  <a:gd name="T59" fmla="*/ 312 h 746"/>
                  <a:gd name="T60" fmla="*/ 267 w 409"/>
                  <a:gd name="T61" fmla="*/ 478 h 746"/>
                  <a:gd name="T62" fmla="*/ 211 w 409"/>
                  <a:gd name="T63" fmla="*/ 609 h 746"/>
                  <a:gd name="T64" fmla="*/ 189 w 409"/>
                  <a:gd name="T65" fmla="*/ 676 h 746"/>
                  <a:gd name="T66" fmla="*/ 149 w 409"/>
                  <a:gd name="T67" fmla="*/ 712 h 746"/>
                  <a:gd name="T68" fmla="*/ 133 w 409"/>
                  <a:gd name="T69" fmla="*/ 710 h 746"/>
                  <a:gd name="T70" fmla="*/ 60 w 409"/>
                  <a:gd name="T71" fmla="*/ 717 h 746"/>
                  <a:gd name="T72" fmla="*/ 28 w 409"/>
                  <a:gd name="T73" fmla="*/ 675 h 746"/>
                  <a:gd name="T74" fmla="*/ 41 w 409"/>
                  <a:gd name="T75" fmla="*/ 659 h 746"/>
                  <a:gd name="T76" fmla="*/ 5 w 409"/>
                  <a:gd name="T77" fmla="*/ 556 h 746"/>
                  <a:gd name="T78" fmla="*/ 39 w 409"/>
                  <a:gd name="T79" fmla="*/ 473 h 746"/>
                  <a:gd name="T80" fmla="*/ 79 w 409"/>
                  <a:gd name="T81" fmla="*/ 436 h 746"/>
                  <a:gd name="T82" fmla="*/ 71 w 409"/>
                  <a:gd name="T83" fmla="*/ 349 h 746"/>
                  <a:gd name="T84" fmla="*/ 67 w 409"/>
                  <a:gd name="T85" fmla="*/ 271 h 746"/>
                  <a:gd name="T86" fmla="*/ 94 w 409"/>
                  <a:gd name="T87" fmla="*/ 239 h 746"/>
                  <a:gd name="T88" fmla="*/ 88 w 409"/>
                  <a:gd name="T89" fmla="*/ 219 h 7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09"/>
                  <a:gd name="T136" fmla="*/ 0 h 746"/>
                  <a:gd name="T137" fmla="*/ 409 w 409"/>
                  <a:gd name="T138" fmla="*/ 746 h 7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09" h="746">
                    <a:moveTo>
                      <a:pt x="88" y="219"/>
                    </a:moveTo>
                    <a:cubicBezTo>
                      <a:pt x="104" y="214"/>
                      <a:pt x="104" y="214"/>
                      <a:pt x="104" y="214"/>
                    </a:cubicBezTo>
                    <a:cubicBezTo>
                      <a:pt x="134" y="218"/>
                      <a:pt x="134" y="218"/>
                      <a:pt x="134" y="218"/>
                    </a:cubicBezTo>
                    <a:cubicBezTo>
                      <a:pt x="134" y="202"/>
                      <a:pt x="134" y="202"/>
                      <a:pt x="134" y="202"/>
                    </a:cubicBezTo>
                    <a:cubicBezTo>
                      <a:pt x="173" y="207"/>
                      <a:pt x="173" y="207"/>
                      <a:pt x="173" y="207"/>
                    </a:cubicBezTo>
                    <a:cubicBezTo>
                      <a:pt x="186" y="188"/>
                      <a:pt x="186" y="188"/>
                      <a:pt x="186" y="188"/>
                    </a:cubicBezTo>
                    <a:cubicBezTo>
                      <a:pt x="216" y="193"/>
                      <a:pt x="216" y="193"/>
                      <a:pt x="216" y="193"/>
                    </a:cubicBezTo>
                    <a:cubicBezTo>
                      <a:pt x="214" y="172"/>
                      <a:pt x="214" y="172"/>
                      <a:pt x="214" y="172"/>
                    </a:cubicBezTo>
                    <a:cubicBezTo>
                      <a:pt x="223" y="150"/>
                      <a:pt x="223" y="150"/>
                      <a:pt x="223" y="150"/>
                    </a:cubicBezTo>
                    <a:cubicBezTo>
                      <a:pt x="225" y="172"/>
                      <a:pt x="225" y="172"/>
                      <a:pt x="225" y="172"/>
                    </a:cubicBezTo>
                    <a:cubicBezTo>
                      <a:pt x="230" y="186"/>
                      <a:pt x="230" y="186"/>
                      <a:pt x="230" y="186"/>
                    </a:cubicBezTo>
                    <a:cubicBezTo>
                      <a:pt x="239" y="159"/>
                      <a:pt x="239" y="159"/>
                      <a:pt x="239" y="159"/>
                    </a:cubicBezTo>
                    <a:cubicBezTo>
                      <a:pt x="239" y="159"/>
                      <a:pt x="237" y="129"/>
                      <a:pt x="244" y="124"/>
                    </a:cubicBezTo>
                    <a:cubicBezTo>
                      <a:pt x="251" y="118"/>
                      <a:pt x="255" y="138"/>
                      <a:pt x="255" y="138"/>
                    </a:cubicBezTo>
                    <a:cubicBezTo>
                      <a:pt x="255" y="138"/>
                      <a:pt x="260" y="136"/>
                      <a:pt x="269" y="126"/>
                    </a:cubicBezTo>
                    <a:cubicBezTo>
                      <a:pt x="278" y="115"/>
                      <a:pt x="264" y="95"/>
                      <a:pt x="271" y="88"/>
                    </a:cubicBezTo>
                    <a:cubicBezTo>
                      <a:pt x="278" y="81"/>
                      <a:pt x="288" y="88"/>
                      <a:pt x="288" y="88"/>
                    </a:cubicBezTo>
                    <a:cubicBezTo>
                      <a:pt x="288" y="88"/>
                      <a:pt x="306" y="74"/>
                      <a:pt x="312" y="62"/>
                    </a:cubicBezTo>
                    <a:cubicBezTo>
                      <a:pt x="317" y="49"/>
                      <a:pt x="315" y="26"/>
                      <a:pt x="315" y="26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372" y="41"/>
                      <a:pt x="372" y="41"/>
                      <a:pt x="372" y="41"/>
                    </a:cubicBezTo>
                    <a:cubicBezTo>
                      <a:pt x="372" y="41"/>
                      <a:pt x="372" y="51"/>
                      <a:pt x="372" y="56"/>
                    </a:cubicBezTo>
                    <a:cubicBezTo>
                      <a:pt x="372" y="62"/>
                      <a:pt x="395" y="110"/>
                      <a:pt x="395" y="110"/>
                    </a:cubicBezTo>
                    <a:cubicBezTo>
                      <a:pt x="382" y="143"/>
                      <a:pt x="382" y="143"/>
                      <a:pt x="382" y="143"/>
                    </a:cubicBezTo>
                    <a:cubicBezTo>
                      <a:pt x="382" y="143"/>
                      <a:pt x="409" y="188"/>
                      <a:pt x="402" y="193"/>
                    </a:cubicBezTo>
                    <a:cubicBezTo>
                      <a:pt x="395" y="198"/>
                      <a:pt x="375" y="188"/>
                      <a:pt x="375" y="188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8" y="221"/>
                      <a:pt x="358" y="221"/>
                      <a:pt x="358" y="221"/>
                    </a:cubicBezTo>
                    <a:cubicBezTo>
                      <a:pt x="358" y="221"/>
                      <a:pt x="335" y="245"/>
                      <a:pt x="333" y="259"/>
                    </a:cubicBezTo>
                    <a:cubicBezTo>
                      <a:pt x="331" y="273"/>
                      <a:pt x="345" y="287"/>
                      <a:pt x="338" y="312"/>
                    </a:cubicBezTo>
                    <a:cubicBezTo>
                      <a:pt x="331" y="336"/>
                      <a:pt x="306" y="409"/>
                      <a:pt x="267" y="478"/>
                    </a:cubicBezTo>
                    <a:cubicBezTo>
                      <a:pt x="228" y="547"/>
                      <a:pt x="211" y="609"/>
                      <a:pt x="211" y="609"/>
                    </a:cubicBezTo>
                    <a:cubicBezTo>
                      <a:pt x="211" y="609"/>
                      <a:pt x="214" y="653"/>
                      <a:pt x="189" y="676"/>
                    </a:cubicBezTo>
                    <a:cubicBezTo>
                      <a:pt x="165" y="699"/>
                      <a:pt x="156" y="708"/>
                      <a:pt x="149" y="712"/>
                    </a:cubicBezTo>
                    <a:cubicBezTo>
                      <a:pt x="141" y="715"/>
                      <a:pt x="133" y="710"/>
                      <a:pt x="133" y="710"/>
                    </a:cubicBezTo>
                    <a:cubicBezTo>
                      <a:pt x="133" y="710"/>
                      <a:pt x="90" y="746"/>
                      <a:pt x="60" y="717"/>
                    </a:cubicBezTo>
                    <a:cubicBezTo>
                      <a:pt x="30" y="689"/>
                      <a:pt x="28" y="675"/>
                      <a:pt x="28" y="675"/>
                    </a:cubicBezTo>
                    <a:cubicBezTo>
                      <a:pt x="41" y="659"/>
                      <a:pt x="41" y="659"/>
                      <a:pt x="41" y="659"/>
                    </a:cubicBezTo>
                    <a:cubicBezTo>
                      <a:pt x="41" y="659"/>
                      <a:pt x="10" y="622"/>
                      <a:pt x="5" y="556"/>
                    </a:cubicBezTo>
                    <a:cubicBezTo>
                      <a:pt x="0" y="490"/>
                      <a:pt x="23" y="492"/>
                      <a:pt x="39" y="473"/>
                    </a:cubicBezTo>
                    <a:cubicBezTo>
                      <a:pt x="55" y="453"/>
                      <a:pt x="79" y="436"/>
                      <a:pt x="79" y="436"/>
                    </a:cubicBezTo>
                    <a:cubicBezTo>
                      <a:pt x="79" y="436"/>
                      <a:pt x="72" y="370"/>
                      <a:pt x="71" y="349"/>
                    </a:cubicBezTo>
                    <a:cubicBezTo>
                      <a:pt x="69" y="327"/>
                      <a:pt x="53" y="283"/>
                      <a:pt x="67" y="271"/>
                    </a:cubicBezTo>
                    <a:cubicBezTo>
                      <a:pt x="81" y="259"/>
                      <a:pt x="94" y="239"/>
                      <a:pt x="94" y="239"/>
                    </a:cubicBezTo>
                    <a:lnTo>
                      <a:pt x="88" y="21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4" name="MCShape 6">
                <a:extLst>
                  <a:ext uri="{FF2B5EF4-FFF2-40B4-BE49-F238E27FC236}">
                    <a16:creationId xmlns:a16="http://schemas.microsoft.com/office/drawing/2014/main" id="{28F3BF7B-DC60-45CA-B12B-11BA13B405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23616" y="3475346"/>
                <a:ext cx="290787" cy="111365"/>
              </a:xfrm>
              <a:custGeom>
                <a:avLst/>
                <a:gdLst>
                  <a:gd name="T0" fmla="*/ 475 w 493"/>
                  <a:gd name="T1" fmla="*/ 151 h 185"/>
                  <a:gd name="T2" fmla="*/ 445 w 493"/>
                  <a:gd name="T3" fmla="*/ 148 h 185"/>
                  <a:gd name="T4" fmla="*/ 434 w 493"/>
                  <a:gd name="T5" fmla="*/ 129 h 185"/>
                  <a:gd name="T6" fmla="*/ 399 w 493"/>
                  <a:gd name="T7" fmla="*/ 128 h 185"/>
                  <a:gd name="T8" fmla="*/ 416 w 493"/>
                  <a:gd name="T9" fmla="*/ 114 h 185"/>
                  <a:gd name="T10" fmla="*/ 378 w 493"/>
                  <a:gd name="T11" fmla="*/ 106 h 185"/>
                  <a:gd name="T12" fmla="*/ 349 w 493"/>
                  <a:gd name="T13" fmla="*/ 96 h 185"/>
                  <a:gd name="T14" fmla="*/ 351 w 493"/>
                  <a:gd name="T15" fmla="*/ 79 h 185"/>
                  <a:gd name="T16" fmla="*/ 338 w 493"/>
                  <a:gd name="T17" fmla="*/ 77 h 185"/>
                  <a:gd name="T18" fmla="*/ 290 w 493"/>
                  <a:gd name="T19" fmla="*/ 45 h 185"/>
                  <a:gd name="T20" fmla="*/ 300 w 493"/>
                  <a:gd name="T21" fmla="*/ 64 h 185"/>
                  <a:gd name="T22" fmla="*/ 255 w 493"/>
                  <a:gd name="T23" fmla="*/ 42 h 185"/>
                  <a:gd name="T24" fmla="*/ 220 w 493"/>
                  <a:gd name="T25" fmla="*/ 12 h 185"/>
                  <a:gd name="T26" fmla="*/ 180 w 493"/>
                  <a:gd name="T27" fmla="*/ 12 h 185"/>
                  <a:gd name="T28" fmla="*/ 118 w 493"/>
                  <a:gd name="T29" fmla="*/ 0 h 185"/>
                  <a:gd name="T30" fmla="*/ 48 w 493"/>
                  <a:gd name="T31" fmla="*/ 26 h 185"/>
                  <a:gd name="T32" fmla="*/ 0 w 493"/>
                  <a:gd name="T33" fmla="*/ 51 h 185"/>
                  <a:gd name="T34" fmla="*/ 51 w 493"/>
                  <a:gd name="T35" fmla="*/ 49 h 185"/>
                  <a:gd name="T36" fmla="*/ 51 w 493"/>
                  <a:gd name="T37" fmla="*/ 39 h 185"/>
                  <a:gd name="T38" fmla="*/ 102 w 493"/>
                  <a:gd name="T39" fmla="*/ 36 h 185"/>
                  <a:gd name="T40" fmla="*/ 115 w 493"/>
                  <a:gd name="T41" fmla="*/ 29 h 185"/>
                  <a:gd name="T42" fmla="*/ 150 w 493"/>
                  <a:gd name="T43" fmla="*/ 34 h 185"/>
                  <a:gd name="T44" fmla="*/ 126 w 493"/>
                  <a:gd name="T45" fmla="*/ 46 h 185"/>
                  <a:gd name="T46" fmla="*/ 137 w 493"/>
                  <a:gd name="T47" fmla="*/ 54 h 185"/>
                  <a:gd name="T48" fmla="*/ 172 w 493"/>
                  <a:gd name="T49" fmla="*/ 66 h 185"/>
                  <a:gd name="T50" fmla="*/ 188 w 493"/>
                  <a:gd name="T51" fmla="*/ 61 h 185"/>
                  <a:gd name="T52" fmla="*/ 220 w 493"/>
                  <a:gd name="T53" fmla="*/ 81 h 185"/>
                  <a:gd name="T54" fmla="*/ 268 w 493"/>
                  <a:gd name="T55" fmla="*/ 79 h 185"/>
                  <a:gd name="T56" fmla="*/ 263 w 493"/>
                  <a:gd name="T57" fmla="*/ 96 h 185"/>
                  <a:gd name="T58" fmla="*/ 303 w 493"/>
                  <a:gd name="T59" fmla="*/ 113 h 185"/>
                  <a:gd name="T60" fmla="*/ 319 w 493"/>
                  <a:gd name="T61" fmla="*/ 136 h 185"/>
                  <a:gd name="T62" fmla="*/ 335 w 493"/>
                  <a:gd name="T63" fmla="*/ 150 h 185"/>
                  <a:gd name="T64" fmla="*/ 316 w 493"/>
                  <a:gd name="T65" fmla="*/ 172 h 185"/>
                  <a:gd name="T66" fmla="*/ 356 w 493"/>
                  <a:gd name="T67" fmla="*/ 163 h 185"/>
                  <a:gd name="T68" fmla="*/ 367 w 493"/>
                  <a:gd name="T69" fmla="*/ 168 h 185"/>
                  <a:gd name="T70" fmla="*/ 375 w 493"/>
                  <a:gd name="T71" fmla="*/ 180 h 185"/>
                  <a:gd name="T72" fmla="*/ 426 w 493"/>
                  <a:gd name="T73" fmla="*/ 178 h 185"/>
                  <a:gd name="T74" fmla="*/ 493 w 493"/>
                  <a:gd name="T75" fmla="*/ 163 h 185"/>
                  <a:gd name="T76" fmla="*/ 475 w 493"/>
                  <a:gd name="T77" fmla="*/ 151 h 185"/>
                  <a:gd name="T78" fmla="*/ 78 w 493"/>
                  <a:gd name="T79" fmla="*/ 84 h 185"/>
                  <a:gd name="T80" fmla="*/ 104 w 493"/>
                  <a:gd name="T81" fmla="*/ 84 h 185"/>
                  <a:gd name="T82" fmla="*/ 78 w 493"/>
                  <a:gd name="T83" fmla="*/ 84 h 18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93"/>
                  <a:gd name="T127" fmla="*/ 0 h 185"/>
                  <a:gd name="T128" fmla="*/ 493 w 493"/>
                  <a:gd name="T129" fmla="*/ 185 h 18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93" h="185">
                    <a:moveTo>
                      <a:pt x="475" y="151"/>
                    </a:moveTo>
                    <a:cubicBezTo>
                      <a:pt x="456" y="148"/>
                      <a:pt x="445" y="148"/>
                      <a:pt x="445" y="148"/>
                    </a:cubicBezTo>
                    <a:cubicBezTo>
                      <a:pt x="445" y="148"/>
                      <a:pt x="453" y="131"/>
                      <a:pt x="434" y="129"/>
                    </a:cubicBezTo>
                    <a:cubicBezTo>
                      <a:pt x="416" y="126"/>
                      <a:pt x="399" y="128"/>
                      <a:pt x="399" y="128"/>
                    </a:cubicBezTo>
                    <a:cubicBezTo>
                      <a:pt x="416" y="114"/>
                      <a:pt x="416" y="114"/>
                      <a:pt x="416" y="114"/>
                    </a:cubicBezTo>
                    <a:cubicBezTo>
                      <a:pt x="416" y="114"/>
                      <a:pt x="386" y="106"/>
                      <a:pt x="378" y="106"/>
                    </a:cubicBezTo>
                    <a:cubicBezTo>
                      <a:pt x="370" y="106"/>
                      <a:pt x="349" y="96"/>
                      <a:pt x="349" y="96"/>
                    </a:cubicBezTo>
                    <a:cubicBezTo>
                      <a:pt x="349" y="96"/>
                      <a:pt x="359" y="79"/>
                      <a:pt x="351" y="79"/>
                    </a:cubicBezTo>
                    <a:cubicBezTo>
                      <a:pt x="343" y="79"/>
                      <a:pt x="338" y="77"/>
                      <a:pt x="338" y="77"/>
                    </a:cubicBezTo>
                    <a:cubicBezTo>
                      <a:pt x="338" y="77"/>
                      <a:pt x="298" y="37"/>
                      <a:pt x="290" y="45"/>
                    </a:cubicBezTo>
                    <a:cubicBezTo>
                      <a:pt x="282" y="52"/>
                      <a:pt x="300" y="64"/>
                      <a:pt x="300" y="64"/>
                    </a:cubicBezTo>
                    <a:cubicBezTo>
                      <a:pt x="255" y="42"/>
                      <a:pt x="255" y="42"/>
                      <a:pt x="255" y="42"/>
                    </a:cubicBezTo>
                    <a:cubicBezTo>
                      <a:pt x="255" y="42"/>
                      <a:pt x="231" y="17"/>
                      <a:pt x="220" y="12"/>
                    </a:cubicBezTo>
                    <a:cubicBezTo>
                      <a:pt x="209" y="7"/>
                      <a:pt x="180" y="12"/>
                      <a:pt x="180" y="12"/>
                    </a:cubicBezTo>
                    <a:cubicBezTo>
                      <a:pt x="180" y="12"/>
                      <a:pt x="156" y="0"/>
                      <a:pt x="118" y="0"/>
                    </a:cubicBezTo>
                    <a:cubicBezTo>
                      <a:pt x="81" y="0"/>
                      <a:pt x="64" y="12"/>
                      <a:pt x="48" y="26"/>
                    </a:cubicBezTo>
                    <a:cubicBezTo>
                      <a:pt x="32" y="41"/>
                      <a:pt x="0" y="51"/>
                      <a:pt x="0" y="51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102" y="36"/>
                      <a:pt x="102" y="36"/>
                      <a:pt x="102" y="36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15" y="29"/>
                      <a:pt x="142" y="27"/>
                      <a:pt x="150" y="34"/>
                    </a:cubicBezTo>
                    <a:cubicBezTo>
                      <a:pt x="158" y="42"/>
                      <a:pt x="126" y="46"/>
                      <a:pt x="126" y="4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55" y="61"/>
                      <a:pt x="172" y="66"/>
                    </a:cubicBezTo>
                    <a:cubicBezTo>
                      <a:pt x="188" y="71"/>
                      <a:pt x="188" y="61"/>
                      <a:pt x="188" y="61"/>
                    </a:cubicBezTo>
                    <a:cubicBezTo>
                      <a:pt x="188" y="61"/>
                      <a:pt x="204" y="74"/>
                      <a:pt x="220" y="81"/>
                    </a:cubicBezTo>
                    <a:cubicBezTo>
                      <a:pt x="236" y="89"/>
                      <a:pt x="268" y="79"/>
                      <a:pt x="268" y="79"/>
                    </a:cubicBezTo>
                    <a:cubicBezTo>
                      <a:pt x="263" y="96"/>
                      <a:pt x="263" y="96"/>
                      <a:pt x="263" y="96"/>
                    </a:cubicBezTo>
                    <a:cubicBezTo>
                      <a:pt x="303" y="113"/>
                      <a:pt x="303" y="113"/>
                      <a:pt x="303" y="113"/>
                    </a:cubicBezTo>
                    <a:cubicBezTo>
                      <a:pt x="319" y="136"/>
                      <a:pt x="319" y="136"/>
                      <a:pt x="319" y="136"/>
                    </a:cubicBezTo>
                    <a:cubicBezTo>
                      <a:pt x="319" y="136"/>
                      <a:pt x="335" y="143"/>
                      <a:pt x="335" y="150"/>
                    </a:cubicBezTo>
                    <a:cubicBezTo>
                      <a:pt x="335" y="158"/>
                      <a:pt x="308" y="165"/>
                      <a:pt x="316" y="172"/>
                    </a:cubicBezTo>
                    <a:cubicBezTo>
                      <a:pt x="324" y="180"/>
                      <a:pt x="348" y="163"/>
                      <a:pt x="356" y="163"/>
                    </a:cubicBezTo>
                    <a:cubicBezTo>
                      <a:pt x="364" y="163"/>
                      <a:pt x="381" y="165"/>
                      <a:pt x="367" y="168"/>
                    </a:cubicBezTo>
                    <a:cubicBezTo>
                      <a:pt x="354" y="170"/>
                      <a:pt x="375" y="180"/>
                      <a:pt x="375" y="180"/>
                    </a:cubicBezTo>
                    <a:cubicBezTo>
                      <a:pt x="375" y="180"/>
                      <a:pt x="397" y="185"/>
                      <a:pt x="426" y="178"/>
                    </a:cubicBezTo>
                    <a:cubicBezTo>
                      <a:pt x="456" y="170"/>
                      <a:pt x="493" y="163"/>
                      <a:pt x="493" y="163"/>
                    </a:cubicBezTo>
                    <a:cubicBezTo>
                      <a:pt x="493" y="163"/>
                      <a:pt x="493" y="153"/>
                      <a:pt x="475" y="151"/>
                    </a:cubicBezTo>
                    <a:close/>
                    <a:moveTo>
                      <a:pt x="78" y="84"/>
                    </a:moveTo>
                    <a:cubicBezTo>
                      <a:pt x="75" y="97"/>
                      <a:pt x="102" y="99"/>
                      <a:pt x="104" y="84"/>
                    </a:cubicBezTo>
                    <a:cubicBezTo>
                      <a:pt x="107" y="70"/>
                      <a:pt x="78" y="84"/>
                      <a:pt x="78" y="8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5" name="MCShape 7">
                <a:extLst>
                  <a:ext uri="{FF2B5EF4-FFF2-40B4-BE49-F238E27FC236}">
                    <a16:creationId xmlns:a16="http://schemas.microsoft.com/office/drawing/2014/main" id="{EC590666-F671-4E38-850A-133DE6F06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2930" y="3628473"/>
                <a:ext cx="63416" cy="23201"/>
              </a:xfrm>
              <a:custGeom>
                <a:avLst/>
                <a:gdLst>
                  <a:gd name="T0" fmla="*/ 72 w 108"/>
                  <a:gd name="T1" fmla="*/ 42 h 42"/>
                  <a:gd name="T2" fmla="*/ 79 w 108"/>
                  <a:gd name="T3" fmla="*/ 28 h 42"/>
                  <a:gd name="T4" fmla="*/ 108 w 108"/>
                  <a:gd name="T5" fmla="*/ 34 h 42"/>
                  <a:gd name="T6" fmla="*/ 85 w 108"/>
                  <a:gd name="T7" fmla="*/ 9 h 42"/>
                  <a:gd name="T8" fmla="*/ 48 w 108"/>
                  <a:gd name="T9" fmla="*/ 6 h 42"/>
                  <a:gd name="T10" fmla="*/ 19 w 108"/>
                  <a:gd name="T11" fmla="*/ 4 h 42"/>
                  <a:gd name="T12" fmla="*/ 0 w 108"/>
                  <a:gd name="T13" fmla="*/ 9 h 42"/>
                  <a:gd name="T14" fmla="*/ 17 w 108"/>
                  <a:gd name="T15" fmla="*/ 26 h 42"/>
                  <a:gd name="T16" fmla="*/ 43 w 108"/>
                  <a:gd name="T17" fmla="*/ 32 h 42"/>
                  <a:gd name="T18" fmla="*/ 54 w 108"/>
                  <a:gd name="T19" fmla="*/ 38 h 42"/>
                  <a:gd name="T20" fmla="*/ 72 w 108"/>
                  <a:gd name="T21" fmla="*/ 42 h 4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8"/>
                  <a:gd name="T34" fmla="*/ 0 h 42"/>
                  <a:gd name="T35" fmla="*/ 108 w 108"/>
                  <a:gd name="T36" fmla="*/ 42 h 4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8" h="42">
                    <a:moveTo>
                      <a:pt x="72" y="42"/>
                    </a:moveTo>
                    <a:cubicBezTo>
                      <a:pt x="79" y="28"/>
                      <a:pt x="79" y="28"/>
                      <a:pt x="79" y="28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8" y="34"/>
                      <a:pt x="95" y="9"/>
                      <a:pt x="85" y="9"/>
                    </a:cubicBezTo>
                    <a:cubicBezTo>
                      <a:pt x="75" y="9"/>
                      <a:pt x="58" y="7"/>
                      <a:pt x="48" y="6"/>
                    </a:cubicBezTo>
                    <a:cubicBezTo>
                      <a:pt x="37" y="4"/>
                      <a:pt x="27" y="0"/>
                      <a:pt x="19" y="4"/>
                    </a:cubicBezTo>
                    <a:cubicBezTo>
                      <a:pt x="11" y="7"/>
                      <a:pt x="0" y="9"/>
                      <a:pt x="0" y="9"/>
                    </a:cubicBezTo>
                    <a:cubicBezTo>
                      <a:pt x="0" y="9"/>
                      <a:pt x="8" y="20"/>
                      <a:pt x="17" y="26"/>
                    </a:cubicBezTo>
                    <a:cubicBezTo>
                      <a:pt x="25" y="32"/>
                      <a:pt x="43" y="32"/>
                      <a:pt x="43" y="32"/>
                    </a:cubicBezTo>
                    <a:cubicBezTo>
                      <a:pt x="54" y="38"/>
                      <a:pt x="54" y="38"/>
                      <a:pt x="54" y="38"/>
                    </a:cubicBezTo>
                    <a:lnTo>
                      <a:pt x="72" y="42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6" name="MCShape 8">
                <a:extLst>
                  <a:ext uri="{FF2B5EF4-FFF2-40B4-BE49-F238E27FC236}">
                    <a16:creationId xmlns:a16="http://schemas.microsoft.com/office/drawing/2014/main" id="{BF881A5F-CA1F-4CE4-B3F4-CB5AFDAE65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6918" y="3630020"/>
                <a:ext cx="55682" cy="23202"/>
              </a:xfrm>
              <a:custGeom>
                <a:avLst/>
                <a:gdLst>
                  <a:gd name="T0" fmla="*/ 60 w 97"/>
                  <a:gd name="T1" fmla="*/ 9 h 40"/>
                  <a:gd name="T2" fmla="*/ 15 w 97"/>
                  <a:gd name="T3" fmla="*/ 0 h 40"/>
                  <a:gd name="T4" fmla="*/ 2 w 97"/>
                  <a:gd name="T5" fmla="*/ 32 h 40"/>
                  <a:gd name="T6" fmla="*/ 27 w 97"/>
                  <a:gd name="T7" fmla="*/ 40 h 40"/>
                  <a:gd name="T8" fmla="*/ 33 w 97"/>
                  <a:gd name="T9" fmla="*/ 34 h 40"/>
                  <a:gd name="T10" fmla="*/ 64 w 97"/>
                  <a:gd name="T11" fmla="*/ 34 h 40"/>
                  <a:gd name="T12" fmla="*/ 95 w 97"/>
                  <a:gd name="T13" fmla="*/ 10 h 40"/>
                  <a:gd name="T14" fmla="*/ 60 w 97"/>
                  <a:gd name="T15" fmla="*/ 9 h 4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7"/>
                  <a:gd name="T25" fmla="*/ 0 h 40"/>
                  <a:gd name="T26" fmla="*/ 97 w 97"/>
                  <a:gd name="T27" fmla="*/ 40 h 4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7" h="40">
                    <a:moveTo>
                      <a:pt x="60" y="9"/>
                    </a:moveTo>
                    <a:cubicBezTo>
                      <a:pt x="52" y="9"/>
                      <a:pt x="29" y="0"/>
                      <a:pt x="15" y="0"/>
                    </a:cubicBezTo>
                    <a:cubicBezTo>
                      <a:pt x="0" y="0"/>
                      <a:pt x="2" y="32"/>
                      <a:pt x="2" y="32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3" y="34"/>
                      <a:pt x="48" y="36"/>
                      <a:pt x="64" y="34"/>
                    </a:cubicBezTo>
                    <a:cubicBezTo>
                      <a:pt x="81" y="32"/>
                      <a:pt x="97" y="17"/>
                      <a:pt x="95" y="10"/>
                    </a:cubicBezTo>
                    <a:cubicBezTo>
                      <a:pt x="93" y="2"/>
                      <a:pt x="68" y="10"/>
                      <a:pt x="60" y="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7" name="MCShape 10">
                <a:extLst>
                  <a:ext uri="{FF2B5EF4-FFF2-40B4-BE49-F238E27FC236}">
                    <a16:creationId xmlns:a16="http://schemas.microsoft.com/office/drawing/2014/main" id="{952388ED-75F8-49A5-8DF8-256847A33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2648" y="3756852"/>
                <a:ext cx="69604" cy="43309"/>
              </a:xfrm>
              <a:custGeom>
                <a:avLst/>
                <a:gdLst>
                  <a:gd name="T0" fmla="*/ 116 w 117"/>
                  <a:gd name="T1" fmla="*/ 57 h 74"/>
                  <a:gd name="T2" fmla="*/ 115 w 117"/>
                  <a:gd name="T3" fmla="*/ 28 h 74"/>
                  <a:gd name="T4" fmla="*/ 100 w 117"/>
                  <a:gd name="T5" fmla="*/ 26 h 74"/>
                  <a:gd name="T6" fmla="*/ 84 w 117"/>
                  <a:gd name="T7" fmla="*/ 32 h 74"/>
                  <a:gd name="T8" fmla="*/ 76 w 117"/>
                  <a:gd name="T9" fmla="*/ 16 h 74"/>
                  <a:gd name="T10" fmla="*/ 61 w 117"/>
                  <a:gd name="T11" fmla="*/ 16 h 74"/>
                  <a:gd name="T12" fmla="*/ 48 w 117"/>
                  <a:gd name="T13" fmla="*/ 0 h 74"/>
                  <a:gd name="T14" fmla="*/ 33 w 117"/>
                  <a:gd name="T15" fmla="*/ 4 h 74"/>
                  <a:gd name="T16" fmla="*/ 32 w 117"/>
                  <a:gd name="T17" fmla="*/ 12 h 74"/>
                  <a:gd name="T18" fmla="*/ 19 w 117"/>
                  <a:gd name="T19" fmla="*/ 24 h 74"/>
                  <a:gd name="T20" fmla="*/ 0 w 117"/>
                  <a:gd name="T21" fmla="*/ 39 h 74"/>
                  <a:gd name="T22" fmla="*/ 20 w 117"/>
                  <a:gd name="T23" fmla="*/ 52 h 74"/>
                  <a:gd name="T24" fmla="*/ 48 w 117"/>
                  <a:gd name="T25" fmla="*/ 53 h 74"/>
                  <a:gd name="T26" fmla="*/ 64 w 117"/>
                  <a:gd name="T27" fmla="*/ 66 h 74"/>
                  <a:gd name="T28" fmla="*/ 86 w 117"/>
                  <a:gd name="T29" fmla="*/ 64 h 74"/>
                  <a:gd name="T30" fmla="*/ 98 w 117"/>
                  <a:gd name="T31" fmla="*/ 74 h 74"/>
                  <a:gd name="T32" fmla="*/ 110 w 117"/>
                  <a:gd name="T33" fmla="*/ 55 h 74"/>
                  <a:gd name="T34" fmla="*/ 117 w 117"/>
                  <a:gd name="T35" fmla="*/ 57 h 74"/>
                  <a:gd name="T36" fmla="*/ 116 w 117"/>
                  <a:gd name="T37" fmla="*/ 57 h 7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17"/>
                  <a:gd name="T58" fmla="*/ 0 h 74"/>
                  <a:gd name="T59" fmla="*/ 117 w 117"/>
                  <a:gd name="T60" fmla="*/ 74 h 7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17" h="74">
                    <a:moveTo>
                      <a:pt x="116" y="57"/>
                    </a:moveTo>
                    <a:cubicBezTo>
                      <a:pt x="115" y="28"/>
                      <a:pt x="115" y="28"/>
                      <a:pt x="115" y="28"/>
                    </a:cubicBezTo>
                    <a:cubicBezTo>
                      <a:pt x="115" y="28"/>
                      <a:pt x="105" y="27"/>
                      <a:pt x="100" y="26"/>
                    </a:cubicBezTo>
                    <a:cubicBezTo>
                      <a:pt x="95" y="25"/>
                      <a:pt x="93" y="30"/>
                      <a:pt x="84" y="32"/>
                    </a:cubicBezTo>
                    <a:cubicBezTo>
                      <a:pt x="75" y="34"/>
                      <a:pt x="76" y="16"/>
                      <a:pt x="76" y="16"/>
                    </a:cubicBezTo>
                    <a:cubicBezTo>
                      <a:pt x="76" y="16"/>
                      <a:pt x="70" y="16"/>
                      <a:pt x="61" y="16"/>
                    </a:cubicBezTo>
                    <a:cubicBezTo>
                      <a:pt x="54" y="16"/>
                      <a:pt x="50" y="5"/>
                      <a:pt x="48" y="0"/>
                    </a:cubicBezTo>
                    <a:cubicBezTo>
                      <a:pt x="41" y="3"/>
                      <a:pt x="33" y="4"/>
                      <a:pt x="33" y="4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2" y="12"/>
                      <a:pt x="27" y="22"/>
                      <a:pt x="19" y="24"/>
                    </a:cubicBezTo>
                    <a:cubicBezTo>
                      <a:pt x="13" y="25"/>
                      <a:pt x="5" y="34"/>
                      <a:pt x="0" y="39"/>
                    </a:cubicBezTo>
                    <a:cubicBezTo>
                      <a:pt x="7" y="44"/>
                      <a:pt x="16" y="50"/>
                      <a:pt x="20" y="52"/>
                    </a:cubicBezTo>
                    <a:cubicBezTo>
                      <a:pt x="28" y="55"/>
                      <a:pt x="48" y="53"/>
                      <a:pt x="48" y="53"/>
                    </a:cubicBezTo>
                    <a:cubicBezTo>
                      <a:pt x="64" y="66"/>
                      <a:pt x="64" y="66"/>
                      <a:pt x="64" y="66"/>
                    </a:cubicBezTo>
                    <a:cubicBezTo>
                      <a:pt x="86" y="64"/>
                      <a:pt x="86" y="64"/>
                      <a:pt x="86" y="64"/>
                    </a:cubicBezTo>
                    <a:cubicBezTo>
                      <a:pt x="98" y="74"/>
                      <a:pt x="98" y="74"/>
                      <a:pt x="98" y="74"/>
                    </a:cubicBezTo>
                    <a:cubicBezTo>
                      <a:pt x="110" y="55"/>
                      <a:pt x="110" y="55"/>
                      <a:pt x="110" y="55"/>
                    </a:cubicBezTo>
                    <a:cubicBezTo>
                      <a:pt x="117" y="57"/>
                      <a:pt x="117" y="57"/>
                      <a:pt x="117" y="57"/>
                    </a:cubicBezTo>
                    <a:lnTo>
                      <a:pt x="116" y="5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8" name="MCShape 11">
                <a:extLst>
                  <a:ext uri="{FF2B5EF4-FFF2-40B4-BE49-F238E27FC236}">
                    <a16:creationId xmlns:a16="http://schemas.microsoft.com/office/drawing/2014/main" id="{284A849E-D489-42EF-AC8E-BDDDE9DEA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8223" y="3626927"/>
                <a:ext cx="41761" cy="81978"/>
              </a:xfrm>
              <a:custGeom>
                <a:avLst/>
                <a:gdLst>
                  <a:gd name="T0" fmla="*/ 72 w 72"/>
                  <a:gd name="T1" fmla="*/ 22 h 140"/>
                  <a:gd name="T2" fmla="*/ 54 w 72"/>
                  <a:gd name="T3" fmla="*/ 11 h 140"/>
                  <a:gd name="T4" fmla="*/ 51 w 72"/>
                  <a:gd name="T5" fmla="*/ 0 h 140"/>
                  <a:gd name="T6" fmla="*/ 33 w 72"/>
                  <a:gd name="T7" fmla="*/ 33 h 140"/>
                  <a:gd name="T8" fmla="*/ 23 w 72"/>
                  <a:gd name="T9" fmla="*/ 26 h 140"/>
                  <a:gd name="T10" fmla="*/ 16 w 72"/>
                  <a:gd name="T11" fmla="*/ 36 h 140"/>
                  <a:gd name="T12" fmla="*/ 0 w 72"/>
                  <a:gd name="T13" fmla="*/ 140 h 140"/>
                  <a:gd name="T14" fmla="*/ 18 w 72"/>
                  <a:gd name="T15" fmla="*/ 140 h 140"/>
                  <a:gd name="T16" fmla="*/ 28 w 72"/>
                  <a:gd name="T17" fmla="*/ 114 h 140"/>
                  <a:gd name="T18" fmla="*/ 39 w 72"/>
                  <a:gd name="T19" fmla="*/ 118 h 140"/>
                  <a:gd name="T20" fmla="*/ 55 w 72"/>
                  <a:gd name="T21" fmla="*/ 93 h 140"/>
                  <a:gd name="T22" fmla="*/ 55 w 72"/>
                  <a:gd name="T23" fmla="*/ 60 h 140"/>
                  <a:gd name="T24" fmla="*/ 72 w 72"/>
                  <a:gd name="T25" fmla="*/ 22 h 1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2"/>
                  <a:gd name="T40" fmla="*/ 0 h 140"/>
                  <a:gd name="T41" fmla="*/ 72 w 72"/>
                  <a:gd name="T42" fmla="*/ 140 h 14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2" h="140">
                    <a:moveTo>
                      <a:pt x="72" y="22"/>
                    </a:moveTo>
                    <a:cubicBezTo>
                      <a:pt x="72" y="17"/>
                      <a:pt x="54" y="11"/>
                      <a:pt x="54" y="11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44" y="32"/>
                      <a:pt x="33" y="33"/>
                    </a:cubicBezTo>
                    <a:cubicBezTo>
                      <a:pt x="22" y="34"/>
                      <a:pt x="28" y="26"/>
                      <a:pt x="23" y="26"/>
                    </a:cubicBezTo>
                    <a:cubicBezTo>
                      <a:pt x="18" y="26"/>
                      <a:pt x="16" y="36"/>
                      <a:pt x="16" y="36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18" y="140"/>
                      <a:pt x="18" y="140"/>
                      <a:pt x="18" y="140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9" y="118"/>
                      <a:pt x="55" y="104"/>
                      <a:pt x="55" y="93"/>
                    </a:cubicBezTo>
                    <a:cubicBezTo>
                      <a:pt x="55" y="82"/>
                      <a:pt x="51" y="70"/>
                      <a:pt x="55" y="60"/>
                    </a:cubicBezTo>
                    <a:cubicBezTo>
                      <a:pt x="59" y="50"/>
                      <a:pt x="72" y="27"/>
                      <a:pt x="72" y="2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29" name="MCShape 12">
                <a:extLst>
                  <a:ext uri="{FF2B5EF4-FFF2-40B4-BE49-F238E27FC236}">
                    <a16:creationId xmlns:a16="http://schemas.microsoft.com/office/drawing/2014/main" id="{114A3135-7A2A-4ED1-ACB0-9C77EDD0B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512" y="3647034"/>
                <a:ext cx="117552" cy="133019"/>
              </a:xfrm>
              <a:custGeom>
                <a:avLst/>
                <a:gdLst>
                  <a:gd name="T0" fmla="*/ 190 w 199"/>
                  <a:gd name="T1" fmla="*/ 103 h 222"/>
                  <a:gd name="T2" fmla="*/ 179 w 199"/>
                  <a:gd name="T3" fmla="*/ 110 h 222"/>
                  <a:gd name="T4" fmla="*/ 170 w 199"/>
                  <a:gd name="T5" fmla="*/ 105 h 222"/>
                  <a:gd name="T6" fmla="*/ 152 w 199"/>
                  <a:gd name="T7" fmla="*/ 105 h 222"/>
                  <a:gd name="T8" fmla="*/ 168 w 199"/>
                  <a:gd name="T9" fmla="*/ 1 h 222"/>
                  <a:gd name="T10" fmla="*/ 81 w 199"/>
                  <a:gd name="T11" fmla="*/ 0 h 222"/>
                  <a:gd name="T12" fmla="*/ 82 w 199"/>
                  <a:gd name="T13" fmla="*/ 30 h 222"/>
                  <a:gd name="T14" fmla="*/ 54 w 199"/>
                  <a:gd name="T15" fmla="*/ 34 h 222"/>
                  <a:gd name="T16" fmla="*/ 64 w 199"/>
                  <a:gd name="T17" fmla="*/ 38 h 222"/>
                  <a:gd name="T18" fmla="*/ 75 w 199"/>
                  <a:gd name="T19" fmla="*/ 56 h 222"/>
                  <a:gd name="T20" fmla="*/ 87 w 199"/>
                  <a:gd name="T21" fmla="*/ 57 h 222"/>
                  <a:gd name="T22" fmla="*/ 91 w 199"/>
                  <a:gd name="T23" fmla="*/ 73 h 222"/>
                  <a:gd name="T24" fmla="*/ 103 w 199"/>
                  <a:gd name="T25" fmla="*/ 79 h 222"/>
                  <a:gd name="T26" fmla="*/ 94 w 199"/>
                  <a:gd name="T27" fmla="*/ 86 h 222"/>
                  <a:gd name="T28" fmla="*/ 94 w 199"/>
                  <a:gd name="T29" fmla="*/ 97 h 222"/>
                  <a:gd name="T30" fmla="*/ 35 w 199"/>
                  <a:gd name="T31" fmla="*/ 96 h 222"/>
                  <a:gd name="T32" fmla="*/ 14 w 199"/>
                  <a:gd name="T33" fmla="*/ 127 h 222"/>
                  <a:gd name="T34" fmla="*/ 14 w 199"/>
                  <a:gd name="T35" fmla="*/ 165 h 222"/>
                  <a:gd name="T36" fmla="*/ 0 w 199"/>
                  <a:gd name="T37" fmla="*/ 179 h 222"/>
                  <a:gd name="T38" fmla="*/ 14 w 199"/>
                  <a:gd name="T39" fmla="*/ 192 h 222"/>
                  <a:gd name="T40" fmla="*/ 47 w 199"/>
                  <a:gd name="T41" fmla="*/ 213 h 222"/>
                  <a:gd name="T42" fmla="*/ 80 w 199"/>
                  <a:gd name="T43" fmla="*/ 213 h 222"/>
                  <a:gd name="T44" fmla="*/ 92 w 199"/>
                  <a:gd name="T45" fmla="*/ 222 h 222"/>
                  <a:gd name="T46" fmla="*/ 111 w 199"/>
                  <a:gd name="T47" fmla="*/ 207 h 222"/>
                  <a:gd name="T48" fmla="*/ 124 w 199"/>
                  <a:gd name="T49" fmla="*/ 195 h 222"/>
                  <a:gd name="T50" fmla="*/ 125 w 199"/>
                  <a:gd name="T51" fmla="*/ 187 h 222"/>
                  <a:gd name="T52" fmla="*/ 149 w 199"/>
                  <a:gd name="T53" fmla="*/ 176 h 222"/>
                  <a:gd name="T54" fmla="*/ 151 w 199"/>
                  <a:gd name="T55" fmla="*/ 155 h 222"/>
                  <a:gd name="T56" fmla="*/ 179 w 199"/>
                  <a:gd name="T57" fmla="*/ 131 h 222"/>
                  <a:gd name="T58" fmla="*/ 199 w 199"/>
                  <a:gd name="T59" fmla="*/ 112 h 222"/>
                  <a:gd name="T60" fmla="*/ 190 w 199"/>
                  <a:gd name="T61" fmla="*/ 103 h 22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99"/>
                  <a:gd name="T94" fmla="*/ 0 h 222"/>
                  <a:gd name="T95" fmla="*/ 199 w 199"/>
                  <a:gd name="T96" fmla="*/ 222 h 22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99" h="222">
                    <a:moveTo>
                      <a:pt x="190" y="103"/>
                    </a:moveTo>
                    <a:cubicBezTo>
                      <a:pt x="179" y="110"/>
                      <a:pt x="179" y="110"/>
                      <a:pt x="179" y="110"/>
                    </a:cubicBezTo>
                    <a:cubicBezTo>
                      <a:pt x="170" y="105"/>
                      <a:pt x="170" y="105"/>
                      <a:pt x="170" y="105"/>
                    </a:cubicBezTo>
                    <a:cubicBezTo>
                      <a:pt x="152" y="105"/>
                      <a:pt x="152" y="105"/>
                      <a:pt x="152" y="105"/>
                    </a:cubicBezTo>
                    <a:cubicBezTo>
                      <a:pt x="168" y="1"/>
                      <a:pt x="168" y="1"/>
                      <a:pt x="168" y="1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4" y="24"/>
                      <a:pt x="82" y="30"/>
                    </a:cubicBezTo>
                    <a:cubicBezTo>
                      <a:pt x="80" y="36"/>
                      <a:pt x="54" y="34"/>
                      <a:pt x="54" y="34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64" y="38"/>
                      <a:pt x="65" y="54"/>
                      <a:pt x="75" y="56"/>
                    </a:cubicBezTo>
                    <a:cubicBezTo>
                      <a:pt x="85" y="58"/>
                      <a:pt x="87" y="57"/>
                      <a:pt x="87" y="57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91" y="73"/>
                      <a:pt x="103" y="69"/>
                      <a:pt x="103" y="79"/>
                    </a:cubicBezTo>
                    <a:cubicBezTo>
                      <a:pt x="103" y="89"/>
                      <a:pt x="94" y="86"/>
                      <a:pt x="94" y="86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4" y="127"/>
                      <a:pt x="14" y="149"/>
                      <a:pt x="14" y="165"/>
                    </a:cubicBezTo>
                    <a:cubicBezTo>
                      <a:pt x="14" y="181"/>
                      <a:pt x="0" y="179"/>
                      <a:pt x="0" y="179"/>
                    </a:cubicBezTo>
                    <a:cubicBezTo>
                      <a:pt x="3" y="185"/>
                      <a:pt x="7" y="189"/>
                      <a:pt x="14" y="192"/>
                    </a:cubicBezTo>
                    <a:cubicBezTo>
                      <a:pt x="33" y="199"/>
                      <a:pt x="36" y="209"/>
                      <a:pt x="47" y="213"/>
                    </a:cubicBezTo>
                    <a:cubicBezTo>
                      <a:pt x="58" y="217"/>
                      <a:pt x="80" y="213"/>
                      <a:pt x="80" y="213"/>
                    </a:cubicBezTo>
                    <a:cubicBezTo>
                      <a:pt x="80" y="213"/>
                      <a:pt x="86" y="217"/>
                      <a:pt x="92" y="222"/>
                    </a:cubicBezTo>
                    <a:cubicBezTo>
                      <a:pt x="97" y="217"/>
                      <a:pt x="105" y="208"/>
                      <a:pt x="111" y="207"/>
                    </a:cubicBezTo>
                    <a:cubicBezTo>
                      <a:pt x="119" y="205"/>
                      <a:pt x="124" y="195"/>
                      <a:pt x="124" y="195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5" y="187"/>
                      <a:pt x="146" y="185"/>
                      <a:pt x="149" y="176"/>
                    </a:cubicBezTo>
                    <a:cubicBezTo>
                      <a:pt x="152" y="167"/>
                      <a:pt x="151" y="155"/>
                      <a:pt x="151" y="155"/>
                    </a:cubicBezTo>
                    <a:cubicBezTo>
                      <a:pt x="151" y="155"/>
                      <a:pt x="164" y="139"/>
                      <a:pt x="179" y="131"/>
                    </a:cubicBezTo>
                    <a:cubicBezTo>
                      <a:pt x="194" y="123"/>
                      <a:pt x="199" y="112"/>
                      <a:pt x="199" y="112"/>
                    </a:cubicBezTo>
                    <a:lnTo>
                      <a:pt x="190" y="10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0" name="MCShape 13">
                <a:extLst>
                  <a:ext uri="{FF2B5EF4-FFF2-40B4-BE49-F238E27FC236}">
                    <a16:creationId xmlns:a16="http://schemas.microsoft.com/office/drawing/2014/main" id="{2527EEB3-E2E7-4E11-AF5F-7F9901CD3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7874" y="3178372"/>
                <a:ext cx="736247" cy="576934"/>
              </a:xfrm>
              <a:custGeom>
                <a:avLst/>
                <a:gdLst>
                  <a:gd name="T0" fmla="*/ 968 w 1247"/>
                  <a:gd name="T1" fmla="*/ 891 h 976"/>
                  <a:gd name="T2" fmla="*/ 1036 w 1247"/>
                  <a:gd name="T3" fmla="*/ 874 h 976"/>
                  <a:gd name="T4" fmla="*/ 1008 w 1247"/>
                  <a:gd name="T5" fmla="*/ 851 h 976"/>
                  <a:gd name="T6" fmla="*/ 1015 w 1247"/>
                  <a:gd name="T7" fmla="*/ 825 h 976"/>
                  <a:gd name="T8" fmla="*/ 1108 w 1247"/>
                  <a:gd name="T9" fmla="*/ 786 h 976"/>
                  <a:gd name="T10" fmla="*/ 1139 w 1247"/>
                  <a:gd name="T11" fmla="*/ 771 h 976"/>
                  <a:gd name="T12" fmla="*/ 1162 w 1247"/>
                  <a:gd name="T13" fmla="*/ 767 h 976"/>
                  <a:gd name="T14" fmla="*/ 1182 w 1247"/>
                  <a:gd name="T15" fmla="*/ 717 h 976"/>
                  <a:gd name="T16" fmla="*/ 1184 w 1247"/>
                  <a:gd name="T17" fmla="*/ 701 h 976"/>
                  <a:gd name="T18" fmla="*/ 1234 w 1247"/>
                  <a:gd name="T19" fmla="*/ 632 h 976"/>
                  <a:gd name="T20" fmla="*/ 1172 w 1247"/>
                  <a:gd name="T21" fmla="*/ 594 h 976"/>
                  <a:gd name="T22" fmla="*/ 1060 w 1247"/>
                  <a:gd name="T23" fmla="*/ 655 h 976"/>
                  <a:gd name="T24" fmla="*/ 1043 w 1247"/>
                  <a:gd name="T25" fmla="*/ 716 h 976"/>
                  <a:gd name="T26" fmla="*/ 974 w 1247"/>
                  <a:gd name="T27" fmla="*/ 749 h 976"/>
                  <a:gd name="T28" fmla="*/ 836 w 1247"/>
                  <a:gd name="T29" fmla="*/ 753 h 976"/>
                  <a:gd name="T30" fmla="*/ 777 w 1247"/>
                  <a:gd name="T31" fmla="*/ 708 h 976"/>
                  <a:gd name="T32" fmla="*/ 750 w 1247"/>
                  <a:gd name="T33" fmla="*/ 616 h 976"/>
                  <a:gd name="T34" fmla="*/ 752 w 1247"/>
                  <a:gd name="T35" fmla="*/ 507 h 976"/>
                  <a:gd name="T36" fmla="*/ 768 w 1247"/>
                  <a:gd name="T37" fmla="*/ 434 h 976"/>
                  <a:gd name="T38" fmla="*/ 806 w 1247"/>
                  <a:gd name="T39" fmla="*/ 364 h 976"/>
                  <a:gd name="T40" fmla="*/ 780 w 1247"/>
                  <a:gd name="T41" fmla="*/ 355 h 976"/>
                  <a:gd name="T42" fmla="*/ 720 w 1247"/>
                  <a:gd name="T43" fmla="*/ 332 h 976"/>
                  <a:gd name="T44" fmla="*/ 714 w 1247"/>
                  <a:gd name="T45" fmla="*/ 280 h 976"/>
                  <a:gd name="T46" fmla="*/ 700 w 1247"/>
                  <a:gd name="T47" fmla="*/ 241 h 976"/>
                  <a:gd name="T48" fmla="*/ 661 w 1247"/>
                  <a:gd name="T49" fmla="*/ 154 h 976"/>
                  <a:gd name="T50" fmla="*/ 621 w 1247"/>
                  <a:gd name="T51" fmla="*/ 154 h 976"/>
                  <a:gd name="T52" fmla="*/ 519 w 1247"/>
                  <a:gd name="T53" fmla="*/ 161 h 976"/>
                  <a:gd name="T54" fmla="*/ 491 w 1247"/>
                  <a:gd name="T55" fmla="*/ 76 h 976"/>
                  <a:gd name="T56" fmla="*/ 390 w 1247"/>
                  <a:gd name="T57" fmla="*/ 45 h 976"/>
                  <a:gd name="T58" fmla="*/ 378 w 1247"/>
                  <a:gd name="T59" fmla="*/ 72 h 976"/>
                  <a:gd name="T60" fmla="*/ 106 w 1247"/>
                  <a:gd name="T61" fmla="*/ 0 h 976"/>
                  <a:gd name="T62" fmla="*/ 0 w 1247"/>
                  <a:gd name="T63" fmla="*/ 25 h 976"/>
                  <a:gd name="T64" fmla="*/ 10 w 1247"/>
                  <a:gd name="T65" fmla="*/ 76 h 976"/>
                  <a:gd name="T66" fmla="*/ 5 w 1247"/>
                  <a:gd name="T67" fmla="*/ 117 h 976"/>
                  <a:gd name="T68" fmla="*/ 42 w 1247"/>
                  <a:gd name="T69" fmla="*/ 176 h 976"/>
                  <a:gd name="T70" fmla="*/ 58 w 1247"/>
                  <a:gd name="T71" fmla="*/ 267 h 976"/>
                  <a:gd name="T72" fmla="*/ 7 w 1247"/>
                  <a:gd name="T73" fmla="*/ 261 h 976"/>
                  <a:gd name="T74" fmla="*/ 43 w 1247"/>
                  <a:gd name="T75" fmla="*/ 296 h 976"/>
                  <a:gd name="T76" fmla="*/ 91 w 1247"/>
                  <a:gd name="T77" fmla="*/ 337 h 976"/>
                  <a:gd name="T78" fmla="*/ 142 w 1247"/>
                  <a:gd name="T79" fmla="*/ 459 h 976"/>
                  <a:gd name="T80" fmla="*/ 210 w 1247"/>
                  <a:gd name="T81" fmla="*/ 506 h 976"/>
                  <a:gd name="T82" fmla="*/ 172 w 1247"/>
                  <a:gd name="T83" fmla="*/ 452 h 976"/>
                  <a:gd name="T84" fmla="*/ 162 w 1247"/>
                  <a:gd name="T85" fmla="*/ 387 h 976"/>
                  <a:gd name="T86" fmla="*/ 131 w 1247"/>
                  <a:gd name="T87" fmla="*/ 319 h 976"/>
                  <a:gd name="T88" fmla="*/ 116 w 1247"/>
                  <a:gd name="T89" fmla="*/ 227 h 976"/>
                  <a:gd name="T90" fmla="*/ 66 w 1247"/>
                  <a:gd name="T91" fmla="*/ 128 h 976"/>
                  <a:gd name="T92" fmla="*/ 84 w 1247"/>
                  <a:gd name="T93" fmla="*/ 42 h 976"/>
                  <a:gd name="T94" fmla="*/ 138 w 1247"/>
                  <a:gd name="T95" fmla="*/ 73 h 976"/>
                  <a:gd name="T96" fmla="*/ 160 w 1247"/>
                  <a:gd name="T97" fmla="*/ 180 h 976"/>
                  <a:gd name="T98" fmla="*/ 208 w 1247"/>
                  <a:gd name="T99" fmla="*/ 284 h 976"/>
                  <a:gd name="T100" fmla="*/ 257 w 1247"/>
                  <a:gd name="T101" fmla="*/ 318 h 976"/>
                  <a:gd name="T102" fmla="*/ 255 w 1247"/>
                  <a:gd name="T103" fmla="*/ 375 h 976"/>
                  <a:gd name="T104" fmla="*/ 294 w 1247"/>
                  <a:gd name="T105" fmla="*/ 418 h 976"/>
                  <a:gd name="T106" fmla="*/ 313 w 1247"/>
                  <a:gd name="T107" fmla="*/ 456 h 976"/>
                  <a:gd name="T108" fmla="*/ 371 w 1247"/>
                  <a:gd name="T109" fmla="*/ 575 h 976"/>
                  <a:gd name="T110" fmla="*/ 375 w 1247"/>
                  <a:gd name="T111" fmla="*/ 645 h 976"/>
                  <a:gd name="T112" fmla="*/ 423 w 1247"/>
                  <a:gd name="T113" fmla="*/ 740 h 976"/>
                  <a:gd name="T114" fmla="*/ 556 w 1247"/>
                  <a:gd name="T115" fmla="*/ 838 h 976"/>
                  <a:gd name="T116" fmla="*/ 677 w 1247"/>
                  <a:gd name="T117" fmla="*/ 899 h 976"/>
                  <a:gd name="T118" fmla="*/ 840 w 1247"/>
                  <a:gd name="T119" fmla="*/ 878 h 976"/>
                  <a:gd name="T120" fmla="*/ 947 w 1247"/>
                  <a:gd name="T121" fmla="*/ 960 h 97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47"/>
                  <a:gd name="T184" fmla="*/ 0 h 976"/>
                  <a:gd name="T185" fmla="*/ 1247 w 1247"/>
                  <a:gd name="T186" fmla="*/ 976 h 97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47" h="976">
                    <a:moveTo>
                      <a:pt x="947" y="960"/>
                    </a:moveTo>
                    <a:cubicBezTo>
                      <a:pt x="947" y="944"/>
                      <a:pt x="947" y="922"/>
                      <a:pt x="947" y="922"/>
                    </a:cubicBezTo>
                    <a:cubicBezTo>
                      <a:pt x="968" y="891"/>
                      <a:pt x="968" y="891"/>
                      <a:pt x="968" y="891"/>
                    </a:cubicBezTo>
                    <a:cubicBezTo>
                      <a:pt x="1027" y="892"/>
                      <a:pt x="1027" y="892"/>
                      <a:pt x="1027" y="892"/>
                    </a:cubicBezTo>
                    <a:cubicBezTo>
                      <a:pt x="1027" y="881"/>
                      <a:pt x="1027" y="881"/>
                      <a:pt x="1027" y="881"/>
                    </a:cubicBezTo>
                    <a:cubicBezTo>
                      <a:pt x="1027" y="881"/>
                      <a:pt x="1036" y="884"/>
                      <a:pt x="1036" y="874"/>
                    </a:cubicBezTo>
                    <a:cubicBezTo>
                      <a:pt x="1036" y="864"/>
                      <a:pt x="1024" y="868"/>
                      <a:pt x="1024" y="868"/>
                    </a:cubicBezTo>
                    <a:cubicBezTo>
                      <a:pt x="1020" y="852"/>
                      <a:pt x="1020" y="852"/>
                      <a:pt x="1020" y="852"/>
                    </a:cubicBezTo>
                    <a:cubicBezTo>
                      <a:pt x="1020" y="852"/>
                      <a:pt x="1018" y="853"/>
                      <a:pt x="1008" y="851"/>
                    </a:cubicBezTo>
                    <a:cubicBezTo>
                      <a:pt x="998" y="849"/>
                      <a:pt x="997" y="833"/>
                      <a:pt x="997" y="833"/>
                    </a:cubicBezTo>
                    <a:cubicBezTo>
                      <a:pt x="987" y="829"/>
                      <a:pt x="987" y="829"/>
                      <a:pt x="987" y="829"/>
                    </a:cubicBezTo>
                    <a:cubicBezTo>
                      <a:pt x="987" y="829"/>
                      <a:pt x="1013" y="831"/>
                      <a:pt x="1015" y="825"/>
                    </a:cubicBezTo>
                    <a:cubicBezTo>
                      <a:pt x="1017" y="819"/>
                      <a:pt x="1014" y="795"/>
                      <a:pt x="1014" y="795"/>
                    </a:cubicBezTo>
                    <a:cubicBezTo>
                      <a:pt x="1101" y="796"/>
                      <a:pt x="1101" y="796"/>
                      <a:pt x="1101" y="796"/>
                    </a:cubicBezTo>
                    <a:cubicBezTo>
                      <a:pt x="1101" y="796"/>
                      <a:pt x="1103" y="786"/>
                      <a:pt x="1108" y="786"/>
                    </a:cubicBezTo>
                    <a:cubicBezTo>
                      <a:pt x="1113" y="786"/>
                      <a:pt x="1107" y="794"/>
                      <a:pt x="1118" y="793"/>
                    </a:cubicBezTo>
                    <a:cubicBezTo>
                      <a:pt x="1129" y="792"/>
                      <a:pt x="1136" y="760"/>
                      <a:pt x="1136" y="760"/>
                    </a:cubicBezTo>
                    <a:cubicBezTo>
                      <a:pt x="1139" y="771"/>
                      <a:pt x="1139" y="771"/>
                      <a:pt x="1139" y="771"/>
                    </a:cubicBezTo>
                    <a:cubicBezTo>
                      <a:pt x="1150" y="761"/>
                      <a:pt x="1150" y="761"/>
                      <a:pt x="1150" y="761"/>
                    </a:cubicBezTo>
                    <a:cubicBezTo>
                      <a:pt x="1164" y="745"/>
                      <a:pt x="1164" y="745"/>
                      <a:pt x="1164" y="745"/>
                    </a:cubicBezTo>
                    <a:cubicBezTo>
                      <a:pt x="1164" y="745"/>
                      <a:pt x="1158" y="764"/>
                      <a:pt x="1162" y="767"/>
                    </a:cubicBezTo>
                    <a:cubicBezTo>
                      <a:pt x="1166" y="770"/>
                      <a:pt x="1173" y="770"/>
                      <a:pt x="1173" y="770"/>
                    </a:cubicBezTo>
                    <a:cubicBezTo>
                      <a:pt x="1188" y="725"/>
                      <a:pt x="1188" y="725"/>
                      <a:pt x="1188" y="725"/>
                    </a:cubicBezTo>
                    <a:cubicBezTo>
                      <a:pt x="1182" y="717"/>
                      <a:pt x="1182" y="717"/>
                      <a:pt x="1182" y="717"/>
                    </a:cubicBezTo>
                    <a:cubicBezTo>
                      <a:pt x="1195" y="713"/>
                      <a:pt x="1195" y="713"/>
                      <a:pt x="1195" y="713"/>
                    </a:cubicBezTo>
                    <a:cubicBezTo>
                      <a:pt x="1196" y="705"/>
                      <a:pt x="1196" y="705"/>
                      <a:pt x="1196" y="705"/>
                    </a:cubicBezTo>
                    <a:cubicBezTo>
                      <a:pt x="1184" y="701"/>
                      <a:pt x="1184" y="701"/>
                      <a:pt x="1184" y="701"/>
                    </a:cubicBezTo>
                    <a:cubicBezTo>
                      <a:pt x="1196" y="688"/>
                      <a:pt x="1196" y="688"/>
                      <a:pt x="1196" y="688"/>
                    </a:cubicBezTo>
                    <a:cubicBezTo>
                      <a:pt x="1200" y="672"/>
                      <a:pt x="1200" y="672"/>
                      <a:pt x="1200" y="672"/>
                    </a:cubicBezTo>
                    <a:cubicBezTo>
                      <a:pt x="1200" y="672"/>
                      <a:pt x="1230" y="641"/>
                      <a:pt x="1234" y="632"/>
                    </a:cubicBezTo>
                    <a:cubicBezTo>
                      <a:pt x="1238" y="623"/>
                      <a:pt x="1247" y="600"/>
                      <a:pt x="1236" y="597"/>
                    </a:cubicBezTo>
                    <a:cubicBezTo>
                      <a:pt x="1225" y="594"/>
                      <a:pt x="1203" y="601"/>
                      <a:pt x="1203" y="601"/>
                    </a:cubicBezTo>
                    <a:cubicBezTo>
                      <a:pt x="1203" y="601"/>
                      <a:pt x="1179" y="594"/>
                      <a:pt x="1172" y="594"/>
                    </a:cubicBezTo>
                    <a:cubicBezTo>
                      <a:pt x="1165" y="594"/>
                      <a:pt x="1137" y="602"/>
                      <a:pt x="1123" y="606"/>
                    </a:cubicBezTo>
                    <a:cubicBezTo>
                      <a:pt x="1109" y="610"/>
                      <a:pt x="1084" y="606"/>
                      <a:pt x="1078" y="612"/>
                    </a:cubicBezTo>
                    <a:cubicBezTo>
                      <a:pt x="1072" y="618"/>
                      <a:pt x="1061" y="639"/>
                      <a:pt x="1060" y="655"/>
                    </a:cubicBezTo>
                    <a:cubicBezTo>
                      <a:pt x="1059" y="671"/>
                      <a:pt x="1059" y="686"/>
                      <a:pt x="1059" y="686"/>
                    </a:cubicBezTo>
                    <a:cubicBezTo>
                      <a:pt x="1049" y="690"/>
                      <a:pt x="1049" y="690"/>
                      <a:pt x="1049" y="690"/>
                    </a:cubicBezTo>
                    <a:cubicBezTo>
                      <a:pt x="1049" y="690"/>
                      <a:pt x="1049" y="710"/>
                      <a:pt x="1043" y="716"/>
                    </a:cubicBezTo>
                    <a:cubicBezTo>
                      <a:pt x="1037" y="722"/>
                      <a:pt x="1016" y="728"/>
                      <a:pt x="1011" y="737"/>
                    </a:cubicBezTo>
                    <a:cubicBezTo>
                      <a:pt x="1006" y="746"/>
                      <a:pt x="1009" y="765"/>
                      <a:pt x="996" y="766"/>
                    </a:cubicBezTo>
                    <a:cubicBezTo>
                      <a:pt x="983" y="767"/>
                      <a:pt x="990" y="749"/>
                      <a:pt x="974" y="749"/>
                    </a:cubicBezTo>
                    <a:cubicBezTo>
                      <a:pt x="958" y="749"/>
                      <a:pt x="932" y="761"/>
                      <a:pt x="912" y="761"/>
                    </a:cubicBezTo>
                    <a:cubicBezTo>
                      <a:pt x="892" y="761"/>
                      <a:pt x="864" y="784"/>
                      <a:pt x="855" y="780"/>
                    </a:cubicBezTo>
                    <a:cubicBezTo>
                      <a:pt x="846" y="776"/>
                      <a:pt x="847" y="755"/>
                      <a:pt x="836" y="753"/>
                    </a:cubicBezTo>
                    <a:cubicBezTo>
                      <a:pt x="825" y="751"/>
                      <a:pt x="797" y="748"/>
                      <a:pt x="797" y="748"/>
                    </a:cubicBezTo>
                    <a:cubicBezTo>
                      <a:pt x="797" y="748"/>
                      <a:pt x="795" y="731"/>
                      <a:pt x="790" y="724"/>
                    </a:cubicBezTo>
                    <a:cubicBezTo>
                      <a:pt x="785" y="717"/>
                      <a:pt x="777" y="708"/>
                      <a:pt x="777" y="708"/>
                    </a:cubicBezTo>
                    <a:cubicBezTo>
                      <a:pt x="777" y="685"/>
                      <a:pt x="777" y="685"/>
                      <a:pt x="777" y="685"/>
                    </a:cubicBezTo>
                    <a:cubicBezTo>
                      <a:pt x="751" y="644"/>
                      <a:pt x="751" y="644"/>
                      <a:pt x="751" y="644"/>
                    </a:cubicBezTo>
                    <a:cubicBezTo>
                      <a:pt x="750" y="616"/>
                      <a:pt x="750" y="616"/>
                      <a:pt x="750" y="616"/>
                    </a:cubicBezTo>
                    <a:cubicBezTo>
                      <a:pt x="739" y="596"/>
                      <a:pt x="739" y="596"/>
                      <a:pt x="739" y="596"/>
                    </a:cubicBezTo>
                    <a:cubicBezTo>
                      <a:pt x="736" y="539"/>
                      <a:pt x="736" y="539"/>
                      <a:pt x="736" y="539"/>
                    </a:cubicBezTo>
                    <a:cubicBezTo>
                      <a:pt x="736" y="539"/>
                      <a:pt x="752" y="518"/>
                      <a:pt x="752" y="507"/>
                    </a:cubicBezTo>
                    <a:cubicBezTo>
                      <a:pt x="752" y="496"/>
                      <a:pt x="754" y="466"/>
                      <a:pt x="754" y="466"/>
                    </a:cubicBezTo>
                    <a:cubicBezTo>
                      <a:pt x="752" y="439"/>
                      <a:pt x="752" y="439"/>
                      <a:pt x="752" y="439"/>
                    </a:cubicBezTo>
                    <a:cubicBezTo>
                      <a:pt x="768" y="434"/>
                      <a:pt x="768" y="434"/>
                      <a:pt x="768" y="434"/>
                    </a:cubicBezTo>
                    <a:cubicBezTo>
                      <a:pt x="768" y="434"/>
                      <a:pt x="767" y="394"/>
                      <a:pt x="775" y="392"/>
                    </a:cubicBezTo>
                    <a:cubicBezTo>
                      <a:pt x="783" y="390"/>
                      <a:pt x="791" y="401"/>
                      <a:pt x="793" y="392"/>
                    </a:cubicBezTo>
                    <a:cubicBezTo>
                      <a:pt x="795" y="383"/>
                      <a:pt x="806" y="364"/>
                      <a:pt x="806" y="364"/>
                    </a:cubicBezTo>
                    <a:cubicBezTo>
                      <a:pt x="806" y="363"/>
                      <a:pt x="806" y="363"/>
                      <a:pt x="806" y="363"/>
                    </a:cubicBezTo>
                    <a:cubicBezTo>
                      <a:pt x="803" y="364"/>
                      <a:pt x="799" y="365"/>
                      <a:pt x="794" y="365"/>
                    </a:cubicBezTo>
                    <a:cubicBezTo>
                      <a:pt x="783" y="365"/>
                      <a:pt x="785" y="355"/>
                      <a:pt x="780" y="355"/>
                    </a:cubicBezTo>
                    <a:cubicBezTo>
                      <a:pt x="775" y="355"/>
                      <a:pt x="756" y="355"/>
                      <a:pt x="756" y="355"/>
                    </a:cubicBezTo>
                    <a:cubicBezTo>
                      <a:pt x="750" y="344"/>
                      <a:pt x="750" y="344"/>
                      <a:pt x="750" y="344"/>
                    </a:cubicBezTo>
                    <a:cubicBezTo>
                      <a:pt x="750" y="344"/>
                      <a:pt x="720" y="343"/>
                      <a:pt x="720" y="332"/>
                    </a:cubicBezTo>
                    <a:cubicBezTo>
                      <a:pt x="720" y="321"/>
                      <a:pt x="722" y="313"/>
                      <a:pt x="722" y="313"/>
                    </a:cubicBezTo>
                    <a:cubicBezTo>
                      <a:pt x="714" y="307"/>
                      <a:pt x="714" y="307"/>
                      <a:pt x="714" y="307"/>
                    </a:cubicBezTo>
                    <a:cubicBezTo>
                      <a:pt x="714" y="280"/>
                      <a:pt x="714" y="280"/>
                      <a:pt x="714" y="280"/>
                    </a:cubicBezTo>
                    <a:cubicBezTo>
                      <a:pt x="714" y="280"/>
                      <a:pt x="724" y="277"/>
                      <a:pt x="717" y="270"/>
                    </a:cubicBezTo>
                    <a:cubicBezTo>
                      <a:pt x="710" y="263"/>
                      <a:pt x="701" y="262"/>
                      <a:pt x="701" y="254"/>
                    </a:cubicBezTo>
                    <a:cubicBezTo>
                      <a:pt x="701" y="247"/>
                      <a:pt x="700" y="241"/>
                      <a:pt x="700" y="241"/>
                    </a:cubicBezTo>
                    <a:cubicBezTo>
                      <a:pt x="700" y="241"/>
                      <a:pt x="689" y="234"/>
                      <a:pt x="689" y="225"/>
                    </a:cubicBezTo>
                    <a:cubicBezTo>
                      <a:pt x="689" y="216"/>
                      <a:pt x="697" y="201"/>
                      <a:pt x="689" y="193"/>
                    </a:cubicBezTo>
                    <a:cubicBezTo>
                      <a:pt x="681" y="185"/>
                      <a:pt x="661" y="154"/>
                      <a:pt x="661" y="154"/>
                    </a:cubicBezTo>
                    <a:cubicBezTo>
                      <a:pt x="632" y="153"/>
                      <a:pt x="632" y="153"/>
                      <a:pt x="632" y="153"/>
                    </a:cubicBezTo>
                    <a:cubicBezTo>
                      <a:pt x="622" y="148"/>
                      <a:pt x="622" y="148"/>
                      <a:pt x="622" y="148"/>
                    </a:cubicBezTo>
                    <a:cubicBezTo>
                      <a:pt x="621" y="154"/>
                      <a:pt x="621" y="154"/>
                      <a:pt x="621" y="154"/>
                    </a:cubicBezTo>
                    <a:cubicBezTo>
                      <a:pt x="621" y="154"/>
                      <a:pt x="609" y="153"/>
                      <a:pt x="605" y="157"/>
                    </a:cubicBezTo>
                    <a:cubicBezTo>
                      <a:pt x="601" y="161"/>
                      <a:pt x="588" y="195"/>
                      <a:pt x="569" y="195"/>
                    </a:cubicBezTo>
                    <a:cubicBezTo>
                      <a:pt x="550" y="195"/>
                      <a:pt x="519" y="161"/>
                      <a:pt x="519" y="161"/>
                    </a:cubicBezTo>
                    <a:cubicBezTo>
                      <a:pt x="519" y="161"/>
                      <a:pt x="529" y="119"/>
                      <a:pt x="519" y="109"/>
                    </a:cubicBezTo>
                    <a:cubicBezTo>
                      <a:pt x="508" y="98"/>
                      <a:pt x="497" y="97"/>
                      <a:pt x="497" y="97"/>
                    </a:cubicBezTo>
                    <a:cubicBezTo>
                      <a:pt x="491" y="76"/>
                      <a:pt x="491" y="76"/>
                      <a:pt x="491" y="76"/>
                    </a:cubicBezTo>
                    <a:cubicBezTo>
                      <a:pt x="473" y="68"/>
                      <a:pt x="473" y="68"/>
                      <a:pt x="473" y="68"/>
                    </a:cubicBezTo>
                    <a:cubicBezTo>
                      <a:pt x="473" y="68"/>
                      <a:pt x="478" y="60"/>
                      <a:pt x="463" y="45"/>
                    </a:cubicBezTo>
                    <a:cubicBezTo>
                      <a:pt x="390" y="45"/>
                      <a:pt x="390" y="45"/>
                      <a:pt x="390" y="45"/>
                    </a:cubicBezTo>
                    <a:cubicBezTo>
                      <a:pt x="390" y="45"/>
                      <a:pt x="383" y="49"/>
                      <a:pt x="383" y="55"/>
                    </a:cubicBezTo>
                    <a:cubicBezTo>
                      <a:pt x="383" y="61"/>
                      <a:pt x="385" y="65"/>
                      <a:pt x="382" y="69"/>
                    </a:cubicBezTo>
                    <a:cubicBezTo>
                      <a:pt x="378" y="72"/>
                      <a:pt x="378" y="72"/>
                      <a:pt x="378" y="72"/>
                    </a:cubicBezTo>
                    <a:cubicBezTo>
                      <a:pt x="246" y="74"/>
                      <a:pt x="246" y="74"/>
                      <a:pt x="246" y="74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6" y="10"/>
                      <a:pt x="96" y="10"/>
                      <a:pt x="106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12"/>
                      <a:pt x="0" y="20"/>
                      <a:pt x="0" y="25"/>
                    </a:cubicBezTo>
                    <a:cubicBezTo>
                      <a:pt x="0" y="36"/>
                      <a:pt x="13" y="54"/>
                      <a:pt x="13" y="54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10" y="76"/>
                      <a:pt x="10" y="76"/>
                      <a:pt x="10" y="7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5" y="117"/>
                      <a:pt x="5" y="117"/>
                      <a:pt x="5" y="117"/>
                    </a:cubicBezTo>
                    <a:cubicBezTo>
                      <a:pt x="14" y="121"/>
                      <a:pt x="14" y="121"/>
                      <a:pt x="14" y="121"/>
                    </a:cubicBezTo>
                    <a:cubicBezTo>
                      <a:pt x="14" y="121"/>
                      <a:pt x="11" y="162"/>
                      <a:pt x="20" y="171"/>
                    </a:cubicBezTo>
                    <a:cubicBezTo>
                      <a:pt x="29" y="180"/>
                      <a:pt x="42" y="176"/>
                      <a:pt x="42" y="176"/>
                    </a:cubicBezTo>
                    <a:cubicBezTo>
                      <a:pt x="42" y="176"/>
                      <a:pt x="66" y="219"/>
                      <a:pt x="66" y="227"/>
                    </a:cubicBezTo>
                    <a:cubicBezTo>
                      <a:pt x="66" y="235"/>
                      <a:pt x="47" y="260"/>
                      <a:pt x="47" y="260"/>
                    </a:cubicBezTo>
                    <a:cubicBezTo>
                      <a:pt x="58" y="267"/>
                      <a:pt x="58" y="267"/>
                      <a:pt x="58" y="267"/>
                    </a:cubicBezTo>
                    <a:cubicBezTo>
                      <a:pt x="50" y="276"/>
                      <a:pt x="50" y="276"/>
                      <a:pt x="50" y="276"/>
                    </a:cubicBezTo>
                    <a:cubicBezTo>
                      <a:pt x="41" y="264"/>
                      <a:pt x="41" y="264"/>
                      <a:pt x="41" y="264"/>
                    </a:cubicBezTo>
                    <a:cubicBezTo>
                      <a:pt x="7" y="261"/>
                      <a:pt x="7" y="261"/>
                      <a:pt x="7" y="261"/>
                    </a:cubicBezTo>
                    <a:cubicBezTo>
                      <a:pt x="23" y="279"/>
                      <a:pt x="23" y="279"/>
                      <a:pt x="23" y="279"/>
                    </a:cubicBezTo>
                    <a:cubicBezTo>
                      <a:pt x="29" y="295"/>
                      <a:pt x="29" y="295"/>
                      <a:pt x="29" y="295"/>
                    </a:cubicBezTo>
                    <a:cubicBezTo>
                      <a:pt x="43" y="296"/>
                      <a:pt x="43" y="296"/>
                      <a:pt x="43" y="296"/>
                    </a:cubicBezTo>
                    <a:cubicBezTo>
                      <a:pt x="43" y="296"/>
                      <a:pt x="60" y="319"/>
                      <a:pt x="65" y="317"/>
                    </a:cubicBezTo>
                    <a:cubicBezTo>
                      <a:pt x="70" y="315"/>
                      <a:pt x="85" y="305"/>
                      <a:pt x="85" y="305"/>
                    </a:cubicBezTo>
                    <a:cubicBezTo>
                      <a:pt x="85" y="305"/>
                      <a:pt x="84" y="328"/>
                      <a:pt x="91" y="337"/>
                    </a:cubicBezTo>
                    <a:cubicBezTo>
                      <a:pt x="98" y="346"/>
                      <a:pt x="113" y="358"/>
                      <a:pt x="113" y="368"/>
                    </a:cubicBezTo>
                    <a:cubicBezTo>
                      <a:pt x="113" y="378"/>
                      <a:pt x="96" y="398"/>
                      <a:pt x="102" y="412"/>
                    </a:cubicBezTo>
                    <a:cubicBezTo>
                      <a:pt x="108" y="426"/>
                      <a:pt x="128" y="442"/>
                      <a:pt x="142" y="459"/>
                    </a:cubicBezTo>
                    <a:cubicBezTo>
                      <a:pt x="156" y="476"/>
                      <a:pt x="175" y="497"/>
                      <a:pt x="175" y="497"/>
                    </a:cubicBezTo>
                    <a:cubicBezTo>
                      <a:pt x="175" y="497"/>
                      <a:pt x="162" y="524"/>
                      <a:pt x="178" y="525"/>
                    </a:cubicBezTo>
                    <a:cubicBezTo>
                      <a:pt x="194" y="526"/>
                      <a:pt x="210" y="506"/>
                      <a:pt x="210" y="506"/>
                    </a:cubicBezTo>
                    <a:cubicBezTo>
                      <a:pt x="206" y="493"/>
                      <a:pt x="206" y="493"/>
                      <a:pt x="206" y="493"/>
                    </a:cubicBezTo>
                    <a:cubicBezTo>
                      <a:pt x="206" y="493"/>
                      <a:pt x="198" y="457"/>
                      <a:pt x="190" y="453"/>
                    </a:cubicBezTo>
                    <a:cubicBezTo>
                      <a:pt x="182" y="449"/>
                      <a:pt x="172" y="452"/>
                      <a:pt x="172" y="452"/>
                    </a:cubicBezTo>
                    <a:cubicBezTo>
                      <a:pt x="160" y="435"/>
                      <a:pt x="160" y="435"/>
                      <a:pt x="160" y="435"/>
                    </a:cubicBezTo>
                    <a:cubicBezTo>
                      <a:pt x="160" y="435"/>
                      <a:pt x="164" y="422"/>
                      <a:pt x="162" y="414"/>
                    </a:cubicBezTo>
                    <a:cubicBezTo>
                      <a:pt x="160" y="406"/>
                      <a:pt x="162" y="387"/>
                      <a:pt x="162" y="387"/>
                    </a:cubicBezTo>
                    <a:cubicBezTo>
                      <a:pt x="150" y="365"/>
                      <a:pt x="150" y="365"/>
                      <a:pt x="150" y="365"/>
                    </a:cubicBezTo>
                    <a:cubicBezTo>
                      <a:pt x="150" y="365"/>
                      <a:pt x="160" y="341"/>
                      <a:pt x="156" y="329"/>
                    </a:cubicBezTo>
                    <a:cubicBezTo>
                      <a:pt x="152" y="317"/>
                      <a:pt x="131" y="319"/>
                      <a:pt x="131" y="319"/>
                    </a:cubicBezTo>
                    <a:cubicBezTo>
                      <a:pt x="131" y="288"/>
                      <a:pt x="131" y="288"/>
                      <a:pt x="131" y="288"/>
                    </a:cubicBezTo>
                    <a:cubicBezTo>
                      <a:pt x="114" y="267"/>
                      <a:pt x="114" y="267"/>
                      <a:pt x="114" y="267"/>
                    </a:cubicBezTo>
                    <a:cubicBezTo>
                      <a:pt x="116" y="227"/>
                      <a:pt x="116" y="227"/>
                      <a:pt x="116" y="227"/>
                    </a:cubicBezTo>
                    <a:cubicBezTo>
                      <a:pt x="116" y="227"/>
                      <a:pt x="102" y="207"/>
                      <a:pt x="97" y="201"/>
                    </a:cubicBezTo>
                    <a:cubicBezTo>
                      <a:pt x="92" y="195"/>
                      <a:pt x="89" y="170"/>
                      <a:pt x="89" y="170"/>
                    </a:cubicBezTo>
                    <a:cubicBezTo>
                      <a:pt x="89" y="170"/>
                      <a:pt x="63" y="132"/>
                      <a:pt x="66" y="128"/>
                    </a:cubicBezTo>
                    <a:cubicBezTo>
                      <a:pt x="69" y="124"/>
                      <a:pt x="79" y="107"/>
                      <a:pt x="75" y="95"/>
                    </a:cubicBezTo>
                    <a:cubicBezTo>
                      <a:pt x="71" y="83"/>
                      <a:pt x="85" y="67"/>
                      <a:pt x="85" y="67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104" y="62"/>
                      <a:pt x="113" y="62"/>
                    </a:cubicBezTo>
                    <a:cubicBezTo>
                      <a:pt x="122" y="62"/>
                      <a:pt x="134" y="58"/>
                      <a:pt x="134" y="58"/>
                    </a:cubicBezTo>
                    <a:cubicBezTo>
                      <a:pt x="134" y="58"/>
                      <a:pt x="131" y="69"/>
                      <a:pt x="138" y="73"/>
                    </a:cubicBezTo>
                    <a:cubicBezTo>
                      <a:pt x="145" y="77"/>
                      <a:pt x="155" y="77"/>
                      <a:pt x="155" y="77"/>
                    </a:cubicBezTo>
                    <a:cubicBezTo>
                      <a:pt x="155" y="77"/>
                      <a:pt x="152" y="88"/>
                      <a:pt x="152" y="106"/>
                    </a:cubicBezTo>
                    <a:cubicBezTo>
                      <a:pt x="152" y="124"/>
                      <a:pt x="160" y="180"/>
                      <a:pt x="160" y="180"/>
                    </a:cubicBezTo>
                    <a:cubicBezTo>
                      <a:pt x="160" y="180"/>
                      <a:pt x="181" y="255"/>
                      <a:pt x="189" y="257"/>
                    </a:cubicBezTo>
                    <a:cubicBezTo>
                      <a:pt x="197" y="259"/>
                      <a:pt x="217" y="257"/>
                      <a:pt x="217" y="257"/>
                    </a:cubicBezTo>
                    <a:cubicBezTo>
                      <a:pt x="217" y="257"/>
                      <a:pt x="199" y="268"/>
                      <a:pt x="208" y="284"/>
                    </a:cubicBezTo>
                    <a:cubicBezTo>
                      <a:pt x="217" y="300"/>
                      <a:pt x="234" y="302"/>
                      <a:pt x="234" y="302"/>
                    </a:cubicBezTo>
                    <a:cubicBezTo>
                      <a:pt x="236" y="317"/>
                      <a:pt x="236" y="317"/>
                      <a:pt x="236" y="317"/>
                    </a:cubicBezTo>
                    <a:cubicBezTo>
                      <a:pt x="257" y="318"/>
                      <a:pt x="257" y="318"/>
                      <a:pt x="257" y="318"/>
                    </a:cubicBezTo>
                    <a:cubicBezTo>
                      <a:pt x="260" y="346"/>
                      <a:pt x="260" y="346"/>
                      <a:pt x="260" y="346"/>
                    </a:cubicBezTo>
                    <a:cubicBezTo>
                      <a:pt x="260" y="346"/>
                      <a:pt x="228" y="359"/>
                      <a:pt x="238" y="374"/>
                    </a:cubicBezTo>
                    <a:cubicBezTo>
                      <a:pt x="248" y="389"/>
                      <a:pt x="255" y="375"/>
                      <a:pt x="255" y="375"/>
                    </a:cubicBezTo>
                    <a:cubicBezTo>
                      <a:pt x="255" y="375"/>
                      <a:pt x="264" y="395"/>
                      <a:pt x="270" y="397"/>
                    </a:cubicBezTo>
                    <a:cubicBezTo>
                      <a:pt x="276" y="399"/>
                      <a:pt x="294" y="401"/>
                      <a:pt x="294" y="404"/>
                    </a:cubicBezTo>
                    <a:cubicBezTo>
                      <a:pt x="294" y="407"/>
                      <a:pt x="294" y="418"/>
                      <a:pt x="294" y="418"/>
                    </a:cubicBezTo>
                    <a:cubicBezTo>
                      <a:pt x="294" y="418"/>
                      <a:pt x="279" y="437"/>
                      <a:pt x="290" y="438"/>
                    </a:cubicBezTo>
                    <a:cubicBezTo>
                      <a:pt x="301" y="439"/>
                      <a:pt x="313" y="437"/>
                      <a:pt x="313" y="437"/>
                    </a:cubicBezTo>
                    <a:cubicBezTo>
                      <a:pt x="313" y="456"/>
                      <a:pt x="313" y="456"/>
                      <a:pt x="313" y="456"/>
                    </a:cubicBezTo>
                    <a:cubicBezTo>
                      <a:pt x="313" y="456"/>
                      <a:pt x="335" y="481"/>
                      <a:pt x="345" y="495"/>
                    </a:cubicBezTo>
                    <a:cubicBezTo>
                      <a:pt x="355" y="509"/>
                      <a:pt x="373" y="538"/>
                      <a:pt x="373" y="547"/>
                    </a:cubicBezTo>
                    <a:cubicBezTo>
                      <a:pt x="373" y="556"/>
                      <a:pt x="370" y="562"/>
                      <a:pt x="371" y="575"/>
                    </a:cubicBezTo>
                    <a:cubicBezTo>
                      <a:pt x="372" y="588"/>
                      <a:pt x="386" y="595"/>
                      <a:pt x="384" y="606"/>
                    </a:cubicBezTo>
                    <a:cubicBezTo>
                      <a:pt x="382" y="617"/>
                      <a:pt x="364" y="625"/>
                      <a:pt x="364" y="632"/>
                    </a:cubicBezTo>
                    <a:cubicBezTo>
                      <a:pt x="364" y="639"/>
                      <a:pt x="375" y="645"/>
                      <a:pt x="375" y="645"/>
                    </a:cubicBezTo>
                    <a:cubicBezTo>
                      <a:pt x="375" y="645"/>
                      <a:pt x="351" y="642"/>
                      <a:pt x="351" y="659"/>
                    </a:cubicBezTo>
                    <a:cubicBezTo>
                      <a:pt x="351" y="676"/>
                      <a:pt x="350" y="717"/>
                      <a:pt x="373" y="719"/>
                    </a:cubicBezTo>
                    <a:cubicBezTo>
                      <a:pt x="396" y="721"/>
                      <a:pt x="416" y="727"/>
                      <a:pt x="423" y="740"/>
                    </a:cubicBezTo>
                    <a:cubicBezTo>
                      <a:pt x="430" y="753"/>
                      <a:pt x="437" y="779"/>
                      <a:pt x="453" y="781"/>
                    </a:cubicBezTo>
                    <a:cubicBezTo>
                      <a:pt x="469" y="783"/>
                      <a:pt x="496" y="777"/>
                      <a:pt x="507" y="788"/>
                    </a:cubicBezTo>
                    <a:cubicBezTo>
                      <a:pt x="518" y="799"/>
                      <a:pt x="525" y="825"/>
                      <a:pt x="556" y="838"/>
                    </a:cubicBezTo>
                    <a:cubicBezTo>
                      <a:pt x="587" y="851"/>
                      <a:pt x="632" y="851"/>
                      <a:pt x="639" y="861"/>
                    </a:cubicBezTo>
                    <a:cubicBezTo>
                      <a:pt x="646" y="871"/>
                      <a:pt x="649" y="881"/>
                      <a:pt x="659" y="881"/>
                    </a:cubicBezTo>
                    <a:cubicBezTo>
                      <a:pt x="669" y="881"/>
                      <a:pt x="677" y="899"/>
                      <a:pt x="677" y="899"/>
                    </a:cubicBezTo>
                    <a:cubicBezTo>
                      <a:pt x="677" y="899"/>
                      <a:pt x="720" y="894"/>
                      <a:pt x="722" y="897"/>
                    </a:cubicBezTo>
                    <a:cubicBezTo>
                      <a:pt x="724" y="900"/>
                      <a:pt x="731" y="921"/>
                      <a:pt x="745" y="917"/>
                    </a:cubicBezTo>
                    <a:cubicBezTo>
                      <a:pt x="759" y="913"/>
                      <a:pt x="829" y="875"/>
                      <a:pt x="840" y="878"/>
                    </a:cubicBezTo>
                    <a:cubicBezTo>
                      <a:pt x="851" y="881"/>
                      <a:pt x="921" y="938"/>
                      <a:pt x="924" y="946"/>
                    </a:cubicBezTo>
                    <a:cubicBezTo>
                      <a:pt x="926" y="951"/>
                      <a:pt x="927" y="964"/>
                      <a:pt x="933" y="974"/>
                    </a:cubicBezTo>
                    <a:cubicBezTo>
                      <a:pt x="933" y="974"/>
                      <a:pt x="947" y="976"/>
                      <a:pt x="947" y="96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1" name="MCShape 14">
                <a:extLst>
                  <a:ext uri="{FF2B5EF4-FFF2-40B4-BE49-F238E27FC236}">
                    <a16:creationId xmlns:a16="http://schemas.microsoft.com/office/drawing/2014/main" id="{67A6F160-80DC-4258-8236-B38DFEF91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2036" y="3704263"/>
                <a:ext cx="174781" cy="98992"/>
              </a:xfrm>
              <a:custGeom>
                <a:avLst/>
                <a:gdLst>
                  <a:gd name="T0" fmla="*/ 103 w 296"/>
                  <a:gd name="T1" fmla="*/ 162 h 166"/>
                  <a:gd name="T2" fmla="*/ 105 w 296"/>
                  <a:gd name="T3" fmla="*/ 151 h 166"/>
                  <a:gd name="T4" fmla="*/ 114 w 296"/>
                  <a:gd name="T5" fmla="*/ 149 h 166"/>
                  <a:gd name="T6" fmla="*/ 115 w 296"/>
                  <a:gd name="T7" fmla="*/ 122 h 166"/>
                  <a:gd name="T8" fmla="*/ 135 w 296"/>
                  <a:gd name="T9" fmla="*/ 123 h 166"/>
                  <a:gd name="T10" fmla="*/ 148 w 296"/>
                  <a:gd name="T11" fmla="*/ 109 h 166"/>
                  <a:gd name="T12" fmla="*/ 162 w 296"/>
                  <a:gd name="T13" fmla="*/ 118 h 166"/>
                  <a:gd name="T14" fmla="*/ 189 w 296"/>
                  <a:gd name="T15" fmla="*/ 95 h 166"/>
                  <a:gd name="T16" fmla="*/ 190 w 296"/>
                  <a:gd name="T17" fmla="*/ 85 h 166"/>
                  <a:gd name="T18" fmla="*/ 203 w 296"/>
                  <a:gd name="T19" fmla="*/ 84 h 166"/>
                  <a:gd name="T20" fmla="*/ 213 w 296"/>
                  <a:gd name="T21" fmla="*/ 65 h 166"/>
                  <a:gd name="T22" fmla="*/ 238 w 296"/>
                  <a:gd name="T23" fmla="*/ 76 h 166"/>
                  <a:gd name="T24" fmla="*/ 251 w 296"/>
                  <a:gd name="T25" fmla="*/ 66 h 166"/>
                  <a:gd name="T26" fmla="*/ 262 w 296"/>
                  <a:gd name="T27" fmla="*/ 66 h 166"/>
                  <a:gd name="T28" fmla="*/ 281 w 296"/>
                  <a:gd name="T29" fmla="*/ 65 h 166"/>
                  <a:gd name="T30" fmla="*/ 294 w 296"/>
                  <a:gd name="T31" fmla="*/ 55 h 166"/>
                  <a:gd name="T32" fmla="*/ 283 w 296"/>
                  <a:gd name="T33" fmla="*/ 41 h 166"/>
                  <a:gd name="T34" fmla="*/ 268 w 296"/>
                  <a:gd name="T35" fmla="*/ 35 h 166"/>
                  <a:gd name="T36" fmla="*/ 248 w 296"/>
                  <a:gd name="T37" fmla="*/ 18 h 166"/>
                  <a:gd name="T38" fmla="*/ 230 w 296"/>
                  <a:gd name="T39" fmla="*/ 13 h 166"/>
                  <a:gd name="T40" fmla="*/ 214 w 296"/>
                  <a:gd name="T41" fmla="*/ 1 h 166"/>
                  <a:gd name="T42" fmla="*/ 192 w 296"/>
                  <a:gd name="T43" fmla="*/ 9 h 166"/>
                  <a:gd name="T44" fmla="*/ 171 w 296"/>
                  <a:gd name="T45" fmla="*/ 0 h 166"/>
                  <a:gd name="T46" fmla="*/ 148 w 296"/>
                  <a:gd name="T47" fmla="*/ 18 h 166"/>
                  <a:gd name="T48" fmla="*/ 125 w 296"/>
                  <a:gd name="T49" fmla="*/ 17 h 166"/>
                  <a:gd name="T50" fmla="*/ 109 w 296"/>
                  <a:gd name="T51" fmla="*/ 11 h 166"/>
                  <a:gd name="T52" fmla="*/ 89 w 296"/>
                  <a:gd name="T53" fmla="*/ 16 h 166"/>
                  <a:gd name="T54" fmla="*/ 81 w 296"/>
                  <a:gd name="T55" fmla="*/ 2 h 166"/>
                  <a:gd name="T56" fmla="*/ 59 w 296"/>
                  <a:gd name="T57" fmla="*/ 15 h 166"/>
                  <a:gd name="T58" fmla="*/ 39 w 296"/>
                  <a:gd name="T59" fmla="*/ 34 h 166"/>
                  <a:gd name="T60" fmla="*/ 11 w 296"/>
                  <a:gd name="T61" fmla="*/ 58 h 166"/>
                  <a:gd name="T62" fmla="*/ 9 w 296"/>
                  <a:gd name="T63" fmla="*/ 79 h 166"/>
                  <a:gd name="T64" fmla="*/ 0 w 296"/>
                  <a:gd name="T65" fmla="*/ 86 h 166"/>
                  <a:gd name="T66" fmla="*/ 13 w 296"/>
                  <a:gd name="T67" fmla="*/ 102 h 166"/>
                  <a:gd name="T68" fmla="*/ 28 w 296"/>
                  <a:gd name="T69" fmla="*/ 102 h 166"/>
                  <a:gd name="T70" fmla="*/ 36 w 296"/>
                  <a:gd name="T71" fmla="*/ 118 h 166"/>
                  <a:gd name="T72" fmla="*/ 52 w 296"/>
                  <a:gd name="T73" fmla="*/ 112 h 166"/>
                  <a:gd name="T74" fmla="*/ 67 w 296"/>
                  <a:gd name="T75" fmla="*/ 114 h 166"/>
                  <a:gd name="T76" fmla="*/ 68 w 296"/>
                  <a:gd name="T77" fmla="*/ 143 h 166"/>
                  <a:gd name="T78" fmla="*/ 85 w 296"/>
                  <a:gd name="T79" fmla="*/ 148 h 166"/>
                  <a:gd name="T80" fmla="*/ 89 w 296"/>
                  <a:gd name="T81" fmla="*/ 166 h 166"/>
                  <a:gd name="T82" fmla="*/ 103 w 296"/>
                  <a:gd name="T83" fmla="*/ 162 h 16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96"/>
                  <a:gd name="T127" fmla="*/ 0 h 166"/>
                  <a:gd name="T128" fmla="*/ 296 w 296"/>
                  <a:gd name="T129" fmla="*/ 166 h 16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96" h="166">
                    <a:moveTo>
                      <a:pt x="103" y="162"/>
                    </a:moveTo>
                    <a:cubicBezTo>
                      <a:pt x="109" y="160"/>
                      <a:pt x="105" y="151"/>
                      <a:pt x="105" y="151"/>
                    </a:cubicBezTo>
                    <a:cubicBezTo>
                      <a:pt x="114" y="149"/>
                      <a:pt x="114" y="149"/>
                      <a:pt x="114" y="149"/>
                    </a:cubicBezTo>
                    <a:cubicBezTo>
                      <a:pt x="114" y="149"/>
                      <a:pt x="100" y="122"/>
                      <a:pt x="115" y="122"/>
                    </a:cubicBezTo>
                    <a:cubicBezTo>
                      <a:pt x="130" y="122"/>
                      <a:pt x="135" y="123"/>
                      <a:pt x="135" y="123"/>
                    </a:cubicBezTo>
                    <a:cubicBezTo>
                      <a:pt x="135" y="123"/>
                      <a:pt x="140" y="108"/>
                      <a:pt x="148" y="109"/>
                    </a:cubicBezTo>
                    <a:cubicBezTo>
                      <a:pt x="156" y="110"/>
                      <a:pt x="147" y="118"/>
                      <a:pt x="162" y="118"/>
                    </a:cubicBezTo>
                    <a:cubicBezTo>
                      <a:pt x="177" y="118"/>
                      <a:pt x="189" y="95"/>
                      <a:pt x="189" y="95"/>
                    </a:cubicBezTo>
                    <a:cubicBezTo>
                      <a:pt x="190" y="85"/>
                      <a:pt x="190" y="85"/>
                      <a:pt x="190" y="85"/>
                    </a:cubicBezTo>
                    <a:cubicBezTo>
                      <a:pt x="203" y="84"/>
                      <a:pt x="203" y="84"/>
                      <a:pt x="203" y="84"/>
                    </a:cubicBezTo>
                    <a:cubicBezTo>
                      <a:pt x="203" y="84"/>
                      <a:pt x="204" y="64"/>
                      <a:pt x="213" y="65"/>
                    </a:cubicBezTo>
                    <a:cubicBezTo>
                      <a:pt x="222" y="66"/>
                      <a:pt x="228" y="77"/>
                      <a:pt x="238" y="76"/>
                    </a:cubicBezTo>
                    <a:cubicBezTo>
                      <a:pt x="248" y="75"/>
                      <a:pt x="247" y="66"/>
                      <a:pt x="251" y="66"/>
                    </a:cubicBezTo>
                    <a:cubicBezTo>
                      <a:pt x="255" y="66"/>
                      <a:pt x="262" y="66"/>
                      <a:pt x="262" y="66"/>
                    </a:cubicBezTo>
                    <a:cubicBezTo>
                      <a:pt x="281" y="65"/>
                      <a:pt x="281" y="65"/>
                      <a:pt x="281" y="65"/>
                    </a:cubicBezTo>
                    <a:cubicBezTo>
                      <a:pt x="282" y="61"/>
                      <a:pt x="296" y="62"/>
                      <a:pt x="294" y="55"/>
                    </a:cubicBezTo>
                    <a:cubicBezTo>
                      <a:pt x="292" y="48"/>
                      <a:pt x="283" y="41"/>
                      <a:pt x="283" y="41"/>
                    </a:cubicBezTo>
                    <a:cubicBezTo>
                      <a:pt x="268" y="35"/>
                      <a:pt x="268" y="35"/>
                      <a:pt x="268" y="35"/>
                    </a:cubicBezTo>
                    <a:cubicBezTo>
                      <a:pt x="268" y="35"/>
                      <a:pt x="257" y="27"/>
                      <a:pt x="248" y="18"/>
                    </a:cubicBezTo>
                    <a:cubicBezTo>
                      <a:pt x="239" y="9"/>
                      <a:pt x="230" y="13"/>
                      <a:pt x="230" y="13"/>
                    </a:cubicBezTo>
                    <a:cubicBezTo>
                      <a:pt x="230" y="13"/>
                      <a:pt x="226" y="1"/>
                      <a:pt x="214" y="1"/>
                    </a:cubicBezTo>
                    <a:cubicBezTo>
                      <a:pt x="202" y="1"/>
                      <a:pt x="192" y="9"/>
                      <a:pt x="192" y="9"/>
                    </a:cubicBezTo>
                    <a:cubicBezTo>
                      <a:pt x="192" y="9"/>
                      <a:pt x="178" y="0"/>
                      <a:pt x="171" y="0"/>
                    </a:cubicBezTo>
                    <a:cubicBezTo>
                      <a:pt x="164" y="0"/>
                      <a:pt x="148" y="18"/>
                      <a:pt x="148" y="18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25" y="17"/>
                      <a:pt x="112" y="11"/>
                      <a:pt x="109" y="11"/>
                    </a:cubicBezTo>
                    <a:cubicBezTo>
                      <a:pt x="106" y="11"/>
                      <a:pt x="89" y="16"/>
                      <a:pt x="89" y="16"/>
                    </a:cubicBezTo>
                    <a:cubicBezTo>
                      <a:pt x="89" y="16"/>
                      <a:pt x="84" y="2"/>
                      <a:pt x="81" y="2"/>
                    </a:cubicBezTo>
                    <a:cubicBezTo>
                      <a:pt x="78" y="2"/>
                      <a:pt x="59" y="15"/>
                      <a:pt x="59" y="15"/>
                    </a:cubicBezTo>
                    <a:cubicBezTo>
                      <a:pt x="59" y="15"/>
                      <a:pt x="54" y="26"/>
                      <a:pt x="39" y="34"/>
                    </a:cubicBezTo>
                    <a:cubicBezTo>
                      <a:pt x="24" y="42"/>
                      <a:pt x="11" y="58"/>
                      <a:pt x="11" y="58"/>
                    </a:cubicBezTo>
                    <a:cubicBezTo>
                      <a:pt x="11" y="58"/>
                      <a:pt x="12" y="70"/>
                      <a:pt x="9" y="79"/>
                    </a:cubicBezTo>
                    <a:cubicBezTo>
                      <a:pt x="8" y="82"/>
                      <a:pt x="4" y="85"/>
                      <a:pt x="0" y="86"/>
                    </a:cubicBezTo>
                    <a:cubicBezTo>
                      <a:pt x="2" y="91"/>
                      <a:pt x="6" y="102"/>
                      <a:pt x="13" y="102"/>
                    </a:cubicBezTo>
                    <a:cubicBezTo>
                      <a:pt x="22" y="102"/>
                      <a:pt x="28" y="102"/>
                      <a:pt x="28" y="102"/>
                    </a:cubicBezTo>
                    <a:cubicBezTo>
                      <a:pt x="28" y="102"/>
                      <a:pt x="27" y="120"/>
                      <a:pt x="36" y="118"/>
                    </a:cubicBezTo>
                    <a:cubicBezTo>
                      <a:pt x="45" y="116"/>
                      <a:pt x="47" y="111"/>
                      <a:pt x="52" y="112"/>
                    </a:cubicBezTo>
                    <a:cubicBezTo>
                      <a:pt x="57" y="113"/>
                      <a:pt x="67" y="114"/>
                      <a:pt x="67" y="114"/>
                    </a:cubicBezTo>
                    <a:cubicBezTo>
                      <a:pt x="68" y="143"/>
                      <a:pt x="68" y="143"/>
                      <a:pt x="68" y="143"/>
                    </a:cubicBezTo>
                    <a:cubicBezTo>
                      <a:pt x="85" y="148"/>
                      <a:pt x="85" y="148"/>
                      <a:pt x="85" y="148"/>
                    </a:cubicBezTo>
                    <a:cubicBezTo>
                      <a:pt x="92" y="158"/>
                      <a:pt x="89" y="166"/>
                      <a:pt x="89" y="166"/>
                    </a:cubicBezTo>
                    <a:cubicBezTo>
                      <a:pt x="89" y="166"/>
                      <a:pt x="97" y="164"/>
                      <a:pt x="103" y="16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2" name="MCShape 15">
                <a:extLst>
                  <a:ext uri="{FF2B5EF4-FFF2-40B4-BE49-F238E27FC236}">
                    <a16:creationId xmlns:a16="http://schemas.microsoft.com/office/drawing/2014/main" id="{B71BEB30-31AE-4D0A-AAC3-A5EA1B8E2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195" y="4024439"/>
                <a:ext cx="116006" cy="133019"/>
              </a:xfrm>
              <a:custGeom>
                <a:avLst/>
                <a:gdLst>
                  <a:gd name="T0" fmla="*/ 43 w 199"/>
                  <a:gd name="T1" fmla="*/ 52 h 228"/>
                  <a:gd name="T2" fmla="*/ 10 w 199"/>
                  <a:gd name="T3" fmla="*/ 61 h 228"/>
                  <a:gd name="T4" fmla="*/ 11 w 199"/>
                  <a:gd name="T5" fmla="*/ 89 h 228"/>
                  <a:gd name="T6" fmla="*/ 1 w 199"/>
                  <a:gd name="T7" fmla="*/ 107 h 228"/>
                  <a:gd name="T8" fmla="*/ 12 w 199"/>
                  <a:gd name="T9" fmla="*/ 122 h 228"/>
                  <a:gd name="T10" fmla="*/ 26 w 199"/>
                  <a:gd name="T11" fmla="*/ 144 h 228"/>
                  <a:gd name="T12" fmla="*/ 40 w 199"/>
                  <a:gd name="T13" fmla="*/ 137 h 228"/>
                  <a:gd name="T14" fmla="*/ 40 w 199"/>
                  <a:gd name="T15" fmla="*/ 173 h 228"/>
                  <a:gd name="T16" fmla="*/ 65 w 199"/>
                  <a:gd name="T17" fmla="*/ 212 h 228"/>
                  <a:gd name="T18" fmla="*/ 103 w 199"/>
                  <a:gd name="T19" fmla="*/ 224 h 228"/>
                  <a:gd name="T20" fmla="*/ 95 w 199"/>
                  <a:gd name="T21" fmla="*/ 204 h 228"/>
                  <a:gd name="T22" fmla="*/ 102 w 199"/>
                  <a:gd name="T23" fmla="*/ 187 h 228"/>
                  <a:gd name="T24" fmla="*/ 107 w 199"/>
                  <a:gd name="T25" fmla="*/ 195 h 228"/>
                  <a:gd name="T26" fmla="*/ 125 w 199"/>
                  <a:gd name="T27" fmla="*/ 195 h 228"/>
                  <a:gd name="T28" fmla="*/ 142 w 199"/>
                  <a:gd name="T29" fmla="*/ 183 h 228"/>
                  <a:gd name="T30" fmla="*/ 154 w 199"/>
                  <a:gd name="T31" fmla="*/ 193 h 228"/>
                  <a:gd name="T32" fmla="*/ 167 w 199"/>
                  <a:gd name="T33" fmla="*/ 199 h 228"/>
                  <a:gd name="T34" fmla="*/ 174 w 199"/>
                  <a:gd name="T35" fmla="*/ 182 h 228"/>
                  <a:gd name="T36" fmla="*/ 186 w 199"/>
                  <a:gd name="T37" fmla="*/ 175 h 228"/>
                  <a:gd name="T38" fmla="*/ 184 w 199"/>
                  <a:gd name="T39" fmla="*/ 147 h 228"/>
                  <a:gd name="T40" fmla="*/ 195 w 199"/>
                  <a:gd name="T41" fmla="*/ 132 h 228"/>
                  <a:gd name="T42" fmla="*/ 174 w 199"/>
                  <a:gd name="T43" fmla="*/ 105 h 228"/>
                  <a:gd name="T44" fmla="*/ 173 w 199"/>
                  <a:gd name="T45" fmla="*/ 55 h 228"/>
                  <a:gd name="T46" fmla="*/ 195 w 199"/>
                  <a:gd name="T47" fmla="*/ 32 h 228"/>
                  <a:gd name="T48" fmla="*/ 199 w 199"/>
                  <a:gd name="T49" fmla="*/ 11 h 228"/>
                  <a:gd name="T50" fmla="*/ 199 w 199"/>
                  <a:gd name="T51" fmla="*/ 11 h 228"/>
                  <a:gd name="T52" fmla="*/ 197 w 199"/>
                  <a:gd name="T53" fmla="*/ 9 h 228"/>
                  <a:gd name="T54" fmla="*/ 143 w 199"/>
                  <a:gd name="T55" fmla="*/ 0 h 228"/>
                  <a:gd name="T56" fmla="*/ 139 w 199"/>
                  <a:gd name="T57" fmla="*/ 9 h 228"/>
                  <a:gd name="T58" fmla="*/ 109 w 199"/>
                  <a:gd name="T59" fmla="*/ 4 h 228"/>
                  <a:gd name="T60" fmla="*/ 108 w 199"/>
                  <a:gd name="T61" fmla="*/ 15 h 228"/>
                  <a:gd name="T62" fmla="*/ 69 w 199"/>
                  <a:gd name="T63" fmla="*/ 1 h 228"/>
                  <a:gd name="T64" fmla="*/ 50 w 199"/>
                  <a:gd name="T65" fmla="*/ 7 h 228"/>
                  <a:gd name="T66" fmla="*/ 39 w 199"/>
                  <a:gd name="T67" fmla="*/ 29 h 228"/>
                  <a:gd name="T68" fmla="*/ 43 w 199"/>
                  <a:gd name="T69" fmla="*/ 52 h 22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9"/>
                  <a:gd name="T106" fmla="*/ 0 h 228"/>
                  <a:gd name="T107" fmla="*/ 199 w 199"/>
                  <a:gd name="T108" fmla="*/ 228 h 22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9" h="228">
                    <a:moveTo>
                      <a:pt x="43" y="52"/>
                    </a:moveTo>
                    <a:cubicBezTo>
                      <a:pt x="31" y="55"/>
                      <a:pt x="13" y="52"/>
                      <a:pt x="10" y="61"/>
                    </a:cubicBezTo>
                    <a:cubicBezTo>
                      <a:pt x="7" y="70"/>
                      <a:pt x="11" y="89"/>
                      <a:pt x="11" y="89"/>
                    </a:cubicBezTo>
                    <a:cubicBezTo>
                      <a:pt x="11" y="89"/>
                      <a:pt x="0" y="96"/>
                      <a:pt x="1" y="107"/>
                    </a:cubicBezTo>
                    <a:cubicBezTo>
                      <a:pt x="2" y="117"/>
                      <a:pt x="12" y="115"/>
                      <a:pt x="12" y="122"/>
                    </a:cubicBezTo>
                    <a:cubicBezTo>
                      <a:pt x="12" y="129"/>
                      <a:pt x="22" y="143"/>
                      <a:pt x="26" y="144"/>
                    </a:cubicBezTo>
                    <a:cubicBezTo>
                      <a:pt x="30" y="145"/>
                      <a:pt x="39" y="130"/>
                      <a:pt x="40" y="137"/>
                    </a:cubicBezTo>
                    <a:cubicBezTo>
                      <a:pt x="41" y="144"/>
                      <a:pt x="31" y="165"/>
                      <a:pt x="40" y="173"/>
                    </a:cubicBezTo>
                    <a:cubicBezTo>
                      <a:pt x="49" y="181"/>
                      <a:pt x="65" y="212"/>
                      <a:pt x="65" y="212"/>
                    </a:cubicBezTo>
                    <a:cubicBezTo>
                      <a:pt x="65" y="212"/>
                      <a:pt x="94" y="228"/>
                      <a:pt x="103" y="224"/>
                    </a:cubicBezTo>
                    <a:cubicBezTo>
                      <a:pt x="112" y="220"/>
                      <a:pt x="98" y="210"/>
                      <a:pt x="95" y="204"/>
                    </a:cubicBezTo>
                    <a:cubicBezTo>
                      <a:pt x="92" y="198"/>
                      <a:pt x="96" y="188"/>
                      <a:pt x="102" y="187"/>
                    </a:cubicBezTo>
                    <a:cubicBezTo>
                      <a:pt x="108" y="186"/>
                      <a:pt x="107" y="195"/>
                      <a:pt x="107" y="195"/>
                    </a:cubicBezTo>
                    <a:cubicBezTo>
                      <a:pt x="125" y="195"/>
                      <a:pt x="125" y="195"/>
                      <a:pt x="125" y="195"/>
                    </a:cubicBezTo>
                    <a:cubicBezTo>
                      <a:pt x="125" y="195"/>
                      <a:pt x="134" y="184"/>
                      <a:pt x="142" y="183"/>
                    </a:cubicBezTo>
                    <a:cubicBezTo>
                      <a:pt x="150" y="182"/>
                      <a:pt x="154" y="193"/>
                      <a:pt x="154" y="193"/>
                    </a:cubicBezTo>
                    <a:cubicBezTo>
                      <a:pt x="167" y="199"/>
                      <a:pt x="167" y="199"/>
                      <a:pt x="167" y="199"/>
                    </a:cubicBezTo>
                    <a:cubicBezTo>
                      <a:pt x="167" y="199"/>
                      <a:pt x="173" y="185"/>
                      <a:pt x="174" y="182"/>
                    </a:cubicBezTo>
                    <a:cubicBezTo>
                      <a:pt x="175" y="179"/>
                      <a:pt x="186" y="175"/>
                      <a:pt x="186" y="175"/>
                    </a:cubicBezTo>
                    <a:cubicBezTo>
                      <a:pt x="184" y="147"/>
                      <a:pt x="184" y="147"/>
                      <a:pt x="184" y="147"/>
                    </a:cubicBezTo>
                    <a:cubicBezTo>
                      <a:pt x="184" y="147"/>
                      <a:pt x="196" y="142"/>
                      <a:pt x="195" y="132"/>
                    </a:cubicBezTo>
                    <a:cubicBezTo>
                      <a:pt x="194" y="122"/>
                      <a:pt x="175" y="117"/>
                      <a:pt x="174" y="105"/>
                    </a:cubicBezTo>
                    <a:cubicBezTo>
                      <a:pt x="173" y="92"/>
                      <a:pt x="163" y="71"/>
                      <a:pt x="173" y="55"/>
                    </a:cubicBezTo>
                    <a:cubicBezTo>
                      <a:pt x="184" y="38"/>
                      <a:pt x="195" y="39"/>
                      <a:pt x="195" y="32"/>
                    </a:cubicBezTo>
                    <a:cubicBezTo>
                      <a:pt x="195" y="27"/>
                      <a:pt x="195" y="18"/>
                      <a:pt x="199" y="11"/>
                    </a:cubicBezTo>
                    <a:cubicBezTo>
                      <a:pt x="199" y="11"/>
                      <a:pt x="199" y="11"/>
                      <a:pt x="199" y="11"/>
                    </a:cubicBezTo>
                    <a:cubicBezTo>
                      <a:pt x="198" y="10"/>
                      <a:pt x="197" y="10"/>
                      <a:pt x="197" y="9"/>
                    </a:cubicBezTo>
                    <a:cubicBezTo>
                      <a:pt x="190" y="0"/>
                      <a:pt x="143" y="0"/>
                      <a:pt x="143" y="0"/>
                    </a:cubicBezTo>
                    <a:cubicBezTo>
                      <a:pt x="139" y="9"/>
                      <a:pt x="139" y="9"/>
                      <a:pt x="139" y="9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8" y="15"/>
                      <a:pt x="108" y="15"/>
                      <a:pt x="108" y="15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50" y="7"/>
                      <a:pt x="39" y="21"/>
                      <a:pt x="39" y="29"/>
                    </a:cubicBezTo>
                    <a:cubicBezTo>
                      <a:pt x="39" y="37"/>
                      <a:pt x="55" y="49"/>
                      <a:pt x="43" y="5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3" name="MCShape 16">
                <a:extLst>
                  <a:ext uri="{FF2B5EF4-FFF2-40B4-BE49-F238E27FC236}">
                    <a16:creationId xmlns:a16="http://schemas.microsoft.com/office/drawing/2014/main" id="{62718FE8-FEAF-4A38-AC70-D875827E9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9937" y="3947101"/>
                <a:ext cx="131472" cy="230464"/>
              </a:xfrm>
              <a:custGeom>
                <a:avLst/>
                <a:gdLst>
                  <a:gd name="T0" fmla="*/ 62 w 225"/>
                  <a:gd name="T1" fmla="*/ 28 h 388"/>
                  <a:gd name="T2" fmla="*/ 42 w 225"/>
                  <a:gd name="T3" fmla="*/ 44 h 388"/>
                  <a:gd name="T4" fmla="*/ 46 w 225"/>
                  <a:gd name="T5" fmla="*/ 64 h 388"/>
                  <a:gd name="T6" fmla="*/ 57 w 225"/>
                  <a:gd name="T7" fmla="*/ 67 h 388"/>
                  <a:gd name="T8" fmla="*/ 47 w 225"/>
                  <a:gd name="T9" fmla="*/ 85 h 388"/>
                  <a:gd name="T10" fmla="*/ 11 w 225"/>
                  <a:gd name="T11" fmla="*/ 93 h 388"/>
                  <a:gd name="T12" fmla="*/ 22 w 225"/>
                  <a:gd name="T13" fmla="*/ 116 h 388"/>
                  <a:gd name="T14" fmla="*/ 4 w 225"/>
                  <a:gd name="T15" fmla="*/ 134 h 388"/>
                  <a:gd name="T16" fmla="*/ 35 w 225"/>
                  <a:gd name="T17" fmla="*/ 172 h 388"/>
                  <a:gd name="T18" fmla="*/ 51 w 225"/>
                  <a:gd name="T19" fmla="*/ 174 h 388"/>
                  <a:gd name="T20" fmla="*/ 56 w 225"/>
                  <a:gd name="T21" fmla="*/ 167 h 388"/>
                  <a:gd name="T22" fmla="*/ 68 w 225"/>
                  <a:gd name="T23" fmla="*/ 182 h 388"/>
                  <a:gd name="T24" fmla="*/ 59 w 225"/>
                  <a:gd name="T25" fmla="*/ 208 h 388"/>
                  <a:gd name="T26" fmla="*/ 81 w 225"/>
                  <a:gd name="T27" fmla="*/ 211 h 388"/>
                  <a:gd name="T28" fmla="*/ 80 w 225"/>
                  <a:gd name="T29" fmla="*/ 230 h 388"/>
                  <a:gd name="T30" fmla="*/ 88 w 225"/>
                  <a:gd name="T31" fmla="*/ 240 h 388"/>
                  <a:gd name="T32" fmla="*/ 74 w 225"/>
                  <a:gd name="T33" fmla="*/ 258 h 388"/>
                  <a:gd name="T34" fmla="*/ 69 w 225"/>
                  <a:gd name="T35" fmla="*/ 286 h 388"/>
                  <a:gd name="T36" fmla="*/ 61 w 225"/>
                  <a:gd name="T37" fmla="*/ 312 h 388"/>
                  <a:gd name="T38" fmla="*/ 78 w 225"/>
                  <a:gd name="T39" fmla="*/ 333 h 388"/>
                  <a:gd name="T40" fmla="*/ 78 w 225"/>
                  <a:gd name="T41" fmla="*/ 353 h 388"/>
                  <a:gd name="T42" fmla="*/ 99 w 225"/>
                  <a:gd name="T43" fmla="*/ 377 h 388"/>
                  <a:gd name="T44" fmla="*/ 108 w 225"/>
                  <a:gd name="T45" fmla="*/ 377 h 388"/>
                  <a:gd name="T46" fmla="*/ 112 w 225"/>
                  <a:gd name="T47" fmla="*/ 388 h 388"/>
                  <a:gd name="T48" fmla="*/ 132 w 225"/>
                  <a:gd name="T49" fmla="*/ 387 h 388"/>
                  <a:gd name="T50" fmla="*/ 143 w 225"/>
                  <a:gd name="T51" fmla="*/ 369 h 388"/>
                  <a:gd name="T52" fmla="*/ 161 w 225"/>
                  <a:gd name="T53" fmla="*/ 368 h 388"/>
                  <a:gd name="T54" fmla="*/ 162 w 225"/>
                  <a:gd name="T55" fmla="*/ 360 h 388"/>
                  <a:gd name="T56" fmla="*/ 183 w 225"/>
                  <a:gd name="T57" fmla="*/ 359 h 388"/>
                  <a:gd name="T58" fmla="*/ 197 w 225"/>
                  <a:gd name="T59" fmla="*/ 342 h 388"/>
                  <a:gd name="T60" fmla="*/ 217 w 225"/>
                  <a:gd name="T61" fmla="*/ 350 h 388"/>
                  <a:gd name="T62" fmla="*/ 221 w 225"/>
                  <a:gd name="T63" fmla="*/ 341 h 388"/>
                  <a:gd name="T64" fmla="*/ 196 w 225"/>
                  <a:gd name="T65" fmla="*/ 302 h 388"/>
                  <a:gd name="T66" fmla="*/ 196 w 225"/>
                  <a:gd name="T67" fmla="*/ 266 h 388"/>
                  <a:gd name="T68" fmla="*/ 182 w 225"/>
                  <a:gd name="T69" fmla="*/ 273 h 388"/>
                  <a:gd name="T70" fmla="*/ 168 w 225"/>
                  <a:gd name="T71" fmla="*/ 251 h 388"/>
                  <a:gd name="T72" fmla="*/ 157 w 225"/>
                  <a:gd name="T73" fmla="*/ 236 h 388"/>
                  <a:gd name="T74" fmla="*/ 167 w 225"/>
                  <a:gd name="T75" fmla="*/ 218 h 388"/>
                  <a:gd name="T76" fmla="*/ 166 w 225"/>
                  <a:gd name="T77" fmla="*/ 190 h 388"/>
                  <a:gd name="T78" fmla="*/ 199 w 225"/>
                  <a:gd name="T79" fmla="*/ 181 h 388"/>
                  <a:gd name="T80" fmla="*/ 195 w 225"/>
                  <a:gd name="T81" fmla="*/ 158 h 388"/>
                  <a:gd name="T82" fmla="*/ 206 w 225"/>
                  <a:gd name="T83" fmla="*/ 136 h 388"/>
                  <a:gd name="T84" fmla="*/ 203 w 225"/>
                  <a:gd name="T85" fmla="*/ 117 h 388"/>
                  <a:gd name="T86" fmla="*/ 185 w 225"/>
                  <a:gd name="T87" fmla="*/ 117 h 388"/>
                  <a:gd name="T88" fmla="*/ 183 w 225"/>
                  <a:gd name="T89" fmla="*/ 102 h 388"/>
                  <a:gd name="T90" fmla="*/ 153 w 225"/>
                  <a:gd name="T91" fmla="*/ 85 h 388"/>
                  <a:gd name="T92" fmla="*/ 133 w 225"/>
                  <a:gd name="T93" fmla="*/ 109 h 388"/>
                  <a:gd name="T94" fmla="*/ 144 w 225"/>
                  <a:gd name="T95" fmla="*/ 61 h 388"/>
                  <a:gd name="T96" fmla="*/ 126 w 225"/>
                  <a:gd name="T97" fmla="*/ 22 h 388"/>
                  <a:gd name="T98" fmla="*/ 83 w 225"/>
                  <a:gd name="T99" fmla="*/ 0 h 388"/>
                  <a:gd name="T100" fmla="*/ 76 w 225"/>
                  <a:gd name="T101" fmla="*/ 12 h 388"/>
                  <a:gd name="T102" fmla="*/ 62 w 225"/>
                  <a:gd name="T103" fmla="*/ 28 h 38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25"/>
                  <a:gd name="T157" fmla="*/ 0 h 388"/>
                  <a:gd name="T158" fmla="*/ 225 w 225"/>
                  <a:gd name="T159" fmla="*/ 388 h 38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25" h="388">
                    <a:moveTo>
                      <a:pt x="62" y="28"/>
                    </a:moveTo>
                    <a:cubicBezTo>
                      <a:pt x="56" y="30"/>
                      <a:pt x="40" y="35"/>
                      <a:pt x="42" y="44"/>
                    </a:cubicBezTo>
                    <a:cubicBezTo>
                      <a:pt x="44" y="53"/>
                      <a:pt x="42" y="64"/>
                      <a:pt x="46" y="64"/>
                    </a:cubicBezTo>
                    <a:cubicBezTo>
                      <a:pt x="50" y="64"/>
                      <a:pt x="57" y="64"/>
                      <a:pt x="57" y="67"/>
                    </a:cubicBezTo>
                    <a:cubicBezTo>
                      <a:pt x="57" y="71"/>
                      <a:pt x="58" y="81"/>
                      <a:pt x="47" y="85"/>
                    </a:cubicBezTo>
                    <a:cubicBezTo>
                      <a:pt x="36" y="89"/>
                      <a:pt x="11" y="88"/>
                      <a:pt x="11" y="93"/>
                    </a:cubicBezTo>
                    <a:cubicBezTo>
                      <a:pt x="11" y="98"/>
                      <a:pt x="31" y="109"/>
                      <a:pt x="22" y="116"/>
                    </a:cubicBezTo>
                    <a:cubicBezTo>
                      <a:pt x="13" y="124"/>
                      <a:pt x="0" y="123"/>
                      <a:pt x="4" y="134"/>
                    </a:cubicBezTo>
                    <a:cubicBezTo>
                      <a:pt x="8" y="145"/>
                      <a:pt x="35" y="172"/>
                      <a:pt x="35" y="172"/>
                    </a:cubicBezTo>
                    <a:cubicBezTo>
                      <a:pt x="51" y="174"/>
                      <a:pt x="51" y="174"/>
                      <a:pt x="51" y="174"/>
                    </a:cubicBezTo>
                    <a:cubicBezTo>
                      <a:pt x="56" y="167"/>
                      <a:pt x="56" y="167"/>
                      <a:pt x="56" y="167"/>
                    </a:cubicBezTo>
                    <a:cubicBezTo>
                      <a:pt x="56" y="167"/>
                      <a:pt x="65" y="168"/>
                      <a:pt x="68" y="182"/>
                    </a:cubicBezTo>
                    <a:cubicBezTo>
                      <a:pt x="71" y="196"/>
                      <a:pt x="59" y="208"/>
                      <a:pt x="59" y="208"/>
                    </a:cubicBezTo>
                    <a:cubicBezTo>
                      <a:pt x="59" y="217"/>
                      <a:pt x="81" y="211"/>
                      <a:pt x="81" y="211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80" y="230"/>
                      <a:pt x="89" y="234"/>
                      <a:pt x="88" y="240"/>
                    </a:cubicBezTo>
                    <a:cubicBezTo>
                      <a:pt x="87" y="246"/>
                      <a:pt x="74" y="258"/>
                      <a:pt x="74" y="258"/>
                    </a:cubicBezTo>
                    <a:cubicBezTo>
                      <a:pt x="69" y="286"/>
                      <a:pt x="69" y="286"/>
                      <a:pt x="69" y="286"/>
                    </a:cubicBezTo>
                    <a:cubicBezTo>
                      <a:pt x="69" y="286"/>
                      <a:pt x="61" y="302"/>
                      <a:pt x="61" y="312"/>
                    </a:cubicBezTo>
                    <a:cubicBezTo>
                      <a:pt x="61" y="322"/>
                      <a:pt x="78" y="325"/>
                      <a:pt x="78" y="333"/>
                    </a:cubicBezTo>
                    <a:cubicBezTo>
                      <a:pt x="78" y="341"/>
                      <a:pt x="78" y="353"/>
                      <a:pt x="78" y="353"/>
                    </a:cubicBezTo>
                    <a:cubicBezTo>
                      <a:pt x="99" y="377"/>
                      <a:pt x="99" y="377"/>
                      <a:pt x="99" y="377"/>
                    </a:cubicBezTo>
                    <a:cubicBezTo>
                      <a:pt x="108" y="377"/>
                      <a:pt x="108" y="377"/>
                      <a:pt x="108" y="377"/>
                    </a:cubicBezTo>
                    <a:cubicBezTo>
                      <a:pt x="112" y="388"/>
                      <a:pt x="112" y="388"/>
                      <a:pt x="112" y="388"/>
                    </a:cubicBezTo>
                    <a:cubicBezTo>
                      <a:pt x="112" y="388"/>
                      <a:pt x="122" y="388"/>
                      <a:pt x="132" y="387"/>
                    </a:cubicBezTo>
                    <a:cubicBezTo>
                      <a:pt x="142" y="386"/>
                      <a:pt x="137" y="373"/>
                      <a:pt x="143" y="369"/>
                    </a:cubicBezTo>
                    <a:cubicBezTo>
                      <a:pt x="149" y="365"/>
                      <a:pt x="161" y="368"/>
                      <a:pt x="161" y="368"/>
                    </a:cubicBezTo>
                    <a:cubicBezTo>
                      <a:pt x="162" y="360"/>
                      <a:pt x="162" y="360"/>
                      <a:pt x="162" y="360"/>
                    </a:cubicBezTo>
                    <a:cubicBezTo>
                      <a:pt x="183" y="359"/>
                      <a:pt x="183" y="359"/>
                      <a:pt x="183" y="359"/>
                    </a:cubicBezTo>
                    <a:cubicBezTo>
                      <a:pt x="183" y="359"/>
                      <a:pt x="187" y="343"/>
                      <a:pt x="197" y="342"/>
                    </a:cubicBezTo>
                    <a:cubicBezTo>
                      <a:pt x="207" y="341"/>
                      <a:pt x="209" y="352"/>
                      <a:pt x="217" y="350"/>
                    </a:cubicBezTo>
                    <a:cubicBezTo>
                      <a:pt x="225" y="348"/>
                      <a:pt x="221" y="341"/>
                      <a:pt x="221" y="341"/>
                    </a:cubicBezTo>
                    <a:cubicBezTo>
                      <a:pt x="221" y="341"/>
                      <a:pt x="205" y="310"/>
                      <a:pt x="196" y="302"/>
                    </a:cubicBezTo>
                    <a:cubicBezTo>
                      <a:pt x="187" y="294"/>
                      <a:pt x="197" y="273"/>
                      <a:pt x="196" y="266"/>
                    </a:cubicBezTo>
                    <a:cubicBezTo>
                      <a:pt x="195" y="259"/>
                      <a:pt x="186" y="274"/>
                      <a:pt x="182" y="273"/>
                    </a:cubicBezTo>
                    <a:cubicBezTo>
                      <a:pt x="178" y="272"/>
                      <a:pt x="168" y="258"/>
                      <a:pt x="168" y="251"/>
                    </a:cubicBezTo>
                    <a:cubicBezTo>
                      <a:pt x="168" y="244"/>
                      <a:pt x="158" y="246"/>
                      <a:pt x="157" y="236"/>
                    </a:cubicBezTo>
                    <a:cubicBezTo>
                      <a:pt x="156" y="225"/>
                      <a:pt x="167" y="218"/>
                      <a:pt x="167" y="218"/>
                    </a:cubicBezTo>
                    <a:cubicBezTo>
                      <a:pt x="167" y="218"/>
                      <a:pt x="163" y="199"/>
                      <a:pt x="166" y="190"/>
                    </a:cubicBezTo>
                    <a:cubicBezTo>
                      <a:pt x="169" y="181"/>
                      <a:pt x="187" y="184"/>
                      <a:pt x="199" y="181"/>
                    </a:cubicBezTo>
                    <a:cubicBezTo>
                      <a:pt x="211" y="178"/>
                      <a:pt x="195" y="166"/>
                      <a:pt x="195" y="158"/>
                    </a:cubicBezTo>
                    <a:cubicBezTo>
                      <a:pt x="195" y="150"/>
                      <a:pt x="206" y="136"/>
                      <a:pt x="206" y="136"/>
                    </a:cubicBezTo>
                    <a:cubicBezTo>
                      <a:pt x="206" y="136"/>
                      <a:pt x="206" y="125"/>
                      <a:pt x="203" y="117"/>
                    </a:cubicBezTo>
                    <a:cubicBezTo>
                      <a:pt x="200" y="109"/>
                      <a:pt x="185" y="117"/>
                      <a:pt x="185" y="117"/>
                    </a:cubicBezTo>
                    <a:cubicBezTo>
                      <a:pt x="183" y="102"/>
                      <a:pt x="183" y="102"/>
                      <a:pt x="183" y="102"/>
                    </a:cubicBezTo>
                    <a:cubicBezTo>
                      <a:pt x="183" y="102"/>
                      <a:pt x="166" y="87"/>
                      <a:pt x="153" y="85"/>
                    </a:cubicBezTo>
                    <a:cubicBezTo>
                      <a:pt x="140" y="83"/>
                      <a:pt x="133" y="109"/>
                      <a:pt x="133" y="109"/>
                    </a:cubicBezTo>
                    <a:cubicBezTo>
                      <a:pt x="133" y="109"/>
                      <a:pt x="142" y="69"/>
                      <a:pt x="144" y="61"/>
                    </a:cubicBezTo>
                    <a:cubicBezTo>
                      <a:pt x="146" y="53"/>
                      <a:pt x="132" y="30"/>
                      <a:pt x="126" y="22"/>
                    </a:cubicBezTo>
                    <a:cubicBezTo>
                      <a:pt x="120" y="14"/>
                      <a:pt x="83" y="0"/>
                      <a:pt x="83" y="0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69" y="26"/>
                      <a:pt x="62" y="2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4" name="MCShape 17">
                <a:extLst>
                  <a:ext uri="{FF2B5EF4-FFF2-40B4-BE49-F238E27FC236}">
                    <a16:creationId xmlns:a16="http://schemas.microsoft.com/office/drawing/2014/main" id="{A35EF8DF-6680-403A-89D0-8476650B0C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98936" y="3826456"/>
                <a:ext cx="378951" cy="369670"/>
              </a:xfrm>
              <a:custGeom>
                <a:avLst/>
                <a:gdLst>
                  <a:gd name="T0" fmla="*/ 175 w 642"/>
                  <a:gd name="T1" fmla="*/ 3 h 625"/>
                  <a:gd name="T2" fmla="*/ 165 w 642"/>
                  <a:gd name="T3" fmla="*/ 34 h 625"/>
                  <a:gd name="T4" fmla="*/ 630 w 642"/>
                  <a:gd name="T5" fmla="*/ 190 h 625"/>
                  <a:gd name="T6" fmla="*/ 595 w 642"/>
                  <a:gd name="T7" fmla="*/ 194 h 625"/>
                  <a:gd name="T8" fmla="*/ 553 w 642"/>
                  <a:gd name="T9" fmla="*/ 194 h 625"/>
                  <a:gd name="T10" fmla="*/ 586 w 642"/>
                  <a:gd name="T11" fmla="*/ 167 h 625"/>
                  <a:gd name="T12" fmla="*/ 572 w 642"/>
                  <a:gd name="T13" fmla="*/ 143 h 625"/>
                  <a:gd name="T14" fmla="*/ 556 w 642"/>
                  <a:gd name="T15" fmla="*/ 143 h 625"/>
                  <a:gd name="T16" fmla="*/ 536 w 642"/>
                  <a:gd name="T17" fmla="*/ 123 h 625"/>
                  <a:gd name="T18" fmla="*/ 522 w 642"/>
                  <a:gd name="T19" fmla="*/ 129 h 625"/>
                  <a:gd name="T20" fmla="*/ 498 w 642"/>
                  <a:gd name="T21" fmla="*/ 117 h 625"/>
                  <a:gd name="T22" fmla="*/ 501 w 642"/>
                  <a:gd name="T23" fmla="*/ 93 h 625"/>
                  <a:gd name="T24" fmla="*/ 457 w 642"/>
                  <a:gd name="T25" fmla="*/ 84 h 625"/>
                  <a:gd name="T26" fmla="*/ 435 w 642"/>
                  <a:gd name="T27" fmla="*/ 99 h 625"/>
                  <a:gd name="T28" fmla="*/ 346 w 642"/>
                  <a:gd name="T29" fmla="*/ 88 h 625"/>
                  <a:gd name="T30" fmla="*/ 242 w 642"/>
                  <a:gd name="T31" fmla="*/ 68 h 625"/>
                  <a:gd name="T32" fmla="*/ 147 w 642"/>
                  <a:gd name="T33" fmla="*/ 56 h 625"/>
                  <a:gd name="T34" fmla="*/ 113 w 642"/>
                  <a:gd name="T35" fmla="*/ 136 h 625"/>
                  <a:gd name="T36" fmla="*/ 89 w 642"/>
                  <a:gd name="T37" fmla="*/ 154 h 625"/>
                  <a:gd name="T38" fmla="*/ 82 w 642"/>
                  <a:gd name="T39" fmla="*/ 102 h 625"/>
                  <a:gd name="T40" fmla="*/ 77 w 642"/>
                  <a:gd name="T41" fmla="*/ 38 h 625"/>
                  <a:gd name="T42" fmla="*/ 38 w 642"/>
                  <a:gd name="T43" fmla="*/ 77 h 625"/>
                  <a:gd name="T44" fmla="*/ 24 w 642"/>
                  <a:gd name="T45" fmla="*/ 115 h 625"/>
                  <a:gd name="T46" fmla="*/ 5 w 642"/>
                  <a:gd name="T47" fmla="*/ 162 h 625"/>
                  <a:gd name="T48" fmla="*/ 35 w 642"/>
                  <a:gd name="T49" fmla="*/ 180 h 625"/>
                  <a:gd name="T50" fmla="*/ 50 w 642"/>
                  <a:gd name="T51" fmla="*/ 216 h 625"/>
                  <a:gd name="T52" fmla="*/ 41 w 642"/>
                  <a:gd name="T53" fmla="*/ 259 h 625"/>
                  <a:gd name="T54" fmla="*/ 59 w 642"/>
                  <a:gd name="T55" fmla="*/ 280 h 625"/>
                  <a:gd name="T56" fmla="*/ 111 w 642"/>
                  <a:gd name="T57" fmla="*/ 284 h 625"/>
                  <a:gd name="T58" fmla="*/ 136 w 642"/>
                  <a:gd name="T59" fmla="*/ 284 h 625"/>
                  <a:gd name="T60" fmla="*/ 181 w 642"/>
                  <a:gd name="T61" fmla="*/ 330 h 625"/>
                  <a:gd name="T62" fmla="*/ 203 w 642"/>
                  <a:gd name="T63" fmla="*/ 322 h 625"/>
                  <a:gd name="T64" fmla="*/ 232 w 642"/>
                  <a:gd name="T65" fmla="*/ 324 h 625"/>
                  <a:gd name="T66" fmla="*/ 276 w 642"/>
                  <a:gd name="T67" fmla="*/ 323 h 625"/>
                  <a:gd name="T68" fmla="*/ 263 w 642"/>
                  <a:gd name="T69" fmla="*/ 362 h 625"/>
                  <a:gd name="T70" fmla="*/ 254 w 642"/>
                  <a:gd name="T71" fmla="*/ 404 h 625"/>
                  <a:gd name="T72" fmla="*/ 261 w 642"/>
                  <a:gd name="T73" fmla="*/ 440 h 625"/>
                  <a:gd name="T74" fmla="*/ 278 w 642"/>
                  <a:gd name="T75" fmla="*/ 476 h 625"/>
                  <a:gd name="T76" fmla="*/ 259 w 642"/>
                  <a:gd name="T77" fmla="*/ 507 h 625"/>
                  <a:gd name="T78" fmla="*/ 284 w 642"/>
                  <a:gd name="T79" fmla="*/ 549 h 625"/>
                  <a:gd name="T80" fmla="*/ 299 w 642"/>
                  <a:gd name="T81" fmla="*/ 594 h 625"/>
                  <a:gd name="T82" fmla="*/ 326 w 642"/>
                  <a:gd name="T83" fmla="*/ 619 h 625"/>
                  <a:gd name="T84" fmla="*/ 362 w 642"/>
                  <a:gd name="T85" fmla="*/ 624 h 625"/>
                  <a:gd name="T86" fmla="*/ 400 w 642"/>
                  <a:gd name="T87" fmla="*/ 593 h 625"/>
                  <a:gd name="T88" fmla="*/ 420 w 642"/>
                  <a:gd name="T89" fmla="*/ 579 h 625"/>
                  <a:gd name="T90" fmla="*/ 457 w 642"/>
                  <a:gd name="T91" fmla="*/ 547 h 625"/>
                  <a:gd name="T92" fmla="*/ 432 w 642"/>
                  <a:gd name="T93" fmla="*/ 524 h 625"/>
                  <a:gd name="T94" fmla="*/ 419 w 642"/>
                  <a:gd name="T95" fmla="*/ 490 h 625"/>
                  <a:gd name="T96" fmla="*/ 400 w 642"/>
                  <a:gd name="T97" fmla="*/ 425 h 625"/>
                  <a:gd name="T98" fmla="*/ 429 w 642"/>
                  <a:gd name="T99" fmla="*/ 433 h 625"/>
                  <a:gd name="T100" fmla="*/ 450 w 642"/>
                  <a:gd name="T101" fmla="*/ 444 h 625"/>
                  <a:gd name="T102" fmla="*/ 469 w 642"/>
                  <a:gd name="T103" fmla="*/ 446 h 625"/>
                  <a:gd name="T104" fmla="*/ 507 w 642"/>
                  <a:gd name="T105" fmla="*/ 432 h 625"/>
                  <a:gd name="T106" fmla="*/ 551 w 642"/>
                  <a:gd name="T107" fmla="*/ 424 h 625"/>
                  <a:gd name="T108" fmla="*/ 583 w 642"/>
                  <a:gd name="T109" fmla="*/ 414 h 625"/>
                  <a:gd name="T110" fmla="*/ 596 w 642"/>
                  <a:gd name="T111" fmla="*/ 399 h 625"/>
                  <a:gd name="T112" fmla="*/ 563 w 642"/>
                  <a:gd name="T113" fmla="*/ 340 h 625"/>
                  <a:gd name="T114" fmla="*/ 570 w 642"/>
                  <a:gd name="T115" fmla="*/ 299 h 625"/>
                  <a:gd name="T116" fmla="*/ 616 w 642"/>
                  <a:gd name="T117" fmla="*/ 273 h 625"/>
                  <a:gd name="T118" fmla="*/ 601 w 642"/>
                  <a:gd name="T119" fmla="*/ 250 h 625"/>
                  <a:gd name="T120" fmla="*/ 635 w 642"/>
                  <a:gd name="T121" fmla="*/ 218 h 625"/>
                  <a:gd name="T122" fmla="*/ 630 w 642"/>
                  <a:gd name="T123" fmla="*/ 190 h 62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42"/>
                  <a:gd name="T187" fmla="*/ 0 h 625"/>
                  <a:gd name="T188" fmla="*/ 642 w 642"/>
                  <a:gd name="T189" fmla="*/ 625 h 62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42" h="625">
                    <a:moveTo>
                      <a:pt x="182" y="33"/>
                    </a:moveTo>
                    <a:cubicBezTo>
                      <a:pt x="182" y="33"/>
                      <a:pt x="187" y="6"/>
                      <a:pt x="175" y="3"/>
                    </a:cubicBezTo>
                    <a:cubicBezTo>
                      <a:pt x="164" y="0"/>
                      <a:pt x="158" y="7"/>
                      <a:pt x="158" y="13"/>
                    </a:cubicBezTo>
                    <a:cubicBezTo>
                      <a:pt x="158" y="18"/>
                      <a:pt x="165" y="34"/>
                      <a:pt x="165" y="34"/>
                    </a:cubicBezTo>
                    <a:lnTo>
                      <a:pt x="182" y="33"/>
                    </a:lnTo>
                    <a:close/>
                    <a:moveTo>
                      <a:pt x="630" y="190"/>
                    </a:moveTo>
                    <a:cubicBezTo>
                      <a:pt x="626" y="184"/>
                      <a:pt x="611" y="201"/>
                      <a:pt x="611" y="201"/>
                    </a:cubicBezTo>
                    <a:cubicBezTo>
                      <a:pt x="611" y="201"/>
                      <a:pt x="601" y="197"/>
                      <a:pt x="595" y="194"/>
                    </a:cubicBezTo>
                    <a:cubicBezTo>
                      <a:pt x="589" y="191"/>
                      <a:pt x="575" y="208"/>
                      <a:pt x="575" y="208"/>
                    </a:cubicBezTo>
                    <a:cubicBezTo>
                      <a:pt x="553" y="194"/>
                      <a:pt x="553" y="194"/>
                      <a:pt x="553" y="194"/>
                    </a:cubicBezTo>
                    <a:cubicBezTo>
                      <a:pt x="553" y="194"/>
                      <a:pt x="579" y="194"/>
                      <a:pt x="583" y="187"/>
                    </a:cubicBezTo>
                    <a:cubicBezTo>
                      <a:pt x="587" y="180"/>
                      <a:pt x="586" y="167"/>
                      <a:pt x="586" y="167"/>
                    </a:cubicBezTo>
                    <a:cubicBezTo>
                      <a:pt x="586" y="167"/>
                      <a:pt x="596" y="166"/>
                      <a:pt x="598" y="153"/>
                    </a:cubicBezTo>
                    <a:cubicBezTo>
                      <a:pt x="600" y="140"/>
                      <a:pt x="572" y="143"/>
                      <a:pt x="572" y="143"/>
                    </a:cubicBezTo>
                    <a:cubicBezTo>
                      <a:pt x="572" y="143"/>
                      <a:pt x="568" y="129"/>
                      <a:pt x="561" y="128"/>
                    </a:cubicBezTo>
                    <a:cubicBezTo>
                      <a:pt x="554" y="127"/>
                      <a:pt x="556" y="143"/>
                      <a:pt x="556" y="143"/>
                    </a:cubicBezTo>
                    <a:cubicBezTo>
                      <a:pt x="556" y="143"/>
                      <a:pt x="550" y="134"/>
                      <a:pt x="550" y="128"/>
                    </a:cubicBezTo>
                    <a:cubicBezTo>
                      <a:pt x="550" y="122"/>
                      <a:pt x="536" y="123"/>
                      <a:pt x="536" y="123"/>
                    </a:cubicBezTo>
                    <a:cubicBezTo>
                      <a:pt x="532" y="143"/>
                      <a:pt x="532" y="143"/>
                      <a:pt x="532" y="143"/>
                    </a:cubicBezTo>
                    <a:cubicBezTo>
                      <a:pt x="532" y="143"/>
                      <a:pt x="524" y="135"/>
                      <a:pt x="522" y="129"/>
                    </a:cubicBezTo>
                    <a:cubicBezTo>
                      <a:pt x="520" y="123"/>
                      <a:pt x="519" y="109"/>
                      <a:pt x="519" y="109"/>
                    </a:cubicBezTo>
                    <a:cubicBezTo>
                      <a:pt x="498" y="117"/>
                      <a:pt x="498" y="117"/>
                      <a:pt x="498" y="117"/>
                    </a:cubicBezTo>
                    <a:cubicBezTo>
                      <a:pt x="498" y="117"/>
                      <a:pt x="514" y="108"/>
                      <a:pt x="514" y="103"/>
                    </a:cubicBezTo>
                    <a:cubicBezTo>
                      <a:pt x="514" y="98"/>
                      <a:pt x="501" y="98"/>
                      <a:pt x="501" y="93"/>
                    </a:cubicBezTo>
                    <a:cubicBezTo>
                      <a:pt x="501" y="88"/>
                      <a:pt x="543" y="88"/>
                      <a:pt x="547" y="82"/>
                    </a:cubicBezTo>
                    <a:cubicBezTo>
                      <a:pt x="551" y="76"/>
                      <a:pt x="457" y="84"/>
                      <a:pt x="457" y="84"/>
                    </a:cubicBezTo>
                    <a:cubicBezTo>
                      <a:pt x="466" y="94"/>
                      <a:pt x="466" y="94"/>
                      <a:pt x="466" y="94"/>
                    </a:cubicBezTo>
                    <a:cubicBezTo>
                      <a:pt x="466" y="94"/>
                      <a:pt x="444" y="96"/>
                      <a:pt x="435" y="99"/>
                    </a:cubicBezTo>
                    <a:cubicBezTo>
                      <a:pt x="426" y="102"/>
                      <a:pt x="402" y="119"/>
                      <a:pt x="402" y="119"/>
                    </a:cubicBezTo>
                    <a:cubicBezTo>
                      <a:pt x="378" y="120"/>
                      <a:pt x="346" y="88"/>
                      <a:pt x="346" y="88"/>
                    </a:cubicBezTo>
                    <a:cubicBezTo>
                      <a:pt x="346" y="88"/>
                      <a:pt x="265" y="93"/>
                      <a:pt x="255" y="92"/>
                    </a:cubicBezTo>
                    <a:cubicBezTo>
                      <a:pt x="245" y="91"/>
                      <a:pt x="242" y="82"/>
                      <a:pt x="242" y="68"/>
                    </a:cubicBezTo>
                    <a:cubicBezTo>
                      <a:pt x="242" y="54"/>
                      <a:pt x="236" y="44"/>
                      <a:pt x="210" y="39"/>
                    </a:cubicBezTo>
                    <a:cubicBezTo>
                      <a:pt x="184" y="34"/>
                      <a:pt x="147" y="56"/>
                      <a:pt x="147" y="56"/>
                    </a:cubicBezTo>
                    <a:cubicBezTo>
                      <a:pt x="147" y="56"/>
                      <a:pt x="120" y="62"/>
                      <a:pt x="104" y="76"/>
                    </a:cubicBezTo>
                    <a:cubicBezTo>
                      <a:pt x="88" y="90"/>
                      <a:pt x="111" y="116"/>
                      <a:pt x="113" y="136"/>
                    </a:cubicBezTo>
                    <a:cubicBezTo>
                      <a:pt x="115" y="156"/>
                      <a:pt x="88" y="172"/>
                      <a:pt x="88" y="172"/>
                    </a:cubicBezTo>
                    <a:cubicBezTo>
                      <a:pt x="89" y="154"/>
                      <a:pt x="89" y="154"/>
                      <a:pt x="89" y="154"/>
                    </a:cubicBezTo>
                    <a:cubicBezTo>
                      <a:pt x="89" y="154"/>
                      <a:pt x="71" y="149"/>
                      <a:pt x="65" y="139"/>
                    </a:cubicBezTo>
                    <a:cubicBezTo>
                      <a:pt x="59" y="129"/>
                      <a:pt x="75" y="111"/>
                      <a:pt x="82" y="102"/>
                    </a:cubicBezTo>
                    <a:cubicBezTo>
                      <a:pt x="89" y="93"/>
                      <a:pt x="88" y="77"/>
                      <a:pt x="88" y="65"/>
                    </a:cubicBezTo>
                    <a:cubicBezTo>
                      <a:pt x="88" y="53"/>
                      <a:pt x="77" y="38"/>
                      <a:pt x="77" y="38"/>
                    </a:cubicBezTo>
                    <a:cubicBezTo>
                      <a:pt x="77" y="38"/>
                      <a:pt x="76" y="53"/>
                      <a:pt x="65" y="56"/>
                    </a:cubicBezTo>
                    <a:cubicBezTo>
                      <a:pt x="54" y="60"/>
                      <a:pt x="45" y="64"/>
                      <a:pt x="38" y="77"/>
                    </a:cubicBezTo>
                    <a:cubicBezTo>
                      <a:pt x="30" y="90"/>
                      <a:pt x="30" y="110"/>
                      <a:pt x="30" y="110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24" y="133"/>
                      <a:pt x="24" y="133"/>
                      <a:pt x="24" y="133"/>
                    </a:cubicBezTo>
                    <a:cubicBezTo>
                      <a:pt x="24" y="133"/>
                      <a:pt x="0" y="154"/>
                      <a:pt x="5" y="162"/>
                    </a:cubicBezTo>
                    <a:cubicBezTo>
                      <a:pt x="10" y="171"/>
                      <a:pt x="14" y="157"/>
                      <a:pt x="21" y="157"/>
                    </a:cubicBezTo>
                    <a:cubicBezTo>
                      <a:pt x="28" y="157"/>
                      <a:pt x="35" y="171"/>
                      <a:pt x="35" y="180"/>
                    </a:cubicBezTo>
                    <a:cubicBezTo>
                      <a:pt x="35" y="189"/>
                      <a:pt x="36" y="195"/>
                      <a:pt x="36" y="195"/>
                    </a:cubicBezTo>
                    <a:cubicBezTo>
                      <a:pt x="36" y="195"/>
                      <a:pt x="52" y="204"/>
                      <a:pt x="50" y="216"/>
                    </a:cubicBezTo>
                    <a:cubicBezTo>
                      <a:pt x="48" y="229"/>
                      <a:pt x="42" y="232"/>
                      <a:pt x="42" y="232"/>
                    </a:cubicBezTo>
                    <a:cubicBezTo>
                      <a:pt x="41" y="259"/>
                      <a:pt x="41" y="259"/>
                      <a:pt x="41" y="259"/>
                    </a:cubicBezTo>
                    <a:cubicBezTo>
                      <a:pt x="51" y="259"/>
                      <a:pt x="51" y="259"/>
                      <a:pt x="51" y="259"/>
                    </a:cubicBezTo>
                    <a:cubicBezTo>
                      <a:pt x="51" y="259"/>
                      <a:pt x="50" y="277"/>
                      <a:pt x="59" y="280"/>
                    </a:cubicBezTo>
                    <a:cubicBezTo>
                      <a:pt x="68" y="283"/>
                      <a:pt x="79" y="278"/>
                      <a:pt x="83" y="278"/>
                    </a:cubicBezTo>
                    <a:cubicBezTo>
                      <a:pt x="88" y="278"/>
                      <a:pt x="106" y="285"/>
                      <a:pt x="111" y="284"/>
                    </a:cubicBezTo>
                    <a:cubicBezTo>
                      <a:pt x="116" y="283"/>
                      <a:pt x="117" y="277"/>
                      <a:pt x="122" y="277"/>
                    </a:cubicBezTo>
                    <a:cubicBezTo>
                      <a:pt x="127" y="277"/>
                      <a:pt x="136" y="284"/>
                      <a:pt x="136" y="284"/>
                    </a:cubicBezTo>
                    <a:cubicBezTo>
                      <a:pt x="154" y="285"/>
                      <a:pt x="154" y="285"/>
                      <a:pt x="154" y="285"/>
                    </a:cubicBezTo>
                    <a:cubicBezTo>
                      <a:pt x="154" y="285"/>
                      <a:pt x="173" y="327"/>
                      <a:pt x="181" y="330"/>
                    </a:cubicBezTo>
                    <a:cubicBezTo>
                      <a:pt x="189" y="332"/>
                      <a:pt x="197" y="329"/>
                      <a:pt x="197" y="329"/>
                    </a:cubicBezTo>
                    <a:cubicBezTo>
                      <a:pt x="197" y="329"/>
                      <a:pt x="195" y="322"/>
                      <a:pt x="203" y="322"/>
                    </a:cubicBezTo>
                    <a:cubicBezTo>
                      <a:pt x="211" y="322"/>
                      <a:pt x="213" y="329"/>
                      <a:pt x="221" y="330"/>
                    </a:cubicBezTo>
                    <a:cubicBezTo>
                      <a:pt x="229" y="331"/>
                      <a:pt x="232" y="324"/>
                      <a:pt x="232" y="324"/>
                    </a:cubicBezTo>
                    <a:cubicBezTo>
                      <a:pt x="251" y="326"/>
                      <a:pt x="251" y="326"/>
                      <a:pt x="251" y="326"/>
                    </a:cubicBezTo>
                    <a:cubicBezTo>
                      <a:pt x="251" y="326"/>
                      <a:pt x="270" y="311"/>
                      <a:pt x="276" y="323"/>
                    </a:cubicBezTo>
                    <a:cubicBezTo>
                      <a:pt x="282" y="336"/>
                      <a:pt x="265" y="344"/>
                      <a:pt x="265" y="344"/>
                    </a:cubicBezTo>
                    <a:cubicBezTo>
                      <a:pt x="265" y="344"/>
                      <a:pt x="266" y="359"/>
                      <a:pt x="263" y="362"/>
                    </a:cubicBezTo>
                    <a:cubicBezTo>
                      <a:pt x="260" y="365"/>
                      <a:pt x="250" y="370"/>
                      <a:pt x="251" y="375"/>
                    </a:cubicBezTo>
                    <a:cubicBezTo>
                      <a:pt x="252" y="380"/>
                      <a:pt x="254" y="398"/>
                      <a:pt x="254" y="404"/>
                    </a:cubicBezTo>
                    <a:cubicBezTo>
                      <a:pt x="254" y="410"/>
                      <a:pt x="252" y="433"/>
                      <a:pt x="252" y="433"/>
                    </a:cubicBezTo>
                    <a:cubicBezTo>
                      <a:pt x="252" y="433"/>
                      <a:pt x="261" y="437"/>
                      <a:pt x="261" y="440"/>
                    </a:cubicBezTo>
                    <a:cubicBezTo>
                      <a:pt x="261" y="443"/>
                      <a:pt x="262" y="452"/>
                      <a:pt x="262" y="452"/>
                    </a:cubicBezTo>
                    <a:cubicBezTo>
                      <a:pt x="262" y="452"/>
                      <a:pt x="278" y="466"/>
                      <a:pt x="278" y="476"/>
                    </a:cubicBezTo>
                    <a:cubicBezTo>
                      <a:pt x="278" y="486"/>
                      <a:pt x="249" y="504"/>
                      <a:pt x="249" y="504"/>
                    </a:cubicBezTo>
                    <a:cubicBezTo>
                      <a:pt x="259" y="507"/>
                      <a:pt x="259" y="507"/>
                      <a:pt x="259" y="507"/>
                    </a:cubicBezTo>
                    <a:cubicBezTo>
                      <a:pt x="259" y="507"/>
                      <a:pt x="281" y="521"/>
                      <a:pt x="281" y="525"/>
                    </a:cubicBezTo>
                    <a:cubicBezTo>
                      <a:pt x="281" y="529"/>
                      <a:pt x="284" y="549"/>
                      <a:pt x="284" y="549"/>
                    </a:cubicBezTo>
                    <a:cubicBezTo>
                      <a:pt x="284" y="549"/>
                      <a:pt x="295" y="575"/>
                      <a:pt x="294" y="580"/>
                    </a:cubicBezTo>
                    <a:cubicBezTo>
                      <a:pt x="293" y="585"/>
                      <a:pt x="299" y="594"/>
                      <a:pt x="299" y="594"/>
                    </a:cubicBezTo>
                    <a:cubicBezTo>
                      <a:pt x="299" y="594"/>
                      <a:pt x="306" y="607"/>
                      <a:pt x="310" y="612"/>
                    </a:cubicBezTo>
                    <a:cubicBezTo>
                      <a:pt x="314" y="617"/>
                      <a:pt x="326" y="619"/>
                      <a:pt x="326" y="619"/>
                    </a:cubicBezTo>
                    <a:cubicBezTo>
                      <a:pt x="336" y="625"/>
                      <a:pt x="347" y="603"/>
                      <a:pt x="356" y="605"/>
                    </a:cubicBezTo>
                    <a:cubicBezTo>
                      <a:pt x="365" y="607"/>
                      <a:pt x="354" y="624"/>
                      <a:pt x="362" y="624"/>
                    </a:cubicBezTo>
                    <a:cubicBezTo>
                      <a:pt x="370" y="624"/>
                      <a:pt x="376" y="599"/>
                      <a:pt x="382" y="595"/>
                    </a:cubicBezTo>
                    <a:cubicBezTo>
                      <a:pt x="388" y="591"/>
                      <a:pt x="400" y="593"/>
                      <a:pt x="400" y="593"/>
                    </a:cubicBezTo>
                    <a:cubicBezTo>
                      <a:pt x="402" y="587"/>
                      <a:pt x="402" y="587"/>
                      <a:pt x="402" y="587"/>
                    </a:cubicBezTo>
                    <a:cubicBezTo>
                      <a:pt x="402" y="587"/>
                      <a:pt x="407" y="583"/>
                      <a:pt x="420" y="579"/>
                    </a:cubicBezTo>
                    <a:cubicBezTo>
                      <a:pt x="433" y="575"/>
                      <a:pt x="432" y="550"/>
                      <a:pt x="432" y="550"/>
                    </a:cubicBezTo>
                    <a:cubicBezTo>
                      <a:pt x="432" y="550"/>
                      <a:pt x="445" y="553"/>
                      <a:pt x="457" y="547"/>
                    </a:cubicBezTo>
                    <a:cubicBezTo>
                      <a:pt x="469" y="541"/>
                      <a:pt x="462" y="527"/>
                      <a:pt x="462" y="527"/>
                    </a:cubicBezTo>
                    <a:cubicBezTo>
                      <a:pt x="432" y="524"/>
                      <a:pt x="432" y="524"/>
                      <a:pt x="432" y="524"/>
                    </a:cubicBezTo>
                    <a:cubicBezTo>
                      <a:pt x="432" y="524"/>
                      <a:pt x="432" y="515"/>
                      <a:pt x="432" y="508"/>
                    </a:cubicBezTo>
                    <a:cubicBezTo>
                      <a:pt x="432" y="501"/>
                      <a:pt x="419" y="490"/>
                      <a:pt x="419" y="490"/>
                    </a:cubicBezTo>
                    <a:cubicBezTo>
                      <a:pt x="419" y="490"/>
                      <a:pt x="434" y="466"/>
                      <a:pt x="412" y="455"/>
                    </a:cubicBezTo>
                    <a:cubicBezTo>
                      <a:pt x="390" y="444"/>
                      <a:pt x="400" y="425"/>
                      <a:pt x="400" y="425"/>
                    </a:cubicBezTo>
                    <a:cubicBezTo>
                      <a:pt x="400" y="425"/>
                      <a:pt x="403" y="431"/>
                      <a:pt x="406" y="434"/>
                    </a:cubicBezTo>
                    <a:cubicBezTo>
                      <a:pt x="409" y="437"/>
                      <a:pt x="418" y="429"/>
                      <a:pt x="429" y="433"/>
                    </a:cubicBezTo>
                    <a:cubicBezTo>
                      <a:pt x="440" y="437"/>
                      <a:pt x="434" y="446"/>
                      <a:pt x="436" y="449"/>
                    </a:cubicBezTo>
                    <a:cubicBezTo>
                      <a:pt x="438" y="452"/>
                      <a:pt x="450" y="444"/>
                      <a:pt x="450" y="444"/>
                    </a:cubicBezTo>
                    <a:cubicBezTo>
                      <a:pt x="460" y="450"/>
                      <a:pt x="460" y="450"/>
                      <a:pt x="460" y="450"/>
                    </a:cubicBezTo>
                    <a:cubicBezTo>
                      <a:pt x="460" y="450"/>
                      <a:pt x="465" y="442"/>
                      <a:pt x="469" y="446"/>
                    </a:cubicBezTo>
                    <a:cubicBezTo>
                      <a:pt x="473" y="450"/>
                      <a:pt x="484" y="469"/>
                      <a:pt x="493" y="469"/>
                    </a:cubicBezTo>
                    <a:cubicBezTo>
                      <a:pt x="502" y="469"/>
                      <a:pt x="499" y="435"/>
                      <a:pt x="507" y="432"/>
                    </a:cubicBezTo>
                    <a:cubicBezTo>
                      <a:pt x="515" y="429"/>
                      <a:pt x="521" y="437"/>
                      <a:pt x="528" y="437"/>
                    </a:cubicBezTo>
                    <a:cubicBezTo>
                      <a:pt x="535" y="437"/>
                      <a:pt x="549" y="430"/>
                      <a:pt x="551" y="424"/>
                    </a:cubicBezTo>
                    <a:cubicBezTo>
                      <a:pt x="553" y="418"/>
                      <a:pt x="565" y="413"/>
                      <a:pt x="565" y="413"/>
                    </a:cubicBezTo>
                    <a:cubicBezTo>
                      <a:pt x="583" y="414"/>
                      <a:pt x="583" y="414"/>
                      <a:pt x="583" y="414"/>
                    </a:cubicBezTo>
                    <a:cubicBezTo>
                      <a:pt x="581" y="404"/>
                      <a:pt x="581" y="404"/>
                      <a:pt x="581" y="404"/>
                    </a:cubicBezTo>
                    <a:cubicBezTo>
                      <a:pt x="581" y="404"/>
                      <a:pt x="592" y="406"/>
                      <a:pt x="596" y="399"/>
                    </a:cubicBezTo>
                    <a:cubicBezTo>
                      <a:pt x="600" y="392"/>
                      <a:pt x="594" y="378"/>
                      <a:pt x="594" y="378"/>
                    </a:cubicBezTo>
                    <a:cubicBezTo>
                      <a:pt x="594" y="378"/>
                      <a:pt x="567" y="351"/>
                      <a:pt x="563" y="340"/>
                    </a:cubicBezTo>
                    <a:cubicBezTo>
                      <a:pt x="559" y="329"/>
                      <a:pt x="572" y="330"/>
                      <a:pt x="581" y="322"/>
                    </a:cubicBezTo>
                    <a:cubicBezTo>
                      <a:pt x="590" y="315"/>
                      <a:pt x="570" y="304"/>
                      <a:pt x="570" y="299"/>
                    </a:cubicBezTo>
                    <a:cubicBezTo>
                      <a:pt x="570" y="294"/>
                      <a:pt x="595" y="295"/>
                      <a:pt x="606" y="291"/>
                    </a:cubicBezTo>
                    <a:cubicBezTo>
                      <a:pt x="617" y="287"/>
                      <a:pt x="616" y="277"/>
                      <a:pt x="616" y="273"/>
                    </a:cubicBezTo>
                    <a:cubicBezTo>
                      <a:pt x="616" y="270"/>
                      <a:pt x="609" y="270"/>
                      <a:pt x="605" y="270"/>
                    </a:cubicBezTo>
                    <a:cubicBezTo>
                      <a:pt x="601" y="270"/>
                      <a:pt x="603" y="259"/>
                      <a:pt x="601" y="250"/>
                    </a:cubicBezTo>
                    <a:cubicBezTo>
                      <a:pt x="599" y="241"/>
                      <a:pt x="615" y="236"/>
                      <a:pt x="621" y="234"/>
                    </a:cubicBezTo>
                    <a:cubicBezTo>
                      <a:pt x="628" y="232"/>
                      <a:pt x="635" y="218"/>
                      <a:pt x="635" y="218"/>
                    </a:cubicBezTo>
                    <a:cubicBezTo>
                      <a:pt x="642" y="206"/>
                      <a:pt x="642" y="206"/>
                      <a:pt x="642" y="206"/>
                    </a:cubicBezTo>
                    <a:cubicBezTo>
                      <a:pt x="642" y="206"/>
                      <a:pt x="634" y="196"/>
                      <a:pt x="630" y="19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5" name="MCShape 18">
                <a:extLst>
                  <a:ext uri="{FF2B5EF4-FFF2-40B4-BE49-F238E27FC236}">
                    <a16:creationId xmlns:a16="http://schemas.microsoft.com/office/drawing/2014/main" id="{C1AB1A33-19A2-4CBE-9537-6D72A824B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256" y="3906887"/>
                <a:ext cx="163954" cy="85070"/>
              </a:xfrm>
              <a:custGeom>
                <a:avLst/>
                <a:gdLst>
                  <a:gd name="T0" fmla="*/ 209 w 279"/>
                  <a:gd name="T1" fmla="*/ 47 h 141"/>
                  <a:gd name="T2" fmla="*/ 224 w 279"/>
                  <a:gd name="T3" fmla="*/ 66 h 141"/>
                  <a:gd name="T4" fmla="*/ 232 w 279"/>
                  <a:gd name="T5" fmla="*/ 63 h 141"/>
                  <a:gd name="T6" fmla="*/ 254 w 279"/>
                  <a:gd name="T7" fmla="*/ 81 h 141"/>
                  <a:gd name="T8" fmla="*/ 232 w 279"/>
                  <a:gd name="T9" fmla="*/ 71 h 141"/>
                  <a:gd name="T10" fmla="*/ 229 w 279"/>
                  <a:gd name="T11" fmla="*/ 106 h 141"/>
                  <a:gd name="T12" fmla="*/ 243 w 279"/>
                  <a:gd name="T13" fmla="*/ 128 h 141"/>
                  <a:gd name="T14" fmla="*/ 243 w 279"/>
                  <a:gd name="T15" fmla="*/ 128 h 141"/>
                  <a:gd name="T16" fmla="*/ 253 w 279"/>
                  <a:gd name="T17" fmla="*/ 107 h 141"/>
                  <a:gd name="T18" fmla="*/ 269 w 279"/>
                  <a:gd name="T19" fmla="*/ 109 h 141"/>
                  <a:gd name="T20" fmla="*/ 279 w 279"/>
                  <a:gd name="T21" fmla="*/ 84 h 141"/>
                  <a:gd name="T22" fmla="*/ 266 w 279"/>
                  <a:gd name="T23" fmla="*/ 70 h 141"/>
                  <a:gd name="T24" fmla="*/ 270 w 279"/>
                  <a:gd name="T25" fmla="*/ 58 h 141"/>
                  <a:gd name="T26" fmla="*/ 255 w 279"/>
                  <a:gd name="T27" fmla="*/ 46 h 141"/>
                  <a:gd name="T28" fmla="*/ 236 w 279"/>
                  <a:gd name="T29" fmla="*/ 18 h 141"/>
                  <a:gd name="T30" fmla="*/ 196 w 279"/>
                  <a:gd name="T31" fmla="*/ 13 h 141"/>
                  <a:gd name="T32" fmla="*/ 195 w 279"/>
                  <a:gd name="T33" fmla="*/ 4 h 141"/>
                  <a:gd name="T34" fmla="*/ 163 w 279"/>
                  <a:gd name="T35" fmla="*/ 7 h 141"/>
                  <a:gd name="T36" fmla="*/ 144 w 279"/>
                  <a:gd name="T37" fmla="*/ 27 h 141"/>
                  <a:gd name="T38" fmla="*/ 126 w 279"/>
                  <a:gd name="T39" fmla="*/ 25 h 141"/>
                  <a:gd name="T40" fmla="*/ 94 w 279"/>
                  <a:gd name="T41" fmla="*/ 50 h 141"/>
                  <a:gd name="T42" fmla="*/ 75 w 279"/>
                  <a:gd name="T43" fmla="*/ 43 h 141"/>
                  <a:gd name="T44" fmla="*/ 65 w 279"/>
                  <a:gd name="T45" fmla="*/ 32 h 141"/>
                  <a:gd name="T46" fmla="*/ 59 w 279"/>
                  <a:gd name="T47" fmla="*/ 39 h 141"/>
                  <a:gd name="T48" fmla="*/ 40 w 279"/>
                  <a:gd name="T49" fmla="*/ 35 h 141"/>
                  <a:gd name="T50" fmla="*/ 35 w 279"/>
                  <a:gd name="T51" fmla="*/ 10 h 141"/>
                  <a:gd name="T52" fmla="*/ 27 w 279"/>
                  <a:gd name="T53" fmla="*/ 5 h 141"/>
                  <a:gd name="T54" fmla="*/ 10 w 279"/>
                  <a:gd name="T55" fmla="*/ 11 h 141"/>
                  <a:gd name="T56" fmla="*/ 10 w 279"/>
                  <a:gd name="T57" fmla="*/ 33 h 141"/>
                  <a:gd name="T58" fmla="*/ 24 w 279"/>
                  <a:gd name="T59" fmla="*/ 40 h 141"/>
                  <a:gd name="T60" fmla="*/ 11 w 279"/>
                  <a:gd name="T61" fmla="*/ 51 h 141"/>
                  <a:gd name="T62" fmla="*/ 10 w 279"/>
                  <a:gd name="T63" fmla="*/ 65 h 141"/>
                  <a:gd name="T64" fmla="*/ 6 w 279"/>
                  <a:gd name="T65" fmla="*/ 70 h 141"/>
                  <a:gd name="T66" fmla="*/ 11 w 279"/>
                  <a:gd name="T67" fmla="*/ 75 h 141"/>
                  <a:gd name="T68" fmla="*/ 39 w 279"/>
                  <a:gd name="T69" fmla="*/ 69 h 141"/>
                  <a:gd name="T70" fmla="*/ 44 w 279"/>
                  <a:gd name="T71" fmla="*/ 81 h 141"/>
                  <a:gd name="T72" fmla="*/ 64 w 279"/>
                  <a:gd name="T73" fmla="*/ 80 h 141"/>
                  <a:gd name="T74" fmla="*/ 67 w 279"/>
                  <a:gd name="T75" fmla="*/ 107 h 141"/>
                  <a:gd name="T76" fmla="*/ 86 w 279"/>
                  <a:gd name="T77" fmla="*/ 102 h 141"/>
                  <a:gd name="T78" fmla="*/ 86 w 279"/>
                  <a:gd name="T79" fmla="*/ 89 h 141"/>
                  <a:gd name="T80" fmla="*/ 97 w 279"/>
                  <a:gd name="T81" fmla="*/ 88 h 141"/>
                  <a:gd name="T82" fmla="*/ 115 w 279"/>
                  <a:gd name="T83" fmla="*/ 134 h 141"/>
                  <a:gd name="T84" fmla="*/ 143 w 279"/>
                  <a:gd name="T85" fmla="*/ 118 h 141"/>
                  <a:gd name="T86" fmla="*/ 116 w 279"/>
                  <a:gd name="T87" fmla="*/ 81 h 141"/>
                  <a:gd name="T88" fmla="*/ 147 w 279"/>
                  <a:gd name="T89" fmla="*/ 62 h 141"/>
                  <a:gd name="T90" fmla="*/ 177 w 279"/>
                  <a:gd name="T91" fmla="*/ 36 h 141"/>
                  <a:gd name="T92" fmla="*/ 209 w 279"/>
                  <a:gd name="T93" fmla="*/ 47 h 14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79"/>
                  <a:gd name="T142" fmla="*/ 0 h 141"/>
                  <a:gd name="T143" fmla="*/ 279 w 279"/>
                  <a:gd name="T144" fmla="*/ 141 h 14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79" h="141">
                    <a:moveTo>
                      <a:pt x="209" y="47"/>
                    </a:moveTo>
                    <a:cubicBezTo>
                      <a:pt x="215" y="51"/>
                      <a:pt x="224" y="66"/>
                      <a:pt x="224" y="66"/>
                    </a:cubicBezTo>
                    <a:cubicBezTo>
                      <a:pt x="232" y="63"/>
                      <a:pt x="232" y="63"/>
                      <a:pt x="232" y="63"/>
                    </a:cubicBezTo>
                    <a:cubicBezTo>
                      <a:pt x="254" y="81"/>
                      <a:pt x="254" y="81"/>
                      <a:pt x="254" y="81"/>
                    </a:cubicBezTo>
                    <a:cubicBezTo>
                      <a:pt x="232" y="71"/>
                      <a:pt x="232" y="71"/>
                      <a:pt x="232" y="71"/>
                    </a:cubicBezTo>
                    <a:cubicBezTo>
                      <a:pt x="232" y="71"/>
                      <a:pt x="229" y="100"/>
                      <a:pt x="229" y="106"/>
                    </a:cubicBezTo>
                    <a:cubicBezTo>
                      <a:pt x="229" y="111"/>
                      <a:pt x="240" y="124"/>
                      <a:pt x="243" y="128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53" y="107"/>
                      <a:pt x="253" y="107"/>
                      <a:pt x="253" y="107"/>
                    </a:cubicBezTo>
                    <a:cubicBezTo>
                      <a:pt x="253" y="107"/>
                      <a:pt x="260" y="117"/>
                      <a:pt x="269" y="109"/>
                    </a:cubicBezTo>
                    <a:cubicBezTo>
                      <a:pt x="279" y="101"/>
                      <a:pt x="279" y="84"/>
                      <a:pt x="279" y="84"/>
                    </a:cubicBezTo>
                    <a:cubicBezTo>
                      <a:pt x="279" y="84"/>
                      <a:pt x="266" y="77"/>
                      <a:pt x="266" y="70"/>
                    </a:cubicBezTo>
                    <a:cubicBezTo>
                      <a:pt x="266" y="64"/>
                      <a:pt x="269" y="59"/>
                      <a:pt x="270" y="58"/>
                    </a:cubicBezTo>
                    <a:cubicBezTo>
                      <a:pt x="255" y="46"/>
                      <a:pt x="255" y="46"/>
                      <a:pt x="255" y="46"/>
                    </a:cubicBezTo>
                    <a:cubicBezTo>
                      <a:pt x="255" y="46"/>
                      <a:pt x="251" y="24"/>
                      <a:pt x="236" y="18"/>
                    </a:cubicBezTo>
                    <a:cubicBezTo>
                      <a:pt x="221" y="12"/>
                      <a:pt x="196" y="13"/>
                      <a:pt x="196" y="13"/>
                    </a:cubicBezTo>
                    <a:cubicBezTo>
                      <a:pt x="195" y="4"/>
                      <a:pt x="195" y="4"/>
                      <a:pt x="195" y="4"/>
                    </a:cubicBezTo>
                    <a:cubicBezTo>
                      <a:pt x="195" y="4"/>
                      <a:pt x="169" y="0"/>
                      <a:pt x="163" y="7"/>
                    </a:cubicBezTo>
                    <a:cubicBezTo>
                      <a:pt x="157" y="14"/>
                      <a:pt x="144" y="27"/>
                      <a:pt x="144" y="27"/>
                    </a:cubicBezTo>
                    <a:cubicBezTo>
                      <a:pt x="144" y="27"/>
                      <a:pt x="134" y="18"/>
                      <a:pt x="126" y="25"/>
                    </a:cubicBezTo>
                    <a:cubicBezTo>
                      <a:pt x="118" y="32"/>
                      <a:pt x="104" y="50"/>
                      <a:pt x="94" y="50"/>
                    </a:cubicBezTo>
                    <a:cubicBezTo>
                      <a:pt x="84" y="50"/>
                      <a:pt x="75" y="43"/>
                      <a:pt x="75" y="43"/>
                    </a:cubicBezTo>
                    <a:cubicBezTo>
                      <a:pt x="65" y="32"/>
                      <a:pt x="65" y="32"/>
                      <a:pt x="65" y="32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45" y="44"/>
                      <a:pt x="40" y="35"/>
                    </a:cubicBezTo>
                    <a:cubicBezTo>
                      <a:pt x="35" y="26"/>
                      <a:pt x="42" y="16"/>
                      <a:pt x="35" y="10"/>
                    </a:cubicBezTo>
                    <a:cubicBezTo>
                      <a:pt x="33" y="8"/>
                      <a:pt x="30" y="7"/>
                      <a:pt x="27" y="5"/>
                    </a:cubicBezTo>
                    <a:cubicBezTo>
                      <a:pt x="23" y="6"/>
                      <a:pt x="16" y="9"/>
                      <a:pt x="10" y="11"/>
                    </a:cubicBezTo>
                    <a:cubicBezTo>
                      <a:pt x="0" y="14"/>
                      <a:pt x="10" y="33"/>
                      <a:pt x="10" y="33"/>
                    </a:cubicBezTo>
                    <a:cubicBezTo>
                      <a:pt x="10" y="33"/>
                      <a:pt x="24" y="35"/>
                      <a:pt x="24" y="40"/>
                    </a:cubicBezTo>
                    <a:cubicBezTo>
                      <a:pt x="24" y="45"/>
                      <a:pt x="11" y="51"/>
                      <a:pt x="11" y="5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4" y="80"/>
                      <a:pt x="59" y="102"/>
                      <a:pt x="67" y="107"/>
                    </a:cubicBezTo>
                    <a:cubicBezTo>
                      <a:pt x="75" y="112"/>
                      <a:pt x="86" y="102"/>
                      <a:pt x="86" y="102"/>
                    </a:cubicBezTo>
                    <a:cubicBezTo>
                      <a:pt x="86" y="89"/>
                      <a:pt x="86" y="89"/>
                      <a:pt x="86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8"/>
                      <a:pt x="101" y="141"/>
                      <a:pt x="115" y="134"/>
                    </a:cubicBezTo>
                    <a:cubicBezTo>
                      <a:pt x="129" y="127"/>
                      <a:pt x="143" y="118"/>
                      <a:pt x="143" y="118"/>
                    </a:cubicBezTo>
                    <a:cubicBezTo>
                      <a:pt x="143" y="118"/>
                      <a:pt x="105" y="91"/>
                      <a:pt x="116" y="81"/>
                    </a:cubicBezTo>
                    <a:cubicBezTo>
                      <a:pt x="127" y="71"/>
                      <a:pt x="138" y="70"/>
                      <a:pt x="147" y="62"/>
                    </a:cubicBezTo>
                    <a:cubicBezTo>
                      <a:pt x="156" y="54"/>
                      <a:pt x="167" y="34"/>
                      <a:pt x="177" y="36"/>
                    </a:cubicBezTo>
                    <a:cubicBezTo>
                      <a:pt x="187" y="38"/>
                      <a:pt x="203" y="43"/>
                      <a:pt x="209" y="4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6" name="MCShape 19">
                <a:extLst>
                  <a:ext uri="{FF2B5EF4-FFF2-40B4-BE49-F238E27FC236}">
                    <a16:creationId xmlns:a16="http://schemas.microsoft.com/office/drawing/2014/main" id="{38141D85-7630-4637-B5F7-A503816C6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434" y="3814082"/>
                <a:ext cx="341830" cy="532078"/>
              </a:xfrm>
              <a:custGeom>
                <a:avLst/>
                <a:gdLst>
                  <a:gd name="T0" fmla="*/ 65 w 581"/>
                  <a:gd name="T1" fmla="*/ 635 h 902"/>
                  <a:gd name="T2" fmla="*/ 120 w 581"/>
                  <a:gd name="T3" fmla="*/ 665 h 902"/>
                  <a:gd name="T4" fmla="*/ 185 w 581"/>
                  <a:gd name="T5" fmla="*/ 680 h 902"/>
                  <a:gd name="T6" fmla="*/ 238 w 581"/>
                  <a:gd name="T7" fmla="*/ 732 h 902"/>
                  <a:gd name="T8" fmla="*/ 264 w 581"/>
                  <a:gd name="T9" fmla="*/ 772 h 902"/>
                  <a:gd name="T10" fmla="*/ 329 w 581"/>
                  <a:gd name="T11" fmla="*/ 813 h 902"/>
                  <a:gd name="T12" fmla="*/ 388 w 581"/>
                  <a:gd name="T13" fmla="*/ 797 h 902"/>
                  <a:gd name="T14" fmla="*/ 415 w 581"/>
                  <a:gd name="T15" fmla="*/ 846 h 902"/>
                  <a:gd name="T16" fmla="*/ 427 w 581"/>
                  <a:gd name="T17" fmla="*/ 898 h 902"/>
                  <a:gd name="T18" fmla="*/ 444 w 581"/>
                  <a:gd name="T19" fmla="*/ 831 h 902"/>
                  <a:gd name="T20" fmla="*/ 464 w 581"/>
                  <a:gd name="T21" fmla="*/ 749 h 902"/>
                  <a:gd name="T22" fmla="*/ 425 w 581"/>
                  <a:gd name="T23" fmla="*/ 688 h 902"/>
                  <a:gd name="T24" fmla="*/ 471 w 581"/>
                  <a:gd name="T25" fmla="*/ 643 h 902"/>
                  <a:gd name="T26" fmla="*/ 442 w 581"/>
                  <a:gd name="T27" fmla="*/ 616 h 902"/>
                  <a:gd name="T28" fmla="*/ 510 w 581"/>
                  <a:gd name="T29" fmla="*/ 586 h 902"/>
                  <a:gd name="T30" fmla="*/ 555 w 581"/>
                  <a:gd name="T31" fmla="*/ 563 h 902"/>
                  <a:gd name="T32" fmla="*/ 564 w 581"/>
                  <a:gd name="T33" fmla="*/ 614 h 902"/>
                  <a:gd name="T34" fmla="*/ 566 w 581"/>
                  <a:gd name="T35" fmla="*/ 569 h 902"/>
                  <a:gd name="T36" fmla="*/ 531 w 581"/>
                  <a:gd name="T37" fmla="*/ 524 h 902"/>
                  <a:gd name="T38" fmla="*/ 543 w 581"/>
                  <a:gd name="T39" fmla="*/ 460 h 902"/>
                  <a:gd name="T40" fmla="*/ 533 w 581"/>
                  <a:gd name="T41" fmla="*/ 395 h 902"/>
                  <a:gd name="T42" fmla="*/ 558 w 581"/>
                  <a:gd name="T43" fmla="*/ 343 h 902"/>
                  <a:gd name="T44" fmla="*/ 503 w 581"/>
                  <a:gd name="T45" fmla="*/ 350 h 902"/>
                  <a:gd name="T46" fmla="*/ 463 w 581"/>
                  <a:gd name="T47" fmla="*/ 350 h 902"/>
                  <a:gd name="T48" fmla="*/ 404 w 581"/>
                  <a:gd name="T49" fmla="*/ 297 h 902"/>
                  <a:gd name="T50" fmla="*/ 341 w 581"/>
                  <a:gd name="T51" fmla="*/ 300 h 902"/>
                  <a:gd name="T52" fmla="*/ 324 w 581"/>
                  <a:gd name="T53" fmla="*/ 252 h 902"/>
                  <a:gd name="T54" fmla="*/ 317 w 581"/>
                  <a:gd name="T55" fmla="*/ 200 h 902"/>
                  <a:gd name="T56" fmla="*/ 306 w 581"/>
                  <a:gd name="T57" fmla="*/ 153 h 902"/>
                  <a:gd name="T58" fmla="*/ 320 w 581"/>
                  <a:gd name="T59" fmla="*/ 97 h 902"/>
                  <a:gd name="T60" fmla="*/ 381 w 581"/>
                  <a:gd name="T61" fmla="*/ 47 h 902"/>
                  <a:gd name="T62" fmla="*/ 342 w 581"/>
                  <a:gd name="T63" fmla="*/ 45 h 902"/>
                  <a:gd name="T64" fmla="*/ 271 w 581"/>
                  <a:gd name="T65" fmla="*/ 74 h 902"/>
                  <a:gd name="T66" fmla="*/ 239 w 581"/>
                  <a:gd name="T67" fmla="*/ 101 h 902"/>
                  <a:gd name="T68" fmla="*/ 207 w 581"/>
                  <a:gd name="T69" fmla="*/ 94 h 902"/>
                  <a:gd name="T70" fmla="*/ 177 w 581"/>
                  <a:gd name="T71" fmla="*/ 155 h 902"/>
                  <a:gd name="T72" fmla="*/ 147 w 581"/>
                  <a:gd name="T73" fmla="*/ 198 h 902"/>
                  <a:gd name="T74" fmla="*/ 123 w 581"/>
                  <a:gd name="T75" fmla="*/ 229 h 902"/>
                  <a:gd name="T76" fmla="*/ 93 w 581"/>
                  <a:gd name="T77" fmla="*/ 215 h 902"/>
                  <a:gd name="T78" fmla="*/ 92 w 581"/>
                  <a:gd name="T79" fmla="*/ 267 h 902"/>
                  <a:gd name="T80" fmla="*/ 74 w 581"/>
                  <a:gd name="T81" fmla="*/ 301 h 902"/>
                  <a:gd name="T82" fmla="*/ 77 w 581"/>
                  <a:gd name="T83" fmla="*/ 338 h 902"/>
                  <a:gd name="T84" fmla="*/ 77 w 581"/>
                  <a:gd name="T85" fmla="*/ 378 h 902"/>
                  <a:gd name="T86" fmla="*/ 74 w 581"/>
                  <a:gd name="T87" fmla="*/ 454 h 902"/>
                  <a:gd name="T88" fmla="*/ 74 w 581"/>
                  <a:gd name="T89" fmla="*/ 522 h 902"/>
                  <a:gd name="T90" fmla="*/ 26 w 581"/>
                  <a:gd name="T91" fmla="*/ 580 h 902"/>
                  <a:gd name="T92" fmla="*/ 23 w 581"/>
                  <a:gd name="T93" fmla="*/ 614 h 90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81"/>
                  <a:gd name="T142" fmla="*/ 0 h 902"/>
                  <a:gd name="T143" fmla="*/ 581 w 581"/>
                  <a:gd name="T144" fmla="*/ 902 h 90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81" h="902">
                    <a:moveTo>
                      <a:pt x="23" y="614"/>
                    </a:moveTo>
                    <a:cubicBezTo>
                      <a:pt x="34" y="620"/>
                      <a:pt x="42" y="632"/>
                      <a:pt x="42" y="632"/>
                    </a:cubicBezTo>
                    <a:cubicBezTo>
                      <a:pt x="42" y="632"/>
                      <a:pt x="55" y="627"/>
                      <a:pt x="65" y="635"/>
                    </a:cubicBezTo>
                    <a:cubicBezTo>
                      <a:pt x="75" y="643"/>
                      <a:pt x="68" y="650"/>
                      <a:pt x="77" y="656"/>
                    </a:cubicBezTo>
                    <a:cubicBezTo>
                      <a:pt x="86" y="662"/>
                      <a:pt x="97" y="657"/>
                      <a:pt x="97" y="657"/>
                    </a:cubicBezTo>
                    <a:cubicBezTo>
                      <a:pt x="97" y="657"/>
                      <a:pt x="113" y="667"/>
                      <a:pt x="120" y="665"/>
                    </a:cubicBezTo>
                    <a:cubicBezTo>
                      <a:pt x="127" y="663"/>
                      <a:pt x="115" y="650"/>
                      <a:pt x="132" y="653"/>
                    </a:cubicBezTo>
                    <a:cubicBezTo>
                      <a:pt x="149" y="656"/>
                      <a:pt x="141" y="674"/>
                      <a:pt x="154" y="675"/>
                    </a:cubicBezTo>
                    <a:cubicBezTo>
                      <a:pt x="166" y="676"/>
                      <a:pt x="178" y="676"/>
                      <a:pt x="185" y="680"/>
                    </a:cubicBezTo>
                    <a:cubicBezTo>
                      <a:pt x="192" y="684"/>
                      <a:pt x="222" y="708"/>
                      <a:pt x="222" y="708"/>
                    </a:cubicBezTo>
                    <a:cubicBezTo>
                      <a:pt x="230" y="732"/>
                      <a:pt x="230" y="732"/>
                      <a:pt x="230" y="732"/>
                    </a:cubicBezTo>
                    <a:cubicBezTo>
                      <a:pt x="238" y="732"/>
                      <a:pt x="238" y="732"/>
                      <a:pt x="238" y="732"/>
                    </a:cubicBezTo>
                    <a:cubicBezTo>
                      <a:pt x="249" y="745"/>
                      <a:pt x="249" y="745"/>
                      <a:pt x="249" y="745"/>
                    </a:cubicBezTo>
                    <a:cubicBezTo>
                      <a:pt x="249" y="745"/>
                      <a:pt x="257" y="742"/>
                      <a:pt x="259" y="748"/>
                    </a:cubicBezTo>
                    <a:cubicBezTo>
                      <a:pt x="262" y="754"/>
                      <a:pt x="264" y="772"/>
                      <a:pt x="264" y="772"/>
                    </a:cubicBezTo>
                    <a:cubicBezTo>
                      <a:pt x="264" y="772"/>
                      <a:pt x="282" y="773"/>
                      <a:pt x="283" y="781"/>
                    </a:cubicBezTo>
                    <a:cubicBezTo>
                      <a:pt x="284" y="788"/>
                      <a:pt x="269" y="803"/>
                      <a:pt x="288" y="808"/>
                    </a:cubicBezTo>
                    <a:cubicBezTo>
                      <a:pt x="307" y="813"/>
                      <a:pt x="329" y="813"/>
                      <a:pt x="329" y="813"/>
                    </a:cubicBezTo>
                    <a:cubicBezTo>
                      <a:pt x="329" y="813"/>
                      <a:pt x="330" y="792"/>
                      <a:pt x="344" y="795"/>
                    </a:cubicBezTo>
                    <a:cubicBezTo>
                      <a:pt x="358" y="798"/>
                      <a:pt x="359" y="805"/>
                      <a:pt x="367" y="805"/>
                    </a:cubicBezTo>
                    <a:cubicBezTo>
                      <a:pt x="376" y="805"/>
                      <a:pt x="384" y="796"/>
                      <a:pt x="388" y="797"/>
                    </a:cubicBezTo>
                    <a:cubicBezTo>
                      <a:pt x="392" y="798"/>
                      <a:pt x="400" y="810"/>
                      <a:pt x="400" y="810"/>
                    </a:cubicBezTo>
                    <a:cubicBezTo>
                      <a:pt x="400" y="810"/>
                      <a:pt x="428" y="809"/>
                      <a:pt x="428" y="823"/>
                    </a:cubicBezTo>
                    <a:cubicBezTo>
                      <a:pt x="428" y="838"/>
                      <a:pt x="420" y="846"/>
                      <a:pt x="415" y="846"/>
                    </a:cubicBezTo>
                    <a:cubicBezTo>
                      <a:pt x="410" y="846"/>
                      <a:pt x="401" y="876"/>
                      <a:pt x="404" y="881"/>
                    </a:cubicBezTo>
                    <a:cubicBezTo>
                      <a:pt x="407" y="887"/>
                      <a:pt x="421" y="882"/>
                      <a:pt x="421" y="882"/>
                    </a:cubicBezTo>
                    <a:cubicBezTo>
                      <a:pt x="427" y="898"/>
                      <a:pt x="427" y="898"/>
                      <a:pt x="427" y="898"/>
                    </a:cubicBezTo>
                    <a:cubicBezTo>
                      <a:pt x="438" y="902"/>
                      <a:pt x="438" y="902"/>
                      <a:pt x="438" y="902"/>
                    </a:cubicBezTo>
                    <a:cubicBezTo>
                      <a:pt x="441" y="893"/>
                      <a:pt x="442" y="881"/>
                      <a:pt x="442" y="881"/>
                    </a:cubicBezTo>
                    <a:cubicBezTo>
                      <a:pt x="444" y="831"/>
                      <a:pt x="444" y="831"/>
                      <a:pt x="444" y="831"/>
                    </a:cubicBezTo>
                    <a:cubicBezTo>
                      <a:pt x="455" y="801"/>
                      <a:pt x="455" y="801"/>
                      <a:pt x="455" y="801"/>
                    </a:cubicBezTo>
                    <a:cubicBezTo>
                      <a:pt x="453" y="767"/>
                      <a:pt x="453" y="767"/>
                      <a:pt x="453" y="767"/>
                    </a:cubicBezTo>
                    <a:cubicBezTo>
                      <a:pt x="453" y="767"/>
                      <a:pt x="463" y="756"/>
                      <a:pt x="464" y="749"/>
                    </a:cubicBezTo>
                    <a:cubicBezTo>
                      <a:pt x="465" y="742"/>
                      <a:pt x="451" y="727"/>
                      <a:pt x="451" y="727"/>
                    </a:cubicBezTo>
                    <a:cubicBezTo>
                      <a:pt x="451" y="727"/>
                      <a:pt x="450" y="715"/>
                      <a:pt x="448" y="706"/>
                    </a:cubicBezTo>
                    <a:cubicBezTo>
                      <a:pt x="446" y="697"/>
                      <a:pt x="425" y="688"/>
                      <a:pt x="425" y="688"/>
                    </a:cubicBezTo>
                    <a:cubicBezTo>
                      <a:pt x="427" y="646"/>
                      <a:pt x="427" y="646"/>
                      <a:pt x="427" y="646"/>
                    </a:cubicBezTo>
                    <a:cubicBezTo>
                      <a:pt x="449" y="641"/>
                      <a:pt x="449" y="641"/>
                      <a:pt x="449" y="641"/>
                    </a:cubicBezTo>
                    <a:cubicBezTo>
                      <a:pt x="449" y="641"/>
                      <a:pt x="458" y="645"/>
                      <a:pt x="471" y="643"/>
                    </a:cubicBezTo>
                    <a:cubicBezTo>
                      <a:pt x="484" y="641"/>
                      <a:pt x="465" y="621"/>
                      <a:pt x="465" y="621"/>
                    </a:cubicBezTo>
                    <a:cubicBezTo>
                      <a:pt x="458" y="623"/>
                      <a:pt x="458" y="623"/>
                      <a:pt x="458" y="623"/>
                    </a:cubicBezTo>
                    <a:cubicBezTo>
                      <a:pt x="442" y="616"/>
                      <a:pt x="442" y="616"/>
                      <a:pt x="442" y="616"/>
                    </a:cubicBezTo>
                    <a:cubicBezTo>
                      <a:pt x="442" y="616"/>
                      <a:pt x="434" y="587"/>
                      <a:pt x="443" y="582"/>
                    </a:cubicBezTo>
                    <a:cubicBezTo>
                      <a:pt x="452" y="577"/>
                      <a:pt x="466" y="590"/>
                      <a:pt x="466" y="590"/>
                    </a:cubicBezTo>
                    <a:cubicBezTo>
                      <a:pt x="510" y="586"/>
                      <a:pt x="510" y="586"/>
                      <a:pt x="510" y="586"/>
                    </a:cubicBezTo>
                    <a:cubicBezTo>
                      <a:pt x="510" y="586"/>
                      <a:pt x="510" y="569"/>
                      <a:pt x="516" y="569"/>
                    </a:cubicBezTo>
                    <a:cubicBezTo>
                      <a:pt x="522" y="569"/>
                      <a:pt x="527" y="585"/>
                      <a:pt x="533" y="584"/>
                    </a:cubicBezTo>
                    <a:cubicBezTo>
                      <a:pt x="539" y="583"/>
                      <a:pt x="548" y="560"/>
                      <a:pt x="555" y="563"/>
                    </a:cubicBezTo>
                    <a:cubicBezTo>
                      <a:pt x="562" y="566"/>
                      <a:pt x="557" y="573"/>
                      <a:pt x="557" y="573"/>
                    </a:cubicBezTo>
                    <a:cubicBezTo>
                      <a:pt x="557" y="573"/>
                      <a:pt x="560" y="574"/>
                      <a:pt x="562" y="580"/>
                    </a:cubicBezTo>
                    <a:cubicBezTo>
                      <a:pt x="564" y="586"/>
                      <a:pt x="564" y="614"/>
                      <a:pt x="564" y="614"/>
                    </a:cubicBezTo>
                    <a:cubicBezTo>
                      <a:pt x="581" y="614"/>
                      <a:pt x="581" y="614"/>
                      <a:pt x="581" y="614"/>
                    </a:cubicBezTo>
                    <a:cubicBezTo>
                      <a:pt x="581" y="614"/>
                      <a:pt x="575" y="605"/>
                      <a:pt x="576" y="600"/>
                    </a:cubicBezTo>
                    <a:cubicBezTo>
                      <a:pt x="577" y="595"/>
                      <a:pt x="566" y="569"/>
                      <a:pt x="566" y="569"/>
                    </a:cubicBezTo>
                    <a:cubicBezTo>
                      <a:pt x="566" y="569"/>
                      <a:pt x="563" y="549"/>
                      <a:pt x="563" y="545"/>
                    </a:cubicBezTo>
                    <a:cubicBezTo>
                      <a:pt x="563" y="541"/>
                      <a:pt x="541" y="527"/>
                      <a:pt x="541" y="527"/>
                    </a:cubicBezTo>
                    <a:cubicBezTo>
                      <a:pt x="531" y="524"/>
                      <a:pt x="531" y="524"/>
                      <a:pt x="531" y="524"/>
                    </a:cubicBezTo>
                    <a:cubicBezTo>
                      <a:pt x="531" y="524"/>
                      <a:pt x="560" y="506"/>
                      <a:pt x="560" y="496"/>
                    </a:cubicBezTo>
                    <a:cubicBezTo>
                      <a:pt x="560" y="486"/>
                      <a:pt x="544" y="472"/>
                      <a:pt x="544" y="472"/>
                    </a:cubicBezTo>
                    <a:cubicBezTo>
                      <a:pt x="544" y="472"/>
                      <a:pt x="543" y="463"/>
                      <a:pt x="543" y="460"/>
                    </a:cubicBezTo>
                    <a:cubicBezTo>
                      <a:pt x="543" y="457"/>
                      <a:pt x="534" y="453"/>
                      <a:pt x="534" y="453"/>
                    </a:cubicBezTo>
                    <a:cubicBezTo>
                      <a:pt x="534" y="453"/>
                      <a:pt x="536" y="430"/>
                      <a:pt x="536" y="424"/>
                    </a:cubicBezTo>
                    <a:cubicBezTo>
                      <a:pt x="536" y="418"/>
                      <a:pt x="534" y="400"/>
                      <a:pt x="533" y="395"/>
                    </a:cubicBezTo>
                    <a:cubicBezTo>
                      <a:pt x="532" y="390"/>
                      <a:pt x="542" y="385"/>
                      <a:pt x="545" y="382"/>
                    </a:cubicBezTo>
                    <a:cubicBezTo>
                      <a:pt x="548" y="379"/>
                      <a:pt x="547" y="364"/>
                      <a:pt x="547" y="364"/>
                    </a:cubicBezTo>
                    <a:cubicBezTo>
                      <a:pt x="547" y="364"/>
                      <a:pt x="564" y="356"/>
                      <a:pt x="558" y="343"/>
                    </a:cubicBezTo>
                    <a:cubicBezTo>
                      <a:pt x="552" y="331"/>
                      <a:pt x="533" y="346"/>
                      <a:pt x="533" y="346"/>
                    </a:cubicBezTo>
                    <a:cubicBezTo>
                      <a:pt x="514" y="344"/>
                      <a:pt x="514" y="344"/>
                      <a:pt x="514" y="344"/>
                    </a:cubicBezTo>
                    <a:cubicBezTo>
                      <a:pt x="514" y="344"/>
                      <a:pt x="511" y="351"/>
                      <a:pt x="503" y="350"/>
                    </a:cubicBezTo>
                    <a:cubicBezTo>
                      <a:pt x="495" y="349"/>
                      <a:pt x="493" y="342"/>
                      <a:pt x="485" y="342"/>
                    </a:cubicBezTo>
                    <a:cubicBezTo>
                      <a:pt x="477" y="342"/>
                      <a:pt x="479" y="349"/>
                      <a:pt x="479" y="349"/>
                    </a:cubicBezTo>
                    <a:cubicBezTo>
                      <a:pt x="479" y="349"/>
                      <a:pt x="471" y="352"/>
                      <a:pt x="463" y="350"/>
                    </a:cubicBezTo>
                    <a:cubicBezTo>
                      <a:pt x="455" y="347"/>
                      <a:pt x="436" y="305"/>
                      <a:pt x="436" y="305"/>
                    </a:cubicBezTo>
                    <a:cubicBezTo>
                      <a:pt x="418" y="304"/>
                      <a:pt x="418" y="304"/>
                      <a:pt x="418" y="304"/>
                    </a:cubicBezTo>
                    <a:cubicBezTo>
                      <a:pt x="418" y="304"/>
                      <a:pt x="409" y="297"/>
                      <a:pt x="404" y="297"/>
                    </a:cubicBezTo>
                    <a:cubicBezTo>
                      <a:pt x="399" y="297"/>
                      <a:pt x="398" y="303"/>
                      <a:pt x="393" y="304"/>
                    </a:cubicBezTo>
                    <a:cubicBezTo>
                      <a:pt x="388" y="305"/>
                      <a:pt x="370" y="298"/>
                      <a:pt x="365" y="298"/>
                    </a:cubicBezTo>
                    <a:cubicBezTo>
                      <a:pt x="361" y="298"/>
                      <a:pt x="350" y="303"/>
                      <a:pt x="341" y="300"/>
                    </a:cubicBezTo>
                    <a:cubicBezTo>
                      <a:pt x="332" y="297"/>
                      <a:pt x="333" y="279"/>
                      <a:pt x="333" y="279"/>
                    </a:cubicBezTo>
                    <a:cubicBezTo>
                      <a:pt x="323" y="279"/>
                      <a:pt x="323" y="279"/>
                      <a:pt x="323" y="279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24" y="252"/>
                      <a:pt x="330" y="249"/>
                      <a:pt x="332" y="236"/>
                    </a:cubicBezTo>
                    <a:cubicBezTo>
                      <a:pt x="334" y="224"/>
                      <a:pt x="318" y="215"/>
                      <a:pt x="318" y="215"/>
                    </a:cubicBezTo>
                    <a:cubicBezTo>
                      <a:pt x="318" y="215"/>
                      <a:pt x="317" y="209"/>
                      <a:pt x="317" y="200"/>
                    </a:cubicBezTo>
                    <a:cubicBezTo>
                      <a:pt x="317" y="191"/>
                      <a:pt x="310" y="177"/>
                      <a:pt x="303" y="177"/>
                    </a:cubicBezTo>
                    <a:cubicBezTo>
                      <a:pt x="296" y="177"/>
                      <a:pt x="292" y="191"/>
                      <a:pt x="287" y="182"/>
                    </a:cubicBezTo>
                    <a:cubicBezTo>
                      <a:pt x="282" y="174"/>
                      <a:pt x="306" y="153"/>
                      <a:pt x="306" y="153"/>
                    </a:cubicBezTo>
                    <a:cubicBezTo>
                      <a:pt x="306" y="135"/>
                      <a:pt x="306" y="135"/>
                      <a:pt x="306" y="135"/>
                    </a:cubicBezTo>
                    <a:cubicBezTo>
                      <a:pt x="312" y="130"/>
                      <a:pt x="312" y="130"/>
                      <a:pt x="312" y="130"/>
                    </a:cubicBezTo>
                    <a:cubicBezTo>
                      <a:pt x="312" y="130"/>
                      <a:pt x="312" y="110"/>
                      <a:pt x="320" y="97"/>
                    </a:cubicBezTo>
                    <a:cubicBezTo>
                      <a:pt x="327" y="84"/>
                      <a:pt x="336" y="80"/>
                      <a:pt x="347" y="76"/>
                    </a:cubicBezTo>
                    <a:cubicBezTo>
                      <a:pt x="358" y="73"/>
                      <a:pt x="359" y="58"/>
                      <a:pt x="359" y="58"/>
                    </a:cubicBezTo>
                    <a:cubicBezTo>
                      <a:pt x="359" y="58"/>
                      <a:pt x="376" y="48"/>
                      <a:pt x="381" y="47"/>
                    </a:cubicBezTo>
                    <a:cubicBezTo>
                      <a:pt x="386" y="46"/>
                      <a:pt x="401" y="42"/>
                      <a:pt x="402" y="21"/>
                    </a:cubicBezTo>
                    <a:cubicBezTo>
                      <a:pt x="403" y="0"/>
                      <a:pt x="361" y="16"/>
                      <a:pt x="355" y="17"/>
                    </a:cubicBezTo>
                    <a:cubicBezTo>
                      <a:pt x="349" y="18"/>
                      <a:pt x="349" y="38"/>
                      <a:pt x="342" y="45"/>
                    </a:cubicBezTo>
                    <a:cubicBezTo>
                      <a:pt x="335" y="52"/>
                      <a:pt x="324" y="45"/>
                      <a:pt x="317" y="46"/>
                    </a:cubicBezTo>
                    <a:cubicBezTo>
                      <a:pt x="310" y="47"/>
                      <a:pt x="296" y="70"/>
                      <a:pt x="296" y="70"/>
                    </a:cubicBezTo>
                    <a:cubicBezTo>
                      <a:pt x="271" y="74"/>
                      <a:pt x="271" y="74"/>
                      <a:pt x="271" y="74"/>
                    </a:cubicBezTo>
                    <a:cubicBezTo>
                      <a:pt x="271" y="74"/>
                      <a:pt x="265" y="65"/>
                      <a:pt x="258" y="69"/>
                    </a:cubicBezTo>
                    <a:cubicBezTo>
                      <a:pt x="251" y="74"/>
                      <a:pt x="251" y="86"/>
                      <a:pt x="251" y="86"/>
                    </a:cubicBezTo>
                    <a:cubicBezTo>
                      <a:pt x="251" y="86"/>
                      <a:pt x="246" y="100"/>
                      <a:pt x="239" y="101"/>
                    </a:cubicBezTo>
                    <a:cubicBezTo>
                      <a:pt x="232" y="103"/>
                      <a:pt x="240" y="92"/>
                      <a:pt x="240" y="92"/>
                    </a:cubicBezTo>
                    <a:cubicBezTo>
                      <a:pt x="240" y="92"/>
                      <a:pt x="234" y="87"/>
                      <a:pt x="230" y="87"/>
                    </a:cubicBezTo>
                    <a:cubicBezTo>
                      <a:pt x="227" y="87"/>
                      <a:pt x="212" y="91"/>
                      <a:pt x="207" y="94"/>
                    </a:cubicBezTo>
                    <a:cubicBezTo>
                      <a:pt x="202" y="98"/>
                      <a:pt x="187" y="112"/>
                      <a:pt x="183" y="119"/>
                    </a:cubicBezTo>
                    <a:cubicBezTo>
                      <a:pt x="180" y="126"/>
                      <a:pt x="188" y="135"/>
                      <a:pt x="188" y="135"/>
                    </a:cubicBezTo>
                    <a:cubicBezTo>
                      <a:pt x="177" y="155"/>
                      <a:pt x="177" y="155"/>
                      <a:pt x="177" y="155"/>
                    </a:cubicBezTo>
                    <a:cubicBezTo>
                      <a:pt x="184" y="171"/>
                      <a:pt x="184" y="171"/>
                      <a:pt x="184" y="171"/>
                    </a:cubicBezTo>
                    <a:cubicBezTo>
                      <a:pt x="184" y="171"/>
                      <a:pt x="168" y="172"/>
                      <a:pt x="162" y="175"/>
                    </a:cubicBezTo>
                    <a:cubicBezTo>
                      <a:pt x="156" y="177"/>
                      <a:pt x="150" y="191"/>
                      <a:pt x="147" y="198"/>
                    </a:cubicBezTo>
                    <a:cubicBezTo>
                      <a:pt x="143" y="205"/>
                      <a:pt x="129" y="207"/>
                      <a:pt x="129" y="207"/>
                    </a:cubicBezTo>
                    <a:cubicBezTo>
                      <a:pt x="115" y="213"/>
                      <a:pt x="115" y="213"/>
                      <a:pt x="115" y="213"/>
                    </a:cubicBezTo>
                    <a:cubicBezTo>
                      <a:pt x="123" y="229"/>
                      <a:pt x="123" y="229"/>
                      <a:pt x="123" y="229"/>
                    </a:cubicBezTo>
                    <a:cubicBezTo>
                      <a:pt x="123" y="229"/>
                      <a:pt x="126" y="252"/>
                      <a:pt x="118" y="254"/>
                    </a:cubicBezTo>
                    <a:cubicBezTo>
                      <a:pt x="110" y="256"/>
                      <a:pt x="116" y="246"/>
                      <a:pt x="115" y="236"/>
                    </a:cubicBezTo>
                    <a:cubicBezTo>
                      <a:pt x="113" y="227"/>
                      <a:pt x="93" y="215"/>
                      <a:pt x="93" y="215"/>
                    </a:cubicBezTo>
                    <a:cubicBezTo>
                      <a:pt x="93" y="215"/>
                      <a:pt x="89" y="221"/>
                      <a:pt x="89" y="228"/>
                    </a:cubicBezTo>
                    <a:cubicBezTo>
                      <a:pt x="89" y="235"/>
                      <a:pt x="102" y="242"/>
                      <a:pt x="102" y="242"/>
                    </a:cubicBezTo>
                    <a:cubicBezTo>
                      <a:pt x="102" y="242"/>
                      <a:pt x="102" y="259"/>
                      <a:pt x="92" y="267"/>
                    </a:cubicBezTo>
                    <a:cubicBezTo>
                      <a:pt x="83" y="275"/>
                      <a:pt x="76" y="265"/>
                      <a:pt x="76" y="265"/>
                    </a:cubicBezTo>
                    <a:cubicBezTo>
                      <a:pt x="66" y="286"/>
                      <a:pt x="66" y="286"/>
                      <a:pt x="66" y="286"/>
                    </a:cubicBezTo>
                    <a:cubicBezTo>
                      <a:pt x="74" y="301"/>
                      <a:pt x="74" y="301"/>
                      <a:pt x="74" y="301"/>
                    </a:cubicBezTo>
                    <a:cubicBezTo>
                      <a:pt x="74" y="308"/>
                      <a:pt x="74" y="308"/>
                      <a:pt x="74" y="308"/>
                    </a:cubicBezTo>
                    <a:cubicBezTo>
                      <a:pt x="74" y="308"/>
                      <a:pt x="81" y="313"/>
                      <a:pt x="87" y="325"/>
                    </a:cubicBezTo>
                    <a:cubicBezTo>
                      <a:pt x="93" y="337"/>
                      <a:pt x="77" y="338"/>
                      <a:pt x="77" y="338"/>
                    </a:cubicBezTo>
                    <a:cubicBezTo>
                      <a:pt x="87" y="353"/>
                      <a:pt x="87" y="353"/>
                      <a:pt x="87" y="353"/>
                    </a:cubicBezTo>
                    <a:cubicBezTo>
                      <a:pt x="92" y="375"/>
                      <a:pt x="92" y="375"/>
                      <a:pt x="92" y="375"/>
                    </a:cubicBezTo>
                    <a:cubicBezTo>
                      <a:pt x="77" y="378"/>
                      <a:pt x="77" y="378"/>
                      <a:pt x="77" y="378"/>
                    </a:cubicBezTo>
                    <a:cubicBezTo>
                      <a:pt x="87" y="391"/>
                      <a:pt x="87" y="391"/>
                      <a:pt x="87" y="391"/>
                    </a:cubicBezTo>
                    <a:cubicBezTo>
                      <a:pt x="87" y="431"/>
                      <a:pt x="87" y="431"/>
                      <a:pt x="87" y="431"/>
                    </a:cubicBezTo>
                    <a:cubicBezTo>
                      <a:pt x="87" y="431"/>
                      <a:pt x="74" y="441"/>
                      <a:pt x="74" y="454"/>
                    </a:cubicBezTo>
                    <a:cubicBezTo>
                      <a:pt x="74" y="467"/>
                      <a:pt x="91" y="467"/>
                      <a:pt x="92" y="482"/>
                    </a:cubicBezTo>
                    <a:cubicBezTo>
                      <a:pt x="93" y="497"/>
                      <a:pt x="65" y="514"/>
                      <a:pt x="65" y="514"/>
                    </a:cubicBezTo>
                    <a:cubicBezTo>
                      <a:pt x="74" y="522"/>
                      <a:pt x="74" y="522"/>
                      <a:pt x="74" y="522"/>
                    </a:cubicBezTo>
                    <a:cubicBezTo>
                      <a:pt x="55" y="539"/>
                      <a:pt x="55" y="539"/>
                      <a:pt x="55" y="539"/>
                    </a:cubicBezTo>
                    <a:cubicBezTo>
                      <a:pt x="55" y="539"/>
                      <a:pt x="34" y="539"/>
                      <a:pt x="26" y="548"/>
                    </a:cubicBezTo>
                    <a:cubicBezTo>
                      <a:pt x="18" y="558"/>
                      <a:pt x="26" y="580"/>
                      <a:pt x="26" y="580"/>
                    </a:cubicBezTo>
                    <a:cubicBezTo>
                      <a:pt x="26" y="580"/>
                      <a:pt x="1" y="572"/>
                      <a:pt x="0" y="586"/>
                    </a:cubicBezTo>
                    <a:cubicBezTo>
                      <a:pt x="0" y="588"/>
                      <a:pt x="0" y="590"/>
                      <a:pt x="0" y="592"/>
                    </a:cubicBezTo>
                    <a:cubicBezTo>
                      <a:pt x="5" y="598"/>
                      <a:pt x="15" y="611"/>
                      <a:pt x="23" y="61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7" name="MCShape 20">
                <a:extLst>
                  <a:ext uri="{FF2B5EF4-FFF2-40B4-BE49-F238E27FC236}">
                    <a16:creationId xmlns:a16="http://schemas.microsoft.com/office/drawing/2014/main" id="{B0FBDEB8-5373-42D2-B7EA-3E0ABB7D88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4578" y="4827195"/>
                <a:ext cx="238198" cy="267586"/>
              </a:xfrm>
              <a:custGeom>
                <a:avLst/>
                <a:gdLst>
                  <a:gd name="T0" fmla="*/ 326 w 407"/>
                  <a:gd name="T1" fmla="*/ 441 h 452"/>
                  <a:gd name="T2" fmla="*/ 333 w 407"/>
                  <a:gd name="T3" fmla="*/ 452 h 452"/>
                  <a:gd name="T4" fmla="*/ 342 w 407"/>
                  <a:gd name="T5" fmla="*/ 435 h 452"/>
                  <a:gd name="T6" fmla="*/ 356 w 407"/>
                  <a:gd name="T7" fmla="*/ 439 h 452"/>
                  <a:gd name="T8" fmla="*/ 369 w 407"/>
                  <a:gd name="T9" fmla="*/ 415 h 452"/>
                  <a:gd name="T10" fmla="*/ 399 w 407"/>
                  <a:gd name="T11" fmla="*/ 390 h 452"/>
                  <a:gd name="T12" fmla="*/ 399 w 407"/>
                  <a:gd name="T13" fmla="*/ 344 h 452"/>
                  <a:gd name="T14" fmla="*/ 396 w 407"/>
                  <a:gd name="T15" fmla="*/ 331 h 452"/>
                  <a:gd name="T16" fmla="*/ 399 w 407"/>
                  <a:gd name="T17" fmla="*/ 311 h 452"/>
                  <a:gd name="T18" fmla="*/ 405 w 407"/>
                  <a:gd name="T19" fmla="*/ 276 h 452"/>
                  <a:gd name="T20" fmla="*/ 388 w 407"/>
                  <a:gd name="T21" fmla="*/ 244 h 452"/>
                  <a:gd name="T22" fmla="*/ 358 w 407"/>
                  <a:gd name="T23" fmla="*/ 254 h 452"/>
                  <a:gd name="T24" fmla="*/ 338 w 407"/>
                  <a:gd name="T25" fmla="*/ 211 h 452"/>
                  <a:gd name="T26" fmla="*/ 333 w 407"/>
                  <a:gd name="T27" fmla="*/ 166 h 452"/>
                  <a:gd name="T28" fmla="*/ 296 w 407"/>
                  <a:gd name="T29" fmla="*/ 161 h 452"/>
                  <a:gd name="T30" fmla="*/ 221 w 407"/>
                  <a:gd name="T31" fmla="*/ 148 h 452"/>
                  <a:gd name="T32" fmla="*/ 220 w 407"/>
                  <a:gd name="T33" fmla="*/ 94 h 452"/>
                  <a:gd name="T34" fmla="*/ 211 w 407"/>
                  <a:gd name="T35" fmla="*/ 86 h 452"/>
                  <a:gd name="T36" fmla="*/ 211 w 407"/>
                  <a:gd name="T37" fmla="*/ 66 h 452"/>
                  <a:gd name="T38" fmla="*/ 200 w 407"/>
                  <a:gd name="T39" fmla="*/ 51 h 452"/>
                  <a:gd name="T40" fmla="*/ 187 w 407"/>
                  <a:gd name="T41" fmla="*/ 28 h 452"/>
                  <a:gd name="T42" fmla="*/ 152 w 407"/>
                  <a:gd name="T43" fmla="*/ 0 h 452"/>
                  <a:gd name="T44" fmla="*/ 99 w 407"/>
                  <a:gd name="T45" fmla="*/ 9 h 452"/>
                  <a:gd name="T46" fmla="*/ 30 w 407"/>
                  <a:gd name="T47" fmla="*/ 21 h 452"/>
                  <a:gd name="T48" fmla="*/ 26 w 407"/>
                  <a:gd name="T49" fmla="*/ 40 h 452"/>
                  <a:gd name="T50" fmla="*/ 7 w 407"/>
                  <a:gd name="T51" fmla="*/ 56 h 452"/>
                  <a:gd name="T52" fmla="*/ 16 w 407"/>
                  <a:gd name="T53" fmla="*/ 89 h 452"/>
                  <a:gd name="T54" fmla="*/ 10 w 407"/>
                  <a:gd name="T55" fmla="*/ 163 h 452"/>
                  <a:gd name="T56" fmla="*/ 23 w 407"/>
                  <a:gd name="T57" fmla="*/ 175 h 452"/>
                  <a:gd name="T58" fmla="*/ 48 w 407"/>
                  <a:gd name="T59" fmla="*/ 209 h 452"/>
                  <a:gd name="T60" fmla="*/ 84 w 407"/>
                  <a:gd name="T61" fmla="*/ 231 h 452"/>
                  <a:gd name="T62" fmla="*/ 88 w 407"/>
                  <a:gd name="T63" fmla="*/ 245 h 452"/>
                  <a:gd name="T64" fmla="*/ 133 w 407"/>
                  <a:gd name="T65" fmla="*/ 261 h 452"/>
                  <a:gd name="T66" fmla="*/ 164 w 407"/>
                  <a:gd name="T67" fmla="*/ 277 h 452"/>
                  <a:gd name="T68" fmla="*/ 220 w 407"/>
                  <a:gd name="T69" fmla="*/ 306 h 452"/>
                  <a:gd name="T70" fmla="*/ 258 w 407"/>
                  <a:gd name="T71" fmla="*/ 322 h 452"/>
                  <a:gd name="T72" fmla="*/ 246 w 407"/>
                  <a:gd name="T73" fmla="*/ 347 h 452"/>
                  <a:gd name="T74" fmla="*/ 255 w 407"/>
                  <a:gd name="T75" fmla="*/ 362 h 452"/>
                  <a:gd name="T76" fmla="*/ 239 w 407"/>
                  <a:gd name="T77" fmla="*/ 369 h 452"/>
                  <a:gd name="T78" fmla="*/ 239 w 407"/>
                  <a:gd name="T79" fmla="*/ 391 h 452"/>
                  <a:gd name="T80" fmla="*/ 224 w 407"/>
                  <a:gd name="T81" fmla="*/ 425 h 452"/>
                  <a:gd name="T82" fmla="*/ 254 w 407"/>
                  <a:gd name="T83" fmla="*/ 425 h 452"/>
                  <a:gd name="T84" fmla="*/ 287 w 407"/>
                  <a:gd name="T85" fmla="*/ 439 h 452"/>
                  <a:gd name="T86" fmla="*/ 326 w 407"/>
                  <a:gd name="T87" fmla="*/ 441 h 45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07"/>
                  <a:gd name="T133" fmla="*/ 0 h 452"/>
                  <a:gd name="T134" fmla="*/ 407 w 407"/>
                  <a:gd name="T135" fmla="*/ 452 h 45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07" h="452">
                    <a:moveTo>
                      <a:pt x="326" y="441"/>
                    </a:moveTo>
                    <a:cubicBezTo>
                      <a:pt x="333" y="452"/>
                      <a:pt x="333" y="452"/>
                      <a:pt x="333" y="452"/>
                    </a:cubicBezTo>
                    <a:cubicBezTo>
                      <a:pt x="333" y="452"/>
                      <a:pt x="333" y="433"/>
                      <a:pt x="342" y="435"/>
                    </a:cubicBezTo>
                    <a:cubicBezTo>
                      <a:pt x="351" y="437"/>
                      <a:pt x="352" y="446"/>
                      <a:pt x="356" y="439"/>
                    </a:cubicBezTo>
                    <a:cubicBezTo>
                      <a:pt x="360" y="432"/>
                      <a:pt x="362" y="415"/>
                      <a:pt x="369" y="415"/>
                    </a:cubicBezTo>
                    <a:cubicBezTo>
                      <a:pt x="376" y="415"/>
                      <a:pt x="397" y="401"/>
                      <a:pt x="399" y="390"/>
                    </a:cubicBezTo>
                    <a:cubicBezTo>
                      <a:pt x="401" y="379"/>
                      <a:pt x="399" y="344"/>
                      <a:pt x="399" y="344"/>
                    </a:cubicBezTo>
                    <a:cubicBezTo>
                      <a:pt x="396" y="331"/>
                      <a:pt x="396" y="331"/>
                      <a:pt x="396" y="331"/>
                    </a:cubicBezTo>
                    <a:cubicBezTo>
                      <a:pt x="396" y="331"/>
                      <a:pt x="397" y="316"/>
                      <a:pt x="399" y="311"/>
                    </a:cubicBezTo>
                    <a:cubicBezTo>
                      <a:pt x="401" y="306"/>
                      <a:pt x="403" y="296"/>
                      <a:pt x="405" y="276"/>
                    </a:cubicBezTo>
                    <a:cubicBezTo>
                      <a:pt x="407" y="256"/>
                      <a:pt x="403" y="248"/>
                      <a:pt x="388" y="244"/>
                    </a:cubicBezTo>
                    <a:cubicBezTo>
                      <a:pt x="373" y="240"/>
                      <a:pt x="369" y="256"/>
                      <a:pt x="358" y="254"/>
                    </a:cubicBezTo>
                    <a:cubicBezTo>
                      <a:pt x="347" y="252"/>
                      <a:pt x="343" y="231"/>
                      <a:pt x="338" y="211"/>
                    </a:cubicBezTo>
                    <a:cubicBezTo>
                      <a:pt x="333" y="191"/>
                      <a:pt x="337" y="174"/>
                      <a:pt x="333" y="166"/>
                    </a:cubicBezTo>
                    <a:cubicBezTo>
                      <a:pt x="329" y="158"/>
                      <a:pt x="311" y="158"/>
                      <a:pt x="296" y="161"/>
                    </a:cubicBezTo>
                    <a:cubicBezTo>
                      <a:pt x="281" y="164"/>
                      <a:pt x="237" y="157"/>
                      <a:pt x="221" y="148"/>
                    </a:cubicBezTo>
                    <a:cubicBezTo>
                      <a:pt x="205" y="139"/>
                      <a:pt x="220" y="103"/>
                      <a:pt x="220" y="94"/>
                    </a:cubicBezTo>
                    <a:cubicBezTo>
                      <a:pt x="220" y="85"/>
                      <a:pt x="215" y="90"/>
                      <a:pt x="211" y="86"/>
                    </a:cubicBezTo>
                    <a:cubicBezTo>
                      <a:pt x="207" y="82"/>
                      <a:pt x="213" y="73"/>
                      <a:pt x="211" y="66"/>
                    </a:cubicBezTo>
                    <a:cubicBezTo>
                      <a:pt x="209" y="59"/>
                      <a:pt x="200" y="57"/>
                      <a:pt x="200" y="51"/>
                    </a:cubicBezTo>
                    <a:cubicBezTo>
                      <a:pt x="187" y="28"/>
                      <a:pt x="187" y="28"/>
                      <a:pt x="187" y="28"/>
                    </a:cubicBezTo>
                    <a:cubicBezTo>
                      <a:pt x="152" y="0"/>
                      <a:pt x="152" y="0"/>
                      <a:pt x="152" y="0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14" y="52"/>
                      <a:pt x="7" y="56"/>
                    </a:cubicBezTo>
                    <a:cubicBezTo>
                      <a:pt x="0" y="60"/>
                      <a:pt x="15" y="82"/>
                      <a:pt x="16" y="89"/>
                    </a:cubicBezTo>
                    <a:cubicBezTo>
                      <a:pt x="18" y="95"/>
                      <a:pt x="10" y="163"/>
                      <a:pt x="10" y="163"/>
                    </a:cubicBezTo>
                    <a:cubicBezTo>
                      <a:pt x="23" y="175"/>
                      <a:pt x="23" y="175"/>
                      <a:pt x="23" y="175"/>
                    </a:cubicBezTo>
                    <a:cubicBezTo>
                      <a:pt x="23" y="175"/>
                      <a:pt x="39" y="204"/>
                      <a:pt x="48" y="209"/>
                    </a:cubicBezTo>
                    <a:cubicBezTo>
                      <a:pt x="57" y="214"/>
                      <a:pt x="84" y="231"/>
                      <a:pt x="84" y="231"/>
                    </a:cubicBezTo>
                    <a:cubicBezTo>
                      <a:pt x="88" y="245"/>
                      <a:pt x="88" y="245"/>
                      <a:pt x="88" y="245"/>
                    </a:cubicBezTo>
                    <a:cubicBezTo>
                      <a:pt x="88" y="245"/>
                      <a:pt x="123" y="265"/>
                      <a:pt x="133" y="261"/>
                    </a:cubicBezTo>
                    <a:cubicBezTo>
                      <a:pt x="143" y="257"/>
                      <a:pt x="164" y="277"/>
                      <a:pt x="164" y="277"/>
                    </a:cubicBezTo>
                    <a:cubicBezTo>
                      <a:pt x="164" y="277"/>
                      <a:pt x="214" y="305"/>
                      <a:pt x="220" y="306"/>
                    </a:cubicBezTo>
                    <a:cubicBezTo>
                      <a:pt x="226" y="307"/>
                      <a:pt x="260" y="314"/>
                      <a:pt x="258" y="322"/>
                    </a:cubicBezTo>
                    <a:cubicBezTo>
                      <a:pt x="256" y="330"/>
                      <a:pt x="246" y="347"/>
                      <a:pt x="246" y="347"/>
                    </a:cubicBezTo>
                    <a:cubicBezTo>
                      <a:pt x="246" y="347"/>
                      <a:pt x="259" y="355"/>
                      <a:pt x="255" y="362"/>
                    </a:cubicBezTo>
                    <a:cubicBezTo>
                      <a:pt x="251" y="369"/>
                      <a:pt x="239" y="369"/>
                      <a:pt x="239" y="369"/>
                    </a:cubicBezTo>
                    <a:cubicBezTo>
                      <a:pt x="239" y="391"/>
                      <a:pt x="239" y="391"/>
                      <a:pt x="239" y="391"/>
                    </a:cubicBezTo>
                    <a:cubicBezTo>
                      <a:pt x="239" y="391"/>
                      <a:pt x="219" y="418"/>
                      <a:pt x="224" y="425"/>
                    </a:cubicBezTo>
                    <a:cubicBezTo>
                      <a:pt x="229" y="432"/>
                      <a:pt x="245" y="422"/>
                      <a:pt x="254" y="425"/>
                    </a:cubicBezTo>
                    <a:cubicBezTo>
                      <a:pt x="263" y="428"/>
                      <a:pt x="270" y="435"/>
                      <a:pt x="287" y="439"/>
                    </a:cubicBezTo>
                    <a:cubicBezTo>
                      <a:pt x="304" y="443"/>
                      <a:pt x="326" y="441"/>
                      <a:pt x="326" y="44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8" name="MCShape 21">
                <a:extLst>
                  <a:ext uri="{FF2B5EF4-FFF2-40B4-BE49-F238E27FC236}">
                    <a16:creationId xmlns:a16="http://schemas.microsoft.com/office/drawing/2014/main" id="{3D940937-CBFD-4406-91E5-555C30825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625" y="5170571"/>
                <a:ext cx="146940" cy="153127"/>
              </a:xfrm>
              <a:custGeom>
                <a:avLst/>
                <a:gdLst>
                  <a:gd name="T0" fmla="*/ 92 w 246"/>
                  <a:gd name="T1" fmla="*/ 249 h 258"/>
                  <a:gd name="T2" fmla="*/ 152 w 246"/>
                  <a:gd name="T3" fmla="*/ 253 h 258"/>
                  <a:gd name="T4" fmla="*/ 220 w 246"/>
                  <a:gd name="T5" fmla="*/ 244 h 258"/>
                  <a:gd name="T6" fmla="*/ 243 w 246"/>
                  <a:gd name="T7" fmla="*/ 196 h 258"/>
                  <a:gd name="T8" fmla="*/ 233 w 246"/>
                  <a:gd name="T9" fmla="*/ 197 h 258"/>
                  <a:gd name="T10" fmla="*/ 234 w 246"/>
                  <a:gd name="T11" fmla="*/ 176 h 258"/>
                  <a:gd name="T12" fmla="*/ 227 w 246"/>
                  <a:gd name="T13" fmla="*/ 169 h 258"/>
                  <a:gd name="T14" fmla="*/ 241 w 246"/>
                  <a:gd name="T15" fmla="*/ 140 h 258"/>
                  <a:gd name="T16" fmla="*/ 219 w 246"/>
                  <a:gd name="T17" fmla="*/ 127 h 258"/>
                  <a:gd name="T18" fmla="*/ 201 w 246"/>
                  <a:gd name="T19" fmla="*/ 98 h 258"/>
                  <a:gd name="T20" fmla="*/ 182 w 246"/>
                  <a:gd name="T21" fmla="*/ 95 h 258"/>
                  <a:gd name="T22" fmla="*/ 164 w 246"/>
                  <a:gd name="T23" fmla="*/ 76 h 258"/>
                  <a:gd name="T24" fmla="*/ 152 w 246"/>
                  <a:gd name="T25" fmla="*/ 67 h 258"/>
                  <a:gd name="T26" fmla="*/ 140 w 246"/>
                  <a:gd name="T27" fmla="*/ 65 h 258"/>
                  <a:gd name="T28" fmla="*/ 116 w 246"/>
                  <a:gd name="T29" fmla="*/ 43 h 258"/>
                  <a:gd name="T30" fmla="*/ 101 w 246"/>
                  <a:gd name="T31" fmla="*/ 54 h 258"/>
                  <a:gd name="T32" fmla="*/ 85 w 246"/>
                  <a:gd name="T33" fmla="*/ 31 h 258"/>
                  <a:gd name="T34" fmla="*/ 48 w 246"/>
                  <a:gd name="T35" fmla="*/ 2 h 258"/>
                  <a:gd name="T36" fmla="*/ 30 w 246"/>
                  <a:gd name="T37" fmla="*/ 10 h 258"/>
                  <a:gd name="T38" fmla="*/ 14 w 246"/>
                  <a:gd name="T39" fmla="*/ 9 h 258"/>
                  <a:gd name="T40" fmla="*/ 0 w 246"/>
                  <a:gd name="T41" fmla="*/ 24 h 258"/>
                  <a:gd name="T42" fmla="*/ 21 w 246"/>
                  <a:gd name="T43" fmla="*/ 41 h 258"/>
                  <a:gd name="T44" fmla="*/ 3 w 246"/>
                  <a:gd name="T45" fmla="*/ 48 h 258"/>
                  <a:gd name="T46" fmla="*/ 3 w 246"/>
                  <a:gd name="T47" fmla="*/ 75 h 258"/>
                  <a:gd name="T48" fmla="*/ 20 w 246"/>
                  <a:gd name="T49" fmla="*/ 85 h 258"/>
                  <a:gd name="T50" fmla="*/ 2 w 246"/>
                  <a:gd name="T51" fmla="*/ 93 h 258"/>
                  <a:gd name="T52" fmla="*/ 16 w 246"/>
                  <a:gd name="T53" fmla="*/ 114 h 258"/>
                  <a:gd name="T54" fmla="*/ 9 w 246"/>
                  <a:gd name="T55" fmla="*/ 124 h 258"/>
                  <a:gd name="T56" fmla="*/ 28 w 246"/>
                  <a:gd name="T57" fmla="*/ 152 h 258"/>
                  <a:gd name="T58" fmla="*/ 4 w 246"/>
                  <a:gd name="T59" fmla="*/ 158 h 258"/>
                  <a:gd name="T60" fmla="*/ 4 w 246"/>
                  <a:gd name="T61" fmla="*/ 190 h 258"/>
                  <a:gd name="T62" fmla="*/ 24 w 246"/>
                  <a:gd name="T63" fmla="*/ 215 h 258"/>
                  <a:gd name="T64" fmla="*/ 51 w 246"/>
                  <a:gd name="T65" fmla="*/ 234 h 258"/>
                  <a:gd name="T66" fmla="*/ 58 w 246"/>
                  <a:gd name="T67" fmla="*/ 238 h 258"/>
                  <a:gd name="T68" fmla="*/ 85 w 246"/>
                  <a:gd name="T69" fmla="*/ 238 h 258"/>
                  <a:gd name="T70" fmla="*/ 92 w 246"/>
                  <a:gd name="T71" fmla="*/ 249 h 25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6"/>
                  <a:gd name="T109" fmla="*/ 0 h 258"/>
                  <a:gd name="T110" fmla="*/ 246 w 246"/>
                  <a:gd name="T111" fmla="*/ 258 h 25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6" h="258">
                    <a:moveTo>
                      <a:pt x="92" y="249"/>
                    </a:moveTo>
                    <a:cubicBezTo>
                      <a:pt x="92" y="249"/>
                      <a:pt x="119" y="248"/>
                      <a:pt x="152" y="253"/>
                    </a:cubicBezTo>
                    <a:cubicBezTo>
                      <a:pt x="185" y="258"/>
                      <a:pt x="204" y="257"/>
                      <a:pt x="220" y="244"/>
                    </a:cubicBezTo>
                    <a:cubicBezTo>
                      <a:pt x="234" y="233"/>
                      <a:pt x="241" y="203"/>
                      <a:pt x="243" y="196"/>
                    </a:cubicBezTo>
                    <a:cubicBezTo>
                      <a:pt x="233" y="197"/>
                      <a:pt x="233" y="197"/>
                      <a:pt x="233" y="197"/>
                    </a:cubicBezTo>
                    <a:cubicBezTo>
                      <a:pt x="234" y="176"/>
                      <a:pt x="234" y="176"/>
                      <a:pt x="234" y="176"/>
                    </a:cubicBezTo>
                    <a:cubicBezTo>
                      <a:pt x="234" y="176"/>
                      <a:pt x="228" y="176"/>
                      <a:pt x="227" y="169"/>
                    </a:cubicBezTo>
                    <a:cubicBezTo>
                      <a:pt x="226" y="162"/>
                      <a:pt x="236" y="149"/>
                      <a:pt x="241" y="140"/>
                    </a:cubicBezTo>
                    <a:cubicBezTo>
                      <a:pt x="246" y="131"/>
                      <a:pt x="227" y="132"/>
                      <a:pt x="219" y="127"/>
                    </a:cubicBezTo>
                    <a:cubicBezTo>
                      <a:pt x="211" y="122"/>
                      <a:pt x="201" y="98"/>
                      <a:pt x="201" y="98"/>
                    </a:cubicBezTo>
                    <a:cubicBezTo>
                      <a:pt x="201" y="98"/>
                      <a:pt x="194" y="99"/>
                      <a:pt x="182" y="95"/>
                    </a:cubicBezTo>
                    <a:cubicBezTo>
                      <a:pt x="170" y="91"/>
                      <a:pt x="168" y="78"/>
                      <a:pt x="164" y="76"/>
                    </a:cubicBezTo>
                    <a:cubicBezTo>
                      <a:pt x="160" y="74"/>
                      <a:pt x="152" y="67"/>
                      <a:pt x="152" y="67"/>
                    </a:cubicBezTo>
                    <a:cubicBezTo>
                      <a:pt x="152" y="67"/>
                      <a:pt x="145" y="68"/>
                      <a:pt x="140" y="65"/>
                    </a:cubicBezTo>
                    <a:cubicBezTo>
                      <a:pt x="135" y="62"/>
                      <a:pt x="126" y="46"/>
                      <a:pt x="116" y="43"/>
                    </a:cubicBezTo>
                    <a:cubicBezTo>
                      <a:pt x="106" y="40"/>
                      <a:pt x="107" y="54"/>
                      <a:pt x="101" y="54"/>
                    </a:cubicBezTo>
                    <a:cubicBezTo>
                      <a:pt x="95" y="54"/>
                      <a:pt x="85" y="31"/>
                      <a:pt x="85" y="31"/>
                    </a:cubicBezTo>
                    <a:cubicBezTo>
                      <a:pt x="85" y="31"/>
                      <a:pt x="60" y="4"/>
                      <a:pt x="48" y="2"/>
                    </a:cubicBezTo>
                    <a:cubicBezTo>
                      <a:pt x="36" y="0"/>
                      <a:pt x="30" y="10"/>
                      <a:pt x="30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0" y="20"/>
                      <a:pt x="0" y="24"/>
                    </a:cubicBezTo>
                    <a:cubicBezTo>
                      <a:pt x="0" y="28"/>
                      <a:pt x="21" y="41"/>
                      <a:pt x="21" y="41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20" y="85"/>
                      <a:pt x="20" y="85"/>
                      <a:pt x="20" y="85"/>
                    </a:cubicBezTo>
                    <a:cubicBezTo>
                      <a:pt x="20" y="85"/>
                      <a:pt x="1" y="84"/>
                      <a:pt x="2" y="93"/>
                    </a:cubicBezTo>
                    <a:cubicBezTo>
                      <a:pt x="3" y="102"/>
                      <a:pt x="16" y="114"/>
                      <a:pt x="16" y="114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9" y="124"/>
                      <a:pt x="29" y="147"/>
                      <a:pt x="28" y="152"/>
                    </a:cubicBezTo>
                    <a:cubicBezTo>
                      <a:pt x="27" y="157"/>
                      <a:pt x="4" y="158"/>
                      <a:pt x="4" y="158"/>
                    </a:cubicBezTo>
                    <a:cubicBezTo>
                      <a:pt x="4" y="190"/>
                      <a:pt x="4" y="190"/>
                      <a:pt x="4" y="190"/>
                    </a:cubicBezTo>
                    <a:cubicBezTo>
                      <a:pt x="24" y="215"/>
                      <a:pt x="24" y="215"/>
                      <a:pt x="24" y="215"/>
                    </a:cubicBezTo>
                    <a:cubicBezTo>
                      <a:pt x="32" y="209"/>
                      <a:pt x="46" y="227"/>
                      <a:pt x="51" y="234"/>
                    </a:cubicBezTo>
                    <a:cubicBezTo>
                      <a:pt x="58" y="238"/>
                      <a:pt x="58" y="238"/>
                      <a:pt x="58" y="238"/>
                    </a:cubicBezTo>
                    <a:cubicBezTo>
                      <a:pt x="85" y="238"/>
                      <a:pt x="85" y="238"/>
                      <a:pt x="85" y="238"/>
                    </a:cubicBezTo>
                    <a:lnTo>
                      <a:pt x="92" y="24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39" name="MCShape 22">
                <a:extLst>
                  <a:ext uri="{FF2B5EF4-FFF2-40B4-BE49-F238E27FC236}">
                    <a16:creationId xmlns:a16="http://schemas.microsoft.com/office/drawing/2014/main" id="{0F85D3A7-5684-4909-956E-1E7E319CAB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69077" y="4909173"/>
                <a:ext cx="429993" cy="962071"/>
              </a:xfrm>
              <a:custGeom>
                <a:avLst/>
                <a:gdLst>
                  <a:gd name="T0" fmla="*/ 659 w 732"/>
                  <a:gd name="T1" fmla="*/ 333 h 1628"/>
                  <a:gd name="T2" fmla="*/ 726 w 732"/>
                  <a:gd name="T3" fmla="*/ 284 h 1628"/>
                  <a:gd name="T4" fmla="*/ 679 w 732"/>
                  <a:gd name="T5" fmla="*/ 205 h 1628"/>
                  <a:gd name="T6" fmla="*/ 622 w 732"/>
                  <a:gd name="T7" fmla="*/ 296 h 1628"/>
                  <a:gd name="T8" fmla="*/ 534 w 732"/>
                  <a:gd name="T9" fmla="*/ 286 h 1628"/>
                  <a:gd name="T10" fmla="*/ 535 w 732"/>
                  <a:gd name="T11" fmla="*/ 223 h 1628"/>
                  <a:gd name="T12" fmla="*/ 444 w 732"/>
                  <a:gd name="T13" fmla="*/ 138 h 1628"/>
                  <a:gd name="T14" fmla="*/ 328 w 732"/>
                  <a:gd name="T15" fmla="*/ 70 h 1628"/>
                  <a:gd name="T16" fmla="*/ 216 w 732"/>
                  <a:gd name="T17" fmla="*/ 13 h 1628"/>
                  <a:gd name="T18" fmla="*/ 115 w 732"/>
                  <a:gd name="T19" fmla="*/ 0 h 1628"/>
                  <a:gd name="T20" fmla="*/ 81 w 732"/>
                  <a:gd name="T21" fmla="*/ 32 h 1628"/>
                  <a:gd name="T22" fmla="*/ 82 w 732"/>
                  <a:gd name="T23" fmla="*/ 63 h 1628"/>
                  <a:gd name="T24" fmla="*/ 27 w 732"/>
                  <a:gd name="T25" fmla="*/ 199 h 1628"/>
                  <a:gd name="T26" fmla="*/ 35 w 732"/>
                  <a:gd name="T27" fmla="*/ 280 h 1628"/>
                  <a:gd name="T28" fmla="*/ 2 w 732"/>
                  <a:gd name="T29" fmla="*/ 401 h 1628"/>
                  <a:gd name="T30" fmla="*/ 0 w 732"/>
                  <a:gd name="T31" fmla="*/ 500 h 1628"/>
                  <a:gd name="T32" fmla="*/ 32 w 732"/>
                  <a:gd name="T33" fmla="*/ 564 h 1628"/>
                  <a:gd name="T34" fmla="*/ 63 w 732"/>
                  <a:gd name="T35" fmla="*/ 614 h 1628"/>
                  <a:gd name="T36" fmla="*/ 64 w 732"/>
                  <a:gd name="T37" fmla="*/ 724 h 1628"/>
                  <a:gd name="T38" fmla="*/ 68 w 732"/>
                  <a:gd name="T39" fmla="*/ 786 h 1628"/>
                  <a:gd name="T40" fmla="*/ 83 w 732"/>
                  <a:gd name="T41" fmla="*/ 872 h 1628"/>
                  <a:gd name="T42" fmla="*/ 87 w 732"/>
                  <a:gd name="T43" fmla="*/ 944 h 1628"/>
                  <a:gd name="T44" fmla="*/ 95 w 732"/>
                  <a:gd name="T45" fmla="*/ 990 h 1628"/>
                  <a:gd name="T46" fmla="*/ 129 w 732"/>
                  <a:gd name="T47" fmla="*/ 1082 h 1628"/>
                  <a:gd name="T48" fmla="*/ 143 w 732"/>
                  <a:gd name="T49" fmla="*/ 1145 h 1628"/>
                  <a:gd name="T50" fmla="*/ 170 w 732"/>
                  <a:gd name="T51" fmla="*/ 1213 h 1628"/>
                  <a:gd name="T52" fmla="*/ 205 w 732"/>
                  <a:gd name="T53" fmla="*/ 1257 h 1628"/>
                  <a:gd name="T54" fmla="*/ 217 w 732"/>
                  <a:gd name="T55" fmla="*/ 1321 h 1628"/>
                  <a:gd name="T56" fmla="*/ 210 w 732"/>
                  <a:gd name="T57" fmla="*/ 1394 h 1628"/>
                  <a:gd name="T58" fmla="*/ 214 w 732"/>
                  <a:gd name="T59" fmla="*/ 1450 h 1628"/>
                  <a:gd name="T60" fmla="*/ 216 w 732"/>
                  <a:gd name="T61" fmla="*/ 1513 h 1628"/>
                  <a:gd name="T62" fmla="*/ 290 w 732"/>
                  <a:gd name="T63" fmla="*/ 1562 h 1628"/>
                  <a:gd name="T64" fmla="*/ 347 w 732"/>
                  <a:gd name="T65" fmla="*/ 1612 h 1628"/>
                  <a:gd name="T66" fmla="*/ 437 w 732"/>
                  <a:gd name="T67" fmla="*/ 1628 h 1628"/>
                  <a:gd name="T68" fmla="*/ 438 w 732"/>
                  <a:gd name="T69" fmla="*/ 1589 h 1628"/>
                  <a:gd name="T70" fmla="*/ 409 w 732"/>
                  <a:gd name="T71" fmla="*/ 1534 h 1628"/>
                  <a:gd name="T72" fmla="*/ 412 w 732"/>
                  <a:gd name="T73" fmla="*/ 1501 h 1628"/>
                  <a:gd name="T74" fmla="*/ 441 w 732"/>
                  <a:gd name="T75" fmla="*/ 1451 h 1628"/>
                  <a:gd name="T76" fmla="*/ 476 w 732"/>
                  <a:gd name="T77" fmla="*/ 1359 h 1628"/>
                  <a:gd name="T78" fmla="*/ 379 w 732"/>
                  <a:gd name="T79" fmla="*/ 1301 h 1628"/>
                  <a:gd name="T80" fmla="*/ 407 w 732"/>
                  <a:gd name="T81" fmla="*/ 1240 h 1628"/>
                  <a:gd name="T82" fmla="*/ 443 w 732"/>
                  <a:gd name="T83" fmla="*/ 1217 h 1628"/>
                  <a:gd name="T84" fmla="*/ 456 w 732"/>
                  <a:gd name="T85" fmla="*/ 1130 h 1628"/>
                  <a:gd name="T86" fmla="*/ 486 w 732"/>
                  <a:gd name="T87" fmla="*/ 1113 h 1628"/>
                  <a:gd name="T88" fmla="*/ 404 w 732"/>
                  <a:gd name="T89" fmla="*/ 1089 h 1628"/>
                  <a:gd name="T90" fmla="*/ 465 w 732"/>
                  <a:gd name="T91" fmla="*/ 1039 h 1628"/>
                  <a:gd name="T92" fmla="*/ 501 w 732"/>
                  <a:gd name="T93" fmla="*/ 948 h 1628"/>
                  <a:gd name="T94" fmla="*/ 494 w 732"/>
                  <a:gd name="T95" fmla="*/ 934 h 1628"/>
                  <a:gd name="T96" fmla="*/ 554 w 732"/>
                  <a:gd name="T97" fmla="*/ 920 h 1628"/>
                  <a:gd name="T98" fmla="*/ 688 w 732"/>
                  <a:gd name="T99" fmla="*/ 847 h 1628"/>
                  <a:gd name="T100" fmla="*/ 667 w 732"/>
                  <a:gd name="T101" fmla="*/ 766 h 1628"/>
                  <a:gd name="T102" fmla="*/ 601 w 732"/>
                  <a:gd name="T103" fmla="*/ 696 h 1628"/>
                  <a:gd name="T104" fmla="*/ 570 w 732"/>
                  <a:gd name="T105" fmla="*/ 601 h 1628"/>
                  <a:gd name="T106" fmla="*/ 568 w 732"/>
                  <a:gd name="T107" fmla="*/ 536 h 1628"/>
                  <a:gd name="T108" fmla="*/ 587 w 732"/>
                  <a:gd name="T109" fmla="*/ 484 h 1628"/>
                  <a:gd name="T110" fmla="*/ 604 w 732"/>
                  <a:gd name="T111" fmla="*/ 419 h 1628"/>
                  <a:gd name="T112" fmla="*/ 619 w 732"/>
                  <a:gd name="T113" fmla="*/ 681 h 1628"/>
                  <a:gd name="T114" fmla="*/ 619 w 732"/>
                  <a:gd name="T115" fmla="*/ 681 h 16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32"/>
                  <a:gd name="T175" fmla="*/ 0 h 1628"/>
                  <a:gd name="T176" fmla="*/ 732 w 732"/>
                  <a:gd name="T177" fmla="*/ 1628 h 162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32" h="1628">
                    <a:moveTo>
                      <a:pt x="634" y="355"/>
                    </a:moveTo>
                    <a:cubicBezTo>
                      <a:pt x="650" y="351"/>
                      <a:pt x="650" y="351"/>
                      <a:pt x="650" y="351"/>
                    </a:cubicBezTo>
                    <a:cubicBezTo>
                      <a:pt x="653" y="335"/>
                      <a:pt x="653" y="335"/>
                      <a:pt x="653" y="335"/>
                    </a:cubicBezTo>
                    <a:cubicBezTo>
                      <a:pt x="659" y="333"/>
                      <a:pt x="659" y="333"/>
                      <a:pt x="659" y="333"/>
                    </a:cubicBezTo>
                    <a:cubicBezTo>
                      <a:pt x="660" y="322"/>
                      <a:pt x="660" y="322"/>
                      <a:pt x="660" y="322"/>
                    </a:cubicBezTo>
                    <a:cubicBezTo>
                      <a:pt x="681" y="320"/>
                      <a:pt x="681" y="320"/>
                      <a:pt x="681" y="320"/>
                    </a:cubicBezTo>
                    <a:cubicBezTo>
                      <a:pt x="681" y="320"/>
                      <a:pt x="681" y="302"/>
                      <a:pt x="692" y="297"/>
                    </a:cubicBezTo>
                    <a:cubicBezTo>
                      <a:pt x="703" y="292"/>
                      <a:pt x="720" y="290"/>
                      <a:pt x="726" y="284"/>
                    </a:cubicBezTo>
                    <a:cubicBezTo>
                      <a:pt x="732" y="278"/>
                      <a:pt x="724" y="240"/>
                      <a:pt x="724" y="231"/>
                    </a:cubicBezTo>
                    <a:cubicBezTo>
                      <a:pt x="724" y="222"/>
                      <a:pt x="713" y="223"/>
                      <a:pt x="713" y="223"/>
                    </a:cubicBezTo>
                    <a:cubicBezTo>
                      <a:pt x="713" y="223"/>
                      <a:pt x="709" y="202"/>
                      <a:pt x="702" y="198"/>
                    </a:cubicBezTo>
                    <a:cubicBezTo>
                      <a:pt x="695" y="194"/>
                      <a:pt x="679" y="205"/>
                      <a:pt x="679" y="205"/>
                    </a:cubicBezTo>
                    <a:cubicBezTo>
                      <a:pt x="679" y="205"/>
                      <a:pt x="681" y="240"/>
                      <a:pt x="679" y="251"/>
                    </a:cubicBezTo>
                    <a:cubicBezTo>
                      <a:pt x="677" y="262"/>
                      <a:pt x="656" y="276"/>
                      <a:pt x="649" y="276"/>
                    </a:cubicBezTo>
                    <a:cubicBezTo>
                      <a:pt x="642" y="276"/>
                      <a:pt x="640" y="293"/>
                      <a:pt x="636" y="300"/>
                    </a:cubicBezTo>
                    <a:cubicBezTo>
                      <a:pt x="632" y="307"/>
                      <a:pt x="631" y="298"/>
                      <a:pt x="622" y="296"/>
                    </a:cubicBezTo>
                    <a:cubicBezTo>
                      <a:pt x="613" y="294"/>
                      <a:pt x="613" y="313"/>
                      <a:pt x="613" y="313"/>
                    </a:cubicBezTo>
                    <a:cubicBezTo>
                      <a:pt x="606" y="302"/>
                      <a:pt x="606" y="302"/>
                      <a:pt x="606" y="302"/>
                    </a:cubicBezTo>
                    <a:cubicBezTo>
                      <a:pt x="606" y="302"/>
                      <a:pt x="584" y="304"/>
                      <a:pt x="567" y="300"/>
                    </a:cubicBezTo>
                    <a:cubicBezTo>
                      <a:pt x="550" y="296"/>
                      <a:pt x="543" y="289"/>
                      <a:pt x="534" y="286"/>
                    </a:cubicBezTo>
                    <a:cubicBezTo>
                      <a:pt x="525" y="283"/>
                      <a:pt x="509" y="293"/>
                      <a:pt x="504" y="286"/>
                    </a:cubicBezTo>
                    <a:cubicBezTo>
                      <a:pt x="499" y="279"/>
                      <a:pt x="519" y="252"/>
                      <a:pt x="519" y="252"/>
                    </a:cubicBezTo>
                    <a:cubicBezTo>
                      <a:pt x="519" y="230"/>
                      <a:pt x="519" y="230"/>
                      <a:pt x="519" y="230"/>
                    </a:cubicBezTo>
                    <a:cubicBezTo>
                      <a:pt x="519" y="230"/>
                      <a:pt x="531" y="230"/>
                      <a:pt x="535" y="223"/>
                    </a:cubicBezTo>
                    <a:cubicBezTo>
                      <a:pt x="539" y="216"/>
                      <a:pt x="526" y="208"/>
                      <a:pt x="526" y="208"/>
                    </a:cubicBezTo>
                    <a:cubicBezTo>
                      <a:pt x="526" y="208"/>
                      <a:pt x="536" y="191"/>
                      <a:pt x="538" y="183"/>
                    </a:cubicBezTo>
                    <a:cubicBezTo>
                      <a:pt x="540" y="175"/>
                      <a:pt x="506" y="168"/>
                      <a:pt x="500" y="167"/>
                    </a:cubicBezTo>
                    <a:cubicBezTo>
                      <a:pt x="494" y="166"/>
                      <a:pt x="444" y="138"/>
                      <a:pt x="444" y="138"/>
                    </a:cubicBezTo>
                    <a:cubicBezTo>
                      <a:pt x="444" y="138"/>
                      <a:pt x="423" y="118"/>
                      <a:pt x="413" y="122"/>
                    </a:cubicBezTo>
                    <a:cubicBezTo>
                      <a:pt x="403" y="126"/>
                      <a:pt x="368" y="106"/>
                      <a:pt x="368" y="106"/>
                    </a:cubicBezTo>
                    <a:cubicBezTo>
                      <a:pt x="364" y="92"/>
                      <a:pt x="364" y="92"/>
                      <a:pt x="364" y="92"/>
                    </a:cubicBezTo>
                    <a:cubicBezTo>
                      <a:pt x="364" y="92"/>
                      <a:pt x="337" y="75"/>
                      <a:pt x="328" y="70"/>
                    </a:cubicBezTo>
                    <a:cubicBezTo>
                      <a:pt x="319" y="65"/>
                      <a:pt x="303" y="36"/>
                      <a:pt x="303" y="36"/>
                    </a:cubicBezTo>
                    <a:cubicBezTo>
                      <a:pt x="290" y="24"/>
                      <a:pt x="290" y="24"/>
                      <a:pt x="290" y="24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16" y="13"/>
                      <a:pt x="216" y="13"/>
                      <a:pt x="216" y="13"/>
                    </a:cubicBezTo>
                    <a:cubicBezTo>
                      <a:pt x="211" y="50"/>
                      <a:pt x="211" y="50"/>
                      <a:pt x="211" y="50"/>
                    </a:cubicBezTo>
                    <a:cubicBezTo>
                      <a:pt x="189" y="16"/>
                      <a:pt x="189" y="16"/>
                      <a:pt x="189" y="16"/>
                    </a:cubicBezTo>
                    <a:cubicBezTo>
                      <a:pt x="189" y="16"/>
                      <a:pt x="147" y="17"/>
                      <a:pt x="134" y="13"/>
                    </a:cubicBezTo>
                    <a:cubicBezTo>
                      <a:pt x="120" y="9"/>
                      <a:pt x="115" y="0"/>
                      <a:pt x="115" y="0"/>
                    </a:cubicBezTo>
                    <a:cubicBezTo>
                      <a:pt x="107" y="17"/>
                      <a:pt x="107" y="17"/>
                      <a:pt x="107" y="17"/>
                    </a:cubicBezTo>
                    <a:cubicBezTo>
                      <a:pt x="92" y="20"/>
                      <a:pt x="92" y="20"/>
                      <a:pt x="92" y="20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51"/>
                      <a:pt x="81" y="51"/>
                      <a:pt x="81" y="51"/>
                    </a:cubicBezTo>
                    <a:cubicBezTo>
                      <a:pt x="81" y="51"/>
                      <a:pt x="78" y="52"/>
                      <a:pt x="74" y="52"/>
                    </a:cubicBezTo>
                    <a:cubicBezTo>
                      <a:pt x="74" y="52"/>
                      <a:pt x="75" y="52"/>
                      <a:pt x="75" y="52"/>
                    </a:cubicBezTo>
                    <a:cubicBezTo>
                      <a:pt x="82" y="63"/>
                      <a:pt x="82" y="63"/>
                      <a:pt x="82" y="63"/>
                    </a:cubicBezTo>
                    <a:cubicBezTo>
                      <a:pt x="76" y="119"/>
                      <a:pt x="76" y="119"/>
                      <a:pt x="76" y="119"/>
                    </a:cubicBezTo>
                    <a:cubicBezTo>
                      <a:pt x="76" y="119"/>
                      <a:pt x="21" y="143"/>
                      <a:pt x="22" y="157"/>
                    </a:cubicBezTo>
                    <a:cubicBezTo>
                      <a:pt x="23" y="171"/>
                      <a:pt x="50" y="165"/>
                      <a:pt x="41" y="174"/>
                    </a:cubicBezTo>
                    <a:cubicBezTo>
                      <a:pt x="32" y="183"/>
                      <a:pt x="22" y="192"/>
                      <a:pt x="27" y="199"/>
                    </a:cubicBezTo>
                    <a:cubicBezTo>
                      <a:pt x="32" y="206"/>
                      <a:pt x="51" y="214"/>
                      <a:pt x="50" y="224"/>
                    </a:cubicBezTo>
                    <a:cubicBezTo>
                      <a:pt x="49" y="234"/>
                      <a:pt x="32" y="246"/>
                      <a:pt x="32" y="246"/>
                    </a:cubicBezTo>
                    <a:cubicBezTo>
                      <a:pt x="32" y="246"/>
                      <a:pt x="63" y="257"/>
                      <a:pt x="60" y="268"/>
                    </a:cubicBezTo>
                    <a:cubicBezTo>
                      <a:pt x="57" y="279"/>
                      <a:pt x="35" y="280"/>
                      <a:pt x="35" y="280"/>
                    </a:cubicBezTo>
                    <a:cubicBezTo>
                      <a:pt x="35" y="280"/>
                      <a:pt x="29" y="318"/>
                      <a:pt x="28" y="323"/>
                    </a:cubicBezTo>
                    <a:cubicBezTo>
                      <a:pt x="27" y="328"/>
                      <a:pt x="9" y="336"/>
                      <a:pt x="9" y="346"/>
                    </a:cubicBezTo>
                    <a:cubicBezTo>
                      <a:pt x="9" y="356"/>
                      <a:pt x="14" y="381"/>
                      <a:pt x="12" y="385"/>
                    </a:cubicBezTo>
                    <a:cubicBezTo>
                      <a:pt x="10" y="389"/>
                      <a:pt x="1" y="397"/>
                      <a:pt x="2" y="401"/>
                    </a:cubicBezTo>
                    <a:cubicBezTo>
                      <a:pt x="3" y="405"/>
                      <a:pt x="26" y="450"/>
                      <a:pt x="21" y="455"/>
                    </a:cubicBezTo>
                    <a:cubicBezTo>
                      <a:pt x="16" y="460"/>
                      <a:pt x="7" y="455"/>
                      <a:pt x="7" y="455"/>
                    </a:cubicBezTo>
                    <a:cubicBezTo>
                      <a:pt x="10" y="494"/>
                      <a:pt x="10" y="494"/>
                      <a:pt x="10" y="494"/>
                    </a:cubicBezTo>
                    <a:cubicBezTo>
                      <a:pt x="10" y="494"/>
                      <a:pt x="0" y="495"/>
                      <a:pt x="0" y="500"/>
                    </a:cubicBezTo>
                    <a:cubicBezTo>
                      <a:pt x="0" y="505"/>
                      <a:pt x="2" y="522"/>
                      <a:pt x="2" y="522"/>
                    </a:cubicBezTo>
                    <a:cubicBezTo>
                      <a:pt x="2" y="522"/>
                      <a:pt x="25" y="537"/>
                      <a:pt x="23" y="541"/>
                    </a:cubicBezTo>
                    <a:cubicBezTo>
                      <a:pt x="21" y="545"/>
                      <a:pt x="19" y="554"/>
                      <a:pt x="19" y="554"/>
                    </a:cubicBezTo>
                    <a:cubicBezTo>
                      <a:pt x="32" y="564"/>
                      <a:pt x="32" y="564"/>
                      <a:pt x="32" y="564"/>
                    </a:cubicBezTo>
                    <a:cubicBezTo>
                      <a:pt x="40" y="585"/>
                      <a:pt x="40" y="585"/>
                      <a:pt x="40" y="585"/>
                    </a:cubicBezTo>
                    <a:cubicBezTo>
                      <a:pt x="43" y="591"/>
                      <a:pt x="43" y="591"/>
                      <a:pt x="43" y="591"/>
                    </a:cubicBezTo>
                    <a:cubicBezTo>
                      <a:pt x="43" y="591"/>
                      <a:pt x="35" y="610"/>
                      <a:pt x="47" y="613"/>
                    </a:cubicBezTo>
                    <a:cubicBezTo>
                      <a:pt x="59" y="616"/>
                      <a:pt x="63" y="614"/>
                      <a:pt x="63" y="614"/>
                    </a:cubicBezTo>
                    <a:cubicBezTo>
                      <a:pt x="65" y="639"/>
                      <a:pt x="65" y="639"/>
                      <a:pt x="65" y="639"/>
                    </a:cubicBezTo>
                    <a:cubicBezTo>
                      <a:pt x="65" y="639"/>
                      <a:pt x="80" y="658"/>
                      <a:pt x="77" y="664"/>
                    </a:cubicBezTo>
                    <a:cubicBezTo>
                      <a:pt x="74" y="670"/>
                      <a:pt x="65" y="677"/>
                      <a:pt x="65" y="681"/>
                    </a:cubicBezTo>
                    <a:cubicBezTo>
                      <a:pt x="65" y="685"/>
                      <a:pt x="64" y="724"/>
                      <a:pt x="64" y="724"/>
                    </a:cubicBezTo>
                    <a:cubicBezTo>
                      <a:pt x="55" y="725"/>
                      <a:pt x="55" y="725"/>
                      <a:pt x="55" y="725"/>
                    </a:cubicBezTo>
                    <a:cubicBezTo>
                      <a:pt x="55" y="725"/>
                      <a:pt x="72" y="743"/>
                      <a:pt x="73" y="753"/>
                    </a:cubicBezTo>
                    <a:cubicBezTo>
                      <a:pt x="74" y="763"/>
                      <a:pt x="70" y="774"/>
                      <a:pt x="70" y="774"/>
                    </a:cubicBezTo>
                    <a:cubicBezTo>
                      <a:pt x="68" y="786"/>
                      <a:pt x="68" y="786"/>
                      <a:pt x="68" y="786"/>
                    </a:cubicBezTo>
                    <a:cubicBezTo>
                      <a:pt x="51" y="787"/>
                      <a:pt x="51" y="787"/>
                      <a:pt x="51" y="787"/>
                    </a:cubicBezTo>
                    <a:cubicBezTo>
                      <a:pt x="51" y="787"/>
                      <a:pt x="63" y="820"/>
                      <a:pt x="63" y="827"/>
                    </a:cubicBezTo>
                    <a:cubicBezTo>
                      <a:pt x="63" y="834"/>
                      <a:pt x="63" y="855"/>
                      <a:pt x="63" y="855"/>
                    </a:cubicBezTo>
                    <a:cubicBezTo>
                      <a:pt x="83" y="872"/>
                      <a:pt x="83" y="872"/>
                      <a:pt x="83" y="872"/>
                    </a:cubicBezTo>
                    <a:cubicBezTo>
                      <a:pt x="84" y="884"/>
                      <a:pt x="84" y="884"/>
                      <a:pt x="84" y="884"/>
                    </a:cubicBezTo>
                    <a:cubicBezTo>
                      <a:pt x="84" y="884"/>
                      <a:pt x="103" y="893"/>
                      <a:pt x="98" y="902"/>
                    </a:cubicBezTo>
                    <a:cubicBezTo>
                      <a:pt x="93" y="911"/>
                      <a:pt x="79" y="916"/>
                      <a:pt x="79" y="916"/>
                    </a:cubicBezTo>
                    <a:cubicBezTo>
                      <a:pt x="87" y="944"/>
                      <a:pt x="87" y="944"/>
                      <a:pt x="87" y="944"/>
                    </a:cubicBezTo>
                    <a:cubicBezTo>
                      <a:pt x="74" y="953"/>
                      <a:pt x="74" y="953"/>
                      <a:pt x="74" y="953"/>
                    </a:cubicBezTo>
                    <a:cubicBezTo>
                      <a:pt x="74" y="953"/>
                      <a:pt x="84" y="958"/>
                      <a:pt x="85" y="966"/>
                    </a:cubicBezTo>
                    <a:cubicBezTo>
                      <a:pt x="86" y="974"/>
                      <a:pt x="81" y="982"/>
                      <a:pt x="81" y="982"/>
                    </a:cubicBezTo>
                    <a:cubicBezTo>
                      <a:pt x="95" y="990"/>
                      <a:pt x="95" y="990"/>
                      <a:pt x="95" y="990"/>
                    </a:cubicBezTo>
                    <a:cubicBezTo>
                      <a:pt x="95" y="990"/>
                      <a:pt x="90" y="1008"/>
                      <a:pt x="91" y="1014"/>
                    </a:cubicBezTo>
                    <a:cubicBezTo>
                      <a:pt x="92" y="1020"/>
                      <a:pt x="99" y="1031"/>
                      <a:pt x="99" y="1031"/>
                    </a:cubicBezTo>
                    <a:cubicBezTo>
                      <a:pt x="99" y="1031"/>
                      <a:pt x="99" y="1050"/>
                      <a:pt x="102" y="1056"/>
                    </a:cubicBezTo>
                    <a:cubicBezTo>
                      <a:pt x="105" y="1062"/>
                      <a:pt x="134" y="1083"/>
                      <a:pt x="129" y="1082"/>
                    </a:cubicBezTo>
                    <a:cubicBezTo>
                      <a:pt x="124" y="1081"/>
                      <a:pt x="113" y="1090"/>
                      <a:pt x="113" y="1090"/>
                    </a:cubicBezTo>
                    <a:cubicBezTo>
                      <a:pt x="113" y="1090"/>
                      <a:pt x="118" y="1120"/>
                      <a:pt x="121" y="1128"/>
                    </a:cubicBezTo>
                    <a:cubicBezTo>
                      <a:pt x="124" y="1136"/>
                      <a:pt x="133" y="1140"/>
                      <a:pt x="133" y="1140"/>
                    </a:cubicBezTo>
                    <a:cubicBezTo>
                      <a:pt x="143" y="1145"/>
                      <a:pt x="143" y="1145"/>
                      <a:pt x="143" y="1145"/>
                    </a:cubicBezTo>
                    <a:cubicBezTo>
                      <a:pt x="139" y="1163"/>
                      <a:pt x="139" y="1163"/>
                      <a:pt x="139" y="1163"/>
                    </a:cubicBezTo>
                    <a:cubicBezTo>
                      <a:pt x="139" y="1163"/>
                      <a:pt x="155" y="1164"/>
                      <a:pt x="156" y="1175"/>
                    </a:cubicBezTo>
                    <a:cubicBezTo>
                      <a:pt x="157" y="1186"/>
                      <a:pt x="158" y="1203"/>
                      <a:pt x="158" y="1203"/>
                    </a:cubicBezTo>
                    <a:cubicBezTo>
                      <a:pt x="158" y="1203"/>
                      <a:pt x="163" y="1213"/>
                      <a:pt x="170" y="1213"/>
                    </a:cubicBezTo>
                    <a:cubicBezTo>
                      <a:pt x="177" y="1213"/>
                      <a:pt x="196" y="1208"/>
                      <a:pt x="194" y="1219"/>
                    </a:cubicBezTo>
                    <a:cubicBezTo>
                      <a:pt x="192" y="1230"/>
                      <a:pt x="160" y="1227"/>
                      <a:pt x="161" y="1230"/>
                    </a:cubicBezTo>
                    <a:cubicBezTo>
                      <a:pt x="162" y="1233"/>
                      <a:pt x="185" y="1240"/>
                      <a:pt x="185" y="1240"/>
                    </a:cubicBezTo>
                    <a:cubicBezTo>
                      <a:pt x="185" y="1240"/>
                      <a:pt x="208" y="1249"/>
                      <a:pt x="205" y="1257"/>
                    </a:cubicBezTo>
                    <a:cubicBezTo>
                      <a:pt x="202" y="1265"/>
                      <a:pt x="189" y="1276"/>
                      <a:pt x="189" y="1276"/>
                    </a:cubicBezTo>
                    <a:cubicBezTo>
                      <a:pt x="205" y="1288"/>
                      <a:pt x="205" y="1288"/>
                      <a:pt x="205" y="1288"/>
                    </a:cubicBezTo>
                    <a:cubicBezTo>
                      <a:pt x="202" y="1303"/>
                      <a:pt x="202" y="1303"/>
                      <a:pt x="202" y="1303"/>
                    </a:cubicBezTo>
                    <a:cubicBezTo>
                      <a:pt x="217" y="1321"/>
                      <a:pt x="217" y="1321"/>
                      <a:pt x="217" y="1321"/>
                    </a:cubicBezTo>
                    <a:cubicBezTo>
                      <a:pt x="214" y="1343"/>
                      <a:pt x="214" y="1343"/>
                      <a:pt x="214" y="1343"/>
                    </a:cubicBezTo>
                    <a:cubicBezTo>
                      <a:pt x="224" y="1360"/>
                      <a:pt x="224" y="1360"/>
                      <a:pt x="224" y="1360"/>
                    </a:cubicBezTo>
                    <a:cubicBezTo>
                      <a:pt x="213" y="1364"/>
                      <a:pt x="213" y="1364"/>
                      <a:pt x="213" y="1364"/>
                    </a:cubicBezTo>
                    <a:cubicBezTo>
                      <a:pt x="210" y="1394"/>
                      <a:pt x="210" y="1394"/>
                      <a:pt x="210" y="1394"/>
                    </a:cubicBezTo>
                    <a:cubicBezTo>
                      <a:pt x="210" y="1394"/>
                      <a:pt x="229" y="1405"/>
                      <a:pt x="230" y="1408"/>
                    </a:cubicBezTo>
                    <a:cubicBezTo>
                      <a:pt x="231" y="1411"/>
                      <a:pt x="215" y="1420"/>
                      <a:pt x="215" y="1420"/>
                    </a:cubicBezTo>
                    <a:cubicBezTo>
                      <a:pt x="215" y="1420"/>
                      <a:pt x="235" y="1435"/>
                      <a:pt x="232" y="1440"/>
                    </a:cubicBezTo>
                    <a:cubicBezTo>
                      <a:pt x="229" y="1445"/>
                      <a:pt x="214" y="1450"/>
                      <a:pt x="214" y="1450"/>
                    </a:cubicBezTo>
                    <a:cubicBezTo>
                      <a:pt x="213" y="1463"/>
                      <a:pt x="213" y="1463"/>
                      <a:pt x="213" y="1463"/>
                    </a:cubicBezTo>
                    <a:cubicBezTo>
                      <a:pt x="206" y="1467"/>
                      <a:pt x="206" y="1467"/>
                      <a:pt x="206" y="1467"/>
                    </a:cubicBezTo>
                    <a:cubicBezTo>
                      <a:pt x="206" y="1467"/>
                      <a:pt x="208" y="1483"/>
                      <a:pt x="213" y="1488"/>
                    </a:cubicBezTo>
                    <a:cubicBezTo>
                      <a:pt x="218" y="1493"/>
                      <a:pt x="216" y="1513"/>
                      <a:pt x="216" y="1513"/>
                    </a:cubicBezTo>
                    <a:cubicBezTo>
                      <a:pt x="236" y="1517"/>
                      <a:pt x="236" y="1517"/>
                      <a:pt x="236" y="1517"/>
                    </a:cubicBezTo>
                    <a:cubicBezTo>
                      <a:pt x="236" y="1517"/>
                      <a:pt x="240" y="1542"/>
                      <a:pt x="250" y="1542"/>
                    </a:cubicBezTo>
                    <a:cubicBezTo>
                      <a:pt x="260" y="1542"/>
                      <a:pt x="266" y="1524"/>
                      <a:pt x="281" y="1537"/>
                    </a:cubicBezTo>
                    <a:cubicBezTo>
                      <a:pt x="296" y="1550"/>
                      <a:pt x="290" y="1562"/>
                      <a:pt x="290" y="1562"/>
                    </a:cubicBezTo>
                    <a:cubicBezTo>
                      <a:pt x="304" y="1578"/>
                      <a:pt x="304" y="1578"/>
                      <a:pt x="304" y="1578"/>
                    </a:cubicBezTo>
                    <a:cubicBezTo>
                      <a:pt x="311" y="1589"/>
                      <a:pt x="311" y="1589"/>
                      <a:pt x="311" y="1589"/>
                    </a:cubicBezTo>
                    <a:cubicBezTo>
                      <a:pt x="335" y="1600"/>
                      <a:pt x="335" y="1600"/>
                      <a:pt x="335" y="1600"/>
                    </a:cubicBezTo>
                    <a:cubicBezTo>
                      <a:pt x="347" y="1612"/>
                      <a:pt x="347" y="1612"/>
                      <a:pt x="347" y="1612"/>
                    </a:cubicBezTo>
                    <a:cubicBezTo>
                      <a:pt x="347" y="1612"/>
                      <a:pt x="373" y="1605"/>
                      <a:pt x="389" y="1607"/>
                    </a:cubicBezTo>
                    <a:cubicBezTo>
                      <a:pt x="405" y="1609"/>
                      <a:pt x="425" y="1608"/>
                      <a:pt x="425" y="1608"/>
                    </a:cubicBezTo>
                    <a:cubicBezTo>
                      <a:pt x="440" y="1620"/>
                      <a:pt x="440" y="1620"/>
                      <a:pt x="440" y="1620"/>
                    </a:cubicBezTo>
                    <a:cubicBezTo>
                      <a:pt x="437" y="1628"/>
                      <a:pt x="437" y="1628"/>
                      <a:pt x="437" y="1628"/>
                    </a:cubicBezTo>
                    <a:cubicBezTo>
                      <a:pt x="442" y="1616"/>
                      <a:pt x="442" y="1616"/>
                      <a:pt x="442" y="1616"/>
                    </a:cubicBezTo>
                    <a:cubicBezTo>
                      <a:pt x="449" y="1606"/>
                      <a:pt x="478" y="1625"/>
                      <a:pt x="478" y="1625"/>
                    </a:cubicBezTo>
                    <a:cubicBezTo>
                      <a:pt x="451" y="1588"/>
                      <a:pt x="451" y="1588"/>
                      <a:pt x="451" y="1588"/>
                    </a:cubicBezTo>
                    <a:cubicBezTo>
                      <a:pt x="438" y="1589"/>
                      <a:pt x="438" y="1589"/>
                      <a:pt x="438" y="1589"/>
                    </a:cubicBezTo>
                    <a:cubicBezTo>
                      <a:pt x="441" y="1579"/>
                      <a:pt x="441" y="1579"/>
                      <a:pt x="441" y="1579"/>
                    </a:cubicBezTo>
                    <a:cubicBezTo>
                      <a:pt x="417" y="1562"/>
                      <a:pt x="417" y="1562"/>
                      <a:pt x="417" y="1562"/>
                    </a:cubicBezTo>
                    <a:cubicBezTo>
                      <a:pt x="418" y="1538"/>
                      <a:pt x="418" y="1538"/>
                      <a:pt x="418" y="1538"/>
                    </a:cubicBezTo>
                    <a:cubicBezTo>
                      <a:pt x="409" y="1534"/>
                      <a:pt x="409" y="1534"/>
                      <a:pt x="409" y="1534"/>
                    </a:cubicBezTo>
                    <a:cubicBezTo>
                      <a:pt x="414" y="1522"/>
                      <a:pt x="414" y="1522"/>
                      <a:pt x="414" y="1522"/>
                    </a:cubicBezTo>
                    <a:cubicBezTo>
                      <a:pt x="414" y="1522"/>
                      <a:pt x="423" y="1522"/>
                      <a:pt x="426" y="1514"/>
                    </a:cubicBezTo>
                    <a:cubicBezTo>
                      <a:pt x="430" y="1506"/>
                      <a:pt x="400" y="1506"/>
                      <a:pt x="400" y="1506"/>
                    </a:cubicBezTo>
                    <a:cubicBezTo>
                      <a:pt x="412" y="1501"/>
                      <a:pt x="412" y="1501"/>
                      <a:pt x="412" y="1501"/>
                    </a:cubicBezTo>
                    <a:cubicBezTo>
                      <a:pt x="408" y="1488"/>
                      <a:pt x="408" y="1488"/>
                      <a:pt x="408" y="1488"/>
                    </a:cubicBezTo>
                    <a:cubicBezTo>
                      <a:pt x="424" y="1505"/>
                      <a:pt x="424" y="1505"/>
                      <a:pt x="424" y="1505"/>
                    </a:cubicBezTo>
                    <a:cubicBezTo>
                      <a:pt x="424" y="1505"/>
                      <a:pt x="438" y="1515"/>
                      <a:pt x="448" y="1503"/>
                    </a:cubicBezTo>
                    <a:cubicBezTo>
                      <a:pt x="458" y="1491"/>
                      <a:pt x="440" y="1465"/>
                      <a:pt x="441" y="1451"/>
                    </a:cubicBezTo>
                    <a:cubicBezTo>
                      <a:pt x="442" y="1438"/>
                      <a:pt x="485" y="1409"/>
                      <a:pt x="488" y="1400"/>
                    </a:cubicBezTo>
                    <a:cubicBezTo>
                      <a:pt x="492" y="1391"/>
                      <a:pt x="467" y="1391"/>
                      <a:pt x="467" y="1391"/>
                    </a:cubicBezTo>
                    <a:cubicBezTo>
                      <a:pt x="483" y="1389"/>
                      <a:pt x="483" y="1389"/>
                      <a:pt x="483" y="1389"/>
                    </a:cubicBezTo>
                    <a:cubicBezTo>
                      <a:pt x="483" y="1389"/>
                      <a:pt x="484" y="1369"/>
                      <a:pt x="476" y="1359"/>
                    </a:cubicBezTo>
                    <a:cubicBezTo>
                      <a:pt x="468" y="1349"/>
                      <a:pt x="456" y="1354"/>
                      <a:pt x="456" y="1354"/>
                    </a:cubicBezTo>
                    <a:cubicBezTo>
                      <a:pt x="444" y="1345"/>
                      <a:pt x="444" y="1345"/>
                      <a:pt x="444" y="1345"/>
                    </a:cubicBezTo>
                    <a:cubicBezTo>
                      <a:pt x="431" y="1345"/>
                      <a:pt x="431" y="1345"/>
                      <a:pt x="431" y="1345"/>
                    </a:cubicBezTo>
                    <a:cubicBezTo>
                      <a:pt x="431" y="1345"/>
                      <a:pt x="391" y="1328"/>
                      <a:pt x="379" y="1301"/>
                    </a:cubicBezTo>
                    <a:cubicBezTo>
                      <a:pt x="366" y="1274"/>
                      <a:pt x="386" y="1269"/>
                      <a:pt x="386" y="1269"/>
                    </a:cubicBezTo>
                    <a:cubicBezTo>
                      <a:pt x="392" y="1252"/>
                      <a:pt x="392" y="1252"/>
                      <a:pt x="392" y="1252"/>
                    </a:cubicBezTo>
                    <a:cubicBezTo>
                      <a:pt x="401" y="1252"/>
                      <a:pt x="401" y="1252"/>
                      <a:pt x="401" y="1252"/>
                    </a:cubicBezTo>
                    <a:cubicBezTo>
                      <a:pt x="407" y="1240"/>
                      <a:pt x="407" y="1240"/>
                      <a:pt x="407" y="1240"/>
                    </a:cubicBezTo>
                    <a:cubicBezTo>
                      <a:pt x="443" y="1239"/>
                      <a:pt x="443" y="1239"/>
                      <a:pt x="443" y="1239"/>
                    </a:cubicBezTo>
                    <a:cubicBezTo>
                      <a:pt x="435" y="1232"/>
                      <a:pt x="435" y="1232"/>
                      <a:pt x="435" y="1232"/>
                    </a:cubicBezTo>
                    <a:cubicBezTo>
                      <a:pt x="434" y="1218"/>
                      <a:pt x="434" y="1218"/>
                      <a:pt x="434" y="1218"/>
                    </a:cubicBezTo>
                    <a:cubicBezTo>
                      <a:pt x="443" y="1217"/>
                      <a:pt x="443" y="1217"/>
                      <a:pt x="443" y="1217"/>
                    </a:cubicBezTo>
                    <a:cubicBezTo>
                      <a:pt x="443" y="1217"/>
                      <a:pt x="448" y="1198"/>
                      <a:pt x="440" y="1191"/>
                    </a:cubicBezTo>
                    <a:cubicBezTo>
                      <a:pt x="432" y="1184"/>
                      <a:pt x="423" y="1168"/>
                      <a:pt x="430" y="1152"/>
                    </a:cubicBezTo>
                    <a:cubicBezTo>
                      <a:pt x="436" y="1137"/>
                      <a:pt x="456" y="1137"/>
                      <a:pt x="456" y="1137"/>
                    </a:cubicBezTo>
                    <a:cubicBezTo>
                      <a:pt x="456" y="1130"/>
                      <a:pt x="456" y="1130"/>
                      <a:pt x="456" y="1130"/>
                    </a:cubicBezTo>
                    <a:cubicBezTo>
                      <a:pt x="456" y="1130"/>
                      <a:pt x="439" y="1130"/>
                      <a:pt x="431" y="1125"/>
                    </a:cubicBezTo>
                    <a:cubicBezTo>
                      <a:pt x="423" y="1121"/>
                      <a:pt x="432" y="1112"/>
                      <a:pt x="440" y="1111"/>
                    </a:cubicBezTo>
                    <a:cubicBezTo>
                      <a:pt x="448" y="1110"/>
                      <a:pt x="462" y="1127"/>
                      <a:pt x="469" y="1127"/>
                    </a:cubicBezTo>
                    <a:cubicBezTo>
                      <a:pt x="476" y="1127"/>
                      <a:pt x="485" y="1123"/>
                      <a:pt x="486" y="1113"/>
                    </a:cubicBezTo>
                    <a:cubicBezTo>
                      <a:pt x="487" y="1103"/>
                      <a:pt x="474" y="1080"/>
                      <a:pt x="461" y="1085"/>
                    </a:cubicBezTo>
                    <a:cubicBezTo>
                      <a:pt x="449" y="1089"/>
                      <a:pt x="468" y="1099"/>
                      <a:pt x="456" y="1105"/>
                    </a:cubicBezTo>
                    <a:cubicBezTo>
                      <a:pt x="443" y="1111"/>
                      <a:pt x="431" y="1094"/>
                      <a:pt x="431" y="1094"/>
                    </a:cubicBezTo>
                    <a:cubicBezTo>
                      <a:pt x="431" y="1094"/>
                      <a:pt x="407" y="1096"/>
                      <a:pt x="404" y="1089"/>
                    </a:cubicBezTo>
                    <a:cubicBezTo>
                      <a:pt x="400" y="1083"/>
                      <a:pt x="404" y="1055"/>
                      <a:pt x="404" y="1052"/>
                    </a:cubicBezTo>
                    <a:cubicBezTo>
                      <a:pt x="404" y="1049"/>
                      <a:pt x="387" y="1032"/>
                      <a:pt x="391" y="1017"/>
                    </a:cubicBezTo>
                    <a:cubicBezTo>
                      <a:pt x="396" y="1003"/>
                      <a:pt x="409" y="1019"/>
                      <a:pt x="424" y="1023"/>
                    </a:cubicBezTo>
                    <a:cubicBezTo>
                      <a:pt x="439" y="1026"/>
                      <a:pt x="456" y="1039"/>
                      <a:pt x="465" y="1039"/>
                    </a:cubicBezTo>
                    <a:cubicBezTo>
                      <a:pt x="474" y="1039"/>
                      <a:pt x="507" y="1021"/>
                      <a:pt x="515" y="1015"/>
                    </a:cubicBezTo>
                    <a:cubicBezTo>
                      <a:pt x="523" y="1009"/>
                      <a:pt x="490" y="991"/>
                      <a:pt x="490" y="991"/>
                    </a:cubicBezTo>
                    <a:cubicBezTo>
                      <a:pt x="489" y="975"/>
                      <a:pt x="489" y="975"/>
                      <a:pt x="489" y="975"/>
                    </a:cubicBezTo>
                    <a:cubicBezTo>
                      <a:pt x="489" y="975"/>
                      <a:pt x="498" y="959"/>
                      <a:pt x="501" y="948"/>
                    </a:cubicBezTo>
                    <a:cubicBezTo>
                      <a:pt x="503" y="938"/>
                      <a:pt x="480" y="938"/>
                      <a:pt x="480" y="938"/>
                    </a:cubicBezTo>
                    <a:cubicBezTo>
                      <a:pt x="478" y="924"/>
                      <a:pt x="478" y="924"/>
                      <a:pt x="478" y="924"/>
                    </a:cubicBezTo>
                    <a:cubicBezTo>
                      <a:pt x="478" y="924"/>
                      <a:pt x="470" y="915"/>
                      <a:pt x="477" y="907"/>
                    </a:cubicBezTo>
                    <a:cubicBezTo>
                      <a:pt x="484" y="899"/>
                      <a:pt x="494" y="934"/>
                      <a:pt x="494" y="934"/>
                    </a:cubicBezTo>
                    <a:cubicBezTo>
                      <a:pt x="502" y="933"/>
                      <a:pt x="502" y="933"/>
                      <a:pt x="502" y="933"/>
                    </a:cubicBezTo>
                    <a:cubicBezTo>
                      <a:pt x="497" y="919"/>
                      <a:pt x="497" y="919"/>
                      <a:pt x="497" y="919"/>
                    </a:cubicBezTo>
                    <a:cubicBezTo>
                      <a:pt x="551" y="926"/>
                      <a:pt x="551" y="926"/>
                      <a:pt x="551" y="926"/>
                    </a:cubicBezTo>
                    <a:cubicBezTo>
                      <a:pt x="554" y="920"/>
                      <a:pt x="554" y="920"/>
                      <a:pt x="554" y="920"/>
                    </a:cubicBezTo>
                    <a:cubicBezTo>
                      <a:pt x="554" y="920"/>
                      <a:pt x="567" y="912"/>
                      <a:pt x="595" y="909"/>
                    </a:cubicBezTo>
                    <a:cubicBezTo>
                      <a:pt x="624" y="906"/>
                      <a:pt x="676" y="881"/>
                      <a:pt x="676" y="881"/>
                    </a:cubicBezTo>
                    <a:cubicBezTo>
                      <a:pt x="673" y="855"/>
                      <a:pt x="673" y="855"/>
                      <a:pt x="673" y="855"/>
                    </a:cubicBezTo>
                    <a:cubicBezTo>
                      <a:pt x="688" y="847"/>
                      <a:pt x="688" y="847"/>
                      <a:pt x="688" y="847"/>
                    </a:cubicBezTo>
                    <a:cubicBezTo>
                      <a:pt x="696" y="814"/>
                      <a:pt x="696" y="814"/>
                      <a:pt x="696" y="814"/>
                    </a:cubicBezTo>
                    <a:cubicBezTo>
                      <a:pt x="689" y="797"/>
                      <a:pt x="689" y="797"/>
                      <a:pt x="689" y="797"/>
                    </a:cubicBezTo>
                    <a:cubicBezTo>
                      <a:pt x="689" y="779"/>
                      <a:pt x="689" y="779"/>
                      <a:pt x="689" y="779"/>
                    </a:cubicBezTo>
                    <a:cubicBezTo>
                      <a:pt x="689" y="779"/>
                      <a:pt x="678" y="770"/>
                      <a:pt x="667" y="766"/>
                    </a:cubicBezTo>
                    <a:cubicBezTo>
                      <a:pt x="661" y="764"/>
                      <a:pt x="654" y="769"/>
                      <a:pt x="649" y="765"/>
                    </a:cubicBezTo>
                    <a:cubicBezTo>
                      <a:pt x="641" y="759"/>
                      <a:pt x="655" y="753"/>
                      <a:pt x="658" y="748"/>
                    </a:cubicBezTo>
                    <a:cubicBezTo>
                      <a:pt x="662" y="741"/>
                      <a:pt x="657" y="735"/>
                      <a:pt x="657" y="727"/>
                    </a:cubicBezTo>
                    <a:cubicBezTo>
                      <a:pt x="657" y="712"/>
                      <a:pt x="624" y="707"/>
                      <a:pt x="601" y="696"/>
                    </a:cubicBezTo>
                    <a:cubicBezTo>
                      <a:pt x="578" y="685"/>
                      <a:pt x="578" y="674"/>
                      <a:pt x="588" y="660"/>
                    </a:cubicBezTo>
                    <a:cubicBezTo>
                      <a:pt x="589" y="659"/>
                      <a:pt x="589" y="658"/>
                      <a:pt x="590" y="658"/>
                    </a:cubicBezTo>
                    <a:cubicBezTo>
                      <a:pt x="570" y="633"/>
                      <a:pt x="570" y="633"/>
                      <a:pt x="570" y="633"/>
                    </a:cubicBezTo>
                    <a:cubicBezTo>
                      <a:pt x="570" y="601"/>
                      <a:pt x="570" y="601"/>
                      <a:pt x="570" y="601"/>
                    </a:cubicBezTo>
                    <a:cubicBezTo>
                      <a:pt x="570" y="601"/>
                      <a:pt x="593" y="600"/>
                      <a:pt x="594" y="595"/>
                    </a:cubicBezTo>
                    <a:cubicBezTo>
                      <a:pt x="595" y="590"/>
                      <a:pt x="575" y="567"/>
                      <a:pt x="575" y="567"/>
                    </a:cubicBezTo>
                    <a:cubicBezTo>
                      <a:pt x="582" y="557"/>
                      <a:pt x="582" y="557"/>
                      <a:pt x="582" y="557"/>
                    </a:cubicBezTo>
                    <a:cubicBezTo>
                      <a:pt x="582" y="557"/>
                      <a:pt x="569" y="545"/>
                      <a:pt x="568" y="536"/>
                    </a:cubicBezTo>
                    <a:cubicBezTo>
                      <a:pt x="567" y="527"/>
                      <a:pt x="586" y="528"/>
                      <a:pt x="586" y="528"/>
                    </a:cubicBezTo>
                    <a:cubicBezTo>
                      <a:pt x="569" y="518"/>
                      <a:pt x="569" y="518"/>
                      <a:pt x="569" y="518"/>
                    </a:cubicBezTo>
                    <a:cubicBezTo>
                      <a:pt x="569" y="491"/>
                      <a:pt x="569" y="491"/>
                      <a:pt x="569" y="491"/>
                    </a:cubicBezTo>
                    <a:cubicBezTo>
                      <a:pt x="587" y="484"/>
                      <a:pt x="587" y="484"/>
                      <a:pt x="587" y="484"/>
                    </a:cubicBezTo>
                    <a:cubicBezTo>
                      <a:pt x="587" y="484"/>
                      <a:pt x="566" y="471"/>
                      <a:pt x="566" y="467"/>
                    </a:cubicBezTo>
                    <a:cubicBezTo>
                      <a:pt x="566" y="463"/>
                      <a:pt x="580" y="452"/>
                      <a:pt x="580" y="452"/>
                    </a:cubicBezTo>
                    <a:cubicBezTo>
                      <a:pt x="580" y="452"/>
                      <a:pt x="584" y="435"/>
                      <a:pt x="584" y="429"/>
                    </a:cubicBezTo>
                    <a:cubicBezTo>
                      <a:pt x="584" y="423"/>
                      <a:pt x="599" y="424"/>
                      <a:pt x="604" y="419"/>
                    </a:cubicBezTo>
                    <a:cubicBezTo>
                      <a:pt x="609" y="414"/>
                      <a:pt x="612" y="399"/>
                      <a:pt x="612" y="396"/>
                    </a:cubicBezTo>
                    <a:cubicBezTo>
                      <a:pt x="612" y="393"/>
                      <a:pt x="621" y="388"/>
                      <a:pt x="626" y="383"/>
                    </a:cubicBezTo>
                    <a:cubicBezTo>
                      <a:pt x="631" y="378"/>
                      <a:pt x="634" y="355"/>
                      <a:pt x="634" y="355"/>
                    </a:cubicBezTo>
                    <a:close/>
                    <a:moveTo>
                      <a:pt x="619" y="681"/>
                    </a:moveTo>
                    <a:cubicBezTo>
                      <a:pt x="624" y="681"/>
                      <a:pt x="624" y="681"/>
                      <a:pt x="624" y="681"/>
                    </a:cubicBezTo>
                    <a:cubicBezTo>
                      <a:pt x="617" y="677"/>
                      <a:pt x="617" y="677"/>
                      <a:pt x="617" y="677"/>
                    </a:cubicBezTo>
                    <a:cubicBezTo>
                      <a:pt x="617" y="677"/>
                      <a:pt x="617" y="677"/>
                      <a:pt x="617" y="677"/>
                    </a:cubicBezTo>
                    <a:cubicBezTo>
                      <a:pt x="618" y="679"/>
                      <a:pt x="619" y="681"/>
                      <a:pt x="619" y="68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1" name="MCShape 33">
                <a:extLst>
                  <a:ext uri="{FF2B5EF4-FFF2-40B4-BE49-F238E27FC236}">
                    <a16:creationId xmlns:a16="http://schemas.microsoft.com/office/drawing/2014/main" id="{CBB8B773-96CB-4DAF-8A84-BB2CA84AE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2601" y="3472252"/>
                <a:ext cx="241291" cy="470208"/>
              </a:xfrm>
              <a:custGeom>
                <a:avLst/>
                <a:gdLst>
                  <a:gd name="T0" fmla="*/ 6 w 407"/>
                  <a:gd name="T1" fmla="*/ 62 h 795"/>
                  <a:gd name="T2" fmla="*/ 37 w 407"/>
                  <a:gd name="T3" fmla="*/ 84 h 795"/>
                  <a:gd name="T4" fmla="*/ 61 w 407"/>
                  <a:gd name="T5" fmla="*/ 137 h 795"/>
                  <a:gd name="T6" fmla="*/ 82 w 407"/>
                  <a:gd name="T7" fmla="*/ 145 h 795"/>
                  <a:gd name="T8" fmla="*/ 124 w 407"/>
                  <a:gd name="T9" fmla="*/ 145 h 795"/>
                  <a:gd name="T10" fmla="*/ 153 w 407"/>
                  <a:gd name="T11" fmla="*/ 179 h 795"/>
                  <a:gd name="T12" fmla="*/ 101 w 407"/>
                  <a:gd name="T13" fmla="*/ 199 h 795"/>
                  <a:gd name="T14" fmla="*/ 142 w 407"/>
                  <a:gd name="T15" fmla="*/ 240 h 795"/>
                  <a:gd name="T16" fmla="*/ 169 w 407"/>
                  <a:gd name="T17" fmla="*/ 271 h 795"/>
                  <a:gd name="T18" fmla="*/ 205 w 407"/>
                  <a:gd name="T19" fmla="*/ 314 h 795"/>
                  <a:gd name="T20" fmla="*/ 230 w 407"/>
                  <a:gd name="T21" fmla="*/ 347 h 795"/>
                  <a:gd name="T22" fmla="*/ 254 w 407"/>
                  <a:gd name="T23" fmla="*/ 370 h 795"/>
                  <a:gd name="T24" fmla="*/ 287 w 407"/>
                  <a:gd name="T25" fmla="*/ 397 h 795"/>
                  <a:gd name="T26" fmla="*/ 312 w 407"/>
                  <a:gd name="T27" fmla="*/ 436 h 795"/>
                  <a:gd name="T28" fmla="*/ 310 w 407"/>
                  <a:gd name="T29" fmla="*/ 470 h 795"/>
                  <a:gd name="T30" fmla="*/ 300 w 407"/>
                  <a:gd name="T31" fmla="*/ 505 h 795"/>
                  <a:gd name="T32" fmla="*/ 306 w 407"/>
                  <a:gd name="T33" fmla="*/ 545 h 795"/>
                  <a:gd name="T34" fmla="*/ 314 w 407"/>
                  <a:gd name="T35" fmla="*/ 598 h 795"/>
                  <a:gd name="T36" fmla="*/ 291 w 407"/>
                  <a:gd name="T37" fmla="*/ 610 h 795"/>
                  <a:gd name="T38" fmla="*/ 273 w 407"/>
                  <a:gd name="T39" fmla="*/ 625 h 795"/>
                  <a:gd name="T40" fmla="*/ 252 w 407"/>
                  <a:gd name="T41" fmla="*/ 659 h 795"/>
                  <a:gd name="T42" fmla="*/ 238 w 407"/>
                  <a:gd name="T43" fmla="*/ 663 h 795"/>
                  <a:gd name="T44" fmla="*/ 204 w 407"/>
                  <a:gd name="T45" fmla="*/ 670 h 795"/>
                  <a:gd name="T46" fmla="*/ 180 w 407"/>
                  <a:gd name="T47" fmla="*/ 703 h 795"/>
                  <a:gd name="T48" fmla="*/ 196 w 407"/>
                  <a:gd name="T49" fmla="*/ 734 h 795"/>
                  <a:gd name="T50" fmla="*/ 194 w 407"/>
                  <a:gd name="T51" fmla="*/ 789 h 795"/>
                  <a:gd name="T52" fmla="*/ 228 w 407"/>
                  <a:gd name="T53" fmla="*/ 783 h 795"/>
                  <a:gd name="T54" fmla="*/ 255 w 407"/>
                  <a:gd name="T55" fmla="*/ 752 h 795"/>
                  <a:gd name="T56" fmla="*/ 285 w 407"/>
                  <a:gd name="T57" fmla="*/ 735 h 795"/>
                  <a:gd name="T58" fmla="*/ 300 w 407"/>
                  <a:gd name="T59" fmla="*/ 693 h 795"/>
                  <a:gd name="T60" fmla="*/ 391 w 407"/>
                  <a:gd name="T61" fmla="*/ 639 h 795"/>
                  <a:gd name="T62" fmla="*/ 385 w 407"/>
                  <a:gd name="T63" fmla="*/ 539 h 795"/>
                  <a:gd name="T64" fmla="*/ 390 w 407"/>
                  <a:gd name="T65" fmla="*/ 485 h 795"/>
                  <a:gd name="T66" fmla="*/ 363 w 407"/>
                  <a:gd name="T67" fmla="*/ 418 h 795"/>
                  <a:gd name="T68" fmla="*/ 256 w 407"/>
                  <a:gd name="T69" fmla="*/ 332 h 795"/>
                  <a:gd name="T70" fmla="*/ 193 w 407"/>
                  <a:gd name="T71" fmla="*/ 235 h 795"/>
                  <a:gd name="T72" fmla="*/ 197 w 407"/>
                  <a:gd name="T73" fmla="*/ 160 h 795"/>
                  <a:gd name="T74" fmla="*/ 229 w 407"/>
                  <a:gd name="T75" fmla="*/ 129 h 795"/>
                  <a:gd name="T76" fmla="*/ 259 w 407"/>
                  <a:gd name="T77" fmla="*/ 100 h 795"/>
                  <a:gd name="T78" fmla="*/ 257 w 407"/>
                  <a:gd name="T79" fmla="*/ 92 h 795"/>
                  <a:gd name="T80" fmla="*/ 218 w 407"/>
                  <a:gd name="T81" fmla="*/ 75 h 795"/>
                  <a:gd name="T82" fmla="*/ 207 w 407"/>
                  <a:gd name="T83" fmla="*/ 61 h 795"/>
                  <a:gd name="T84" fmla="*/ 196 w 407"/>
                  <a:gd name="T85" fmla="*/ 47 h 795"/>
                  <a:gd name="T86" fmla="*/ 182 w 407"/>
                  <a:gd name="T87" fmla="*/ 25 h 795"/>
                  <a:gd name="T88" fmla="*/ 156 w 407"/>
                  <a:gd name="T89" fmla="*/ 22 h 795"/>
                  <a:gd name="T90" fmla="*/ 115 w 407"/>
                  <a:gd name="T91" fmla="*/ 9 h 795"/>
                  <a:gd name="T92" fmla="*/ 95 w 407"/>
                  <a:gd name="T93" fmla="*/ 36 h 795"/>
                  <a:gd name="T94" fmla="*/ 80 w 407"/>
                  <a:gd name="T95" fmla="*/ 29 h 795"/>
                  <a:gd name="T96" fmla="*/ 72 w 407"/>
                  <a:gd name="T97" fmla="*/ 42 h 795"/>
                  <a:gd name="T98" fmla="*/ 58 w 407"/>
                  <a:gd name="T99" fmla="*/ 30 h 795"/>
                  <a:gd name="T100" fmla="*/ 48 w 407"/>
                  <a:gd name="T101" fmla="*/ 31 h 795"/>
                  <a:gd name="T102" fmla="*/ 4 w 407"/>
                  <a:gd name="T103" fmla="*/ 32 h 79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07"/>
                  <a:gd name="T157" fmla="*/ 0 h 795"/>
                  <a:gd name="T158" fmla="*/ 407 w 407"/>
                  <a:gd name="T159" fmla="*/ 795 h 79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07" h="795">
                    <a:moveTo>
                      <a:pt x="4" y="32"/>
                    </a:moveTo>
                    <a:cubicBezTo>
                      <a:pt x="0" y="40"/>
                      <a:pt x="0" y="55"/>
                      <a:pt x="6" y="62"/>
                    </a:cubicBezTo>
                    <a:cubicBezTo>
                      <a:pt x="12" y="69"/>
                      <a:pt x="28" y="87"/>
                      <a:pt x="28" y="87"/>
                    </a:cubicBezTo>
                    <a:cubicBezTo>
                      <a:pt x="28" y="87"/>
                      <a:pt x="33" y="80"/>
                      <a:pt x="37" y="84"/>
                    </a:cubicBezTo>
                    <a:cubicBezTo>
                      <a:pt x="41" y="88"/>
                      <a:pt x="28" y="97"/>
                      <a:pt x="38" y="110"/>
                    </a:cubicBezTo>
                    <a:cubicBezTo>
                      <a:pt x="48" y="123"/>
                      <a:pt x="61" y="137"/>
                      <a:pt x="61" y="137"/>
                    </a:cubicBezTo>
                    <a:cubicBezTo>
                      <a:pt x="70" y="137"/>
                      <a:pt x="70" y="137"/>
                      <a:pt x="70" y="137"/>
                    </a:cubicBezTo>
                    <a:cubicBezTo>
                      <a:pt x="70" y="137"/>
                      <a:pt x="75" y="153"/>
                      <a:pt x="82" y="145"/>
                    </a:cubicBezTo>
                    <a:cubicBezTo>
                      <a:pt x="89" y="137"/>
                      <a:pt x="86" y="125"/>
                      <a:pt x="94" y="126"/>
                    </a:cubicBezTo>
                    <a:cubicBezTo>
                      <a:pt x="102" y="127"/>
                      <a:pt x="124" y="145"/>
                      <a:pt x="124" y="145"/>
                    </a:cubicBezTo>
                    <a:cubicBezTo>
                      <a:pt x="124" y="145"/>
                      <a:pt x="104" y="151"/>
                      <a:pt x="122" y="159"/>
                    </a:cubicBezTo>
                    <a:cubicBezTo>
                      <a:pt x="140" y="167"/>
                      <a:pt x="159" y="169"/>
                      <a:pt x="153" y="179"/>
                    </a:cubicBezTo>
                    <a:cubicBezTo>
                      <a:pt x="147" y="189"/>
                      <a:pt x="128" y="203"/>
                      <a:pt x="128" y="203"/>
                    </a:cubicBezTo>
                    <a:cubicBezTo>
                      <a:pt x="128" y="203"/>
                      <a:pt x="99" y="195"/>
                      <a:pt x="101" y="199"/>
                    </a:cubicBezTo>
                    <a:cubicBezTo>
                      <a:pt x="103" y="203"/>
                      <a:pt x="103" y="215"/>
                      <a:pt x="103" y="215"/>
                    </a:cubicBezTo>
                    <a:cubicBezTo>
                      <a:pt x="103" y="215"/>
                      <a:pt x="136" y="235"/>
                      <a:pt x="142" y="240"/>
                    </a:cubicBezTo>
                    <a:cubicBezTo>
                      <a:pt x="148" y="245"/>
                      <a:pt x="166" y="250"/>
                      <a:pt x="166" y="250"/>
                    </a:cubicBezTo>
                    <a:cubicBezTo>
                      <a:pt x="166" y="250"/>
                      <a:pt x="165" y="267"/>
                      <a:pt x="169" y="271"/>
                    </a:cubicBezTo>
                    <a:cubicBezTo>
                      <a:pt x="173" y="275"/>
                      <a:pt x="195" y="283"/>
                      <a:pt x="195" y="283"/>
                    </a:cubicBezTo>
                    <a:cubicBezTo>
                      <a:pt x="195" y="283"/>
                      <a:pt x="192" y="303"/>
                      <a:pt x="205" y="314"/>
                    </a:cubicBezTo>
                    <a:cubicBezTo>
                      <a:pt x="218" y="325"/>
                      <a:pt x="229" y="336"/>
                      <a:pt x="229" y="336"/>
                    </a:cubicBezTo>
                    <a:cubicBezTo>
                      <a:pt x="230" y="347"/>
                      <a:pt x="230" y="347"/>
                      <a:pt x="230" y="347"/>
                    </a:cubicBezTo>
                    <a:cubicBezTo>
                      <a:pt x="244" y="346"/>
                      <a:pt x="244" y="346"/>
                      <a:pt x="244" y="346"/>
                    </a:cubicBezTo>
                    <a:cubicBezTo>
                      <a:pt x="244" y="346"/>
                      <a:pt x="247" y="363"/>
                      <a:pt x="254" y="370"/>
                    </a:cubicBezTo>
                    <a:cubicBezTo>
                      <a:pt x="261" y="377"/>
                      <a:pt x="271" y="378"/>
                      <a:pt x="271" y="378"/>
                    </a:cubicBezTo>
                    <a:cubicBezTo>
                      <a:pt x="271" y="378"/>
                      <a:pt x="295" y="392"/>
                      <a:pt x="287" y="397"/>
                    </a:cubicBezTo>
                    <a:cubicBezTo>
                      <a:pt x="279" y="402"/>
                      <a:pt x="265" y="405"/>
                      <a:pt x="279" y="416"/>
                    </a:cubicBezTo>
                    <a:cubicBezTo>
                      <a:pt x="293" y="427"/>
                      <a:pt x="312" y="436"/>
                      <a:pt x="312" y="436"/>
                    </a:cubicBezTo>
                    <a:cubicBezTo>
                      <a:pt x="301" y="457"/>
                      <a:pt x="301" y="457"/>
                      <a:pt x="301" y="457"/>
                    </a:cubicBezTo>
                    <a:cubicBezTo>
                      <a:pt x="301" y="457"/>
                      <a:pt x="314" y="462"/>
                      <a:pt x="310" y="470"/>
                    </a:cubicBezTo>
                    <a:cubicBezTo>
                      <a:pt x="306" y="478"/>
                      <a:pt x="300" y="477"/>
                      <a:pt x="300" y="477"/>
                    </a:cubicBezTo>
                    <a:cubicBezTo>
                      <a:pt x="300" y="505"/>
                      <a:pt x="300" y="505"/>
                      <a:pt x="300" y="505"/>
                    </a:cubicBezTo>
                    <a:cubicBezTo>
                      <a:pt x="300" y="505"/>
                      <a:pt x="321" y="516"/>
                      <a:pt x="321" y="529"/>
                    </a:cubicBezTo>
                    <a:cubicBezTo>
                      <a:pt x="321" y="542"/>
                      <a:pt x="305" y="542"/>
                      <a:pt x="306" y="545"/>
                    </a:cubicBezTo>
                    <a:cubicBezTo>
                      <a:pt x="307" y="548"/>
                      <a:pt x="317" y="584"/>
                      <a:pt x="317" y="584"/>
                    </a:cubicBezTo>
                    <a:cubicBezTo>
                      <a:pt x="314" y="598"/>
                      <a:pt x="314" y="598"/>
                      <a:pt x="314" y="598"/>
                    </a:cubicBezTo>
                    <a:cubicBezTo>
                      <a:pt x="314" y="598"/>
                      <a:pt x="302" y="593"/>
                      <a:pt x="297" y="596"/>
                    </a:cubicBezTo>
                    <a:cubicBezTo>
                      <a:pt x="292" y="599"/>
                      <a:pt x="291" y="610"/>
                      <a:pt x="291" y="610"/>
                    </a:cubicBezTo>
                    <a:cubicBezTo>
                      <a:pt x="270" y="611"/>
                      <a:pt x="270" y="611"/>
                      <a:pt x="270" y="611"/>
                    </a:cubicBezTo>
                    <a:cubicBezTo>
                      <a:pt x="273" y="625"/>
                      <a:pt x="273" y="625"/>
                      <a:pt x="273" y="625"/>
                    </a:cubicBezTo>
                    <a:cubicBezTo>
                      <a:pt x="273" y="625"/>
                      <a:pt x="246" y="621"/>
                      <a:pt x="244" y="627"/>
                    </a:cubicBezTo>
                    <a:cubicBezTo>
                      <a:pt x="242" y="633"/>
                      <a:pt x="242" y="651"/>
                      <a:pt x="252" y="659"/>
                    </a:cubicBezTo>
                    <a:cubicBezTo>
                      <a:pt x="262" y="667"/>
                      <a:pt x="269" y="677"/>
                      <a:pt x="262" y="678"/>
                    </a:cubicBezTo>
                    <a:cubicBezTo>
                      <a:pt x="255" y="679"/>
                      <a:pt x="248" y="663"/>
                      <a:pt x="238" y="663"/>
                    </a:cubicBezTo>
                    <a:cubicBezTo>
                      <a:pt x="228" y="663"/>
                      <a:pt x="226" y="670"/>
                      <a:pt x="222" y="670"/>
                    </a:cubicBezTo>
                    <a:cubicBezTo>
                      <a:pt x="218" y="670"/>
                      <a:pt x="204" y="670"/>
                      <a:pt x="204" y="670"/>
                    </a:cubicBezTo>
                    <a:cubicBezTo>
                      <a:pt x="204" y="670"/>
                      <a:pt x="228" y="684"/>
                      <a:pt x="208" y="686"/>
                    </a:cubicBezTo>
                    <a:cubicBezTo>
                      <a:pt x="188" y="688"/>
                      <a:pt x="174" y="695"/>
                      <a:pt x="180" y="703"/>
                    </a:cubicBezTo>
                    <a:cubicBezTo>
                      <a:pt x="186" y="711"/>
                      <a:pt x="209" y="723"/>
                      <a:pt x="209" y="723"/>
                    </a:cubicBezTo>
                    <a:cubicBezTo>
                      <a:pt x="196" y="734"/>
                      <a:pt x="196" y="734"/>
                      <a:pt x="196" y="734"/>
                    </a:cubicBezTo>
                    <a:cubicBezTo>
                      <a:pt x="196" y="734"/>
                      <a:pt x="210" y="769"/>
                      <a:pt x="203" y="775"/>
                    </a:cubicBezTo>
                    <a:cubicBezTo>
                      <a:pt x="199" y="778"/>
                      <a:pt x="196" y="784"/>
                      <a:pt x="194" y="789"/>
                    </a:cubicBezTo>
                    <a:cubicBezTo>
                      <a:pt x="195" y="789"/>
                      <a:pt x="195" y="789"/>
                      <a:pt x="195" y="789"/>
                    </a:cubicBezTo>
                    <a:cubicBezTo>
                      <a:pt x="204" y="795"/>
                      <a:pt x="218" y="795"/>
                      <a:pt x="228" y="783"/>
                    </a:cubicBezTo>
                    <a:cubicBezTo>
                      <a:pt x="239" y="772"/>
                      <a:pt x="252" y="768"/>
                      <a:pt x="252" y="768"/>
                    </a:cubicBezTo>
                    <a:cubicBezTo>
                      <a:pt x="255" y="752"/>
                      <a:pt x="255" y="752"/>
                      <a:pt x="255" y="752"/>
                    </a:cubicBezTo>
                    <a:cubicBezTo>
                      <a:pt x="255" y="736"/>
                      <a:pt x="255" y="736"/>
                      <a:pt x="255" y="736"/>
                    </a:cubicBezTo>
                    <a:cubicBezTo>
                      <a:pt x="255" y="736"/>
                      <a:pt x="280" y="747"/>
                      <a:pt x="285" y="735"/>
                    </a:cubicBezTo>
                    <a:cubicBezTo>
                      <a:pt x="289" y="723"/>
                      <a:pt x="269" y="711"/>
                      <a:pt x="273" y="708"/>
                    </a:cubicBezTo>
                    <a:cubicBezTo>
                      <a:pt x="277" y="704"/>
                      <a:pt x="300" y="693"/>
                      <a:pt x="300" y="693"/>
                    </a:cubicBezTo>
                    <a:cubicBezTo>
                      <a:pt x="300" y="693"/>
                      <a:pt x="311" y="702"/>
                      <a:pt x="334" y="690"/>
                    </a:cubicBezTo>
                    <a:cubicBezTo>
                      <a:pt x="356" y="679"/>
                      <a:pt x="387" y="656"/>
                      <a:pt x="391" y="639"/>
                    </a:cubicBezTo>
                    <a:cubicBezTo>
                      <a:pt x="394" y="622"/>
                      <a:pt x="407" y="577"/>
                      <a:pt x="405" y="567"/>
                    </a:cubicBezTo>
                    <a:cubicBezTo>
                      <a:pt x="403" y="557"/>
                      <a:pt x="385" y="539"/>
                      <a:pt x="385" y="539"/>
                    </a:cubicBezTo>
                    <a:cubicBezTo>
                      <a:pt x="395" y="535"/>
                      <a:pt x="395" y="535"/>
                      <a:pt x="395" y="535"/>
                    </a:cubicBezTo>
                    <a:cubicBezTo>
                      <a:pt x="395" y="535"/>
                      <a:pt x="395" y="498"/>
                      <a:pt x="390" y="485"/>
                    </a:cubicBezTo>
                    <a:cubicBezTo>
                      <a:pt x="384" y="471"/>
                      <a:pt x="368" y="448"/>
                      <a:pt x="368" y="448"/>
                    </a:cubicBezTo>
                    <a:cubicBezTo>
                      <a:pt x="368" y="448"/>
                      <a:pt x="379" y="434"/>
                      <a:pt x="363" y="418"/>
                    </a:cubicBezTo>
                    <a:cubicBezTo>
                      <a:pt x="347" y="403"/>
                      <a:pt x="302" y="361"/>
                      <a:pt x="288" y="354"/>
                    </a:cubicBezTo>
                    <a:cubicBezTo>
                      <a:pt x="274" y="348"/>
                      <a:pt x="259" y="340"/>
                      <a:pt x="256" y="332"/>
                    </a:cubicBezTo>
                    <a:cubicBezTo>
                      <a:pt x="252" y="325"/>
                      <a:pt x="260" y="319"/>
                      <a:pt x="254" y="309"/>
                    </a:cubicBezTo>
                    <a:cubicBezTo>
                      <a:pt x="248" y="299"/>
                      <a:pt x="200" y="258"/>
                      <a:pt x="193" y="235"/>
                    </a:cubicBezTo>
                    <a:cubicBezTo>
                      <a:pt x="187" y="211"/>
                      <a:pt x="182" y="185"/>
                      <a:pt x="188" y="180"/>
                    </a:cubicBezTo>
                    <a:cubicBezTo>
                      <a:pt x="195" y="176"/>
                      <a:pt x="197" y="160"/>
                      <a:pt x="197" y="160"/>
                    </a:cubicBezTo>
                    <a:cubicBezTo>
                      <a:pt x="197" y="160"/>
                      <a:pt x="215" y="147"/>
                      <a:pt x="220" y="143"/>
                    </a:cubicBezTo>
                    <a:cubicBezTo>
                      <a:pt x="226" y="140"/>
                      <a:pt x="229" y="129"/>
                      <a:pt x="229" y="129"/>
                    </a:cubicBezTo>
                    <a:cubicBezTo>
                      <a:pt x="229" y="129"/>
                      <a:pt x="248" y="132"/>
                      <a:pt x="254" y="127"/>
                    </a:cubicBezTo>
                    <a:cubicBezTo>
                      <a:pt x="259" y="122"/>
                      <a:pt x="259" y="100"/>
                      <a:pt x="259" y="100"/>
                    </a:cubicBezTo>
                    <a:cubicBezTo>
                      <a:pt x="266" y="95"/>
                      <a:pt x="266" y="95"/>
                      <a:pt x="266" y="95"/>
                    </a:cubicBezTo>
                    <a:cubicBezTo>
                      <a:pt x="264" y="94"/>
                      <a:pt x="261" y="92"/>
                      <a:pt x="257" y="92"/>
                    </a:cubicBezTo>
                    <a:cubicBezTo>
                      <a:pt x="249" y="91"/>
                      <a:pt x="236" y="94"/>
                      <a:pt x="229" y="87"/>
                    </a:cubicBezTo>
                    <a:cubicBezTo>
                      <a:pt x="222" y="80"/>
                      <a:pt x="218" y="75"/>
                      <a:pt x="218" y="75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207" y="61"/>
                      <a:pt x="207" y="61"/>
                      <a:pt x="207" y="61"/>
                    </a:cubicBezTo>
                    <a:cubicBezTo>
                      <a:pt x="200" y="57"/>
                      <a:pt x="200" y="57"/>
                      <a:pt x="200" y="57"/>
                    </a:cubicBezTo>
                    <a:cubicBezTo>
                      <a:pt x="196" y="47"/>
                      <a:pt x="196" y="47"/>
                      <a:pt x="196" y="47"/>
                    </a:cubicBezTo>
                    <a:cubicBezTo>
                      <a:pt x="196" y="47"/>
                      <a:pt x="212" y="40"/>
                      <a:pt x="207" y="32"/>
                    </a:cubicBezTo>
                    <a:cubicBezTo>
                      <a:pt x="202" y="24"/>
                      <a:pt x="182" y="25"/>
                      <a:pt x="182" y="25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56" y="22"/>
                      <a:pt x="156" y="22"/>
                      <a:pt x="156" y="22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19" y="4"/>
                      <a:pt x="115" y="9"/>
                    </a:cubicBezTo>
                    <a:cubicBezTo>
                      <a:pt x="111" y="14"/>
                      <a:pt x="117" y="28"/>
                      <a:pt x="110" y="30"/>
                    </a:cubicBezTo>
                    <a:cubicBezTo>
                      <a:pt x="103" y="32"/>
                      <a:pt x="95" y="36"/>
                      <a:pt x="95" y="36"/>
                    </a:cubicBezTo>
                    <a:cubicBezTo>
                      <a:pt x="91" y="29"/>
                      <a:pt x="91" y="29"/>
                      <a:pt x="91" y="29"/>
                    </a:cubicBezTo>
                    <a:cubicBezTo>
                      <a:pt x="80" y="29"/>
                      <a:pt x="80" y="29"/>
                      <a:pt x="80" y="29"/>
                    </a:cubicBezTo>
                    <a:cubicBezTo>
                      <a:pt x="80" y="29"/>
                      <a:pt x="97" y="45"/>
                      <a:pt x="84" y="46"/>
                    </a:cubicBezTo>
                    <a:cubicBezTo>
                      <a:pt x="71" y="47"/>
                      <a:pt x="72" y="42"/>
                      <a:pt x="72" y="42"/>
                    </a:cubicBezTo>
                    <a:cubicBezTo>
                      <a:pt x="63" y="29"/>
                      <a:pt x="63" y="29"/>
                      <a:pt x="63" y="29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8" y="31"/>
                      <a:pt x="39" y="47"/>
                      <a:pt x="33" y="47"/>
                    </a:cubicBezTo>
                    <a:cubicBezTo>
                      <a:pt x="27" y="47"/>
                      <a:pt x="8" y="24"/>
                      <a:pt x="4" y="3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2" name="MCShape 34">
                <a:extLst>
                  <a:ext uri="{FF2B5EF4-FFF2-40B4-BE49-F238E27FC236}">
                    <a16:creationId xmlns:a16="http://schemas.microsoft.com/office/drawing/2014/main" id="{3192EEEF-BF2B-4675-B848-53B182FF2B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2252" y="3241789"/>
                <a:ext cx="233557" cy="137659"/>
              </a:xfrm>
              <a:custGeom>
                <a:avLst/>
                <a:gdLst>
                  <a:gd name="T0" fmla="*/ 203 w 400"/>
                  <a:gd name="T1" fmla="*/ 166 h 233"/>
                  <a:gd name="T2" fmla="*/ 213 w 400"/>
                  <a:gd name="T3" fmla="*/ 179 h 233"/>
                  <a:gd name="T4" fmla="*/ 227 w 400"/>
                  <a:gd name="T5" fmla="*/ 176 h 233"/>
                  <a:gd name="T6" fmla="*/ 244 w 400"/>
                  <a:gd name="T7" fmla="*/ 194 h 233"/>
                  <a:gd name="T8" fmla="*/ 262 w 400"/>
                  <a:gd name="T9" fmla="*/ 213 h 233"/>
                  <a:gd name="T10" fmla="*/ 274 w 400"/>
                  <a:gd name="T11" fmla="*/ 204 h 233"/>
                  <a:gd name="T12" fmla="*/ 296 w 400"/>
                  <a:gd name="T13" fmla="*/ 218 h 233"/>
                  <a:gd name="T14" fmla="*/ 313 w 400"/>
                  <a:gd name="T15" fmla="*/ 213 h 233"/>
                  <a:gd name="T16" fmla="*/ 337 w 400"/>
                  <a:gd name="T17" fmla="*/ 230 h 233"/>
                  <a:gd name="T18" fmla="*/ 351 w 400"/>
                  <a:gd name="T19" fmla="*/ 219 h 233"/>
                  <a:gd name="T20" fmla="*/ 361 w 400"/>
                  <a:gd name="T21" fmla="*/ 229 h 233"/>
                  <a:gd name="T22" fmla="*/ 377 w 400"/>
                  <a:gd name="T23" fmla="*/ 230 h 233"/>
                  <a:gd name="T24" fmla="*/ 399 w 400"/>
                  <a:gd name="T25" fmla="*/ 224 h 233"/>
                  <a:gd name="T26" fmla="*/ 400 w 400"/>
                  <a:gd name="T27" fmla="*/ 206 h 233"/>
                  <a:gd name="T28" fmla="*/ 390 w 400"/>
                  <a:gd name="T29" fmla="*/ 191 h 233"/>
                  <a:gd name="T30" fmla="*/ 390 w 400"/>
                  <a:gd name="T31" fmla="*/ 159 h 233"/>
                  <a:gd name="T32" fmla="*/ 384 w 400"/>
                  <a:gd name="T33" fmla="*/ 144 h 233"/>
                  <a:gd name="T34" fmla="*/ 363 w 400"/>
                  <a:gd name="T35" fmla="*/ 153 h 233"/>
                  <a:gd name="T36" fmla="*/ 316 w 400"/>
                  <a:gd name="T37" fmla="*/ 134 h 233"/>
                  <a:gd name="T38" fmla="*/ 304 w 400"/>
                  <a:gd name="T39" fmla="*/ 143 h 233"/>
                  <a:gd name="T40" fmla="*/ 295 w 400"/>
                  <a:gd name="T41" fmla="*/ 130 h 233"/>
                  <a:gd name="T42" fmla="*/ 284 w 400"/>
                  <a:gd name="T43" fmla="*/ 143 h 233"/>
                  <a:gd name="T44" fmla="*/ 275 w 400"/>
                  <a:gd name="T45" fmla="*/ 124 h 233"/>
                  <a:gd name="T46" fmla="*/ 247 w 400"/>
                  <a:gd name="T47" fmla="*/ 126 h 233"/>
                  <a:gd name="T48" fmla="*/ 243 w 400"/>
                  <a:gd name="T49" fmla="*/ 109 h 233"/>
                  <a:gd name="T50" fmla="*/ 223 w 400"/>
                  <a:gd name="T51" fmla="*/ 113 h 233"/>
                  <a:gd name="T52" fmla="*/ 201 w 400"/>
                  <a:gd name="T53" fmla="*/ 95 h 233"/>
                  <a:gd name="T54" fmla="*/ 187 w 400"/>
                  <a:gd name="T55" fmla="*/ 66 h 233"/>
                  <a:gd name="T56" fmla="*/ 168 w 400"/>
                  <a:gd name="T57" fmla="*/ 83 h 233"/>
                  <a:gd name="T58" fmla="*/ 149 w 400"/>
                  <a:gd name="T59" fmla="*/ 50 h 233"/>
                  <a:gd name="T60" fmla="*/ 118 w 400"/>
                  <a:gd name="T61" fmla="*/ 44 h 233"/>
                  <a:gd name="T62" fmla="*/ 86 w 400"/>
                  <a:gd name="T63" fmla="*/ 15 h 233"/>
                  <a:gd name="T64" fmla="*/ 59 w 400"/>
                  <a:gd name="T65" fmla="*/ 17 h 233"/>
                  <a:gd name="T66" fmla="*/ 44 w 400"/>
                  <a:gd name="T67" fmla="*/ 30 h 233"/>
                  <a:gd name="T68" fmla="*/ 32 w 400"/>
                  <a:gd name="T69" fmla="*/ 19 h 233"/>
                  <a:gd name="T70" fmla="*/ 26 w 400"/>
                  <a:gd name="T71" fmla="*/ 32 h 233"/>
                  <a:gd name="T72" fmla="*/ 11 w 400"/>
                  <a:gd name="T73" fmla="*/ 50 h 233"/>
                  <a:gd name="T74" fmla="*/ 17 w 400"/>
                  <a:gd name="T75" fmla="*/ 59 h 233"/>
                  <a:gd name="T76" fmla="*/ 10 w 400"/>
                  <a:gd name="T77" fmla="*/ 67 h 233"/>
                  <a:gd name="T78" fmla="*/ 19 w 400"/>
                  <a:gd name="T79" fmla="*/ 73 h 233"/>
                  <a:gd name="T80" fmla="*/ 7 w 400"/>
                  <a:gd name="T81" fmla="*/ 91 h 233"/>
                  <a:gd name="T82" fmla="*/ 26 w 400"/>
                  <a:gd name="T83" fmla="*/ 110 h 233"/>
                  <a:gd name="T84" fmla="*/ 36 w 400"/>
                  <a:gd name="T85" fmla="*/ 104 h 233"/>
                  <a:gd name="T86" fmla="*/ 47 w 400"/>
                  <a:gd name="T87" fmla="*/ 122 h 233"/>
                  <a:gd name="T88" fmla="*/ 65 w 400"/>
                  <a:gd name="T89" fmla="*/ 122 h 233"/>
                  <a:gd name="T90" fmla="*/ 72 w 400"/>
                  <a:gd name="T91" fmla="*/ 132 h 233"/>
                  <a:gd name="T92" fmla="*/ 100 w 400"/>
                  <a:gd name="T93" fmla="*/ 147 h 233"/>
                  <a:gd name="T94" fmla="*/ 109 w 400"/>
                  <a:gd name="T95" fmla="*/ 146 h 233"/>
                  <a:gd name="T96" fmla="*/ 124 w 400"/>
                  <a:gd name="T97" fmla="*/ 160 h 233"/>
                  <a:gd name="T98" fmla="*/ 142 w 400"/>
                  <a:gd name="T99" fmla="*/ 159 h 233"/>
                  <a:gd name="T100" fmla="*/ 148 w 400"/>
                  <a:gd name="T101" fmla="*/ 168 h 233"/>
                  <a:gd name="T102" fmla="*/ 168 w 400"/>
                  <a:gd name="T103" fmla="*/ 174 h 233"/>
                  <a:gd name="T104" fmla="*/ 171 w 400"/>
                  <a:gd name="T105" fmla="*/ 181 h 233"/>
                  <a:gd name="T106" fmla="*/ 185 w 400"/>
                  <a:gd name="T107" fmla="*/ 173 h 233"/>
                  <a:gd name="T108" fmla="*/ 195 w 400"/>
                  <a:gd name="T109" fmla="*/ 180 h 233"/>
                  <a:gd name="T110" fmla="*/ 203 w 400"/>
                  <a:gd name="T111" fmla="*/ 166 h 23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00"/>
                  <a:gd name="T169" fmla="*/ 0 h 233"/>
                  <a:gd name="T170" fmla="*/ 400 w 400"/>
                  <a:gd name="T171" fmla="*/ 233 h 23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00" h="233">
                    <a:moveTo>
                      <a:pt x="203" y="166"/>
                    </a:moveTo>
                    <a:cubicBezTo>
                      <a:pt x="212" y="171"/>
                      <a:pt x="213" y="179"/>
                      <a:pt x="213" y="179"/>
                    </a:cubicBezTo>
                    <a:cubicBezTo>
                      <a:pt x="227" y="176"/>
                      <a:pt x="227" y="176"/>
                      <a:pt x="227" y="176"/>
                    </a:cubicBezTo>
                    <a:cubicBezTo>
                      <a:pt x="227" y="176"/>
                      <a:pt x="235" y="186"/>
                      <a:pt x="244" y="194"/>
                    </a:cubicBezTo>
                    <a:cubicBezTo>
                      <a:pt x="253" y="202"/>
                      <a:pt x="262" y="213"/>
                      <a:pt x="262" y="213"/>
                    </a:cubicBezTo>
                    <a:cubicBezTo>
                      <a:pt x="274" y="204"/>
                      <a:pt x="274" y="204"/>
                      <a:pt x="274" y="204"/>
                    </a:cubicBezTo>
                    <a:cubicBezTo>
                      <a:pt x="296" y="218"/>
                      <a:pt x="296" y="218"/>
                      <a:pt x="296" y="218"/>
                    </a:cubicBezTo>
                    <a:cubicBezTo>
                      <a:pt x="296" y="218"/>
                      <a:pt x="300" y="209"/>
                      <a:pt x="313" y="213"/>
                    </a:cubicBezTo>
                    <a:cubicBezTo>
                      <a:pt x="326" y="217"/>
                      <a:pt x="337" y="230"/>
                      <a:pt x="337" y="230"/>
                    </a:cubicBezTo>
                    <a:cubicBezTo>
                      <a:pt x="337" y="230"/>
                      <a:pt x="345" y="219"/>
                      <a:pt x="351" y="219"/>
                    </a:cubicBezTo>
                    <a:cubicBezTo>
                      <a:pt x="357" y="219"/>
                      <a:pt x="352" y="229"/>
                      <a:pt x="361" y="229"/>
                    </a:cubicBezTo>
                    <a:cubicBezTo>
                      <a:pt x="370" y="229"/>
                      <a:pt x="377" y="230"/>
                      <a:pt x="377" y="230"/>
                    </a:cubicBezTo>
                    <a:cubicBezTo>
                      <a:pt x="377" y="230"/>
                      <a:pt x="398" y="233"/>
                      <a:pt x="399" y="224"/>
                    </a:cubicBezTo>
                    <a:cubicBezTo>
                      <a:pt x="400" y="215"/>
                      <a:pt x="400" y="206"/>
                      <a:pt x="400" y="206"/>
                    </a:cubicBezTo>
                    <a:cubicBezTo>
                      <a:pt x="390" y="191"/>
                      <a:pt x="390" y="191"/>
                      <a:pt x="390" y="191"/>
                    </a:cubicBezTo>
                    <a:cubicBezTo>
                      <a:pt x="390" y="159"/>
                      <a:pt x="390" y="159"/>
                      <a:pt x="390" y="159"/>
                    </a:cubicBezTo>
                    <a:cubicBezTo>
                      <a:pt x="384" y="144"/>
                      <a:pt x="384" y="144"/>
                      <a:pt x="384" y="144"/>
                    </a:cubicBezTo>
                    <a:cubicBezTo>
                      <a:pt x="376" y="148"/>
                      <a:pt x="369" y="152"/>
                      <a:pt x="363" y="153"/>
                    </a:cubicBezTo>
                    <a:cubicBezTo>
                      <a:pt x="349" y="154"/>
                      <a:pt x="316" y="134"/>
                      <a:pt x="316" y="134"/>
                    </a:cubicBezTo>
                    <a:cubicBezTo>
                      <a:pt x="316" y="134"/>
                      <a:pt x="314" y="142"/>
                      <a:pt x="304" y="143"/>
                    </a:cubicBezTo>
                    <a:cubicBezTo>
                      <a:pt x="294" y="144"/>
                      <a:pt x="295" y="130"/>
                      <a:pt x="295" y="130"/>
                    </a:cubicBezTo>
                    <a:cubicBezTo>
                      <a:pt x="295" y="130"/>
                      <a:pt x="293" y="144"/>
                      <a:pt x="284" y="143"/>
                    </a:cubicBezTo>
                    <a:cubicBezTo>
                      <a:pt x="275" y="142"/>
                      <a:pt x="275" y="124"/>
                      <a:pt x="275" y="124"/>
                    </a:cubicBezTo>
                    <a:cubicBezTo>
                      <a:pt x="275" y="124"/>
                      <a:pt x="263" y="133"/>
                      <a:pt x="247" y="126"/>
                    </a:cubicBezTo>
                    <a:cubicBezTo>
                      <a:pt x="231" y="119"/>
                      <a:pt x="248" y="116"/>
                      <a:pt x="243" y="109"/>
                    </a:cubicBezTo>
                    <a:cubicBezTo>
                      <a:pt x="238" y="102"/>
                      <a:pt x="223" y="113"/>
                      <a:pt x="223" y="113"/>
                    </a:cubicBezTo>
                    <a:cubicBezTo>
                      <a:pt x="223" y="113"/>
                      <a:pt x="209" y="101"/>
                      <a:pt x="201" y="95"/>
                    </a:cubicBezTo>
                    <a:cubicBezTo>
                      <a:pt x="193" y="89"/>
                      <a:pt x="198" y="73"/>
                      <a:pt x="187" y="66"/>
                    </a:cubicBezTo>
                    <a:cubicBezTo>
                      <a:pt x="176" y="59"/>
                      <a:pt x="172" y="84"/>
                      <a:pt x="168" y="83"/>
                    </a:cubicBezTo>
                    <a:cubicBezTo>
                      <a:pt x="164" y="82"/>
                      <a:pt x="149" y="50"/>
                      <a:pt x="149" y="50"/>
                    </a:cubicBezTo>
                    <a:cubicBezTo>
                      <a:pt x="118" y="44"/>
                      <a:pt x="118" y="44"/>
                      <a:pt x="118" y="44"/>
                    </a:cubicBezTo>
                    <a:cubicBezTo>
                      <a:pt x="118" y="44"/>
                      <a:pt x="100" y="30"/>
                      <a:pt x="86" y="15"/>
                    </a:cubicBezTo>
                    <a:cubicBezTo>
                      <a:pt x="72" y="0"/>
                      <a:pt x="59" y="17"/>
                      <a:pt x="59" y="17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7" y="59"/>
                      <a:pt x="17" y="59"/>
                      <a:pt x="17" y="59"/>
                    </a:cubicBezTo>
                    <a:cubicBezTo>
                      <a:pt x="17" y="59"/>
                      <a:pt x="6" y="61"/>
                      <a:pt x="10" y="67"/>
                    </a:cubicBezTo>
                    <a:cubicBezTo>
                      <a:pt x="14" y="73"/>
                      <a:pt x="19" y="73"/>
                      <a:pt x="19" y="73"/>
                    </a:cubicBezTo>
                    <a:cubicBezTo>
                      <a:pt x="19" y="73"/>
                      <a:pt x="0" y="83"/>
                      <a:pt x="7" y="91"/>
                    </a:cubicBezTo>
                    <a:cubicBezTo>
                      <a:pt x="14" y="99"/>
                      <a:pt x="26" y="110"/>
                      <a:pt x="26" y="110"/>
                    </a:cubicBezTo>
                    <a:cubicBezTo>
                      <a:pt x="36" y="104"/>
                      <a:pt x="36" y="104"/>
                      <a:pt x="36" y="104"/>
                    </a:cubicBezTo>
                    <a:cubicBezTo>
                      <a:pt x="47" y="122"/>
                      <a:pt x="47" y="122"/>
                      <a:pt x="47" y="122"/>
                    </a:cubicBezTo>
                    <a:cubicBezTo>
                      <a:pt x="65" y="122"/>
                      <a:pt x="65" y="122"/>
                      <a:pt x="65" y="122"/>
                    </a:cubicBezTo>
                    <a:cubicBezTo>
                      <a:pt x="72" y="132"/>
                      <a:pt x="72" y="132"/>
                      <a:pt x="72" y="132"/>
                    </a:cubicBezTo>
                    <a:cubicBezTo>
                      <a:pt x="100" y="147"/>
                      <a:pt x="100" y="147"/>
                      <a:pt x="100" y="147"/>
                    </a:cubicBezTo>
                    <a:cubicBezTo>
                      <a:pt x="109" y="146"/>
                      <a:pt x="109" y="146"/>
                      <a:pt x="109" y="146"/>
                    </a:cubicBezTo>
                    <a:cubicBezTo>
                      <a:pt x="109" y="146"/>
                      <a:pt x="116" y="160"/>
                      <a:pt x="124" y="160"/>
                    </a:cubicBezTo>
                    <a:cubicBezTo>
                      <a:pt x="132" y="160"/>
                      <a:pt x="137" y="157"/>
                      <a:pt x="142" y="159"/>
                    </a:cubicBezTo>
                    <a:cubicBezTo>
                      <a:pt x="147" y="161"/>
                      <a:pt x="135" y="166"/>
                      <a:pt x="148" y="168"/>
                    </a:cubicBezTo>
                    <a:cubicBezTo>
                      <a:pt x="161" y="170"/>
                      <a:pt x="168" y="174"/>
                      <a:pt x="168" y="174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6" y="173"/>
                      <a:pt x="185" y="173"/>
                    </a:cubicBezTo>
                    <a:cubicBezTo>
                      <a:pt x="194" y="173"/>
                      <a:pt x="195" y="180"/>
                      <a:pt x="195" y="180"/>
                    </a:cubicBezTo>
                    <a:cubicBezTo>
                      <a:pt x="195" y="180"/>
                      <a:pt x="194" y="161"/>
                      <a:pt x="203" y="16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3" name="MCShape 35">
                <a:extLst>
                  <a:ext uri="{FF2B5EF4-FFF2-40B4-BE49-F238E27FC236}">
                    <a16:creationId xmlns:a16="http://schemas.microsoft.com/office/drawing/2014/main" id="{9592411C-E157-4059-B85D-E3097FE81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3543" y="3311391"/>
                <a:ext cx="103631" cy="57230"/>
              </a:xfrm>
              <a:custGeom>
                <a:avLst/>
                <a:gdLst>
                  <a:gd name="T0" fmla="*/ 66 w 176"/>
                  <a:gd name="T1" fmla="*/ 92 h 93"/>
                  <a:gd name="T2" fmla="*/ 88 w 176"/>
                  <a:gd name="T3" fmla="*/ 84 h 93"/>
                  <a:gd name="T4" fmla="*/ 113 w 176"/>
                  <a:gd name="T5" fmla="*/ 90 h 93"/>
                  <a:gd name="T6" fmla="*/ 139 w 176"/>
                  <a:gd name="T7" fmla="*/ 86 h 93"/>
                  <a:gd name="T8" fmla="*/ 162 w 176"/>
                  <a:gd name="T9" fmla="*/ 86 h 93"/>
                  <a:gd name="T10" fmla="*/ 161 w 176"/>
                  <a:gd name="T11" fmla="*/ 68 h 93"/>
                  <a:gd name="T12" fmla="*/ 161 w 176"/>
                  <a:gd name="T13" fmla="*/ 54 h 93"/>
                  <a:gd name="T14" fmla="*/ 140 w 176"/>
                  <a:gd name="T15" fmla="*/ 48 h 93"/>
                  <a:gd name="T16" fmla="*/ 142 w 176"/>
                  <a:gd name="T17" fmla="*/ 39 h 93"/>
                  <a:gd name="T18" fmla="*/ 129 w 176"/>
                  <a:gd name="T19" fmla="*/ 18 h 93"/>
                  <a:gd name="T20" fmla="*/ 80 w 176"/>
                  <a:gd name="T21" fmla="*/ 25 h 93"/>
                  <a:gd name="T22" fmla="*/ 80 w 176"/>
                  <a:gd name="T23" fmla="*/ 11 h 93"/>
                  <a:gd name="T24" fmla="*/ 56 w 176"/>
                  <a:gd name="T25" fmla="*/ 5 h 93"/>
                  <a:gd name="T26" fmla="*/ 18 w 176"/>
                  <a:gd name="T27" fmla="*/ 56 h 93"/>
                  <a:gd name="T28" fmla="*/ 23 w 176"/>
                  <a:gd name="T29" fmla="*/ 76 h 93"/>
                  <a:gd name="T30" fmla="*/ 50 w 176"/>
                  <a:gd name="T31" fmla="*/ 81 h 93"/>
                  <a:gd name="T32" fmla="*/ 66 w 176"/>
                  <a:gd name="T33" fmla="*/ 92 h 9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76"/>
                  <a:gd name="T52" fmla="*/ 0 h 93"/>
                  <a:gd name="T53" fmla="*/ 176 w 176"/>
                  <a:gd name="T54" fmla="*/ 93 h 9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76" h="93">
                    <a:moveTo>
                      <a:pt x="66" y="92"/>
                    </a:moveTo>
                    <a:cubicBezTo>
                      <a:pt x="85" y="92"/>
                      <a:pt x="79" y="84"/>
                      <a:pt x="88" y="84"/>
                    </a:cubicBezTo>
                    <a:cubicBezTo>
                      <a:pt x="97" y="84"/>
                      <a:pt x="95" y="90"/>
                      <a:pt x="113" y="90"/>
                    </a:cubicBezTo>
                    <a:cubicBezTo>
                      <a:pt x="131" y="90"/>
                      <a:pt x="139" y="86"/>
                      <a:pt x="139" y="86"/>
                    </a:cubicBezTo>
                    <a:cubicBezTo>
                      <a:pt x="139" y="86"/>
                      <a:pt x="148" y="93"/>
                      <a:pt x="162" y="86"/>
                    </a:cubicBezTo>
                    <a:cubicBezTo>
                      <a:pt x="176" y="79"/>
                      <a:pt x="161" y="68"/>
                      <a:pt x="161" y="68"/>
                    </a:cubicBezTo>
                    <a:cubicBezTo>
                      <a:pt x="161" y="54"/>
                      <a:pt x="161" y="54"/>
                      <a:pt x="161" y="54"/>
                    </a:cubicBezTo>
                    <a:cubicBezTo>
                      <a:pt x="161" y="54"/>
                      <a:pt x="144" y="55"/>
                      <a:pt x="140" y="48"/>
                    </a:cubicBezTo>
                    <a:cubicBezTo>
                      <a:pt x="136" y="41"/>
                      <a:pt x="142" y="39"/>
                      <a:pt x="142" y="39"/>
                    </a:cubicBezTo>
                    <a:cubicBezTo>
                      <a:pt x="142" y="39"/>
                      <a:pt x="142" y="29"/>
                      <a:pt x="129" y="18"/>
                    </a:cubicBezTo>
                    <a:cubicBezTo>
                      <a:pt x="116" y="7"/>
                      <a:pt x="80" y="25"/>
                      <a:pt x="80" y="25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1"/>
                      <a:pt x="70" y="10"/>
                      <a:pt x="56" y="5"/>
                    </a:cubicBezTo>
                    <a:cubicBezTo>
                      <a:pt x="42" y="0"/>
                      <a:pt x="18" y="56"/>
                      <a:pt x="18" y="56"/>
                    </a:cubicBezTo>
                    <a:cubicBezTo>
                      <a:pt x="18" y="56"/>
                      <a:pt x="0" y="60"/>
                      <a:pt x="23" y="76"/>
                    </a:cubicBezTo>
                    <a:cubicBezTo>
                      <a:pt x="46" y="92"/>
                      <a:pt x="50" y="81"/>
                      <a:pt x="50" y="81"/>
                    </a:cubicBezTo>
                    <a:cubicBezTo>
                      <a:pt x="50" y="81"/>
                      <a:pt x="47" y="92"/>
                      <a:pt x="66" y="9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4" name="MCShape 36">
                <a:extLst>
                  <a:ext uri="{FF2B5EF4-FFF2-40B4-BE49-F238E27FC236}">
                    <a16:creationId xmlns:a16="http://schemas.microsoft.com/office/drawing/2014/main" id="{2A322072-5BE6-4C7D-B56B-428642EFD3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903" y="3371715"/>
                <a:ext cx="145393" cy="168594"/>
              </a:xfrm>
              <a:custGeom>
                <a:avLst/>
                <a:gdLst>
                  <a:gd name="T0" fmla="*/ 90 w 247"/>
                  <a:gd name="T1" fmla="*/ 275 h 284"/>
                  <a:gd name="T2" fmla="*/ 92 w 247"/>
                  <a:gd name="T3" fmla="*/ 236 h 284"/>
                  <a:gd name="T4" fmla="*/ 142 w 247"/>
                  <a:gd name="T5" fmla="*/ 250 h 284"/>
                  <a:gd name="T6" fmla="*/ 143 w 247"/>
                  <a:gd name="T7" fmla="*/ 227 h 284"/>
                  <a:gd name="T8" fmla="*/ 182 w 247"/>
                  <a:gd name="T9" fmla="*/ 240 h 284"/>
                  <a:gd name="T10" fmla="*/ 190 w 247"/>
                  <a:gd name="T11" fmla="*/ 223 h 284"/>
                  <a:gd name="T12" fmla="*/ 182 w 247"/>
                  <a:gd name="T13" fmla="*/ 202 h 284"/>
                  <a:gd name="T14" fmla="*/ 213 w 247"/>
                  <a:gd name="T15" fmla="*/ 235 h 284"/>
                  <a:gd name="T16" fmla="*/ 210 w 247"/>
                  <a:gd name="T17" fmla="*/ 280 h 284"/>
                  <a:gd name="T18" fmla="*/ 222 w 247"/>
                  <a:gd name="T19" fmla="*/ 284 h 284"/>
                  <a:gd name="T20" fmla="*/ 226 w 247"/>
                  <a:gd name="T21" fmla="*/ 273 h 284"/>
                  <a:gd name="T22" fmla="*/ 247 w 247"/>
                  <a:gd name="T23" fmla="*/ 276 h 284"/>
                  <a:gd name="T24" fmla="*/ 240 w 247"/>
                  <a:gd name="T25" fmla="*/ 237 h 284"/>
                  <a:gd name="T26" fmla="*/ 220 w 247"/>
                  <a:gd name="T27" fmla="*/ 187 h 284"/>
                  <a:gd name="T28" fmla="*/ 204 w 247"/>
                  <a:gd name="T29" fmla="*/ 153 h 284"/>
                  <a:gd name="T30" fmla="*/ 194 w 247"/>
                  <a:gd name="T31" fmla="*/ 170 h 284"/>
                  <a:gd name="T32" fmla="*/ 187 w 247"/>
                  <a:gd name="T33" fmla="*/ 193 h 284"/>
                  <a:gd name="T34" fmla="*/ 178 w 247"/>
                  <a:gd name="T35" fmla="*/ 178 h 284"/>
                  <a:gd name="T36" fmla="*/ 158 w 247"/>
                  <a:gd name="T37" fmla="*/ 159 h 284"/>
                  <a:gd name="T38" fmla="*/ 168 w 247"/>
                  <a:gd name="T39" fmla="*/ 130 h 284"/>
                  <a:gd name="T40" fmla="*/ 193 w 247"/>
                  <a:gd name="T41" fmla="*/ 115 h 284"/>
                  <a:gd name="T42" fmla="*/ 196 w 247"/>
                  <a:gd name="T43" fmla="*/ 92 h 284"/>
                  <a:gd name="T44" fmla="*/ 206 w 247"/>
                  <a:gd name="T45" fmla="*/ 86 h 284"/>
                  <a:gd name="T46" fmla="*/ 184 w 247"/>
                  <a:gd name="T47" fmla="*/ 68 h 284"/>
                  <a:gd name="T48" fmla="*/ 154 w 247"/>
                  <a:gd name="T49" fmla="*/ 79 h 284"/>
                  <a:gd name="T50" fmla="*/ 113 w 247"/>
                  <a:gd name="T51" fmla="*/ 75 h 284"/>
                  <a:gd name="T52" fmla="*/ 86 w 247"/>
                  <a:gd name="T53" fmla="*/ 69 h 284"/>
                  <a:gd name="T54" fmla="*/ 85 w 247"/>
                  <a:gd name="T55" fmla="*/ 46 h 284"/>
                  <a:gd name="T56" fmla="*/ 81 w 247"/>
                  <a:gd name="T57" fmla="*/ 44 h 284"/>
                  <a:gd name="T58" fmla="*/ 77 w 247"/>
                  <a:gd name="T59" fmla="*/ 23 h 284"/>
                  <a:gd name="T60" fmla="*/ 67 w 247"/>
                  <a:gd name="T61" fmla="*/ 17 h 284"/>
                  <a:gd name="T62" fmla="*/ 66 w 247"/>
                  <a:gd name="T63" fmla="*/ 29 h 284"/>
                  <a:gd name="T64" fmla="*/ 50 w 247"/>
                  <a:gd name="T65" fmla="*/ 21 h 284"/>
                  <a:gd name="T66" fmla="*/ 41 w 247"/>
                  <a:gd name="T67" fmla="*/ 3 h 284"/>
                  <a:gd name="T68" fmla="*/ 30 w 247"/>
                  <a:gd name="T69" fmla="*/ 4 h 284"/>
                  <a:gd name="T70" fmla="*/ 33 w 247"/>
                  <a:gd name="T71" fmla="*/ 11 h 284"/>
                  <a:gd name="T72" fmla="*/ 17 w 247"/>
                  <a:gd name="T73" fmla="*/ 3 h 284"/>
                  <a:gd name="T74" fmla="*/ 6 w 247"/>
                  <a:gd name="T75" fmla="*/ 0 h 284"/>
                  <a:gd name="T76" fmla="*/ 11 w 247"/>
                  <a:gd name="T77" fmla="*/ 12 h 284"/>
                  <a:gd name="T78" fmla="*/ 2 w 247"/>
                  <a:gd name="T79" fmla="*/ 35 h 284"/>
                  <a:gd name="T80" fmla="*/ 26 w 247"/>
                  <a:gd name="T81" fmla="*/ 54 h 284"/>
                  <a:gd name="T82" fmla="*/ 43 w 247"/>
                  <a:gd name="T83" fmla="*/ 65 h 284"/>
                  <a:gd name="T84" fmla="*/ 44 w 247"/>
                  <a:gd name="T85" fmla="*/ 73 h 284"/>
                  <a:gd name="T86" fmla="*/ 22 w 247"/>
                  <a:gd name="T87" fmla="*/ 74 h 284"/>
                  <a:gd name="T88" fmla="*/ 22 w 247"/>
                  <a:gd name="T89" fmla="*/ 93 h 284"/>
                  <a:gd name="T90" fmla="*/ 13 w 247"/>
                  <a:gd name="T91" fmla="*/ 106 h 284"/>
                  <a:gd name="T92" fmla="*/ 47 w 247"/>
                  <a:gd name="T93" fmla="*/ 126 h 284"/>
                  <a:gd name="T94" fmla="*/ 35 w 247"/>
                  <a:gd name="T95" fmla="*/ 150 h 284"/>
                  <a:gd name="T96" fmla="*/ 44 w 247"/>
                  <a:gd name="T97" fmla="*/ 170 h 284"/>
                  <a:gd name="T98" fmla="*/ 64 w 247"/>
                  <a:gd name="T99" fmla="*/ 186 h 284"/>
                  <a:gd name="T100" fmla="*/ 63 w 247"/>
                  <a:gd name="T101" fmla="*/ 206 h 284"/>
                  <a:gd name="T102" fmla="*/ 75 w 247"/>
                  <a:gd name="T103" fmla="*/ 234 h 284"/>
                  <a:gd name="T104" fmla="*/ 73 w 247"/>
                  <a:gd name="T105" fmla="*/ 252 h 284"/>
                  <a:gd name="T106" fmla="*/ 90 w 247"/>
                  <a:gd name="T107" fmla="*/ 275 h 2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47"/>
                  <a:gd name="T163" fmla="*/ 0 h 284"/>
                  <a:gd name="T164" fmla="*/ 247 w 247"/>
                  <a:gd name="T165" fmla="*/ 284 h 28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47" h="284">
                    <a:moveTo>
                      <a:pt x="90" y="275"/>
                    </a:moveTo>
                    <a:cubicBezTo>
                      <a:pt x="92" y="236"/>
                      <a:pt x="92" y="236"/>
                      <a:pt x="92" y="236"/>
                    </a:cubicBezTo>
                    <a:cubicBezTo>
                      <a:pt x="92" y="236"/>
                      <a:pt x="134" y="252"/>
                      <a:pt x="142" y="250"/>
                    </a:cubicBezTo>
                    <a:cubicBezTo>
                      <a:pt x="150" y="247"/>
                      <a:pt x="134" y="229"/>
                      <a:pt x="143" y="227"/>
                    </a:cubicBezTo>
                    <a:cubicBezTo>
                      <a:pt x="152" y="225"/>
                      <a:pt x="169" y="245"/>
                      <a:pt x="182" y="240"/>
                    </a:cubicBezTo>
                    <a:cubicBezTo>
                      <a:pt x="195" y="236"/>
                      <a:pt x="190" y="223"/>
                      <a:pt x="190" y="223"/>
                    </a:cubicBezTo>
                    <a:cubicBezTo>
                      <a:pt x="182" y="202"/>
                      <a:pt x="182" y="202"/>
                      <a:pt x="182" y="202"/>
                    </a:cubicBezTo>
                    <a:cubicBezTo>
                      <a:pt x="213" y="235"/>
                      <a:pt x="213" y="235"/>
                      <a:pt x="213" y="235"/>
                    </a:cubicBezTo>
                    <a:cubicBezTo>
                      <a:pt x="213" y="235"/>
                      <a:pt x="201" y="274"/>
                      <a:pt x="210" y="280"/>
                    </a:cubicBezTo>
                    <a:cubicBezTo>
                      <a:pt x="213" y="282"/>
                      <a:pt x="218" y="283"/>
                      <a:pt x="222" y="284"/>
                    </a:cubicBezTo>
                    <a:cubicBezTo>
                      <a:pt x="224" y="277"/>
                      <a:pt x="226" y="273"/>
                      <a:pt x="226" y="273"/>
                    </a:cubicBezTo>
                    <a:cubicBezTo>
                      <a:pt x="247" y="276"/>
                      <a:pt x="247" y="276"/>
                      <a:pt x="247" y="276"/>
                    </a:cubicBezTo>
                    <a:cubicBezTo>
                      <a:pt x="240" y="237"/>
                      <a:pt x="240" y="237"/>
                      <a:pt x="240" y="237"/>
                    </a:cubicBezTo>
                    <a:cubicBezTo>
                      <a:pt x="240" y="237"/>
                      <a:pt x="224" y="198"/>
                      <a:pt x="220" y="187"/>
                    </a:cubicBezTo>
                    <a:cubicBezTo>
                      <a:pt x="216" y="176"/>
                      <a:pt x="222" y="157"/>
                      <a:pt x="204" y="153"/>
                    </a:cubicBezTo>
                    <a:cubicBezTo>
                      <a:pt x="186" y="149"/>
                      <a:pt x="194" y="170"/>
                      <a:pt x="194" y="170"/>
                    </a:cubicBezTo>
                    <a:cubicBezTo>
                      <a:pt x="187" y="193"/>
                      <a:pt x="187" y="193"/>
                      <a:pt x="187" y="193"/>
                    </a:cubicBezTo>
                    <a:cubicBezTo>
                      <a:pt x="178" y="178"/>
                      <a:pt x="178" y="178"/>
                      <a:pt x="178" y="178"/>
                    </a:cubicBezTo>
                    <a:cubicBezTo>
                      <a:pt x="178" y="178"/>
                      <a:pt x="158" y="175"/>
                      <a:pt x="158" y="159"/>
                    </a:cubicBezTo>
                    <a:cubicBezTo>
                      <a:pt x="158" y="143"/>
                      <a:pt x="160" y="133"/>
                      <a:pt x="168" y="130"/>
                    </a:cubicBezTo>
                    <a:cubicBezTo>
                      <a:pt x="176" y="127"/>
                      <a:pt x="190" y="129"/>
                      <a:pt x="193" y="115"/>
                    </a:cubicBezTo>
                    <a:cubicBezTo>
                      <a:pt x="196" y="101"/>
                      <a:pt x="196" y="92"/>
                      <a:pt x="196" y="92"/>
                    </a:cubicBezTo>
                    <a:cubicBezTo>
                      <a:pt x="196" y="92"/>
                      <a:pt x="206" y="96"/>
                      <a:pt x="206" y="86"/>
                    </a:cubicBezTo>
                    <a:cubicBezTo>
                      <a:pt x="206" y="76"/>
                      <a:pt x="184" y="68"/>
                      <a:pt x="184" y="68"/>
                    </a:cubicBezTo>
                    <a:cubicBezTo>
                      <a:pt x="154" y="79"/>
                      <a:pt x="154" y="79"/>
                      <a:pt x="154" y="79"/>
                    </a:cubicBezTo>
                    <a:cubicBezTo>
                      <a:pt x="154" y="79"/>
                      <a:pt x="123" y="75"/>
                      <a:pt x="113" y="75"/>
                    </a:cubicBezTo>
                    <a:cubicBezTo>
                      <a:pt x="103" y="75"/>
                      <a:pt x="86" y="72"/>
                      <a:pt x="86" y="69"/>
                    </a:cubicBezTo>
                    <a:cubicBezTo>
                      <a:pt x="86" y="66"/>
                      <a:pt x="85" y="46"/>
                      <a:pt x="85" y="46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1" y="44"/>
                      <a:pt x="81" y="26"/>
                      <a:pt x="77" y="23"/>
                    </a:cubicBezTo>
                    <a:cubicBezTo>
                      <a:pt x="73" y="20"/>
                      <a:pt x="67" y="17"/>
                      <a:pt x="67" y="17"/>
                    </a:cubicBezTo>
                    <a:cubicBezTo>
                      <a:pt x="66" y="29"/>
                      <a:pt x="66" y="29"/>
                      <a:pt x="66" y="29"/>
                    </a:cubicBezTo>
                    <a:cubicBezTo>
                      <a:pt x="66" y="29"/>
                      <a:pt x="56" y="27"/>
                      <a:pt x="50" y="21"/>
                    </a:cubicBezTo>
                    <a:cubicBezTo>
                      <a:pt x="44" y="15"/>
                      <a:pt x="41" y="3"/>
                      <a:pt x="41" y="3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0" y="24"/>
                      <a:pt x="2" y="35"/>
                    </a:cubicBezTo>
                    <a:cubicBezTo>
                      <a:pt x="4" y="46"/>
                      <a:pt x="26" y="54"/>
                      <a:pt x="26" y="54"/>
                    </a:cubicBezTo>
                    <a:cubicBezTo>
                      <a:pt x="43" y="65"/>
                      <a:pt x="43" y="65"/>
                      <a:pt x="43" y="65"/>
                    </a:cubicBezTo>
                    <a:cubicBezTo>
                      <a:pt x="44" y="73"/>
                      <a:pt x="44" y="73"/>
                      <a:pt x="44" y="73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22" y="93"/>
                      <a:pt x="3" y="96"/>
                      <a:pt x="13" y="106"/>
                    </a:cubicBezTo>
                    <a:cubicBezTo>
                      <a:pt x="23" y="116"/>
                      <a:pt x="50" y="110"/>
                      <a:pt x="47" y="126"/>
                    </a:cubicBezTo>
                    <a:cubicBezTo>
                      <a:pt x="44" y="142"/>
                      <a:pt x="35" y="150"/>
                      <a:pt x="35" y="150"/>
                    </a:cubicBezTo>
                    <a:cubicBezTo>
                      <a:pt x="44" y="170"/>
                      <a:pt x="44" y="170"/>
                      <a:pt x="44" y="170"/>
                    </a:cubicBezTo>
                    <a:cubicBezTo>
                      <a:pt x="64" y="186"/>
                      <a:pt x="64" y="186"/>
                      <a:pt x="64" y="186"/>
                    </a:cubicBezTo>
                    <a:cubicBezTo>
                      <a:pt x="63" y="206"/>
                      <a:pt x="63" y="206"/>
                      <a:pt x="63" y="206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3" y="252"/>
                      <a:pt x="73" y="252"/>
                      <a:pt x="73" y="252"/>
                    </a:cubicBezTo>
                    <a:lnTo>
                      <a:pt x="90" y="275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5" name="MCShape 37">
                <a:extLst>
                  <a:ext uri="{FF2B5EF4-FFF2-40B4-BE49-F238E27FC236}">
                    <a16:creationId xmlns:a16="http://schemas.microsoft.com/office/drawing/2014/main" id="{9B904B6E-68C6-433E-A658-AF6E3B5B4E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1465" y="3068554"/>
                <a:ext cx="768729" cy="934230"/>
              </a:xfrm>
              <a:custGeom>
                <a:avLst/>
                <a:gdLst>
                  <a:gd name="T0" fmla="*/ 1202 w 1304"/>
                  <a:gd name="T1" fmla="*/ 1237 h 1578"/>
                  <a:gd name="T2" fmla="*/ 1259 w 1304"/>
                  <a:gd name="T3" fmla="*/ 1543 h 1578"/>
                  <a:gd name="T4" fmla="*/ 1302 w 1304"/>
                  <a:gd name="T5" fmla="*/ 417 h 1578"/>
                  <a:gd name="T6" fmla="*/ 1231 w 1304"/>
                  <a:gd name="T7" fmla="*/ 379 h 1578"/>
                  <a:gd name="T8" fmla="*/ 1133 w 1304"/>
                  <a:gd name="T9" fmla="*/ 390 h 1578"/>
                  <a:gd name="T10" fmla="*/ 1045 w 1304"/>
                  <a:gd name="T11" fmla="*/ 450 h 1578"/>
                  <a:gd name="T12" fmla="*/ 1042 w 1304"/>
                  <a:gd name="T13" fmla="*/ 497 h 1578"/>
                  <a:gd name="T14" fmla="*/ 926 w 1304"/>
                  <a:gd name="T15" fmla="*/ 487 h 1578"/>
                  <a:gd name="T16" fmla="*/ 882 w 1304"/>
                  <a:gd name="T17" fmla="*/ 450 h 1578"/>
                  <a:gd name="T18" fmla="*/ 853 w 1304"/>
                  <a:gd name="T19" fmla="*/ 520 h 1578"/>
                  <a:gd name="T20" fmla="*/ 766 w 1304"/>
                  <a:gd name="T21" fmla="*/ 495 h 1578"/>
                  <a:gd name="T22" fmla="*/ 695 w 1304"/>
                  <a:gd name="T23" fmla="*/ 457 h 1578"/>
                  <a:gd name="T24" fmla="*/ 640 w 1304"/>
                  <a:gd name="T25" fmla="*/ 459 h 1578"/>
                  <a:gd name="T26" fmla="*/ 564 w 1304"/>
                  <a:gd name="T27" fmla="*/ 423 h 1578"/>
                  <a:gd name="T28" fmla="*/ 499 w 1304"/>
                  <a:gd name="T29" fmla="*/ 382 h 1578"/>
                  <a:gd name="T30" fmla="*/ 518 w 1304"/>
                  <a:gd name="T31" fmla="*/ 323 h 1578"/>
                  <a:gd name="T32" fmla="*/ 481 w 1304"/>
                  <a:gd name="T33" fmla="*/ 283 h 1578"/>
                  <a:gd name="T34" fmla="*/ 412 w 1304"/>
                  <a:gd name="T35" fmla="*/ 221 h 1578"/>
                  <a:gd name="T36" fmla="*/ 423 w 1304"/>
                  <a:gd name="T37" fmla="*/ 194 h 1578"/>
                  <a:gd name="T38" fmla="*/ 395 w 1304"/>
                  <a:gd name="T39" fmla="*/ 129 h 1578"/>
                  <a:gd name="T40" fmla="*/ 438 w 1304"/>
                  <a:gd name="T41" fmla="*/ 69 h 1578"/>
                  <a:gd name="T42" fmla="*/ 319 w 1304"/>
                  <a:gd name="T43" fmla="*/ 29 h 1578"/>
                  <a:gd name="T44" fmla="*/ 266 w 1304"/>
                  <a:gd name="T45" fmla="*/ 74 h 1578"/>
                  <a:gd name="T46" fmla="*/ 156 w 1304"/>
                  <a:gd name="T47" fmla="*/ 89 h 1578"/>
                  <a:gd name="T48" fmla="*/ 186 w 1304"/>
                  <a:gd name="T49" fmla="*/ 141 h 1578"/>
                  <a:gd name="T50" fmla="*/ 219 w 1304"/>
                  <a:gd name="T51" fmla="*/ 196 h 1578"/>
                  <a:gd name="T52" fmla="*/ 235 w 1304"/>
                  <a:gd name="T53" fmla="*/ 268 h 1578"/>
                  <a:gd name="T54" fmla="*/ 179 w 1304"/>
                  <a:gd name="T55" fmla="*/ 372 h 1578"/>
                  <a:gd name="T56" fmla="*/ 107 w 1304"/>
                  <a:gd name="T57" fmla="*/ 437 h 1578"/>
                  <a:gd name="T58" fmla="*/ 33 w 1304"/>
                  <a:gd name="T59" fmla="*/ 493 h 1578"/>
                  <a:gd name="T60" fmla="*/ 74 w 1304"/>
                  <a:gd name="T61" fmla="*/ 551 h 1578"/>
                  <a:gd name="T62" fmla="*/ 98 w 1304"/>
                  <a:gd name="T63" fmla="*/ 635 h 1578"/>
                  <a:gd name="T64" fmla="*/ 15 w 1304"/>
                  <a:gd name="T65" fmla="*/ 630 h 1578"/>
                  <a:gd name="T66" fmla="*/ 78 w 1304"/>
                  <a:gd name="T67" fmla="*/ 697 h 1578"/>
                  <a:gd name="T68" fmla="*/ 70 w 1304"/>
                  <a:gd name="T69" fmla="*/ 779 h 1578"/>
                  <a:gd name="T70" fmla="*/ 213 w 1304"/>
                  <a:gd name="T71" fmla="*/ 781 h 1578"/>
                  <a:gd name="T72" fmla="*/ 267 w 1304"/>
                  <a:gd name="T73" fmla="*/ 1062 h 1578"/>
                  <a:gd name="T74" fmla="*/ 407 w 1304"/>
                  <a:gd name="T75" fmla="*/ 1335 h 1578"/>
                  <a:gd name="T76" fmla="*/ 550 w 1304"/>
                  <a:gd name="T77" fmla="*/ 1443 h 1578"/>
                  <a:gd name="T78" fmla="*/ 601 w 1304"/>
                  <a:gd name="T79" fmla="*/ 1311 h 1578"/>
                  <a:gd name="T80" fmla="*/ 594 w 1304"/>
                  <a:gd name="T81" fmla="*/ 1107 h 1578"/>
                  <a:gd name="T82" fmla="*/ 688 w 1304"/>
                  <a:gd name="T83" fmla="*/ 1044 h 1578"/>
                  <a:gd name="T84" fmla="*/ 820 w 1304"/>
                  <a:gd name="T85" fmla="*/ 866 h 1578"/>
                  <a:gd name="T86" fmla="*/ 873 w 1304"/>
                  <a:gd name="T87" fmla="*/ 795 h 1578"/>
                  <a:gd name="T88" fmla="*/ 942 w 1304"/>
                  <a:gd name="T89" fmla="*/ 744 h 1578"/>
                  <a:gd name="T90" fmla="*/ 959 w 1304"/>
                  <a:gd name="T91" fmla="*/ 697 h 1578"/>
                  <a:gd name="T92" fmla="*/ 917 w 1304"/>
                  <a:gd name="T93" fmla="*/ 604 h 1578"/>
                  <a:gd name="T94" fmla="*/ 897 w 1304"/>
                  <a:gd name="T95" fmla="*/ 546 h 1578"/>
                  <a:gd name="T96" fmla="*/ 925 w 1304"/>
                  <a:gd name="T97" fmla="*/ 515 h 1578"/>
                  <a:gd name="T98" fmla="*/ 972 w 1304"/>
                  <a:gd name="T99" fmla="*/ 534 h 1578"/>
                  <a:gd name="T100" fmla="*/ 1049 w 1304"/>
                  <a:gd name="T101" fmla="*/ 590 h 1578"/>
                  <a:gd name="T102" fmla="*/ 1063 w 1304"/>
                  <a:gd name="T103" fmla="*/ 641 h 1578"/>
                  <a:gd name="T104" fmla="*/ 1099 w 1304"/>
                  <a:gd name="T105" fmla="*/ 664 h 1578"/>
                  <a:gd name="T106" fmla="*/ 1161 w 1304"/>
                  <a:gd name="T107" fmla="*/ 750 h 1578"/>
                  <a:gd name="T108" fmla="*/ 1143 w 1304"/>
                  <a:gd name="T109" fmla="*/ 648 h 1578"/>
                  <a:gd name="T110" fmla="*/ 1199 w 1304"/>
                  <a:gd name="T111" fmla="*/ 576 h 1578"/>
                  <a:gd name="T112" fmla="*/ 1238 w 1304"/>
                  <a:gd name="T113" fmla="*/ 497 h 15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04"/>
                  <a:gd name="T172" fmla="*/ 0 h 1578"/>
                  <a:gd name="T173" fmla="*/ 1304 w 1304"/>
                  <a:gd name="T174" fmla="*/ 1578 h 15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04" h="1578">
                    <a:moveTo>
                      <a:pt x="1204" y="1196"/>
                    </a:moveTo>
                    <a:cubicBezTo>
                      <a:pt x="1184" y="1198"/>
                      <a:pt x="1188" y="1259"/>
                      <a:pt x="1188" y="1259"/>
                    </a:cubicBezTo>
                    <a:cubicBezTo>
                      <a:pt x="1191" y="1325"/>
                      <a:pt x="1191" y="1325"/>
                      <a:pt x="1191" y="1325"/>
                    </a:cubicBezTo>
                    <a:cubicBezTo>
                      <a:pt x="1202" y="1305"/>
                      <a:pt x="1202" y="1305"/>
                      <a:pt x="1202" y="1305"/>
                    </a:cubicBezTo>
                    <a:cubicBezTo>
                      <a:pt x="1202" y="1237"/>
                      <a:pt x="1202" y="1237"/>
                      <a:pt x="1202" y="1237"/>
                    </a:cubicBezTo>
                    <a:cubicBezTo>
                      <a:pt x="1202" y="1237"/>
                      <a:pt x="1220" y="1194"/>
                      <a:pt x="1204" y="1196"/>
                    </a:cubicBezTo>
                    <a:close/>
                    <a:moveTo>
                      <a:pt x="1195" y="1357"/>
                    </a:moveTo>
                    <a:cubicBezTo>
                      <a:pt x="1180" y="1357"/>
                      <a:pt x="1196" y="1389"/>
                      <a:pt x="1196" y="1389"/>
                    </a:cubicBezTo>
                    <a:cubicBezTo>
                      <a:pt x="1196" y="1389"/>
                      <a:pt x="1209" y="1357"/>
                      <a:pt x="1195" y="1357"/>
                    </a:cubicBezTo>
                    <a:close/>
                    <a:moveTo>
                      <a:pt x="1259" y="1543"/>
                    </a:moveTo>
                    <a:cubicBezTo>
                      <a:pt x="1251" y="1544"/>
                      <a:pt x="1255" y="1578"/>
                      <a:pt x="1270" y="1578"/>
                    </a:cubicBezTo>
                    <a:cubicBezTo>
                      <a:pt x="1270" y="1578"/>
                      <a:pt x="1267" y="1542"/>
                      <a:pt x="1259" y="1543"/>
                    </a:cubicBezTo>
                    <a:close/>
                    <a:moveTo>
                      <a:pt x="1280" y="454"/>
                    </a:moveTo>
                    <a:cubicBezTo>
                      <a:pt x="1280" y="445"/>
                      <a:pt x="1304" y="436"/>
                      <a:pt x="1304" y="436"/>
                    </a:cubicBezTo>
                    <a:cubicBezTo>
                      <a:pt x="1302" y="417"/>
                      <a:pt x="1302" y="417"/>
                      <a:pt x="1302" y="417"/>
                    </a:cubicBezTo>
                    <a:cubicBezTo>
                      <a:pt x="1302" y="417"/>
                      <a:pt x="1287" y="413"/>
                      <a:pt x="1280" y="413"/>
                    </a:cubicBezTo>
                    <a:cubicBezTo>
                      <a:pt x="1273" y="413"/>
                      <a:pt x="1258" y="413"/>
                      <a:pt x="1250" y="411"/>
                    </a:cubicBezTo>
                    <a:cubicBezTo>
                      <a:pt x="1242" y="409"/>
                      <a:pt x="1262" y="400"/>
                      <a:pt x="1262" y="400"/>
                    </a:cubicBezTo>
                    <a:cubicBezTo>
                      <a:pt x="1251" y="380"/>
                      <a:pt x="1251" y="380"/>
                      <a:pt x="1251" y="380"/>
                    </a:cubicBezTo>
                    <a:cubicBezTo>
                      <a:pt x="1251" y="380"/>
                      <a:pt x="1240" y="381"/>
                      <a:pt x="1231" y="379"/>
                    </a:cubicBezTo>
                    <a:cubicBezTo>
                      <a:pt x="1222" y="377"/>
                      <a:pt x="1238" y="369"/>
                      <a:pt x="1238" y="369"/>
                    </a:cubicBezTo>
                    <a:cubicBezTo>
                      <a:pt x="1238" y="369"/>
                      <a:pt x="1237" y="364"/>
                      <a:pt x="1219" y="355"/>
                    </a:cubicBezTo>
                    <a:cubicBezTo>
                      <a:pt x="1201" y="346"/>
                      <a:pt x="1209" y="377"/>
                      <a:pt x="1198" y="377"/>
                    </a:cubicBezTo>
                    <a:cubicBezTo>
                      <a:pt x="1187" y="377"/>
                      <a:pt x="1173" y="363"/>
                      <a:pt x="1165" y="363"/>
                    </a:cubicBezTo>
                    <a:cubicBezTo>
                      <a:pt x="1157" y="363"/>
                      <a:pt x="1140" y="382"/>
                      <a:pt x="1133" y="390"/>
                    </a:cubicBezTo>
                    <a:cubicBezTo>
                      <a:pt x="1126" y="398"/>
                      <a:pt x="1102" y="394"/>
                      <a:pt x="1102" y="394"/>
                    </a:cubicBezTo>
                    <a:cubicBezTo>
                      <a:pt x="1102" y="394"/>
                      <a:pt x="1109" y="410"/>
                      <a:pt x="1107" y="415"/>
                    </a:cubicBezTo>
                    <a:cubicBezTo>
                      <a:pt x="1105" y="420"/>
                      <a:pt x="1084" y="422"/>
                      <a:pt x="1084" y="422"/>
                    </a:cubicBezTo>
                    <a:cubicBezTo>
                      <a:pt x="1084" y="422"/>
                      <a:pt x="1092" y="438"/>
                      <a:pt x="1084" y="445"/>
                    </a:cubicBezTo>
                    <a:cubicBezTo>
                      <a:pt x="1076" y="452"/>
                      <a:pt x="1045" y="450"/>
                      <a:pt x="1045" y="450"/>
                    </a:cubicBezTo>
                    <a:cubicBezTo>
                      <a:pt x="1045" y="450"/>
                      <a:pt x="1039" y="452"/>
                      <a:pt x="1043" y="459"/>
                    </a:cubicBezTo>
                    <a:cubicBezTo>
                      <a:pt x="1047" y="466"/>
                      <a:pt x="1064" y="465"/>
                      <a:pt x="1064" y="465"/>
                    </a:cubicBezTo>
                    <a:cubicBezTo>
                      <a:pt x="1064" y="479"/>
                      <a:pt x="1064" y="479"/>
                      <a:pt x="1064" y="479"/>
                    </a:cubicBezTo>
                    <a:cubicBezTo>
                      <a:pt x="1064" y="479"/>
                      <a:pt x="1079" y="490"/>
                      <a:pt x="1065" y="497"/>
                    </a:cubicBezTo>
                    <a:cubicBezTo>
                      <a:pt x="1051" y="504"/>
                      <a:pt x="1042" y="497"/>
                      <a:pt x="1042" y="497"/>
                    </a:cubicBezTo>
                    <a:cubicBezTo>
                      <a:pt x="1042" y="497"/>
                      <a:pt x="1034" y="501"/>
                      <a:pt x="1016" y="501"/>
                    </a:cubicBezTo>
                    <a:cubicBezTo>
                      <a:pt x="998" y="501"/>
                      <a:pt x="1000" y="495"/>
                      <a:pt x="991" y="495"/>
                    </a:cubicBezTo>
                    <a:cubicBezTo>
                      <a:pt x="982" y="495"/>
                      <a:pt x="988" y="503"/>
                      <a:pt x="969" y="503"/>
                    </a:cubicBezTo>
                    <a:cubicBezTo>
                      <a:pt x="950" y="503"/>
                      <a:pt x="953" y="492"/>
                      <a:pt x="953" y="492"/>
                    </a:cubicBezTo>
                    <a:cubicBezTo>
                      <a:pt x="953" y="492"/>
                      <a:pt x="949" y="503"/>
                      <a:pt x="926" y="487"/>
                    </a:cubicBezTo>
                    <a:cubicBezTo>
                      <a:pt x="903" y="471"/>
                      <a:pt x="921" y="467"/>
                      <a:pt x="921" y="467"/>
                    </a:cubicBezTo>
                    <a:cubicBezTo>
                      <a:pt x="921" y="467"/>
                      <a:pt x="916" y="468"/>
                      <a:pt x="911" y="466"/>
                    </a:cubicBezTo>
                    <a:cubicBezTo>
                      <a:pt x="906" y="464"/>
                      <a:pt x="917" y="436"/>
                      <a:pt x="906" y="427"/>
                    </a:cubicBezTo>
                    <a:cubicBezTo>
                      <a:pt x="899" y="422"/>
                      <a:pt x="888" y="428"/>
                      <a:pt x="876" y="435"/>
                    </a:cubicBezTo>
                    <a:cubicBezTo>
                      <a:pt x="882" y="450"/>
                      <a:pt x="882" y="450"/>
                      <a:pt x="882" y="450"/>
                    </a:cubicBezTo>
                    <a:cubicBezTo>
                      <a:pt x="882" y="482"/>
                      <a:pt x="882" y="482"/>
                      <a:pt x="882" y="482"/>
                    </a:cubicBezTo>
                    <a:cubicBezTo>
                      <a:pt x="892" y="497"/>
                      <a:pt x="892" y="497"/>
                      <a:pt x="892" y="497"/>
                    </a:cubicBezTo>
                    <a:cubicBezTo>
                      <a:pt x="892" y="497"/>
                      <a:pt x="892" y="506"/>
                      <a:pt x="891" y="515"/>
                    </a:cubicBezTo>
                    <a:cubicBezTo>
                      <a:pt x="890" y="524"/>
                      <a:pt x="869" y="521"/>
                      <a:pt x="869" y="521"/>
                    </a:cubicBezTo>
                    <a:cubicBezTo>
                      <a:pt x="869" y="521"/>
                      <a:pt x="862" y="520"/>
                      <a:pt x="853" y="520"/>
                    </a:cubicBezTo>
                    <a:cubicBezTo>
                      <a:pt x="844" y="520"/>
                      <a:pt x="849" y="510"/>
                      <a:pt x="843" y="510"/>
                    </a:cubicBezTo>
                    <a:cubicBezTo>
                      <a:pt x="837" y="510"/>
                      <a:pt x="829" y="521"/>
                      <a:pt x="829" y="521"/>
                    </a:cubicBezTo>
                    <a:cubicBezTo>
                      <a:pt x="829" y="521"/>
                      <a:pt x="818" y="508"/>
                      <a:pt x="805" y="504"/>
                    </a:cubicBezTo>
                    <a:cubicBezTo>
                      <a:pt x="792" y="500"/>
                      <a:pt x="788" y="509"/>
                      <a:pt x="788" y="509"/>
                    </a:cubicBezTo>
                    <a:cubicBezTo>
                      <a:pt x="766" y="495"/>
                      <a:pt x="766" y="495"/>
                      <a:pt x="766" y="495"/>
                    </a:cubicBezTo>
                    <a:cubicBezTo>
                      <a:pt x="754" y="504"/>
                      <a:pt x="754" y="504"/>
                      <a:pt x="754" y="504"/>
                    </a:cubicBezTo>
                    <a:cubicBezTo>
                      <a:pt x="754" y="504"/>
                      <a:pt x="745" y="493"/>
                      <a:pt x="736" y="485"/>
                    </a:cubicBezTo>
                    <a:cubicBezTo>
                      <a:pt x="727" y="477"/>
                      <a:pt x="719" y="467"/>
                      <a:pt x="719" y="467"/>
                    </a:cubicBezTo>
                    <a:cubicBezTo>
                      <a:pt x="705" y="470"/>
                      <a:pt x="705" y="470"/>
                      <a:pt x="705" y="470"/>
                    </a:cubicBezTo>
                    <a:cubicBezTo>
                      <a:pt x="705" y="470"/>
                      <a:pt x="704" y="462"/>
                      <a:pt x="695" y="457"/>
                    </a:cubicBezTo>
                    <a:cubicBezTo>
                      <a:pt x="686" y="452"/>
                      <a:pt x="687" y="471"/>
                      <a:pt x="687" y="471"/>
                    </a:cubicBezTo>
                    <a:cubicBezTo>
                      <a:pt x="687" y="471"/>
                      <a:pt x="686" y="464"/>
                      <a:pt x="677" y="464"/>
                    </a:cubicBezTo>
                    <a:cubicBezTo>
                      <a:pt x="668" y="464"/>
                      <a:pt x="663" y="472"/>
                      <a:pt x="663" y="472"/>
                    </a:cubicBezTo>
                    <a:cubicBezTo>
                      <a:pt x="660" y="465"/>
                      <a:pt x="660" y="465"/>
                      <a:pt x="660" y="465"/>
                    </a:cubicBezTo>
                    <a:cubicBezTo>
                      <a:pt x="660" y="465"/>
                      <a:pt x="653" y="461"/>
                      <a:pt x="640" y="459"/>
                    </a:cubicBezTo>
                    <a:cubicBezTo>
                      <a:pt x="627" y="457"/>
                      <a:pt x="639" y="452"/>
                      <a:pt x="634" y="450"/>
                    </a:cubicBezTo>
                    <a:cubicBezTo>
                      <a:pt x="629" y="448"/>
                      <a:pt x="624" y="451"/>
                      <a:pt x="616" y="451"/>
                    </a:cubicBezTo>
                    <a:cubicBezTo>
                      <a:pt x="608" y="451"/>
                      <a:pt x="601" y="437"/>
                      <a:pt x="601" y="437"/>
                    </a:cubicBezTo>
                    <a:cubicBezTo>
                      <a:pt x="592" y="438"/>
                      <a:pt x="592" y="438"/>
                      <a:pt x="592" y="438"/>
                    </a:cubicBezTo>
                    <a:cubicBezTo>
                      <a:pt x="564" y="423"/>
                      <a:pt x="564" y="423"/>
                      <a:pt x="564" y="423"/>
                    </a:cubicBezTo>
                    <a:cubicBezTo>
                      <a:pt x="557" y="413"/>
                      <a:pt x="557" y="413"/>
                      <a:pt x="557" y="413"/>
                    </a:cubicBezTo>
                    <a:cubicBezTo>
                      <a:pt x="539" y="413"/>
                      <a:pt x="539" y="413"/>
                      <a:pt x="539" y="413"/>
                    </a:cubicBezTo>
                    <a:cubicBezTo>
                      <a:pt x="528" y="395"/>
                      <a:pt x="528" y="395"/>
                      <a:pt x="528" y="395"/>
                    </a:cubicBezTo>
                    <a:cubicBezTo>
                      <a:pt x="518" y="401"/>
                      <a:pt x="518" y="401"/>
                      <a:pt x="518" y="401"/>
                    </a:cubicBezTo>
                    <a:cubicBezTo>
                      <a:pt x="518" y="401"/>
                      <a:pt x="506" y="390"/>
                      <a:pt x="499" y="382"/>
                    </a:cubicBezTo>
                    <a:cubicBezTo>
                      <a:pt x="492" y="374"/>
                      <a:pt x="511" y="364"/>
                      <a:pt x="511" y="364"/>
                    </a:cubicBezTo>
                    <a:cubicBezTo>
                      <a:pt x="511" y="364"/>
                      <a:pt x="506" y="364"/>
                      <a:pt x="502" y="358"/>
                    </a:cubicBezTo>
                    <a:cubicBezTo>
                      <a:pt x="498" y="352"/>
                      <a:pt x="509" y="350"/>
                      <a:pt x="509" y="350"/>
                    </a:cubicBezTo>
                    <a:cubicBezTo>
                      <a:pt x="503" y="341"/>
                      <a:pt x="503" y="341"/>
                      <a:pt x="503" y="341"/>
                    </a:cubicBezTo>
                    <a:cubicBezTo>
                      <a:pt x="518" y="323"/>
                      <a:pt x="518" y="323"/>
                      <a:pt x="518" y="323"/>
                    </a:cubicBezTo>
                    <a:cubicBezTo>
                      <a:pt x="524" y="310"/>
                      <a:pt x="524" y="310"/>
                      <a:pt x="524" y="310"/>
                    </a:cubicBezTo>
                    <a:cubicBezTo>
                      <a:pt x="509" y="296"/>
                      <a:pt x="509" y="296"/>
                      <a:pt x="509" y="296"/>
                    </a:cubicBezTo>
                    <a:cubicBezTo>
                      <a:pt x="509" y="296"/>
                      <a:pt x="498" y="296"/>
                      <a:pt x="492" y="293"/>
                    </a:cubicBezTo>
                    <a:cubicBezTo>
                      <a:pt x="486" y="290"/>
                      <a:pt x="492" y="282"/>
                      <a:pt x="492" y="282"/>
                    </a:cubicBezTo>
                    <a:cubicBezTo>
                      <a:pt x="481" y="283"/>
                      <a:pt x="481" y="283"/>
                      <a:pt x="481" y="283"/>
                    </a:cubicBezTo>
                    <a:cubicBezTo>
                      <a:pt x="466" y="272"/>
                      <a:pt x="466" y="272"/>
                      <a:pt x="466" y="272"/>
                    </a:cubicBezTo>
                    <a:cubicBezTo>
                      <a:pt x="466" y="272"/>
                      <a:pt x="456" y="270"/>
                      <a:pt x="445" y="266"/>
                    </a:cubicBezTo>
                    <a:cubicBezTo>
                      <a:pt x="434" y="262"/>
                      <a:pt x="430" y="247"/>
                      <a:pt x="430" y="247"/>
                    </a:cubicBezTo>
                    <a:cubicBezTo>
                      <a:pt x="430" y="247"/>
                      <a:pt x="419" y="252"/>
                      <a:pt x="412" y="249"/>
                    </a:cubicBezTo>
                    <a:cubicBezTo>
                      <a:pt x="405" y="246"/>
                      <a:pt x="412" y="221"/>
                      <a:pt x="412" y="221"/>
                    </a:cubicBezTo>
                    <a:cubicBezTo>
                      <a:pt x="412" y="221"/>
                      <a:pt x="392" y="210"/>
                      <a:pt x="390" y="200"/>
                    </a:cubicBezTo>
                    <a:cubicBezTo>
                      <a:pt x="388" y="190"/>
                      <a:pt x="401" y="185"/>
                      <a:pt x="405" y="185"/>
                    </a:cubicBezTo>
                    <a:cubicBezTo>
                      <a:pt x="409" y="185"/>
                      <a:pt x="407" y="195"/>
                      <a:pt x="407" y="195"/>
                    </a:cubicBezTo>
                    <a:cubicBezTo>
                      <a:pt x="417" y="203"/>
                      <a:pt x="417" y="203"/>
                      <a:pt x="417" y="203"/>
                    </a:cubicBezTo>
                    <a:cubicBezTo>
                      <a:pt x="423" y="194"/>
                      <a:pt x="423" y="194"/>
                      <a:pt x="423" y="194"/>
                    </a:cubicBezTo>
                    <a:cubicBezTo>
                      <a:pt x="423" y="194"/>
                      <a:pt x="432" y="191"/>
                      <a:pt x="440" y="186"/>
                    </a:cubicBezTo>
                    <a:cubicBezTo>
                      <a:pt x="448" y="181"/>
                      <a:pt x="429" y="166"/>
                      <a:pt x="429" y="166"/>
                    </a:cubicBezTo>
                    <a:cubicBezTo>
                      <a:pt x="424" y="157"/>
                      <a:pt x="424" y="157"/>
                      <a:pt x="424" y="157"/>
                    </a:cubicBezTo>
                    <a:cubicBezTo>
                      <a:pt x="424" y="157"/>
                      <a:pt x="419" y="154"/>
                      <a:pt x="404" y="147"/>
                    </a:cubicBezTo>
                    <a:cubicBezTo>
                      <a:pt x="389" y="140"/>
                      <a:pt x="395" y="129"/>
                      <a:pt x="395" y="129"/>
                    </a:cubicBezTo>
                    <a:cubicBezTo>
                      <a:pt x="406" y="123"/>
                      <a:pt x="406" y="123"/>
                      <a:pt x="406" y="123"/>
                    </a:cubicBezTo>
                    <a:cubicBezTo>
                      <a:pt x="394" y="107"/>
                      <a:pt x="394" y="107"/>
                      <a:pt x="394" y="107"/>
                    </a:cubicBezTo>
                    <a:cubicBezTo>
                      <a:pt x="394" y="107"/>
                      <a:pt x="413" y="108"/>
                      <a:pt x="422" y="103"/>
                    </a:cubicBezTo>
                    <a:cubicBezTo>
                      <a:pt x="431" y="98"/>
                      <a:pt x="425" y="74"/>
                      <a:pt x="425" y="74"/>
                    </a:cubicBezTo>
                    <a:cubicBezTo>
                      <a:pt x="425" y="74"/>
                      <a:pt x="434" y="74"/>
                      <a:pt x="438" y="69"/>
                    </a:cubicBezTo>
                    <a:cubicBezTo>
                      <a:pt x="442" y="64"/>
                      <a:pt x="438" y="28"/>
                      <a:pt x="438" y="28"/>
                    </a:cubicBezTo>
                    <a:cubicBezTo>
                      <a:pt x="438" y="28"/>
                      <a:pt x="424" y="30"/>
                      <a:pt x="413" y="28"/>
                    </a:cubicBezTo>
                    <a:cubicBezTo>
                      <a:pt x="402" y="26"/>
                      <a:pt x="400" y="12"/>
                      <a:pt x="383" y="6"/>
                    </a:cubicBezTo>
                    <a:cubicBezTo>
                      <a:pt x="366" y="0"/>
                      <a:pt x="335" y="29"/>
                      <a:pt x="335" y="29"/>
                    </a:cubicBezTo>
                    <a:cubicBezTo>
                      <a:pt x="335" y="29"/>
                      <a:pt x="328" y="29"/>
                      <a:pt x="319" y="29"/>
                    </a:cubicBezTo>
                    <a:cubicBezTo>
                      <a:pt x="304" y="51"/>
                      <a:pt x="304" y="51"/>
                      <a:pt x="304" y="51"/>
                    </a:cubicBezTo>
                    <a:cubicBezTo>
                      <a:pt x="289" y="57"/>
                      <a:pt x="289" y="57"/>
                      <a:pt x="289" y="57"/>
                    </a:cubicBezTo>
                    <a:cubicBezTo>
                      <a:pt x="289" y="57"/>
                      <a:pt x="289" y="68"/>
                      <a:pt x="286" y="69"/>
                    </a:cubicBezTo>
                    <a:cubicBezTo>
                      <a:pt x="283" y="70"/>
                      <a:pt x="272" y="69"/>
                      <a:pt x="272" y="69"/>
                    </a:cubicBezTo>
                    <a:cubicBezTo>
                      <a:pt x="266" y="74"/>
                      <a:pt x="266" y="74"/>
                      <a:pt x="266" y="74"/>
                    </a:cubicBezTo>
                    <a:cubicBezTo>
                      <a:pt x="262" y="70"/>
                      <a:pt x="262" y="70"/>
                      <a:pt x="262" y="70"/>
                    </a:cubicBezTo>
                    <a:cubicBezTo>
                      <a:pt x="262" y="70"/>
                      <a:pt x="244" y="83"/>
                      <a:pt x="237" y="84"/>
                    </a:cubicBezTo>
                    <a:cubicBezTo>
                      <a:pt x="230" y="85"/>
                      <a:pt x="227" y="73"/>
                      <a:pt x="227" y="73"/>
                    </a:cubicBezTo>
                    <a:cubicBezTo>
                      <a:pt x="227" y="73"/>
                      <a:pt x="198" y="67"/>
                      <a:pt x="176" y="70"/>
                    </a:cubicBezTo>
                    <a:cubicBezTo>
                      <a:pt x="154" y="73"/>
                      <a:pt x="156" y="89"/>
                      <a:pt x="156" y="89"/>
                    </a:cubicBezTo>
                    <a:cubicBezTo>
                      <a:pt x="171" y="99"/>
                      <a:pt x="171" y="99"/>
                      <a:pt x="171" y="99"/>
                    </a:cubicBezTo>
                    <a:cubicBezTo>
                      <a:pt x="167" y="108"/>
                      <a:pt x="167" y="108"/>
                      <a:pt x="167" y="108"/>
                    </a:cubicBezTo>
                    <a:cubicBezTo>
                      <a:pt x="187" y="112"/>
                      <a:pt x="187" y="112"/>
                      <a:pt x="187" y="112"/>
                    </a:cubicBezTo>
                    <a:cubicBezTo>
                      <a:pt x="187" y="112"/>
                      <a:pt x="178" y="120"/>
                      <a:pt x="175" y="130"/>
                    </a:cubicBezTo>
                    <a:cubicBezTo>
                      <a:pt x="172" y="140"/>
                      <a:pt x="186" y="141"/>
                      <a:pt x="186" y="141"/>
                    </a:cubicBezTo>
                    <a:cubicBezTo>
                      <a:pt x="186" y="141"/>
                      <a:pt x="185" y="149"/>
                      <a:pt x="184" y="157"/>
                    </a:cubicBezTo>
                    <a:cubicBezTo>
                      <a:pt x="183" y="165"/>
                      <a:pt x="194" y="162"/>
                      <a:pt x="194" y="162"/>
                    </a:cubicBezTo>
                    <a:cubicBezTo>
                      <a:pt x="202" y="172"/>
                      <a:pt x="202" y="172"/>
                      <a:pt x="202" y="172"/>
                    </a:cubicBezTo>
                    <a:cubicBezTo>
                      <a:pt x="216" y="173"/>
                      <a:pt x="216" y="173"/>
                      <a:pt x="216" y="173"/>
                    </a:cubicBezTo>
                    <a:cubicBezTo>
                      <a:pt x="219" y="196"/>
                      <a:pt x="219" y="196"/>
                      <a:pt x="219" y="196"/>
                    </a:cubicBezTo>
                    <a:cubicBezTo>
                      <a:pt x="243" y="195"/>
                      <a:pt x="243" y="195"/>
                      <a:pt x="243" y="195"/>
                    </a:cubicBezTo>
                    <a:cubicBezTo>
                      <a:pt x="243" y="195"/>
                      <a:pt x="255" y="200"/>
                      <a:pt x="256" y="209"/>
                    </a:cubicBezTo>
                    <a:cubicBezTo>
                      <a:pt x="257" y="218"/>
                      <a:pt x="228" y="222"/>
                      <a:pt x="224" y="224"/>
                    </a:cubicBezTo>
                    <a:cubicBezTo>
                      <a:pt x="220" y="226"/>
                      <a:pt x="223" y="240"/>
                      <a:pt x="223" y="244"/>
                    </a:cubicBezTo>
                    <a:cubicBezTo>
                      <a:pt x="223" y="248"/>
                      <a:pt x="235" y="268"/>
                      <a:pt x="235" y="268"/>
                    </a:cubicBezTo>
                    <a:cubicBezTo>
                      <a:pt x="217" y="281"/>
                      <a:pt x="217" y="281"/>
                      <a:pt x="217" y="281"/>
                    </a:cubicBezTo>
                    <a:cubicBezTo>
                      <a:pt x="200" y="305"/>
                      <a:pt x="200" y="305"/>
                      <a:pt x="200" y="305"/>
                    </a:cubicBezTo>
                    <a:cubicBezTo>
                      <a:pt x="211" y="322"/>
                      <a:pt x="211" y="322"/>
                      <a:pt x="211" y="322"/>
                    </a:cubicBezTo>
                    <a:cubicBezTo>
                      <a:pt x="211" y="322"/>
                      <a:pt x="192" y="323"/>
                      <a:pt x="188" y="332"/>
                    </a:cubicBezTo>
                    <a:cubicBezTo>
                      <a:pt x="184" y="341"/>
                      <a:pt x="187" y="359"/>
                      <a:pt x="179" y="372"/>
                    </a:cubicBezTo>
                    <a:cubicBezTo>
                      <a:pt x="171" y="385"/>
                      <a:pt x="155" y="388"/>
                      <a:pt x="151" y="391"/>
                    </a:cubicBezTo>
                    <a:cubicBezTo>
                      <a:pt x="147" y="394"/>
                      <a:pt x="146" y="414"/>
                      <a:pt x="146" y="414"/>
                    </a:cubicBezTo>
                    <a:cubicBezTo>
                      <a:pt x="137" y="419"/>
                      <a:pt x="137" y="419"/>
                      <a:pt x="137" y="419"/>
                    </a:cubicBezTo>
                    <a:cubicBezTo>
                      <a:pt x="137" y="419"/>
                      <a:pt x="136" y="429"/>
                      <a:pt x="129" y="437"/>
                    </a:cubicBezTo>
                    <a:cubicBezTo>
                      <a:pt x="122" y="445"/>
                      <a:pt x="107" y="437"/>
                      <a:pt x="107" y="437"/>
                    </a:cubicBezTo>
                    <a:cubicBezTo>
                      <a:pt x="107" y="437"/>
                      <a:pt x="102" y="445"/>
                      <a:pt x="89" y="447"/>
                    </a:cubicBezTo>
                    <a:cubicBezTo>
                      <a:pt x="76" y="449"/>
                      <a:pt x="84" y="432"/>
                      <a:pt x="70" y="434"/>
                    </a:cubicBezTo>
                    <a:cubicBezTo>
                      <a:pt x="56" y="436"/>
                      <a:pt x="57" y="450"/>
                      <a:pt x="57" y="450"/>
                    </a:cubicBezTo>
                    <a:cubicBezTo>
                      <a:pt x="57" y="450"/>
                      <a:pt x="50" y="462"/>
                      <a:pt x="42" y="469"/>
                    </a:cubicBezTo>
                    <a:cubicBezTo>
                      <a:pt x="34" y="476"/>
                      <a:pt x="33" y="476"/>
                      <a:pt x="33" y="493"/>
                    </a:cubicBezTo>
                    <a:cubicBezTo>
                      <a:pt x="33" y="510"/>
                      <a:pt x="48" y="508"/>
                      <a:pt x="48" y="508"/>
                    </a:cubicBezTo>
                    <a:cubicBezTo>
                      <a:pt x="66" y="506"/>
                      <a:pt x="66" y="506"/>
                      <a:pt x="66" y="506"/>
                    </a:cubicBezTo>
                    <a:cubicBezTo>
                      <a:pt x="67" y="516"/>
                      <a:pt x="67" y="516"/>
                      <a:pt x="67" y="516"/>
                    </a:cubicBezTo>
                    <a:cubicBezTo>
                      <a:pt x="65" y="536"/>
                      <a:pt x="65" y="536"/>
                      <a:pt x="65" y="536"/>
                    </a:cubicBezTo>
                    <a:cubicBezTo>
                      <a:pt x="65" y="536"/>
                      <a:pt x="67" y="544"/>
                      <a:pt x="74" y="551"/>
                    </a:cubicBezTo>
                    <a:cubicBezTo>
                      <a:pt x="81" y="558"/>
                      <a:pt x="97" y="558"/>
                      <a:pt x="97" y="558"/>
                    </a:cubicBezTo>
                    <a:cubicBezTo>
                      <a:pt x="97" y="573"/>
                      <a:pt x="97" y="573"/>
                      <a:pt x="97" y="573"/>
                    </a:cubicBezTo>
                    <a:cubicBezTo>
                      <a:pt x="111" y="601"/>
                      <a:pt x="111" y="601"/>
                      <a:pt x="111" y="601"/>
                    </a:cubicBezTo>
                    <a:cubicBezTo>
                      <a:pt x="111" y="601"/>
                      <a:pt x="122" y="616"/>
                      <a:pt x="120" y="625"/>
                    </a:cubicBezTo>
                    <a:cubicBezTo>
                      <a:pt x="118" y="634"/>
                      <a:pt x="109" y="635"/>
                      <a:pt x="98" y="635"/>
                    </a:cubicBezTo>
                    <a:cubicBezTo>
                      <a:pt x="87" y="635"/>
                      <a:pt x="97" y="624"/>
                      <a:pt x="86" y="626"/>
                    </a:cubicBezTo>
                    <a:cubicBezTo>
                      <a:pt x="75" y="628"/>
                      <a:pt x="77" y="638"/>
                      <a:pt x="63" y="638"/>
                    </a:cubicBezTo>
                    <a:cubicBezTo>
                      <a:pt x="49" y="638"/>
                      <a:pt x="52" y="630"/>
                      <a:pt x="52" y="630"/>
                    </a:cubicBezTo>
                    <a:cubicBezTo>
                      <a:pt x="35" y="636"/>
                      <a:pt x="35" y="636"/>
                      <a:pt x="35" y="636"/>
                    </a:cubicBezTo>
                    <a:cubicBezTo>
                      <a:pt x="35" y="636"/>
                      <a:pt x="26" y="629"/>
                      <a:pt x="15" y="630"/>
                    </a:cubicBezTo>
                    <a:cubicBezTo>
                      <a:pt x="4" y="631"/>
                      <a:pt x="13" y="647"/>
                      <a:pt x="13" y="647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11" y="653"/>
                      <a:pt x="23" y="653"/>
                      <a:pt x="23" y="653"/>
                    </a:cubicBezTo>
                    <a:cubicBezTo>
                      <a:pt x="23" y="653"/>
                      <a:pt x="13" y="677"/>
                      <a:pt x="26" y="686"/>
                    </a:cubicBezTo>
                    <a:cubicBezTo>
                      <a:pt x="38" y="696"/>
                      <a:pt x="71" y="699"/>
                      <a:pt x="78" y="697"/>
                    </a:cubicBezTo>
                    <a:cubicBezTo>
                      <a:pt x="84" y="695"/>
                      <a:pt x="108" y="678"/>
                      <a:pt x="108" y="678"/>
                    </a:cubicBezTo>
                    <a:cubicBezTo>
                      <a:pt x="108" y="678"/>
                      <a:pt x="118" y="690"/>
                      <a:pt x="106" y="701"/>
                    </a:cubicBezTo>
                    <a:cubicBezTo>
                      <a:pt x="94" y="712"/>
                      <a:pt x="70" y="719"/>
                      <a:pt x="70" y="719"/>
                    </a:cubicBezTo>
                    <a:cubicBezTo>
                      <a:pt x="70" y="719"/>
                      <a:pt x="32" y="724"/>
                      <a:pt x="30" y="735"/>
                    </a:cubicBezTo>
                    <a:cubicBezTo>
                      <a:pt x="28" y="746"/>
                      <a:pt x="58" y="770"/>
                      <a:pt x="70" y="779"/>
                    </a:cubicBezTo>
                    <a:cubicBezTo>
                      <a:pt x="83" y="788"/>
                      <a:pt x="106" y="816"/>
                      <a:pt x="136" y="818"/>
                    </a:cubicBezTo>
                    <a:cubicBezTo>
                      <a:pt x="167" y="821"/>
                      <a:pt x="205" y="794"/>
                      <a:pt x="201" y="775"/>
                    </a:cubicBezTo>
                    <a:cubicBezTo>
                      <a:pt x="197" y="757"/>
                      <a:pt x="207" y="742"/>
                      <a:pt x="217" y="733"/>
                    </a:cubicBezTo>
                    <a:cubicBezTo>
                      <a:pt x="226" y="723"/>
                      <a:pt x="248" y="718"/>
                      <a:pt x="238" y="735"/>
                    </a:cubicBezTo>
                    <a:cubicBezTo>
                      <a:pt x="229" y="752"/>
                      <a:pt x="206" y="767"/>
                      <a:pt x="213" y="781"/>
                    </a:cubicBezTo>
                    <a:cubicBezTo>
                      <a:pt x="220" y="795"/>
                      <a:pt x="238" y="793"/>
                      <a:pt x="238" y="808"/>
                    </a:cubicBezTo>
                    <a:cubicBezTo>
                      <a:pt x="237" y="822"/>
                      <a:pt x="233" y="838"/>
                      <a:pt x="227" y="861"/>
                    </a:cubicBezTo>
                    <a:cubicBezTo>
                      <a:pt x="220" y="885"/>
                      <a:pt x="220" y="907"/>
                      <a:pt x="227" y="936"/>
                    </a:cubicBezTo>
                    <a:cubicBezTo>
                      <a:pt x="235" y="964"/>
                      <a:pt x="247" y="1014"/>
                      <a:pt x="258" y="1029"/>
                    </a:cubicBezTo>
                    <a:cubicBezTo>
                      <a:pt x="269" y="1045"/>
                      <a:pt x="272" y="1039"/>
                      <a:pt x="267" y="1062"/>
                    </a:cubicBezTo>
                    <a:cubicBezTo>
                      <a:pt x="262" y="1085"/>
                      <a:pt x="299" y="1092"/>
                      <a:pt x="299" y="1092"/>
                    </a:cubicBezTo>
                    <a:cubicBezTo>
                      <a:pt x="299" y="1092"/>
                      <a:pt x="304" y="1124"/>
                      <a:pt x="312" y="1135"/>
                    </a:cubicBezTo>
                    <a:cubicBezTo>
                      <a:pt x="321" y="1147"/>
                      <a:pt x="339" y="1156"/>
                      <a:pt x="339" y="1156"/>
                    </a:cubicBezTo>
                    <a:cubicBezTo>
                      <a:pt x="339" y="1156"/>
                      <a:pt x="344" y="1222"/>
                      <a:pt x="354" y="1252"/>
                    </a:cubicBezTo>
                    <a:cubicBezTo>
                      <a:pt x="365" y="1282"/>
                      <a:pt x="402" y="1323"/>
                      <a:pt x="407" y="1335"/>
                    </a:cubicBezTo>
                    <a:cubicBezTo>
                      <a:pt x="412" y="1348"/>
                      <a:pt x="414" y="1374"/>
                      <a:pt x="413" y="1386"/>
                    </a:cubicBezTo>
                    <a:cubicBezTo>
                      <a:pt x="411" y="1398"/>
                      <a:pt x="479" y="1502"/>
                      <a:pt x="479" y="1502"/>
                    </a:cubicBezTo>
                    <a:cubicBezTo>
                      <a:pt x="479" y="1502"/>
                      <a:pt x="512" y="1493"/>
                      <a:pt x="518" y="1484"/>
                    </a:cubicBezTo>
                    <a:cubicBezTo>
                      <a:pt x="523" y="1474"/>
                      <a:pt x="515" y="1452"/>
                      <a:pt x="526" y="1445"/>
                    </a:cubicBezTo>
                    <a:cubicBezTo>
                      <a:pt x="536" y="1438"/>
                      <a:pt x="540" y="1446"/>
                      <a:pt x="550" y="1443"/>
                    </a:cubicBezTo>
                    <a:cubicBezTo>
                      <a:pt x="561" y="1440"/>
                      <a:pt x="578" y="1427"/>
                      <a:pt x="578" y="1427"/>
                    </a:cubicBezTo>
                    <a:cubicBezTo>
                      <a:pt x="578" y="1427"/>
                      <a:pt x="563" y="1431"/>
                      <a:pt x="566" y="1414"/>
                    </a:cubicBezTo>
                    <a:cubicBezTo>
                      <a:pt x="568" y="1397"/>
                      <a:pt x="575" y="1394"/>
                      <a:pt x="587" y="1388"/>
                    </a:cubicBezTo>
                    <a:cubicBezTo>
                      <a:pt x="599" y="1382"/>
                      <a:pt x="613" y="1379"/>
                      <a:pt x="613" y="1371"/>
                    </a:cubicBezTo>
                    <a:cubicBezTo>
                      <a:pt x="614" y="1362"/>
                      <a:pt x="601" y="1330"/>
                      <a:pt x="601" y="1311"/>
                    </a:cubicBezTo>
                    <a:cubicBezTo>
                      <a:pt x="600" y="1293"/>
                      <a:pt x="599" y="1264"/>
                      <a:pt x="605" y="1261"/>
                    </a:cubicBezTo>
                    <a:cubicBezTo>
                      <a:pt x="612" y="1257"/>
                      <a:pt x="609" y="1249"/>
                      <a:pt x="610" y="1217"/>
                    </a:cubicBezTo>
                    <a:cubicBezTo>
                      <a:pt x="612" y="1185"/>
                      <a:pt x="592" y="1185"/>
                      <a:pt x="590" y="1172"/>
                    </a:cubicBezTo>
                    <a:cubicBezTo>
                      <a:pt x="588" y="1160"/>
                      <a:pt x="598" y="1154"/>
                      <a:pt x="599" y="1142"/>
                    </a:cubicBezTo>
                    <a:cubicBezTo>
                      <a:pt x="601" y="1130"/>
                      <a:pt x="594" y="1123"/>
                      <a:pt x="594" y="1107"/>
                    </a:cubicBezTo>
                    <a:cubicBezTo>
                      <a:pt x="595" y="1091"/>
                      <a:pt x="631" y="1089"/>
                      <a:pt x="631" y="1082"/>
                    </a:cubicBezTo>
                    <a:cubicBezTo>
                      <a:pt x="631" y="1075"/>
                      <a:pt x="631" y="1059"/>
                      <a:pt x="638" y="1054"/>
                    </a:cubicBezTo>
                    <a:cubicBezTo>
                      <a:pt x="646" y="1049"/>
                      <a:pt x="660" y="1050"/>
                      <a:pt x="660" y="1050"/>
                    </a:cubicBezTo>
                    <a:cubicBezTo>
                      <a:pt x="663" y="1044"/>
                      <a:pt x="663" y="1044"/>
                      <a:pt x="663" y="1044"/>
                    </a:cubicBezTo>
                    <a:cubicBezTo>
                      <a:pt x="663" y="1044"/>
                      <a:pt x="686" y="1055"/>
                      <a:pt x="688" y="1044"/>
                    </a:cubicBezTo>
                    <a:cubicBezTo>
                      <a:pt x="690" y="1033"/>
                      <a:pt x="709" y="998"/>
                      <a:pt x="715" y="988"/>
                    </a:cubicBezTo>
                    <a:cubicBezTo>
                      <a:pt x="722" y="979"/>
                      <a:pt x="744" y="980"/>
                      <a:pt x="751" y="966"/>
                    </a:cubicBezTo>
                    <a:cubicBezTo>
                      <a:pt x="758" y="953"/>
                      <a:pt x="769" y="925"/>
                      <a:pt x="779" y="916"/>
                    </a:cubicBezTo>
                    <a:cubicBezTo>
                      <a:pt x="788" y="906"/>
                      <a:pt x="827" y="886"/>
                      <a:pt x="827" y="886"/>
                    </a:cubicBezTo>
                    <a:cubicBezTo>
                      <a:pt x="820" y="866"/>
                      <a:pt x="820" y="866"/>
                      <a:pt x="820" y="866"/>
                    </a:cubicBezTo>
                    <a:cubicBezTo>
                      <a:pt x="826" y="861"/>
                      <a:pt x="826" y="861"/>
                      <a:pt x="826" y="861"/>
                    </a:cubicBezTo>
                    <a:cubicBezTo>
                      <a:pt x="839" y="880"/>
                      <a:pt x="839" y="880"/>
                      <a:pt x="839" y="880"/>
                    </a:cubicBezTo>
                    <a:cubicBezTo>
                      <a:pt x="880" y="841"/>
                      <a:pt x="880" y="841"/>
                      <a:pt x="880" y="841"/>
                    </a:cubicBezTo>
                    <a:cubicBezTo>
                      <a:pt x="887" y="823"/>
                      <a:pt x="887" y="823"/>
                      <a:pt x="887" y="823"/>
                    </a:cubicBezTo>
                    <a:cubicBezTo>
                      <a:pt x="887" y="823"/>
                      <a:pt x="873" y="806"/>
                      <a:pt x="873" y="795"/>
                    </a:cubicBezTo>
                    <a:cubicBezTo>
                      <a:pt x="874" y="784"/>
                      <a:pt x="897" y="788"/>
                      <a:pt x="909" y="773"/>
                    </a:cubicBezTo>
                    <a:cubicBezTo>
                      <a:pt x="921" y="757"/>
                      <a:pt x="917" y="744"/>
                      <a:pt x="917" y="744"/>
                    </a:cubicBezTo>
                    <a:cubicBezTo>
                      <a:pt x="928" y="749"/>
                      <a:pt x="928" y="749"/>
                      <a:pt x="928" y="749"/>
                    </a:cubicBezTo>
                    <a:cubicBezTo>
                      <a:pt x="934" y="767"/>
                      <a:pt x="934" y="767"/>
                      <a:pt x="934" y="767"/>
                    </a:cubicBezTo>
                    <a:cubicBezTo>
                      <a:pt x="942" y="744"/>
                      <a:pt x="942" y="744"/>
                      <a:pt x="942" y="744"/>
                    </a:cubicBezTo>
                    <a:cubicBezTo>
                      <a:pt x="942" y="744"/>
                      <a:pt x="950" y="786"/>
                      <a:pt x="957" y="789"/>
                    </a:cubicBezTo>
                    <a:cubicBezTo>
                      <a:pt x="965" y="791"/>
                      <a:pt x="968" y="763"/>
                      <a:pt x="968" y="763"/>
                    </a:cubicBezTo>
                    <a:cubicBezTo>
                      <a:pt x="970" y="745"/>
                      <a:pt x="970" y="745"/>
                      <a:pt x="970" y="745"/>
                    </a:cubicBezTo>
                    <a:cubicBezTo>
                      <a:pt x="958" y="717"/>
                      <a:pt x="958" y="717"/>
                      <a:pt x="958" y="717"/>
                    </a:cubicBezTo>
                    <a:cubicBezTo>
                      <a:pt x="959" y="697"/>
                      <a:pt x="959" y="697"/>
                      <a:pt x="959" y="697"/>
                    </a:cubicBezTo>
                    <a:cubicBezTo>
                      <a:pt x="939" y="681"/>
                      <a:pt x="939" y="681"/>
                      <a:pt x="939" y="681"/>
                    </a:cubicBezTo>
                    <a:cubicBezTo>
                      <a:pt x="930" y="661"/>
                      <a:pt x="930" y="661"/>
                      <a:pt x="930" y="661"/>
                    </a:cubicBezTo>
                    <a:cubicBezTo>
                      <a:pt x="930" y="661"/>
                      <a:pt x="939" y="653"/>
                      <a:pt x="942" y="637"/>
                    </a:cubicBezTo>
                    <a:cubicBezTo>
                      <a:pt x="945" y="621"/>
                      <a:pt x="918" y="627"/>
                      <a:pt x="908" y="617"/>
                    </a:cubicBezTo>
                    <a:cubicBezTo>
                      <a:pt x="898" y="607"/>
                      <a:pt x="917" y="604"/>
                      <a:pt x="917" y="604"/>
                    </a:cubicBezTo>
                    <a:cubicBezTo>
                      <a:pt x="917" y="585"/>
                      <a:pt x="917" y="585"/>
                      <a:pt x="917" y="585"/>
                    </a:cubicBezTo>
                    <a:cubicBezTo>
                      <a:pt x="939" y="584"/>
                      <a:pt x="939" y="584"/>
                      <a:pt x="939" y="584"/>
                    </a:cubicBezTo>
                    <a:cubicBezTo>
                      <a:pt x="938" y="576"/>
                      <a:pt x="938" y="576"/>
                      <a:pt x="938" y="576"/>
                    </a:cubicBezTo>
                    <a:cubicBezTo>
                      <a:pt x="921" y="565"/>
                      <a:pt x="921" y="565"/>
                      <a:pt x="921" y="565"/>
                    </a:cubicBezTo>
                    <a:cubicBezTo>
                      <a:pt x="921" y="565"/>
                      <a:pt x="899" y="557"/>
                      <a:pt x="897" y="546"/>
                    </a:cubicBezTo>
                    <a:cubicBezTo>
                      <a:pt x="895" y="535"/>
                      <a:pt x="906" y="523"/>
                      <a:pt x="906" y="523"/>
                    </a:cubicBezTo>
                    <a:cubicBezTo>
                      <a:pt x="901" y="511"/>
                      <a:pt x="901" y="511"/>
                      <a:pt x="901" y="511"/>
                    </a:cubicBezTo>
                    <a:cubicBezTo>
                      <a:pt x="912" y="514"/>
                      <a:pt x="912" y="514"/>
                      <a:pt x="912" y="514"/>
                    </a:cubicBezTo>
                    <a:cubicBezTo>
                      <a:pt x="928" y="522"/>
                      <a:pt x="928" y="522"/>
                      <a:pt x="928" y="522"/>
                    </a:cubicBezTo>
                    <a:cubicBezTo>
                      <a:pt x="925" y="515"/>
                      <a:pt x="925" y="515"/>
                      <a:pt x="925" y="515"/>
                    </a:cubicBezTo>
                    <a:cubicBezTo>
                      <a:pt x="936" y="514"/>
                      <a:pt x="936" y="514"/>
                      <a:pt x="936" y="514"/>
                    </a:cubicBezTo>
                    <a:cubicBezTo>
                      <a:pt x="936" y="514"/>
                      <a:pt x="939" y="526"/>
                      <a:pt x="945" y="532"/>
                    </a:cubicBezTo>
                    <a:cubicBezTo>
                      <a:pt x="951" y="538"/>
                      <a:pt x="961" y="540"/>
                      <a:pt x="961" y="540"/>
                    </a:cubicBezTo>
                    <a:cubicBezTo>
                      <a:pt x="962" y="528"/>
                      <a:pt x="962" y="528"/>
                      <a:pt x="962" y="528"/>
                    </a:cubicBezTo>
                    <a:cubicBezTo>
                      <a:pt x="962" y="528"/>
                      <a:pt x="968" y="531"/>
                      <a:pt x="972" y="534"/>
                    </a:cubicBezTo>
                    <a:cubicBezTo>
                      <a:pt x="976" y="537"/>
                      <a:pt x="976" y="555"/>
                      <a:pt x="976" y="555"/>
                    </a:cubicBezTo>
                    <a:cubicBezTo>
                      <a:pt x="980" y="557"/>
                      <a:pt x="980" y="557"/>
                      <a:pt x="980" y="557"/>
                    </a:cubicBezTo>
                    <a:cubicBezTo>
                      <a:pt x="980" y="557"/>
                      <a:pt x="981" y="577"/>
                      <a:pt x="981" y="580"/>
                    </a:cubicBezTo>
                    <a:cubicBezTo>
                      <a:pt x="981" y="583"/>
                      <a:pt x="998" y="586"/>
                      <a:pt x="1008" y="586"/>
                    </a:cubicBezTo>
                    <a:cubicBezTo>
                      <a:pt x="1018" y="586"/>
                      <a:pt x="1049" y="590"/>
                      <a:pt x="1049" y="590"/>
                    </a:cubicBezTo>
                    <a:cubicBezTo>
                      <a:pt x="1079" y="579"/>
                      <a:pt x="1079" y="579"/>
                      <a:pt x="1079" y="579"/>
                    </a:cubicBezTo>
                    <a:cubicBezTo>
                      <a:pt x="1079" y="579"/>
                      <a:pt x="1101" y="587"/>
                      <a:pt x="1101" y="597"/>
                    </a:cubicBezTo>
                    <a:cubicBezTo>
                      <a:pt x="1101" y="607"/>
                      <a:pt x="1091" y="603"/>
                      <a:pt x="1091" y="603"/>
                    </a:cubicBezTo>
                    <a:cubicBezTo>
                      <a:pt x="1091" y="603"/>
                      <a:pt x="1091" y="612"/>
                      <a:pt x="1088" y="626"/>
                    </a:cubicBezTo>
                    <a:cubicBezTo>
                      <a:pt x="1085" y="640"/>
                      <a:pt x="1071" y="638"/>
                      <a:pt x="1063" y="641"/>
                    </a:cubicBezTo>
                    <a:cubicBezTo>
                      <a:pt x="1055" y="644"/>
                      <a:pt x="1053" y="654"/>
                      <a:pt x="1053" y="670"/>
                    </a:cubicBezTo>
                    <a:cubicBezTo>
                      <a:pt x="1053" y="686"/>
                      <a:pt x="1073" y="689"/>
                      <a:pt x="1073" y="689"/>
                    </a:cubicBezTo>
                    <a:cubicBezTo>
                      <a:pt x="1082" y="704"/>
                      <a:pt x="1082" y="704"/>
                      <a:pt x="1082" y="704"/>
                    </a:cubicBezTo>
                    <a:cubicBezTo>
                      <a:pt x="1089" y="681"/>
                      <a:pt x="1089" y="681"/>
                      <a:pt x="1089" y="681"/>
                    </a:cubicBezTo>
                    <a:cubicBezTo>
                      <a:pt x="1089" y="681"/>
                      <a:pt x="1081" y="660"/>
                      <a:pt x="1099" y="664"/>
                    </a:cubicBezTo>
                    <a:cubicBezTo>
                      <a:pt x="1117" y="668"/>
                      <a:pt x="1111" y="687"/>
                      <a:pt x="1115" y="698"/>
                    </a:cubicBezTo>
                    <a:cubicBezTo>
                      <a:pt x="1119" y="709"/>
                      <a:pt x="1135" y="748"/>
                      <a:pt x="1135" y="748"/>
                    </a:cubicBezTo>
                    <a:cubicBezTo>
                      <a:pt x="1149" y="760"/>
                      <a:pt x="1149" y="760"/>
                      <a:pt x="1149" y="760"/>
                    </a:cubicBezTo>
                    <a:cubicBezTo>
                      <a:pt x="1149" y="760"/>
                      <a:pt x="1148" y="752"/>
                      <a:pt x="1148" y="746"/>
                    </a:cubicBezTo>
                    <a:cubicBezTo>
                      <a:pt x="1148" y="740"/>
                      <a:pt x="1152" y="752"/>
                      <a:pt x="1161" y="750"/>
                    </a:cubicBezTo>
                    <a:cubicBezTo>
                      <a:pt x="1170" y="748"/>
                      <a:pt x="1160" y="736"/>
                      <a:pt x="1156" y="732"/>
                    </a:cubicBezTo>
                    <a:cubicBezTo>
                      <a:pt x="1152" y="728"/>
                      <a:pt x="1152" y="714"/>
                      <a:pt x="1149" y="705"/>
                    </a:cubicBezTo>
                    <a:cubicBezTo>
                      <a:pt x="1146" y="696"/>
                      <a:pt x="1163" y="694"/>
                      <a:pt x="1163" y="694"/>
                    </a:cubicBezTo>
                    <a:cubicBezTo>
                      <a:pt x="1161" y="661"/>
                      <a:pt x="1161" y="661"/>
                      <a:pt x="1161" y="661"/>
                    </a:cubicBezTo>
                    <a:cubicBezTo>
                      <a:pt x="1161" y="661"/>
                      <a:pt x="1147" y="650"/>
                      <a:pt x="1143" y="648"/>
                    </a:cubicBezTo>
                    <a:cubicBezTo>
                      <a:pt x="1139" y="646"/>
                      <a:pt x="1164" y="647"/>
                      <a:pt x="1168" y="648"/>
                    </a:cubicBezTo>
                    <a:cubicBezTo>
                      <a:pt x="1172" y="649"/>
                      <a:pt x="1197" y="653"/>
                      <a:pt x="1197" y="653"/>
                    </a:cubicBezTo>
                    <a:cubicBezTo>
                      <a:pt x="1197" y="629"/>
                      <a:pt x="1197" y="629"/>
                      <a:pt x="1197" y="629"/>
                    </a:cubicBezTo>
                    <a:cubicBezTo>
                      <a:pt x="1209" y="594"/>
                      <a:pt x="1209" y="594"/>
                      <a:pt x="1209" y="594"/>
                    </a:cubicBezTo>
                    <a:cubicBezTo>
                      <a:pt x="1209" y="594"/>
                      <a:pt x="1199" y="586"/>
                      <a:pt x="1199" y="576"/>
                    </a:cubicBezTo>
                    <a:cubicBezTo>
                      <a:pt x="1199" y="566"/>
                      <a:pt x="1213" y="562"/>
                      <a:pt x="1213" y="562"/>
                    </a:cubicBezTo>
                    <a:cubicBezTo>
                      <a:pt x="1225" y="541"/>
                      <a:pt x="1225" y="541"/>
                      <a:pt x="1225" y="541"/>
                    </a:cubicBezTo>
                    <a:cubicBezTo>
                      <a:pt x="1225" y="541"/>
                      <a:pt x="1219" y="530"/>
                      <a:pt x="1218" y="525"/>
                    </a:cubicBezTo>
                    <a:cubicBezTo>
                      <a:pt x="1217" y="520"/>
                      <a:pt x="1215" y="506"/>
                      <a:pt x="1215" y="506"/>
                    </a:cubicBezTo>
                    <a:cubicBezTo>
                      <a:pt x="1215" y="506"/>
                      <a:pt x="1226" y="501"/>
                      <a:pt x="1238" y="497"/>
                    </a:cubicBezTo>
                    <a:cubicBezTo>
                      <a:pt x="1250" y="493"/>
                      <a:pt x="1245" y="478"/>
                      <a:pt x="1253" y="476"/>
                    </a:cubicBezTo>
                    <a:cubicBezTo>
                      <a:pt x="1261" y="474"/>
                      <a:pt x="1276" y="473"/>
                      <a:pt x="1276" y="473"/>
                    </a:cubicBezTo>
                    <a:cubicBezTo>
                      <a:pt x="1276" y="473"/>
                      <a:pt x="1299" y="481"/>
                      <a:pt x="1301" y="477"/>
                    </a:cubicBezTo>
                    <a:cubicBezTo>
                      <a:pt x="1303" y="473"/>
                      <a:pt x="1280" y="463"/>
                      <a:pt x="1280" y="45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6" name="MCShape 38">
                <a:extLst>
                  <a:ext uri="{FF2B5EF4-FFF2-40B4-BE49-F238E27FC236}">
                    <a16:creationId xmlns:a16="http://schemas.microsoft.com/office/drawing/2014/main" id="{31733739-8482-449A-A856-FFE4F9643C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0376" y="3308299"/>
                <a:ext cx="250572" cy="590854"/>
              </a:xfrm>
              <a:custGeom>
                <a:avLst/>
                <a:gdLst>
                  <a:gd name="T0" fmla="*/ 9 w 426"/>
                  <a:gd name="T1" fmla="*/ 422 h 1001"/>
                  <a:gd name="T2" fmla="*/ 81 w 426"/>
                  <a:gd name="T3" fmla="*/ 465 h 1001"/>
                  <a:gd name="T4" fmla="*/ 132 w 426"/>
                  <a:gd name="T5" fmla="*/ 562 h 1001"/>
                  <a:gd name="T6" fmla="*/ 145 w 426"/>
                  <a:gd name="T7" fmla="*/ 654 h 1001"/>
                  <a:gd name="T8" fmla="*/ 168 w 426"/>
                  <a:gd name="T9" fmla="*/ 671 h 1001"/>
                  <a:gd name="T10" fmla="*/ 240 w 426"/>
                  <a:gd name="T11" fmla="*/ 641 h 1001"/>
                  <a:gd name="T12" fmla="*/ 267 w 426"/>
                  <a:gd name="T13" fmla="*/ 638 h 1001"/>
                  <a:gd name="T14" fmla="*/ 303 w 426"/>
                  <a:gd name="T15" fmla="*/ 745 h 1001"/>
                  <a:gd name="T16" fmla="*/ 350 w 426"/>
                  <a:gd name="T17" fmla="*/ 849 h 1001"/>
                  <a:gd name="T18" fmla="*/ 337 w 426"/>
                  <a:gd name="T19" fmla="*/ 918 h 1001"/>
                  <a:gd name="T20" fmla="*/ 355 w 426"/>
                  <a:gd name="T21" fmla="*/ 970 h 1001"/>
                  <a:gd name="T22" fmla="*/ 375 w 426"/>
                  <a:gd name="T23" fmla="*/ 956 h 1001"/>
                  <a:gd name="T24" fmla="*/ 396 w 426"/>
                  <a:gd name="T25" fmla="*/ 861 h 1001"/>
                  <a:gd name="T26" fmla="*/ 344 w 426"/>
                  <a:gd name="T27" fmla="*/ 760 h 1001"/>
                  <a:gd name="T28" fmla="*/ 341 w 426"/>
                  <a:gd name="T29" fmla="*/ 687 h 1001"/>
                  <a:gd name="T30" fmla="*/ 344 w 426"/>
                  <a:gd name="T31" fmla="*/ 653 h 1001"/>
                  <a:gd name="T32" fmla="*/ 295 w 426"/>
                  <a:gd name="T33" fmla="*/ 592 h 1001"/>
                  <a:gd name="T34" fmla="*/ 273 w 426"/>
                  <a:gd name="T35" fmla="*/ 554 h 1001"/>
                  <a:gd name="T36" fmla="*/ 272 w 426"/>
                  <a:gd name="T37" fmla="*/ 512 h 1001"/>
                  <a:gd name="T38" fmla="*/ 318 w 426"/>
                  <a:gd name="T39" fmla="*/ 477 h 1001"/>
                  <a:gd name="T40" fmla="*/ 352 w 426"/>
                  <a:gd name="T41" fmla="*/ 440 h 1001"/>
                  <a:gd name="T42" fmla="*/ 399 w 426"/>
                  <a:gd name="T43" fmla="*/ 414 h 1001"/>
                  <a:gd name="T44" fmla="*/ 399 w 426"/>
                  <a:gd name="T45" fmla="*/ 392 h 1001"/>
                  <a:gd name="T46" fmla="*/ 397 w 426"/>
                  <a:gd name="T47" fmla="*/ 380 h 1001"/>
                  <a:gd name="T48" fmla="*/ 361 w 426"/>
                  <a:gd name="T49" fmla="*/ 370 h 1001"/>
                  <a:gd name="T50" fmla="*/ 326 w 426"/>
                  <a:gd name="T51" fmla="*/ 329 h 1001"/>
                  <a:gd name="T52" fmla="*/ 301 w 426"/>
                  <a:gd name="T53" fmla="*/ 292 h 1001"/>
                  <a:gd name="T54" fmla="*/ 297 w 426"/>
                  <a:gd name="T55" fmla="*/ 237 h 1001"/>
                  <a:gd name="T56" fmla="*/ 242 w 426"/>
                  <a:gd name="T57" fmla="*/ 235 h 1001"/>
                  <a:gd name="T58" fmla="*/ 233 w 426"/>
                  <a:gd name="T59" fmla="*/ 203 h 1001"/>
                  <a:gd name="T60" fmla="*/ 243 w 426"/>
                  <a:gd name="T61" fmla="*/ 156 h 1001"/>
                  <a:gd name="T62" fmla="*/ 253 w 426"/>
                  <a:gd name="T63" fmla="*/ 133 h 1001"/>
                  <a:gd name="T64" fmla="*/ 255 w 426"/>
                  <a:gd name="T65" fmla="*/ 74 h 1001"/>
                  <a:gd name="T66" fmla="*/ 211 w 426"/>
                  <a:gd name="T67" fmla="*/ 15 h 1001"/>
                  <a:gd name="T68" fmla="*/ 187 w 426"/>
                  <a:gd name="T69" fmla="*/ 32 h 1001"/>
                  <a:gd name="T70" fmla="*/ 159 w 426"/>
                  <a:gd name="T71" fmla="*/ 69 h 1001"/>
                  <a:gd name="T72" fmla="*/ 98 w 426"/>
                  <a:gd name="T73" fmla="*/ 102 h 1001"/>
                  <a:gd name="T74" fmla="*/ 96 w 426"/>
                  <a:gd name="T75" fmla="*/ 158 h 1001"/>
                  <a:gd name="T76" fmla="*/ 80 w 426"/>
                  <a:gd name="T77" fmla="*/ 225 h 1001"/>
                  <a:gd name="T78" fmla="*/ 26 w 426"/>
                  <a:gd name="T79" fmla="*/ 244 h 1001"/>
                  <a:gd name="T80" fmla="*/ 32 w 426"/>
                  <a:gd name="T81" fmla="*/ 301 h 1001"/>
                  <a:gd name="T82" fmla="*/ 31 w 426"/>
                  <a:gd name="T83" fmla="*/ 342 h 1001"/>
                  <a:gd name="T84" fmla="*/ 25 w 426"/>
                  <a:gd name="T85" fmla="*/ 383 h 100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6"/>
                  <a:gd name="T130" fmla="*/ 0 h 1001"/>
                  <a:gd name="T131" fmla="*/ 426 w 426"/>
                  <a:gd name="T132" fmla="*/ 1001 h 100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6" h="1001">
                    <a:moveTo>
                      <a:pt x="0" y="391"/>
                    </a:moveTo>
                    <a:cubicBezTo>
                      <a:pt x="5" y="391"/>
                      <a:pt x="9" y="391"/>
                      <a:pt x="9" y="391"/>
                    </a:cubicBezTo>
                    <a:cubicBezTo>
                      <a:pt x="9" y="422"/>
                      <a:pt x="9" y="422"/>
                      <a:pt x="9" y="422"/>
                    </a:cubicBezTo>
                    <a:cubicBezTo>
                      <a:pt x="9" y="422"/>
                      <a:pt x="32" y="428"/>
                      <a:pt x="41" y="438"/>
                    </a:cubicBezTo>
                    <a:cubicBezTo>
                      <a:pt x="51" y="448"/>
                      <a:pt x="59" y="470"/>
                      <a:pt x="59" y="470"/>
                    </a:cubicBezTo>
                    <a:cubicBezTo>
                      <a:pt x="81" y="465"/>
                      <a:pt x="81" y="465"/>
                      <a:pt x="81" y="465"/>
                    </a:cubicBezTo>
                    <a:cubicBezTo>
                      <a:pt x="67" y="494"/>
                      <a:pt x="67" y="494"/>
                      <a:pt x="67" y="494"/>
                    </a:cubicBezTo>
                    <a:cubicBezTo>
                      <a:pt x="67" y="494"/>
                      <a:pt x="98" y="501"/>
                      <a:pt x="110" y="510"/>
                    </a:cubicBezTo>
                    <a:cubicBezTo>
                      <a:pt x="122" y="519"/>
                      <a:pt x="130" y="555"/>
                      <a:pt x="132" y="562"/>
                    </a:cubicBezTo>
                    <a:cubicBezTo>
                      <a:pt x="134" y="568"/>
                      <a:pt x="148" y="581"/>
                      <a:pt x="148" y="581"/>
                    </a:cubicBezTo>
                    <a:cubicBezTo>
                      <a:pt x="137" y="593"/>
                      <a:pt x="137" y="593"/>
                      <a:pt x="137" y="593"/>
                    </a:cubicBezTo>
                    <a:cubicBezTo>
                      <a:pt x="145" y="654"/>
                      <a:pt x="145" y="654"/>
                      <a:pt x="145" y="654"/>
                    </a:cubicBezTo>
                    <a:cubicBezTo>
                      <a:pt x="134" y="662"/>
                      <a:pt x="134" y="662"/>
                      <a:pt x="134" y="662"/>
                    </a:cubicBezTo>
                    <a:cubicBezTo>
                      <a:pt x="134" y="662"/>
                      <a:pt x="140" y="681"/>
                      <a:pt x="149" y="680"/>
                    </a:cubicBezTo>
                    <a:cubicBezTo>
                      <a:pt x="158" y="679"/>
                      <a:pt x="168" y="671"/>
                      <a:pt x="168" y="671"/>
                    </a:cubicBezTo>
                    <a:cubicBezTo>
                      <a:pt x="168" y="671"/>
                      <a:pt x="172" y="686"/>
                      <a:pt x="183" y="681"/>
                    </a:cubicBezTo>
                    <a:cubicBezTo>
                      <a:pt x="195" y="677"/>
                      <a:pt x="206" y="654"/>
                      <a:pt x="206" y="654"/>
                    </a:cubicBezTo>
                    <a:cubicBezTo>
                      <a:pt x="206" y="654"/>
                      <a:pt x="228" y="650"/>
                      <a:pt x="240" y="641"/>
                    </a:cubicBezTo>
                    <a:cubicBezTo>
                      <a:pt x="252" y="631"/>
                      <a:pt x="238" y="602"/>
                      <a:pt x="245" y="596"/>
                    </a:cubicBezTo>
                    <a:cubicBezTo>
                      <a:pt x="253" y="590"/>
                      <a:pt x="268" y="617"/>
                      <a:pt x="268" y="617"/>
                    </a:cubicBezTo>
                    <a:cubicBezTo>
                      <a:pt x="267" y="638"/>
                      <a:pt x="267" y="638"/>
                      <a:pt x="267" y="638"/>
                    </a:cubicBezTo>
                    <a:cubicBezTo>
                      <a:pt x="267" y="638"/>
                      <a:pt x="288" y="639"/>
                      <a:pt x="289" y="656"/>
                    </a:cubicBezTo>
                    <a:cubicBezTo>
                      <a:pt x="289" y="673"/>
                      <a:pt x="296" y="685"/>
                      <a:pt x="298" y="698"/>
                    </a:cubicBezTo>
                    <a:cubicBezTo>
                      <a:pt x="300" y="712"/>
                      <a:pt x="303" y="745"/>
                      <a:pt x="303" y="745"/>
                    </a:cubicBezTo>
                    <a:cubicBezTo>
                      <a:pt x="303" y="745"/>
                      <a:pt x="304" y="757"/>
                      <a:pt x="311" y="766"/>
                    </a:cubicBezTo>
                    <a:cubicBezTo>
                      <a:pt x="319" y="775"/>
                      <a:pt x="322" y="788"/>
                      <a:pt x="322" y="788"/>
                    </a:cubicBezTo>
                    <a:cubicBezTo>
                      <a:pt x="350" y="849"/>
                      <a:pt x="350" y="849"/>
                      <a:pt x="350" y="849"/>
                    </a:cubicBezTo>
                    <a:cubicBezTo>
                      <a:pt x="360" y="879"/>
                      <a:pt x="360" y="879"/>
                      <a:pt x="360" y="879"/>
                    </a:cubicBezTo>
                    <a:cubicBezTo>
                      <a:pt x="360" y="879"/>
                      <a:pt x="346" y="876"/>
                      <a:pt x="345" y="884"/>
                    </a:cubicBezTo>
                    <a:cubicBezTo>
                      <a:pt x="343" y="893"/>
                      <a:pt x="337" y="918"/>
                      <a:pt x="337" y="918"/>
                    </a:cubicBezTo>
                    <a:cubicBezTo>
                      <a:pt x="366" y="908"/>
                      <a:pt x="366" y="908"/>
                      <a:pt x="366" y="908"/>
                    </a:cubicBezTo>
                    <a:cubicBezTo>
                      <a:pt x="358" y="945"/>
                      <a:pt x="358" y="945"/>
                      <a:pt x="358" y="945"/>
                    </a:cubicBezTo>
                    <a:cubicBezTo>
                      <a:pt x="358" y="945"/>
                      <a:pt x="354" y="957"/>
                      <a:pt x="355" y="970"/>
                    </a:cubicBezTo>
                    <a:cubicBezTo>
                      <a:pt x="356" y="982"/>
                      <a:pt x="363" y="1001"/>
                      <a:pt x="363" y="1001"/>
                    </a:cubicBezTo>
                    <a:cubicBezTo>
                      <a:pt x="363" y="1001"/>
                      <a:pt x="372" y="988"/>
                      <a:pt x="373" y="979"/>
                    </a:cubicBezTo>
                    <a:cubicBezTo>
                      <a:pt x="374" y="970"/>
                      <a:pt x="366" y="963"/>
                      <a:pt x="375" y="956"/>
                    </a:cubicBezTo>
                    <a:cubicBezTo>
                      <a:pt x="384" y="949"/>
                      <a:pt x="389" y="942"/>
                      <a:pt x="392" y="932"/>
                    </a:cubicBezTo>
                    <a:cubicBezTo>
                      <a:pt x="395" y="922"/>
                      <a:pt x="402" y="897"/>
                      <a:pt x="398" y="884"/>
                    </a:cubicBezTo>
                    <a:cubicBezTo>
                      <a:pt x="394" y="871"/>
                      <a:pt x="396" y="861"/>
                      <a:pt x="396" y="861"/>
                    </a:cubicBezTo>
                    <a:cubicBezTo>
                      <a:pt x="396" y="861"/>
                      <a:pt x="381" y="849"/>
                      <a:pt x="377" y="843"/>
                    </a:cubicBezTo>
                    <a:cubicBezTo>
                      <a:pt x="373" y="837"/>
                      <a:pt x="378" y="813"/>
                      <a:pt x="374" y="798"/>
                    </a:cubicBezTo>
                    <a:cubicBezTo>
                      <a:pt x="370" y="783"/>
                      <a:pt x="348" y="770"/>
                      <a:pt x="344" y="760"/>
                    </a:cubicBezTo>
                    <a:cubicBezTo>
                      <a:pt x="340" y="750"/>
                      <a:pt x="328" y="736"/>
                      <a:pt x="328" y="736"/>
                    </a:cubicBezTo>
                    <a:cubicBezTo>
                      <a:pt x="328" y="736"/>
                      <a:pt x="320" y="723"/>
                      <a:pt x="330" y="713"/>
                    </a:cubicBezTo>
                    <a:cubicBezTo>
                      <a:pt x="340" y="703"/>
                      <a:pt x="341" y="693"/>
                      <a:pt x="341" y="687"/>
                    </a:cubicBezTo>
                    <a:cubicBezTo>
                      <a:pt x="341" y="681"/>
                      <a:pt x="338" y="670"/>
                      <a:pt x="338" y="670"/>
                    </a:cubicBezTo>
                    <a:cubicBezTo>
                      <a:pt x="338" y="670"/>
                      <a:pt x="350" y="671"/>
                      <a:pt x="350" y="658"/>
                    </a:cubicBezTo>
                    <a:cubicBezTo>
                      <a:pt x="350" y="645"/>
                      <a:pt x="344" y="653"/>
                      <a:pt x="344" y="653"/>
                    </a:cubicBezTo>
                    <a:cubicBezTo>
                      <a:pt x="344" y="653"/>
                      <a:pt x="336" y="652"/>
                      <a:pt x="331" y="640"/>
                    </a:cubicBezTo>
                    <a:cubicBezTo>
                      <a:pt x="326" y="628"/>
                      <a:pt x="340" y="633"/>
                      <a:pt x="332" y="622"/>
                    </a:cubicBezTo>
                    <a:cubicBezTo>
                      <a:pt x="324" y="611"/>
                      <a:pt x="298" y="602"/>
                      <a:pt x="295" y="592"/>
                    </a:cubicBezTo>
                    <a:cubicBezTo>
                      <a:pt x="292" y="582"/>
                      <a:pt x="287" y="579"/>
                      <a:pt x="287" y="579"/>
                    </a:cubicBezTo>
                    <a:cubicBezTo>
                      <a:pt x="291" y="564"/>
                      <a:pt x="291" y="564"/>
                      <a:pt x="291" y="564"/>
                    </a:cubicBezTo>
                    <a:cubicBezTo>
                      <a:pt x="291" y="564"/>
                      <a:pt x="278" y="558"/>
                      <a:pt x="273" y="554"/>
                    </a:cubicBezTo>
                    <a:cubicBezTo>
                      <a:pt x="268" y="550"/>
                      <a:pt x="265" y="545"/>
                      <a:pt x="268" y="542"/>
                    </a:cubicBezTo>
                    <a:cubicBezTo>
                      <a:pt x="271" y="539"/>
                      <a:pt x="282" y="545"/>
                      <a:pt x="282" y="536"/>
                    </a:cubicBezTo>
                    <a:cubicBezTo>
                      <a:pt x="282" y="527"/>
                      <a:pt x="271" y="516"/>
                      <a:pt x="272" y="512"/>
                    </a:cubicBezTo>
                    <a:cubicBezTo>
                      <a:pt x="273" y="508"/>
                      <a:pt x="283" y="507"/>
                      <a:pt x="284" y="498"/>
                    </a:cubicBezTo>
                    <a:cubicBezTo>
                      <a:pt x="285" y="489"/>
                      <a:pt x="277" y="473"/>
                      <a:pt x="288" y="471"/>
                    </a:cubicBezTo>
                    <a:cubicBezTo>
                      <a:pt x="299" y="469"/>
                      <a:pt x="308" y="480"/>
                      <a:pt x="318" y="477"/>
                    </a:cubicBezTo>
                    <a:cubicBezTo>
                      <a:pt x="328" y="474"/>
                      <a:pt x="330" y="456"/>
                      <a:pt x="330" y="456"/>
                    </a:cubicBezTo>
                    <a:cubicBezTo>
                      <a:pt x="347" y="455"/>
                      <a:pt x="347" y="455"/>
                      <a:pt x="347" y="455"/>
                    </a:cubicBezTo>
                    <a:cubicBezTo>
                      <a:pt x="352" y="440"/>
                      <a:pt x="352" y="440"/>
                      <a:pt x="352" y="440"/>
                    </a:cubicBezTo>
                    <a:cubicBezTo>
                      <a:pt x="352" y="440"/>
                      <a:pt x="371" y="434"/>
                      <a:pt x="375" y="435"/>
                    </a:cubicBezTo>
                    <a:cubicBezTo>
                      <a:pt x="375" y="435"/>
                      <a:pt x="373" y="423"/>
                      <a:pt x="382" y="420"/>
                    </a:cubicBezTo>
                    <a:cubicBezTo>
                      <a:pt x="391" y="417"/>
                      <a:pt x="399" y="414"/>
                      <a:pt x="399" y="414"/>
                    </a:cubicBezTo>
                    <a:cubicBezTo>
                      <a:pt x="394" y="407"/>
                      <a:pt x="394" y="407"/>
                      <a:pt x="394" y="407"/>
                    </a:cubicBezTo>
                    <a:cubicBezTo>
                      <a:pt x="399" y="399"/>
                      <a:pt x="399" y="399"/>
                      <a:pt x="399" y="399"/>
                    </a:cubicBezTo>
                    <a:cubicBezTo>
                      <a:pt x="399" y="392"/>
                      <a:pt x="399" y="392"/>
                      <a:pt x="399" y="392"/>
                    </a:cubicBezTo>
                    <a:cubicBezTo>
                      <a:pt x="421" y="382"/>
                      <a:pt x="421" y="382"/>
                      <a:pt x="421" y="382"/>
                    </a:cubicBezTo>
                    <a:cubicBezTo>
                      <a:pt x="421" y="382"/>
                      <a:pt x="426" y="364"/>
                      <a:pt x="416" y="363"/>
                    </a:cubicBezTo>
                    <a:cubicBezTo>
                      <a:pt x="406" y="362"/>
                      <a:pt x="397" y="380"/>
                      <a:pt x="397" y="380"/>
                    </a:cubicBezTo>
                    <a:cubicBezTo>
                      <a:pt x="397" y="380"/>
                      <a:pt x="378" y="381"/>
                      <a:pt x="375" y="381"/>
                    </a:cubicBezTo>
                    <a:cubicBezTo>
                      <a:pt x="372" y="381"/>
                      <a:pt x="372" y="369"/>
                      <a:pt x="372" y="369"/>
                    </a:cubicBezTo>
                    <a:cubicBezTo>
                      <a:pt x="361" y="370"/>
                      <a:pt x="361" y="370"/>
                      <a:pt x="361" y="370"/>
                    </a:cubicBezTo>
                    <a:cubicBezTo>
                      <a:pt x="356" y="350"/>
                      <a:pt x="356" y="350"/>
                      <a:pt x="356" y="350"/>
                    </a:cubicBezTo>
                    <a:cubicBezTo>
                      <a:pt x="317" y="346"/>
                      <a:pt x="317" y="346"/>
                      <a:pt x="317" y="346"/>
                    </a:cubicBezTo>
                    <a:cubicBezTo>
                      <a:pt x="317" y="346"/>
                      <a:pt x="323" y="332"/>
                      <a:pt x="326" y="329"/>
                    </a:cubicBezTo>
                    <a:cubicBezTo>
                      <a:pt x="329" y="326"/>
                      <a:pt x="320" y="314"/>
                      <a:pt x="320" y="314"/>
                    </a:cubicBezTo>
                    <a:cubicBezTo>
                      <a:pt x="320" y="314"/>
                      <a:pt x="343" y="305"/>
                      <a:pt x="336" y="299"/>
                    </a:cubicBezTo>
                    <a:cubicBezTo>
                      <a:pt x="329" y="293"/>
                      <a:pt x="301" y="292"/>
                      <a:pt x="301" y="292"/>
                    </a:cubicBezTo>
                    <a:cubicBezTo>
                      <a:pt x="296" y="265"/>
                      <a:pt x="296" y="265"/>
                      <a:pt x="296" y="265"/>
                    </a:cubicBezTo>
                    <a:cubicBezTo>
                      <a:pt x="280" y="252"/>
                      <a:pt x="280" y="252"/>
                      <a:pt x="280" y="252"/>
                    </a:cubicBezTo>
                    <a:cubicBezTo>
                      <a:pt x="297" y="237"/>
                      <a:pt x="297" y="237"/>
                      <a:pt x="297" y="237"/>
                    </a:cubicBezTo>
                    <a:cubicBezTo>
                      <a:pt x="297" y="237"/>
                      <a:pt x="268" y="237"/>
                      <a:pt x="260" y="238"/>
                    </a:cubicBezTo>
                    <a:cubicBezTo>
                      <a:pt x="252" y="239"/>
                      <a:pt x="236" y="249"/>
                      <a:pt x="236" y="249"/>
                    </a:cubicBezTo>
                    <a:cubicBezTo>
                      <a:pt x="242" y="235"/>
                      <a:pt x="242" y="235"/>
                      <a:pt x="242" y="235"/>
                    </a:cubicBezTo>
                    <a:cubicBezTo>
                      <a:pt x="242" y="235"/>
                      <a:pt x="237" y="225"/>
                      <a:pt x="232" y="220"/>
                    </a:cubicBezTo>
                    <a:cubicBezTo>
                      <a:pt x="227" y="215"/>
                      <a:pt x="226" y="206"/>
                      <a:pt x="226" y="206"/>
                    </a:cubicBezTo>
                    <a:cubicBezTo>
                      <a:pt x="233" y="203"/>
                      <a:pt x="233" y="203"/>
                      <a:pt x="233" y="203"/>
                    </a:cubicBezTo>
                    <a:cubicBezTo>
                      <a:pt x="231" y="183"/>
                      <a:pt x="231" y="183"/>
                      <a:pt x="231" y="183"/>
                    </a:cubicBezTo>
                    <a:cubicBezTo>
                      <a:pt x="231" y="183"/>
                      <a:pt x="242" y="187"/>
                      <a:pt x="243" y="176"/>
                    </a:cubicBezTo>
                    <a:cubicBezTo>
                      <a:pt x="244" y="165"/>
                      <a:pt x="243" y="156"/>
                      <a:pt x="243" y="156"/>
                    </a:cubicBezTo>
                    <a:cubicBezTo>
                      <a:pt x="243" y="156"/>
                      <a:pt x="255" y="164"/>
                      <a:pt x="258" y="157"/>
                    </a:cubicBezTo>
                    <a:cubicBezTo>
                      <a:pt x="261" y="150"/>
                      <a:pt x="262" y="144"/>
                      <a:pt x="262" y="144"/>
                    </a:cubicBezTo>
                    <a:cubicBezTo>
                      <a:pt x="262" y="144"/>
                      <a:pt x="246" y="133"/>
                      <a:pt x="253" y="133"/>
                    </a:cubicBezTo>
                    <a:cubicBezTo>
                      <a:pt x="260" y="133"/>
                      <a:pt x="270" y="127"/>
                      <a:pt x="270" y="127"/>
                    </a:cubicBezTo>
                    <a:cubicBezTo>
                      <a:pt x="263" y="90"/>
                      <a:pt x="263" y="90"/>
                      <a:pt x="263" y="90"/>
                    </a:cubicBezTo>
                    <a:cubicBezTo>
                      <a:pt x="255" y="74"/>
                      <a:pt x="255" y="74"/>
                      <a:pt x="255" y="74"/>
                    </a:cubicBezTo>
                    <a:cubicBezTo>
                      <a:pt x="255" y="74"/>
                      <a:pt x="257" y="52"/>
                      <a:pt x="250" y="50"/>
                    </a:cubicBezTo>
                    <a:cubicBezTo>
                      <a:pt x="243" y="48"/>
                      <a:pt x="228" y="50"/>
                      <a:pt x="228" y="50"/>
                    </a:cubicBezTo>
                    <a:cubicBezTo>
                      <a:pt x="228" y="50"/>
                      <a:pt x="219" y="23"/>
                      <a:pt x="211" y="15"/>
                    </a:cubicBezTo>
                    <a:cubicBezTo>
                      <a:pt x="203" y="7"/>
                      <a:pt x="189" y="0"/>
                      <a:pt x="189" y="0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7" y="32"/>
                      <a:pt x="187" y="32"/>
                      <a:pt x="187" y="32"/>
                    </a:cubicBezTo>
                    <a:cubicBezTo>
                      <a:pt x="187" y="32"/>
                      <a:pt x="163" y="41"/>
                      <a:pt x="163" y="50"/>
                    </a:cubicBezTo>
                    <a:cubicBezTo>
                      <a:pt x="163" y="59"/>
                      <a:pt x="186" y="69"/>
                      <a:pt x="184" y="73"/>
                    </a:cubicBezTo>
                    <a:cubicBezTo>
                      <a:pt x="182" y="77"/>
                      <a:pt x="159" y="69"/>
                      <a:pt x="159" y="69"/>
                    </a:cubicBezTo>
                    <a:cubicBezTo>
                      <a:pt x="159" y="69"/>
                      <a:pt x="144" y="70"/>
                      <a:pt x="136" y="72"/>
                    </a:cubicBezTo>
                    <a:cubicBezTo>
                      <a:pt x="128" y="74"/>
                      <a:pt x="133" y="89"/>
                      <a:pt x="121" y="93"/>
                    </a:cubicBezTo>
                    <a:cubicBezTo>
                      <a:pt x="109" y="97"/>
                      <a:pt x="98" y="102"/>
                      <a:pt x="98" y="102"/>
                    </a:cubicBezTo>
                    <a:cubicBezTo>
                      <a:pt x="98" y="102"/>
                      <a:pt x="100" y="116"/>
                      <a:pt x="101" y="121"/>
                    </a:cubicBezTo>
                    <a:cubicBezTo>
                      <a:pt x="102" y="126"/>
                      <a:pt x="108" y="137"/>
                      <a:pt x="108" y="137"/>
                    </a:cubicBezTo>
                    <a:cubicBezTo>
                      <a:pt x="96" y="158"/>
                      <a:pt x="96" y="158"/>
                      <a:pt x="96" y="158"/>
                    </a:cubicBezTo>
                    <a:cubicBezTo>
                      <a:pt x="96" y="158"/>
                      <a:pt x="82" y="162"/>
                      <a:pt x="82" y="172"/>
                    </a:cubicBezTo>
                    <a:cubicBezTo>
                      <a:pt x="82" y="182"/>
                      <a:pt x="92" y="190"/>
                      <a:pt x="92" y="190"/>
                    </a:cubicBezTo>
                    <a:cubicBezTo>
                      <a:pt x="80" y="225"/>
                      <a:pt x="80" y="225"/>
                      <a:pt x="80" y="225"/>
                    </a:cubicBezTo>
                    <a:cubicBezTo>
                      <a:pt x="80" y="249"/>
                      <a:pt x="80" y="249"/>
                      <a:pt x="80" y="249"/>
                    </a:cubicBezTo>
                    <a:cubicBezTo>
                      <a:pt x="80" y="249"/>
                      <a:pt x="55" y="245"/>
                      <a:pt x="51" y="244"/>
                    </a:cubicBezTo>
                    <a:cubicBezTo>
                      <a:pt x="47" y="243"/>
                      <a:pt x="22" y="242"/>
                      <a:pt x="26" y="244"/>
                    </a:cubicBezTo>
                    <a:cubicBezTo>
                      <a:pt x="30" y="246"/>
                      <a:pt x="44" y="257"/>
                      <a:pt x="44" y="257"/>
                    </a:cubicBezTo>
                    <a:cubicBezTo>
                      <a:pt x="46" y="290"/>
                      <a:pt x="46" y="290"/>
                      <a:pt x="46" y="290"/>
                    </a:cubicBezTo>
                    <a:cubicBezTo>
                      <a:pt x="46" y="290"/>
                      <a:pt x="29" y="292"/>
                      <a:pt x="32" y="301"/>
                    </a:cubicBezTo>
                    <a:cubicBezTo>
                      <a:pt x="35" y="310"/>
                      <a:pt x="35" y="324"/>
                      <a:pt x="39" y="328"/>
                    </a:cubicBezTo>
                    <a:cubicBezTo>
                      <a:pt x="43" y="332"/>
                      <a:pt x="53" y="344"/>
                      <a:pt x="44" y="346"/>
                    </a:cubicBezTo>
                    <a:cubicBezTo>
                      <a:pt x="35" y="348"/>
                      <a:pt x="31" y="336"/>
                      <a:pt x="31" y="342"/>
                    </a:cubicBezTo>
                    <a:cubicBezTo>
                      <a:pt x="31" y="348"/>
                      <a:pt x="32" y="356"/>
                      <a:pt x="32" y="356"/>
                    </a:cubicBezTo>
                    <a:cubicBezTo>
                      <a:pt x="18" y="344"/>
                      <a:pt x="18" y="344"/>
                      <a:pt x="18" y="344"/>
                    </a:cubicBezTo>
                    <a:cubicBezTo>
                      <a:pt x="25" y="383"/>
                      <a:pt x="25" y="383"/>
                      <a:pt x="25" y="383"/>
                    </a:cubicBezTo>
                    <a:cubicBezTo>
                      <a:pt x="4" y="380"/>
                      <a:pt x="4" y="380"/>
                      <a:pt x="4" y="380"/>
                    </a:cubicBezTo>
                    <a:cubicBezTo>
                      <a:pt x="4" y="380"/>
                      <a:pt x="2" y="384"/>
                      <a:pt x="0" y="39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7" name="MCShape 39">
                <a:extLst>
                  <a:ext uri="{FF2B5EF4-FFF2-40B4-BE49-F238E27FC236}">
                    <a16:creationId xmlns:a16="http://schemas.microsoft.com/office/drawing/2014/main" id="{B3B336C2-54C9-4230-B3F3-B2884BEA6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3314" y="2852011"/>
                <a:ext cx="131472" cy="165501"/>
              </a:xfrm>
              <a:custGeom>
                <a:avLst/>
                <a:gdLst>
                  <a:gd name="T0" fmla="*/ 182 w 220"/>
                  <a:gd name="T1" fmla="*/ 0 h 280"/>
                  <a:gd name="T2" fmla="*/ 160 w 220"/>
                  <a:gd name="T3" fmla="*/ 0 h 280"/>
                  <a:gd name="T4" fmla="*/ 171 w 220"/>
                  <a:gd name="T5" fmla="*/ 27 h 280"/>
                  <a:gd name="T6" fmla="*/ 153 w 220"/>
                  <a:gd name="T7" fmla="*/ 28 h 280"/>
                  <a:gd name="T8" fmla="*/ 153 w 220"/>
                  <a:gd name="T9" fmla="*/ 49 h 280"/>
                  <a:gd name="T10" fmla="*/ 113 w 220"/>
                  <a:gd name="T11" fmla="*/ 50 h 280"/>
                  <a:gd name="T12" fmla="*/ 135 w 220"/>
                  <a:gd name="T13" fmla="*/ 71 h 280"/>
                  <a:gd name="T14" fmla="*/ 134 w 220"/>
                  <a:gd name="T15" fmla="*/ 81 h 280"/>
                  <a:gd name="T16" fmla="*/ 87 w 220"/>
                  <a:gd name="T17" fmla="*/ 77 h 280"/>
                  <a:gd name="T18" fmla="*/ 61 w 220"/>
                  <a:gd name="T19" fmla="*/ 63 h 280"/>
                  <a:gd name="T20" fmla="*/ 47 w 220"/>
                  <a:gd name="T21" fmla="*/ 115 h 280"/>
                  <a:gd name="T22" fmla="*/ 13 w 220"/>
                  <a:gd name="T23" fmla="*/ 138 h 280"/>
                  <a:gd name="T24" fmla="*/ 7 w 220"/>
                  <a:gd name="T25" fmla="*/ 154 h 280"/>
                  <a:gd name="T26" fmla="*/ 0 w 220"/>
                  <a:gd name="T27" fmla="*/ 165 h 280"/>
                  <a:gd name="T28" fmla="*/ 8 w 220"/>
                  <a:gd name="T29" fmla="*/ 152 h 280"/>
                  <a:gd name="T30" fmla="*/ 14 w 220"/>
                  <a:gd name="T31" fmla="*/ 166 h 280"/>
                  <a:gd name="T32" fmla="*/ 26 w 220"/>
                  <a:gd name="T33" fmla="*/ 180 h 280"/>
                  <a:gd name="T34" fmla="*/ 33 w 220"/>
                  <a:gd name="T35" fmla="*/ 168 h 280"/>
                  <a:gd name="T36" fmla="*/ 47 w 220"/>
                  <a:gd name="T37" fmla="*/ 181 h 280"/>
                  <a:gd name="T38" fmla="*/ 64 w 220"/>
                  <a:gd name="T39" fmla="*/ 182 h 280"/>
                  <a:gd name="T40" fmla="*/ 68 w 220"/>
                  <a:gd name="T41" fmla="*/ 223 h 280"/>
                  <a:gd name="T42" fmla="*/ 93 w 220"/>
                  <a:gd name="T43" fmla="*/ 223 h 280"/>
                  <a:gd name="T44" fmla="*/ 96 w 220"/>
                  <a:gd name="T45" fmla="*/ 233 h 280"/>
                  <a:gd name="T46" fmla="*/ 69 w 220"/>
                  <a:gd name="T47" fmla="*/ 234 h 280"/>
                  <a:gd name="T48" fmla="*/ 80 w 220"/>
                  <a:gd name="T49" fmla="*/ 263 h 280"/>
                  <a:gd name="T50" fmla="*/ 87 w 220"/>
                  <a:gd name="T51" fmla="*/ 274 h 280"/>
                  <a:gd name="T52" fmla="*/ 106 w 220"/>
                  <a:gd name="T53" fmla="*/ 266 h 280"/>
                  <a:gd name="T54" fmla="*/ 135 w 220"/>
                  <a:gd name="T55" fmla="*/ 279 h 280"/>
                  <a:gd name="T56" fmla="*/ 153 w 220"/>
                  <a:gd name="T57" fmla="*/ 275 h 280"/>
                  <a:gd name="T58" fmla="*/ 166 w 220"/>
                  <a:gd name="T59" fmla="*/ 265 h 280"/>
                  <a:gd name="T60" fmla="*/ 169 w 220"/>
                  <a:gd name="T61" fmla="*/ 252 h 280"/>
                  <a:gd name="T62" fmla="*/ 207 w 220"/>
                  <a:gd name="T63" fmla="*/ 246 h 280"/>
                  <a:gd name="T64" fmla="*/ 217 w 220"/>
                  <a:gd name="T65" fmla="*/ 236 h 280"/>
                  <a:gd name="T66" fmla="*/ 208 w 220"/>
                  <a:gd name="T67" fmla="*/ 224 h 280"/>
                  <a:gd name="T68" fmla="*/ 177 w 220"/>
                  <a:gd name="T69" fmla="*/ 207 h 280"/>
                  <a:gd name="T70" fmla="*/ 162 w 220"/>
                  <a:gd name="T71" fmla="*/ 202 h 280"/>
                  <a:gd name="T72" fmla="*/ 169 w 220"/>
                  <a:gd name="T73" fmla="*/ 189 h 280"/>
                  <a:gd name="T74" fmla="*/ 154 w 220"/>
                  <a:gd name="T75" fmla="*/ 167 h 280"/>
                  <a:gd name="T76" fmla="*/ 190 w 220"/>
                  <a:gd name="T77" fmla="*/ 146 h 280"/>
                  <a:gd name="T78" fmla="*/ 200 w 220"/>
                  <a:gd name="T79" fmla="*/ 117 h 280"/>
                  <a:gd name="T80" fmla="*/ 216 w 220"/>
                  <a:gd name="T81" fmla="*/ 109 h 280"/>
                  <a:gd name="T82" fmla="*/ 211 w 220"/>
                  <a:gd name="T83" fmla="*/ 88 h 280"/>
                  <a:gd name="T84" fmla="*/ 196 w 220"/>
                  <a:gd name="T85" fmla="*/ 60 h 280"/>
                  <a:gd name="T86" fmla="*/ 220 w 220"/>
                  <a:gd name="T87" fmla="*/ 38 h 280"/>
                  <a:gd name="T88" fmla="*/ 211 w 220"/>
                  <a:gd name="T89" fmla="*/ 23 h 280"/>
                  <a:gd name="T90" fmla="*/ 192 w 220"/>
                  <a:gd name="T91" fmla="*/ 17 h 280"/>
                  <a:gd name="T92" fmla="*/ 182 w 220"/>
                  <a:gd name="T93" fmla="*/ 0 h 28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20"/>
                  <a:gd name="T142" fmla="*/ 0 h 280"/>
                  <a:gd name="T143" fmla="*/ 220 w 220"/>
                  <a:gd name="T144" fmla="*/ 280 h 28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20" h="280">
                    <a:moveTo>
                      <a:pt x="182" y="0"/>
                    </a:move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73" y="22"/>
                      <a:pt x="171" y="27"/>
                    </a:cubicBezTo>
                    <a:cubicBezTo>
                      <a:pt x="169" y="32"/>
                      <a:pt x="153" y="28"/>
                      <a:pt x="153" y="28"/>
                    </a:cubicBezTo>
                    <a:cubicBezTo>
                      <a:pt x="153" y="28"/>
                      <a:pt x="163" y="40"/>
                      <a:pt x="153" y="49"/>
                    </a:cubicBezTo>
                    <a:cubicBezTo>
                      <a:pt x="143" y="58"/>
                      <a:pt x="119" y="42"/>
                      <a:pt x="113" y="50"/>
                    </a:cubicBezTo>
                    <a:cubicBezTo>
                      <a:pt x="107" y="58"/>
                      <a:pt x="135" y="71"/>
                      <a:pt x="135" y="71"/>
                    </a:cubicBezTo>
                    <a:cubicBezTo>
                      <a:pt x="134" y="81"/>
                      <a:pt x="134" y="81"/>
                      <a:pt x="134" y="81"/>
                    </a:cubicBezTo>
                    <a:cubicBezTo>
                      <a:pt x="134" y="81"/>
                      <a:pt x="94" y="82"/>
                      <a:pt x="87" y="77"/>
                    </a:cubicBezTo>
                    <a:cubicBezTo>
                      <a:pt x="80" y="72"/>
                      <a:pt x="65" y="61"/>
                      <a:pt x="61" y="63"/>
                    </a:cubicBezTo>
                    <a:cubicBezTo>
                      <a:pt x="57" y="65"/>
                      <a:pt x="62" y="103"/>
                      <a:pt x="47" y="115"/>
                    </a:cubicBezTo>
                    <a:cubicBezTo>
                      <a:pt x="32" y="127"/>
                      <a:pt x="25" y="128"/>
                      <a:pt x="13" y="138"/>
                    </a:cubicBezTo>
                    <a:cubicBezTo>
                      <a:pt x="3" y="146"/>
                      <a:pt x="5" y="152"/>
                      <a:pt x="7" y="154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8" y="152"/>
                      <a:pt x="8" y="152"/>
                      <a:pt x="8" y="152"/>
                    </a:cubicBezTo>
                    <a:cubicBezTo>
                      <a:pt x="14" y="166"/>
                      <a:pt x="14" y="166"/>
                      <a:pt x="14" y="166"/>
                    </a:cubicBezTo>
                    <a:cubicBezTo>
                      <a:pt x="26" y="180"/>
                      <a:pt x="26" y="180"/>
                      <a:pt x="26" y="180"/>
                    </a:cubicBezTo>
                    <a:cubicBezTo>
                      <a:pt x="33" y="168"/>
                      <a:pt x="33" y="168"/>
                      <a:pt x="33" y="168"/>
                    </a:cubicBezTo>
                    <a:cubicBezTo>
                      <a:pt x="33" y="168"/>
                      <a:pt x="42" y="181"/>
                      <a:pt x="47" y="181"/>
                    </a:cubicBezTo>
                    <a:cubicBezTo>
                      <a:pt x="52" y="181"/>
                      <a:pt x="60" y="175"/>
                      <a:pt x="64" y="182"/>
                    </a:cubicBezTo>
                    <a:cubicBezTo>
                      <a:pt x="68" y="189"/>
                      <a:pt x="68" y="223"/>
                      <a:pt x="68" y="223"/>
                    </a:cubicBezTo>
                    <a:cubicBezTo>
                      <a:pt x="93" y="223"/>
                      <a:pt x="93" y="223"/>
                      <a:pt x="93" y="223"/>
                    </a:cubicBezTo>
                    <a:cubicBezTo>
                      <a:pt x="96" y="233"/>
                      <a:pt x="96" y="233"/>
                      <a:pt x="96" y="233"/>
                    </a:cubicBezTo>
                    <a:cubicBezTo>
                      <a:pt x="96" y="233"/>
                      <a:pt x="73" y="221"/>
                      <a:pt x="69" y="234"/>
                    </a:cubicBezTo>
                    <a:cubicBezTo>
                      <a:pt x="65" y="247"/>
                      <a:pt x="80" y="263"/>
                      <a:pt x="80" y="263"/>
                    </a:cubicBezTo>
                    <a:cubicBezTo>
                      <a:pt x="87" y="274"/>
                      <a:pt x="87" y="274"/>
                      <a:pt x="87" y="274"/>
                    </a:cubicBez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6" y="266"/>
                      <a:pt x="126" y="280"/>
                      <a:pt x="135" y="279"/>
                    </a:cubicBezTo>
                    <a:cubicBezTo>
                      <a:pt x="144" y="278"/>
                      <a:pt x="153" y="275"/>
                      <a:pt x="153" y="275"/>
                    </a:cubicBezTo>
                    <a:cubicBezTo>
                      <a:pt x="153" y="275"/>
                      <a:pt x="165" y="268"/>
                      <a:pt x="166" y="265"/>
                    </a:cubicBezTo>
                    <a:cubicBezTo>
                      <a:pt x="167" y="262"/>
                      <a:pt x="155" y="260"/>
                      <a:pt x="169" y="252"/>
                    </a:cubicBezTo>
                    <a:cubicBezTo>
                      <a:pt x="183" y="245"/>
                      <a:pt x="207" y="246"/>
                      <a:pt x="207" y="246"/>
                    </a:cubicBezTo>
                    <a:cubicBezTo>
                      <a:pt x="217" y="236"/>
                      <a:pt x="217" y="236"/>
                      <a:pt x="217" y="236"/>
                    </a:cubicBezTo>
                    <a:cubicBezTo>
                      <a:pt x="212" y="229"/>
                      <a:pt x="208" y="224"/>
                      <a:pt x="208" y="224"/>
                    </a:cubicBezTo>
                    <a:cubicBezTo>
                      <a:pt x="177" y="207"/>
                      <a:pt x="177" y="207"/>
                      <a:pt x="177" y="207"/>
                    </a:cubicBezTo>
                    <a:cubicBezTo>
                      <a:pt x="177" y="207"/>
                      <a:pt x="155" y="215"/>
                      <a:pt x="162" y="202"/>
                    </a:cubicBezTo>
                    <a:cubicBezTo>
                      <a:pt x="169" y="189"/>
                      <a:pt x="169" y="189"/>
                      <a:pt x="169" y="189"/>
                    </a:cubicBezTo>
                    <a:cubicBezTo>
                      <a:pt x="169" y="189"/>
                      <a:pt x="144" y="178"/>
                      <a:pt x="154" y="167"/>
                    </a:cubicBezTo>
                    <a:cubicBezTo>
                      <a:pt x="164" y="156"/>
                      <a:pt x="185" y="160"/>
                      <a:pt x="190" y="146"/>
                    </a:cubicBezTo>
                    <a:cubicBezTo>
                      <a:pt x="195" y="132"/>
                      <a:pt x="200" y="117"/>
                      <a:pt x="200" y="117"/>
                    </a:cubicBezTo>
                    <a:cubicBezTo>
                      <a:pt x="216" y="109"/>
                      <a:pt x="216" y="109"/>
                      <a:pt x="216" y="109"/>
                    </a:cubicBezTo>
                    <a:cubicBezTo>
                      <a:pt x="211" y="88"/>
                      <a:pt x="211" y="88"/>
                      <a:pt x="211" y="88"/>
                    </a:cubicBezTo>
                    <a:cubicBezTo>
                      <a:pt x="211" y="88"/>
                      <a:pt x="195" y="77"/>
                      <a:pt x="196" y="60"/>
                    </a:cubicBezTo>
                    <a:cubicBezTo>
                      <a:pt x="197" y="43"/>
                      <a:pt x="220" y="38"/>
                      <a:pt x="220" y="38"/>
                    </a:cubicBezTo>
                    <a:cubicBezTo>
                      <a:pt x="211" y="23"/>
                      <a:pt x="211" y="23"/>
                      <a:pt x="211" y="23"/>
                    </a:cubicBezTo>
                    <a:cubicBezTo>
                      <a:pt x="192" y="17"/>
                      <a:pt x="192" y="17"/>
                      <a:pt x="192" y="17"/>
                    </a:cubicBezTo>
                    <a:lnTo>
                      <a:pt x="182" y="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8" name="MCShape 40">
                <a:extLst>
                  <a:ext uri="{FF2B5EF4-FFF2-40B4-BE49-F238E27FC236}">
                    <a16:creationId xmlns:a16="http://schemas.microsoft.com/office/drawing/2014/main" id="{19BCB64F-1155-4E87-BF81-D3252BE3DF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4054" y="2521009"/>
                <a:ext cx="1440013" cy="1112105"/>
              </a:xfrm>
              <a:custGeom>
                <a:avLst/>
                <a:gdLst>
                  <a:gd name="T0" fmla="*/ 1905 w 2441"/>
                  <a:gd name="T1" fmla="*/ 1857 h 1882"/>
                  <a:gd name="T2" fmla="*/ 2423 w 2441"/>
                  <a:gd name="T3" fmla="*/ 352 h 1882"/>
                  <a:gd name="T4" fmla="*/ 2365 w 2441"/>
                  <a:gd name="T5" fmla="*/ 288 h 1882"/>
                  <a:gd name="T6" fmla="*/ 2248 w 2441"/>
                  <a:gd name="T7" fmla="*/ 288 h 1882"/>
                  <a:gd name="T8" fmla="*/ 2077 w 2441"/>
                  <a:gd name="T9" fmla="*/ 209 h 1882"/>
                  <a:gd name="T10" fmla="*/ 1934 w 2441"/>
                  <a:gd name="T11" fmla="*/ 76 h 1882"/>
                  <a:gd name="T12" fmla="*/ 1769 w 2441"/>
                  <a:gd name="T13" fmla="*/ 0 h 1882"/>
                  <a:gd name="T14" fmla="*/ 1704 w 2441"/>
                  <a:gd name="T15" fmla="*/ 80 h 1882"/>
                  <a:gd name="T16" fmla="*/ 1653 w 2441"/>
                  <a:gd name="T17" fmla="*/ 209 h 1882"/>
                  <a:gd name="T18" fmla="*/ 1639 w 2441"/>
                  <a:gd name="T19" fmla="*/ 310 h 1882"/>
                  <a:gd name="T20" fmla="*/ 1786 w 2441"/>
                  <a:gd name="T21" fmla="*/ 322 h 1882"/>
                  <a:gd name="T22" fmla="*/ 1753 w 2441"/>
                  <a:gd name="T23" fmla="*/ 371 h 1882"/>
                  <a:gd name="T24" fmla="*/ 1627 w 2441"/>
                  <a:gd name="T25" fmla="*/ 462 h 1882"/>
                  <a:gd name="T26" fmla="*/ 1536 w 2441"/>
                  <a:gd name="T27" fmla="*/ 569 h 1882"/>
                  <a:gd name="T28" fmla="*/ 1228 w 2441"/>
                  <a:gd name="T29" fmla="*/ 608 h 1882"/>
                  <a:gd name="T30" fmla="*/ 973 w 2441"/>
                  <a:gd name="T31" fmla="*/ 571 h 1882"/>
                  <a:gd name="T32" fmla="*/ 775 w 2441"/>
                  <a:gd name="T33" fmla="*/ 459 h 1882"/>
                  <a:gd name="T34" fmla="*/ 612 w 2441"/>
                  <a:gd name="T35" fmla="*/ 353 h 1882"/>
                  <a:gd name="T36" fmla="*/ 452 w 2441"/>
                  <a:gd name="T37" fmla="*/ 264 h 1882"/>
                  <a:gd name="T38" fmla="*/ 373 w 2441"/>
                  <a:gd name="T39" fmla="*/ 309 h 1882"/>
                  <a:gd name="T40" fmla="*/ 273 w 2441"/>
                  <a:gd name="T41" fmla="*/ 425 h 1882"/>
                  <a:gd name="T42" fmla="*/ 216 w 2441"/>
                  <a:gd name="T43" fmla="*/ 499 h 1882"/>
                  <a:gd name="T44" fmla="*/ 199 w 2441"/>
                  <a:gd name="T45" fmla="*/ 625 h 1882"/>
                  <a:gd name="T46" fmla="*/ 63 w 2441"/>
                  <a:gd name="T47" fmla="*/ 683 h 1882"/>
                  <a:gd name="T48" fmla="*/ 15 w 2441"/>
                  <a:gd name="T49" fmla="*/ 765 h 1882"/>
                  <a:gd name="T50" fmla="*/ 111 w 2441"/>
                  <a:gd name="T51" fmla="*/ 880 h 1882"/>
                  <a:gd name="T52" fmla="*/ 294 w 2441"/>
                  <a:gd name="T53" fmla="*/ 934 h 1882"/>
                  <a:gd name="T54" fmla="*/ 306 w 2441"/>
                  <a:gd name="T55" fmla="*/ 1057 h 1882"/>
                  <a:gd name="T56" fmla="*/ 316 w 2441"/>
                  <a:gd name="T57" fmla="*/ 1113 h 1882"/>
                  <a:gd name="T58" fmla="*/ 403 w 2441"/>
                  <a:gd name="T59" fmla="*/ 1210 h 1882"/>
                  <a:gd name="T60" fmla="*/ 571 w 2441"/>
                  <a:gd name="T61" fmla="*/ 1302 h 1882"/>
                  <a:gd name="T62" fmla="*/ 698 w 2441"/>
                  <a:gd name="T63" fmla="*/ 1349 h 1882"/>
                  <a:gd name="T64" fmla="*/ 894 w 2441"/>
                  <a:gd name="T65" fmla="*/ 1350 h 1882"/>
                  <a:gd name="T66" fmla="*/ 1044 w 2441"/>
                  <a:gd name="T67" fmla="*/ 1318 h 1882"/>
                  <a:gd name="T68" fmla="*/ 1161 w 2441"/>
                  <a:gd name="T69" fmla="*/ 1339 h 1882"/>
                  <a:gd name="T70" fmla="*/ 1291 w 2441"/>
                  <a:gd name="T71" fmla="*/ 1422 h 1882"/>
                  <a:gd name="T72" fmla="*/ 1261 w 2441"/>
                  <a:gd name="T73" fmla="*/ 1535 h 1882"/>
                  <a:gd name="T74" fmla="*/ 1324 w 2441"/>
                  <a:gd name="T75" fmla="*/ 1597 h 1882"/>
                  <a:gd name="T76" fmla="*/ 1400 w 2441"/>
                  <a:gd name="T77" fmla="*/ 1701 h 1882"/>
                  <a:gd name="T78" fmla="*/ 1461 w 2441"/>
                  <a:gd name="T79" fmla="*/ 1679 h 1882"/>
                  <a:gd name="T80" fmla="*/ 1554 w 2441"/>
                  <a:gd name="T81" fmla="*/ 1639 h 1882"/>
                  <a:gd name="T82" fmla="*/ 1625 w 2441"/>
                  <a:gd name="T83" fmla="*/ 1610 h 1882"/>
                  <a:gd name="T84" fmla="*/ 1698 w 2441"/>
                  <a:gd name="T85" fmla="*/ 1684 h 1882"/>
                  <a:gd name="T86" fmla="*/ 1846 w 2441"/>
                  <a:gd name="T87" fmla="*/ 1750 h 1882"/>
                  <a:gd name="T88" fmla="*/ 2036 w 2441"/>
                  <a:gd name="T89" fmla="*/ 1660 h 1882"/>
                  <a:gd name="T90" fmla="*/ 2205 w 2441"/>
                  <a:gd name="T91" fmla="*/ 1544 h 1882"/>
                  <a:gd name="T92" fmla="*/ 2274 w 2441"/>
                  <a:gd name="T93" fmla="*/ 1405 h 1882"/>
                  <a:gd name="T94" fmla="*/ 2335 w 2441"/>
                  <a:gd name="T95" fmla="*/ 1231 h 1882"/>
                  <a:gd name="T96" fmla="*/ 2240 w 2441"/>
                  <a:gd name="T97" fmla="*/ 1164 h 1882"/>
                  <a:gd name="T98" fmla="*/ 2236 w 2441"/>
                  <a:gd name="T99" fmla="*/ 1155 h 1882"/>
                  <a:gd name="T100" fmla="*/ 2157 w 2441"/>
                  <a:gd name="T101" fmla="*/ 1022 h 1882"/>
                  <a:gd name="T102" fmla="*/ 2131 w 2441"/>
                  <a:gd name="T103" fmla="*/ 897 h 1882"/>
                  <a:gd name="T104" fmla="*/ 2161 w 2441"/>
                  <a:gd name="T105" fmla="*/ 854 h 1882"/>
                  <a:gd name="T106" fmla="*/ 2004 w 2441"/>
                  <a:gd name="T107" fmla="*/ 828 h 1882"/>
                  <a:gd name="T108" fmla="*/ 1997 w 2441"/>
                  <a:gd name="T109" fmla="*/ 758 h 1882"/>
                  <a:gd name="T110" fmla="*/ 2079 w 2441"/>
                  <a:gd name="T111" fmla="*/ 665 h 1882"/>
                  <a:gd name="T112" fmla="*/ 2131 w 2441"/>
                  <a:gd name="T113" fmla="*/ 770 h 1882"/>
                  <a:gd name="T114" fmla="*/ 2292 w 2441"/>
                  <a:gd name="T115" fmla="*/ 637 h 1882"/>
                  <a:gd name="T116" fmla="*/ 2387 w 2441"/>
                  <a:gd name="T117" fmla="*/ 560 h 1882"/>
                  <a:gd name="T118" fmla="*/ 2379 w 2441"/>
                  <a:gd name="T119" fmla="*/ 455 h 188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441"/>
                  <a:gd name="T181" fmla="*/ 0 h 1882"/>
                  <a:gd name="T182" fmla="*/ 2441 w 2441"/>
                  <a:gd name="T183" fmla="*/ 1882 h 188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441" h="1882">
                    <a:moveTo>
                      <a:pt x="1912" y="1793"/>
                    </a:moveTo>
                    <a:cubicBezTo>
                      <a:pt x="1898" y="1783"/>
                      <a:pt x="1850" y="1789"/>
                      <a:pt x="1850" y="1789"/>
                    </a:cubicBezTo>
                    <a:cubicBezTo>
                      <a:pt x="1846" y="1801"/>
                      <a:pt x="1846" y="1801"/>
                      <a:pt x="1846" y="1801"/>
                    </a:cubicBezTo>
                    <a:cubicBezTo>
                      <a:pt x="1835" y="1795"/>
                      <a:pt x="1835" y="1795"/>
                      <a:pt x="1835" y="1795"/>
                    </a:cubicBezTo>
                    <a:cubicBezTo>
                      <a:pt x="1829" y="1812"/>
                      <a:pt x="1829" y="1812"/>
                      <a:pt x="1829" y="1812"/>
                    </a:cubicBezTo>
                    <a:cubicBezTo>
                      <a:pt x="1829" y="1812"/>
                      <a:pt x="1799" y="1835"/>
                      <a:pt x="1818" y="1859"/>
                    </a:cubicBezTo>
                    <a:cubicBezTo>
                      <a:pt x="1838" y="1882"/>
                      <a:pt x="1851" y="1882"/>
                      <a:pt x="1851" y="1882"/>
                    </a:cubicBezTo>
                    <a:cubicBezTo>
                      <a:pt x="1907" y="1881"/>
                      <a:pt x="1903" y="1864"/>
                      <a:pt x="1905" y="1857"/>
                    </a:cubicBezTo>
                    <a:cubicBezTo>
                      <a:pt x="1906" y="1851"/>
                      <a:pt x="1902" y="1836"/>
                      <a:pt x="1902" y="1836"/>
                    </a:cubicBezTo>
                    <a:cubicBezTo>
                      <a:pt x="1902" y="1836"/>
                      <a:pt x="1927" y="1804"/>
                      <a:pt x="1912" y="1793"/>
                    </a:cubicBezTo>
                    <a:close/>
                    <a:moveTo>
                      <a:pt x="2441" y="416"/>
                    </a:moveTo>
                    <a:cubicBezTo>
                      <a:pt x="2438" y="399"/>
                      <a:pt x="2438" y="399"/>
                      <a:pt x="2438" y="399"/>
                    </a:cubicBezTo>
                    <a:cubicBezTo>
                      <a:pt x="2441" y="382"/>
                      <a:pt x="2441" y="382"/>
                      <a:pt x="2441" y="382"/>
                    </a:cubicBezTo>
                    <a:cubicBezTo>
                      <a:pt x="2430" y="375"/>
                      <a:pt x="2430" y="375"/>
                      <a:pt x="2430" y="375"/>
                    </a:cubicBezTo>
                    <a:cubicBezTo>
                      <a:pt x="2430" y="362"/>
                      <a:pt x="2430" y="362"/>
                      <a:pt x="2430" y="362"/>
                    </a:cubicBezTo>
                    <a:cubicBezTo>
                      <a:pt x="2423" y="352"/>
                      <a:pt x="2423" y="352"/>
                      <a:pt x="2423" y="352"/>
                    </a:cubicBezTo>
                    <a:cubicBezTo>
                      <a:pt x="2423" y="340"/>
                      <a:pt x="2423" y="340"/>
                      <a:pt x="2423" y="340"/>
                    </a:cubicBezTo>
                    <a:cubicBezTo>
                      <a:pt x="2415" y="330"/>
                      <a:pt x="2415" y="330"/>
                      <a:pt x="2415" y="330"/>
                    </a:cubicBezTo>
                    <a:cubicBezTo>
                      <a:pt x="2427" y="325"/>
                      <a:pt x="2427" y="325"/>
                      <a:pt x="2427" y="325"/>
                    </a:cubicBezTo>
                    <a:cubicBezTo>
                      <a:pt x="2427" y="305"/>
                      <a:pt x="2427" y="305"/>
                      <a:pt x="2427" y="305"/>
                    </a:cubicBezTo>
                    <a:cubicBezTo>
                      <a:pt x="2409" y="297"/>
                      <a:pt x="2409" y="297"/>
                      <a:pt x="2409" y="297"/>
                    </a:cubicBezTo>
                    <a:cubicBezTo>
                      <a:pt x="2409" y="297"/>
                      <a:pt x="2415" y="284"/>
                      <a:pt x="2405" y="276"/>
                    </a:cubicBezTo>
                    <a:cubicBezTo>
                      <a:pt x="2395" y="268"/>
                      <a:pt x="2370" y="274"/>
                      <a:pt x="2370" y="274"/>
                    </a:cubicBezTo>
                    <a:cubicBezTo>
                      <a:pt x="2365" y="288"/>
                      <a:pt x="2365" y="288"/>
                      <a:pt x="2365" y="288"/>
                    </a:cubicBezTo>
                    <a:cubicBezTo>
                      <a:pt x="2365" y="288"/>
                      <a:pt x="2337" y="287"/>
                      <a:pt x="2334" y="292"/>
                    </a:cubicBezTo>
                    <a:cubicBezTo>
                      <a:pt x="2331" y="297"/>
                      <a:pt x="2330" y="308"/>
                      <a:pt x="2330" y="308"/>
                    </a:cubicBezTo>
                    <a:cubicBezTo>
                      <a:pt x="2311" y="306"/>
                      <a:pt x="2311" y="306"/>
                      <a:pt x="2311" y="306"/>
                    </a:cubicBezTo>
                    <a:cubicBezTo>
                      <a:pt x="2311" y="313"/>
                      <a:pt x="2311" y="313"/>
                      <a:pt x="2311" y="313"/>
                    </a:cubicBezTo>
                    <a:cubicBezTo>
                      <a:pt x="2298" y="314"/>
                      <a:pt x="2298" y="314"/>
                      <a:pt x="2298" y="314"/>
                    </a:cubicBezTo>
                    <a:cubicBezTo>
                      <a:pt x="2290" y="304"/>
                      <a:pt x="2290" y="304"/>
                      <a:pt x="2290" y="304"/>
                    </a:cubicBezTo>
                    <a:cubicBezTo>
                      <a:pt x="2273" y="308"/>
                      <a:pt x="2273" y="308"/>
                      <a:pt x="2273" y="308"/>
                    </a:cubicBezTo>
                    <a:cubicBezTo>
                      <a:pt x="2248" y="288"/>
                      <a:pt x="2248" y="288"/>
                      <a:pt x="2248" y="288"/>
                    </a:cubicBezTo>
                    <a:cubicBezTo>
                      <a:pt x="2248" y="288"/>
                      <a:pt x="2247" y="280"/>
                      <a:pt x="2244" y="273"/>
                    </a:cubicBezTo>
                    <a:cubicBezTo>
                      <a:pt x="2241" y="266"/>
                      <a:pt x="2225" y="265"/>
                      <a:pt x="2225" y="265"/>
                    </a:cubicBezTo>
                    <a:cubicBezTo>
                      <a:pt x="2216" y="246"/>
                      <a:pt x="2216" y="246"/>
                      <a:pt x="2216" y="246"/>
                    </a:cubicBezTo>
                    <a:cubicBezTo>
                      <a:pt x="2192" y="246"/>
                      <a:pt x="2192" y="246"/>
                      <a:pt x="2192" y="246"/>
                    </a:cubicBezTo>
                    <a:cubicBezTo>
                      <a:pt x="2192" y="246"/>
                      <a:pt x="2154" y="218"/>
                      <a:pt x="2150" y="218"/>
                    </a:cubicBezTo>
                    <a:cubicBezTo>
                      <a:pt x="2146" y="218"/>
                      <a:pt x="2138" y="225"/>
                      <a:pt x="2138" y="225"/>
                    </a:cubicBezTo>
                    <a:cubicBezTo>
                      <a:pt x="2138" y="225"/>
                      <a:pt x="2122" y="209"/>
                      <a:pt x="2112" y="211"/>
                    </a:cubicBezTo>
                    <a:cubicBezTo>
                      <a:pt x="2102" y="213"/>
                      <a:pt x="2085" y="214"/>
                      <a:pt x="2077" y="209"/>
                    </a:cubicBezTo>
                    <a:cubicBezTo>
                      <a:pt x="2069" y="204"/>
                      <a:pt x="2050" y="194"/>
                      <a:pt x="2050" y="194"/>
                    </a:cubicBezTo>
                    <a:cubicBezTo>
                      <a:pt x="2046" y="178"/>
                      <a:pt x="2046" y="178"/>
                      <a:pt x="2046" y="178"/>
                    </a:cubicBezTo>
                    <a:cubicBezTo>
                      <a:pt x="2039" y="178"/>
                      <a:pt x="2039" y="178"/>
                      <a:pt x="2039" y="178"/>
                    </a:cubicBezTo>
                    <a:cubicBezTo>
                      <a:pt x="2039" y="178"/>
                      <a:pt x="2021" y="154"/>
                      <a:pt x="2011" y="145"/>
                    </a:cubicBezTo>
                    <a:cubicBezTo>
                      <a:pt x="2001" y="136"/>
                      <a:pt x="1980" y="134"/>
                      <a:pt x="1980" y="134"/>
                    </a:cubicBezTo>
                    <a:cubicBezTo>
                      <a:pt x="1969" y="112"/>
                      <a:pt x="1969" y="112"/>
                      <a:pt x="1969" y="112"/>
                    </a:cubicBezTo>
                    <a:cubicBezTo>
                      <a:pt x="1937" y="95"/>
                      <a:pt x="1937" y="95"/>
                      <a:pt x="1937" y="95"/>
                    </a:cubicBezTo>
                    <a:cubicBezTo>
                      <a:pt x="1934" y="76"/>
                      <a:pt x="1934" y="76"/>
                      <a:pt x="1934" y="76"/>
                    </a:cubicBezTo>
                    <a:cubicBezTo>
                      <a:pt x="1934" y="76"/>
                      <a:pt x="1919" y="71"/>
                      <a:pt x="1914" y="67"/>
                    </a:cubicBezTo>
                    <a:cubicBezTo>
                      <a:pt x="1909" y="63"/>
                      <a:pt x="1891" y="53"/>
                      <a:pt x="1891" y="53"/>
                    </a:cubicBezTo>
                    <a:cubicBezTo>
                      <a:pt x="1889" y="44"/>
                      <a:pt x="1889" y="44"/>
                      <a:pt x="1889" y="44"/>
                    </a:cubicBezTo>
                    <a:cubicBezTo>
                      <a:pt x="1889" y="44"/>
                      <a:pt x="1868" y="30"/>
                      <a:pt x="1861" y="29"/>
                    </a:cubicBezTo>
                    <a:cubicBezTo>
                      <a:pt x="1854" y="28"/>
                      <a:pt x="1835" y="27"/>
                      <a:pt x="1835" y="27"/>
                    </a:cubicBezTo>
                    <a:cubicBezTo>
                      <a:pt x="1820" y="30"/>
                      <a:pt x="1820" y="30"/>
                      <a:pt x="1820" y="30"/>
                    </a:cubicBezTo>
                    <a:cubicBezTo>
                      <a:pt x="1794" y="13"/>
                      <a:pt x="1794" y="13"/>
                      <a:pt x="1794" y="13"/>
                    </a:cubicBezTo>
                    <a:cubicBezTo>
                      <a:pt x="1769" y="0"/>
                      <a:pt x="1769" y="0"/>
                      <a:pt x="1769" y="0"/>
                    </a:cubicBezTo>
                    <a:cubicBezTo>
                      <a:pt x="1734" y="7"/>
                      <a:pt x="1734" y="7"/>
                      <a:pt x="1734" y="7"/>
                    </a:cubicBezTo>
                    <a:cubicBezTo>
                      <a:pt x="1706" y="5"/>
                      <a:pt x="1706" y="5"/>
                      <a:pt x="1706" y="5"/>
                    </a:cubicBezTo>
                    <a:cubicBezTo>
                      <a:pt x="1702" y="13"/>
                      <a:pt x="1702" y="13"/>
                      <a:pt x="1702" y="13"/>
                    </a:cubicBezTo>
                    <a:cubicBezTo>
                      <a:pt x="1678" y="16"/>
                      <a:pt x="1678" y="16"/>
                      <a:pt x="1678" y="16"/>
                    </a:cubicBezTo>
                    <a:cubicBezTo>
                      <a:pt x="1658" y="36"/>
                      <a:pt x="1658" y="36"/>
                      <a:pt x="1658" y="36"/>
                    </a:cubicBezTo>
                    <a:cubicBezTo>
                      <a:pt x="1658" y="36"/>
                      <a:pt x="1636" y="51"/>
                      <a:pt x="1651" y="54"/>
                    </a:cubicBezTo>
                    <a:cubicBezTo>
                      <a:pt x="1666" y="57"/>
                      <a:pt x="1678" y="59"/>
                      <a:pt x="1678" y="59"/>
                    </a:cubicBezTo>
                    <a:cubicBezTo>
                      <a:pt x="1678" y="59"/>
                      <a:pt x="1705" y="74"/>
                      <a:pt x="1704" y="80"/>
                    </a:cubicBezTo>
                    <a:cubicBezTo>
                      <a:pt x="1703" y="86"/>
                      <a:pt x="1691" y="91"/>
                      <a:pt x="1689" y="100"/>
                    </a:cubicBezTo>
                    <a:cubicBezTo>
                      <a:pt x="1687" y="109"/>
                      <a:pt x="1692" y="127"/>
                      <a:pt x="1692" y="127"/>
                    </a:cubicBezTo>
                    <a:cubicBezTo>
                      <a:pt x="1692" y="146"/>
                      <a:pt x="1692" y="146"/>
                      <a:pt x="1692" y="146"/>
                    </a:cubicBezTo>
                    <a:cubicBezTo>
                      <a:pt x="1693" y="171"/>
                      <a:pt x="1693" y="171"/>
                      <a:pt x="1693" y="171"/>
                    </a:cubicBezTo>
                    <a:cubicBezTo>
                      <a:pt x="1693" y="171"/>
                      <a:pt x="1717" y="181"/>
                      <a:pt x="1704" y="189"/>
                    </a:cubicBezTo>
                    <a:cubicBezTo>
                      <a:pt x="1691" y="197"/>
                      <a:pt x="1680" y="192"/>
                      <a:pt x="1680" y="192"/>
                    </a:cubicBezTo>
                    <a:cubicBezTo>
                      <a:pt x="1680" y="192"/>
                      <a:pt x="1676" y="214"/>
                      <a:pt x="1666" y="214"/>
                    </a:cubicBezTo>
                    <a:cubicBezTo>
                      <a:pt x="1656" y="214"/>
                      <a:pt x="1653" y="209"/>
                      <a:pt x="1653" y="209"/>
                    </a:cubicBezTo>
                    <a:cubicBezTo>
                      <a:pt x="1629" y="208"/>
                      <a:pt x="1629" y="208"/>
                      <a:pt x="1629" y="208"/>
                    </a:cubicBezTo>
                    <a:cubicBezTo>
                      <a:pt x="1606" y="194"/>
                      <a:pt x="1606" y="194"/>
                      <a:pt x="1606" y="194"/>
                    </a:cubicBezTo>
                    <a:cubicBezTo>
                      <a:pt x="1607" y="249"/>
                      <a:pt x="1607" y="249"/>
                      <a:pt x="1607" y="249"/>
                    </a:cubicBezTo>
                    <a:cubicBezTo>
                      <a:pt x="1612" y="255"/>
                      <a:pt x="1612" y="255"/>
                      <a:pt x="1612" y="255"/>
                    </a:cubicBezTo>
                    <a:cubicBezTo>
                      <a:pt x="1613" y="273"/>
                      <a:pt x="1613" y="273"/>
                      <a:pt x="1613" y="273"/>
                    </a:cubicBezTo>
                    <a:cubicBezTo>
                      <a:pt x="1617" y="279"/>
                      <a:pt x="1617" y="279"/>
                      <a:pt x="1617" y="279"/>
                    </a:cubicBezTo>
                    <a:cubicBezTo>
                      <a:pt x="1617" y="279"/>
                      <a:pt x="1612" y="282"/>
                      <a:pt x="1615" y="292"/>
                    </a:cubicBezTo>
                    <a:cubicBezTo>
                      <a:pt x="1618" y="302"/>
                      <a:pt x="1630" y="313"/>
                      <a:pt x="1639" y="310"/>
                    </a:cubicBezTo>
                    <a:cubicBezTo>
                      <a:pt x="1648" y="307"/>
                      <a:pt x="1632" y="300"/>
                      <a:pt x="1651" y="299"/>
                    </a:cubicBezTo>
                    <a:cubicBezTo>
                      <a:pt x="1670" y="298"/>
                      <a:pt x="1680" y="302"/>
                      <a:pt x="1680" y="302"/>
                    </a:cubicBezTo>
                    <a:cubicBezTo>
                      <a:pt x="1680" y="302"/>
                      <a:pt x="1691" y="313"/>
                      <a:pt x="1697" y="311"/>
                    </a:cubicBezTo>
                    <a:cubicBezTo>
                      <a:pt x="1703" y="309"/>
                      <a:pt x="1704" y="291"/>
                      <a:pt x="1704" y="291"/>
                    </a:cubicBezTo>
                    <a:cubicBezTo>
                      <a:pt x="1745" y="291"/>
                      <a:pt x="1745" y="291"/>
                      <a:pt x="1745" y="291"/>
                    </a:cubicBezTo>
                    <a:cubicBezTo>
                      <a:pt x="1745" y="291"/>
                      <a:pt x="1748" y="306"/>
                      <a:pt x="1757" y="307"/>
                    </a:cubicBezTo>
                    <a:cubicBezTo>
                      <a:pt x="1766" y="308"/>
                      <a:pt x="1769" y="308"/>
                      <a:pt x="1769" y="308"/>
                    </a:cubicBezTo>
                    <a:cubicBezTo>
                      <a:pt x="1769" y="308"/>
                      <a:pt x="1777" y="315"/>
                      <a:pt x="1786" y="322"/>
                    </a:cubicBezTo>
                    <a:cubicBezTo>
                      <a:pt x="1795" y="329"/>
                      <a:pt x="1813" y="333"/>
                      <a:pt x="1813" y="333"/>
                    </a:cubicBezTo>
                    <a:cubicBezTo>
                      <a:pt x="1813" y="333"/>
                      <a:pt x="1818" y="344"/>
                      <a:pt x="1827" y="350"/>
                    </a:cubicBezTo>
                    <a:cubicBezTo>
                      <a:pt x="1836" y="356"/>
                      <a:pt x="1839" y="362"/>
                      <a:pt x="1831" y="363"/>
                    </a:cubicBezTo>
                    <a:cubicBezTo>
                      <a:pt x="1823" y="364"/>
                      <a:pt x="1805" y="365"/>
                      <a:pt x="1805" y="365"/>
                    </a:cubicBezTo>
                    <a:cubicBezTo>
                      <a:pt x="1805" y="365"/>
                      <a:pt x="1797" y="356"/>
                      <a:pt x="1788" y="356"/>
                    </a:cubicBezTo>
                    <a:cubicBezTo>
                      <a:pt x="1779" y="356"/>
                      <a:pt x="1768" y="359"/>
                      <a:pt x="1768" y="359"/>
                    </a:cubicBezTo>
                    <a:cubicBezTo>
                      <a:pt x="1759" y="368"/>
                      <a:pt x="1759" y="368"/>
                      <a:pt x="1759" y="368"/>
                    </a:cubicBezTo>
                    <a:cubicBezTo>
                      <a:pt x="1753" y="371"/>
                      <a:pt x="1753" y="371"/>
                      <a:pt x="1753" y="371"/>
                    </a:cubicBezTo>
                    <a:cubicBezTo>
                      <a:pt x="1735" y="368"/>
                      <a:pt x="1735" y="368"/>
                      <a:pt x="1735" y="368"/>
                    </a:cubicBezTo>
                    <a:cubicBezTo>
                      <a:pt x="1735" y="379"/>
                      <a:pt x="1735" y="379"/>
                      <a:pt x="1735" y="379"/>
                    </a:cubicBezTo>
                    <a:cubicBezTo>
                      <a:pt x="1735" y="379"/>
                      <a:pt x="1710" y="380"/>
                      <a:pt x="1703" y="391"/>
                    </a:cubicBezTo>
                    <a:cubicBezTo>
                      <a:pt x="1696" y="402"/>
                      <a:pt x="1711" y="413"/>
                      <a:pt x="1711" y="413"/>
                    </a:cubicBezTo>
                    <a:cubicBezTo>
                      <a:pt x="1695" y="427"/>
                      <a:pt x="1695" y="427"/>
                      <a:pt x="1695" y="427"/>
                    </a:cubicBezTo>
                    <a:cubicBezTo>
                      <a:pt x="1695" y="427"/>
                      <a:pt x="1649" y="424"/>
                      <a:pt x="1646" y="427"/>
                    </a:cubicBezTo>
                    <a:cubicBezTo>
                      <a:pt x="1643" y="430"/>
                      <a:pt x="1645" y="446"/>
                      <a:pt x="1645" y="446"/>
                    </a:cubicBezTo>
                    <a:cubicBezTo>
                      <a:pt x="1645" y="446"/>
                      <a:pt x="1634" y="460"/>
                      <a:pt x="1627" y="462"/>
                    </a:cubicBezTo>
                    <a:cubicBezTo>
                      <a:pt x="1620" y="464"/>
                      <a:pt x="1593" y="465"/>
                      <a:pt x="1593" y="465"/>
                    </a:cubicBezTo>
                    <a:cubicBezTo>
                      <a:pt x="1593" y="465"/>
                      <a:pt x="1571" y="448"/>
                      <a:pt x="1567" y="447"/>
                    </a:cubicBezTo>
                    <a:cubicBezTo>
                      <a:pt x="1563" y="446"/>
                      <a:pt x="1545" y="440"/>
                      <a:pt x="1539" y="450"/>
                    </a:cubicBezTo>
                    <a:cubicBezTo>
                      <a:pt x="1533" y="460"/>
                      <a:pt x="1535" y="480"/>
                      <a:pt x="1541" y="484"/>
                    </a:cubicBezTo>
                    <a:cubicBezTo>
                      <a:pt x="1547" y="488"/>
                      <a:pt x="1578" y="511"/>
                      <a:pt x="1577" y="516"/>
                    </a:cubicBezTo>
                    <a:cubicBezTo>
                      <a:pt x="1576" y="521"/>
                      <a:pt x="1566" y="536"/>
                      <a:pt x="1562" y="536"/>
                    </a:cubicBezTo>
                    <a:cubicBezTo>
                      <a:pt x="1558" y="536"/>
                      <a:pt x="1548" y="533"/>
                      <a:pt x="1545" y="540"/>
                    </a:cubicBezTo>
                    <a:cubicBezTo>
                      <a:pt x="1542" y="547"/>
                      <a:pt x="1544" y="562"/>
                      <a:pt x="1536" y="569"/>
                    </a:cubicBezTo>
                    <a:cubicBezTo>
                      <a:pt x="1528" y="576"/>
                      <a:pt x="1511" y="574"/>
                      <a:pt x="1511" y="574"/>
                    </a:cubicBezTo>
                    <a:cubicBezTo>
                      <a:pt x="1499" y="587"/>
                      <a:pt x="1499" y="587"/>
                      <a:pt x="1499" y="587"/>
                    </a:cubicBezTo>
                    <a:cubicBezTo>
                      <a:pt x="1499" y="587"/>
                      <a:pt x="1409" y="584"/>
                      <a:pt x="1395" y="590"/>
                    </a:cubicBezTo>
                    <a:cubicBezTo>
                      <a:pt x="1381" y="596"/>
                      <a:pt x="1338" y="625"/>
                      <a:pt x="1332" y="630"/>
                    </a:cubicBezTo>
                    <a:cubicBezTo>
                      <a:pt x="1326" y="635"/>
                      <a:pt x="1306" y="627"/>
                      <a:pt x="1306" y="627"/>
                    </a:cubicBezTo>
                    <a:cubicBezTo>
                      <a:pt x="1306" y="627"/>
                      <a:pt x="1303" y="615"/>
                      <a:pt x="1297" y="615"/>
                    </a:cubicBezTo>
                    <a:cubicBezTo>
                      <a:pt x="1291" y="615"/>
                      <a:pt x="1270" y="624"/>
                      <a:pt x="1270" y="624"/>
                    </a:cubicBezTo>
                    <a:cubicBezTo>
                      <a:pt x="1270" y="624"/>
                      <a:pt x="1242" y="609"/>
                      <a:pt x="1228" y="608"/>
                    </a:cubicBezTo>
                    <a:cubicBezTo>
                      <a:pt x="1214" y="607"/>
                      <a:pt x="1203" y="609"/>
                      <a:pt x="1188" y="604"/>
                    </a:cubicBezTo>
                    <a:cubicBezTo>
                      <a:pt x="1173" y="599"/>
                      <a:pt x="1171" y="584"/>
                      <a:pt x="1161" y="581"/>
                    </a:cubicBezTo>
                    <a:cubicBezTo>
                      <a:pt x="1151" y="578"/>
                      <a:pt x="1112" y="578"/>
                      <a:pt x="1112" y="578"/>
                    </a:cubicBezTo>
                    <a:cubicBezTo>
                      <a:pt x="1112" y="578"/>
                      <a:pt x="1092" y="570"/>
                      <a:pt x="1087" y="570"/>
                    </a:cubicBezTo>
                    <a:cubicBezTo>
                      <a:pt x="1082" y="570"/>
                      <a:pt x="1068" y="581"/>
                      <a:pt x="1068" y="581"/>
                    </a:cubicBezTo>
                    <a:cubicBezTo>
                      <a:pt x="1043" y="576"/>
                      <a:pt x="1043" y="576"/>
                      <a:pt x="1043" y="576"/>
                    </a:cubicBezTo>
                    <a:cubicBezTo>
                      <a:pt x="1012" y="576"/>
                      <a:pt x="1012" y="576"/>
                      <a:pt x="1012" y="576"/>
                    </a:cubicBezTo>
                    <a:cubicBezTo>
                      <a:pt x="973" y="571"/>
                      <a:pt x="973" y="571"/>
                      <a:pt x="973" y="571"/>
                    </a:cubicBezTo>
                    <a:cubicBezTo>
                      <a:pt x="935" y="575"/>
                      <a:pt x="935" y="575"/>
                      <a:pt x="935" y="575"/>
                    </a:cubicBezTo>
                    <a:cubicBezTo>
                      <a:pt x="935" y="575"/>
                      <a:pt x="902" y="550"/>
                      <a:pt x="898" y="544"/>
                    </a:cubicBezTo>
                    <a:cubicBezTo>
                      <a:pt x="894" y="538"/>
                      <a:pt x="880" y="519"/>
                      <a:pt x="876" y="515"/>
                    </a:cubicBezTo>
                    <a:cubicBezTo>
                      <a:pt x="872" y="511"/>
                      <a:pt x="863" y="506"/>
                      <a:pt x="863" y="506"/>
                    </a:cubicBezTo>
                    <a:cubicBezTo>
                      <a:pt x="856" y="490"/>
                      <a:pt x="856" y="490"/>
                      <a:pt x="856" y="490"/>
                    </a:cubicBezTo>
                    <a:cubicBezTo>
                      <a:pt x="834" y="487"/>
                      <a:pt x="834" y="487"/>
                      <a:pt x="834" y="487"/>
                    </a:cubicBezTo>
                    <a:cubicBezTo>
                      <a:pt x="834" y="487"/>
                      <a:pt x="797" y="475"/>
                      <a:pt x="794" y="474"/>
                    </a:cubicBezTo>
                    <a:cubicBezTo>
                      <a:pt x="791" y="473"/>
                      <a:pt x="784" y="461"/>
                      <a:pt x="775" y="459"/>
                    </a:cubicBezTo>
                    <a:cubicBezTo>
                      <a:pt x="766" y="457"/>
                      <a:pt x="755" y="452"/>
                      <a:pt x="755" y="452"/>
                    </a:cubicBezTo>
                    <a:cubicBezTo>
                      <a:pt x="755" y="452"/>
                      <a:pt x="721" y="450"/>
                      <a:pt x="707" y="451"/>
                    </a:cubicBezTo>
                    <a:cubicBezTo>
                      <a:pt x="693" y="452"/>
                      <a:pt x="679" y="449"/>
                      <a:pt x="668" y="445"/>
                    </a:cubicBezTo>
                    <a:cubicBezTo>
                      <a:pt x="657" y="441"/>
                      <a:pt x="636" y="439"/>
                      <a:pt x="631" y="426"/>
                    </a:cubicBezTo>
                    <a:cubicBezTo>
                      <a:pt x="626" y="413"/>
                      <a:pt x="625" y="403"/>
                      <a:pt x="625" y="403"/>
                    </a:cubicBezTo>
                    <a:cubicBezTo>
                      <a:pt x="625" y="403"/>
                      <a:pt x="635" y="399"/>
                      <a:pt x="633" y="392"/>
                    </a:cubicBezTo>
                    <a:cubicBezTo>
                      <a:pt x="631" y="385"/>
                      <a:pt x="621" y="377"/>
                      <a:pt x="621" y="377"/>
                    </a:cubicBezTo>
                    <a:cubicBezTo>
                      <a:pt x="621" y="377"/>
                      <a:pt x="624" y="361"/>
                      <a:pt x="612" y="353"/>
                    </a:cubicBezTo>
                    <a:cubicBezTo>
                      <a:pt x="600" y="345"/>
                      <a:pt x="591" y="336"/>
                      <a:pt x="586" y="329"/>
                    </a:cubicBezTo>
                    <a:cubicBezTo>
                      <a:pt x="581" y="322"/>
                      <a:pt x="574" y="308"/>
                      <a:pt x="560" y="304"/>
                    </a:cubicBezTo>
                    <a:cubicBezTo>
                      <a:pt x="546" y="300"/>
                      <a:pt x="540" y="298"/>
                      <a:pt x="540" y="298"/>
                    </a:cubicBezTo>
                    <a:cubicBezTo>
                      <a:pt x="525" y="290"/>
                      <a:pt x="525" y="290"/>
                      <a:pt x="525" y="290"/>
                    </a:cubicBezTo>
                    <a:cubicBezTo>
                      <a:pt x="504" y="296"/>
                      <a:pt x="504" y="296"/>
                      <a:pt x="504" y="296"/>
                    </a:cubicBezTo>
                    <a:cubicBezTo>
                      <a:pt x="487" y="280"/>
                      <a:pt x="487" y="280"/>
                      <a:pt x="487" y="280"/>
                    </a:cubicBezTo>
                    <a:cubicBezTo>
                      <a:pt x="481" y="272"/>
                      <a:pt x="481" y="272"/>
                      <a:pt x="481" y="272"/>
                    </a:cubicBezTo>
                    <a:cubicBezTo>
                      <a:pt x="481" y="272"/>
                      <a:pt x="457" y="269"/>
                      <a:pt x="452" y="264"/>
                    </a:cubicBezTo>
                    <a:cubicBezTo>
                      <a:pt x="447" y="259"/>
                      <a:pt x="451" y="251"/>
                      <a:pt x="451" y="251"/>
                    </a:cubicBezTo>
                    <a:cubicBezTo>
                      <a:pt x="433" y="251"/>
                      <a:pt x="433" y="251"/>
                      <a:pt x="433" y="251"/>
                    </a:cubicBezTo>
                    <a:cubicBezTo>
                      <a:pt x="433" y="251"/>
                      <a:pt x="443" y="239"/>
                      <a:pt x="435" y="235"/>
                    </a:cubicBezTo>
                    <a:cubicBezTo>
                      <a:pt x="427" y="231"/>
                      <a:pt x="414" y="238"/>
                      <a:pt x="414" y="238"/>
                    </a:cubicBezTo>
                    <a:cubicBezTo>
                      <a:pt x="414" y="238"/>
                      <a:pt x="388" y="230"/>
                      <a:pt x="387" y="239"/>
                    </a:cubicBezTo>
                    <a:cubicBezTo>
                      <a:pt x="386" y="248"/>
                      <a:pt x="405" y="251"/>
                      <a:pt x="399" y="260"/>
                    </a:cubicBezTo>
                    <a:cubicBezTo>
                      <a:pt x="393" y="269"/>
                      <a:pt x="364" y="259"/>
                      <a:pt x="359" y="273"/>
                    </a:cubicBezTo>
                    <a:cubicBezTo>
                      <a:pt x="354" y="287"/>
                      <a:pt x="364" y="296"/>
                      <a:pt x="373" y="309"/>
                    </a:cubicBezTo>
                    <a:cubicBezTo>
                      <a:pt x="382" y="322"/>
                      <a:pt x="388" y="333"/>
                      <a:pt x="381" y="338"/>
                    </a:cubicBezTo>
                    <a:cubicBezTo>
                      <a:pt x="374" y="343"/>
                      <a:pt x="366" y="342"/>
                      <a:pt x="366" y="342"/>
                    </a:cubicBezTo>
                    <a:cubicBezTo>
                      <a:pt x="355" y="354"/>
                      <a:pt x="355" y="354"/>
                      <a:pt x="355" y="354"/>
                    </a:cubicBezTo>
                    <a:cubicBezTo>
                      <a:pt x="346" y="346"/>
                      <a:pt x="346" y="346"/>
                      <a:pt x="346" y="346"/>
                    </a:cubicBezTo>
                    <a:cubicBezTo>
                      <a:pt x="346" y="346"/>
                      <a:pt x="325" y="348"/>
                      <a:pt x="317" y="346"/>
                    </a:cubicBezTo>
                    <a:cubicBezTo>
                      <a:pt x="309" y="344"/>
                      <a:pt x="284" y="332"/>
                      <a:pt x="278" y="332"/>
                    </a:cubicBezTo>
                    <a:cubicBezTo>
                      <a:pt x="272" y="332"/>
                      <a:pt x="273" y="347"/>
                      <a:pt x="273" y="359"/>
                    </a:cubicBezTo>
                    <a:cubicBezTo>
                      <a:pt x="273" y="371"/>
                      <a:pt x="269" y="423"/>
                      <a:pt x="273" y="425"/>
                    </a:cubicBezTo>
                    <a:cubicBezTo>
                      <a:pt x="277" y="427"/>
                      <a:pt x="300" y="429"/>
                      <a:pt x="291" y="440"/>
                    </a:cubicBezTo>
                    <a:cubicBezTo>
                      <a:pt x="282" y="451"/>
                      <a:pt x="275" y="437"/>
                      <a:pt x="275" y="437"/>
                    </a:cubicBezTo>
                    <a:cubicBezTo>
                      <a:pt x="262" y="444"/>
                      <a:pt x="262" y="444"/>
                      <a:pt x="262" y="444"/>
                    </a:cubicBezTo>
                    <a:cubicBezTo>
                      <a:pt x="262" y="444"/>
                      <a:pt x="253" y="430"/>
                      <a:pt x="248" y="430"/>
                    </a:cubicBezTo>
                    <a:cubicBezTo>
                      <a:pt x="243" y="430"/>
                      <a:pt x="219" y="440"/>
                      <a:pt x="213" y="441"/>
                    </a:cubicBezTo>
                    <a:cubicBezTo>
                      <a:pt x="207" y="442"/>
                      <a:pt x="176" y="449"/>
                      <a:pt x="183" y="458"/>
                    </a:cubicBezTo>
                    <a:cubicBezTo>
                      <a:pt x="190" y="467"/>
                      <a:pt x="208" y="464"/>
                      <a:pt x="208" y="464"/>
                    </a:cubicBezTo>
                    <a:cubicBezTo>
                      <a:pt x="208" y="464"/>
                      <a:pt x="208" y="490"/>
                      <a:pt x="216" y="499"/>
                    </a:cubicBezTo>
                    <a:cubicBezTo>
                      <a:pt x="224" y="508"/>
                      <a:pt x="254" y="539"/>
                      <a:pt x="254" y="546"/>
                    </a:cubicBezTo>
                    <a:cubicBezTo>
                      <a:pt x="254" y="553"/>
                      <a:pt x="238" y="550"/>
                      <a:pt x="238" y="553"/>
                    </a:cubicBezTo>
                    <a:cubicBezTo>
                      <a:pt x="238" y="556"/>
                      <a:pt x="249" y="568"/>
                      <a:pt x="249" y="568"/>
                    </a:cubicBezTo>
                    <a:cubicBezTo>
                      <a:pt x="249" y="568"/>
                      <a:pt x="235" y="566"/>
                      <a:pt x="235" y="571"/>
                    </a:cubicBezTo>
                    <a:cubicBezTo>
                      <a:pt x="235" y="576"/>
                      <a:pt x="239" y="587"/>
                      <a:pt x="244" y="592"/>
                    </a:cubicBezTo>
                    <a:cubicBezTo>
                      <a:pt x="249" y="597"/>
                      <a:pt x="251" y="610"/>
                      <a:pt x="248" y="611"/>
                    </a:cubicBezTo>
                    <a:cubicBezTo>
                      <a:pt x="245" y="612"/>
                      <a:pt x="231" y="612"/>
                      <a:pt x="231" y="612"/>
                    </a:cubicBezTo>
                    <a:cubicBezTo>
                      <a:pt x="199" y="625"/>
                      <a:pt x="199" y="625"/>
                      <a:pt x="199" y="625"/>
                    </a:cubicBezTo>
                    <a:cubicBezTo>
                      <a:pt x="199" y="625"/>
                      <a:pt x="180" y="642"/>
                      <a:pt x="180" y="645"/>
                    </a:cubicBezTo>
                    <a:cubicBezTo>
                      <a:pt x="180" y="648"/>
                      <a:pt x="180" y="666"/>
                      <a:pt x="168" y="666"/>
                    </a:cubicBezTo>
                    <a:cubicBezTo>
                      <a:pt x="156" y="666"/>
                      <a:pt x="137" y="658"/>
                      <a:pt x="129" y="659"/>
                    </a:cubicBezTo>
                    <a:cubicBezTo>
                      <a:pt x="121" y="660"/>
                      <a:pt x="113" y="673"/>
                      <a:pt x="112" y="682"/>
                    </a:cubicBezTo>
                    <a:cubicBezTo>
                      <a:pt x="111" y="691"/>
                      <a:pt x="106" y="700"/>
                      <a:pt x="106" y="700"/>
                    </a:cubicBezTo>
                    <a:cubicBezTo>
                      <a:pt x="87" y="695"/>
                      <a:pt x="87" y="695"/>
                      <a:pt x="87" y="695"/>
                    </a:cubicBezTo>
                    <a:cubicBezTo>
                      <a:pt x="80" y="702"/>
                      <a:pt x="80" y="702"/>
                      <a:pt x="80" y="702"/>
                    </a:cubicBezTo>
                    <a:cubicBezTo>
                      <a:pt x="80" y="702"/>
                      <a:pt x="69" y="683"/>
                      <a:pt x="63" y="683"/>
                    </a:cubicBezTo>
                    <a:cubicBezTo>
                      <a:pt x="57" y="683"/>
                      <a:pt x="52" y="692"/>
                      <a:pt x="52" y="692"/>
                    </a:cubicBezTo>
                    <a:cubicBezTo>
                      <a:pt x="33" y="694"/>
                      <a:pt x="33" y="694"/>
                      <a:pt x="33" y="694"/>
                    </a:cubicBezTo>
                    <a:cubicBezTo>
                      <a:pt x="33" y="704"/>
                      <a:pt x="33" y="704"/>
                      <a:pt x="33" y="704"/>
                    </a:cubicBezTo>
                    <a:cubicBezTo>
                      <a:pt x="33" y="704"/>
                      <a:pt x="0" y="719"/>
                      <a:pt x="1" y="722"/>
                    </a:cubicBezTo>
                    <a:cubicBezTo>
                      <a:pt x="2" y="725"/>
                      <a:pt x="13" y="738"/>
                      <a:pt x="13" y="742"/>
                    </a:cubicBezTo>
                    <a:cubicBezTo>
                      <a:pt x="13" y="746"/>
                      <a:pt x="1" y="744"/>
                      <a:pt x="1" y="744"/>
                    </a:cubicBezTo>
                    <a:cubicBezTo>
                      <a:pt x="1" y="761"/>
                      <a:pt x="1" y="761"/>
                      <a:pt x="1" y="761"/>
                    </a:cubicBezTo>
                    <a:cubicBezTo>
                      <a:pt x="1" y="761"/>
                      <a:pt x="15" y="758"/>
                      <a:pt x="15" y="765"/>
                    </a:cubicBezTo>
                    <a:cubicBezTo>
                      <a:pt x="15" y="772"/>
                      <a:pt x="7" y="790"/>
                      <a:pt x="17" y="794"/>
                    </a:cubicBezTo>
                    <a:cubicBezTo>
                      <a:pt x="27" y="798"/>
                      <a:pt x="31" y="783"/>
                      <a:pt x="45" y="787"/>
                    </a:cubicBezTo>
                    <a:cubicBezTo>
                      <a:pt x="59" y="791"/>
                      <a:pt x="71" y="794"/>
                      <a:pt x="71" y="804"/>
                    </a:cubicBezTo>
                    <a:cubicBezTo>
                      <a:pt x="71" y="814"/>
                      <a:pt x="72" y="836"/>
                      <a:pt x="79" y="843"/>
                    </a:cubicBezTo>
                    <a:cubicBezTo>
                      <a:pt x="86" y="850"/>
                      <a:pt x="98" y="853"/>
                      <a:pt x="90" y="859"/>
                    </a:cubicBezTo>
                    <a:cubicBezTo>
                      <a:pt x="82" y="865"/>
                      <a:pt x="62" y="857"/>
                      <a:pt x="65" y="868"/>
                    </a:cubicBezTo>
                    <a:cubicBezTo>
                      <a:pt x="68" y="879"/>
                      <a:pt x="90" y="880"/>
                      <a:pt x="90" y="880"/>
                    </a:cubicBezTo>
                    <a:cubicBezTo>
                      <a:pt x="111" y="880"/>
                      <a:pt x="111" y="880"/>
                      <a:pt x="111" y="880"/>
                    </a:cubicBezTo>
                    <a:cubicBezTo>
                      <a:pt x="114" y="889"/>
                      <a:pt x="114" y="889"/>
                      <a:pt x="114" y="889"/>
                    </a:cubicBezTo>
                    <a:cubicBezTo>
                      <a:pt x="114" y="889"/>
                      <a:pt x="129" y="890"/>
                      <a:pt x="138" y="900"/>
                    </a:cubicBezTo>
                    <a:cubicBezTo>
                      <a:pt x="147" y="910"/>
                      <a:pt x="148" y="931"/>
                      <a:pt x="148" y="931"/>
                    </a:cubicBezTo>
                    <a:cubicBezTo>
                      <a:pt x="169" y="939"/>
                      <a:pt x="169" y="939"/>
                      <a:pt x="169" y="939"/>
                    </a:cubicBezTo>
                    <a:cubicBezTo>
                      <a:pt x="177" y="935"/>
                      <a:pt x="177" y="935"/>
                      <a:pt x="177" y="935"/>
                    </a:cubicBezTo>
                    <a:cubicBezTo>
                      <a:pt x="177" y="935"/>
                      <a:pt x="182" y="955"/>
                      <a:pt x="201" y="956"/>
                    </a:cubicBezTo>
                    <a:cubicBezTo>
                      <a:pt x="220" y="957"/>
                      <a:pt x="246" y="957"/>
                      <a:pt x="246" y="957"/>
                    </a:cubicBezTo>
                    <a:cubicBezTo>
                      <a:pt x="246" y="957"/>
                      <a:pt x="277" y="928"/>
                      <a:pt x="294" y="934"/>
                    </a:cubicBezTo>
                    <a:cubicBezTo>
                      <a:pt x="311" y="940"/>
                      <a:pt x="313" y="954"/>
                      <a:pt x="324" y="956"/>
                    </a:cubicBezTo>
                    <a:cubicBezTo>
                      <a:pt x="335" y="958"/>
                      <a:pt x="349" y="956"/>
                      <a:pt x="349" y="956"/>
                    </a:cubicBezTo>
                    <a:cubicBezTo>
                      <a:pt x="349" y="956"/>
                      <a:pt x="353" y="992"/>
                      <a:pt x="349" y="997"/>
                    </a:cubicBezTo>
                    <a:cubicBezTo>
                      <a:pt x="345" y="1002"/>
                      <a:pt x="336" y="1002"/>
                      <a:pt x="336" y="1002"/>
                    </a:cubicBezTo>
                    <a:cubicBezTo>
                      <a:pt x="336" y="1002"/>
                      <a:pt x="342" y="1026"/>
                      <a:pt x="333" y="1031"/>
                    </a:cubicBezTo>
                    <a:cubicBezTo>
                      <a:pt x="324" y="1036"/>
                      <a:pt x="305" y="1035"/>
                      <a:pt x="305" y="1035"/>
                    </a:cubicBezTo>
                    <a:cubicBezTo>
                      <a:pt x="317" y="1051"/>
                      <a:pt x="317" y="1051"/>
                      <a:pt x="317" y="1051"/>
                    </a:cubicBezTo>
                    <a:cubicBezTo>
                      <a:pt x="306" y="1057"/>
                      <a:pt x="306" y="1057"/>
                      <a:pt x="306" y="1057"/>
                    </a:cubicBezTo>
                    <a:cubicBezTo>
                      <a:pt x="306" y="1057"/>
                      <a:pt x="300" y="1068"/>
                      <a:pt x="315" y="1075"/>
                    </a:cubicBezTo>
                    <a:cubicBezTo>
                      <a:pt x="330" y="1082"/>
                      <a:pt x="335" y="1085"/>
                      <a:pt x="335" y="1085"/>
                    </a:cubicBezTo>
                    <a:cubicBezTo>
                      <a:pt x="340" y="1094"/>
                      <a:pt x="340" y="1094"/>
                      <a:pt x="340" y="1094"/>
                    </a:cubicBezTo>
                    <a:cubicBezTo>
                      <a:pt x="340" y="1094"/>
                      <a:pt x="359" y="1109"/>
                      <a:pt x="351" y="1114"/>
                    </a:cubicBezTo>
                    <a:cubicBezTo>
                      <a:pt x="343" y="1119"/>
                      <a:pt x="334" y="1122"/>
                      <a:pt x="334" y="1122"/>
                    </a:cubicBezTo>
                    <a:cubicBezTo>
                      <a:pt x="328" y="1131"/>
                      <a:pt x="328" y="1131"/>
                      <a:pt x="328" y="1131"/>
                    </a:cubicBezTo>
                    <a:cubicBezTo>
                      <a:pt x="318" y="1123"/>
                      <a:pt x="318" y="1123"/>
                      <a:pt x="318" y="1123"/>
                    </a:cubicBezTo>
                    <a:cubicBezTo>
                      <a:pt x="318" y="1123"/>
                      <a:pt x="320" y="1113"/>
                      <a:pt x="316" y="1113"/>
                    </a:cubicBezTo>
                    <a:cubicBezTo>
                      <a:pt x="312" y="1113"/>
                      <a:pt x="299" y="1118"/>
                      <a:pt x="301" y="1128"/>
                    </a:cubicBezTo>
                    <a:cubicBezTo>
                      <a:pt x="303" y="1138"/>
                      <a:pt x="323" y="1149"/>
                      <a:pt x="323" y="1149"/>
                    </a:cubicBezTo>
                    <a:cubicBezTo>
                      <a:pt x="323" y="1149"/>
                      <a:pt x="316" y="1174"/>
                      <a:pt x="323" y="1177"/>
                    </a:cubicBezTo>
                    <a:cubicBezTo>
                      <a:pt x="330" y="1180"/>
                      <a:pt x="341" y="1175"/>
                      <a:pt x="341" y="1175"/>
                    </a:cubicBezTo>
                    <a:cubicBezTo>
                      <a:pt x="341" y="1175"/>
                      <a:pt x="345" y="1190"/>
                      <a:pt x="356" y="1194"/>
                    </a:cubicBezTo>
                    <a:cubicBezTo>
                      <a:pt x="367" y="1198"/>
                      <a:pt x="377" y="1200"/>
                      <a:pt x="377" y="1200"/>
                    </a:cubicBezTo>
                    <a:cubicBezTo>
                      <a:pt x="392" y="1211"/>
                      <a:pt x="392" y="1211"/>
                      <a:pt x="392" y="1211"/>
                    </a:cubicBezTo>
                    <a:cubicBezTo>
                      <a:pt x="403" y="1210"/>
                      <a:pt x="403" y="1210"/>
                      <a:pt x="403" y="1210"/>
                    </a:cubicBezTo>
                    <a:cubicBezTo>
                      <a:pt x="403" y="1210"/>
                      <a:pt x="397" y="1218"/>
                      <a:pt x="403" y="1221"/>
                    </a:cubicBezTo>
                    <a:cubicBezTo>
                      <a:pt x="409" y="1224"/>
                      <a:pt x="420" y="1224"/>
                      <a:pt x="420" y="1224"/>
                    </a:cubicBezTo>
                    <a:cubicBezTo>
                      <a:pt x="447" y="1249"/>
                      <a:pt x="447" y="1249"/>
                      <a:pt x="447" y="1249"/>
                    </a:cubicBezTo>
                    <a:cubicBezTo>
                      <a:pt x="462" y="1236"/>
                      <a:pt x="462" y="1236"/>
                      <a:pt x="462" y="1236"/>
                    </a:cubicBezTo>
                    <a:cubicBezTo>
                      <a:pt x="462" y="1236"/>
                      <a:pt x="475" y="1219"/>
                      <a:pt x="489" y="1234"/>
                    </a:cubicBezTo>
                    <a:cubicBezTo>
                      <a:pt x="503" y="1249"/>
                      <a:pt x="521" y="1263"/>
                      <a:pt x="521" y="1263"/>
                    </a:cubicBezTo>
                    <a:cubicBezTo>
                      <a:pt x="552" y="1269"/>
                      <a:pt x="552" y="1269"/>
                      <a:pt x="552" y="1269"/>
                    </a:cubicBezTo>
                    <a:cubicBezTo>
                      <a:pt x="552" y="1269"/>
                      <a:pt x="567" y="1301"/>
                      <a:pt x="571" y="1302"/>
                    </a:cubicBezTo>
                    <a:cubicBezTo>
                      <a:pt x="575" y="1303"/>
                      <a:pt x="579" y="1278"/>
                      <a:pt x="590" y="1285"/>
                    </a:cubicBezTo>
                    <a:cubicBezTo>
                      <a:pt x="601" y="1292"/>
                      <a:pt x="596" y="1308"/>
                      <a:pt x="604" y="1314"/>
                    </a:cubicBezTo>
                    <a:cubicBezTo>
                      <a:pt x="612" y="1320"/>
                      <a:pt x="626" y="1332"/>
                      <a:pt x="626" y="1332"/>
                    </a:cubicBezTo>
                    <a:cubicBezTo>
                      <a:pt x="626" y="1332"/>
                      <a:pt x="641" y="1321"/>
                      <a:pt x="646" y="1328"/>
                    </a:cubicBezTo>
                    <a:cubicBezTo>
                      <a:pt x="651" y="1335"/>
                      <a:pt x="634" y="1338"/>
                      <a:pt x="650" y="1345"/>
                    </a:cubicBezTo>
                    <a:cubicBezTo>
                      <a:pt x="666" y="1352"/>
                      <a:pt x="678" y="1343"/>
                      <a:pt x="678" y="1343"/>
                    </a:cubicBezTo>
                    <a:cubicBezTo>
                      <a:pt x="678" y="1343"/>
                      <a:pt x="678" y="1361"/>
                      <a:pt x="687" y="1362"/>
                    </a:cubicBezTo>
                    <a:cubicBezTo>
                      <a:pt x="696" y="1363"/>
                      <a:pt x="698" y="1349"/>
                      <a:pt x="698" y="1349"/>
                    </a:cubicBezTo>
                    <a:cubicBezTo>
                      <a:pt x="698" y="1349"/>
                      <a:pt x="697" y="1363"/>
                      <a:pt x="707" y="1362"/>
                    </a:cubicBezTo>
                    <a:cubicBezTo>
                      <a:pt x="717" y="1361"/>
                      <a:pt x="719" y="1353"/>
                      <a:pt x="719" y="1353"/>
                    </a:cubicBezTo>
                    <a:cubicBezTo>
                      <a:pt x="719" y="1353"/>
                      <a:pt x="752" y="1373"/>
                      <a:pt x="766" y="1372"/>
                    </a:cubicBezTo>
                    <a:cubicBezTo>
                      <a:pt x="780" y="1371"/>
                      <a:pt x="806" y="1346"/>
                      <a:pt x="817" y="1355"/>
                    </a:cubicBezTo>
                    <a:cubicBezTo>
                      <a:pt x="828" y="1364"/>
                      <a:pt x="817" y="1392"/>
                      <a:pt x="822" y="1394"/>
                    </a:cubicBezTo>
                    <a:cubicBezTo>
                      <a:pt x="827" y="1396"/>
                      <a:pt x="832" y="1395"/>
                      <a:pt x="832" y="1395"/>
                    </a:cubicBezTo>
                    <a:cubicBezTo>
                      <a:pt x="832" y="1395"/>
                      <a:pt x="856" y="1339"/>
                      <a:pt x="870" y="1344"/>
                    </a:cubicBezTo>
                    <a:cubicBezTo>
                      <a:pt x="884" y="1349"/>
                      <a:pt x="894" y="1350"/>
                      <a:pt x="894" y="1350"/>
                    </a:cubicBezTo>
                    <a:cubicBezTo>
                      <a:pt x="894" y="1364"/>
                      <a:pt x="894" y="1364"/>
                      <a:pt x="894" y="1364"/>
                    </a:cubicBezTo>
                    <a:cubicBezTo>
                      <a:pt x="894" y="1364"/>
                      <a:pt x="930" y="1346"/>
                      <a:pt x="943" y="1357"/>
                    </a:cubicBezTo>
                    <a:cubicBezTo>
                      <a:pt x="956" y="1368"/>
                      <a:pt x="956" y="1378"/>
                      <a:pt x="956" y="1378"/>
                    </a:cubicBezTo>
                    <a:cubicBezTo>
                      <a:pt x="956" y="1378"/>
                      <a:pt x="987" y="1380"/>
                      <a:pt x="995" y="1373"/>
                    </a:cubicBezTo>
                    <a:cubicBezTo>
                      <a:pt x="1003" y="1366"/>
                      <a:pt x="995" y="1350"/>
                      <a:pt x="995" y="1350"/>
                    </a:cubicBezTo>
                    <a:cubicBezTo>
                      <a:pt x="995" y="1350"/>
                      <a:pt x="1016" y="1348"/>
                      <a:pt x="1018" y="1343"/>
                    </a:cubicBezTo>
                    <a:cubicBezTo>
                      <a:pt x="1020" y="1338"/>
                      <a:pt x="1013" y="1322"/>
                      <a:pt x="1013" y="1322"/>
                    </a:cubicBezTo>
                    <a:cubicBezTo>
                      <a:pt x="1013" y="1322"/>
                      <a:pt x="1037" y="1326"/>
                      <a:pt x="1044" y="1318"/>
                    </a:cubicBezTo>
                    <a:cubicBezTo>
                      <a:pt x="1051" y="1310"/>
                      <a:pt x="1068" y="1291"/>
                      <a:pt x="1076" y="1291"/>
                    </a:cubicBezTo>
                    <a:cubicBezTo>
                      <a:pt x="1084" y="1291"/>
                      <a:pt x="1098" y="1305"/>
                      <a:pt x="1109" y="1305"/>
                    </a:cubicBezTo>
                    <a:cubicBezTo>
                      <a:pt x="1120" y="1305"/>
                      <a:pt x="1112" y="1274"/>
                      <a:pt x="1130" y="1283"/>
                    </a:cubicBezTo>
                    <a:cubicBezTo>
                      <a:pt x="1148" y="1292"/>
                      <a:pt x="1149" y="1297"/>
                      <a:pt x="1149" y="1297"/>
                    </a:cubicBezTo>
                    <a:cubicBezTo>
                      <a:pt x="1149" y="1297"/>
                      <a:pt x="1133" y="1305"/>
                      <a:pt x="1142" y="1307"/>
                    </a:cubicBezTo>
                    <a:cubicBezTo>
                      <a:pt x="1151" y="1309"/>
                      <a:pt x="1162" y="1308"/>
                      <a:pt x="1162" y="1308"/>
                    </a:cubicBezTo>
                    <a:cubicBezTo>
                      <a:pt x="1173" y="1328"/>
                      <a:pt x="1173" y="1328"/>
                      <a:pt x="1173" y="1328"/>
                    </a:cubicBezTo>
                    <a:cubicBezTo>
                      <a:pt x="1173" y="1328"/>
                      <a:pt x="1153" y="1337"/>
                      <a:pt x="1161" y="1339"/>
                    </a:cubicBezTo>
                    <a:cubicBezTo>
                      <a:pt x="1169" y="1341"/>
                      <a:pt x="1184" y="1341"/>
                      <a:pt x="1191" y="1341"/>
                    </a:cubicBezTo>
                    <a:cubicBezTo>
                      <a:pt x="1198" y="1341"/>
                      <a:pt x="1213" y="1345"/>
                      <a:pt x="1213" y="1345"/>
                    </a:cubicBezTo>
                    <a:cubicBezTo>
                      <a:pt x="1217" y="1332"/>
                      <a:pt x="1217" y="1332"/>
                      <a:pt x="1217" y="1332"/>
                    </a:cubicBezTo>
                    <a:cubicBezTo>
                      <a:pt x="1217" y="1332"/>
                      <a:pt x="1231" y="1339"/>
                      <a:pt x="1239" y="1347"/>
                    </a:cubicBezTo>
                    <a:cubicBezTo>
                      <a:pt x="1247" y="1355"/>
                      <a:pt x="1256" y="1382"/>
                      <a:pt x="1256" y="1382"/>
                    </a:cubicBezTo>
                    <a:cubicBezTo>
                      <a:pt x="1256" y="1382"/>
                      <a:pt x="1271" y="1380"/>
                      <a:pt x="1278" y="1382"/>
                    </a:cubicBezTo>
                    <a:cubicBezTo>
                      <a:pt x="1285" y="1384"/>
                      <a:pt x="1283" y="1406"/>
                      <a:pt x="1283" y="1406"/>
                    </a:cubicBezTo>
                    <a:cubicBezTo>
                      <a:pt x="1291" y="1422"/>
                      <a:pt x="1291" y="1422"/>
                      <a:pt x="1291" y="1422"/>
                    </a:cubicBezTo>
                    <a:cubicBezTo>
                      <a:pt x="1298" y="1459"/>
                      <a:pt x="1298" y="1459"/>
                      <a:pt x="1298" y="1459"/>
                    </a:cubicBezTo>
                    <a:cubicBezTo>
                      <a:pt x="1298" y="1459"/>
                      <a:pt x="1288" y="1465"/>
                      <a:pt x="1281" y="1465"/>
                    </a:cubicBezTo>
                    <a:cubicBezTo>
                      <a:pt x="1274" y="1465"/>
                      <a:pt x="1290" y="1476"/>
                      <a:pt x="1290" y="1476"/>
                    </a:cubicBezTo>
                    <a:cubicBezTo>
                      <a:pt x="1290" y="1476"/>
                      <a:pt x="1289" y="1482"/>
                      <a:pt x="1286" y="1489"/>
                    </a:cubicBezTo>
                    <a:cubicBezTo>
                      <a:pt x="1283" y="1496"/>
                      <a:pt x="1271" y="1488"/>
                      <a:pt x="1271" y="1488"/>
                    </a:cubicBezTo>
                    <a:cubicBezTo>
                      <a:pt x="1271" y="1488"/>
                      <a:pt x="1272" y="1497"/>
                      <a:pt x="1271" y="1508"/>
                    </a:cubicBezTo>
                    <a:cubicBezTo>
                      <a:pt x="1270" y="1519"/>
                      <a:pt x="1259" y="1515"/>
                      <a:pt x="1259" y="1515"/>
                    </a:cubicBezTo>
                    <a:cubicBezTo>
                      <a:pt x="1261" y="1535"/>
                      <a:pt x="1261" y="1535"/>
                      <a:pt x="1261" y="1535"/>
                    </a:cubicBezTo>
                    <a:cubicBezTo>
                      <a:pt x="1254" y="1538"/>
                      <a:pt x="1254" y="1538"/>
                      <a:pt x="1254" y="1538"/>
                    </a:cubicBezTo>
                    <a:cubicBezTo>
                      <a:pt x="1254" y="1538"/>
                      <a:pt x="1255" y="1547"/>
                      <a:pt x="1260" y="1552"/>
                    </a:cubicBezTo>
                    <a:cubicBezTo>
                      <a:pt x="1265" y="1557"/>
                      <a:pt x="1270" y="1567"/>
                      <a:pt x="1270" y="1567"/>
                    </a:cubicBezTo>
                    <a:cubicBezTo>
                      <a:pt x="1264" y="1581"/>
                      <a:pt x="1264" y="1581"/>
                      <a:pt x="1264" y="1581"/>
                    </a:cubicBezTo>
                    <a:cubicBezTo>
                      <a:pt x="1264" y="1581"/>
                      <a:pt x="1280" y="1571"/>
                      <a:pt x="1288" y="1570"/>
                    </a:cubicBezTo>
                    <a:cubicBezTo>
                      <a:pt x="1296" y="1569"/>
                      <a:pt x="1325" y="1569"/>
                      <a:pt x="1325" y="1569"/>
                    </a:cubicBezTo>
                    <a:cubicBezTo>
                      <a:pt x="1308" y="1584"/>
                      <a:pt x="1308" y="1584"/>
                      <a:pt x="1308" y="1584"/>
                    </a:cubicBezTo>
                    <a:cubicBezTo>
                      <a:pt x="1324" y="1597"/>
                      <a:pt x="1324" y="1597"/>
                      <a:pt x="1324" y="1597"/>
                    </a:cubicBezTo>
                    <a:cubicBezTo>
                      <a:pt x="1329" y="1624"/>
                      <a:pt x="1329" y="1624"/>
                      <a:pt x="1329" y="1624"/>
                    </a:cubicBezTo>
                    <a:cubicBezTo>
                      <a:pt x="1329" y="1624"/>
                      <a:pt x="1357" y="1625"/>
                      <a:pt x="1364" y="1631"/>
                    </a:cubicBezTo>
                    <a:cubicBezTo>
                      <a:pt x="1371" y="1637"/>
                      <a:pt x="1348" y="1646"/>
                      <a:pt x="1348" y="1646"/>
                    </a:cubicBezTo>
                    <a:cubicBezTo>
                      <a:pt x="1348" y="1646"/>
                      <a:pt x="1357" y="1658"/>
                      <a:pt x="1354" y="1661"/>
                    </a:cubicBezTo>
                    <a:cubicBezTo>
                      <a:pt x="1351" y="1664"/>
                      <a:pt x="1345" y="1678"/>
                      <a:pt x="1345" y="1678"/>
                    </a:cubicBezTo>
                    <a:cubicBezTo>
                      <a:pt x="1384" y="1682"/>
                      <a:pt x="1384" y="1682"/>
                      <a:pt x="1384" y="1682"/>
                    </a:cubicBezTo>
                    <a:cubicBezTo>
                      <a:pt x="1389" y="1702"/>
                      <a:pt x="1389" y="1702"/>
                      <a:pt x="1389" y="1702"/>
                    </a:cubicBezTo>
                    <a:cubicBezTo>
                      <a:pt x="1400" y="1701"/>
                      <a:pt x="1400" y="1701"/>
                      <a:pt x="1400" y="1701"/>
                    </a:cubicBezTo>
                    <a:cubicBezTo>
                      <a:pt x="1400" y="1701"/>
                      <a:pt x="1400" y="1713"/>
                      <a:pt x="1403" y="1713"/>
                    </a:cubicBezTo>
                    <a:cubicBezTo>
                      <a:pt x="1406" y="1713"/>
                      <a:pt x="1425" y="1712"/>
                      <a:pt x="1425" y="1712"/>
                    </a:cubicBezTo>
                    <a:cubicBezTo>
                      <a:pt x="1425" y="1712"/>
                      <a:pt x="1434" y="1694"/>
                      <a:pt x="1444" y="1695"/>
                    </a:cubicBezTo>
                    <a:cubicBezTo>
                      <a:pt x="1454" y="1696"/>
                      <a:pt x="1449" y="1714"/>
                      <a:pt x="1449" y="1714"/>
                    </a:cubicBezTo>
                    <a:cubicBezTo>
                      <a:pt x="1451" y="1727"/>
                      <a:pt x="1451" y="1727"/>
                      <a:pt x="1451" y="1727"/>
                    </a:cubicBezTo>
                    <a:cubicBezTo>
                      <a:pt x="1480" y="1729"/>
                      <a:pt x="1480" y="1729"/>
                      <a:pt x="1480" y="1729"/>
                    </a:cubicBezTo>
                    <a:cubicBezTo>
                      <a:pt x="1480" y="1704"/>
                      <a:pt x="1480" y="1704"/>
                      <a:pt x="1480" y="1704"/>
                    </a:cubicBezTo>
                    <a:cubicBezTo>
                      <a:pt x="1480" y="1704"/>
                      <a:pt x="1462" y="1692"/>
                      <a:pt x="1461" y="1679"/>
                    </a:cubicBezTo>
                    <a:cubicBezTo>
                      <a:pt x="1460" y="1666"/>
                      <a:pt x="1468" y="1657"/>
                      <a:pt x="1468" y="1657"/>
                    </a:cubicBezTo>
                    <a:cubicBezTo>
                      <a:pt x="1492" y="1659"/>
                      <a:pt x="1492" y="1659"/>
                      <a:pt x="1492" y="1659"/>
                    </a:cubicBezTo>
                    <a:cubicBezTo>
                      <a:pt x="1492" y="1653"/>
                      <a:pt x="1493" y="1646"/>
                      <a:pt x="1495" y="1642"/>
                    </a:cubicBezTo>
                    <a:cubicBezTo>
                      <a:pt x="1499" y="1634"/>
                      <a:pt x="1518" y="1657"/>
                      <a:pt x="1524" y="1657"/>
                    </a:cubicBezTo>
                    <a:cubicBezTo>
                      <a:pt x="1530" y="1657"/>
                      <a:pt x="1539" y="1641"/>
                      <a:pt x="1539" y="1641"/>
                    </a:cubicBezTo>
                    <a:cubicBezTo>
                      <a:pt x="1550" y="1653"/>
                      <a:pt x="1550" y="1653"/>
                      <a:pt x="1550" y="1653"/>
                    </a:cubicBezTo>
                    <a:cubicBezTo>
                      <a:pt x="1549" y="1640"/>
                      <a:pt x="1549" y="1640"/>
                      <a:pt x="1549" y="1640"/>
                    </a:cubicBezTo>
                    <a:cubicBezTo>
                      <a:pt x="1554" y="1639"/>
                      <a:pt x="1554" y="1639"/>
                      <a:pt x="1554" y="1639"/>
                    </a:cubicBezTo>
                    <a:cubicBezTo>
                      <a:pt x="1563" y="1652"/>
                      <a:pt x="1563" y="1652"/>
                      <a:pt x="1563" y="1652"/>
                    </a:cubicBezTo>
                    <a:cubicBezTo>
                      <a:pt x="1563" y="1652"/>
                      <a:pt x="1562" y="1657"/>
                      <a:pt x="1575" y="1656"/>
                    </a:cubicBezTo>
                    <a:cubicBezTo>
                      <a:pt x="1588" y="1655"/>
                      <a:pt x="1571" y="1639"/>
                      <a:pt x="1571" y="1639"/>
                    </a:cubicBezTo>
                    <a:cubicBezTo>
                      <a:pt x="1582" y="1639"/>
                      <a:pt x="1582" y="1639"/>
                      <a:pt x="1582" y="1639"/>
                    </a:cubicBezTo>
                    <a:cubicBezTo>
                      <a:pt x="1586" y="1646"/>
                      <a:pt x="1586" y="1646"/>
                      <a:pt x="1586" y="1646"/>
                    </a:cubicBezTo>
                    <a:cubicBezTo>
                      <a:pt x="1586" y="1646"/>
                      <a:pt x="1594" y="1642"/>
                      <a:pt x="1601" y="1640"/>
                    </a:cubicBezTo>
                    <a:cubicBezTo>
                      <a:pt x="1608" y="1638"/>
                      <a:pt x="1602" y="1624"/>
                      <a:pt x="1606" y="1619"/>
                    </a:cubicBezTo>
                    <a:cubicBezTo>
                      <a:pt x="1610" y="1614"/>
                      <a:pt x="1625" y="1610"/>
                      <a:pt x="1625" y="1610"/>
                    </a:cubicBezTo>
                    <a:cubicBezTo>
                      <a:pt x="1647" y="1632"/>
                      <a:pt x="1647" y="1632"/>
                      <a:pt x="1647" y="1632"/>
                    </a:cubicBezTo>
                    <a:cubicBezTo>
                      <a:pt x="1668" y="1627"/>
                      <a:pt x="1668" y="1627"/>
                      <a:pt x="1668" y="1627"/>
                    </a:cubicBezTo>
                    <a:cubicBezTo>
                      <a:pt x="1673" y="1635"/>
                      <a:pt x="1673" y="1635"/>
                      <a:pt x="1673" y="1635"/>
                    </a:cubicBezTo>
                    <a:cubicBezTo>
                      <a:pt x="1673" y="1635"/>
                      <a:pt x="1693" y="1634"/>
                      <a:pt x="1698" y="1642"/>
                    </a:cubicBezTo>
                    <a:cubicBezTo>
                      <a:pt x="1703" y="1650"/>
                      <a:pt x="1687" y="1657"/>
                      <a:pt x="1687" y="1657"/>
                    </a:cubicBezTo>
                    <a:cubicBezTo>
                      <a:pt x="1691" y="1667"/>
                      <a:pt x="1691" y="1667"/>
                      <a:pt x="1691" y="1667"/>
                    </a:cubicBezTo>
                    <a:cubicBezTo>
                      <a:pt x="1698" y="1671"/>
                      <a:pt x="1698" y="1671"/>
                      <a:pt x="1698" y="1671"/>
                    </a:cubicBezTo>
                    <a:cubicBezTo>
                      <a:pt x="1698" y="1684"/>
                      <a:pt x="1698" y="1684"/>
                      <a:pt x="1698" y="1684"/>
                    </a:cubicBezTo>
                    <a:cubicBezTo>
                      <a:pt x="1709" y="1685"/>
                      <a:pt x="1709" y="1685"/>
                      <a:pt x="1709" y="1685"/>
                    </a:cubicBezTo>
                    <a:cubicBezTo>
                      <a:pt x="1709" y="1685"/>
                      <a:pt x="1713" y="1690"/>
                      <a:pt x="1720" y="1697"/>
                    </a:cubicBezTo>
                    <a:cubicBezTo>
                      <a:pt x="1727" y="1704"/>
                      <a:pt x="1740" y="1701"/>
                      <a:pt x="1748" y="1702"/>
                    </a:cubicBezTo>
                    <a:cubicBezTo>
                      <a:pt x="1752" y="1702"/>
                      <a:pt x="1755" y="1704"/>
                      <a:pt x="1757" y="1705"/>
                    </a:cubicBezTo>
                    <a:cubicBezTo>
                      <a:pt x="1786" y="1686"/>
                      <a:pt x="1786" y="1686"/>
                      <a:pt x="1786" y="1686"/>
                    </a:cubicBezTo>
                    <a:cubicBezTo>
                      <a:pt x="1798" y="1694"/>
                      <a:pt x="1798" y="1694"/>
                      <a:pt x="1798" y="1694"/>
                    </a:cubicBezTo>
                    <a:cubicBezTo>
                      <a:pt x="1798" y="1694"/>
                      <a:pt x="1843" y="1694"/>
                      <a:pt x="1849" y="1705"/>
                    </a:cubicBezTo>
                    <a:cubicBezTo>
                      <a:pt x="1854" y="1717"/>
                      <a:pt x="1839" y="1739"/>
                      <a:pt x="1846" y="1750"/>
                    </a:cubicBezTo>
                    <a:cubicBezTo>
                      <a:pt x="1854" y="1761"/>
                      <a:pt x="1875" y="1776"/>
                      <a:pt x="1875" y="1776"/>
                    </a:cubicBezTo>
                    <a:cubicBezTo>
                      <a:pt x="1889" y="1774"/>
                      <a:pt x="1889" y="1774"/>
                      <a:pt x="1889" y="1774"/>
                    </a:cubicBezTo>
                    <a:cubicBezTo>
                      <a:pt x="1889" y="1762"/>
                      <a:pt x="1889" y="1762"/>
                      <a:pt x="1889" y="1762"/>
                    </a:cubicBezTo>
                    <a:cubicBezTo>
                      <a:pt x="1889" y="1762"/>
                      <a:pt x="1880" y="1730"/>
                      <a:pt x="1892" y="1713"/>
                    </a:cubicBezTo>
                    <a:cubicBezTo>
                      <a:pt x="1904" y="1697"/>
                      <a:pt x="1931" y="1699"/>
                      <a:pt x="1945" y="1696"/>
                    </a:cubicBezTo>
                    <a:cubicBezTo>
                      <a:pt x="1958" y="1693"/>
                      <a:pt x="2001" y="1684"/>
                      <a:pt x="2001" y="1674"/>
                    </a:cubicBezTo>
                    <a:cubicBezTo>
                      <a:pt x="2002" y="1664"/>
                      <a:pt x="2002" y="1634"/>
                      <a:pt x="2011" y="1632"/>
                    </a:cubicBezTo>
                    <a:cubicBezTo>
                      <a:pt x="2020" y="1630"/>
                      <a:pt x="2027" y="1664"/>
                      <a:pt x="2036" y="1660"/>
                    </a:cubicBezTo>
                    <a:cubicBezTo>
                      <a:pt x="2046" y="1657"/>
                      <a:pt x="2066" y="1626"/>
                      <a:pt x="2066" y="1626"/>
                    </a:cubicBezTo>
                    <a:cubicBezTo>
                      <a:pt x="2077" y="1636"/>
                      <a:pt x="2077" y="1636"/>
                      <a:pt x="2077" y="1636"/>
                    </a:cubicBezTo>
                    <a:cubicBezTo>
                      <a:pt x="2099" y="1629"/>
                      <a:pt x="2099" y="1629"/>
                      <a:pt x="2099" y="1629"/>
                    </a:cubicBezTo>
                    <a:cubicBezTo>
                      <a:pt x="2099" y="1629"/>
                      <a:pt x="2124" y="1636"/>
                      <a:pt x="2136" y="1629"/>
                    </a:cubicBezTo>
                    <a:cubicBezTo>
                      <a:pt x="2149" y="1622"/>
                      <a:pt x="2154" y="1619"/>
                      <a:pt x="2161" y="1614"/>
                    </a:cubicBezTo>
                    <a:cubicBezTo>
                      <a:pt x="2167" y="1609"/>
                      <a:pt x="2196" y="1584"/>
                      <a:pt x="2201" y="1574"/>
                    </a:cubicBezTo>
                    <a:cubicBezTo>
                      <a:pt x="2205" y="1564"/>
                      <a:pt x="2192" y="1544"/>
                      <a:pt x="2192" y="1544"/>
                    </a:cubicBezTo>
                    <a:cubicBezTo>
                      <a:pt x="2205" y="1544"/>
                      <a:pt x="2205" y="1544"/>
                      <a:pt x="2205" y="1544"/>
                    </a:cubicBezTo>
                    <a:cubicBezTo>
                      <a:pt x="2211" y="1524"/>
                      <a:pt x="2211" y="1524"/>
                      <a:pt x="2211" y="1524"/>
                    </a:cubicBezTo>
                    <a:cubicBezTo>
                      <a:pt x="2226" y="1525"/>
                      <a:pt x="2226" y="1525"/>
                      <a:pt x="2226" y="1525"/>
                    </a:cubicBezTo>
                    <a:cubicBezTo>
                      <a:pt x="2233" y="1500"/>
                      <a:pt x="2233" y="1500"/>
                      <a:pt x="2233" y="1500"/>
                    </a:cubicBezTo>
                    <a:cubicBezTo>
                      <a:pt x="2241" y="1500"/>
                      <a:pt x="2241" y="1500"/>
                      <a:pt x="2241" y="1500"/>
                    </a:cubicBezTo>
                    <a:cubicBezTo>
                      <a:pt x="2245" y="1473"/>
                      <a:pt x="2245" y="1473"/>
                      <a:pt x="2245" y="1473"/>
                    </a:cubicBezTo>
                    <a:cubicBezTo>
                      <a:pt x="2245" y="1473"/>
                      <a:pt x="2259" y="1478"/>
                      <a:pt x="2259" y="1456"/>
                    </a:cubicBezTo>
                    <a:cubicBezTo>
                      <a:pt x="2259" y="1434"/>
                      <a:pt x="2246" y="1437"/>
                      <a:pt x="2251" y="1429"/>
                    </a:cubicBezTo>
                    <a:cubicBezTo>
                      <a:pt x="2255" y="1420"/>
                      <a:pt x="2274" y="1423"/>
                      <a:pt x="2274" y="1405"/>
                    </a:cubicBezTo>
                    <a:cubicBezTo>
                      <a:pt x="2275" y="1388"/>
                      <a:pt x="2263" y="1388"/>
                      <a:pt x="2264" y="1381"/>
                    </a:cubicBezTo>
                    <a:cubicBezTo>
                      <a:pt x="2264" y="1373"/>
                      <a:pt x="2275" y="1370"/>
                      <a:pt x="2275" y="1370"/>
                    </a:cubicBezTo>
                    <a:cubicBezTo>
                      <a:pt x="2276" y="1344"/>
                      <a:pt x="2276" y="1344"/>
                      <a:pt x="2276" y="1344"/>
                    </a:cubicBezTo>
                    <a:cubicBezTo>
                      <a:pt x="2276" y="1344"/>
                      <a:pt x="2303" y="1336"/>
                      <a:pt x="2310" y="1320"/>
                    </a:cubicBezTo>
                    <a:cubicBezTo>
                      <a:pt x="2317" y="1304"/>
                      <a:pt x="2300" y="1303"/>
                      <a:pt x="2300" y="1303"/>
                    </a:cubicBezTo>
                    <a:cubicBezTo>
                      <a:pt x="2300" y="1303"/>
                      <a:pt x="2332" y="1298"/>
                      <a:pt x="2332" y="1289"/>
                    </a:cubicBezTo>
                    <a:cubicBezTo>
                      <a:pt x="2333" y="1280"/>
                      <a:pt x="2314" y="1275"/>
                      <a:pt x="2314" y="1275"/>
                    </a:cubicBezTo>
                    <a:cubicBezTo>
                      <a:pt x="2314" y="1275"/>
                      <a:pt x="2352" y="1241"/>
                      <a:pt x="2335" y="1231"/>
                    </a:cubicBezTo>
                    <a:cubicBezTo>
                      <a:pt x="2318" y="1222"/>
                      <a:pt x="2238" y="1244"/>
                      <a:pt x="2238" y="1244"/>
                    </a:cubicBezTo>
                    <a:cubicBezTo>
                      <a:pt x="2228" y="1233"/>
                      <a:pt x="2228" y="1233"/>
                      <a:pt x="2228" y="1233"/>
                    </a:cubicBezTo>
                    <a:cubicBezTo>
                      <a:pt x="2253" y="1232"/>
                      <a:pt x="2253" y="1232"/>
                      <a:pt x="2253" y="1232"/>
                    </a:cubicBezTo>
                    <a:cubicBezTo>
                      <a:pt x="2253" y="1232"/>
                      <a:pt x="2253" y="1217"/>
                      <a:pt x="2263" y="1213"/>
                    </a:cubicBezTo>
                    <a:cubicBezTo>
                      <a:pt x="2273" y="1209"/>
                      <a:pt x="2292" y="1207"/>
                      <a:pt x="2292" y="1207"/>
                    </a:cubicBezTo>
                    <a:cubicBezTo>
                      <a:pt x="2292" y="1207"/>
                      <a:pt x="2279" y="1183"/>
                      <a:pt x="2275" y="1182"/>
                    </a:cubicBezTo>
                    <a:cubicBezTo>
                      <a:pt x="2271" y="1181"/>
                      <a:pt x="2248" y="1175"/>
                      <a:pt x="2248" y="1175"/>
                    </a:cubicBezTo>
                    <a:cubicBezTo>
                      <a:pt x="2240" y="1164"/>
                      <a:pt x="2240" y="1164"/>
                      <a:pt x="2240" y="1164"/>
                    </a:cubicBezTo>
                    <a:cubicBezTo>
                      <a:pt x="2231" y="1165"/>
                      <a:pt x="2231" y="1165"/>
                      <a:pt x="2231" y="1165"/>
                    </a:cubicBezTo>
                    <a:cubicBezTo>
                      <a:pt x="2231" y="1165"/>
                      <a:pt x="2222" y="1153"/>
                      <a:pt x="2215" y="1152"/>
                    </a:cubicBezTo>
                    <a:cubicBezTo>
                      <a:pt x="2208" y="1151"/>
                      <a:pt x="2190" y="1157"/>
                      <a:pt x="2190" y="1157"/>
                    </a:cubicBezTo>
                    <a:cubicBezTo>
                      <a:pt x="2167" y="1126"/>
                      <a:pt x="2167" y="1126"/>
                      <a:pt x="2167" y="1126"/>
                    </a:cubicBezTo>
                    <a:cubicBezTo>
                      <a:pt x="2167" y="1126"/>
                      <a:pt x="2188" y="1147"/>
                      <a:pt x="2194" y="1145"/>
                    </a:cubicBezTo>
                    <a:cubicBezTo>
                      <a:pt x="2200" y="1143"/>
                      <a:pt x="2207" y="1139"/>
                      <a:pt x="2207" y="1139"/>
                    </a:cubicBezTo>
                    <a:cubicBezTo>
                      <a:pt x="2226" y="1144"/>
                      <a:pt x="2226" y="1144"/>
                      <a:pt x="2226" y="1144"/>
                    </a:cubicBezTo>
                    <a:cubicBezTo>
                      <a:pt x="2236" y="1155"/>
                      <a:pt x="2236" y="1155"/>
                      <a:pt x="2236" y="1155"/>
                    </a:cubicBezTo>
                    <a:cubicBezTo>
                      <a:pt x="2245" y="1151"/>
                      <a:pt x="2245" y="1151"/>
                      <a:pt x="2245" y="1151"/>
                    </a:cubicBezTo>
                    <a:cubicBezTo>
                      <a:pt x="2276" y="1161"/>
                      <a:pt x="2276" y="1161"/>
                      <a:pt x="2276" y="1161"/>
                    </a:cubicBezTo>
                    <a:cubicBezTo>
                      <a:pt x="2263" y="1144"/>
                      <a:pt x="2263" y="1144"/>
                      <a:pt x="2263" y="1144"/>
                    </a:cubicBezTo>
                    <a:cubicBezTo>
                      <a:pt x="2252" y="1142"/>
                      <a:pt x="2252" y="1142"/>
                      <a:pt x="2252" y="1142"/>
                    </a:cubicBezTo>
                    <a:cubicBezTo>
                      <a:pt x="2252" y="1142"/>
                      <a:pt x="2251" y="1120"/>
                      <a:pt x="2243" y="1119"/>
                    </a:cubicBezTo>
                    <a:cubicBezTo>
                      <a:pt x="2235" y="1118"/>
                      <a:pt x="2223" y="1115"/>
                      <a:pt x="2218" y="1111"/>
                    </a:cubicBezTo>
                    <a:cubicBezTo>
                      <a:pt x="2213" y="1107"/>
                      <a:pt x="2211" y="1088"/>
                      <a:pt x="2211" y="1088"/>
                    </a:cubicBezTo>
                    <a:cubicBezTo>
                      <a:pt x="2157" y="1022"/>
                      <a:pt x="2157" y="1022"/>
                      <a:pt x="2157" y="1022"/>
                    </a:cubicBezTo>
                    <a:cubicBezTo>
                      <a:pt x="2135" y="1016"/>
                      <a:pt x="2135" y="1016"/>
                      <a:pt x="2135" y="1016"/>
                    </a:cubicBezTo>
                    <a:cubicBezTo>
                      <a:pt x="2112" y="998"/>
                      <a:pt x="2112" y="998"/>
                      <a:pt x="2112" y="998"/>
                    </a:cubicBezTo>
                    <a:cubicBezTo>
                      <a:pt x="2097" y="1000"/>
                      <a:pt x="2097" y="1000"/>
                      <a:pt x="2097" y="1000"/>
                    </a:cubicBezTo>
                    <a:cubicBezTo>
                      <a:pt x="2097" y="1000"/>
                      <a:pt x="2084" y="975"/>
                      <a:pt x="2090" y="971"/>
                    </a:cubicBezTo>
                    <a:cubicBezTo>
                      <a:pt x="2096" y="967"/>
                      <a:pt x="2114" y="955"/>
                      <a:pt x="2114" y="946"/>
                    </a:cubicBezTo>
                    <a:cubicBezTo>
                      <a:pt x="2114" y="937"/>
                      <a:pt x="2107" y="919"/>
                      <a:pt x="2107" y="919"/>
                    </a:cubicBezTo>
                    <a:cubicBezTo>
                      <a:pt x="2107" y="919"/>
                      <a:pt x="2124" y="936"/>
                      <a:pt x="2132" y="930"/>
                    </a:cubicBezTo>
                    <a:cubicBezTo>
                      <a:pt x="2140" y="924"/>
                      <a:pt x="2131" y="897"/>
                      <a:pt x="2131" y="897"/>
                    </a:cubicBezTo>
                    <a:cubicBezTo>
                      <a:pt x="2146" y="898"/>
                      <a:pt x="2146" y="898"/>
                      <a:pt x="2146" y="898"/>
                    </a:cubicBezTo>
                    <a:cubicBezTo>
                      <a:pt x="2171" y="879"/>
                      <a:pt x="2171" y="879"/>
                      <a:pt x="2171" y="879"/>
                    </a:cubicBezTo>
                    <a:cubicBezTo>
                      <a:pt x="2171" y="879"/>
                      <a:pt x="2191" y="885"/>
                      <a:pt x="2196" y="884"/>
                    </a:cubicBezTo>
                    <a:cubicBezTo>
                      <a:pt x="2201" y="883"/>
                      <a:pt x="2192" y="869"/>
                      <a:pt x="2192" y="869"/>
                    </a:cubicBezTo>
                    <a:cubicBezTo>
                      <a:pt x="2196" y="853"/>
                      <a:pt x="2196" y="853"/>
                      <a:pt x="2196" y="853"/>
                    </a:cubicBezTo>
                    <a:cubicBezTo>
                      <a:pt x="2174" y="853"/>
                      <a:pt x="2174" y="853"/>
                      <a:pt x="2174" y="853"/>
                    </a:cubicBezTo>
                    <a:cubicBezTo>
                      <a:pt x="2166" y="846"/>
                      <a:pt x="2166" y="846"/>
                      <a:pt x="2166" y="846"/>
                    </a:cubicBezTo>
                    <a:cubicBezTo>
                      <a:pt x="2161" y="854"/>
                      <a:pt x="2161" y="854"/>
                      <a:pt x="2161" y="854"/>
                    </a:cubicBezTo>
                    <a:cubicBezTo>
                      <a:pt x="2140" y="851"/>
                      <a:pt x="2140" y="851"/>
                      <a:pt x="2140" y="851"/>
                    </a:cubicBezTo>
                    <a:cubicBezTo>
                      <a:pt x="2140" y="851"/>
                      <a:pt x="2124" y="833"/>
                      <a:pt x="2111" y="833"/>
                    </a:cubicBezTo>
                    <a:cubicBezTo>
                      <a:pt x="2098" y="833"/>
                      <a:pt x="2080" y="856"/>
                      <a:pt x="2079" y="861"/>
                    </a:cubicBezTo>
                    <a:cubicBezTo>
                      <a:pt x="2078" y="866"/>
                      <a:pt x="2074" y="875"/>
                      <a:pt x="2064" y="873"/>
                    </a:cubicBezTo>
                    <a:cubicBezTo>
                      <a:pt x="2054" y="871"/>
                      <a:pt x="2032" y="865"/>
                      <a:pt x="2030" y="851"/>
                    </a:cubicBezTo>
                    <a:cubicBezTo>
                      <a:pt x="2028" y="837"/>
                      <a:pt x="2020" y="820"/>
                      <a:pt x="2014" y="816"/>
                    </a:cubicBezTo>
                    <a:cubicBezTo>
                      <a:pt x="2008" y="812"/>
                      <a:pt x="2004" y="819"/>
                      <a:pt x="2004" y="819"/>
                    </a:cubicBezTo>
                    <a:cubicBezTo>
                      <a:pt x="2004" y="828"/>
                      <a:pt x="2004" y="828"/>
                      <a:pt x="2004" y="828"/>
                    </a:cubicBezTo>
                    <a:cubicBezTo>
                      <a:pt x="1996" y="816"/>
                      <a:pt x="1996" y="816"/>
                      <a:pt x="1996" y="816"/>
                    </a:cubicBezTo>
                    <a:cubicBezTo>
                      <a:pt x="1996" y="816"/>
                      <a:pt x="1968" y="819"/>
                      <a:pt x="1959" y="810"/>
                    </a:cubicBezTo>
                    <a:cubicBezTo>
                      <a:pt x="1950" y="801"/>
                      <a:pt x="1939" y="782"/>
                      <a:pt x="1942" y="776"/>
                    </a:cubicBezTo>
                    <a:cubicBezTo>
                      <a:pt x="1945" y="770"/>
                      <a:pt x="1944" y="760"/>
                      <a:pt x="1944" y="760"/>
                    </a:cubicBezTo>
                    <a:cubicBezTo>
                      <a:pt x="1955" y="759"/>
                      <a:pt x="1955" y="759"/>
                      <a:pt x="1955" y="759"/>
                    </a:cubicBezTo>
                    <a:cubicBezTo>
                      <a:pt x="1955" y="759"/>
                      <a:pt x="1961" y="768"/>
                      <a:pt x="1965" y="767"/>
                    </a:cubicBezTo>
                    <a:cubicBezTo>
                      <a:pt x="1969" y="766"/>
                      <a:pt x="1975" y="758"/>
                      <a:pt x="1975" y="758"/>
                    </a:cubicBezTo>
                    <a:cubicBezTo>
                      <a:pt x="1975" y="758"/>
                      <a:pt x="1988" y="766"/>
                      <a:pt x="1997" y="758"/>
                    </a:cubicBezTo>
                    <a:cubicBezTo>
                      <a:pt x="2006" y="750"/>
                      <a:pt x="1998" y="742"/>
                      <a:pt x="1998" y="742"/>
                    </a:cubicBezTo>
                    <a:cubicBezTo>
                      <a:pt x="1998" y="742"/>
                      <a:pt x="1997" y="718"/>
                      <a:pt x="2003" y="714"/>
                    </a:cubicBezTo>
                    <a:cubicBezTo>
                      <a:pt x="2009" y="710"/>
                      <a:pt x="2028" y="718"/>
                      <a:pt x="2032" y="707"/>
                    </a:cubicBezTo>
                    <a:cubicBezTo>
                      <a:pt x="2036" y="696"/>
                      <a:pt x="2037" y="683"/>
                      <a:pt x="2037" y="683"/>
                    </a:cubicBezTo>
                    <a:cubicBezTo>
                      <a:pt x="2049" y="676"/>
                      <a:pt x="2049" y="676"/>
                      <a:pt x="2049" y="676"/>
                    </a:cubicBezTo>
                    <a:cubicBezTo>
                      <a:pt x="2043" y="668"/>
                      <a:pt x="2043" y="668"/>
                      <a:pt x="2043" y="668"/>
                    </a:cubicBezTo>
                    <a:cubicBezTo>
                      <a:pt x="2068" y="675"/>
                      <a:pt x="2068" y="675"/>
                      <a:pt x="2068" y="675"/>
                    </a:cubicBezTo>
                    <a:cubicBezTo>
                      <a:pt x="2079" y="665"/>
                      <a:pt x="2079" y="665"/>
                      <a:pt x="2079" y="665"/>
                    </a:cubicBezTo>
                    <a:cubicBezTo>
                      <a:pt x="2079" y="665"/>
                      <a:pt x="2110" y="688"/>
                      <a:pt x="2108" y="702"/>
                    </a:cubicBezTo>
                    <a:cubicBezTo>
                      <a:pt x="2106" y="716"/>
                      <a:pt x="2088" y="719"/>
                      <a:pt x="2087" y="728"/>
                    </a:cubicBezTo>
                    <a:cubicBezTo>
                      <a:pt x="2086" y="737"/>
                      <a:pt x="2091" y="752"/>
                      <a:pt x="2098" y="752"/>
                    </a:cubicBezTo>
                    <a:cubicBezTo>
                      <a:pt x="2105" y="752"/>
                      <a:pt x="2114" y="749"/>
                      <a:pt x="2114" y="749"/>
                    </a:cubicBezTo>
                    <a:cubicBezTo>
                      <a:pt x="2109" y="767"/>
                      <a:pt x="2109" y="767"/>
                      <a:pt x="2109" y="767"/>
                    </a:cubicBezTo>
                    <a:cubicBezTo>
                      <a:pt x="2109" y="767"/>
                      <a:pt x="2090" y="784"/>
                      <a:pt x="2099" y="786"/>
                    </a:cubicBezTo>
                    <a:cubicBezTo>
                      <a:pt x="2108" y="788"/>
                      <a:pt x="2122" y="774"/>
                      <a:pt x="2122" y="774"/>
                    </a:cubicBezTo>
                    <a:cubicBezTo>
                      <a:pt x="2122" y="774"/>
                      <a:pt x="2126" y="775"/>
                      <a:pt x="2131" y="770"/>
                    </a:cubicBezTo>
                    <a:cubicBezTo>
                      <a:pt x="2136" y="765"/>
                      <a:pt x="2135" y="750"/>
                      <a:pt x="2135" y="750"/>
                    </a:cubicBezTo>
                    <a:cubicBezTo>
                      <a:pt x="2135" y="750"/>
                      <a:pt x="2176" y="729"/>
                      <a:pt x="2180" y="726"/>
                    </a:cubicBezTo>
                    <a:cubicBezTo>
                      <a:pt x="2184" y="723"/>
                      <a:pt x="2205" y="725"/>
                      <a:pt x="2205" y="725"/>
                    </a:cubicBezTo>
                    <a:cubicBezTo>
                      <a:pt x="2212" y="714"/>
                      <a:pt x="2212" y="714"/>
                      <a:pt x="2212" y="714"/>
                    </a:cubicBezTo>
                    <a:cubicBezTo>
                      <a:pt x="2210" y="712"/>
                      <a:pt x="2208" y="706"/>
                      <a:pt x="2218" y="698"/>
                    </a:cubicBezTo>
                    <a:cubicBezTo>
                      <a:pt x="2230" y="688"/>
                      <a:pt x="2237" y="687"/>
                      <a:pt x="2252" y="675"/>
                    </a:cubicBezTo>
                    <a:cubicBezTo>
                      <a:pt x="2267" y="663"/>
                      <a:pt x="2262" y="625"/>
                      <a:pt x="2266" y="623"/>
                    </a:cubicBezTo>
                    <a:cubicBezTo>
                      <a:pt x="2270" y="621"/>
                      <a:pt x="2285" y="632"/>
                      <a:pt x="2292" y="637"/>
                    </a:cubicBezTo>
                    <a:cubicBezTo>
                      <a:pt x="2299" y="642"/>
                      <a:pt x="2339" y="641"/>
                      <a:pt x="2339" y="641"/>
                    </a:cubicBezTo>
                    <a:cubicBezTo>
                      <a:pt x="2340" y="631"/>
                      <a:pt x="2340" y="631"/>
                      <a:pt x="2340" y="631"/>
                    </a:cubicBezTo>
                    <a:cubicBezTo>
                      <a:pt x="2340" y="631"/>
                      <a:pt x="2312" y="618"/>
                      <a:pt x="2318" y="610"/>
                    </a:cubicBezTo>
                    <a:cubicBezTo>
                      <a:pt x="2324" y="602"/>
                      <a:pt x="2348" y="618"/>
                      <a:pt x="2358" y="609"/>
                    </a:cubicBezTo>
                    <a:cubicBezTo>
                      <a:pt x="2368" y="600"/>
                      <a:pt x="2358" y="588"/>
                      <a:pt x="2358" y="588"/>
                    </a:cubicBezTo>
                    <a:cubicBezTo>
                      <a:pt x="2358" y="588"/>
                      <a:pt x="2374" y="592"/>
                      <a:pt x="2376" y="587"/>
                    </a:cubicBezTo>
                    <a:cubicBezTo>
                      <a:pt x="2378" y="582"/>
                      <a:pt x="2365" y="560"/>
                      <a:pt x="2365" y="560"/>
                    </a:cubicBezTo>
                    <a:cubicBezTo>
                      <a:pt x="2387" y="560"/>
                      <a:pt x="2387" y="560"/>
                      <a:pt x="2387" y="560"/>
                    </a:cubicBezTo>
                    <a:cubicBezTo>
                      <a:pt x="2397" y="577"/>
                      <a:pt x="2397" y="577"/>
                      <a:pt x="2397" y="577"/>
                    </a:cubicBezTo>
                    <a:cubicBezTo>
                      <a:pt x="2404" y="559"/>
                      <a:pt x="2404" y="559"/>
                      <a:pt x="2404" y="559"/>
                    </a:cubicBezTo>
                    <a:cubicBezTo>
                      <a:pt x="2421" y="563"/>
                      <a:pt x="2421" y="563"/>
                      <a:pt x="2421" y="563"/>
                    </a:cubicBezTo>
                    <a:cubicBezTo>
                      <a:pt x="2420" y="540"/>
                      <a:pt x="2420" y="540"/>
                      <a:pt x="2420" y="540"/>
                    </a:cubicBezTo>
                    <a:cubicBezTo>
                      <a:pt x="2420" y="540"/>
                      <a:pt x="2409" y="529"/>
                      <a:pt x="2407" y="523"/>
                    </a:cubicBezTo>
                    <a:cubicBezTo>
                      <a:pt x="2405" y="517"/>
                      <a:pt x="2401" y="498"/>
                      <a:pt x="2387" y="485"/>
                    </a:cubicBezTo>
                    <a:cubicBezTo>
                      <a:pt x="2373" y="472"/>
                      <a:pt x="2358" y="471"/>
                      <a:pt x="2361" y="461"/>
                    </a:cubicBezTo>
                    <a:cubicBezTo>
                      <a:pt x="2364" y="451"/>
                      <a:pt x="2377" y="460"/>
                      <a:pt x="2379" y="455"/>
                    </a:cubicBezTo>
                    <a:cubicBezTo>
                      <a:pt x="2381" y="450"/>
                      <a:pt x="2369" y="444"/>
                      <a:pt x="2380" y="439"/>
                    </a:cubicBezTo>
                    <a:cubicBezTo>
                      <a:pt x="2391" y="434"/>
                      <a:pt x="2427" y="457"/>
                      <a:pt x="2434" y="451"/>
                    </a:cubicBezTo>
                    <a:cubicBezTo>
                      <a:pt x="2441" y="445"/>
                      <a:pt x="2439" y="444"/>
                      <a:pt x="2434" y="432"/>
                    </a:cubicBezTo>
                    <a:cubicBezTo>
                      <a:pt x="2429" y="420"/>
                      <a:pt x="2441" y="416"/>
                      <a:pt x="2441" y="41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49" name="MCShape 41">
                <a:extLst>
                  <a:ext uri="{FF2B5EF4-FFF2-40B4-BE49-F238E27FC236}">
                    <a16:creationId xmlns:a16="http://schemas.microsoft.com/office/drawing/2014/main" id="{8E153DB4-86BC-4AD3-9EE6-1AA57C2748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1955" y="3057726"/>
                <a:ext cx="18560" cy="20108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  <a:gd name="T6" fmla="*/ 0 60000 65536"/>
                  <a:gd name="T7" fmla="*/ 0 60000 65536"/>
                  <a:gd name="T8" fmla="*/ 0 60000 65536"/>
                  <a:gd name="T9" fmla="*/ 0 w 34"/>
                  <a:gd name="T10" fmla="*/ 0 h 33"/>
                  <a:gd name="T11" fmla="*/ 34 w 34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0" name="MCShape 42">
                <a:extLst>
                  <a:ext uri="{FF2B5EF4-FFF2-40B4-BE49-F238E27FC236}">
                    <a16:creationId xmlns:a16="http://schemas.microsoft.com/office/drawing/2014/main" id="{63C4CAD3-23A5-4714-AE2B-149BAB3CC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1444" y="3082474"/>
                <a:ext cx="57230" cy="37122"/>
              </a:xfrm>
              <a:custGeom>
                <a:avLst/>
                <a:gdLst>
                  <a:gd name="T0" fmla="*/ 1 w 98"/>
                  <a:gd name="T1" fmla="*/ 31 h 60"/>
                  <a:gd name="T2" fmla="*/ 36 w 98"/>
                  <a:gd name="T3" fmla="*/ 57 h 60"/>
                  <a:gd name="T4" fmla="*/ 61 w 98"/>
                  <a:gd name="T5" fmla="*/ 38 h 60"/>
                  <a:gd name="T6" fmla="*/ 80 w 98"/>
                  <a:gd name="T7" fmla="*/ 39 h 60"/>
                  <a:gd name="T8" fmla="*/ 77 w 98"/>
                  <a:gd name="T9" fmla="*/ 24 h 60"/>
                  <a:gd name="T10" fmla="*/ 98 w 98"/>
                  <a:gd name="T11" fmla="*/ 0 h 60"/>
                  <a:gd name="T12" fmla="*/ 71 w 98"/>
                  <a:gd name="T13" fmla="*/ 17 h 60"/>
                  <a:gd name="T14" fmla="*/ 38 w 98"/>
                  <a:gd name="T15" fmla="*/ 15 h 60"/>
                  <a:gd name="T16" fmla="*/ 32 w 98"/>
                  <a:gd name="T17" fmla="*/ 26 h 60"/>
                  <a:gd name="T18" fmla="*/ 1 w 98"/>
                  <a:gd name="T19" fmla="*/ 31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8"/>
                  <a:gd name="T31" fmla="*/ 0 h 60"/>
                  <a:gd name="T32" fmla="*/ 98 w 98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8" h="60">
                    <a:moveTo>
                      <a:pt x="1" y="31"/>
                    </a:moveTo>
                    <a:cubicBezTo>
                      <a:pt x="2" y="45"/>
                      <a:pt x="29" y="60"/>
                      <a:pt x="36" y="57"/>
                    </a:cubicBezTo>
                    <a:cubicBezTo>
                      <a:pt x="43" y="54"/>
                      <a:pt x="61" y="38"/>
                      <a:pt x="61" y="38"/>
                    </a:cubicBezTo>
                    <a:cubicBezTo>
                      <a:pt x="61" y="38"/>
                      <a:pt x="77" y="45"/>
                      <a:pt x="80" y="39"/>
                    </a:cubicBezTo>
                    <a:cubicBezTo>
                      <a:pt x="84" y="33"/>
                      <a:pt x="77" y="24"/>
                      <a:pt x="77" y="24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71" y="17"/>
                      <a:pt x="71" y="17"/>
                      <a:pt x="71" y="17"/>
                    </a:cubicBezTo>
                    <a:cubicBezTo>
                      <a:pt x="71" y="17"/>
                      <a:pt x="47" y="13"/>
                      <a:pt x="38" y="15"/>
                    </a:cubicBezTo>
                    <a:cubicBezTo>
                      <a:pt x="29" y="17"/>
                      <a:pt x="32" y="26"/>
                      <a:pt x="32" y="26"/>
                    </a:cubicBezTo>
                    <a:cubicBezTo>
                      <a:pt x="32" y="26"/>
                      <a:pt x="0" y="20"/>
                      <a:pt x="1" y="3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1" name="MCShape 43">
                <a:extLst>
                  <a:ext uri="{FF2B5EF4-FFF2-40B4-BE49-F238E27FC236}">
                    <a16:creationId xmlns:a16="http://schemas.microsoft.com/office/drawing/2014/main" id="{89385D60-C462-42B9-BDBE-281D433CF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810" y="2146699"/>
                <a:ext cx="233558" cy="89711"/>
              </a:xfrm>
              <a:custGeom>
                <a:avLst/>
                <a:gdLst>
                  <a:gd name="T0" fmla="*/ 207 w 396"/>
                  <a:gd name="T1" fmla="*/ 144 h 152"/>
                  <a:gd name="T2" fmla="*/ 238 w 396"/>
                  <a:gd name="T3" fmla="*/ 136 h 152"/>
                  <a:gd name="T4" fmla="*/ 262 w 396"/>
                  <a:gd name="T5" fmla="*/ 130 h 152"/>
                  <a:gd name="T6" fmla="*/ 339 w 396"/>
                  <a:gd name="T7" fmla="*/ 105 h 152"/>
                  <a:gd name="T8" fmla="*/ 363 w 396"/>
                  <a:gd name="T9" fmla="*/ 83 h 152"/>
                  <a:gd name="T10" fmla="*/ 373 w 396"/>
                  <a:gd name="T11" fmla="*/ 68 h 152"/>
                  <a:gd name="T12" fmla="*/ 356 w 396"/>
                  <a:gd name="T13" fmla="*/ 50 h 152"/>
                  <a:gd name="T14" fmla="*/ 341 w 396"/>
                  <a:gd name="T15" fmla="*/ 41 h 152"/>
                  <a:gd name="T16" fmla="*/ 342 w 396"/>
                  <a:gd name="T17" fmla="*/ 24 h 152"/>
                  <a:gd name="T18" fmla="*/ 325 w 396"/>
                  <a:gd name="T19" fmla="*/ 17 h 152"/>
                  <a:gd name="T20" fmla="*/ 294 w 396"/>
                  <a:gd name="T21" fmla="*/ 16 h 152"/>
                  <a:gd name="T22" fmla="*/ 262 w 396"/>
                  <a:gd name="T23" fmla="*/ 19 h 152"/>
                  <a:gd name="T24" fmla="*/ 227 w 396"/>
                  <a:gd name="T25" fmla="*/ 19 h 152"/>
                  <a:gd name="T26" fmla="*/ 201 w 396"/>
                  <a:gd name="T27" fmla="*/ 16 h 152"/>
                  <a:gd name="T28" fmla="*/ 182 w 396"/>
                  <a:gd name="T29" fmla="*/ 26 h 152"/>
                  <a:gd name="T30" fmla="*/ 171 w 396"/>
                  <a:gd name="T31" fmla="*/ 39 h 152"/>
                  <a:gd name="T32" fmla="*/ 145 w 396"/>
                  <a:gd name="T33" fmla="*/ 50 h 152"/>
                  <a:gd name="T34" fmla="*/ 112 w 396"/>
                  <a:gd name="T35" fmla="*/ 63 h 152"/>
                  <a:gd name="T36" fmla="*/ 102 w 396"/>
                  <a:gd name="T37" fmla="*/ 40 h 152"/>
                  <a:gd name="T38" fmla="*/ 68 w 396"/>
                  <a:gd name="T39" fmla="*/ 7 h 152"/>
                  <a:gd name="T40" fmla="*/ 43 w 396"/>
                  <a:gd name="T41" fmla="*/ 19 h 152"/>
                  <a:gd name="T42" fmla="*/ 35 w 396"/>
                  <a:gd name="T43" fmla="*/ 37 h 152"/>
                  <a:gd name="T44" fmla="*/ 4 w 396"/>
                  <a:gd name="T45" fmla="*/ 47 h 152"/>
                  <a:gd name="T46" fmla="*/ 55 w 396"/>
                  <a:gd name="T47" fmla="*/ 43 h 152"/>
                  <a:gd name="T48" fmla="*/ 64 w 396"/>
                  <a:gd name="T49" fmla="*/ 61 h 152"/>
                  <a:gd name="T50" fmla="*/ 35 w 396"/>
                  <a:gd name="T51" fmla="*/ 73 h 152"/>
                  <a:gd name="T52" fmla="*/ 38 w 396"/>
                  <a:gd name="T53" fmla="*/ 82 h 152"/>
                  <a:gd name="T54" fmla="*/ 88 w 396"/>
                  <a:gd name="T55" fmla="*/ 91 h 152"/>
                  <a:gd name="T56" fmla="*/ 85 w 396"/>
                  <a:gd name="T57" fmla="*/ 105 h 152"/>
                  <a:gd name="T58" fmla="*/ 41 w 396"/>
                  <a:gd name="T59" fmla="*/ 125 h 152"/>
                  <a:gd name="T60" fmla="*/ 98 w 396"/>
                  <a:gd name="T61" fmla="*/ 123 h 152"/>
                  <a:gd name="T62" fmla="*/ 124 w 396"/>
                  <a:gd name="T63" fmla="*/ 127 h 152"/>
                  <a:gd name="T64" fmla="*/ 172 w 396"/>
                  <a:gd name="T65" fmla="*/ 150 h 15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6"/>
                  <a:gd name="T100" fmla="*/ 0 h 152"/>
                  <a:gd name="T101" fmla="*/ 396 w 396"/>
                  <a:gd name="T102" fmla="*/ 152 h 15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6" h="152">
                    <a:moveTo>
                      <a:pt x="172" y="150"/>
                    </a:moveTo>
                    <a:cubicBezTo>
                      <a:pt x="200" y="143"/>
                      <a:pt x="200" y="149"/>
                      <a:pt x="207" y="144"/>
                    </a:cubicBezTo>
                    <a:cubicBezTo>
                      <a:pt x="214" y="139"/>
                      <a:pt x="211" y="131"/>
                      <a:pt x="211" y="131"/>
                    </a:cubicBezTo>
                    <a:cubicBezTo>
                      <a:pt x="211" y="131"/>
                      <a:pt x="230" y="139"/>
                      <a:pt x="238" y="136"/>
                    </a:cubicBezTo>
                    <a:cubicBezTo>
                      <a:pt x="246" y="133"/>
                      <a:pt x="246" y="126"/>
                      <a:pt x="246" y="126"/>
                    </a:cubicBezTo>
                    <a:cubicBezTo>
                      <a:pt x="246" y="126"/>
                      <a:pt x="257" y="130"/>
                      <a:pt x="262" y="130"/>
                    </a:cubicBezTo>
                    <a:cubicBezTo>
                      <a:pt x="267" y="130"/>
                      <a:pt x="305" y="107"/>
                      <a:pt x="313" y="106"/>
                    </a:cubicBezTo>
                    <a:cubicBezTo>
                      <a:pt x="321" y="105"/>
                      <a:pt x="332" y="112"/>
                      <a:pt x="339" y="105"/>
                    </a:cubicBezTo>
                    <a:cubicBezTo>
                      <a:pt x="346" y="98"/>
                      <a:pt x="347" y="87"/>
                      <a:pt x="347" y="87"/>
                    </a:cubicBezTo>
                    <a:cubicBezTo>
                      <a:pt x="347" y="87"/>
                      <a:pt x="354" y="87"/>
                      <a:pt x="363" y="83"/>
                    </a:cubicBezTo>
                    <a:cubicBezTo>
                      <a:pt x="372" y="79"/>
                      <a:pt x="383" y="69"/>
                      <a:pt x="383" y="69"/>
                    </a:cubicBezTo>
                    <a:cubicBezTo>
                      <a:pt x="373" y="68"/>
                      <a:pt x="373" y="68"/>
                      <a:pt x="373" y="68"/>
                    </a:cubicBezTo>
                    <a:cubicBezTo>
                      <a:pt x="373" y="68"/>
                      <a:pt x="396" y="57"/>
                      <a:pt x="382" y="50"/>
                    </a:cubicBezTo>
                    <a:cubicBezTo>
                      <a:pt x="368" y="43"/>
                      <a:pt x="356" y="50"/>
                      <a:pt x="356" y="50"/>
                    </a:cubicBezTo>
                    <a:cubicBezTo>
                      <a:pt x="359" y="40"/>
                      <a:pt x="359" y="40"/>
                      <a:pt x="359" y="40"/>
                    </a:cubicBezTo>
                    <a:cubicBezTo>
                      <a:pt x="341" y="41"/>
                      <a:pt x="341" y="41"/>
                      <a:pt x="341" y="41"/>
                    </a:cubicBezTo>
                    <a:cubicBezTo>
                      <a:pt x="351" y="26"/>
                      <a:pt x="351" y="26"/>
                      <a:pt x="351" y="26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46" y="12"/>
                      <a:pt x="346" y="12"/>
                      <a:pt x="346" y="12"/>
                    </a:cubicBezTo>
                    <a:cubicBezTo>
                      <a:pt x="325" y="17"/>
                      <a:pt x="325" y="17"/>
                      <a:pt x="325" y="17"/>
                    </a:cubicBezTo>
                    <a:cubicBezTo>
                      <a:pt x="325" y="17"/>
                      <a:pt x="304" y="0"/>
                      <a:pt x="297" y="0"/>
                    </a:cubicBezTo>
                    <a:cubicBezTo>
                      <a:pt x="290" y="0"/>
                      <a:pt x="294" y="16"/>
                      <a:pt x="294" y="16"/>
                    </a:cubicBezTo>
                    <a:cubicBezTo>
                      <a:pt x="280" y="22"/>
                      <a:pt x="280" y="22"/>
                      <a:pt x="280" y="22"/>
                    </a:cubicBezTo>
                    <a:cubicBezTo>
                      <a:pt x="280" y="22"/>
                      <a:pt x="268" y="19"/>
                      <a:pt x="262" y="19"/>
                    </a:cubicBezTo>
                    <a:cubicBezTo>
                      <a:pt x="256" y="19"/>
                      <a:pt x="249" y="29"/>
                      <a:pt x="249" y="29"/>
                    </a:cubicBezTo>
                    <a:cubicBezTo>
                      <a:pt x="249" y="29"/>
                      <a:pt x="233" y="17"/>
                      <a:pt x="227" y="19"/>
                    </a:cubicBezTo>
                    <a:cubicBezTo>
                      <a:pt x="221" y="21"/>
                      <a:pt x="226" y="41"/>
                      <a:pt x="226" y="41"/>
                    </a:cubicBezTo>
                    <a:cubicBezTo>
                      <a:pt x="226" y="41"/>
                      <a:pt x="208" y="16"/>
                      <a:pt x="201" y="16"/>
                    </a:cubicBezTo>
                    <a:cubicBezTo>
                      <a:pt x="194" y="16"/>
                      <a:pt x="198" y="23"/>
                      <a:pt x="198" y="23"/>
                    </a:cubicBezTo>
                    <a:cubicBezTo>
                      <a:pt x="198" y="23"/>
                      <a:pt x="183" y="23"/>
                      <a:pt x="182" y="26"/>
                    </a:cubicBezTo>
                    <a:cubicBezTo>
                      <a:pt x="181" y="29"/>
                      <a:pt x="181" y="38"/>
                      <a:pt x="181" y="38"/>
                    </a:cubicBezTo>
                    <a:cubicBezTo>
                      <a:pt x="171" y="39"/>
                      <a:pt x="171" y="39"/>
                      <a:pt x="171" y="39"/>
                    </a:cubicBezTo>
                    <a:cubicBezTo>
                      <a:pt x="171" y="39"/>
                      <a:pt x="155" y="18"/>
                      <a:pt x="150" y="22"/>
                    </a:cubicBezTo>
                    <a:cubicBezTo>
                      <a:pt x="145" y="26"/>
                      <a:pt x="150" y="49"/>
                      <a:pt x="145" y="50"/>
                    </a:cubicBezTo>
                    <a:cubicBezTo>
                      <a:pt x="140" y="51"/>
                      <a:pt x="133" y="42"/>
                      <a:pt x="129" y="42"/>
                    </a:cubicBezTo>
                    <a:cubicBezTo>
                      <a:pt x="125" y="42"/>
                      <a:pt x="112" y="63"/>
                      <a:pt x="112" y="63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2" y="40"/>
                      <a:pt x="102" y="40"/>
                      <a:pt x="102" y="40"/>
                    </a:cubicBezTo>
                    <a:cubicBezTo>
                      <a:pt x="102" y="40"/>
                      <a:pt x="118" y="35"/>
                      <a:pt x="112" y="26"/>
                    </a:cubicBezTo>
                    <a:cubicBezTo>
                      <a:pt x="106" y="17"/>
                      <a:pt x="73" y="3"/>
                      <a:pt x="68" y="7"/>
                    </a:cubicBezTo>
                    <a:cubicBezTo>
                      <a:pt x="63" y="11"/>
                      <a:pt x="69" y="26"/>
                      <a:pt x="69" y="26"/>
                    </a:cubicBezTo>
                    <a:cubicBezTo>
                      <a:pt x="69" y="26"/>
                      <a:pt x="49" y="19"/>
                      <a:pt x="43" y="19"/>
                    </a:cubicBezTo>
                    <a:cubicBezTo>
                      <a:pt x="37" y="19"/>
                      <a:pt x="25" y="31"/>
                      <a:pt x="25" y="31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5" y="37"/>
                      <a:pt x="23" y="35"/>
                      <a:pt x="17" y="41"/>
                    </a:cubicBezTo>
                    <a:cubicBezTo>
                      <a:pt x="11" y="47"/>
                      <a:pt x="4" y="47"/>
                      <a:pt x="4" y="47"/>
                    </a:cubicBezTo>
                    <a:cubicBezTo>
                      <a:pt x="4" y="47"/>
                      <a:pt x="12" y="54"/>
                      <a:pt x="20" y="54"/>
                    </a:cubicBezTo>
                    <a:cubicBezTo>
                      <a:pt x="28" y="54"/>
                      <a:pt x="55" y="43"/>
                      <a:pt x="55" y="43"/>
                    </a:cubicBezTo>
                    <a:cubicBezTo>
                      <a:pt x="90" y="49"/>
                      <a:pt x="90" y="49"/>
                      <a:pt x="90" y="49"/>
                    </a:cubicBezTo>
                    <a:cubicBezTo>
                      <a:pt x="64" y="61"/>
                      <a:pt x="64" y="61"/>
                      <a:pt x="64" y="61"/>
                    </a:cubicBezTo>
                    <a:cubicBezTo>
                      <a:pt x="64" y="61"/>
                      <a:pt x="84" y="64"/>
                      <a:pt x="84" y="68"/>
                    </a:cubicBezTo>
                    <a:cubicBezTo>
                      <a:pt x="84" y="72"/>
                      <a:pt x="39" y="72"/>
                      <a:pt x="35" y="73"/>
                    </a:cubicBezTo>
                    <a:cubicBezTo>
                      <a:pt x="31" y="74"/>
                      <a:pt x="0" y="72"/>
                      <a:pt x="6" y="79"/>
                    </a:cubicBezTo>
                    <a:cubicBezTo>
                      <a:pt x="12" y="86"/>
                      <a:pt x="25" y="81"/>
                      <a:pt x="38" y="82"/>
                    </a:cubicBezTo>
                    <a:cubicBezTo>
                      <a:pt x="51" y="83"/>
                      <a:pt x="65" y="95"/>
                      <a:pt x="65" y="95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75" y="101"/>
                      <a:pt x="75" y="101"/>
                      <a:pt x="75" y="101"/>
                    </a:cubicBezTo>
                    <a:cubicBezTo>
                      <a:pt x="85" y="105"/>
                      <a:pt x="85" y="105"/>
                      <a:pt x="85" y="105"/>
                    </a:cubicBezTo>
                    <a:cubicBezTo>
                      <a:pt x="85" y="105"/>
                      <a:pt x="82" y="114"/>
                      <a:pt x="75" y="118"/>
                    </a:cubicBezTo>
                    <a:cubicBezTo>
                      <a:pt x="68" y="122"/>
                      <a:pt x="35" y="116"/>
                      <a:pt x="41" y="125"/>
                    </a:cubicBezTo>
                    <a:cubicBezTo>
                      <a:pt x="47" y="134"/>
                      <a:pt x="75" y="130"/>
                      <a:pt x="82" y="130"/>
                    </a:cubicBezTo>
                    <a:cubicBezTo>
                      <a:pt x="89" y="130"/>
                      <a:pt x="98" y="123"/>
                      <a:pt x="98" y="123"/>
                    </a:cubicBezTo>
                    <a:cubicBezTo>
                      <a:pt x="116" y="134"/>
                      <a:pt x="116" y="134"/>
                      <a:pt x="116" y="134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1" y="133"/>
                      <a:pt x="131" y="138"/>
                    </a:cubicBezTo>
                    <a:cubicBezTo>
                      <a:pt x="141" y="143"/>
                      <a:pt x="164" y="152"/>
                      <a:pt x="172" y="15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2" name="MCShape 44">
                <a:extLst>
                  <a:ext uri="{FF2B5EF4-FFF2-40B4-BE49-F238E27FC236}">
                    <a16:creationId xmlns:a16="http://schemas.microsoft.com/office/drawing/2014/main" id="{1A1DA704-70DE-4D76-868C-924A019E9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2083" y="3371715"/>
                <a:ext cx="133019" cy="125285"/>
              </a:xfrm>
              <a:custGeom>
                <a:avLst/>
                <a:gdLst>
                  <a:gd name="T0" fmla="*/ 198 w 224"/>
                  <a:gd name="T1" fmla="*/ 84 h 215"/>
                  <a:gd name="T2" fmla="*/ 208 w 224"/>
                  <a:gd name="T3" fmla="*/ 97 h 215"/>
                  <a:gd name="T4" fmla="*/ 224 w 224"/>
                  <a:gd name="T5" fmla="*/ 91 h 215"/>
                  <a:gd name="T6" fmla="*/ 214 w 224"/>
                  <a:gd name="T7" fmla="*/ 51 h 215"/>
                  <a:gd name="T8" fmla="*/ 215 w 224"/>
                  <a:gd name="T9" fmla="*/ 3 h 215"/>
                  <a:gd name="T10" fmla="*/ 186 w 224"/>
                  <a:gd name="T11" fmla="*/ 51 h 215"/>
                  <a:gd name="T12" fmla="*/ 166 w 224"/>
                  <a:gd name="T13" fmla="*/ 61 h 215"/>
                  <a:gd name="T14" fmla="*/ 131 w 224"/>
                  <a:gd name="T15" fmla="*/ 102 h 215"/>
                  <a:gd name="T16" fmla="*/ 122 w 224"/>
                  <a:gd name="T17" fmla="*/ 131 h 215"/>
                  <a:gd name="T18" fmla="*/ 62 w 224"/>
                  <a:gd name="T19" fmla="*/ 127 h 215"/>
                  <a:gd name="T20" fmla="*/ 16 w 224"/>
                  <a:gd name="T21" fmla="*/ 140 h 215"/>
                  <a:gd name="T22" fmla="*/ 1 w 224"/>
                  <a:gd name="T23" fmla="*/ 127 h 215"/>
                  <a:gd name="T24" fmla="*/ 5 w 224"/>
                  <a:gd name="T25" fmla="*/ 145 h 215"/>
                  <a:gd name="T26" fmla="*/ 52 w 224"/>
                  <a:gd name="T27" fmla="*/ 200 h 215"/>
                  <a:gd name="T28" fmla="*/ 177 w 224"/>
                  <a:gd name="T29" fmla="*/ 215 h 215"/>
                  <a:gd name="T30" fmla="*/ 168 w 224"/>
                  <a:gd name="T31" fmla="*/ 192 h 215"/>
                  <a:gd name="T32" fmla="*/ 181 w 224"/>
                  <a:gd name="T33" fmla="*/ 163 h 215"/>
                  <a:gd name="T34" fmla="*/ 189 w 224"/>
                  <a:gd name="T35" fmla="*/ 136 h 215"/>
                  <a:gd name="T36" fmla="*/ 201 w 224"/>
                  <a:gd name="T37" fmla="*/ 135 h 215"/>
                  <a:gd name="T38" fmla="*/ 191 w 224"/>
                  <a:gd name="T39" fmla="*/ 118 h 215"/>
                  <a:gd name="T40" fmla="*/ 198 w 224"/>
                  <a:gd name="T41" fmla="*/ 84 h 2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24"/>
                  <a:gd name="T64" fmla="*/ 0 h 215"/>
                  <a:gd name="T65" fmla="*/ 224 w 224"/>
                  <a:gd name="T66" fmla="*/ 215 h 2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24" h="215">
                    <a:moveTo>
                      <a:pt x="198" y="84"/>
                    </a:moveTo>
                    <a:cubicBezTo>
                      <a:pt x="202" y="84"/>
                      <a:pt x="208" y="97"/>
                      <a:pt x="208" y="97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19" y="78"/>
                      <a:pt x="212" y="63"/>
                      <a:pt x="214" y="51"/>
                    </a:cubicBezTo>
                    <a:cubicBezTo>
                      <a:pt x="217" y="34"/>
                      <a:pt x="222" y="6"/>
                      <a:pt x="215" y="3"/>
                    </a:cubicBezTo>
                    <a:cubicBezTo>
                      <a:pt x="207" y="0"/>
                      <a:pt x="186" y="51"/>
                      <a:pt x="186" y="51"/>
                    </a:cubicBezTo>
                    <a:cubicBezTo>
                      <a:pt x="186" y="51"/>
                      <a:pt x="172" y="53"/>
                      <a:pt x="166" y="61"/>
                    </a:cubicBezTo>
                    <a:cubicBezTo>
                      <a:pt x="161" y="70"/>
                      <a:pt x="131" y="102"/>
                      <a:pt x="131" y="102"/>
                    </a:cubicBezTo>
                    <a:cubicBezTo>
                      <a:pt x="131" y="102"/>
                      <a:pt x="131" y="130"/>
                      <a:pt x="122" y="131"/>
                    </a:cubicBezTo>
                    <a:cubicBezTo>
                      <a:pt x="113" y="132"/>
                      <a:pt x="69" y="127"/>
                      <a:pt x="62" y="127"/>
                    </a:cubicBezTo>
                    <a:cubicBezTo>
                      <a:pt x="56" y="127"/>
                      <a:pt x="25" y="144"/>
                      <a:pt x="16" y="140"/>
                    </a:cubicBezTo>
                    <a:cubicBezTo>
                      <a:pt x="11" y="138"/>
                      <a:pt x="5" y="132"/>
                      <a:pt x="1" y="127"/>
                    </a:cubicBezTo>
                    <a:cubicBezTo>
                      <a:pt x="0" y="132"/>
                      <a:pt x="0" y="140"/>
                      <a:pt x="5" y="145"/>
                    </a:cubicBezTo>
                    <a:cubicBezTo>
                      <a:pt x="12" y="152"/>
                      <a:pt x="49" y="200"/>
                      <a:pt x="52" y="200"/>
                    </a:cubicBezTo>
                    <a:cubicBezTo>
                      <a:pt x="54" y="200"/>
                      <a:pt x="143" y="211"/>
                      <a:pt x="177" y="215"/>
                    </a:cubicBezTo>
                    <a:cubicBezTo>
                      <a:pt x="173" y="207"/>
                      <a:pt x="168" y="196"/>
                      <a:pt x="168" y="192"/>
                    </a:cubicBezTo>
                    <a:cubicBezTo>
                      <a:pt x="168" y="186"/>
                      <a:pt x="181" y="163"/>
                      <a:pt x="181" y="163"/>
                    </a:cubicBezTo>
                    <a:cubicBezTo>
                      <a:pt x="181" y="163"/>
                      <a:pt x="187" y="143"/>
                      <a:pt x="189" y="136"/>
                    </a:cubicBezTo>
                    <a:cubicBezTo>
                      <a:pt x="191" y="129"/>
                      <a:pt x="197" y="137"/>
                      <a:pt x="201" y="135"/>
                    </a:cubicBezTo>
                    <a:cubicBezTo>
                      <a:pt x="205" y="133"/>
                      <a:pt x="195" y="122"/>
                      <a:pt x="191" y="118"/>
                    </a:cubicBezTo>
                    <a:cubicBezTo>
                      <a:pt x="187" y="114"/>
                      <a:pt x="194" y="84"/>
                      <a:pt x="198" y="8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3" name="MCShape 45">
                <a:extLst>
                  <a:ext uri="{FF2B5EF4-FFF2-40B4-BE49-F238E27FC236}">
                    <a16:creationId xmlns:a16="http://schemas.microsoft.com/office/drawing/2014/main" id="{B6869E58-6671-4524-A1F8-C7FC91B79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5285" y="3419664"/>
                <a:ext cx="214996" cy="262945"/>
              </a:xfrm>
              <a:custGeom>
                <a:avLst/>
                <a:gdLst>
                  <a:gd name="T0" fmla="*/ 169 w 364"/>
                  <a:gd name="T1" fmla="*/ 375 h 445"/>
                  <a:gd name="T2" fmla="*/ 220 w 364"/>
                  <a:gd name="T3" fmla="*/ 358 h 445"/>
                  <a:gd name="T4" fmla="*/ 228 w 364"/>
                  <a:gd name="T5" fmla="*/ 330 h 445"/>
                  <a:gd name="T6" fmla="*/ 269 w 364"/>
                  <a:gd name="T7" fmla="*/ 304 h 445"/>
                  <a:gd name="T8" fmla="*/ 283 w 364"/>
                  <a:gd name="T9" fmla="*/ 249 h 445"/>
                  <a:gd name="T10" fmla="*/ 312 w 364"/>
                  <a:gd name="T11" fmla="*/ 249 h 445"/>
                  <a:gd name="T12" fmla="*/ 318 w 364"/>
                  <a:gd name="T13" fmla="*/ 218 h 445"/>
                  <a:gd name="T14" fmla="*/ 355 w 364"/>
                  <a:gd name="T15" fmla="*/ 184 h 445"/>
                  <a:gd name="T16" fmla="*/ 359 w 364"/>
                  <a:gd name="T17" fmla="*/ 134 h 445"/>
                  <a:gd name="T18" fmla="*/ 339 w 364"/>
                  <a:gd name="T19" fmla="*/ 127 h 445"/>
                  <a:gd name="T20" fmla="*/ 302 w 364"/>
                  <a:gd name="T21" fmla="*/ 74 h 445"/>
                  <a:gd name="T22" fmla="*/ 237 w 364"/>
                  <a:gd name="T23" fmla="*/ 52 h 445"/>
                  <a:gd name="T24" fmla="*/ 191 w 364"/>
                  <a:gd name="T25" fmla="*/ 23 h 445"/>
                  <a:gd name="T26" fmla="*/ 184 w 364"/>
                  <a:gd name="T27" fmla="*/ 7 h 445"/>
                  <a:gd name="T28" fmla="*/ 168 w 364"/>
                  <a:gd name="T29" fmla="*/ 13 h 445"/>
                  <a:gd name="T30" fmla="*/ 158 w 364"/>
                  <a:gd name="T31" fmla="*/ 0 h 445"/>
                  <a:gd name="T32" fmla="*/ 151 w 364"/>
                  <a:gd name="T33" fmla="*/ 34 h 445"/>
                  <a:gd name="T34" fmla="*/ 161 w 364"/>
                  <a:gd name="T35" fmla="*/ 51 h 445"/>
                  <a:gd name="T36" fmla="*/ 149 w 364"/>
                  <a:gd name="T37" fmla="*/ 52 h 445"/>
                  <a:gd name="T38" fmla="*/ 141 w 364"/>
                  <a:gd name="T39" fmla="*/ 79 h 445"/>
                  <a:gd name="T40" fmla="*/ 128 w 364"/>
                  <a:gd name="T41" fmla="*/ 108 h 445"/>
                  <a:gd name="T42" fmla="*/ 141 w 364"/>
                  <a:gd name="T43" fmla="*/ 142 h 445"/>
                  <a:gd name="T44" fmla="*/ 159 w 364"/>
                  <a:gd name="T45" fmla="*/ 161 h 445"/>
                  <a:gd name="T46" fmla="*/ 133 w 364"/>
                  <a:gd name="T47" fmla="*/ 276 h 445"/>
                  <a:gd name="T48" fmla="*/ 0 w 364"/>
                  <a:gd name="T49" fmla="*/ 325 h 445"/>
                  <a:gd name="T50" fmla="*/ 54 w 364"/>
                  <a:gd name="T51" fmla="*/ 445 h 445"/>
                  <a:gd name="T52" fmla="*/ 162 w 364"/>
                  <a:gd name="T53" fmla="*/ 410 h 445"/>
                  <a:gd name="T54" fmla="*/ 169 w 364"/>
                  <a:gd name="T55" fmla="*/ 375 h 445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64"/>
                  <a:gd name="T85" fmla="*/ 0 h 445"/>
                  <a:gd name="T86" fmla="*/ 364 w 364"/>
                  <a:gd name="T87" fmla="*/ 445 h 445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64" h="445">
                    <a:moveTo>
                      <a:pt x="169" y="375"/>
                    </a:moveTo>
                    <a:cubicBezTo>
                      <a:pt x="169" y="375"/>
                      <a:pt x="211" y="369"/>
                      <a:pt x="220" y="358"/>
                    </a:cubicBezTo>
                    <a:cubicBezTo>
                      <a:pt x="228" y="348"/>
                      <a:pt x="228" y="330"/>
                      <a:pt x="228" y="330"/>
                    </a:cubicBezTo>
                    <a:cubicBezTo>
                      <a:pt x="228" y="330"/>
                      <a:pt x="260" y="319"/>
                      <a:pt x="269" y="304"/>
                    </a:cubicBezTo>
                    <a:cubicBezTo>
                      <a:pt x="279" y="288"/>
                      <a:pt x="274" y="250"/>
                      <a:pt x="283" y="249"/>
                    </a:cubicBezTo>
                    <a:cubicBezTo>
                      <a:pt x="292" y="248"/>
                      <a:pt x="302" y="260"/>
                      <a:pt x="312" y="249"/>
                    </a:cubicBezTo>
                    <a:cubicBezTo>
                      <a:pt x="323" y="238"/>
                      <a:pt x="318" y="218"/>
                      <a:pt x="318" y="218"/>
                    </a:cubicBezTo>
                    <a:cubicBezTo>
                      <a:pt x="355" y="184"/>
                      <a:pt x="355" y="184"/>
                      <a:pt x="355" y="184"/>
                    </a:cubicBezTo>
                    <a:cubicBezTo>
                      <a:pt x="355" y="184"/>
                      <a:pt x="364" y="144"/>
                      <a:pt x="359" y="134"/>
                    </a:cubicBezTo>
                    <a:cubicBezTo>
                      <a:pt x="355" y="124"/>
                      <a:pt x="339" y="127"/>
                      <a:pt x="339" y="127"/>
                    </a:cubicBezTo>
                    <a:cubicBezTo>
                      <a:pt x="339" y="127"/>
                      <a:pt x="317" y="87"/>
                      <a:pt x="302" y="74"/>
                    </a:cubicBezTo>
                    <a:cubicBezTo>
                      <a:pt x="287" y="61"/>
                      <a:pt x="237" y="52"/>
                      <a:pt x="237" y="52"/>
                    </a:cubicBezTo>
                    <a:cubicBezTo>
                      <a:pt x="237" y="52"/>
                      <a:pt x="194" y="38"/>
                      <a:pt x="191" y="23"/>
                    </a:cubicBezTo>
                    <a:cubicBezTo>
                      <a:pt x="190" y="18"/>
                      <a:pt x="187" y="13"/>
                      <a:pt x="184" y="7"/>
                    </a:cubicBezTo>
                    <a:cubicBezTo>
                      <a:pt x="168" y="13"/>
                      <a:pt x="168" y="13"/>
                      <a:pt x="168" y="13"/>
                    </a:cubicBezTo>
                    <a:cubicBezTo>
                      <a:pt x="168" y="13"/>
                      <a:pt x="162" y="0"/>
                      <a:pt x="158" y="0"/>
                    </a:cubicBezTo>
                    <a:cubicBezTo>
                      <a:pt x="154" y="0"/>
                      <a:pt x="147" y="30"/>
                      <a:pt x="151" y="34"/>
                    </a:cubicBezTo>
                    <a:cubicBezTo>
                      <a:pt x="155" y="38"/>
                      <a:pt x="165" y="49"/>
                      <a:pt x="161" y="51"/>
                    </a:cubicBezTo>
                    <a:cubicBezTo>
                      <a:pt x="157" y="53"/>
                      <a:pt x="151" y="45"/>
                      <a:pt x="149" y="52"/>
                    </a:cubicBezTo>
                    <a:cubicBezTo>
                      <a:pt x="147" y="59"/>
                      <a:pt x="141" y="79"/>
                      <a:pt x="141" y="79"/>
                    </a:cubicBezTo>
                    <a:cubicBezTo>
                      <a:pt x="141" y="79"/>
                      <a:pt x="128" y="102"/>
                      <a:pt x="128" y="108"/>
                    </a:cubicBezTo>
                    <a:cubicBezTo>
                      <a:pt x="128" y="114"/>
                      <a:pt x="141" y="138"/>
                      <a:pt x="141" y="142"/>
                    </a:cubicBezTo>
                    <a:cubicBezTo>
                      <a:pt x="141" y="146"/>
                      <a:pt x="159" y="161"/>
                      <a:pt x="159" y="161"/>
                    </a:cubicBezTo>
                    <a:cubicBezTo>
                      <a:pt x="133" y="276"/>
                      <a:pt x="133" y="276"/>
                      <a:pt x="133" y="276"/>
                    </a:cubicBezTo>
                    <a:cubicBezTo>
                      <a:pt x="0" y="325"/>
                      <a:pt x="0" y="325"/>
                      <a:pt x="0" y="325"/>
                    </a:cubicBezTo>
                    <a:cubicBezTo>
                      <a:pt x="54" y="445"/>
                      <a:pt x="54" y="445"/>
                      <a:pt x="54" y="445"/>
                    </a:cubicBezTo>
                    <a:cubicBezTo>
                      <a:pt x="81" y="434"/>
                      <a:pt x="159" y="415"/>
                      <a:pt x="162" y="410"/>
                    </a:cubicBezTo>
                    <a:cubicBezTo>
                      <a:pt x="167" y="404"/>
                      <a:pt x="169" y="375"/>
                      <a:pt x="169" y="37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4" name="MCShape 46">
                <a:extLst>
                  <a:ext uri="{FF2B5EF4-FFF2-40B4-BE49-F238E27FC236}">
                    <a16:creationId xmlns:a16="http://schemas.microsoft.com/office/drawing/2014/main" id="{60B5A50F-F9DE-44F8-A8EB-1062D29CF1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0429" y="3380996"/>
                <a:ext cx="29388" cy="57229"/>
              </a:xfrm>
              <a:custGeom>
                <a:avLst/>
                <a:gdLst>
                  <a:gd name="T0" fmla="*/ 16 w 49"/>
                  <a:gd name="T1" fmla="*/ 90 h 98"/>
                  <a:gd name="T2" fmla="*/ 24 w 49"/>
                  <a:gd name="T3" fmla="*/ 98 h 98"/>
                  <a:gd name="T4" fmla="*/ 30 w 49"/>
                  <a:gd name="T5" fmla="*/ 96 h 98"/>
                  <a:gd name="T6" fmla="*/ 30 w 49"/>
                  <a:gd name="T7" fmla="*/ 95 h 98"/>
                  <a:gd name="T8" fmla="*/ 47 w 49"/>
                  <a:gd name="T9" fmla="*/ 35 h 98"/>
                  <a:gd name="T10" fmla="*/ 22 w 49"/>
                  <a:gd name="T11" fmla="*/ 3 h 98"/>
                  <a:gd name="T12" fmla="*/ 9 w 49"/>
                  <a:gd name="T13" fmla="*/ 47 h 98"/>
                  <a:gd name="T14" fmla="*/ 1 w 49"/>
                  <a:gd name="T15" fmla="*/ 84 h 98"/>
                  <a:gd name="T16" fmla="*/ 0 w 49"/>
                  <a:gd name="T17" fmla="*/ 83 h 98"/>
                  <a:gd name="T18" fmla="*/ 6 w 49"/>
                  <a:gd name="T19" fmla="*/ 93 h 98"/>
                  <a:gd name="T20" fmla="*/ 16 w 49"/>
                  <a:gd name="T21" fmla="*/ 90 h 9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9"/>
                  <a:gd name="T34" fmla="*/ 0 h 98"/>
                  <a:gd name="T35" fmla="*/ 49 w 49"/>
                  <a:gd name="T36" fmla="*/ 98 h 9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9" h="98">
                    <a:moveTo>
                      <a:pt x="16" y="90"/>
                    </a:moveTo>
                    <a:cubicBezTo>
                      <a:pt x="24" y="98"/>
                      <a:pt x="24" y="98"/>
                      <a:pt x="24" y="98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6"/>
                      <a:pt x="30" y="95"/>
                      <a:pt x="30" y="95"/>
                    </a:cubicBezTo>
                    <a:cubicBezTo>
                      <a:pt x="35" y="86"/>
                      <a:pt x="49" y="56"/>
                      <a:pt x="47" y="35"/>
                    </a:cubicBezTo>
                    <a:cubicBezTo>
                      <a:pt x="45" y="14"/>
                      <a:pt x="31" y="0"/>
                      <a:pt x="22" y="3"/>
                    </a:cubicBezTo>
                    <a:cubicBezTo>
                      <a:pt x="12" y="6"/>
                      <a:pt x="10" y="32"/>
                      <a:pt x="9" y="47"/>
                    </a:cubicBezTo>
                    <a:cubicBezTo>
                      <a:pt x="9" y="62"/>
                      <a:pt x="9" y="83"/>
                      <a:pt x="1" y="84"/>
                    </a:cubicBezTo>
                    <a:cubicBezTo>
                      <a:pt x="1" y="84"/>
                      <a:pt x="1" y="84"/>
                      <a:pt x="0" y="83"/>
                    </a:cubicBezTo>
                    <a:cubicBezTo>
                      <a:pt x="6" y="93"/>
                      <a:pt x="6" y="93"/>
                      <a:pt x="6" y="93"/>
                    </a:cubicBezTo>
                    <a:lnTo>
                      <a:pt x="16" y="9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5" name="MCShape 47">
                <a:extLst>
                  <a:ext uri="{FF2B5EF4-FFF2-40B4-BE49-F238E27FC236}">
                    <a16:creationId xmlns:a16="http://schemas.microsoft.com/office/drawing/2014/main" id="{DC569085-B568-4433-9076-D76BF5958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7187" y="3037619"/>
                <a:ext cx="412979" cy="417620"/>
              </a:xfrm>
              <a:custGeom>
                <a:avLst/>
                <a:gdLst>
                  <a:gd name="T0" fmla="*/ 639 w 701"/>
                  <a:gd name="T1" fmla="*/ 64 h 705"/>
                  <a:gd name="T2" fmla="*/ 584 w 701"/>
                  <a:gd name="T3" fmla="*/ 14 h 705"/>
                  <a:gd name="T4" fmla="*/ 541 w 701"/>
                  <a:gd name="T5" fmla="*/ 0 h 705"/>
                  <a:gd name="T6" fmla="*/ 479 w 701"/>
                  <a:gd name="T7" fmla="*/ 10 h 705"/>
                  <a:gd name="T8" fmla="*/ 408 w 701"/>
                  <a:gd name="T9" fmla="*/ 46 h 705"/>
                  <a:gd name="T10" fmla="*/ 433 w 701"/>
                  <a:gd name="T11" fmla="*/ 110 h 705"/>
                  <a:gd name="T12" fmla="*/ 418 w 701"/>
                  <a:gd name="T13" fmla="*/ 160 h 705"/>
                  <a:gd name="T14" fmla="*/ 395 w 701"/>
                  <a:gd name="T15" fmla="*/ 168 h 705"/>
                  <a:gd name="T16" fmla="*/ 370 w 701"/>
                  <a:gd name="T17" fmla="*/ 171 h 705"/>
                  <a:gd name="T18" fmla="*/ 401 w 701"/>
                  <a:gd name="T19" fmla="*/ 197 h 705"/>
                  <a:gd name="T20" fmla="*/ 363 w 701"/>
                  <a:gd name="T21" fmla="*/ 238 h 705"/>
                  <a:gd name="T22" fmla="*/ 348 w 701"/>
                  <a:gd name="T23" fmla="*/ 293 h 705"/>
                  <a:gd name="T24" fmla="*/ 305 w 701"/>
                  <a:gd name="T25" fmla="*/ 289 h 705"/>
                  <a:gd name="T26" fmla="*/ 266 w 701"/>
                  <a:gd name="T27" fmla="*/ 312 h 705"/>
                  <a:gd name="T28" fmla="*/ 242 w 701"/>
                  <a:gd name="T29" fmla="*/ 355 h 705"/>
                  <a:gd name="T30" fmla="*/ 157 w 701"/>
                  <a:gd name="T31" fmla="*/ 404 h 705"/>
                  <a:gd name="T32" fmla="*/ 100 w 701"/>
                  <a:gd name="T33" fmla="*/ 405 h 705"/>
                  <a:gd name="T34" fmla="*/ 0 w 701"/>
                  <a:gd name="T35" fmla="*/ 389 h 705"/>
                  <a:gd name="T36" fmla="*/ 77 w 701"/>
                  <a:gd name="T37" fmla="*/ 462 h 705"/>
                  <a:gd name="T38" fmla="*/ 98 w 701"/>
                  <a:gd name="T39" fmla="*/ 492 h 705"/>
                  <a:gd name="T40" fmla="*/ 120 w 701"/>
                  <a:gd name="T41" fmla="*/ 529 h 705"/>
                  <a:gd name="T42" fmla="*/ 85 w 701"/>
                  <a:gd name="T43" fmla="*/ 575 h 705"/>
                  <a:gd name="T44" fmla="*/ 60 w 701"/>
                  <a:gd name="T45" fmla="*/ 600 h 705"/>
                  <a:gd name="T46" fmla="*/ 110 w 701"/>
                  <a:gd name="T47" fmla="*/ 635 h 705"/>
                  <a:gd name="T48" fmla="*/ 208 w 701"/>
                  <a:gd name="T49" fmla="*/ 615 h 705"/>
                  <a:gd name="T50" fmla="*/ 299 w 701"/>
                  <a:gd name="T51" fmla="*/ 662 h 705"/>
                  <a:gd name="T52" fmla="*/ 381 w 701"/>
                  <a:gd name="T53" fmla="*/ 705 h 705"/>
                  <a:gd name="T54" fmla="*/ 416 w 701"/>
                  <a:gd name="T55" fmla="*/ 689 h 705"/>
                  <a:gd name="T56" fmla="*/ 467 w 701"/>
                  <a:gd name="T57" fmla="*/ 679 h 705"/>
                  <a:gd name="T58" fmla="*/ 492 w 701"/>
                  <a:gd name="T59" fmla="*/ 654 h 705"/>
                  <a:gd name="T60" fmla="*/ 455 w 701"/>
                  <a:gd name="T61" fmla="*/ 604 h 705"/>
                  <a:gd name="T62" fmla="*/ 447 w 701"/>
                  <a:gd name="T63" fmla="*/ 559 h 705"/>
                  <a:gd name="T64" fmla="*/ 423 w 701"/>
                  <a:gd name="T65" fmla="*/ 522 h 705"/>
                  <a:gd name="T66" fmla="*/ 470 w 701"/>
                  <a:gd name="T67" fmla="*/ 500 h 705"/>
                  <a:gd name="T68" fmla="*/ 518 w 701"/>
                  <a:gd name="T69" fmla="*/ 472 h 705"/>
                  <a:gd name="T70" fmla="*/ 560 w 701"/>
                  <a:gd name="T71" fmla="*/ 425 h 705"/>
                  <a:gd name="T72" fmla="*/ 581 w 701"/>
                  <a:gd name="T73" fmla="*/ 358 h 705"/>
                  <a:gd name="T74" fmla="*/ 604 w 701"/>
                  <a:gd name="T75" fmla="*/ 297 h 705"/>
                  <a:gd name="T76" fmla="*/ 624 w 701"/>
                  <a:gd name="T77" fmla="*/ 248 h 705"/>
                  <a:gd name="T78" fmla="*/ 583 w 701"/>
                  <a:gd name="T79" fmla="*/ 225 h 705"/>
                  <a:gd name="T80" fmla="*/ 567 w 701"/>
                  <a:gd name="T81" fmla="*/ 194 h 705"/>
                  <a:gd name="T82" fmla="*/ 548 w 701"/>
                  <a:gd name="T83" fmla="*/ 161 h 705"/>
                  <a:gd name="T84" fmla="*/ 557 w 701"/>
                  <a:gd name="T85" fmla="*/ 123 h 705"/>
                  <a:gd name="T86" fmla="*/ 643 w 701"/>
                  <a:gd name="T87" fmla="*/ 123 h 705"/>
                  <a:gd name="T88" fmla="*/ 667 w 701"/>
                  <a:gd name="T89" fmla="*/ 122 h 705"/>
                  <a:gd name="T90" fmla="*/ 700 w 701"/>
                  <a:gd name="T91" fmla="*/ 82 h 7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01"/>
                  <a:gd name="T139" fmla="*/ 0 h 705"/>
                  <a:gd name="T140" fmla="*/ 701 w 701"/>
                  <a:gd name="T141" fmla="*/ 705 h 70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01" h="705">
                    <a:moveTo>
                      <a:pt x="671" y="81"/>
                    </a:moveTo>
                    <a:cubicBezTo>
                      <a:pt x="652" y="80"/>
                      <a:pt x="647" y="60"/>
                      <a:pt x="647" y="60"/>
                    </a:cubicBezTo>
                    <a:cubicBezTo>
                      <a:pt x="639" y="64"/>
                      <a:pt x="639" y="64"/>
                      <a:pt x="639" y="64"/>
                    </a:cubicBezTo>
                    <a:cubicBezTo>
                      <a:pt x="618" y="56"/>
                      <a:pt x="618" y="56"/>
                      <a:pt x="618" y="56"/>
                    </a:cubicBezTo>
                    <a:cubicBezTo>
                      <a:pt x="618" y="56"/>
                      <a:pt x="617" y="35"/>
                      <a:pt x="608" y="25"/>
                    </a:cubicBezTo>
                    <a:cubicBezTo>
                      <a:pt x="599" y="15"/>
                      <a:pt x="584" y="14"/>
                      <a:pt x="584" y="14"/>
                    </a:cubicBezTo>
                    <a:cubicBezTo>
                      <a:pt x="581" y="5"/>
                      <a:pt x="581" y="5"/>
                      <a:pt x="581" y="5"/>
                    </a:cubicBezTo>
                    <a:cubicBezTo>
                      <a:pt x="560" y="5"/>
                      <a:pt x="560" y="5"/>
                      <a:pt x="560" y="5"/>
                    </a:cubicBezTo>
                    <a:cubicBezTo>
                      <a:pt x="560" y="5"/>
                      <a:pt x="549" y="4"/>
                      <a:pt x="541" y="0"/>
                    </a:cubicBezTo>
                    <a:cubicBezTo>
                      <a:pt x="535" y="4"/>
                      <a:pt x="526" y="9"/>
                      <a:pt x="523" y="10"/>
                    </a:cubicBezTo>
                    <a:cubicBezTo>
                      <a:pt x="518" y="11"/>
                      <a:pt x="508" y="5"/>
                      <a:pt x="505" y="5"/>
                    </a:cubicBezTo>
                    <a:cubicBezTo>
                      <a:pt x="502" y="5"/>
                      <a:pt x="479" y="10"/>
                      <a:pt x="479" y="10"/>
                    </a:cubicBezTo>
                    <a:cubicBezTo>
                      <a:pt x="479" y="10"/>
                      <a:pt x="462" y="9"/>
                      <a:pt x="455" y="12"/>
                    </a:cubicBezTo>
                    <a:cubicBezTo>
                      <a:pt x="448" y="15"/>
                      <a:pt x="425" y="31"/>
                      <a:pt x="425" y="31"/>
                    </a:cubicBezTo>
                    <a:cubicBezTo>
                      <a:pt x="425" y="31"/>
                      <a:pt x="414" y="34"/>
                      <a:pt x="408" y="46"/>
                    </a:cubicBezTo>
                    <a:cubicBezTo>
                      <a:pt x="402" y="58"/>
                      <a:pt x="407" y="54"/>
                      <a:pt x="418" y="66"/>
                    </a:cubicBezTo>
                    <a:cubicBezTo>
                      <a:pt x="429" y="78"/>
                      <a:pt x="426" y="95"/>
                      <a:pt x="426" y="95"/>
                    </a:cubicBezTo>
                    <a:cubicBezTo>
                      <a:pt x="426" y="95"/>
                      <a:pt x="436" y="103"/>
                      <a:pt x="433" y="110"/>
                    </a:cubicBezTo>
                    <a:cubicBezTo>
                      <a:pt x="430" y="117"/>
                      <a:pt x="413" y="125"/>
                      <a:pt x="412" y="134"/>
                    </a:cubicBezTo>
                    <a:cubicBezTo>
                      <a:pt x="411" y="143"/>
                      <a:pt x="418" y="144"/>
                      <a:pt x="418" y="144"/>
                    </a:cubicBezTo>
                    <a:cubicBezTo>
                      <a:pt x="418" y="144"/>
                      <a:pt x="419" y="153"/>
                      <a:pt x="418" y="160"/>
                    </a:cubicBezTo>
                    <a:cubicBezTo>
                      <a:pt x="417" y="167"/>
                      <a:pt x="406" y="164"/>
                      <a:pt x="406" y="164"/>
                    </a:cubicBezTo>
                    <a:cubicBezTo>
                      <a:pt x="402" y="171"/>
                      <a:pt x="402" y="171"/>
                      <a:pt x="402" y="171"/>
                    </a:cubicBezTo>
                    <a:cubicBezTo>
                      <a:pt x="395" y="168"/>
                      <a:pt x="395" y="168"/>
                      <a:pt x="395" y="168"/>
                    </a:cubicBezTo>
                    <a:cubicBezTo>
                      <a:pt x="384" y="167"/>
                      <a:pt x="384" y="167"/>
                      <a:pt x="384" y="167"/>
                    </a:cubicBezTo>
                    <a:cubicBezTo>
                      <a:pt x="384" y="167"/>
                      <a:pt x="377" y="159"/>
                      <a:pt x="373" y="160"/>
                    </a:cubicBezTo>
                    <a:cubicBezTo>
                      <a:pt x="369" y="161"/>
                      <a:pt x="369" y="166"/>
                      <a:pt x="370" y="171"/>
                    </a:cubicBezTo>
                    <a:cubicBezTo>
                      <a:pt x="371" y="176"/>
                      <a:pt x="386" y="180"/>
                      <a:pt x="386" y="180"/>
                    </a:cubicBezTo>
                    <a:cubicBezTo>
                      <a:pt x="386" y="180"/>
                      <a:pt x="386" y="184"/>
                      <a:pt x="388" y="191"/>
                    </a:cubicBezTo>
                    <a:cubicBezTo>
                      <a:pt x="390" y="198"/>
                      <a:pt x="401" y="197"/>
                      <a:pt x="401" y="197"/>
                    </a:cubicBezTo>
                    <a:cubicBezTo>
                      <a:pt x="381" y="211"/>
                      <a:pt x="381" y="211"/>
                      <a:pt x="381" y="211"/>
                    </a:cubicBezTo>
                    <a:cubicBezTo>
                      <a:pt x="381" y="211"/>
                      <a:pt x="368" y="210"/>
                      <a:pt x="364" y="213"/>
                    </a:cubicBezTo>
                    <a:cubicBezTo>
                      <a:pt x="360" y="216"/>
                      <a:pt x="363" y="238"/>
                      <a:pt x="363" y="238"/>
                    </a:cubicBezTo>
                    <a:cubicBezTo>
                      <a:pt x="363" y="238"/>
                      <a:pt x="357" y="235"/>
                      <a:pt x="356" y="247"/>
                    </a:cubicBezTo>
                    <a:cubicBezTo>
                      <a:pt x="355" y="259"/>
                      <a:pt x="364" y="277"/>
                      <a:pt x="364" y="277"/>
                    </a:cubicBezTo>
                    <a:cubicBezTo>
                      <a:pt x="364" y="277"/>
                      <a:pt x="361" y="286"/>
                      <a:pt x="348" y="293"/>
                    </a:cubicBezTo>
                    <a:cubicBezTo>
                      <a:pt x="335" y="300"/>
                      <a:pt x="338" y="281"/>
                      <a:pt x="338" y="281"/>
                    </a:cubicBezTo>
                    <a:cubicBezTo>
                      <a:pt x="338" y="281"/>
                      <a:pt x="328" y="283"/>
                      <a:pt x="320" y="283"/>
                    </a:cubicBezTo>
                    <a:cubicBezTo>
                      <a:pt x="312" y="283"/>
                      <a:pt x="305" y="289"/>
                      <a:pt x="305" y="289"/>
                    </a:cubicBezTo>
                    <a:cubicBezTo>
                      <a:pt x="305" y="289"/>
                      <a:pt x="291" y="293"/>
                      <a:pt x="287" y="298"/>
                    </a:cubicBezTo>
                    <a:cubicBezTo>
                      <a:pt x="283" y="303"/>
                      <a:pt x="300" y="305"/>
                      <a:pt x="298" y="311"/>
                    </a:cubicBezTo>
                    <a:cubicBezTo>
                      <a:pt x="296" y="317"/>
                      <a:pt x="266" y="312"/>
                      <a:pt x="266" y="312"/>
                    </a:cubicBezTo>
                    <a:cubicBezTo>
                      <a:pt x="266" y="312"/>
                      <a:pt x="270" y="306"/>
                      <a:pt x="262" y="306"/>
                    </a:cubicBezTo>
                    <a:cubicBezTo>
                      <a:pt x="254" y="306"/>
                      <a:pt x="239" y="319"/>
                      <a:pt x="237" y="325"/>
                    </a:cubicBezTo>
                    <a:cubicBezTo>
                      <a:pt x="235" y="331"/>
                      <a:pt x="242" y="355"/>
                      <a:pt x="242" y="355"/>
                    </a:cubicBezTo>
                    <a:cubicBezTo>
                      <a:pt x="242" y="355"/>
                      <a:pt x="248" y="375"/>
                      <a:pt x="246" y="381"/>
                    </a:cubicBezTo>
                    <a:cubicBezTo>
                      <a:pt x="244" y="387"/>
                      <a:pt x="205" y="400"/>
                      <a:pt x="202" y="401"/>
                    </a:cubicBezTo>
                    <a:cubicBezTo>
                      <a:pt x="199" y="402"/>
                      <a:pt x="157" y="404"/>
                      <a:pt x="157" y="404"/>
                    </a:cubicBezTo>
                    <a:cubicBezTo>
                      <a:pt x="157" y="404"/>
                      <a:pt x="156" y="410"/>
                      <a:pt x="144" y="410"/>
                    </a:cubicBezTo>
                    <a:cubicBezTo>
                      <a:pt x="132" y="410"/>
                      <a:pt x="135" y="406"/>
                      <a:pt x="135" y="406"/>
                    </a:cubicBezTo>
                    <a:cubicBezTo>
                      <a:pt x="100" y="405"/>
                      <a:pt x="100" y="405"/>
                      <a:pt x="100" y="405"/>
                    </a:cubicBezTo>
                    <a:cubicBezTo>
                      <a:pt x="100" y="405"/>
                      <a:pt x="102" y="410"/>
                      <a:pt x="81" y="412"/>
                    </a:cubicBezTo>
                    <a:cubicBezTo>
                      <a:pt x="60" y="414"/>
                      <a:pt x="30" y="396"/>
                      <a:pt x="21" y="391"/>
                    </a:cubicBezTo>
                    <a:cubicBezTo>
                      <a:pt x="12" y="386"/>
                      <a:pt x="0" y="389"/>
                      <a:pt x="0" y="389"/>
                    </a:cubicBezTo>
                    <a:cubicBezTo>
                      <a:pt x="0" y="389"/>
                      <a:pt x="20" y="408"/>
                      <a:pt x="26" y="419"/>
                    </a:cubicBezTo>
                    <a:cubicBezTo>
                      <a:pt x="32" y="430"/>
                      <a:pt x="46" y="450"/>
                      <a:pt x="54" y="460"/>
                    </a:cubicBezTo>
                    <a:cubicBezTo>
                      <a:pt x="62" y="470"/>
                      <a:pt x="77" y="462"/>
                      <a:pt x="77" y="462"/>
                    </a:cubicBezTo>
                    <a:cubicBezTo>
                      <a:pt x="86" y="473"/>
                      <a:pt x="86" y="473"/>
                      <a:pt x="86" y="473"/>
                    </a:cubicBezTo>
                    <a:cubicBezTo>
                      <a:pt x="99" y="472"/>
                      <a:pt x="99" y="472"/>
                      <a:pt x="99" y="472"/>
                    </a:cubicBezTo>
                    <a:cubicBezTo>
                      <a:pt x="98" y="492"/>
                      <a:pt x="98" y="492"/>
                      <a:pt x="98" y="492"/>
                    </a:cubicBezTo>
                    <a:cubicBezTo>
                      <a:pt x="101" y="494"/>
                      <a:pt x="101" y="494"/>
                      <a:pt x="101" y="494"/>
                    </a:cubicBezTo>
                    <a:cubicBezTo>
                      <a:pt x="101" y="494"/>
                      <a:pt x="100" y="517"/>
                      <a:pt x="103" y="524"/>
                    </a:cubicBezTo>
                    <a:cubicBezTo>
                      <a:pt x="106" y="531"/>
                      <a:pt x="112" y="518"/>
                      <a:pt x="120" y="529"/>
                    </a:cubicBezTo>
                    <a:cubicBezTo>
                      <a:pt x="128" y="540"/>
                      <a:pt x="129" y="556"/>
                      <a:pt x="125" y="561"/>
                    </a:cubicBezTo>
                    <a:cubicBezTo>
                      <a:pt x="121" y="566"/>
                      <a:pt x="119" y="553"/>
                      <a:pt x="101" y="559"/>
                    </a:cubicBezTo>
                    <a:cubicBezTo>
                      <a:pt x="83" y="565"/>
                      <a:pt x="89" y="569"/>
                      <a:pt x="85" y="575"/>
                    </a:cubicBezTo>
                    <a:cubicBezTo>
                      <a:pt x="81" y="581"/>
                      <a:pt x="72" y="579"/>
                      <a:pt x="72" y="579"/>
                    </a:cubicBezTo>
                    <a:cubicBezTo>
                      <a:pt x="70" y="590"/>
                      <a:pt x="70" y="590"/>
                      <a:pt x="70" y="590"/>
                    </a:cubicBezTo>
                    <a:cubicBezTo>
                      <a:pt x="70" y="590"/>
                      <a:pt x="66" y="597"/>
                      <a:pt x="60" y="600"/>
                    </a:cubicBezTo>
                    <a:cubicBezTo>
                      <a:pt x="55" y="602"/>
                      <a:pt x="59" y="630"/>
                      <a:pt x="60" y="637"/>
                    </a:cubicBezTo>
                    <a:cubicBezTo>
                      <a:pt x="70" y="633"/>
                      <a:pt x="78" y="628"/>
                      <a:pt x="78" y="628"/>
                    </a:cubicBezTo>
                    <a:cubicBezTo>
                      <a:pt x="78" y="628"/>
                      <a:pt x="100" y="635"/>
                      <a:pt x="110" y="635"/>
                    </a:cubicBezTo>
                    <a:cubicBezTo>
                      <a:pt x="120" y="636"/>
                      <a:pt x="149" y="620"/>
                      <a:pt x="149" y="620"/>
                    </a:cubicBezTo>
                    <a:cubicBezTo>
                      <a:pt x="149" y="620"/>
                      <a:pt x="165" y="628"/>
                      <a:pt x="175" y="626"/>
                    </a:cubicBezTo>
                    <a:cubicBezTo>
                      <a:pt x="186" y="624"/>
                      <a:pt x="208" y="615"/>
                      <a:pt x="208" y="615"/>
                    </a:cubicBezTo>
                    <a:cubicBezTo>
                      <a:pt x="234" y="622"/>
                      <a:pt x="234" y="622"/>
                      <a:pt x="234" y="622"/>
                    </a:cubicBezTo>
                    <a:cubicBezTo>
                      <a:pt x="234" y="622"/>
                      <a:pt x="249" y="601"/>
                      <a:pt x="267" y="613"/>
                    </a:cubicBezTo>
                    <a:cubicBezTo>
                      <a:pt x="284" y="624"/>
                      <a:pt x="285" y="659"/>
                      <a:pt x="299" y="662"/>
                    </a:cubicBezTo>
                    <a:cubicBezTo>
                      <a:pt x="313" y="665"/>
                      <a:pt x="339" y="665"/>
                      <a:pt x="348" y="674"/>
                    </a:cubicBezTo>
                    <a:cubicBezTo>
                      <a:pt x="358" y="683"/>
                      <a:pt x="359" y="704"/>
                      <a:pt x="370" y="705"/>
                    </a:cubicBezTo>
                    <a:cubicBezTo>
                      <a:pt x="373" y="705"/>
                      <a:pt x="377" y="705"/>
                      <a:pt x="381" y="705"/>
                    </a:cubicBezTo>
                    <a:cubicBezTo>
                      <a:pt x="394" y="700"/>
                      <a:pt x="394" y="700"/>
                      <a:pt x="394" y="700"/>
                    </a:cubicBezTo>
                    <a:cubicBezTo>
                      <a:pt x="394" y="700"/>
                      <a:pt x="385" y="684"/>
                      <a:pt x="396" y="683"/>
                    </a:cubicBezTo>
                    <a:cubicBezTo>
                      <a:pt x="407" y="682"/>
                      <a:pt x="416" y="689"/>
                      <a:pt x="416" y="689"/>
                    </a:cubicBezTo>
                    <a:cubicBezTo>
                      <a:pt x="433" y="683"/>
                      <a:pt x="433" y="683"/>
                      <a:pt x="433" y="683"/>
                    </a:cubicBezTo>
                    <a:cubicBezTo>
                      <a:pt x="433" y="683"/>
                      <a:pt x="430" y="691"/>
                      <a:pt x="444" y="691"/>
                    </a:cubicBezTo>
                    <a:cubicBezTo>
                      <a:pt x="458" y="691"/>
                      <a:pt x="456" y="681"/>
                      <a:pt x="467" y="679"/>
                    </a:cubicBezTo>
                    <a:cubicBezTo>
                      <a:pt x="478" y="677"/>
                      <a:pt x="468" y="688"/>
                      <a:pt x="479" y="688"/>
                    </a:cubicBezTo>
                    <a:cubicBezTo>
                      <a:pt x="490" y="688"/>
                      <a:pt x="499" y="687"/>
                      <a:pt x="501" y="678"/>
                    </a:cubicBezTo>
                    <a:cubicBezTo>
                      <a:pt x="503" y="669"/>
                      <a:pt x="492" y="654"/>
                      <a:pt x="492" y="654"/>
                    </a:cubicBezTo>
                    <a:cubicBezTo>
                      <a:pt x="478" y="626"/>
                      <a:pt x="478" y="626"/>
                      <a:pt x="478" y="626"/>
                    </a:cubicBezTo>
                    <a:cubicBezTo>
                      <a:pt x="478" y="611"/>
                      <a:pt x="478" y="611"/>
                      <a:pt x="478" y="611"/>
                    </a:cubicBezTo>
                    <a:cubicBezTo>
                      <a:pt x="478" y="611"/>
                      <a:pt x="462" y="611"/>
                      <a:pt x="455" y="604"/>
                    </a:cubicBezTo>
                    <a:cubicBezTo>
                      <a:pt x="448" y="597"/>
                      <a:pt x="446" y="589"/>
                      <a:pt x="446" y="589"/>
                    </a:cubicBezTo>
                    <a:cubicBezTo>
                      <a:pt x="448" y="569"/>
                      <a:pt x="448" y="569"/>
                      <a:pt x="448" y="569"/>
                    </a:cubicBezTo>
                    <a:cubicBezTo>
                      <a:pt x="447" y="559"/>
                      <a:pt x="447" y="559"/>
                      <a:pt x="447" y="559"/>
                    </a:cubicBezTo>
                    <a:cubicBezTo>
                      <a:pt x="429" y="561"/>
                      <a:pt x="429" y="561"/>
                      <a:pt x="429" y="561"/>
                    </a:cubicBezTo>
                    <a:cubicBezTo>
                      <a:pt x="429" y="561"/>
                      <a:pt x="414" y="563"/>
                      <a:pt x="414" y="546"/>
                    </a:cubicBezTo>
                    <a:cubicBezTo>
                      <a:pt x="414" y="529"/>
                      <a:pt x="415" y="529"/>
                      <a:pt x="423" y="522"/>
                    </a:cubicBezTo>
                    <a:cubicBezTo>
                      <a:pt x="431" y="515"/>
                      <a:pt x="438" y="503"/>
                      <a:pt x="438" y="503"/>
                    </a:cubicBezTo>
                    <a:cubicBezTo>
                      <a:pt x="438" y="503"/>
                      <a:pt x="437" y="489"/>
                      <a:pt x="451" y="487"/>
                    </a:cubicBezTo>
                    <a:cubicBezTo>
                      <a:pt x="465" y="485"/>
                      <a:pt x="457" y="502"/>
                      <a:pt x="470" y="500"/>
                    </a:cubicBezTo>
                    <a:cubicBezTo>
                      <a:pt x="483" y="498"/>
                      <a:pt x="488" y="490"/>
                      <a:pt x="488" y="490"/>
                    </a:cubicBezTo>
                    <a:cubicBezTo>
                      <a:pt x="488" y="490"/>
                      <a:pt x="503" y="498"/>
                      <a:pt x="510" y="490"/>
                    </a:cubicBezTo>
                    <a:cubicBezTo>
                      <a:pt x="517" y="482"/>
                      <a:pt x="518" y="472"/>
                      <a:pt x="518" y="472"/>
                    </a:cubicBezTo>
                    <a:cubicBezTo>
                      <a:pt x="527" y="467"/>
                      <a:pt x="527" y="467"/>
                      <a:pt x="527" y="467"/>
                    </a:cubicBezTo>
                    <a:cubicBezTo>
                      <a:pt x="527" y="467"/>
                      <a:pt x="528" y="447"/>
                      <a:pt x="532" y="444"/>
                    </a:cubicBezTo>
                    <a:cubicBezTo>
                      <a:pt x="536" y="441"/>
                      <a:pt x="552" y="438"/>
                      <a:pt x="560" y="425"/>
                    </a:cubicBezTo>
                    <a:cubicBezTo>
                      <a:pt x="568" y="412"/>
                      <a:pt x="565" y="394"/>
                      <a:pt x="569" y="385"/>
                    </a:cubicBezTo>
                    <a:cubicBezTo>
                      <a:pt x="573" y="376"/>
                      <a:pt x="592" y="375"/>
                      <a:pt x="592" y="375"/>
                    </a:cubicBezTo>
                    <a:cubicBezTo>
                      <a:pt x="581" y="358"/>
                      <a:pt x="581" y="358"/>
                      <a:pt x="581" y="358"/>
                    </a:cubicBezTo>
                    <a:cubicBezTo>
                      <a:pt x="598" y="334"/>
                      <a:pt x="598" y="334"/>
                      <a:pt x="598" y="334"/>
                    </a:cubicBezTo>
                    <a:cubicBezTo>
                      <a:pt x="616" y="321"/>
                      <a:pt x="616" y="321"/>
                      <a:pt x="616" y="321"/>
                    </a:cubicBezTo>
                    <a:cubicBezTo>
                      <a:pt x="616" y="321"/>
                      <a:pt x="604" y="301"/>
                      <a:pt x="604" y="297"/>
                    </a:cubicBezTo>
                    <a:cubicBezTo>
                      <a:pt x="604" y="293"/>
                      <a:pt x="601" y="279"/>
                      <a:pt x="605" y="277"/>
                    </a:cubicBezTo>
                    <a:cubicBezTo>
                      <a:pt x="609" y="275"/>
                      <a:pt x="638" y="271"/>
                      <a:pt x="637" y="262"/>
                    </a:cubicBezTo>
                    <a:cubicBezTo>
                      <a:pt x="636" y="253"/>
                      <a:pt x="624" y="248"/>
                      <a:pt x="624" y="248"/>
                    </a:cubicBezTo>
                    <a:cubicBezTo>
                      <a:pt x="600" y="249"/>
                      <a:pt x="600" y="249"/>
                      <a:pt x="600" y="249"/>
                    </a:cubicBezTo>
                    <a:cubicBezTo>
                      <a:pt x="597" y="226"/>
                      <a:pt x="597" y="226"/>
                      <a:pt x="597" y="226"/>
                    </a:cubicBezTo>
                    <a:cubicBezTo>
                      <a:pt x="583" y="225"/>
                      <a:pt x="583" y="225"/>
                      <a:pt x="583" y="225"/>
                    </a:cubicBezTo>
                    <a:cubicBezTo>
                      <a:pt x="575" y="215"/>
                      <a:pt x="575" y="215"/>
                      <a:pt x="575" y="215"/>
                    </a:cubicBezTo>
                    <a:cubicBezTo>
                      <a:pt x="575" y="215"/>
                      <a:pt x="564" y="218"/>
                      <a:pt x="565" y="210"/>
                    </a:cubicBezTo>
                    <a:cubicBezTo>
                      <a:pt x="566" y="202"/>
                      <a:pt x="567" y="194"/>
                      <a:pt x="567" y="194"/>
                    </a:cubicBezTo>
                    <a:cubicBezTo>
                      <a:pt x="567" y="194"/>
                      <a:pt x="553" y="193"/>
                      <a:pt x="556" y="183"/>
                    </a:cubicBezTo>
                    <a:cubicBezTo>
                      <a:pt x="559" y="173"/>
                      <a:pt x="568" y="165"/>
                      <a:pt x="568" y="165"/>
                    </a:cubicBezTo>
                    <a:cubicBezTo>
                      <a:pt x="548" y="161"/>
                      <a:pt x="548" y="161"/>
                      <a:pt x="548" y="161"/>
                    </a:cubicBezTo>
                    <a:cubicBezTo>
                      <a:pt x="552" y="152"/>
                      <a:pt x="552" y="152"/>
                      <a:pt x="552" y="152"/>
                    </a:cubicBezTo>
                    <a:cubicBezTo>
                      <a:pt x="537" y="142"/>
                      <a:pt x="537" y="142"/>
                      <a:pt x="537" y="142"/>
                    </a:cubicBezTo>
                    <a:cubicBezTo>
                      <a:pt x="537" y="142"/>
                      <a:pt x="535" y="126"/>
                      <a:pt x="557" y="123"/>
                    </a:cubicBezTo>
                    <a:cubicBezTo>
                      <a:pt x="579" y="120"/>
                      <a:pt x="608" y="126"/>
                      <a:pt x="608" y="126"/>
                    </a:cubicBezTo>
                    <a:cubicBezTo>
                      <a:pt x="608" y="126"/>
                      <a:pt x="611" y="138"/>
                      <a:pt x="618" y="137"/>
                    </a:cubicBezTo>
                    <a:cubicBezTo>
                      <a:pt x="625" y="136"/>
                      <a:pt x="643" y="123"/>
                      <a:pt x="643" y="123"/>
                    </a:cubicBezTo>
                    <a:cubicBezTo>
                      <a:pt x="647" y="127"/>
                      <a:pt x="647" y="127"/>
                      <a:pt x="647" y="127"/>
                    </a:cubicBezTo>
                    <a:cubicBezTo>
                      <a:pt x="653" y="122"/>
                      <a:pt x="653" y="122"/>
                      <a:pt x="653" y="122"/>
                    </a:cubicBezTo>
                    <a:cubicBezTo>
                      <a:pt x="653" y="122"/>
                      <a:pt x="664" y="123"/>
                      <a:pt x="667" y="122"/>
                    </a:cubicBezTo>
                    <a:cubicBezTo>
                      <a:pt x="670" y="121"/>
                      <a:pt x="670" y="110"/>
                      <a:pt x="670" y="110"/>
                    </a:cubicBezTo>
                    <a:cubicBezTo>
                      <a:pt x="685" y="104"/>
                      <a:pt x="685" y="104"/>
                      <a:pt x="685" y="104"/>
                    </a:cubicBezTo>
                    <a:cubicBezTo>
                      <a:pt x="700" y="82"/>
                      <a:pt x="700" y="82"/>
                      <a:pt x="700" y="82"/>
                    </a:cubicBezTo>
                    <a:cubicBezTo>
                      <a:pt x="701" y="82"/>
                      <a:pt x="701" y="82"/>
                      <a:pt x="701" y="82"/>
                    </a:cubicBezTo>
                    <a:cubicBezTo>
                      <a:pt x="692" y="82"/>
                      <a:pt x="680" y="81"/>
                      <a:pt x="671" y="8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6" name="MCShape 48">
                <a:extLst>
                  <a:ext uri="{FF2B5EF4-FFF2-40B4-BE49-F238E27FC236}">
                    <a16:creationId xmlns:a16="http://schemas.microsoft.com/office/drawing/2014/main" id="{441C00C0-2E97-43D1-A87F-02196CC1C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2413" y="3028339"/>
                <a:ext cx="267585" cy="261399"/>
              </a:xfrm>
              <a:custGeom>
                <a:avLst/>
                <a:gdLst>
                  <a:gd name="T0" fmla="*/ 448 w 454"/>
                  <a:gd name="T1" fmla="*/ 378 h 442"/>
                  <a:gd name="T2" fmla="*/ 432 w 454"/>
                  <a:gd name="T3" fmla="*/ 365 h 442"/>
                  <a:gd name="T4" fmla="*/ 428 w 454"/>
                  <a:gd name="T5" fmla="*/ 346 h 442"/>
                  <a:gd name="T6" fmla="*/ 415 w 454"/>
                  <a:gd name="T7" fmla="*/ 340 h 442"/>
                  <a:gd name="T8" fmla="*/ 415 w 454"/>
                  <a:gd name="T9" fmla="*/ 295 h 442"/>
                  <a:gd name="T10" fmla="*/ 393 w 454"/>
                  <a:gd name="T11" fmla="*/ 270 h 442"/>
                  <a:gd name="T12" fmla="*/ 380 w 454"/>
                  <a:gd name="T13" fmla="*/ 258 h 442"/>
                  <a:gd name="T14" fmla="*/ 348 w 454"/>
                  <a:gd name="T15" fmla="*/ 240 h 442"/>
                  <a:gd name="T16" fmla="*/ 335 w 454"/>
                  <a:gd name="T17" fmla="*/ 239 h 442"/>
                  <a:gd name="T18" fmla="*/ 335 w 454"/>
                  <a:gd name="T19" fmla="*/ 212 h 442"/>
                  <a:gd name="T20" fmla="*/ 291 w 454"/>
                  <a:gd name="T21" fmla="*/ 182 h 442"/>
                  <a:gd name="T22" fmla="*/ 299 w 454"/>
                  <a:gd name="T23" fmla="*/ 168 h 442"/>
                  <a:gd name="T24" fmla="*/ 291 w 454"/>
                  <a:gd name="T25" fmla="*/ 154 h 442"/>
                  <a:gd name="T26" fmla="*/ 305 w 454"/>
                  <a:gd name="T27" fmla="*/ 148 h 442"/>
                  <a:gd name="T28" fmla="*/ 304 w 454"/>
                  <a:gd name="T29" fmla="*/ 135 h 442"/>
                  <a:gd name="T30" fmla="*/ 305 w 454"/>
                  <a:gd name="T31" fmla="*/ 126 h 442"/>
                  <a:gd name="T32" fmla="*/ 318 w 454"/>
                  <a:gd name="T33" fmla="*/ 118 h 442"/>
                  <a:gd name="T34" fmla="*/ 307 w 454"/>
                  <a:gd name="T35" fmla="*/ 97 h 442"/>
                  <a:gd name="T36" fmla="*/ 318 w 454"/>
                  <a:gd name="T37" fmla="*/ 80 h 442"/>
                  <a:gd name="T38" fmla="*/ 299 w 454"/>
                  <a:gd name="T39" fmla="*/ 85 h 442"/>
                  <a:gd name="T40" fmla="*/ 288 w 454"/>
                  <a:gd name="T41" fmla="*/ 73 h 442"/>
                  <a:gd name="T42" fmla="*/ 274 w 454"/>
                  <a:gd name="T43" fmla="*/ 71 h 442"/>
                  <a:gd name="T44" fmla="*/ 265 w 454"/>
                  <a:gd name="T45" fmla="*/ 50 h 442"/>
                  <a:gd name="T46" fmla="*/ 249 w 454"/>
                  <a:gd name="T47" fmla="*/ 8 h 442"/>
                  <a:gd name="T48" fmla="*/ 222 w 454"/>
                  <a:gd name="T49" fmla="*/ 19 h 442"/>
                  <a:gd name="T50" fmla="*/ 210 w 454"/>
                  <a:gd name="T51" fmla="*/ 1 h 442"/>
                  <a:gd name="T52" fmla="*/ 196 w 454"/>
                  <a:gd name="T53" fmla="*/ 10 h 442"/>
                  <a:gd name="T54" fmla="*/ 179 w 454"/>
                  <a:gd name="T55" fmla="*/ 1 h 442"/>
                  <a:gd name="T56" fmla="*/ 153 w 454"/>
                  <a:gd name="T57" fmla="*/ 1 h 442"/>
                  <a:gd name="T58" fmla="*/ 142 w 454"/>
                  <a:gd name="T59" fmla="*/ 17 h 442"/>
                  <a:gd name="T60" fmla="*/ 140 w 454"/>
                  <a:gd name="T61" fmla="*/ 17 h 442"/>
                  <a:gd name="T62" fmla="*/ 124 w 454"/>
                  <a:gd name="T63" fmla="*/ 37 h 442"/>
                  <a:gd name="T64" fmla="*/ 92 w 454"/>
                  <a:gd name="T65" fmla="*/ 53 h 442"/>
                  <a:gd name="T66" fmla="*/ 103 w 454"/>
                  <a:gd name="T67" fmla="*/ 75 h 442"/>
                  <a:gd name="T68" fmla="*/ 107 w 454"/>
                  <a:gd name="T69" fmla="*/ 110 h 442"/>
                  <a:gd name="T70" fmla="*/ 98 w 454"/>
                  <a:gd name="T71" fmla="*/ 129 h 442"/>
                  <a:gd name="T72" fmla="*/ 104 w 454"/>
                  <a:gd name="T73" fmla="*/ 154 h 442"/>
                  <a:gd name="T74" fmla="*/ 43 w 454"/>
                  <a:gd name="T75" fmla="*/ 181 h 442"/>
                  <a:gd name="T76" fmla="*/ 0 w 454"/>
                  <a:gd name="T77" fmla="*/ 216 h 442"/>
                  <a:gd name="T78" fmla="*/ 0 w 454"/>
                  <a:gd name="T79" fmla="*/ 216 h 442"/>
                  <a:gd name="T80" fmla="*/ 12 w 454"/>
                  <a:gd name="T81" fmla="*/ 246 h 442"/>
                  <a:gd name="T82" fmla="*/ 12 w 454"/>
                  <a:gd name="T83" fmla="*/ 260 h 442"/>
                  <a:gd name="T84" fmla="*/ 29 w 454"/>
                  <a:gd name="T85" fmla="*/ 269 h 442"/>
                  <a:gd name="T86" fmla="*/ 28 w 454"/>
                  <a:gd name="T87" fmla="*/ 278 h 442"/>
                  <a:gd name="T88" fmla="*/ 44 w 454"/>
                  <a:gd name="T89" fmla="*/ 287 h 442"/>
                  <a:gd name="T90" fmla="*/ 78 w 454"/>
                  <a:gd name="T91" fmla="*/ 287 h 442"/>
                  <a:gd name="T92" fmla="*/ 127 w 454"/>
                  <a:gd name="T93" fmla="*/ 321 h 442"/>
                  <a:gd name="T94" fmla="*/ 160 w 454"/>
                  <a:gd name="T95" fmla="*/ 341 h 442"/>
                  <a:gd name="T96" fmla="*/ 288 w 454"/>
                  <a:gd name="T97" fmla="*/ 438 h 442"/>
                  <a:gd name="T98" fmla="*/ 376 w 454"/>
                  <a:gd name="T99" fmla="*/ 442 h 442"/>
                  <a:gd name="T100" fmla="*/ 376 w 454"/>
                  <a:gd name="T101" fmla="*/ 442 h 442"/>
                  <a:gd name="T102" fmla="*/ 387 w 454"/>
                  <a:gd name="T103" fmla="*/ 422 h 442"/>
                  <a:gd name="T104" fmla="*/ 396 w 454"/>
                  <a:gd name="T105" fmla="*/ 395 h 442"/>
                  <a:gd name="T106" fmla="*/ 411 w 454"/>
                  <a:gd name="T107" fmla="*/ 393 h 442"/>
                  <a:gd name="T108" fmla="*/ 431 w 454"/>
                  <a:gd name="T109" fmla="*/ 393 h 442"/>
                  <a:gd name="T110" fmla="*/ 433 w 454"/>
                  <a:gd name="T111" fmla="*/ 398 h 442"/>
                  <a:gd name="T112" fmla="*/ 451 w 454"/>
                  <a:gd name="T113" fmla="*/ 392 h 442"/>
                  <a:gd name="T114" fmla="*/ 454 w 454"/>
                  <a:gd name="T115" fmla="*/ 387 h 442"/>
                  <a:gd name="T116" fmla="*/ 448 w 454"/>
                  <a:gd name="T117" fmla="*/ 378 h 44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54"/>
                  <a:gd name="T178" fmla="*/ 0 h 442"/>
                  <a:gd name="T179" fmla="*/ 454 w 454"/>
                  <a:gd name="T180" fmla="*/ 442 h 44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54" h="442">
                    <a:moveTo>
                      <a:pt x="448" y="378"/>
                    </a:moveTo>
                    <a:cubicBezTo>
                      <a:pt x="447" y="369"/>
                      <a:pt x="432" y="365"/>
                      <a:pt x="432" y="365"/>
                    </a:cubicBezTo>
                    <a:cubicBezTo>
                      <a:pt x="428" y="346"/>
                      <a:pt x="428" y="346"/>
                      <a:pt x="428" y="346"/>
                    </a:cubicBezTo>
                    <a:cubicBezTo>
                      <a:pt x="428" y="346"/>
                      <a:pt x="423" y="346"/>
                      <a:pt x="415" y="340"/>
                    </a:cubicBezTo>
                    <a:cubicBezTo>
                      <a:pt x="407" y="334"/>
                      <a:pt x="415" y="295"/>
                      <a:pt x="415" y="295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1" y="258"/>
                      <a:pt x="380" y="258"/>
                    </a:cubicBezTo>
                    <a:cubicBezTo>
                      <a:pt x="369" y="258"/>
                      <a:pt x="348" y="240"/>
                      <a:pt x="348" y="240"/>
                    </a:cubicBezTo>
                    <a:cubicBezTo>
                      <a:pt x="335" y="239"/>
                      <a:pt x="335" y="239"/>
                      <a:pt x="335" y="239"/>
                    </a:cubicBezTo>
                    <a:cubicBezTo>
                      <a:pt x="335" y="212"/>
                      <a:pt x="335" y="212"/>
                      <a:pt x="335" y="212"/>
                    </a:cubicBezTo>
                    <a:cubicBezTo>
                      <a:pt x="335" y="212"/>
                      <a:pt x="293" y="191"/>
                      <a:pt x="291" y="182"/>
                    </a:cubicBezTo>
                    <a:cubicBezTo>
                      <a:pt x="289" y="173"/>
                      <a:pt x="299" y="168"/>
                      <a:pt x="299" y="168"/>
                    </a:cubicBezTo>
                    <a:cubicBezTo>
                      <a:pt x="299" y="168"/>
                      <a:pt x="290" y="161"/>
                      <a:pt x="291" y="154"/>
                    </a:cubicBezTo>
                    <a:cubicBezTo>
                      <a:pt x="292" y="147"/>
                      <a:pt x="305" y="148"/>
                      <a:pt x="305" y="148"/>
                    </a:cubicBezTo>
                    <a:cubicBezTo>
                      <a:pt x="304" y="135"/>
                      <a:pt x="304" y="135"/>
                      <a:pt x="304" y="135"/>
                    </a:cubicBezTo>
                    <a:cubicBezTo>
                      <a:pt x="305" y="126"/>
                      <a:pt x="305" y="126"/>
                      <a:pt x="305" y="126"/>
                    </a:cubicBezTo>
                    <a:cubicBezTo>
                      <a:pt x="305" y="126"/>
                      <a:pt x="315" y="126"/>
                      <a:pt x="318" y="118"/>
                    </a:cubicBezTo>
                    <a:cubicBezTo>
                      <a:pt x="321" y="110"/>
                      <a:pt x="307" y="101"/>
                      <a:pt x="307" y="97"/>
                    </a:cubicBezTo>
                    <a:cubicBezTo>
                      <a:pt x="307" y="93"/>
                      <a:pt x="323" y="84"/>
                      <a:pt x="318" y="80"/>
                    </a:cubicBezTo>
                    <a:cubicBezTo>
                      <a:pt x="313" y="76"/>
                      <a:pt x="299" y="85"/>
                      <a:pt x="299" y="85"/>
                    </a:cubicBezTo>
                    <a:cubicBezTo>
                      <a:pt x="288" y="73"/>
                      <a:pt x="288" y="73"/>
                      <a:pt x="288" y="73"/>
                    </a:cubicBezTo>
                    <a:cubicBezTo>
                      <a:pt x="274" y="71"/>
                      <a:pt x="274" y="71"/>
                      <a:pt x="274" y="71"/>
                    </a:cubicBezTo>
                    <a:cubicBezTo>
                      <a:pt x="274" y="71"/>
                      <a:pt x="277" y="61"/>
                      <a:pt x="265" y="50"/>
                    </a:cubicBezTo>
                    <a:cubicBezTo>
                      <a:pt x="256" y="42"/>
                      <a:pt x="251" y="19"/>
                      <a:pt x="249" y="8"/>
                    </a:cubicBezTo>
                    <a:cubicBezTo>
                      <a:pt x="222" y="19"/>
                      <a:pt x="222" y="19"/>
                      <a:pt x="222" y="19"/>
                    </a:cubicBezTo>
                    <a:cubicBezTo>
                      <a:pt x="222" y="19"/>
                      <a:pt x="224" y="2"/>
                      <a:pt x="210" y="1"/>
                    </a:cubicBezTo>
                    <a:cubicBezTo>
                      <a:pt x="196" y="0"/>
                      <a:pt x="204" y="8"/>
                      <a:pt x="196" y="10"/>
                    </a:cubicBezTo>
                    <a:cubicBezTo>
                      <a:pt x="188" y="12"/>
                      <a:pt x="179" y="1"/>
                      <a:pt x="179" y="1"/>
                    </a:cubicBezTo>
                    <a:cubicBezTo>
                      <a:pt x="153" y="1"/>
                      <a:pt x="153" y="1"/>
                      <a:pt x="153" y="1"/>
                    </a:cubicBezTo>
                    <a:cubicBezTo>
                      <a:pt x="153" y="1"/>
                      <a:pt x="154" y="14"/>
                      <a:pt x="142" y="17"/>
                    </a:cubicBezTo>
                    <a:cubicBezTo>
                      <a:pt x="141" y="17"/>
                      <a:pt x="141" y="17"/>
                      <a:pt x="140" y="17"/>
                    </a:cubicBezTo>
                    <a:cubicBezTo>
                      <a:pt x="138" y="24"/>
                      <a:pt x="133" y="33"/>
                      <a:pt x="124" y="37"/>
                    </a:cubicBezTo>
                    <a:cubicBezTo>
                      <a:pt x="108" y="44"/>
                      <a:pt x="96" y="39"/>
                      <a:pt x="92" y="53"/>
                    </a:cubicBezTo>
                    <a:cubicBezTo>
                      <a:pt x="88" y="67"/>
                      <a:pt x="103" y="75"/>
                      <a:pt x="103" y="75"/>
                    </a:cubicBezTo>
                    <a:cubicBezTo>
                      <a:pt x="103" y="75"/>
                      <a:pt x="111" y="105"/>
                      <a:pt x="107" y="110"/>
                    </a:cubicBezTo>
                    <a:cubicBezTo>
                      <a:pt x="103" y="115"/>
                      <a:pt x="97" y="122"/>
                      <a:pt x="98" y="129"/>
                    </a:cubicBezTo>
                    <a:cubicBezTo>
                      <a:pt x="99" y="136"/>
                      <a:pt x="116" y="145"/>
                      <a:pt x="104" y="154"/>
                    </a:cubicBezTo>
                    <a:cubicBezTo>
                      <a:pt x="92" y="163"/>
                      <a:pt x="43" y="181"/>
                      <a:pt x="43" y="181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12" y="246"/>
                      <a:pt x="12" y="246"/>
                      <a:pt x="12" y="246"/>
                    </a:cubicBezTo>
                    <a:cubicBezTo>
                      <a:pt x="12" y="260"/>
                      <a:pt x="12" y="260"/>
                      <a:pt x="12" y="260"/>
                    </a:cubicBezTo>
                    <a:cubicBezTo>
                      <a:pt x="29" y="269"/>
                      <a:pt x="29" y="269"/>
                      <a:pt x="29" y="269"/>
                    </a:cubicBezTo>
                    <a:cubicBezTo>
                      <a:pt x="28" y="278"/>
                      <a:pt x="28" y="278"/>
                      <a:pt x="28" y="278"/>
                    </a:cubicBezTo>
                    <a:cubicBezTo>
                      <a:pt x="28" y="278"/>
                      <a:pt x="35" y="288"/>
                      <a:pt x="44" y="287"/>
                    </a:cubicBezTo>
                    <a:cubicBezTo>
                      <a:pt x="53" y="286"/>
                      <a:pt x="78" y="287"/>
                      <a:pt x="78" y="287"/>
                    </a:cubicBezTo>
                    <a:cubicBezTo>
                      <a:pt x="78" y="287"/>
                      <a:pt x="115" y="315"/>
                      <a:pt x="127" y="321"/>
                    </a:cubicBezTo>
                    <a:cubicBezTo>
                      <a:pt x="139" y="327"/>
                      <a:pt x="160" y="341"/>
                      <a:pt x="160" y="341"/>
                    </a:cubicBezTo>
                    <a:cubicBezTo>
                      <a:pt x="288" y="438"/>
                      <a:pt x="288" y="438"/>
                      <a:pt x="288" y="438"/>
                    </a:cubicBezTo>
                    <a:cubicBezTo>
                      <a:pt x="288" y="438"/>
                      <a:pt x="339" y="439"/>
                      <a:pt x="376" y="442"/>
                    </a:cubicBezTo>
                    <a:cubicBezTo>
                      <a:pt x="376" y="442"/>
                      <a:pt x="376" y="442"/>
                      <a:pt x="376" y="442"/>
                    </a:cubicBezTo>
                    <a:cubicBezTo>
                      <a:pt x="379" y="438"/>
                      <a:pt x="386" y="431"/>
                      <a:pt x="387" y="422"/>
                    </a:cubicBezTo>
                    <a:cubicBezTo>
                      <a:pt x="389" y="410"/>
                      <a:pt x="396" y="395"/>
                      <a:pt x="396" y="395"/>
                    </a:cubicBezTo>
                    <a:cubicBezTo>
                      <a:pt x="411" y="393"/>
                      <a:pt x="411" y="393"/>
                      <a:pt x="411" y="393"/>
                    </a:cubicBezTo>
                    <a:cubicBezTo>
                      <a:pt x="431" y="393"/>
                      <a:pt x="431" y="393"/>
                      <a:pt x="431" y="393"/>
                    </a:cubicBezTo>
                    <a:cubicBezTo>
                      <a:pt x="433" y="398"/>
                      <a:pt x="433" y="398"/>
                      <a:pt x="433" y="398"/>
                    </a:cubicBezTo>
                    <a:cubicBezTo>
                      <a:pt x="451" y="392"/>
                      <a:pt x="451" y="392"/>
                      <a:pt x="451" y="392"/>
                    </a:cubicBezTo>
                    <a:cubicBezTo>
                      <a:pt x="454" y="387"/>
                      <a:pt x="454" y="387"/>
                      <a:pt x="454" y="387"/>
                    </a:cubicBezTo>
                    <a:cubicBezTo>
                      <a:pt x="451" y="384"/>
                      <a:pt x="448" y="381"/>
                      <a:pt x="448" y="37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7" name="MCShape 49">
                <a:extLst>
                  <a:ext uri="{FF2B5EF4-FFF2-40B4-BE49-F238E27FC236}">
                    <a16:creationId xmlns:a16="http://schemas.microsoft.com/office/drawing/2014/main" id="{7F77F3D6-B041-45CA-A581-7450539B5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596" y="3260350"/>
                <a:ext cx="52589" cy="47949"/>
              </a:xfrm>
              <a:custGeom>
                <a:avLst/>
                <a:gdLst>
                  <a:gd name="T0" fmla="*/ 35 w 89"/>
                  <a:gd name="T1" fmla="*/ 0 h 81"/>
                  <a:gd name="T2" fmla="*/ 20 w 89"/>
                  <a:gd name="T3" fmla="*/ 2 h 81"/>
                  <a:gd name="T4" fmla="*/ 11 w 89"/>
                  <a:gd name="T5" fmla="*/ 29 h 81"/>
                  <a:gd name="T6" fmla="*/ 0 w 89"/>
                  <a:gd name="T7" fmla="*/ 49 h 81"/>
                  <a:gd name="T8" fmla="*/ 40 w 89"/>
                  <a:gd name="T9" fmla="*/ 55 h 81"/>
                  <a:gd name="T10" fmla="*/ 50 w 89"/>
                  <a:gd name="T11" fmla="*/ 81 h 81"/>
                  <a:gd name="T12" fmla="*/ 89 w 89"/>
                  <a:gd name="T13" fmla="*/ 80 h 81"/>
                  <a:gd name="T14" fmla="*/ 64 w 89"/>
                  <a:gd name="T15" fmla="*/ 47 h 81"/>
                  <a:gd name="T16" fmla="*/ 64 w 89"/>
                  <a:gd name="T17" fmla="*/ 46 h 81"/>
                  <a:gd name="T18" fmla="*/ 56 w 89"/>
                  <a:gd name="T19" fmla="*/ 41 h 81"/>
                  <a:gd name="T20" fmla="*/ 55 w 89"/>
                  <a:gd name="T21" fmla="*/ 27 h 81"/>
                  <a:gd name="T22" fmla="*/ 73 w 89"/>
                  <a:gd name="T23" fmla="*/ 25 h 81"/>
                  <a:gd name="T24" fmla="*/ 77 w 89"/>
                  <a:gd name="T25" fmla="*/ 16 h 81"/>
                  <a:gd name="T26" fmla="*/ 68 w 89"/>
                  <a:gd name="T27" fmla="*/ 8 h 81"/>
                  <a:gd name="T28" fmla="*/ 59 w 89"/>
                  <a:gd name="T29" fmla="*/ 13 h 81"/>
                  <a:gd name="T30" fmla="*/ 55 w 89"/>
                  <a:gd name="T31" fmla="*/ 0 h 81"/>
                  <a:gd name="T32" fmla="*/ 35 w 89"/>
                  <a:gd name="T33" fmla="*/ 0 h 8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9"/>
                  <a:gd name="T52" fmla="*/ 0 h 81"/>
                  <a:gd name="T53" fmla="*/ 89 w 89"/>
                  <a:gd name="T54" fmla="*/ 81 h 8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9" h="81">
                    <a:moveTo>
                      <a:pt x="35" y="0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3" y="17"/>
                      <a:pt x="11" y="29"/>
                    </a:cubicBezTo>
                    <a:cubicBezTo>
                      <a:pt x="10" y="38"/>
                      <a:pt x="3" y="45"/>
                      <a:pt x="0" y="49"/>
                    </a:cubicBezTo>
                    <a:cubicBezTo>
                      <a:pt x="21" y="50"/>
                      <a:pt x="38" y="52"/>
                      <a:pt x="40" y="55"/>
                    </a:cubicBezTo>
                    <a:cubicBezTo>
                      <a:pt x="46" y="62"/>
                      <a:pt x="36" y="80"/>
                      <a:pt x="50" y="81"/>
                    </a:cubicBezTo>
                    <a:cubicBezTo>
                      <a:pt x="58" y="81"/>
                      <a:pt x="76" y="81"/>
                      <a:pt x="89" y="80"/>
                    </a:cubicBezTo>
                    <a:cubicBezTo>
                      <a:pt x="79" y="72"/>
                      <a:pt x="63" y="58"/>
                      <a:pt x="64" y="47"/>
                    </a:cubicBezTo>
                    <a:cubicBezTo>
                      <a:pt x="64" y="47"/>
                      <a:pt x="64" y="47"/>
                      <a:pt x="64" y="46"/>
                    </a:cubicBezTo>
                    <a:cubicBezTo>
                      <a:pt x="56" y="41"/>
                      <a:pt x="56" y="41"/>
                      <a:pt x="56" y="41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5" y="27"/>
                      <a:pt x="69" y="25"/>
                      <a:pt x="73" y="25"/>
                    </a:cubicBezTo>
                    <a:cubicBezTo>
                      <a:pt x="77" y="25"/>
                      <a:pt x="77" y="16"/>
                      <a:pt x="77" y="16"/>
                    </a:cubicBezTo>
                    <a:cubicBezTo>
                      <a:pt x="77" y="16"/>
                      <a:pt x="77" y="8"/>
                      <a:pt x="68" y="8"/>
                    </a:cubicBezTo>
                    <a:cubicBezTo>
                      <a:pt x="59" y="8"/>
                      <a:pt x="59" y="13"/>
                      <a:pt x="59" y="13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8" name="MCShape 50">
                <a:extLst>
                  <a:ext uri="{FF2B5EF4-FFF2-40B4-BE49-F238E27FC236}">
                    <a16:creationId xmlns:a16="http://schemas.microsoft.com/office/drawing/2014/main" id="{4F4DED7F-42BC-49BA-836C-232FE965A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6871" y="2951002"/>
                <a:ext cx="566106" cy="465568"/>
              </a:xfrm>
              <a:custGeom>
                <a:avLst/>
                <a:gdLst>
                  <a:gd name="T0" fmla="*/ 900 w 959"/>
                  <a:gd name="T1" fmla="*/ 739 h 789"/>
                  <a:gd name="T2" fmla="*/ 931 w 959"/>
                  <a:gd name="T3" fmla="*/ 708 h 789"/>
                  <a:gd name="T4" fmla="*/ 933 w 959"/>
                  <a:gd name="T5" fmla="*/ 673 h 789"/>
                  <a:gd name="T6" fmla="*/ 929 w 959"/>
                  <a:gd name="T7" fmla="*/ 621 h 789"/>
                  <a:gd name="T8" fmla="*/ 884 w 959"/>
                  <a:gd name="T9" fmla="*/ 609 h 789"/>
                  <a:gd name="T10" fmla="*/ 825 w 959"/>
                  <a:gd name="T11" fmla="*/ 533 h 789"/>
                  <a:gd name="T12" fmla="*/ 839 w 959"/>
                  <a:gd name="T13" fmla="*/ 453 h 789"/>
                  <a:gd name="T14" fmla="*/ 784 w 959"/>
                  <a:gd name="T15" fmla="*/ 364 h 789"/>
                  <a:gd name="T16" fmla="*/ 780 w 959"/>
                  <a:gd name="T17" fmla="*/ 315 h 789"/>
                  <a:gd name="T18" fmla="*/ 784 w 959"/>
                  <a:gd name="T19" fmla="*/ 280 h 789"/>
                  <a:gd name="T20" fmla="*/ 799 w 959"/>
                  <a:gd name="T21" fmla="*/ 225 h 789"/>
                  <a:gd name="T22" fmla="*/ 786 w 959"/>
                  <a:gd name="T23" fmla="*/ 189 h 789"/>
                  <a:gd name="T24" fmla="*/ 723 w 959"/>
                  <a:gd name="T25" fmla="*/ 149 h 789"/>
                  <a:gd name="T26" fmla="*/ 648 w 959"/>
                  <a:gd name="T27" fmla="*/ 116 h 789"/>
                  <a:gd name="T28" fmla="*/ 602 w 959"/>
                  <a:gd name="T29" fmla="*/ 103 h 789"/>
                  <a:gd name="T30" fmla="*/ 556 w 959"/>
                  <a:gd name="T31" fmla="*/ 85 h 789"/>
                  <a:gd name="T32" fmla="*/ 487 w 959"/>
                  <a:gd name="T33" fmla="*/ 115 h 789"/>
                  <a:gd name="T34" fmla="*/ 452 w 959"/>
                  <a:gd name="T35" fmla="*/ 133 h 789"/>
                  <a:gd name="T36" fmla="*/ 399 w 959"/>
                  <a:gd name="T37" fmla="*/ 164 h 789"/>
                  <a:gd name="T38" fmla="*/ 309 w 959"/>
                  <a:gd name="T39" fmla="*/ 155 h 789"/>
                  <a:gd name="T40" fmla="*/ 233 w 959"/>
                  <a:gd name="T41" fmla="*/ 110 h 789"/>
                  <a:gd name="T42" fmla="*/ 199 w 959"/>
                  <a:gd name="T43" fmla="*/ 69 h 789"/>
                  <a:gd name="T44" fmla="*/ 181 w 959"/>
                  <a:gd name="T45" fmla="*/ 33 h 789"/>
                  <a:gd name="T46" fmla="*/ 128 w 959"/>
                  <a:gd name="T47" fmla="*/ 35 h 789"/>
                  <a:gd name="T48" fmla="*/ 45 w 959"/>
                  <a:gd name="T49" fmla="*/ 30 h 789"/>
                  <a:gd name="T50" fmla="*/ 0 w 959"/>
                  <a:gd name="T51" fmla="*/ 24 h 789"/>
                  <a:gd name="T52" fmla="*/ 24 w 959"/>
                  <a:gd name="T53" fmla="*/ 78 h 789"/>
                  <a:gd name="T54" fmla="*/ 37 w 959"/>
                  <a:gd name="T55" fmla="*/ 129 h 789"/>
                  <a:gd name="T56" fmla="*/ 79 w 959"/>
                  <a:gd name="T57" fmla="*/ 203 h 789"/>
                  <a:gd name="T58" fmla="*/ 123 w 959"/>
                  <a:gd name="T59" fmla="*/ 212 h 789"/>
                  <a:gd name="T60" fmla="*/ 110 w 959"/>
                  <a:gd name="T61" fmla="*/ 258 h 789"/>
                  <a:gd name="T62" fmla="*/ 96 w 959"/>
                  <a:gd name="T63" fmla="*/ 286 h 789"/>
                  <a:gd name="T64" fmla="*/ 140 w 959"/>
                  <a:gd name="T65" fmla="*/ 344 h 789"/>
                  <a:gd name="T66" fmla="*/ 185 w 959"/>
                  <a:gd name="T67" fmla="*/ 390 h 789"/>
                  <a:gd name="T68" fmla="*/ 220 w 959"/>
                  <a:gd name="T69" fmla="*/ 472 h 789"/>
                  <a:gd name="T70" fmla="*/ 253 w 959"/>
                  <a:gd name="T71" fmla="*/ 510 h 789"/>
                  <a:gd name="T72" fmla="*/ 298 w 959"/>
                  <a:gd name="T73" fmla="*/ 516 h 789"/>
                  <a:gd name="T74" fmla="*/ 316 w 959"/>
                  <a:gd name="T75" fmla="*/ 524 h 789"/>
                  <a:gd name="T76" fmla="*/ 338 w 959"/>
                  <a:gd name="T77" fmla="*/ 541 h 789"/>
                  <a:gd name="T78" fmla="*/ 371 w 959"/>
                  <a:gd name="T79" fmla="*/ 583 h 789"/>
                  <a:gd name="T80" fmla="*/ 387 w 959"/>
                  <a:gd name="T81" fmla="*/ 600 h 789"/>
                  <a:gd name="T82" fmla="*/ 431 w 959"/>
                  <a:gd name="T83" fmla="*/ 644 h 789"/>
                  <a:gd name="T84" fmla="*/ 526 w 959"/>
                  <a:gd name="T85" fmla="*/ 703 h 789"/>
                  <a:gd name="T86" fmla="*/ 565 w 959"/>
                  <a:gd name="T87" fmla="*/ 715 h 789"/>
                  <a:gd name="T88" fmla="*/ 606 w 959"/>
                  <a:gd name="T89" fmla="*/ 691 h 789"/>
                  <a:gd name="T90" fmla="*/ 641 w 959"/>
                  <a:gd name="T91" fmla="*/ 682 h 789"/>
                  <a:gd name="T92" fmla="*/ 718 w 959"/>
                  <a:gd name="T93" fmla="*/ 752 h 789"/>
                  <a:gd name="T94" fmla="*/ 805 w 959"/>
                  <a:gd name="T95" fmla="*/ 781 h 789"/>
                  <a:gd name="T96" fmla="*/ 889 w 959"/>
                  <a:gd name="T97" fmla="*/ 786 h 78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59"/>
                  <a:gd name="T148" fmla="*/ 0 h 789"/>
                  <a:gd name="T149" fmla="*/ 959 w 959"/>
                  <a:gd name="T150" fmla="*/ 789 h 78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59" h="789">
                    <a:moveTo>
                      <a:pt x="890" y="786"/>
                    </a:moveTo>
                    <a:cubicBezTo>
                      <a:pt x="889" y="779"/>
                      <a:pt x="885" y="751"/>
                      <a:pt x="890" y="749"/>
                    </a:cubicBezTo>
                    <a:cubicBezTo>
                      <a:pt x="896" y="746"/>
                      <a:pt x="900" y="739"/>
                      <a:pt x="900" y="739"/>
                    </a:cubicBezTo>
                    <a:cubicBezTo>
                      <a:pt x="902" y="728"/>
                      <a:pt x="902" y="728"/>
                      <a:pt x="902" y="728"/>
                    </a:cubicBezTo>
                    <a:cubicBezTo>
                      <a:pt x="902" y="728"/>
                      <a:pt x="911" y="730"/>
                      <a:pt x="915" y="724"/>
                    </a:cubicBezTo>
                    <a:cubicBezTo>
                      <a:pt x="919" y="718"/>
                      <a:pt x="913" y="714"/>
                      <a:pt x="931" y="708"/>
                    </a:cubicBezTo>
                    <a:cubicBezTo>
                      <a:pt x="949" y="702"/>
                      <a:pt x="951" y="715"/>
                      <a:pt x="955" y="710"/>
                    </a:cubicBezTo>
                    <a:cubicBezTo>
                      <a:pt x="959" y="705"/>
                      <a:pt x="958" y="689"/>
                      <a:pt x="950" y="678"/>
                    </a:cubicBezTo>
                    <a:cubicBezTo>
                      <a:pt x="942" y="667"/>
                      <a:pt x="936" y="680"/>
                      <a:pt x="933" y="673"/>
                    </a:cubicBezTo>
                    <a:cubicBezTo>
                      <a:pt x="930" y="666"/>
                      <a:pt x="931" y="643"/>
                      <a:pt x="931" y="643"/>
                    </a:cubicBezTo>
                    <a:cubicBezTo>
                      <a:pt x="928" y="641"/>
                      <a:pt x="928" y="641"/>
                      <a:pt x="928" y="641"/>
                    </a:cubicBezTo>
                    <a:cubicBezTo>
                      <a:pt x="929" y="621"/>
                      <a:pt x="929" y="621"/>
                      <a:pt x="929" y="621"/>
                    </a:cubicBezTo>
                    <a:cubicBezTo>
                      <a:pt x="916" y="622"/>
                      <a:pt x="916" y="622"/>
                      <a:pt x="916" y="622"/>
                    </a:cubicBezTo>
                    <a:cubicBezTo>
                      <a:pt x="907" y="611"/>
                      <a:pt x="907" y="611"/>
                      <a:pt x="907" y="611"/>
                    </a:cubicBezTo>
                    <a:cubicBezTo>
                      <a:pt x="907" y="611"/>
                      <a:pt x="892" y="619"/>
                      <a:pt x="884" y="609"/>
                    </a:cubicBezTo>
                    <a:cubicBezTo>
                      <a:pt x="876" y="599"/>
                      <a:pt x="862" y="579"/>
                      <a:pt x="856" y="568"/>
                    </a:cubicBezTo>
                    <a:cubicBezTo>
                      <a:pt x="850" y="557"/>
                      <a:pt x="830" y="538"/>
                      <a:pt x="830" y="538"/>
                    </a:cubicBezTo>
                    <a:cubicBezTo>
                      <a:pt x="830" y="538"/>
                      <a:pt x="825" y="537"/>
                      <a:pt x="825" y="533"/>
                    </a:cubicBezTo>
                    <a:cubicBezTo>
                      <a:pt x="825" y="529"/>
                      <a:pt x="841" y="515"/>
                      <a:pt x="848" y="505"/>
                    </a:cubicBezTo>
                    <a:cubicBezTo>
                      <a:pt x="855" y="495"/>
                      <a:pt x="866" y="482"/>
                      <a:pt x="860" y="465"/>
                    </a:cubicBezTo>
                    <a:cubicBezTo>
                      <a:pt x="854" y="448"/>
                      <a:pt x="839" y="453"/>
                      <a:pt x="839" y="453"/>
                    </a:cubicBezTo>
                    <a:cubicBezTo>
                      <a:pt x="839" y="453"/>
                      <a:pt x="809" y="453"/>
                      <a:pt x="809" y="445"/>
                    </a:cubicBezTo>
                    <a:cubicBezTo>
                      <a:pt x="809" y="437"/>
                      <a:pt x="809" y="423"/>
                      <a:pt x="809" y="412"/>
                    </a:cubicBezTo>
                    <a:cubicBezTo>
                      <a:pt x="809" y="401"/>
                      <a:pt x="782" y="377"/>
                      <a:pt x="784" y="364"/>
                    </a:cubicBezTo>
                    <a:cubicBezTo>
                      <a:pt x="786" y="351"/>
                      <a:pt x="801" y="343"/>
                      <a:pt x="800" y="337"/>
                    </a:cubicBezTo>
                    <a:cubicBezTo>
                      <a:pt x="799" y="331"/>
                      <a:pt x="778" y="334"/>
                      <a:pt x="778" y="334"/>
                    </a:cubicBezTo>
                    <a:cubicBezTo>
                      <a:pt x="780" y="315"/>
                      <a:pt x="780" y="315"/>
                      <a:pt x="780" y="315"/>
                    </a:cubicBezTo>
                    <a:cubicBezTo>
                      <a:pt x="780" y="315"/>
                      <a:pt x="769" y="306"/>
                      <a:pt x="772" y="301"/>
                    </a:cubicBezTo>
                    <a:cubicBezTo>
                      <a:pt x="775" y="296"/>
                      <a:pt x="789" y="291"/>
                      <a:pt x="789" y="291"/>
                    </a:cubicBezTo>
                    <a:cubicBezTo>
                      <a:pt x="784" y="280"/>
                      <a:pt x="784" y="280"/>
                      <a:pt x="784" y="280"/>
                    </a:cubicBezTo>
                    <a:cubicBezTo>
                      <a:pt x="798" y="276"/>
                      <a:pt x="798" y="276"/>
                      <a:pt x="798" y="276"/>
                    </a:cubicBezTo>
                    <a:cubicBezTo>
                      <a:pt x="798" y="276"/>
                      <a:pt x="791" y="246"/>
                      <a:pt x="792" y="239"/>
                    </a:cubicBezTo>
                    <a:cubicBezTo>
                      <a:pt x="793" y="232"/>
                      <a:pt x="799" y="225"/>
                      <a:pt x="799" y="225"/>
                    </a:cubicBezTo>
                    <a:cubicBezTo>
                      <a:pt x="792" y="207"/>
                      <a:pt x="792" y="207"/>
                      <a:pt x="792" y="207"/>
                    </a:cubicBezTo>
                    <a:cubicBezTo>
                      <a:pt x="793" y="192"/>
                      <a:pt x="793" y="192"/>
                      <a:pt x="793" y="192"/>
                    </a:cubicBezTo>
                    <a:cubicBezTo>
                      <a:pt x="786" y="189"/>
                      <a:pt x="786" y="189"/>
                      <a:pt x="786" y="189"/>
                    </a:cubicBezTo>
                    <a:cubicBezTo>
                      <a:pt x="785" y="167"/>
                      <a:pt x="785" y="167"/>
                      <a:pt x="785" y="167"/>
                    </a:cubicBezTo>
                    <a:cubicBezTo>
                      <a:pt x="743" y="169"/>
                      <a:pt x="743" y="169"/>
                      <a:pt x="743" y="169"/>
                    </a:cubicBezTo>
                    <a:cubicBezTo>
                      <a:pt x="743" y="169"/>
                      <a:pt x="729" y="153"/>
                      <a:pt x="723" y="149"/>
                    </a:cubicBezTo>
                    <a:cubicBezTo>
                      <a:pt x="717" y="145"/>
                      <a:pt x="704" y="143"/>
                      <a:pt x="704" y="143"/>
                    </a:cubicBezTo>
                    <a:cubicBezTo>
                      <a:pt x="704" y="143"/>
                      <a:pt x="696" y="125"/>
                      <a:pt x="691" y="121"/>
                    </a:cubicBezTo>
                    <a:cubicBezTo>
                      <a:pt x="686" y="117"/>
                      <a:pt x="648" y="116"/>
                      <a:pt x="648" y="116"/>
                    </a:cubicBezTo>
                    <a:cubicBezTo>
                      <a:pt x="645" y="120"/>
                      <a:pt x="645" y="120"/>
                      <a:pt x="645" y="120"/>
                    </a:cubicBezTo>
                    <a:cubicBezTo>
                      <a:pt x="645" y="120"/>
                      <a:pt x="624" y="103"/>
                      <a:pt x="619" y="103"/>
                    </a:cubicBezTo>
                    <a:cubicBezTo>
                      <a:pt x="614" y="103"/>
                      <a:pt x="602" y="103"/>
                      <a:pt x="602" y="103"/>
                    </a:cubicBezTo>
                    <a:cubicBezTo>
                      <a:pt x="602" y="103"/>
                      <a:pt x="601" y="89"/>
                      <a:pt x="595" y="85"/>
                    </a:cubicBezTo>
                    <a:cubicBezTo>
                      <a:pt x="589" y="81"/>
                      <a:pt x="580" y="86"/>
                      <a:pt x="580" y="86"/>
                    </a:cubicBezTo>
                    <a:cubicBezTo>
                      <a:pt x="580" y="86"/>
                      <a:pt x="559" y="83"/>
                      <a:pt x="556" y="85"/>
                    </a:cubicBezTo>
                    <a:cubicBezTo>
                      <a:pt x="553" y="87"/>
                      <a:pt x="551" y="93"/>
                      <a:pt x="551" y="93"/>
                    </a:cubicBezTo>
                    <a:cubicBezTo>
                      <a:pt x="551" y="93"/>
                      <a:pt x="535" y="88"/>
                      <a:pt x="524" y="90"/>
                    </a:cubicBezTo>
                    <a:cubicBezTo>
                      <a:pt x="513" y="92"/>
                      <a:pt x="487" y="115"/>
                      <a:pt x="487" y="115"/>
                    </a:cubicBezTo>
                    <a:cubicBezTo>
                      <a:pt x="487" y="123"/>
                      <a:pt x="487" y="123"/>
                      <a:pt x="487" y="123"/>
                    </a:cubicBezTo>
                    <a:cubicBezTo>
                      <a:pt x="487" y="123"/>
                      <a:pt x="476" y="132"/>
                      <a:pt x="472" y="133"/>
                    </a:cubicBezTo>
                    <a:cubicBezTo>
                      <a:pt x="468" y="134"/>
                      <a:pt x="452" y="133"/>
                      <a:pt x="452" y="133"/>
                    </a:cubicBezTo>
                    <a:cubicBezTo>
                      <a:pt x="452" y="133"/>
                      <a:pt x="472" y="159"/>
                      <a:pt x="460" y="161"/>
                    </a:cubicBezTo>
                    <a:cubicBezTo>
                      <a:pt x="448" y="163"/>
                      <a:pt x="437" y="156"/>
                      <a:pt x="437" y="156"/>
                    </a:cubicBezTo>
                    <a:cubicBezTo>
                      <a:pt x="437" y="156"/>
                      <a:pt x="412" y="161"/>
                      <a:pt x="399" y="164"/>
                    </a:cubicBezTo>
                    <a:cubicBezTo>
                      <a:pt x="386" y="167"/>
                      <a:pt x="379" y="176"/>
                      <a:pt x="371" y="175"/>
                    </a:cubicBezTo>
                    <a:cubicBezTo>
                      <a:pt x="363" y="174"/>
                      <a:pt x="355" y="165"/>
                      <a:pt x="345" y="165"/>
                    </a:cubicBezTo>
                    <a:cubicBezTo>
                      <a:pt x="335" y="165"/>
                      <a:pt x="323" y="165"/>
                      <a:pt x="309" y="155"/>
                    </a:cubicBezTo>
                    <a:cubicBezTo>
                      <a:pt x="295" y="145"/>
                      <a:pt x="287" y="128"/>
                      <a:pt x="287" y="128"/>
                    </a:cubicBezTo>
                    <a:cubicBezTo>
                      <a:pt x="287" y="128"/>
                      <a:pt x="258" y="125"/>
                      <a:pt x="255" y="125"/>
                    </a:cubicBezTo>
                    <a:cubicBezTo>
                      <a:pt x="252" y="125"/>
                      <a:pt x="240" y="118"/>
                      <a:pt x="233" y="110"/>
                    </a:cubicBezTo>
                    <a:cubicBezTo>
                      <a:pt x="226" y="102"/>
                      <a:pt x="218" y="80"/>
                      <a:pt x="218" y="80"/>
                    </a:cubicBezTo>
                    <a:cubicBezTo>
                      <a:pt x="208" y="78"/>
                      <a:pt x="208" y="78"/>
                      <a:pt x="208" y="78"/>
                    </a:cubicBezTo>
                    <a:cubicBezTo>
                      <a:pt x="208" y="78"/>
                      <a:pt x="205" y="72"/>
                      <a:pt x="199" y="69"/>
                    </a:cubicBezTo>
                    <a:cubicBezTo>
                      <a:pt x="193" y="66"/>
                      <a:pt x="180" y="58"/>
                      <a:pt x="180" y="53"/>
                    </a:cubicBezTo>
                    <a:cubicBezTo>
                      <a:pt x="180" y="48"/>
                      <a:pt x="190" y="52"/>
                      <a:pt x="190" y="46"/>
                    </a:cubicBezTo>
                    <a:cubicBezTo>
                      <a:pt x="190" y="40"/>
                      <a:pt x="181" y="38"/>
                      <a:pt x="181" y="33"/>
                    </a:cubicBezTo>
                    <a:cubicBezTo>
                      <a:pt x="181" y="28"/>
                      <a:pt x="190" y="28"/>
                      <a:pt x="188" y="22"/>
                    </a:cubicBezTo>
                    <a:cubicBezTo>
                      <a:pt x="186" y="16"/>
                      <a:pt x="179" y="4"/>
                      <a:pt x="173" y="4"/>
                    </a:cubicBezTo>
                    <a:cubicBezTo>
                      <a:pt x="167" y="4"/>
                      <a:pt x="131" y="31"/>
                      <a:pt x="128" y="35"/>
                    </a:cubicBezTo>
                    <a:cubicBezTo>
                      <a:pt x="125" y="39"/>
                      <a:pt x="117" y="50"/>
                      <a:pt x="114" y="51"/>
                    </a:cubicBezTo>
                    <a:cubicBezTo>
                      <a:pt x="111" y="52"/>
                      <a:pt x="102" y="52"/>
                      <a:pt x="87" y="52"/>
                    </a:cubicBezTo>
                    <a:cubicBezTo>
                      <a:pt x="72" y="52"/>
                      <a:pt x="55" y="38"/>
                      <a:pt x="45" y="30"/>
                    </a:cubicBezTo>
                    <a:cubicBezTo>
                      <a:pt x="35" y="22"/>
                      <a:pt x="38" y="4"/>
                      <a:pt x="29" y="2"/>
                    </a:cubicBezTo>
                    <a:cubicBezTo>
                      <a:pt x="20" y="0"/>
                      <a:pt x="16" y="22"/>
                      <a:pt x="16" y="2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5"/>
                      <a:pt x="19" y="76"/>
                      <a:pt x="24" y="78"/>
                    </a:cubicBezTo>
                    <a:cubicBezTo>
                      <a:pt x="29" y="80"/>
                      <a:pt x="16" y="99"/>
                      <a:pt x="16" y="99"/>
                    </a:cubicBezTo>
                    <a:cubicBezTo>
                      <a:pt x="37" y="111"/>
                      <a:pt x="37" y="111"/>
                      <a:pt x="37" y="111"/>
                    </a:cubicBezTo>
                    <a:cubicBezTo>
                      <a:pt x="37" y="129"/>
                      <a:pt x="37" y="129"/>
                      <a:pt x="37" y="129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3" y="134"/>
                      <a:pt x="58" y="171"/>
                      <a:pt x="70" y="182"/>
                    </a:cubicBezTo>
                    <a:cubicBezTo>
                      <a:pt x="82" y="193"/>
                      <a:pt x="79" y="203"/>
                      <a:pt x="79" y="203"/>
                    </a:cubicBezTo>
                    <a:cubicBezTo>
                      <a:pt x="93" y="205"/>
                      <a:pt x="93" y="205"/>
                      <a:pt x="93" y="205"/>
                    </a:cubicBezTo>
                    <a:cubicBezTo>
                      <a:pt x="104" y="217"/>
                      <a:pt x="104" y="217"/>
                      <a:pt x="104" y="217"/>
                    </a:cubicBezTo>
                    <a:cubicBezTo>
                      <a:pt x="104" y="217"/>
                      <a:pt x="118" y="208"/>
                      <a:pt x="123" y="212"/>
                    </a:cubicBezTo>
                    <a:cubicBezTo>
                      <a:pt x="128" y="216"/>
                      <a:pt x="112" y="225"/>
                      <a:pt x="112" y="229"/>
                    </a:cubicBezTo>
                    <a:cubicBezTo>
                      <a:pt x="112" y="233"/>
                      <a:pt x="126" y="242"/>
                      <a:pt x="123" y="250"/>
                    </a:cubicBezTo>
                    <a:cubicBezTo>
                      <a:pt x="120" y="258"/>
                      <a:pt x="110" y="258"/>
                      <a:pt x="110" y="258"/>
                    </a:cubicBezTo>
                    <a:cubicBezTo>
                      <a:pt x="109" y="267"/>
                      <a:pt x="109" y="267"/>
                      <a:pt x="109" y="267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10" y="280"/>
                      <a:pt x="97" y="279"/>
                      <a:pt x="96" y="286"/>
                    </a:cubicBezTo>
                    <a:cubicBezTo>
                      <a:pt x="95" y="293"/>
                      <a:pt x="104" y="300"/>
                      <a:pt x="104" y="300"/>
                    </a:cubicBezTo>
                    <a:cubicBezTo>
                      <a:pt x="104" y="300"/>
                      <a:pt x="94" y="305"/>
                      <a:pt x="96" y="314"/>
                    </a:cubicBezTo>
                    <a:cubicBezTo>
                      <a:pt x="98" y="323"/>
                      <a:pt x="140" y="344"/>
                      <a:pt x="140" y="344"/>
                    </a:cubicBezTo>
                    <a:cubicBezTo>
                      <a:pt x="140" y="371"/>
                      <a:pt x="140" y="371"/>
                      <a:pt x="140" y="371"/>
                    </a:cubicBezTo>
                    <a:cubicBezTo>
                      <a:pt x="153" y="372"/>
                      <a:pt x="153" y="372"/>
                      <a:pt x="153" y="372"/>
                    </a:cubicBezTo>
                    <a:cubicBezTo>
                      <a:pt x="153" y="372"/>
                      <a:pt x="174" y="390"/>
                      <a:pt x="185" y="390"/>
                    </a:cubicBezTo>
                    <a:cubicBezTo>
                      <a:pt x="196" y="390"/>
                      <a:pt x="198" y="402"/>
                      <a:pt x="198" y="402"/>
                    </a:cubicBezTo>
                    <a:cubicBezTo>
                      <a:pt x="220" y="427"/>
                      <a:pt x="220" y="427"/>
                      <a:pt x="220" y="427"/>
                    </a:cubicBezTo>
                    <a:cubicBezTo>
                      <a:pt x="220" y="427"/>
                      <a:pt x="212" y="466"/>
                      <a:pt x="220" y="472"/>
                    </a:cubicBezTo>
                    <a:cubicBezTo>
                      <a:pt x="228" y="478"/>
                      <a:pt x="233" y="478"/>
                      <a:pt x="233" y="478"/>
                    </a:cubicBezTo>
                    <a:cubicBezTo>
                      <a:pt x="237" y="497"/>
                      <a:pt x="237" y="497"/>
                      <a:pt x="237" y="497"/>
                    </a:cubicBezTo>
                    <a:cubicBezTo>
                      <a:pt x="237" y="497"/>
                      <a:pt x="252" y="501"/>
                      <a:pt x="253" y="510"/>
                    </a:cubicBezTo>
                    <a:cubicBezTo>
                      <a:pt x="254" y="519"/>
                      <a:pt x="275" y="533"/>
                      <a:pt x="282" y="528"/>
                    </a:cubicBezTo>
                    <a:cubicBezTo>
                      <a:pt x="289" y="523"/>
                      <a:pt x="267" y="512"/>
                      <a:pt x="283" y="505"/>
                    </a:cubicBezTo>
                    <a:cubicBezTo>
                      <a:pt x="299" y="498"/>
                      <a:pt x="298" y="516"/>
                      <a:pt x="298" y="516"/>
                    </a:cubicBezTo>
                    <a:cubicBezTo>
                      <a:pt x="305" y="522"/>
                      <a:pt x="305" y="522"/>
                      <a:pt x="305" y="522"/>
                    </a:cubicBezTo>
                    <a:cubicBezTo>
                      <a:pt x="306" y="521"/>
                      <a:pt x="308" y="521"/>
                      <a:pt x="311" y="522"/>
                    </a:cubicBezTo>
                    <a:cubicBezTo>
                      <a:pt x="313" y="523"/>
                      <a:pt x="314" y="523"/>
                      <a:pt x="316" y="524"/>
                    </a:cubicBezTo>
                    <a:cubicBezTo>
                      <a:pt x="317" y="523"/>
                      <a:pt x="318" y="521"/>
                      <a:pt x="318" y="520"/>
                    </a:cubicBezTo>
                    <a:cubicBezTo>
                      <a:pt x="319" y="516"/>
                      <a:pt x="330" y="513"/>
                      <a:pt x="333" y="515"/>
                    </a:cubicBezTo>
                    <a:cubicBezTo>
                      <a:pt x="336" y="517"/>
                      <a:pt x="331" y="538"/>
                      <a:pt x="338" y="541"/>
                    </a:cubicBezTo>
                    <a:cubicBezTo>
                      <a:pt x="345" y="544"/>
                      <a:pt x="360" y="555"/>
                      <a:pt x="360" y="555"/>
                    </a:cubicBezTo>
                    <a:cubicBezTo>
                      <a:pt x="360" y="555"/>
                      <a:pt x="358" y="560"/>
                      <a:pt x="358" y="565"/>
                    </a:cubicBezTo>
                    <a:cubicBezTo>
                      <a:pt x="363" y="571"/>
                      <a:pt x="368" y="577"/>
                      <a:pt x="371" y="583"/>
                    </a:cubicBezTo>
                    <a:cubicBezTo>
                      <a:pt x="371" y="583"/>
                      <a:pt x="371" y="583"/>
                      <a:pt x="371" y="583"/>
                    </a:cubicBezTo>
                    <a:cubicBezTo>
                      <a:pt x="375" y="585"/>
                      <a:pt x="378" y="587"/>
                      <a:pt x="378" y="587"/>
                    </a:cubicBezTo>
                    <a:cubicBezTo>
                      <a:pt x="387" y="600"/>
                      <a:pt x="387" y="600"/>
                      <a:pt x="387" y="600"/>
                    </a:cubicBezTo>
                    <a:cubicBezTo>
                      <a:pt x="387" y="600"/>
                      <a:pt x="389" y="624"/>
                      <a:pt x="399" y="626"/>
                    </a:cubicBezTo>
                    <a:cubicBezTo>
                      <a:pt x="409" y="628"/>
                      <a:pt x="409" y="644"/>
                      <a:pt x="409" y="644"/>
                    </a:cubicBezTo>
                    <a:cubicBezTo>
                      <a:pt x="431" y="644"/>
                      <a:pt x="431" y="644"/>
                      <a:pt x="431" y="644"/>
                    </a:cubicBezTo>
                    <a:cubicBezTo>
                      <a:pt x="443" y="656"/>
                      <a:pt x="443" y="656"/>
                      <a:pt x="443" y="656"/>
                    </a:cubicBezTo>
                    <a:cubicBezTo>
                      <a:pt x="451" y="654"/>
                      <a:pt x="458" y="652"/>
                      <a:pt x="465" y="656"/>
                    </a:cubicBezTo>
                    <a:cubicBezTo>
                      <a:pt x="475" y="661"/>
                      <a:pt x="504" y="686"/>
                      <a:pt x="526" y="703"/>
                    </a:cubicBezTo>
                    <a:cubicBezTo>
                      <a:pt x="527" y="704"/>
                      <a:pt x="528" y="704"/>
                      <a:pt x="529" y="704"/>
                    </a:cubicBezTo>
                    <a:cubicBezTo>
                      <a:pt x="535" y="704"/>
                      <a:pt x="546" y="706"/>
                      <a:pt x="546" y="706"/>
                    </a:cubicBezTo>
                    <a:cubicBezTo>
                      <a:pt x="546" y="706"/>
                      <a:pt x="549" y="720"/>
                      <a:pt x="565" y="715"/>
                    </a:cubicBezTo>
                    <a:cubicBezTo>
                      <a:pt x="581" y="710"/>
                      <a:pt x="584" y="703"/>
                      <a:pt x="584" y="703"/>
                    </a:cubicBezTo>
                    <a:cubicBezTo>
                      <a:pt x="600" y="705"/>
                      <a:pt x="600" y="705"/>
                      <a:pt x="600" y="705"/>
                    </a:cubicBezTo>
                    <a:cubicBezTo>
                      <a:pt x="606" y="691"/>
                      <a:pt x="606" y="691"/>
                      <a:pt x="606" y="691"/>
                    </a:cubicBezTo>
                    <a:cubicBezTo>
                      <a:pt x="620" y="689"/>
                      <a:pt x="620" y="689"/>
                      <a:pt x="620" y="689"/>
                    </a:cubicBezTo>
                    <a:cubicBezTo>
                      <a:pt x="636" y="674"/>
                      <a:pt x="636" y="674"/>
                      <a:pt x="636" y="674"/>
                    </a:cubicBezTo>
                    <a:cubicBezTo>
                      <a:pt x="641" y="682"/>
                      <a:pt x="641" y="682"/>
                      <a:pt x="641" y="682"/>
                    </a:cubicBezTo>
                    <a:cubicBezTo>
                      <a:pt x="649" y="680"/>
                      <a:pt x="656" y="679"/>
                      <a:pt x="659" y="683"/>
                    </a:cubicBezTo>
                    <a:cubicBezTo>
                      <a:pt x="672" y="694"/>
                      <a:pt x="686" y="717"/>
                      <a:pt x="688" y="735"/>
                    </a:cubicBezTo>
                    <a:cubicBezTo>
                      <a:pt x="690" y="754"/>
                      <a:pt x="718" y="752"/>
                      <a:pt x="718" y="752"/>
                    </a:cubicBezTo>
                    <a:cubicBezTo>
                      <a:pt x="718" y="752"/>
                      <a:pt x="717" y="759"/>
                      <a:pt x="730" y="762"/>
                    </a:cubicBezTo>
                    <a:cubicBezTo>
                      <a:pt x="743" y="765"/>
                      <a:pt x="774" y="761"/>
                      <a:pt x="774" y="761"/>
                    </a:cubicBezTo>
                    <a:cubicBezTo>
                      <a:pt x="774" y="761"/>
                      <a:pt x="800" y="781"/>
                      <a:pt x="805" y="781"/>
                    </a:cubicBezTo>
                    <a:cubicBezTo>
                      <a:pt x="810" y="781"/>
                      <a:pt x="828" y="772"/>
                      <a:pt x="828" y="772"/>
                    </a:cubicBezTo>
                    <a:cubicBezTo>
                      <a:pt x="828" y="772"/>
                      <a:pt x="854" y="788"/>
                      <a:pt x="872" y="789"/>
                    </a:cubicBezTo>
                    <a:cubicBezTo>
                      <a:pt x="878" y="789"/>
                      <a:pt x="884" y="788"/>
                      <a:pt x="889" y="786"/>
                    </a:cubicBezTo>
                    <a:lnTo>
                      <a:pt x="890" y="786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59" name="MCShape 51">
                <a:extLst>
                  <a:ext uri="{FF2B5EF4-FFF2-40B4-BE49-F238E27FC236}">
                    <a16:creationId xmlns:a16="http://schemas.microsoft.com/office/drawing/2014/main" id="{50030ABA-5E50-4071-A202-FAEB86205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1646" y="2913880"/>
                <a:ext cx="219637" cy="139206"/>
              </a:xfrm>
              <a:custGeom>
                <a:avLst/>
                <a:gdLst>
                  <a:gd name="T0" fmla="*/ 345 w 372"/>
                  <a:gd name="T1" fmla="*/ 142 h 238"/>
                  <a:gd name="T2" fmla="*/ 291 w 372"/>
                  <a:gd name="T3" fmla="*/ 132 h 238"/>
                  <a:gd name="T4" fmla="*/ 275 w 372"/>
                  <a:gd name="T5" fmla="*/ 99 h 238"/>
                  <a:gd name="T6" fmla="*/ 266 w 372"/>
                  <a:gd name="T7" fmla="*/ 79 h 238"/>
                  <a:gd name="T8" fmla="*/ 230 w 372"/>
                  <a:gd name="T9" fmla="*/ 87 h 238"/>
                  <a:gd name="T10" fmla="*/ 210 w 372"/>
                  <a:gd name="T11" fmla="*/ 90 h 238"/>
                  <a:gd name="T12" fmla="*/ 176 w 372"/>
                  <a:gd name="T13" fmla="*/ 76 h 238"/>
                  <a:gd name="T14" fmla="*/ 142 w 372"/>
                  <a:gd name="T15" fmla="*/ 77 h 238"/>
                  <a:gd name="T16" fmla="*/ 108 w 372"/>
                  <a:gd name="T17" fmla="*/ 75 h 238"/>
                  <a:gd name="T18" fmla="*/ 76 w 372"/>
                  <a:gd name="T19" fmla="*/ 62 h 238"/>
                  <a:gd name="T20" fmla="*/ 101 w 372"/>
                  <a:gd name="T21" fmla="*/ 43 h 238"/>
                  <a:gd name="T22" fmla="*/ 141 w 372"/>
                  <a:gd name="T23" fmla="*/ 45 h 238"/>
                  <a:gd name="T24" fmla="*/ 133 w 372"/>
                  <a:gd name="T25" fmla="*/ 12 h 238"/>
                  <a:gd name="T26" fmla="*/ 91 w 372"/>
                  <a:gd name="T27" fmla="*/ 21 h 238"/>
                  <a:gd name="T28" fmla="*/ 65 w 372"/>
                  <a:gd name="T29" fmla="*/ 25 h 238"/>
                  <a:gd name="T30" fmla="*/ 46 w 372"/>
                  <a:gd name="T31" fmla="*/ 43 h 238"/>
                  <a:gd name="T32" fmla="*/ 49 w 372"/>
                  <a:gd name="T33" fmla="*/ 66 h 238"/>
                  <a:gd name="T34" fmla="*/ 6 w 372"/>
                  <a:gd name="T35" fmla="*/ 82 h 238"/>
                  <a:gd name="T36" fmla="*/ 14 w 372"/>
                  <a:gd name="T37" fmla="*/ 100 h 238"/>
                  <a:gd name="T38" fmla="*/ 42 w 372"/>
                  <a:gd name="T39" fmla="*/ 114 h 238"/>
                  <a:gd name="T40" fmla="*/ 61 w 372"/>
                  <a:gd name="T41" fmla="*/ 158 h 238"/>
                  <a:gd name="T42" fmla="*/ 42 w 372"/>
                  <a:gd name="T43" fmla="*/ 206 h 238"/>
                  <a:gd name="T44" fmla="*/ 89 w 372"/>
                  <a:gd name="T45" fmla="*/ 199 h 238"/>
                  <a:gd name="T46" fmla="*/ 111 w 372"/>
                  <a:gd name="T47" fmla="*/ 189 h 238"/>
                  <a:gd name="T48" fmla="*/ 145 w 372"/>
                  <a:gd name="T49" fmla="*/ 189 h 238"/>
                  <a:gd name="T50" fmla="*/ 142 w 372"/>
                  <a:gd name="T51" fmla="*/ 168 h 238"/>
                  <a:gd name="T52" fmla="*/ 164 w 372"/>
                  <a:gd name="T53" fmla="*/ 135 h 238"/>
                  <a:gd name="T54" fmla="*/ 184 w 372"/>
                  <a:gd name="T55" fmla="*/ 168 h 238"/>
                  <a:gd name="T56" fmla="*/ 205 w 372"/>
                  <a:gd name="T57" fmla="*/ 210 h 238"/>
                  <a:gd name="T58" fmla="*/ 249 w 372"/>
                  <a:gd name="T59" fmla="*/ 216 h 238"/>
                  <a:gd name="T60" fmla="*/ 273 w 372"/>
                  <a:gd name="T61" fmla="*/ 197 h 238"/>
                  <a:gd name="T62" fmla="*/ 306 w 372"/>
                  <a:gd name="T63" fmla="*/ 202 h 238"/>
                  <a:gd name="T64" fmla="*/ 343 w 372"/>
                  <a:gd name="T65" fmla="*/ 194 h 238"/>
                  <a:gd name="T66" fmla="*/ 364 w 372"/>
                  <a:gd name="T67" fmla="*/ 197 h 23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72"/>
                  <a:gd name="T103" fmla="*/ 0 h 238"/>
                  <a:gd name="T104" fmla="*/ 372 w 372"/>
                  <a:gd name="T105" fmla="*/ 238 h 23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72" h="238">
                    <a:moveTo>
                      <a:pt x="353" y="181"/>
                    </a:moveTo>
                    <a:cubicBezTo>
                      <a:pt x="346" y="174"/>
                      <a:pt x="345" y="152"/>
                      <a:pt x="345" y="142"/>
                    </a:cubicBezTo>
                    <a:cubicBezTo>
                      <a:pt x="345" y="132"/>
                      <a:pt x="333" y="129"/>
                      <a:pt x="319" y="125"/>
                    </a:cubicBezTo>
                    <a:cubicBezTo>
                      <a:pt x="305" y="121"/>
                      <a:pt x="301" y="136"/>
                      <a:pt x="291" y="132"/>
                    </a:cubicBezTo>
                    <a:cubicBezTo>
                      <a:pt x="281" y="128"/>
                      <a:pt x="289" y="110"/>
                      <a:pt x="289" y="103"/>
                    </a:cubicBezTo>
                    <a:cubicBezTo>
                      <a:pt x="289" y="96"/>
                      <a:pt x="275" y="99"/>
                      <a:pt x="275" y="99"/>
                    </a:cubicBezTo>
                    <a:cubicBezTo>
                      <a:pt x="275" y="82"/>
                      <a:pt x="275" y="82"/>
                      <a:pt x="275" y="82"/>
                    </a:cubicBezTo>
                    <a:cubicBezTo>
                      <a:pt x="266" y="79"/>
                      <a:pt x="266" y="79"/>
                      <a:pt x="266" y="79"/>
                    </a:cubicBezTo>
                    <a:cubicBezTo>
                      <a:pt x="258" y="88"/>
                      <a:pt x="258" y="88"/>
                      <a:pt x="258" y="88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87"/>
                      <a:pt x="226" y="90"/>
                      <a:pt x="216" y="93"/>
                    </a:cubicBezTo>
                    <a:cubicBezTo>
                      <a:pt x="206" y="96"/>
                      <a:pt x="210" y="90"/>
                      <a:pt x="210" y="90"/>
                    </a:cubicBezTo>
                    <a:cubicBezTo>
                      <a:pt x="210" y="90"/>
                      <a:pt x="198" y="93"/>
                      <a:pt x="195" y="93"/>
                    </a:cubicBezTo>
                    <a:cubicBezTo>
                      <a:pt x="192" y="93"/>
                      <a:pt x="181" y="75"/>
                      <a:pt x="176" y="76"/>
                    </a:cubicBezTo>
                    <a:cubicBezTo>
                      <a:pt x="171" y="77"/>
                      <a:pt x="160" y="85"/>
                      <a:pt x="154" y="86"/>
                    </a:cubicBezTo>
                    <a:cubicBezTo>
                      <a:pt x="148" y="87"/>
                      <a:pt x="142" y="77"/>
                      <a:pt x="142" y="77"/>
                    </a:cubicBezTo>
                    <a:cubicBezTo>
                      <a:pt x="142" y="77"/>
                      <a:pt x="135" y="76"/>
                      <a:pt x="130" y="78"/>
                    </a:cubicBezTo>
                    <a:cubicBezTo>
                      <a:pt x="125" y="80"/>
                      <a:pt x="108" y="75"/>
                      <a:pt x="108" y="75"/>
                    </a:cubicBezTo>
                    <a:cubicBezTo>
                      <a:pt x="108" y="75"/>
                      <a:pt x="93" y="80"/>
                      <a:pt x="86" y="81"/>
                    </a:cubicBezTo>
                    <a:cubicBezTo>
                      <a:pt x="79" y="82"/>
                      <a:pt x="76" y="62"/>
                      <a:pt x="76" y="62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85" y="59"/>
                      <a:pt x="88" y="44"/>
                      <a:pt x="101" y="43"/>
                    </a:cubicBezTo>
                    <a:cubicBezTo>
                      <a:pt x="114" y="42"/>
                      <a:pt x="124" y="52"/>
                      <a:pt x="131" y="56"/>
                    </a:cubicBezTo>
                    <a:cubicBezTo>
                      <a:pt x="138" y="60"/>
                      <a:pt x="140" y="49"/>
                      <a:pt x="141" y="45"/>
                    </a:cubicBezTo>
                    <a:cubicBezTo>
                      <a:pt x="142" y="41"/>
                      <a:pt x="117" y="33"/>
                      <a:pt x="117" y="33"/>
                    </a:cubicBezTo>
                    <a:cubicBezTo>
                      <a:pt x="133" y="12"/>
                      <a:pt x="133" y="12"/>
                      <a:pt x="133" y="12"/>
                    </a:cubicBezTo>
                    <a:cubicBezTo>
                      <a:pt x="133" y="12"/>
                      <a:pt x="118" y="0"/>
                      <a:pt x="114" y="2"/>
                    </a:cubicBezTo>
                    <a:cubicBezTo>
                      <a:pt x="110" y="4"/>
                      <a:pt x="99" y="16"/>
                      <a:pt x="91" y="21"/>
                    </a:cubicBezTo>
                    <a:cubicBezTo>
                      <a:pt x="83" y="26"/>
                      <a:pt x="80" y="12"/>
                      <a:pt x="74" y="12"/>
                    </a:cubicBezTo>
                    <a:cubicBezTo>
                      <a:pt x="68" y="12"/>
                      <a:pt x="66" y="21"/>
                      <a:pt x="65" y="25"/>
                    </a:cubicBezTo>
                    <a:cubicBezTo>
                      <a:pt x="64" y="29"/>
                      <a:pt x="77" y="36"/>
                      <a:pt x="71" y="42"/>
                    </a:cubicBezTo>
                    <a:cubicBezTo>
                      <a:pt x="65" y="48"/>
                      <a:pt x="46" y="43"/>
                      <a:pt x="46" y="43"/>
                    </a:cubicBezTo>
                    <a:cubicBezTo>
                      <a:pt x="59" y="57"/>
                      <a:pt x="59" y="57"/>
                      <a:pt x="59" y="57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61" y="71"/>
                      <a:pt x="46" y="80"/>
                    </a:cubicBezTo>
                    <a:cubicBezTo>
                      <a:pt x="31" y="89"/>
                      <a:pt x="12" y="77"/>
                      <a:pt x="6" y="82"/>
                    </a:cubicBezTo>
                    <a:cubicBezTo>
                      <a:pt x="0" y="87"/>
                      <a:pt x="0" y="97"/>
                      <a:pt x="0" y="97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1" y="108"/>
                      <a:pt x="21" y="108"/>
                      <a:pt x="21" y="108"/>
                    </a:cubicBezTo>
                    <a:cubicBezTo>
                      <a:pt x="21" y="108"/>
                      <a:pt x="37" y="109"/>
                      <a:pt x="42" y="114"/>
                    </a:cubicBezTo>
                    <a:cubicBezTo>
                      <a:pt x="47" y="119"/>
                      <a:pt x="36" y="128"/>
                      <a:pt x="42" y="138"/>
                    </a:cubicBezTo>
                    <a:cubicBezTo>
                      <a:pt x="48" y="148"/>
                      <a:pt x="61" y="147"/>
                      <a:pt x="61" y="158"/>
                    </a:cubicBezTo>
                    <a:cubicBezTo>
                      <a:pt x="61" y="169"/>
                      <a:pt x="51" y="179"/>
                      <a:pt x="44" y="187"/>
                    </a:cubicBezTo>
                    <a:cubicBezTo>
                      <a:pt x="40" y="191"/>
                      <a:pt x="41" y="200"/>
                      <a:pt x="42" y="206"/>
                    </a:cubicBezTo>
                    <a:cubicBezTo>
                      <a:pt x="48" y="211"/>
                      <a:pt x="56" y="217"/>
                      <a:pt x="58" y="218"/>
                    </a:cubicBezTo>
                    <a:cubicBezTo>
                      <a:pt x="61" y="219"/>
                      <a:pt x="86" y="199"/>
                      <a:pt x="89" y="199"/>
                    </a:cubicBezTo>
                    <a:cubicBezTo>
                      <a:pt x="92" y="199"/>
                      <a:pt x="103" y="216"/>
                      <a:pt x="107" y="214"/>
                    </a:cubicBezTo>
                    <a:cubicBezTo>
                      <a:pt x="111" y="212"/>
                      <a:pt x="106" y="194"/>
                      <a:pt x="111" y="189"/>
                    </a:cubicBezTo>
                    <a:cubicBezTo>
                      <a:pt x="116" y="184"/>
                      <a:pt x="138" y="183"/>
                      <a:pt x="138" y="183"/>
                    </a:cubicBezTo>
                    <a:cubicBezTo>
                      <a:pt x="145" y="189"/>
                      <a:pt x="145" y="189"/>
                      <a:pt x="145" y="189"/>
                    </a:cubicBezTo>
                    <a:cubicBezTo>
                      <a:pt x="150" y="175"/>
                      <a:pt x="150" y="175"/>
                      <a:pt x="150" y="175"/>
                    </a:cubicBezTo>
                    <a:cubicBezTo>
                      <a:pt x="150" y="175"/>
                      <a:pt x="142" y="175"/>
                      <a:pt x="142" y="168"/>
                    </a:cubicBezTo>
                    <a:cubicBezTo>
                      <a:pt x="142" y="161"/>
                      <a:pt x="156" y="158"/>
                      <a:pt x="156" y="154"/>
                    </a:cubicBezTo>
                    <a:cubicBezTo>
                      <a:pt x="156" y="150"/>
                      <a:pt x="155" y="135"/>
                      <a:pt x="164" y="135"/>
                    </a:cubicBezTo>
                    <a:cubicBezTo>
                      <a:pt x="173" y="135"/>
                      <a:pt x="184" y="144"/>
                      <a:pt x="184" y="149"/>
                    </a:cubicBezTo>
                    <a:cubicBezTo>
                      <a:pt x="184" y="154"/>
                      <a:pt x="184" y="168"/>
                      <a:pt x="184" y="168"/>
                    </a:cubicBezTo>
                    <a:cubicBezTo>
                      <a:pt x="198" y="168"/>
                      <a:pt x="198" y="168"/>
                      <a:pt x="198" y="168"/>
                    </a:cubicBezTo>
                    <a:cubicBezTo>
                      <a:pt x="205" y="210"/>
                      <a:pt x="205" y="210"/>
                      <a:pt x="205" y="210"/>
                    </a:cubicBezTo>
                    <a:cubicBezTo>
                      <a:pt x="205" y="210"/>
                      <a:pt x="221" y="238"/>
                      <a:pt x="228" y="235"/>
                    </a:cubicBezTo>
                    <a:cubicBezTo>
                      <a:pt x="235" y="232"/>
                      <a:pt x="249" y="216"/>
                      <a:pt x="249" y="216"/>
                    </a:cubicBezTo>
                    <a:cubicBezTo>
                      <a:pt x="259" y="216"/>
                      <a:pt x="259" y="216"/>
                      <a:pt x="259" y="216"/>
                    </a:cubicBezTo>
                    <a:cubicBezTo>
                      <a:pt x="259" y="216"/>
                      <a:pt x="266" y="205"/>
                      <a:pt x="273" y="197"/>
                    </a:cubicBezTo>
                    <a:cubicBezTo>
                      <a:pt x="280" y="189"/>
                      <a:pt x="304" y="192"/>
                      <a:pt x="304" y="192"/>
                    </a:cubicBezTo>
                    <a:cubicBezTo>
                      <a:pt x="306" y="202"/>
                      <a:pt x="306" y="202"/>
                      <a:pt x="306" y="202"/>
                    </a:cubicBezTo>
                    <a:cubicBezTo>
                      <a:pt x="330" y="194"/>
                      <a:pt x="330" y="194"/>
                      <a:pt x="330" y="194"/>
                    </a:cubicBezTo>
                    <a:cubicBezTo>
                      <a:pt x="343" y="194"/>
                      <a:pt x="343" y="194"/>
                      <a:pt x="343" y="194"/>
                    </a:cubicBezTo>
                    <a:cubicBezTo>
                      <a:pt x="350" y="199"/>
                      <a:pt x="350" y="199"/>
                      <a:pt x="350" y="199"/>
                    </a:cubicBezTo>
                    <a:cubicBezTo>
                      <a:pt x="355" y="199"/>
                      <a:pt x="361" y="199"/>
                      <a:pt x="364" y="197"/>
                    </a:cubicBezTo>
                    <a:cubicBezTo>
                      <a:pt x="372" y="191"/>
                      <a:pt x="360" y="188"/>
                      <a:pt x="353" y="18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0" name="MCShape 52">
                <a:extLst>
                  <a:ext uri="{FF2B5EF4-FFF2-40B4-BE49-F238E27FC236}">
                    <a16:creationId xmlns:a16="http://schemas.microsoft.com/office/drawing/2014/main" id="{48F421E8-D006-4995-A36C-CA4DF05AD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502" y="2844276"/>
                <a:ext cx="264492" cy="125286"/>
              </a:xfrm>
              <a:custGeom>
                <a:avLst/>
                <a:gdLst>
                  <a:gd name="T0" fmla="*/ 46 w 449"/>
                  <a:gd name="T1" fmla="*/ 96 h 211"/>
                  <a:gd name="T2" fmla="*/ 76 w 449"/>
                  <a:gd name="T3" fmla="*/ 107 h 211"/>
                  <a:gd name="T4" fmla="*/ 84 w 449"/>
                  <a:gd name="T5" fmla="*/ 98 h 211"/>
                  <a:gd name="T6" fmla="*/ 95 w 449"/>
                  <a:gd name="T7" fmla="*/ 106 h 211"/>
                  <a:gd name="T8" fmla="*/ 114 w 449"/>
                  <a:gd name="T9" fmla="*/ 117 h 211"/>
                  <a:gd name="T10" fmla="*/ 132 w 449"/>
                  <a:gd name="T11" fmla="*/ 124 h 211"/>
                  <a:gd name="T12" fmla="*/ 129 w 449"/>
                  <a:gd name="T13" fmla="*/ 141 h 211"/>
                  <a:gd name="T14" fmla="*/ 115 w 449"/>
                  <a:gd name="T15" fmla="*/ 149 h 211"/>
                  <a:gd name="T16" fmla="*/ 84 w 449"/>
                  <a:gd name="T17" fmla="*/ 152 h 211"/>
                  <a:gd name="T18" fmla="*/ 65 w 449"/>
                  <a:gd name="T19" fmla="*/ 160 h 211"/>
                  <a:gd name="T20" fmla="*/ 25 w 449"/>
                  <a:gd name="T21" fmla="*/ 158 h 211"/>
                  <a:gd name="T22" fmla="*/ 0 w 449"/>
                  <a:gd name="T23" fmla="*/ 177 h 211"/>
                  <a:gd name="T24" fmla="*/ 32 w 449"/>
                  <a:gd name="T25" fmla="*/ 190 h 211"/>
                  <a:gd name="T26" fmla="*/ 66 w 449"/>
                  <a:gd name="T27" fmla="*/ 192 h 211"/>
                  <a:gd name="T28" fmla="*/ 100 w 449"/>
                  <a:gd name="T29" fmla="*/ 191 h 211"/>
                  <a:gd name="T30" fmla="*/ 134 w 449"/>
                  <a:gd name="T31" fmla="*/ 205 h 211"/>
                  <a:gd name="T32" fmla="*/ 154 w 449"/>
                  <a:gd name="T33" fmla="*/ 202 h 211"/>
                  <a:gd name="T34" fmla="*/ 190 w 449"/>
                  <a:gd name="T35" fmla="*/ 194 h 211"/>
                  <a:gd name="T36" fmla="*/ 211 w 449"/>
                  <a:gd name="T37" fmla="*/ 195 h 211"/>
                  <a:gd name="T38" fmla="*/ 231 w 449"/>
                  <a:gd name="T39" fmla="*/ 157 h 211"/>
                  <a:gd name="T40" fmla="*/ 250 w 449"/>
                  <a:gd name="T41" fmla="*/ 145 h 211"/>
                  <a:gd name="T42" fmla="*/ 278 w 449"/>
                  <a:gd name="T43" fmla="*/ 155 h 211"/>
                  <a:gd name="T44" fmla="*/ 304 w 449"/>
                  <a:gd name="T45" fmla="*/ 153 h 211"/>
                  <a:gd name="T46" fmla="*/ 327 w 449"/>
                  <a:gd name="T47" fmla="*/ 112 h 211"/>
                  <a:gd name="T48" fmla="*/ 378 w 449"/>
                  <a:gd name="T49" fmla="*/ 98 h 211"/>
                  <a:gd name="T50" fmla="*/ 429 w 449"/>
                  <a:gd name="T51" fmla="*/ 65 h 211"/>
                  <a:gd name="T52" fmla="*/ 443 w 449"/>
                  <a:gd name="T53" fmla="*/ 46 h 211"/>
                  <a:gd name="T54" fmla="*/ 401 w 449"/>
                  <a:gd name="T55" fmla="*/ 41 h 211"/>
                  <a:gd name="T56" fmla="*/ 372 w 449"/>
                  <a:gd name="T57" fmla="*/ 23 h 211"/>
                  <a:gd name="T58" fmla="*/ 332 w 449"/>
                  <a:gd name="T59" fmla="*/ 16 h 211"/>
                  <a:gd name="T60" fmla="*/ 238 w 449"/>
                  <a:gd name="T61" fmla="*/ 14 h 211"/>
                  <a:gd name="T62" fmla="*/ 194 w 449"/>
                  <a:gd name="T63" fmla="*/ 12 h 211"/>
                  <a:gd name="T64" fmla="*/ 144 w 449"/>
                  <a:gd name="T65" fmla="*/ 5 h 211"/>
                  <a:gd name="T66" fmla="*/ 138 w 449"/>
                  <a:gd name="T67" fmla="*/ 37 h 211"/>
                  <a:gd name="T68" fmla="*/ 61 w 449"/>
                  <a:gd name="T69" fmla="*/ 18 h 211"/>
                  <a:gd name="T70" fmla="*/ 57 w 449"/>
                  <a:gd name="T71" fmla="*/ 54 h 21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49"/>
                  <a:gd name="T109" fmla="*/ 0 h 211"/>
                  <a:gd name="T110" fmla="*/ 449 w 449"/>
                  <a:gd name="T111" fmla="*/ 211 h 21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49" h="211">
                    <a:moveTo>
                      <a:pt x="23" y="88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96"/>
                      <a:pt x="47" y="101"/>
                      <a:pt x="52" y="105"/>
                    </a:cubicBezTo>
                    <a:cubicBezTo>
                      <a:pt x="57" y="109"/>
                      <a:pt x="76" y="107"/>
                      <a:pt x="76" y="107"/>
                    </a:cubicBezTo>
                    <a:cubicBezTo>
                      <a:pt x="75" y="98"/>
                      <a:pt x="75" y="98"/>
                      <a:pt x="75" y="98"/>
                    </a:cubicBezTo>
                    <a:cubicBezTo>
                      <a:pt x="84" y="98"/>
                      <a:pt x="84" y="98"/>
                      <a:pt x="84" y="98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108" y="106"/>
                      <a:pt x="108" y="106"/>
                      <a:pt x="108" y="106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27" y="119"/>
                      <a:pt x="127" y="119"/>
                      <a:pt x="127" y="119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2" y="124"/>
                      <a:pt x="161" y="118"/>
                      <a:pt x="151" y="130"/>
                    </a:cubicBezTo>
                    <a:cubicBezTo>
                      <a:pt x="141" y="142"/>
                      <a:pt x="129" y="141"/>
                      <a:pt x="129" y="141"/>
                    </a:cubicBezTo>
                    <a:cubicBezTo>
                      <a:pt x="129" y="147"/>
                      <a:pt x="129" y="147"/>
                      <a:pt x="129" y="147"/>
                    </a:cubicBezTo>
                    <a:cubicBezTo>
                      <a:pt x="115" y="149"/>
                      <a:pt x="115" y="149"/>
                      <a:pt x="115" y="149"/>
                    </a:cubicBezTo>
                    <a:cubicBezTo>
                      <a:pt x="115" y="149"/>
                      <a:pt x="113" y="158"/>
                      <a:pt x="104" y="162"/>
                    </a:cubicBezTo>
                    <a:cubicBezTo>
                      <a:pt x="95" y="166"/>
                      <a:pt x="91" y="150"/>
                      <a:pt x="84" y="152"/>
                    </a:cubicBezTo>
                    <a:cubicBezTo>
                      <a:pt x="80" y="153"/>
                      <a:pt x="71" y="156"/>
                      <a:pt x="64" y="159"/>
                    </a:cubicBezTo>
                    <a:cubicBezTo>
                      <a:pt x="65" y="159"/>
                      <a:pt x="65" y="159"/>
                      <a:pt x="65" y="160"/>
                    </a:cubicBezTo>
                    <a:cubicBezTo>
                      <a:pt x="64" y="164"/>
                      <a:pt x="62" y="175"/>
                      <a:pt x="55" y="171"/>
                    </a:cubicBezTo>
                    <a:cubicBezTo>
                      <a:pt x="48" y="167"/>
                      <a:pt x="38" y="157"/>
                      <a:pt x="25" y="158"/>
                    </a:cubicBezTo>
                    <a:cubicBezTo>
                      <a:pt x="12" y="159"/>
                      <a:pt x="9" y="174"/>
                      <a:pt x="9" y="174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77"/>
                      <a:pt x="3" y="197"/>
                      <a:pt x="10" y="196"/>
                    </a:cubicBezTo>
                    <a:cubicBezTo>
                      <a:pt x="17" y="195"/>
                      <a:pt x="32" y="190"/>
                      <a:pt x="32" y="190"/>
                    </a:cubicBezTo>
                    <a:cubicBezTo>
                      <a:pt x="32" y="190"/>
                      <a:pt x="49" y="195"/>
                      <a:pt x="54" y="193"/>
                    </a:cubicBezTo>
                    <a:cubicBezTo>
                      <a:pt x="59" y="191"/>
                      <a:pt x="66" y="192"/>
                      <a:pt x="66" y="192"/>
                    </a:cubicBezTo>
                    <a:cubicBezTo>
                      <a:pt x="66" y="192"/>
                      <a:pt x="72" y="202"/>
                      <a:pt x="78" y="201"/>
                    </a:cubicBezTo>
                    <a:cubicBezTo>
                      <a:pt x="84" y="200"/>
                      <a:pt x="95" y="192"/>
                      <a:pt x="100" y="191"/>
                    </a:cubicBezTo>
                    <a:cubicBezTo>
                      <a:pt x="105" y="190"/>
                      <a:pt x="116" y="208"/>
                      <a:pt x="119" y="208"/>
                    </a:cubicBezTo>
                    <a:cubicBezTo>
                      <a:pt x="122" y="208"/>
                      <a:pt x="134" y="205"/>
                      <a:pt x="134" y="205"/>
                    </a:cubicBezTo>
                    <a:cubicBezTo>
                      <a:pt x="134" y="205"/>
                      <a:pt x="130" y="211"/>
                      <a:pt x="140" y="208"/>
                    </a:cubicBezTo>
                    <a:cubicBezTo>
                      <a:pt x="150" y="205"/>
                      <a:pt x="154" y="202"/>
                      <a:pt x="154" y="202"/>
                    </a:cubicBezTo>
                    <a:cubicBezTo>
                      <a:pt x="182" y="203"/>
                      <a:pt x="182" y="203"/>
                      <a:pt x="182" y="203"/>
                    </a:cubicBezTo>
                    <a:cubicBezTo>
                      <a:pt x="190" y="194"/>
                      <a:pt x="190" y="194"/>
                      <a:pt x="190" y="194"/>
                    </a:cubicBezTo>
                    <a:cubicBezTo>
                      <a:pt x="199" y="197"/>
                      <a:pt x="199" y="197"/>
                      <a:pt x="199" y="197"/>
                    </a:cubicBezTo>
                    <a:cubicBezTo>
                      <a:pt x="199" y="197"/>
                      <a:pt x="211" y="199"/>
                      <a:pt x="211" y="195"/>
                    </a:cubicBezTo>
                    <a:cubicBezTo>
                      <a:pt x="211" y="191"/>
                      <a:pt x="200" y="178"/>
                      <a:pt x="199" y="175"/>
                    </a:cubicBezTo>
                    <a:cubicBezTo>
                      <a:pt x="198" y="172"/>
                      <a:pt x="231" y="157"/>
                      <a:pt x="231" y="157"/>
                    </a:cubicBezTo>
                    <a:cubicBezTo>
                      <a:pt x="231" y="147"/>
                      <a:pt x="231" y="147"/>
                      <a:pt x="231" y="147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5"/>
                      <a:pt x="255" y="136"/>
                      <a:pt x="261" y="136"/>
                    </a:cubicBezTo>
                    <a:cubicBezTo>
                      <a:pt x="267" y="136"/>
                      <a:pt x="278" y="155"/>
                      <a:pt x="278" y="155"/>
                    </a:cubicBezTo>
                    <a:cubicBezTo>
                      <a:pt x="285" y="148"/>
                      <a:pt x="285" y="148"/>
                      <a:pt x="285" y="148"/>
                    </a:cubicBezTo>
                    <a:cubicBezTo>
                      <a:pt x="304" y="153"/>
                      <a:pt x="304" y="153"/>
                      <a:pt x="304" y="153"/>
                    </a:cubicBezTo>
                    <a:cubicBezTo>
                      <a:pt x="304" y="153"/>
                      <a:pt x="309" y="144"/>
                      <a:pt x="310" y="135"/>
                    </a:cubicBezTo>
                    <a:cubicBezTo>
                      <a:pt x="311" y="126"/>
                      <a:pt x="319" y="113"/>
                      <a:pt x="327" y="112"/>
                    </a:cubicBezTo>
                    <a:cubicBezTo>
                      <a:pt x="335" y="111"/>
                      <a:pt x="354" y="119"/>
                      <a:pt x="366" y="119"/>
                    </a:cubicBezTo>
                    <a:cubicBezTo>
                      <a:pt x="378" y="119"/>
                      <a:pt x="378" y="101"/>
                      <a:pt x="378" y="98"/>
                    </a:cubicBezTo>
                    <a:cubicBezTo>
                      <a:pt x="378" y="95"/>
                      <a:pt x="397" y="78"/>
                      <a:pt x="397" y="78"/>
                    </a:cubicBezTo>
                    <a:cubicBezTo>
                      <a:pt x="429" y="65"/>
                      <a:pt x="429" y="65"/>
                      <a:pt x="429" y="65"/>
                    </a:cubicBezTo>
                    <a:cubicBezTo>
                      <a:pt x="429" y="65"/>
                      <a:pt x="443" y="65"/>
                      <a:pt x="446" y="64"/>
                    </a:cubicBezTo>
                    <a:cubicBezTo>
                      <a:pt x="449" y="63"/>
                      <a:pt x="447" y="51"/>
                      <a:pt x="443" y="46"/>
                    </a:cubicBezTo>
                    <a:cubicBezTo>
                      <a:pt x="429" y="41"/>
                      <a:pt x="429" y="41"/>
                      <a:pt x="429" y="41"/>
                    </a:cubicBezTo>
                    <a:cubicBezTo>
                      <a:pt x="401" y="41"/>
                      <a:pt x="401" y="41"/>
                      <a:pt x="401" y="41"/>
                    </a:cubicBezTo>
                    <a:cubicBezTo>
                      <a:pt x="384" y="23"/>
                      <a:pt x="384" y="23"/>
                      <a:pt x="384" y="23"/>
                    </a:cubicBezTo>
                    <a:cubicBezTo>
                      <a:pt x="372" y="23"/>
                      <a:pt x="372" y="23"/>
                      <a:pt x="372" y="23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332" y="16"/>
                      <a:pt x="332" y="16"/>
                      <a:pt x="332" y="16"/>
                    </a:cubicBezTo>
                    <a:cubicBezTo>
                      <a:pt x="332" y="16"/>
                      <a:pt x="302" y="12"/>
                      <a:pt x="294" y="13"/>
                    </a:cubicBezTo>
                    <a:cubicBezTo>
                      <a:pt x="286" y="14"/>
                      <a:pt x="238" y="14"/>
                      <a:pt x="238" y="14"/>
                    </a:cubicBezTo>
                    <a:cubicBezTo>
                      <a:pt x="226" y="18"/>
                      <a:pt x="226" y="18"/>
                      <a:pt x="226" y="18"/>
                    </a:cubicBezTo>
                    <a:cubicBezTo>
                      <a:pt x="226" y="18"/>
                      <a:pt x="198" y="12"/>
                      <a:pt x="194" y="12"/>
                    </a:cubicBezTo>
                    <a:cubicBezTo>
                      <a:pt x="190" y="12"/>
                      <a:pt x="180" y="0"/>
                      <a:pt x="170" y="0"/>
                    </a:cubicBezTo>
                    <a:cubicBezTo>
                      <a:pt x="160" y="0"/>
                      <a:pt x="147" y="2"/>
                      <a:pt x="144" y="5"/>
                    </a:cubicBezTo>
                    <a:cubicBezTo>
                      <a:pt x="141" y="8"/>
                      <a:pt x="149" y="43"/>
                      <a:pt x="149" y="43"/>
                    </a:cubicBezTo>
                    <a:cubicBezTo>
                      <a:pt x="138" y="37"/>
                      <a:pt x="138" y="37"/>
                      <a:pt x="138" y="37"/>
                    </a:cubicBezTo>
                    <a:cubicBezTo>
                      <a:pt x="115" y="37"/>
                      <a:pt x="115" y="37"/>
                      <a:pt x="115" y="37"/>
                    </a:cubicBezTo>
                    <a:cubicBezTo>
                      <a:pt x="115" y="37"/>
                      <a:pt x="84" y="17"/>
                      <a:pt x="61" y="18"/>
                    </a:cubicBezTo>
                    <a:cubicBezTo>
                      <a:pt x="38" y="19"/>
                      <a:pt x="37" y="48"/>
                      <a:pt x="37" y="48"/>
                    </a:cubicBezTo>
                    <a:cubicBezTo>
                      <a:pt x="37" y="48"/>
                      <a:pt x="55" y="49"/>
                      <a:pt x="57" y="54"/>
                    </a:cubicBezTo>
                    <a:cubicBezTo>
                      <a:pt x="59" y="59"/>
                      <a:pt x="23" y="88"/>
                      <a:pt x="23" y="8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1" name="MCShape 53">
                <a:extLst>
                  <a:ext uri="{FF2B5EF4-FFF2-40B4-BE49-F238E27FC236}">
                    <a16:creationId xmlns:a16="http://schemas.microsoft.com/office/drawing/2014/main" id="{9EFD50E7-E567-4337-AAE5-FADD96861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041" y="2856651"/>
                <a:ext cx="397511" cy="239745"/>
              </a:xfrm>
              <a:custGeom>
                <a:avLst/>
                <a:gdLst>
                  <a:gd name="T0" fmla="*/ 24 w 674"/>
                  <a:gd name="T1" fmla="*/ 120 h 406"/>
                  <a:gd name="T2" fmla="*/ 60 w 674"/>
                  <a:gd name="T3" fmla="*/ 148 h 406"/>
                  <a:gd name="T4" fmla="*/ 75 w 674"/>
                  <a:gd name="T5" fmla="*/ 172 h 406"/>
                  <a:gd name="T6" fmla="*/ 71 w 674"/>
                  <a:gd name="T7" fmla="*/ 187 h 406"/>
                  <a:gd name="T8" fmla="*/ 94 w 674"/>
                  <a:gd name="T9" fmla="*/ 238 h 406"/>
                  <a:gd name="T10" fmla="*/ 96 w 674"/>
                  <a:gd name="T11" fmla="*/ 262 h 406"/>
                  <a:gd name="T12" fmla="*/ 126 w 674"/>
                  <a:gd name="T13" fmla="*/ 291 h 406"/>
                  <a:gd name="T14" fmla="*/ 141 w 674"/>
                  <a:gd name="T15" fmla="*/ 273 h 406"/>
                  <a:gd name="T16" fmla="*/ 205 w 674"/>
                  <a:gd name="T17" fmla="*/ 251 h 406"/>
                  <a:gd name="T18" fmla="*/ 234 w 674"/>
                  <a:gd name="T19" fmla="*/ 244 h 406"/>
                  <a:gd name="T20" fmla="*/ 256 w 674"/>
                  <a:gd name="T21" fmla="*/ 261 h 406"/>
                  <a:gd name="T22" fmla="*/ 299 w 674"/>
                  <a:gd name="T23" fmla="*/ 278 h 406"/>
                  <a:gd name="T24" fmla="*/ 345 w 674"/>
                  <a:gd name="T25" fmla="*/ 279 h 406"/>
                  <a:gd name="T26" fmla="*/ 377 w 674"/>
                  <a:gd name="T27" fmla="*/ 307 h 406"/>
                  <a:gd name="T28" fmla="*/ 439 w 674"/>
                  <a:gd name="T29" fmla="*/ 325 h 406"/>
                  <a:gd name="T30" fmla="*/ 447 w 674"/>
                  <a:gd name="T31" fmla="*/ 350 h 406"/>
                  <a:gd name="T32" fmla="*/ 453 w 674"/>
                  <a:gd name="T33" fmla="*/ 383 h 406"/>
                  <a:gd name="T34" fmla="*/ 484 w 674"/>
                  <a:gd name="T35" fmla="*/ 390 h 406"/>
                  <a:gd name="T36" fmla="*/ 530 w 674"/>
                  <a:gd name="T37" fmla="*/ 396 h 406"/>
                  <a:gd name="T38" fmla="*/ 560 w 674"/>
                  <a:gd name="T39" fmla="*/ 365 h 406"/>
                  <a:gd name="T40" fmla="*/ 589 w 674"/>
                  <a:gd name="T41" fmla="*/ 345 h 406"/>
                  <a:gd name="T42" fmla="*/ 623 w 674"/>
                  <a:gd name="T43" fmla="*/ 296 h 406"/>
                  <a:gd name="T44" fmla="*/ 652 w 674"/>
                  <a:gd name="T45" fmla="*/ 292 h 406"/>
                  <a:gd name="T46" fmla="*/ 667 w 674"/>
                  <a:gd name="T47" fmla="*/ 280 h 406"/>
                  <a:gd name="T48" fmla="*/ 635 w 674"/>
                  <a:gd name="T49" fmla="*/ 242 h 406"/>
                  <a:gd name="T50" fmla="*/ 595 w 674"/>
                  <a:gd name="T51" fmla="*/ 231 h 406"/>
                  <a:gd name="T52" fmla="*/ 563 w 674"/>
                  <a:gd name="T53" fmla="*/ 212 h 406"/>
                  <a:gd name="T54" fmla="*/ 536 w 674"/>
                  <a:gd name="T55" fmla="*/ 203 h 406"/>
                  <a:gd name="T56" fmla="*/ 500 w 674"/>
                  <a:gd name="T57" fmla="*/ 174 h 406"/>
                  <a:gd name="T58" fmla="*/ 455 w 674"/>
                  <a:gd name="T59" fmla="*/ 148 h 406"/>
                  <a:gd name="T60" fmla="*/ 431 w 674"/>
                  <a:gd name="T61" fmla="*/ 111 h 406"/>
                  <a:gd name="T62" fmla="*/ 398 w 674"/>
                  <a:gd name="T63" fmla="*/ 80 h 406"/>
                  <a:gd name="T64" fmla="*/ 362 w 674"/>
                  <a:gd name="T65" fmla="*/ 82 h 406"/>
                  <a:gd name="T66" fmla="*/ 338 w 674"/>
                  <a:gd name="T67" fmla="*/ 52 h 406"/>
                  <a:gd name="T68" fmla="*/ 320 w 674"/>
                  <a:gd name="T69" fmla="*/ 28 h 406"/>
                  <a:gd name="T70" fmla="*/ 288 w 674"/>
                  <a:gd name="T71" fmla="*/ 23 h 406"/>
                  <a:gd name="T72" fmla="*/ 274 w 674"/>
                  <a:gd name="T73" fmla="*/ 16 h 406"/>
                  <a:gd name="T74" fmla="*/ 258 w 674"/>
                  <a:gd name="T75" fmla="*/ 7 h 406"/>
                  <a:gd name="T76" fmla="*/ 258 w 674"/>
                  <a:gd name="T77" fmla="*/ 24 h 406"/>
                  <a:gd name="T78" fmla="*/ 231 w 674"/>
                  <a:gd name="T79" fmla="*/ 30 h 406"/>
                  <a:gd name="T80" fmla="*/ 211 w 674"/>
                  <a:gd name="T81" fmla="*/ 79 h 406"/>
                  <a:gd name="T82" fmla="*/ 156 w 674"/>
                  <a:gd name="T83" fmla="*/ 72 h 406"/>
                  <a:gd name="T84" fmla="*/ 112 w 674"/>
                  <a:gd name="T85" fmla="*/ 51 h 406"/>
                  <a:gd name="T86" fmla="*/ 51 w 674"/>
                  <a:gd name="T87" fmla="*/ 22 h 406"/>
                  <a:gd name="T88" fmla="*/ 60 w 674"/>
                  <a:gd name="T89" fmla="*/ 42 h 406"/>
                  <a:gd name="T90" fmla="*/ 110 w 674"/>
                  <a:gd name="T91" fmla="*/ 90 h 406"/>
                  <a:gd name="T92" fmla="*/ 82 w 674"/>
                  <a:gd name="T93" fmla="*/ 94 h 406"/>
                  <a:gd name="T94" fmla="*/ 52 w 674"/>
                  <a:gd name="T95" fmla="*/ 108 h 406"/>
                  <a:gd name="T96" fmla="*/ 40 w 674"/>
                  <a:gd name="T97" fmla="*/ 100 h 406"/>
                  <a:gd name="T98" fmla="*/ 19 w 674"/>
                  <a:gd name="T99" fmla="*/ 55 h 406"/>
                  <a:gd name="T100" fmla="*/ 14 w 674"/>
                  <a:gd name="T101" fmla="*/ 72 h 40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74"/>
                  <a:gd name="T154" fmla="*/ 0 h 406"/>
                  <a:gd name="T155" fmla="*/ 674 w 674"/>
                  <a:gd name="T156" fmla="*/ 406 h 40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74" h="406">
                    <a:moveTo>
                      <a:pt x="34" y="100"/>
                    </a:moveTo>
                    <a:cubicBezTo>
                      <a:pt x="34" y="104"/>
                      <a:pt x="24" y="115"/>
                      <a:pt x="24" y="120"/>
                    </a:cubicBezTo>
                    <a:cubicBezTo>
                      <a:pt x="24" y="126"/>
                      <a:pt x="40" y="151"/>
                      <a:pt x="40" y="151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75" y="172"/>
                      <a:pt x="75" y="172"/>
                      <a:pt x="75" y="172"/>
                    </a:cubicBezTo>
                    <a:cubicBezTo>
                      <a:pt x="75" y="172"/>
                      <a:pt x="46" y="171"/>
                      <a:pt x="50" y="180"/>
                    </a:cubicBezTo>
                    <a:cubicBezTo>
                      <a:pt x="54" y="190"/>
                      <a:pt x="64" y="184"/>
                      <a:pt x="71" y="187"/>
                    </a:cubicBezTo>
                    <a:cubicBezTo>
                      <a:pt x="78" y="190"/>
                      <a:pt x="90" y="203"/>
                      <a:pt x="90" y="203"/>
                    </a:cubicBezTo>
                    <a:cubicBezTo>
                      <a:pt x="94" y="238"/>
                      <a:pt x="94" y="238"/>
                      <a:pt x="94" y="238"/>
                    </a:cubicBezTo>
                    <a:cubicBezTo>
                      <a:pt x="99" y="240"/>
                      <a:pt x="99" y="240"/>
                      <a:pt x="99" y="240"/>
                    </a:cubicBezTo>
                    <a:cubicBezTo>
                      <a:pt x="99" y="240"/>
                      <a:pt x="96" y="254"/>
                      <a:pt x="96" y="262"/>
                    </a:cubicBezTo>
                    <a:cubicBezTo>
                      <a:pt x="96" y="270"/>
                      <a:pt x="106" y="291"/>
                      <a:pt x="106" y="291"/>
                    </a:cubicBezTo>
                    <a:cubicBezTo>
                      <a:pt x="106" y="291"/>
                      <a:pt x="122" y="292"/>
                      <a:pt x="126" y="291"/>
                    </a:cubicBezTo>
                    <a:cubicBezTo>
                      <a:pt x="130" y="290"/>
                      <a:pt x="141" y="281"/>
                      <a:pt x="141" y="281"/>
                    </a:cubicBezTo>
                    <a:cubicBezTo>
                      <a:pt x="141" y="273"/>
                      <a:pt x="141" y="273"/>
                      <a:pt x="141" y="273"/>
                    </a:cubicBezTo>
                    <a:cubicBezTo>
                      <a:pt x="141" y="273"/>
                      <a:pt x="167" y="250"/>
                      <a:pt x="178" y="248"/>
                    </a:cubicBezTo>
                    <a:cubicBezTo>
                      <a:pt x="189" y="246"/>
                      <a:pt x="205" y="251"/>
                      <a:pt x="205" y="251"/>
                    </a:cubicBezTo>
                    <a:cubicBezTo>
                      <a:pt x="205" y="251"/>
                      <a:pt x="207" y="245"/>
                      <a:pt x="210" y="243"/>
                    </a:cubicBezTo>
                    <a:cubicBezTo>
                      <a:pt x="213" y="241"/>
                      <a:pt x="234" y="244"/>
                      <a:pt x="234" y="244"/>
                    </a:cubicBezTo>
                    <a:cubicBezTo>
                      <a:pt x="234" y="244"/>
                      <a:pt x="243" y="239"/>
                      <a:pt x="249" y="243"/>
                    </a:cubicBezTo>
                    <a:cubicBezTo>
                      <a:pt x="255" y="247"/>
                      <a:pt x="256" y="261"/>
                      <a:pt x="256" y="261"/>
                    </a:cubicBezTo>
                    <a:cubicBezTo>
                      <a:pt x="256" y="261"/>
                      <a:pt x="268" y="261"/>
                      <a:pt x="273" y="261"/>
                    </a:cubicBezTo>
                    <a:cubicBezTo>
                      <a:pt x="278" y="261"/>
                      <a:pt x="299" y="278"/>
                      <a:pt x="299" y="278"/>
                    </a:cubicBezTo>
                    <a:cubicBezTo>
                      <a:pt x="302" y="274"/>
                      <a:pt x="302" y="274"/>
                      <a:pt x="302" y="274"/>
                    </a:cubicBezTo>
                    <a:cubicBezTo>
                      <a:pt x="302" y="274"/>
                      <a:pt x="340" y="275"/>
                      <a:pt x="345" y="279"/>
                    </a:cubicBezTo>
                    <a:cubicBezTo>
                      <a:pt x="350" y="283"/>
                      <a:pt x="358" y="301"/>
                      <a:pt x="358" y="301"/>
                    </a:cubicBezTo>
                    <a:cubicBezTo>
                      <a:pt x="358" y="301"/>
                      <a:pt x="371" y="303"/>
                      <a:pt x="377" y="307"/>
                    </a:cubicBezTo>
                    <a:cubicBezTo>
                      <a:pt x="383" y="311"/>
                      <a:pt x="397" y="327"/>
                      <a:pt x="397" y="327"/>
                    </a:cubicBezTo>
                    <a:cubicBezTo>
                      <a:pt x="439" y="325"/>
                      <a:pt x="439" y="325"/>
                      <a:pt x="439" y="325"/>
                    </a:cubicBezTo>
                    <a:cubicBezTo>
                      <a:pt x="440" y="347"/>
                      <a:pt x="440" y="347"/>
                      <a:pt x="440" y="347"/>
                    </a:cubicBezTo>
                    <a:cubicBezTo>
                      <a:pt x="447" y="350"/>
                      <a:pt x="447" y="350"/>
                      <a:pt x="447" y="350"/>
                    </a:cubicBezTo>
                    <a:cubicBezTo>
                      <a:pt x="446" y="365"/>
                      <a:pt x="446" y="365"/>
                      <a:pt x="446" y="365"/>
                    </a:cubicBezTo>
                    <a:cubicBezTo>
                      <a:pt x="453" y="383"/>
                      <a:pt x="453" y="383"/>
                      <a:pt x="453" y="383"/>
                    </a:cubicBezTo>
                    <a:cubicBezTo>
                      <a:pt x="453" y="383"/>
                      <a:pt x="467" y="393"/>
                      <a:pt x="472" y="393"/>
                    </a:cubicBezTo>
                    <a:cubicBezTo>
                      <a:pt x="477" y="393"/>
                      <a:pt x="484" y="390"/>
                      <a:pt x="484" y="390"/>
                    </a:cubicBezTo>
                    <a:cubicBezTo>
                      <a:pt x="500" y="406"/>
                      <a:pt x="500" y="406"/>
                      <a:pt x="500" y="406"/>
                    </a:cubicBezTo>
                    <a:cubicBezTo>
                      <a:pt x="500" y="406"/>
                      <a:pt x="525" y="405"/>
                      <a:pt x="530" y="396"/>
                    </a:cubicBezTo>
                    <a:cubicBezTo>
                      <a:pt x="535" y="387"/>
                      <a:pt x="535" y="371"/>
                      <a:pt x="535" y="371"/>
                    </a:cubicBezTo>
                    <a:cubicBezTo>
                      <a:pt x="535" y="371"/>
                      <a:pt x="553" y="372"/>
                      <a:pt x="560" y="365"/>
                    </a:cubicBezTo>
                    <a:cubicBezTo>
                      <a:pt x="567" y="358"/>
                      <a:pt x="580" y="349"/>
                      <a:pt x="580" y="349"/>
                    </a:cubicBezTo>
                    <a:cubicBezTo>
                      <a:pt x="580" y="349"/>
                      <a:pt x="589" y="351"/>
                      <a:pt x="589" y="345"/>
                    </a:cubicBezTo>
                    <a:cubicBezTo>
                      <a:pt x="589" y="339"/>
                      <a:pt x="584" y="311"/>
                      <a:pt x="594" y="301"/>
                    </a:cubicBezTo>
                    <a:cubicBezTo>
                      <a:pt x="604" y="291"/>
                      <a:pt x="623" y="296"/>
                      <a:pt x="623" y="296"/>
                    </a:cubicBezTo>
                    <a:cubicBezTo>
                      <a:pt x="623" y="296"/>
                      <a:pt x="622" y="279"/>
                      <a:pt x="630" y="279"/>
                    </a:cubicBezTo>
                    <a:cubicBezTo>
                      <a:pt x="638" y="279"/>
                      <a:pt x="652" y="292"/>
                      <a:pt x="652" y="292"/>
                    </a:cubicBezTo>
                    <a:cubicBezTo>
                      <a:pt x="674" y="292"/>
                      <a:pt x="674" y="292"/>
                      <a:pt x="674" y="292"/>
                    </a:cubicBezTo>
                    <a:cubicBezTo>
                      <a:pt x="674" y="289"/>
                      <a:pt x="673" y="285"/>
                      <a:pt x="667" y="280"/>
                    </a:cubicBezTo>
                    <a:cubicBezTo>
                      <a:pt x="656" y="272"/>
                      <a:pt x="668" y="260"/>
                      <a:pt x="668" y="260"/>
                    </a:cubicBezTo>
                    <a:cubicBezTo>
                      <a:pt x="635" y="242"/>
                      <a:pt x="635" y="242"/>
                      <a:pt x="635" y="242"/>
                    </a:cubicBezTo>
                    <a:cubicBezTo>
                      <a:pt x="620" y="244"/>
                      <a:pt x="620" y="244"/>
                      <a:pt x="620" y="244"/>
                    </a:cubicBezTo>
                    <a:cubicBezTo>
                      <a:pt x="620" y="244"/>
                      <a:pt x="602" y="236"/>
                      <a:pt x="595" y="231"/>
                    </a:cubicBezTo>
                    <a:cubicBezTo>
                      <a:pt x="588" y="226"/>
                      <a:pt x="574" y="215"/>
                      <a:pt x="574" y="215"/>
                    </a:cubicBezTo>
                    <a:cubicBezTo>
                      <a:pt x="563" y="212"/>
                      <a:pt x="563" y="212"/>
                      <a:pt x="563" y="212"/>
                    </a:cubicBezTo>
                    <a:cubicBezTo>
                      <a:pt x="554" y="204"/>
                      <a:pt x="554" y="204"/>
                      <a:pt x="554" y="204"/>
                    </a:cubicBezTo>
                    <a:cubicBezTo>
                      <a:pt x="536" y="203"/>
                      <a:pt x="536" y="203"/>
                      <a:pt x="536" y="203"/>
                    </a:cubicBezTo>
                    <a:cubicBezTo>
                      <a:pt x="516" y="191"/>
                      <a:pt x="516" y="191"/>
                      <a:pt x="516" y="191"/>
                    </a:cubicBezTo>
                    <a:cubicBezTo>
                      <a:pt x="516" y="191"/>
                      <a:pt x="504" y="175"/>
                      <a:pt x="500" y="174"/>
                    </a:cubicBezTo>
                    <a:cubicBezTo>
                      <a:pt x="496" y="172"/>
                      <a:pt x="483" y="170"/>
                      <a:pt x="476" y="167"/>
                    </a:cubicBezTo>
                    <a:cubicBezTo>
                      <a:pt x="470" y="164"/>
                      <a:pt x="458" y="159"/>
                      <a:pt x="455" y="148"/>
                    </a:cubicBezTo>
                    <a:cubicBezTo>
                      <a:pt x="452" y="138"/>
                      <a:pt x="444" y="126"/>
                      <a:pt x="444" y="126"/>
                    </a:cubicBezTo>
                    <a:cubicBezTo>
                      <a:pt x="431" y="111"/>
                      <a:pt x="431" y="111"/>
                      <a:pt x="431" y="111"/>
                    </a:cubicBezTo>
                    <a:cubicBezTo>
                      <a:pt x="422" y="92"/>
                      <a:pt x="422" y="92"/>
                      <a:pt x="422" y="92"/>
                    </a:cubicBezTo>
                    <a:cubicBezTo>
                      <a:pt x="398" y="80"/>
                      <a:pt x="398" y="80"/>
                      <a:pt x="398" y="80"/>
                    </a:cubicBezTo>
                    <a:cubicBezTo>
                      <a:pt x="398" y="86"/>
                      <a:pt x="398" y="86"/>
                      <a:pt x="398" y="86"/>
                    </a:cubicBezTo>
                    <a:cubicBezTo>
                      <a:pt x="362" y="82"/>
                      <a:pt x="362" y="82"/>
                      <a:pt x="362" y="82"/>
                    </a:cubicBezTo>
                    <a:cubicBezTo>
                      <a:pt x="362" y="82"/>
                      <a:pt x="336" y="83"/>
                      <a:pt x="331" y="74"/>
                    </a:cubicBezTo>
                    <a:cubicBezTo>
                      <a:pt x="326" y="64"/>
                      <a:pt x="338" y="52"/>
                      <a:pt x="338" y="52"/>
                    </a:cubicBezTo>
                    <a:cubicBezTo>
                      <a:pt x="328" y="47"/>
                      <a:pt x="328" y="47"/>
                      <a:pt x="328" y="47"/>
                    </a:cubicBezTo>
                    <a:cubicBezTo>
                      <a:pt x="328" y="47"/>
                      <a:pt x="330" y="32"/>
                      <a:pt x="320" y="28"/>
                    </a:cubicBezTo>
                    <a:cubicBezTo>
                      <a:pt x="311" y="24"/>
                      <a:pt x="298" y="27"/>
                      <a:pt x="298" y="27"/>
                    </a:cubicBezTo>
                    <a:cubicBezTo>
                      <a:pt x="288" y="23"/>
                      <a:pt x="288" y="23"/>
                      <a:pt x="288" y="23"/>
                    </a:cubicBezTo>
                    <a:cubicBezTo>
                      <a:pt x="290" y="15"/>
                      <a:pt x="290" y="15"/>
                      <a:pt x="290" y="15"/>
                    </a:cubicBezTo>
                    <a:cubicBezTo>
                      <a:pt x="274" y="16"/>
                      <a:pt x="274" y="16"/>
                      <a:pt x="274" y="16"/>
                    </a:cubicBezTo>
                    <a:cubicBezTo>
                      <a:pt x="262" y="0"/>
                      <a:pt x="262" y="0"/>
                      <a:pt x="262" y="0"/>
                    </a:cubicBezTo>
                    <a:cubicBezTo>
                      <a:pt x="258" y="7"/>
                      <a:pt x="258" y="7"/>
                      <a:pt x="258" y="7"/>
                    </a:cubicBezTo>
                    <a:cubicBezTo>
                      <a:pt x="238" y="6"/>
                      <a:pt x="238" y="6"/>
                      <a:pt x="238" y="6"/>
                    </a:cubicBezTo>
                    <a:cubicBezTo>
                      <a:pt x="258" y="24"/>
                      <a:pt x="258" y="24"/>
                      <a:pt x="258" y="24"/>
                    </a:cubicBezTo>
                    <a:cubicBezTo>
                      <a:pt x="258" y="24"/>
                      <a:pt x="239" y="16"/>
                      <a:pt x="235" y="18"/>
                    </a:cubicBezTo>
                    <a:cubicBezTo>
                      <a:pt x="231" y="19"/>
                      <a:pt x="231" y="30"/>
                      <a:pt x="231" y="30"/>
                    </a:cubicBezTo>
                    <a:cubicBezTo>
                      <a:pt x="231" y="30"/>
                      <a:pt x="199" y="36"/>
                      <a:pt x="198" y="50"/>
                    </a:cubicBezTo>
                    <a:cubicBezTo>
                      <a:pt x="196" y="63"/>
                      <a:pt x="211" y="79"/>
                      <a:pt x="211" y="79"/>
                    </a:cubicBezTo>
                    <a:cubicBezTo>
                      <a:pt x="167" y="79"/>
                      <a:pt x="167" y="79"/>
                      <a:pt x="167" y="79"/>
                    </a:cubicBezTo>
                    <a:cubicBezTo>
                      <a:pt x="167" y="79"/>
                      <a:pt x="163" y="72"/>
                      <a:pt x="156" y="72"/>
                    </a:cubicBezTo>
                    <a:cubicBezTo>
                      <a:pt x="150" y="72"/>
                      <a:pt x="151" y="87"/>
                      <a:pt x="140" y="82"/>
                    </a:cubicBezTo>
                    <a:cubicBezTo>
                      <a:pt x="130" y="76"/>
                      <a:pt x="112" y="51"/>
                      <a:pt x="112" y="51"/>
                    </a:cubicBezTo>
                    <a:cubicBezTo>
                      <a:pt x="112" y="51"/>
                      <a:pt x="102" y="38"/>
                      <a:pt x="94" y="34"/>
                    </a:cubicBezTo>
                    <a:cubicBezTo>
                      <a:pt x="86" y="30"/>
                      <a:pt x="54" y="18"/>
                      <a:pt x="51" y="22"/>
                    </a:cubicBezTo>
                    <a:cubicBezTo>
                      <a:pt x="48" y="26"/>
                      <a:pt x="50" y="32"/>
                      <a:pt x="50" y="32"/>
                    </a:cubicBezTo>
                    <a:cubicBezTo>
                      <a:pt x="50" y="32"/>
                      <a:pt x="60" y="38"/>
                      <a:pt x="60" y="42"/>
                    </a:cubicBezTo>
                    <a:cubicBezTo>
                      <a:pt x="60" y="46"/>
                      <a:pt x="63" y="46"/>
                      <a:pt x="70" y="58"/>
                    </a:cubicBezTo>
                    <a:cubicBezTo>
                      <a:pt x="76" y="70"/>
                      <a:pt x="112" y="79"/>
                      <a:pt x="110" y="90"/>
                    </a:cubicBezTo>
                    <a:cubicBezTo>
                      <a:pt x="107" y="100"/>
                      <a:pt x="107" y="106"/>
                      <a:pt x="100" y="104"/>
                    </a:cubicBezTo>
                    <a:cubicBezTo>
                      <a:pt x="94" y="103"/>
                      <a:pt x="79" y="90"/>
                      <a:pt x="82" y="94"/>
                    </a:cubicBezTo>
                    <a:cubicBezTo>
                      <a:pt x="84" y="98"/>
                      <a:pt x="79" y="107"/>
                      <a:pt x="79" y="107"/>
                    </a:cubicBezTo>
                    <a:cubicBezTo>
                      <a:pt x="52" y="108"/>
                      <a:pt x="52" y="108"/>
                      <a:pt x="52" y="108"/>
                    </a:cubicBezTo>
                    <a:cubicBezTo>
                      <a:pt x="44" y="95"/>
                      <a:pt x="44" y="95"/>
                      <a:pt x="44" y="95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0" y="100"/>
                      <a:pt x="30" y="90"/>
                      <a:pt x="24" y="80"/>
                    </a:cubicBezTo>
                    <a:cubicBezTo>
                      <a:pt x="19" y="71"/>
                      <a:pt x="23" y="56"/>
                      <a:pt x="19" y="55"/>
                    </a:cubicBezTo>
                    <a:cubicBezTo>
                      <a:pt x="15" y="54"/>
                      <a:pt x="3" y="47"/>
                      <a:pt x="2" y="52"/>
                    </a:cubicBezTo>
                    <a:cubicBezTo>
                      <a:pt x="0" y="58"/>
                      <a:pt x="14" y="72"/>
                      <a:pt x="14" y="72"/>
                    </a:cubicBezTo>
                    <a:cubicBezTo>
                      <a:pt x="14" y="72"/>
                      <a:pt x="34" y="96"/>
                      <a:pt x="34" y="10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2" name="MCShape 54">
                <a:extLst>
                  <a:ext uri="{FF2B5EF4-FFF2-40B4-BE49-F238E27FC236}">
                    <a16:creationId xmlns:a16="http://schemas.microsoft.com/office/drawing/2014/main" id="{F091DA15-6AAC-4426-ADE8-44AD1EC29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0065" y="2992763"/>
                <a:ext cx="358843" cy="289241"/>
              </a:xfrm>
              <a:custGeom>
                <a:avLst/>
                <a:gdLst>
                  <a:gd name="T0" fmla="*/ 607 w 607"/>
                  <a:gd name="T1" fmla="*/ 64 h 492"/>
                  <a:gd name="T2" fmla="*/ 587 w 607"/>
                  <a:gd name="T3" fmla="*/ 59 h 492"/>
                  <a:gd name="T4" fmla="*/ 561 w 607"/>
                  <a:gd name="T5" fmla="*/ 57 h 492"/>
                  <a:gd name="T6" fmla="*/ 516 w 607"/>
                  <a:gd name="T7" fmla="*/ 81 h 492"/>
                  <a:gd name="T8" fmla="*/ 485 w 607"/>
                  <a:gd name="T9" fmla="*/ 100 h 492"/>
                  <a:gd name="T10" fmla="*/ 455 w 607"/>
                  <a:gd name="T11" fmla="*/ 33 h 492"/>
                  <a:gd name="T12" fmla="*/ 441 w 607"/>
                  <a:gd name="T13" fmla="*/ 14 h 492"/>
                  <a:gd name="T14" fmla="*/ 413 w 607"/>
                  <a:gd name="T15" fmla="*/ 19 h 492"/>
                  <a:gd name="T16" fmla="*/ 407 w 607"/>
                  <a:gd name="T17" fmla="*/ 40 h 492"/>
                  <a:gd name="T18" fmla="*/ 395 w 607"/>
                  <a:gd name="T19" fmla="*/ 48 h 492"/>
                  <a:gd name="T20" fmla="*/ 364 w 607"/>
                  <a:gd name="T21" fmla="*/ 79 h 492"/>
                  <a:gd name="T22" fmla="*/ 315 w 607"/>
                  <a:gd name="T23" fmla="*/ 83 h 492"/>
                  <a:gd name="T24" fmla="*/ 287 w 607"/>
                  <a:gd name="T25" fmla="*/ 66 h 492"/>
                  <a:gd name="T26" fmla="*/ 267 w 607"/>
                  <a:gd name="T27" fmla="*/ 57 h 492"/>
                  <a:gd name="T28" fmla="*/ 229 w 607"/>
                  <a:gd name="T29" fmla="*/ 63 h 492"/>
                  <a:gd name="T30" fmla="*/ 200 w 607"/>
                  <a:gd name="T31" fmla="*/ 67 h 492"/>
                  <a:gd name="T32" fmla="*/ 166 w 607"/>
                  <a:gd name="T33" fmla="*/ 116 h 492"/>
                  <a:gd name="T34" fmla="*/ 137 w 607"/>
                  <a:gd name="T35" fmla="*/ 136 h 492"/>
                  <a:gd name="T36" fmla="*/ 107 w 607"/>
                  <a:gd name="T37" fmla="*/ 167 h 492"/>
                  <a:gd name="T38" fmla="*/ 61 w 607"/>
                  <a:gd name="T39" fmla="*/ 161 h 492"/>
                  <a:gd name="T40" fmla="*/ 30 w 607"/>
                  <a:gd name="T41" fmla="*/ 154 h 492"/>
                  <a:gd name="T42" fmla="*/ 29 w 607"/>
                  <a:gd name="T43" fmla="*/ 205 h 492"/>
                  <a:gd name="T44" fmla="*/ 20 w 607"/>
                  <a:gd name="T45" fmla="*/ 220 h 492"/>
                  <a:gd name="T46" fmla="*/ 11 w 607"/>
                  <a:gd name="T47" fmla="*/ 244 h 492"/>
                  <a:gd name="T48" fmla="*/ 31 w 607"/>
                  <a:gd name="T49" fmla="*/ 266 h 492"/>
                  <a:gd name="T50" fmla="*/ 40 w 607"/>
                  <a:gd name="T51" fmla="*/ 341 h 492"/>
                  <a:gd name="T52" fmla="*/ 70 w 607"/>
                  <a:gd name="T53" fmla="*/ 382 h 492"/>
                  <a:gd name="T54" fmla="*/ 79 w 607"/>
                  <a:gd name="T55" fmla="*/ 434 h 492"/>
                  <a:gd name="T56" fmla="*/ 61 w 607"/>
                  <a:gd name="T57" fmla="*/ 467 h 492"/>
                  <a:gd name="T58" fmla="*/ 142 w 607"/>
                  <a:gd name="T59" fmla="*/ 490 h 492"/>
                  <a:gd name="T60" fmla="*/ 196 w 607"/>
                  <a:gd name="T61" fmla="*/ 484 h 492"/>
                  <a:gd name="T62" fmla="*/ 218 w 607"/>
                  <a:gd name="T63" fmla="*/ 482 h 492"/>
                  <a:gd name="T64" fmla="*/ 307 w 607"/>
                  <a:gd name="T65" fmla="*/ 459 h 492"/>
                  <a:gd name="T66" fmla="*/ 298 w 607"/>
                  <a:gd name="T67" fmla="*/ 403 h 492"/>
                  <a:gd name="T68" fmla="*/ 327 w 607"/>
                  <a:gd name="T69" fmla="*/ 390 h 492"/>
                  <a:gd name="T70" fmla="*/ 348 w 607"/>
                  <a:gd name="T71" fmla="*/ 376 h 492"/>
                  <a:gd name="T72" fmla="*/ 381 w 607"/>
                  <a:gd name="T73" fmla="*/ 361 h 492"/>
                  <a:gd name="T74" fmla="*/ 409 w 607"/>
                  <a:gd name="T75" fmla="*/ 371 h 492"/>
                  <a:gd name="T76" fmla="*/ 417 w 607"/>
                  <a:gd name="T77" fmla="*/ 325 h 492"/>
                  <a:gd name="T78" fmla="*/ 425 w 607"/>
                  <a:gd name="T79" fmla="*/ 291 h 492"/>
                  <a:gd name="T80" fmla="*/ 462 w 607"/>
                  <a:gd name="T81" fmla="*/ 275 h 492"/>
                  <a:gd name="T82" fmla="*/ 447 w 607"/>
                  <a:gd name="T83" fmla="*/ 258 h 492"/>
                  <a:gd name="T84" fmla="*/ 434 w 607"/>
                  <a:gd name="T85" fmla="*/ 238 h 492"/>
                  <a:gd name="T86" fmla="*/ 456 w 607"/>
                  <a:gd name="T87" fmla="*/ 246 h 492"/>
                  <a:gd name="T88" fmla="*/ 467 w 607"/>
                  <a:gd name="T89" fmla="*/ 242 h 492"/>
                  <a:gd name="T90" fmla="*/ 479 w 607"/>
                  <a:gd name="T91" fmla="*/ 222 h 492"/>
                  <a:gd name="T92" fmla="*/ 494 w 607"/>
                  <a:gd name="T93" fmla="*/ 188 h 492"/>
                  <a:gd name="T94" fmla="*/ 479 w 607"/>
                  <a:gd name="T95" fmla="*/ 144 h 492"/>
                  <a:gd name="T96" fmla="*/ 486 w 607"/>
                  <a:gd name="T97" fmla="*/ 109 h 492"/>
                  <a:gd name="T98" fmla="*/ 540 w 607"/>
                  <a:gd name="T99" fmla="*/ 88 h 492"/>
                  <a:gd name="T100" fmla="*/ 584 w 607"/>
                  <a:gd name="T101" fmla="*/ 88 h 492"/>
                  <a:gd name="T102" fmla="*/ 602 w 607"/>
                  <a:gd name="T103" fmla="*/ 78 h 49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07"/>
                  <a:gd name="T157" fmla="*/ 0 h 492"/>
                  <a:gd name="T158" fmla="*/ 607 w 607"/>
                  <a:gd name="T159" fmla="*/ 492 h 49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07" h="492">
                    <a:moveTo>
                      <a:pt x="596" y="71"/>
                    </a:moveTo>
                    <a:cubicBezTo>
                      <a:pt x="594" y="65"/>
                      <a:pt x="600" y="65"/>
                      <a:pt x="607" y="64"/>
                    </a:cubicBezTo>
                    <a:cubicBezTo>
                      <a:pt x="600" y="59"/>
                      <a:pt x="600" y="59"/>
                      <a:pt x="600" y="59"/>
                    </a:cubicBezTo>
                    <a:cubicBezTo>
                      <a:pt x="587" y="59"/>
                      <a:pt x="587" y="59"/>
                      <a:pt x="587" y="59"/>
                    </a:cubicBezTo>
                    <a:cubicBezTo>
                      <a:pt x="563" y="67"/>
                      <a:pt x="563" y="67"/>
                      <a:pt x="563" y="67"/>
                    </a:cubicBezTo>
                    <a:cubicBezTo>
                      <a:pt x="561" y="57"/>
                      <a:pt x="561" y="57"/>
                      <a:pt x="561" y="57"/>
                    </a:cubicBezTo>
                    <a:cubicBezTo>
                      <a:pt x="561" y="57"/>
                      <a:pt x="537" y="54"/>
                      <a:pt x="530" y="62"/>
                    </a:cubicBezTo>
                    <a:cubicBezTo>
                      <a:pt x="523" y="70"/>
                      <a:pt x="516" y="81"/>
                      <a:pt x="516" y="81"/>
                    </a:cubicBezTo>
                    <a:cubicBezTo>
                      <a:pt x="506" y="81"/>
                      <a:pt x="506" y="81"/>
                      <a:pt x="506" y="81"/>
                    </a:cubicBezTo>
                    <a:cubicBezTo>
                      <a:pt x="506" y="81"/>
                      <a:pt x="492" y="97"/>
                      <a:pt x="485" y="100"/>
                    </a:cubicBezTo>
                    <a:cubicBezTo>
                      <a:pt x="478" y="103"/>
                      <a:pt x="462" y="75"/>
                      <a:pt x="462" y="75"/>
                    </a:cubicBezTo>
                    <a:cubicBezTo>
                      <a:pt x="455" y="33"/>
                      <a:pt x="455" y="33"/>
                      <a:pt x="455" y="33"/>
                    </a:cubicBezTo>
                    <a:cubicBezTo>
                      <a:pt x="441" y="33"/>
                      <a:pt x="441" y="33"/>
                      <a:pt x="441" y="33"/>
                    </a:cubicBezTo>
                    <a:cubicBezTo>
                      <a:pt x="441" y="33"/>
                      <a:pt x="441" y="19"/>
                      <a:pt x="441" y="14"/>
                    </a:cubicBezTo>
                    <a:cubicBezTo>
                      <a:pt x="441" y="9"/>
                      <a:pt x="430" y="0"/>
                      <a:pt x="421" y="0"/>
                    </a:cubicBezTo>
                    <a:cubicBezTo>
                      <a:pt x="412" y="0"/>
                      <a:pt x="413" y="15"/>
                      <a:pt x="413" y="19"/>
                    </a:cubicBezTo>
                    <a:cubicBezTo>
                      <a:pt x="413" y="23"/>
                      <a:pt x="399" y="26"/>
                      <a:pt x="399" y="33"/>
                    </a:cubicBezTo>
                    <a:cubicBezTo>
                      <a:pt x="399" y="40"/>
                      <a:pt x="407" y="40"/>
                      <a:pt x="407" y="40"/>
                    </a:cubicBezTo>
                    <a:cubicBezTo>
                      <a:pt x="402" y="54"/>
                      <a:pt x="402" y="54"/>
                      <a:pt x="402" y="54"/>
                    </a:cubicBezTo>
                    <a:cubicBezTo>
                      <a:pt x="395" y="48"/>
                      <a:pt x="395" y="48"/>
                      <a:pt x="395" y="48"/>
                    </a:cubicBezTo>
                    <a:cubicBezTo>
                      <a:pt x="395" y="48"/>
                      <a:pt x="373" y="49"/>
                      <a:pt x="368" y="54"/>
                    </a:cubicBezTo>
                    <a:cubicBezTo>
                      <a:pt x="363" y="59"/>
                      <a:pt x="368" y="77"/>
                      <a:pt x="364" y="79"/>
                    </a:cubicBezTo>
                    <a:cubicBezTo>
                      <a:pt x="360" y="81"/>
                      <a:pt x="349" y="64"/>
                      <a:pt x="346" y="64"/>
                    </a:cubicBezTo>
                    <a:cubicBezTo>
                      <a:pt x="343" y="64"/>
                      <a:pt x="318" y="84"/>
                      <a:pt x="315" y="83"/>
                    </a:cubicBezTo>
                    <a:cubicBezTo>
                      <a:pt x="312" y="82"/>
                      <a:pt x="292" y="66"/>
                      <a:pt x="292" y="66"/>
                    </a:cubicBezTo>
                    <a:cubicBezTo>
                      <a:pt x="287" y="66"/>
                      <a:pt x="287" y="66"/>
                      <a:pt x="287" y="66"/>
                    </a:cubicBezTo>
                    <a:cubicBezTo>
                      <a:pt x="276" y="71"/>
                      <a:pt x="276" y="71"/>
                      <a:pt x="276" y="71"/>
                    </a:cubicBezTo>
                    <a:cubicBezTo>
                      <a:pt x="267" y="57"/>
                      <a:pt x="267" y="57"/>
                      <a:pt x="267" y="57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29" y="63"/>
                      <a:pt x="229" y="63"/>
                      <a:pt x="229" y="63"/>
                    </a:cubicBezTo>
                    <a:cubicBezTo>
                      <a:pt x="229" y="63"/>
                      <a:pt x="215" y="50"/>
                      <a:pt x="207" y="50"/>
                    </a:cubicBezTo>
                    <a:cubicBezTo>
                      <a:pt x="199" y="50"/>
                      <a:pt x="200" y="67"/>
                      <a:pt x="200" y="67"/>
                    </a:cubicBezTo>
                    <a:cubicBezTo>
                      <a:pt x="200" y="67"/>
                      <a:pt x="181" y="62"/>
                      <a:pt x="171" y="72"/>
                    </a:cubicBezTo>
                    <a:cubicBezTo>
                      <a:pt x="161" y="82"/>
                      <a:pt x="166" y="110"/>
                      <a:pt x="166" y="116"/>
                    </a:cubicBezTo>
                    <a:cubicBezTo>
                      <a:pt x="166" y="122"/>
                      <a:pt x="157" y="120"/>
                      <a:pt x="157" y="120"/>
                    </a:cubicBezTo>
                    <a:cubicBezTo>
                      <a:pt x="157" y="120"/>
                      <a:pt x="144" y="129"/>
                      <a:pt x="137" y="136"/>
                    </a:cubicBezTo>
                    <a:cubicBezTo>
                      <a:pt x="130" y="143"/>
                      <a:pt x="112" y="142"/>
                      <a:pt x="112" y="142"/>
                    </a:cubicBezTo>
                    <a:cubicBezTo>
                      <a:pt x="112" y="142"/>
                      <a:pt x="112" y="158"/>
                      <a:pt x="107" y="167"/>
                    </a:cubicBezTo>
                    <a:cubicBezTo>
                      <a:pt x="102" y="176"/>
                      <a:pt x="77" y="177"/>
                      <a:pt x="77" y="177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61" y="161"/>
                      <a:pt x="54" y="164"/>
                      <a:pt x="49" y="164"/>
                    </a:cubicBezTo>
                    <a:cubicBezTo>
                      <a:pt x="44" y="164"/>
                      <a:pt x="30" y="154"/>
                      <a:pt x="30" y="154"/>
                    </a:cubicBezTo>
                    <a:cubicBezTo>
                      <a:pt x="30" y="154"/>
                      <a:pt x="24" y="161"/>
                      <a:pt x="23" y="168"/>
                    </a:cubicBezTo>
                    <a:cubicBezTo>
                      <a:pt x="22" y="175"/>
                      <a:pt x="29" y="205"/>
                      <a:pt x="29" y="205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20" y="220"/>
                      <a:pt x="20" y="220"/>
                      <a:pt x="20" y="220"/>
                    </a:cubicBezTo>
                    <a:cubicBezTo>
                      <a:pt x="20" y="220"/>
                      <a:pt x="6" y="225"/>
                      <a:pt x="3" y="230"/>
                    </a:cubicBezTo>
                    <a:cubicBezTo>
                      <a:pt x="0" y="235"/>
                      <a:pt x="11" y="244"/>
                      <a:pt x="11" y="244"/>
                    </a:cubicBezTo>
                    <a:cubicBezTo>
                      <a:pt x="9" y="263"/>
                      <a:pt x="9" y="263"/>
                      <a:pt x="9" y="263"/>
                    </a:cubicBezTo>
                    <a:cubicBezTo>
                      <a:pt x="9" y="263"/>
                      <a:pt x="30" y="260"/>
                      <a:pt x="31" y="266"/>
                    </a:cubicBezTo>
                    <a:cubicBezTo>
                      <a:pt x="32" y="272"/>
                      <a:pt x="17" y="280"/>
                      <a:pt x="15" y="293"/>
                    </a:cubicBezTo>
                    <a:cubicBezTo>
                      <a:pt x="13" y="306"/>
                      <a:pt x="40" y="330"/>
                      <a:pt x="40" y="341"/>
                    </a:cubicBezTo>
                    <a:cubicBezTo>
                      <a:pt x="40" y="352"/>
                      <a:pt x="40" y="366"/>
                      <a:pt x="40" y="374"/>
                    </a:cubicBezTo>
                    <a:cubicBezTo>
                      <a:pt x="40" y="382"/>
                      <a:pt x="70" y="382"/>
                      <a:pt x="70" y="382"/>
                    </a:cubicBezTo>
                    <a:cubicBezTo>
                      <a:pt x="70" y="382"/>
                      <a:pt x="85" y="377"/>
                      <a:pt x="91" y="394"/>
                    </a:cubicBezTo>
                    <a:cubicBezTo>
                      <a:pt x="97" y="411"/>
                      <a:pt x="86" y="424"/>
                      <a:pt x="79" y="434"/>
                    </a:cubicBezTo>
                    <a:cubicBezTo>
                      <a:pt x="72" y="444"/>
                      <a:pt x="56" y="458"/>
                      <a:pt x="56" y="462"/>
                    </a:cubicBezTo>
                    <a:cubicBezTo>
                      <a:pt x="56" y="466"/>
                      <a:pt x="61" y="467"/>
                      <a:pt x="61" y="467"/>
                    </a:cubicBezTo>
                    <a:cubicBezTo>
                      <a:pt x="61" y="467"/>
                      <a:pt x="73" y="464"/>
                      <a:pt x="82" y="469"/>
                    </a:cubicBezTo>
                    <a:cubicBezTo>
                      <a:pt x="91" y="474"/>
                      <a:pt x="121" y="492"/>
                      <a:pt x="142" y="490"/>
                    </a:cubicBezTo>
                    <a:cubicBezTo>
                      <a:pt x="163" y="488"/>
                      <a:pt x="161" y="483"/>
                      <a:pt x="161" y="483"/>
                    </a:cubicBezTo>
                    <a:cubicBezTo>
                      <a:pt x="196" y="484"/>
                      <a:pt x="196" y="484"/>
                      <a:pt x="196" y="484"/>
                    </a:cubicBezTo>
                    <a:cubicBezTo>
                      <a:pt x="196" y="484"/>
                      <a:pt x="193" y="488"/>
                      <a:pt x="205" y="488"/>
                    </a:cubicBezTo>
                    <a:cubicBezTo>
                      <a:pt x="217" y="488"/>
                      <a:pt x="218" y="482"/>
                      <a:pt x="218" y="482"/>
                    </a:cubicBezTo>
                    <a:cubicBezTo>
                      <a:pt x="218" y="482"/>
                      <a:pt x="260" y="480"/>
                      <a:pt x="263" y="479"/>
                    </a:cubicBezTo>
                    <a:cubicBezTo>
                      <a:pt x="266" y="478"/>
                      <a:pt x="305" y="465"/>
                      <a:pt x="307" y="459"/>
                    </a:cubicBezTo>
                    <a:cubicBezTo>
                      <a:pt x="309" y="453"/>
                      <a:pt x="303" y="433"/>
                      <a:pt x="303" y="433"/>
                    </a:cubicBezTo>
                    <a:cubicBezTo>
                      <a:pt x="303" y="433"/>
                      <a:pt x="296" y="409"/>
                      <a:pt x="298" y="403"/>
                    </a:cubicBezTo>
                    <a:cubicBezTo>
                      <a:pt x="300" y="397"/>
                      <a:pt x="315" y="384"/>
                      <a:pt x="323" y="384"/>
                    </a:cubicBezTo>
                    <a:cubicBezTo>
                      <a:pt x="331" y="384"/>
                      <a:pt x="327" y="390"/>
                      <a:pt x="327" y="390"/>
                    </a:cubicBezTo>
                    <a:cubicBezTo>
                      <a:pt x="327" y="390"/>
                      <a:pt x="357" y="395"/>
                      <a:pt x="359" y="389"/>
                    </a:cubicBezTo>
                    <a:cubicBezTo>
                      <a:pt x="361" y="383"/>
                      <a:pt x="344" y="381"/>
                      <a:pt x="348" y="376"/>
                    </a:cubicBezTo>
                    <a:cubicBezTo>
                      <a:pt x="352" y="371"/>
                      <a:pt x="366" y="367"/>
                      <a:pt x="366" y="367"/>
                    </a:cubicBezTo>
                    <a:cubicBezTo>
                      <a:pt x="366" y="367"/>
                      <a:pt x="373" y="361"/>
                      <a:pt x="381" y="361"/>
                    </a:cubicBezTo>
                    <a:cubicBezTo>
                      <a:pt x="389" y="361"/>
                      <a:pt x="399" y="359"/>
                      <a:pt x="399" y="359"/>
                    </a:cubicBezTo>
                    <a:cubicBezTo>
                      <a:pt x="399" y="359"/>
                      <a:pt x="396" y="378"/>
                      <a:pt x="409" y="371"/>
                    </a:cubicBezTo>
                    <a:cubicBezTo>
                      <a:pt x="422" y="364"/>
                      <a:pt x="425" y="355"/>
                      <a:pt x="425" y="355"/>
                    </a:cubicBezTo>
                    <a:cubicBezTo>
                      <a:pt x="425" y="355"/>
                      <a:pt x="416" y="337"/>
                      <a:pt x="417" y="325"/>
                    </a:cubicBezTo>
                    <a:cubicBezTo>
                      <a:pt x="418" y="313"/>
                      <a:pt x="424" y="316"/>
                      <a:pt x="424" y="316"/>
                    </a:cubicBezTo>
                    <a:cubicBezTo>
                      <a:pt x="424" y="316"/>
                      <a:pt x="421" y="294"/>
                      <a:pt x="425" y="291"/>
                    </a:cubicBezTo>
                    <a:cubicBezTo>
                      <a:pt x="429" y="288"/>
                      <a:pt x="442" y="289"/>
                      <a:pt x="442" y="289"/>
                    </a:cubicBezTo>
                    <a:cubicBezTo>
                      <a:pt x="462" y="275"/>
                      <a:pt x="462" y="275"/>
                      <a:pt x="462" y="275"/>
                    </a:cubicBezTo>
                    <a:cubicBezTo>
                      <a:pt x="462" y="275"/>
                      <a:pt x="451" y="276"/>
                      <a:pt x="449" y="269"/>
                    </a:cubicBezTo>
                    <a:cubicBezTo>
                      <a:pt x="447" y="262"/>
                      <a:pt x="447" y="258"/>
                      <a:pt x="447" y="258"/>
                    </a:cubicBezTo>
                    <a:cubicBezTo>
                      <a:pt x="447" y="258"/>
                      <a:pt x="432" y="254"/>
                      <a:pt x="431" y="249"/>
                    </a:cubicBezTo>
                    <a:cubicBezTo>
                      <a:pt x="430" y="244"/>
                      <a:pt x="430" y="239"/>
                      <a:pt x="434" y="238"/>
                    </a:cubicBezTo>
                    <a:cubicBezTo>
                      <a:pt x="438" y="237"/>
                      <a:pt x="445" y="245"/>
                      <a:pt x="445" y="245"/>
                    </a:cubicBezTo>
                    <a:cubicBezTo>
                      <a:pt x="456" y="246"/>
                      <a:pt x="456" y="246"/>
                      <a:pt x="456" y="246"/>
                    </a:cubicBezTo>
                    <a:cubicBezTo>
                      <a:pt x="463" y="249"/>
                      <a:pt x="463" y="249"/>
                      <a:pt x="463" y="249"/>
                    </a:cubicBezTo>
                    <a:cubicBezTo>
                      <a:pt x="467" y="242"/>
                      <a:pt x="467" y="242"/>
                      <a:pt x="467" y="242"/>
                    </a:cubicBezTo>
                    <a:cubicBezTo>
                      <a:pt x="467" y="242"/>
                      <a:pt x="478" y="245"/>
                      <a:pt x="479" y="238"/>
                    </a:cubicBezTo>
                    <a:cubicBezTo>
                      <a:pt x="480" y="231"/>
                      <a:pt x="479" y="222"/>
                      <a:pt x="479" y="222"/>
                    </a:cubicBezTo>
                    <a:cubicBezTo>
                      <a:pt x="479" y="222"/>
                      <a:pt x="472" y="221"/>
                      <a:pt x="473" y="212"/>
                    </a:cubicBezTo>
                    <a:cubicBezTo>
                      <a:pt x="474" y="203"/>
                      <a:pt x="491" y="195"/>
                      <a:pt x="494" y="188"/>
                    </a:cubicBezTo>
                    <a:cubicBezTo>
                      <a:pt x="497" y="181"/>
                      <a:pt x="487" y="173"/>
                      <a:pt x="487" y="173"/>
                    </a:cubicBezTo>
                    <a:cubicBezTo>
                      <a:pt x="487" y="173"/>
                      <a:pt x="490" y="156"/>
                      <a:pt x="479" y="144"/>
                    </a:cubicBezTo>
                    <a:cubicBezTo>
                      <a:pt x="468" y="132"/>
                      <a:pt x="463" y="136"/>
                      <a:pt x="469" y="124"/>
                    </a:cubicBezTo>
                    <a:cubicBezTo>
                      <a:pt x="475" y="112"/>
                      <a:pt x="486" y="109"/>
                      <a:pt x="486" y="109"/>
                    </a:cubicBezTo>
                    <a:cubicBezTo>
                      <a:pt x="486" y="109"/>
                      <a:pt x="509" y="93"/>
                      <a:pt x="516" y="90"/>
                    </a:cubicBezTo>
                    <a:cubicBezTo>
                      <a:pt x="523" y="87"/>
                      <a:pt x="540" y="88"/>
                      <a:pt x="540" y="88"/>
                    </a:cubicBezTo>
                    <a:cubicBezTo>
                      <a:pt x="540" y="88"/>
                      <a:pt x="563" y="83"/>
                      <a:pt x="566" y="83"/>
                    </a:cubicBezTo>
                    <a:cubicBezTo>
                      <a:pt x="569" y="83"/>
                      <a:pt x="579" y="89"/>
                      <a:pt x="584" y="88"/>
                    </a:cubicBezTo>
                    <a:cubicBezTo>
                      <a:pt x="587" y="87"/>
                      <a:pt x="596" y="82"/>
                      <a:pt x="602" y="78"/>
                    </a:cubicBezTo>
                    <a:cubicBezTo>
                      <a:pt x="602" y="78"/>
                      <a:pt x="602" y="78"/>
                      <a:pt x="602" y="78"/>
                    </a:cubicBezTo>
                    <a:cubicBezTo>
                      <a:pt x="599" y="76"/>
                      <a:pt x="597" y="74"/>
                      <a:pt x="596" y="7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3" name="MCShape 55">
                <a:extLst>
                  <a:ext uri="{FF2B5EF4-FFF2-40B4-BE49-F238E27FC236}">
                    <a16:creationId xmlns:a16="http://schemas.microsoft.com/office/drawing/2014/main" id="{EBA60E4D-8372-40AB-9A10-148E3FDA9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328" y="3192293"/>
                <a:ext cx="587761" cy="502689"/>
              </a:xfrm>
              <a:custGeom>
                <a:avLst/>
                <a:gdLst>
                  <a:gd name="T0" fmla="*/ 976 w 998"/>
                  <a:gd name="T1" fmla="*/ 516 h 851"/>
                  <a:gd name="T2" fmla="*/ 804 w 998"/>
                  <a:gd name="T3" fmla="*/ 446 h 851"/>
                  <a:gd name="T4" fmla="*/ 794 w 998"/>
                  <a:gd name="T5" fmla="*/ 413 h 851"/>
                  <a:gd name="T6" fmla="*/ 780 w 998"/>
                  <a:gd name="T7" fmla="*/ 407 h 851"/>
                  <a:gd name="T8" fmla="*/ 764 w 998"/>
                  <a:gd name="T9" fmla="*/ 400 h 851"/>
                  <a:gd name="T10" fmla="*/ 719 w 998"/>
                  <a:gd name="T11" fmla="*/ 332 h 851"/>
                  <a:gd name="T12" fmla="*/ 669 w 998"/>
                  <a:gd name="T13" fmla="*/ 265 h 851"/>
                  <a:gd name="T14" fmla="*/ 646 w 998"/>
                  <a:gd name="T15" fmla="*/ 218 h 851"/>
                  <a:gd name="T16" fmla="*/ 637 w 998"/>
                  <a:gd name="T17" fmla="*/ 195 h 851"/>
                  <a:gd name="T18" fmla="*/ 588 w 998"/>
                  <a:gd name="T19" fmla="*/ 170 h 851"/>
                  <a:gd name="T20" fmla="*/ 332 w 998"/>
                  <a:gd name="T21" fmla="*/ 63 h 851"/>
                  <a:gd name="T22" fmla="*/ 250 w 998"/>
                  <a:gd name="T23" fmla="*/ 9 h 851"/>
                  <a:gd name="T24" fmla="*/ 200 w 998"/>
                  <a:gd name="T25" fmla="*/ 0 h 851"/>
                  <a:gd name="T26" fmla="*/ 147 w 998"/>
                  <a:gd name="T27" fmla="*/ 18 h 851"/>
                  <a:gd name="T28" fmla="*/ 111 w 998"/>
                  <a:gd name="T29" fmla="*/ 32 h 851"/>
                  <a:gd name="T30" fmla="*/ 111 w 998"/>
                  <a:gd name="T31" fmla="*/ 46 h 851"/>
                  <a:gd name="T32" fmla="*/ 123 w 998"/>
                  <a:gd name="T33" fmla="*/ 118 h 851"/>
                  <a:gd name="T34" fmla="*/ 70 w 998"/>
                  <a:gd name="T35" fmla="*/ 163 h 851"/>
                  <a:gd name="T36" fmla="*/ 12 w 998"/>
                  <a:gd name="T37" fmla="*/ 161 h 851"/>
                  <a:gd name="T38" fmla="*/ 12 w 998"/>
                  <a:gd name="T39" fmla="*/ 249 h 851"/>
                  <a:gd name="T40" fmla="*/ 85 w 998"/>
                  <a:gd name="T41" fmla="*/ 334 h 851"/>
                  <a:gd name="T42" fmla="*/ 145 w 998"/>
                  <a:gd name="T43" fmla="*/ 433 h 851"/>
                  <a:gd name="T44" fmla="*/ 232 w 998"/>
                  <a:gd name="T45" fmla="*/ 560 h 851"/>
                  <a:gd name="T46" fmla="*/ 300 w 998"/>
                  <a:gd name="T47" fmla="*/ 631 h 851"/>
                  <a:gd name="T48" fmla="*/ 419 w 998"/>
                  <a:gd name="T49" fmla="*/ 826 h 851"/>
                  <a:gd name="T50" fmla="*/ 427 w 998"/>
                  <a:gd name="T51" fmla="*/ 837 h 851"/>
                  <a:gd name="T52" fmla="*/ 437 w 998"/>
                  <a:gd name="T53" fmla="*/ 790 h 851"/>
                  <a:gd name="T54" fmla="*/ 470 w 998"/>
                  <a:gd name="T55" fmla="*/ 798 h 851"/>
                  <a:gd name="T56" fmla="*/ 522 w 998"/>
                  <a:gd name="T57" fmla="*/ 791 h 851"/>
                  <a:gd name="T58" fmla="*/ 593 w 998"/>
                  <a:gd name="T59" fmla="*/ 799 h 851"/>
                  <a:gd name="T60" fmla="*/ 628 w 998"/>
                  <a:gd name="T61" fmla="*/ 804 h 851"/>
                  <a:gd name="T62" fmla="*/ 653 w 998"/>
                  <a:gd name="T63" fmla="*/ 755 h 851"/>
                  <a:gd name="T64" fmla="*/ 839 w 998"/>
                  <a:gd name="T65" fmla="*/ 710 h 851"/>
                  <a:gd name="T66" fmla="*/ 998 w 998"/>
                  <a:gd name="T67" fmla="*/ 546 h 85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98"/>
                  <a:gd name="T103" fmla="*/ 0 h 851"/>
                  <a:gd name="T104" fmla="*/ 998 w 998"/>
                  <a:gd name="T105" fmla="*/ 851 h 85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98" h="851">
                    <a:moveTo>
                      <a:pt x="980" y="527"/>
                    </a:moveTo>
                    <a:cubicBezTo>
                      <a:pt x="980" y="525"/>
                      <a:pt x="978" y="521"/>
                      <a:pt x="976" y="516"/>
                    </a:cubicBezTo>
                    <a:cubicBezTo>
                      <a:pt x="942" y="512"/>
                      <a:pt x="853" y="501"/>
                      <a:pt x="851" y="501"/>
                    </a:cubicBezTo>
                    <a:cubicBezTo>
                      <a:pt x="848" y="501"/>
                      <a:pt x="811" y="453"/>
                      <a:pt x="804" y="446"/>
                    </a:cubicBezTo>
                    <a:cubicBezTo>
                      <a:pt x="799" y="441"/>
                      <a:pt x="799" y="433"/>
                      <a:pt x="800" y="428"/>
                    </a:cubicBezTo>
                    <a:cubicBezTo>
                      <a:pt x="796" y="423"/>
                      <a:pt x="793" y="417"/>
                      <a:pt x="794" y="413"/>
                    </a:cubicBezTo>
                    <a:cubicBezTo>
                      <a:pt x="788" y="415"/>
                      <a:pt x="788" y="415"/>
                      <a:pt x="788" y="415"/>
                    </a:cubicBezTo>
                    <a:cubicBezTo>
                      <a:pt x="780" y="407"/>
                      <a:pt x="780" y="407"/>
                      <a:pt x="780" y="407"/>
                    </a:cubicBezTo>
                    <a:cubicBezTo>
                      <a:pt x="770" y="410"/>
                      <a:pt x="770" y="410"/>
                      <a:pt x="770" y="410"/>
                    </a:cubicBezTo>
                    <a:cubicBezTo>
                      <a:pt x="764" y="400"/>
                      <a:pt x="764" y="400"/>
                      <a:pt x="764" y="400"/>
                    </a:cubicBezTo>
                    <a:cubicBezTo>
                      <a:pt x="757" y="398"/>
                      <a:pt x="750" y="359"/>
                      <a:pt x="744" y="354"/>
                    </a:cubicBezTo>
                    <a:cubicBezTo>
                      <a:pt x="738" y="349"/>
                      <a:pt x="722" y="346"/>
                      <a:pt x="719" y="332"/>
                    </a:cubicBezTo>
                    <a:cubicBezTo>
                      <a:pt x="715" y="318"/>
                      <a:pt x="720" y="296"/>
                      <a:pt x="707" y="286"/>
                    </a:cubicBezTo>
                    <a:cubicBezTo>
                      <a:pt x="693" y="275"/>
                      <a:pt x="675" y="277"/>
                      <a:pt x="669" y="265"/>
                    </a:cubicBezTo>
                    <a:cubicBezTo>
                      <a:pt x="663" y="252"/>
                      <a:pt x="670" y="239"/>
                      <a:pt x="664" y="235"/>
                    </a:cubicBezTo>
                    <a:cubicBezTo>
                      <a:pt x="658" y="231"/>
                      <a:pt x="646" y="218"/>
                      <a:pt x="646" y="218"/>
                    </a:cubicBezTo>
                    <a:cubicBezTo>
                      <a:pt x="645" y="201"/>
                      <a:pt x="645" y="201"/>
                      <a:pt x="645" y="201"/>
                    </a:cubicBezTo>
                    <a:cubicBezTo>
                      <a:pt x="645" y="201"/>
                      <a:pt x="642" y="198"/>
                      <a:pt x="637" y="195"/>
                    </a:cubicBezTo>
                    <a:cubicBezTo>
                      <a:pt x="624" y="196"/>
                      <a:pt x="606" y="196"/>
                      <a:pt x="598" y="196"/>
                    </a:cubicBezTo>
                    <a:cubicBezTo>
                      <a:pt x="584" y="195"/>
                      <a:pt x="594" y="177"/>
                      <a:pt x="588" y="170"/>
                    </a:cubicBezTo>
                    <a:cubicBezTo>
                      <a:pt x="582" y="163"/>
                      <a:pt x="460" y="160"/>
                      <a:pt x="460" y="160"/>
                    </a:cubicBezTo>
                    <a:cubicBezTo>
                      <a:pt x="332" y="63"/>
                      <a:pt x="332" y="63"/>
                      <a:pt x="332" y="63"/>
                    </a:cubicBezTo>
                    <a:cubicBezTo>
                      <a:pt x="332" y="63"/>
                      <a:pt x="311" y="49"/>
                      <a:pt x="299" y="43"/>
                    </a:cubicBezTo>
                    <a:cubicBezTo>
                      <a:pt x="287" y="37"/>
                      <a:pt x="250" y="9"/>
                      <a:pt x="250" y="9"/>
                    </a:cubicBezTo>
                    <a:cubicBezTo>
                      <a:pt x="250" y="9"/>
                      <a:pt x="225" y="8"/>
                      <a:pt x="216" y="9"/>
                    </a:cubicBezTo>
                    <a:cubicBezTo>
                      <a:pt x="207" y="10"/>
                      <a:pt x="200" y="0"/>
                      <a:pt x="200" y="0"/>
                    </a:cubicBezTo>
                    <a:cubicBezTo>
                      <a:pt x="200" y="0"/>
                      <a:pt x="187" y="8"/>
                      <a:pt x="181" y="14"/>
                    </a:cubicBezTo>
                    <a:cubicBezTo>
                      <a:pt x="175" y="20"/>
                      <a:pt x="147" y="18"/>
                      <a:pt x="147" y="18"/>
                    </a:cubicBezTo>
                    <a:cubicBezTo>
                      <a:pt x="139" y="32"/>
                      <a:pt x="139" y="32"/>
                      <a:pt x="139" y="32"/>
                    </a:cubicBezTo>
                    <a:cubicBezTo>
                      <a:pt x="111" y="32"/>
                      <a:pt x="111" y="32"/>
                      <a:pt x="111" y="32"/>
                    </a:cubicBezTo>
                    <a:cubicBezTo>
                      <a:pt x="111" y="32"/>
                      <a:pt x="86" y="31"/>
                      <a:pt x="79" y="38"/>
                    </a:cubicBezTo>
                    <a:cubicBezTo>
                      <a:pt x="72" y="45"/>
                      <a:pt x="104" y="42"/>
                      <a:pt x="111" y="46"/>
                    </a:cubicBezTo>
                    <a:cubicBezTo>
                      <a:pt x="118" y="50"/>
                      <a:pt x="137" y="85"/>
                      <a:pt x="137" y="85"/>
                    </a:cubicBezTo>
                    <a:cubicBezTo>
                      <a:pt x="137" y="85"/>
                      <a:pt x="131" y="111"/>
                      <a:pt x="123" y="118"/>
                    </a:cubicBezTo>
                    <a:cubicBezTo>
                      <a:pt x="115" y="125"/>
                      <a:pt x="98" y="121"/>
                      <a:pt x="92" y="123"/>
                    </a:cubicBezTo>
                    <a:cubicBezTo>
                      <a:pt x="86" y="125"/>
                      <a:pt x="84" y="152"/>
                      <a:pt x="70" y="163"/>
                    </a:cubicBezTo>
                    <a:cubicBezTo>
                      <a:pt x="56" y="174"/>
                      <a:pt x="25" y="154"/>
                      <a:pt x="18" y="155"/>
                    </a:cubicBezTo>
                    <a:cubicBezTo>
                      <a:pt x="12" y="156"/>
                      <a:pt x="12" y="160"/>
                      <a:pt x="12" y="161"/>
                    </a:cubicBezTo>
                    <a:cubicBezTo>
                      <a:pt x="12" y="161"/>
                      <a:pt x="12" y="161"/>
                      <a:pt x="12" y="161"/>
                    </a:cubicBezTo>
                    <a:cubicBezTo>
                      <a:pt x="12" y="170"/>
                      <a:pt x="0" y="237"/>
                      <a:pt x="12" y="249"/>
                    </a:cubicBezTo>
                    <a:cubicBezTo>
                      <a:pt x="24" y="260"/>
                      <a:pt x="49" y="260"/>
                      <a:pt x="54" y="274"/>
                    </a:cubicBezTo>
                    <a:cubicBezTo>
                      <a:pt x="60" y="288"/>
                      <a:pt x="76" y="325"/>
                      <a:pt x="85" y="334"/>
                    </a:cubicBezTo>
                    <a:cubicBezTo>
                      <a:pt x="94" y="343"/>
                      <a:pt x="113" y="358"/>
                      <a:pt x="120" y="370"/>
                    </a:cubicBezTo>
                    <a:cubicBezTo>
                      <a:pt x="128" y="383"/>
                      <a:pt x="132" y="421"/>
                      <a:pt x="145" y="433"/>
                    </a:cubicBezTo>
                    <a:cubicBezTo>
                      <a:pt x="157" y="445"/>
                      <a:pt x="184" y="434"/>
                      <a:pt x="201" y="453"/>
                    </a:cubicBezTo>
                    <a:cubicBezTo>
                      <a:pt x="218" y="472"/>
                      <a:pt x="232" y="531"/>
                      <a:pt x="232" y="560"/>
                    </a:cubicBezTo>
                    <a:cubicBezTo>
                      <a:pt x="232" y="590"/>
                      <a:pt x="267" y="626"/>
                      <a:pt x="267" y="626"/>
                    </a:cubicBezTo>
                    <a:cubicBezTo>
                      <a:pt x="267" y="626"/>
                      <a:pt x="291" y="623"/>
                      <a:pt x="300" y="631"/>
                    </a:cubicBezTo>
                    <a:cubicBezTo>
                      <a:pt x="308" y="639"/>
                      <a:pt x="344" y="704"/>
                      <a:pt x="358" y="728"/>
                    </a:cubicBezTo>
                    <a:cubicBezTo>
                      <a:pt x="372" y="752"/>
                      <a:pt x="420" y="810"/>
                      <a:pt x="419" y="826"/>
                    </a:cubicBezTo>
                    <a:cubicBezTo>
                      <a:pt x="419" y="833"/>
                      <a:pt x="417" y="842"/>
                      <a:pt x="414" y="851"/>
                    </a:cubicBezTo>
                    <a:cubicBezTo>
                      <a:pt x="418" y="848"/>
                      <a:pt x="423" y="844"/>
                      <a:pt x="427" y="837"/>
                    </a:cubicBezTo>
                    <a:cubicBezTo>
                      <a:pt x="434" y="826"/>
                      <a:pt x="428" y="824"/>
                      <a:pt x="428" y="824"/>
                    </a:cubicBezTo>
                    <a:cubicBezTo>
                      <a:pt x="428" y="824"/>
                      <a:pt x="427" y="795"/>
                      <a:pt x="437" y="790"/>
                    </a:cubicBezTo>
                    <a:cubicBezTo>
                      <a:pt x="447" y="785"/>
                      <a:pt x="452" y="799"/>
                      <a:pt x="452" y="799"/>
                    </a:cubicBezTo>
                    <a:cubicBezTo>
                      <a:pt x="470" y="798"/>
                      <a:pt x="470" y="798"/>
                      <a:pt x="470" y="798"/>
                    </a:cubicBezTo>
                    <a:cubicBezTo>
                      <a:pt x="470" y="798"/>
                      <a:pt x="477" y="792"/>
                      <a:pt x="482" y="792"/>
                    </a:cubicBezTo>
                    <a:cubicBezTo>
                      <a:pt x="487" y="792"/>
                      <a:pt x="506" y="791"/>
                      <a:pt x="522" y="791"/>
                    </a:cubicBezTo>
                    <a:cubicBezTo>
                      <a:pt x="538" y="791"/>
                      <a:pt x="549" y="799"/>
                      <a:pt x="549" y="799"/>
                    </a:cubicBezTo>
                    <a:cubicBezTo>
                      <a:pt x="549" y="799"/>
                      <a:pt x="589" y="797"/>
                      <a:pt x="593" y="799"/>
                    </a:cubicBezTo>
                    <a:cubicBezTo>
                      <a:pt x="597" y="801"/>
                      <a:pt x="611" y="816"/>
                      <a:pt x="616" y="816"/>
                    </a:cubicBezTo>
                    <a:cubicBezTo>
                      <a:pt x="621" y="816"/>
                      <a:pt x="628" y="804"/>
                      <a:pt x="628" y="804"/>
                    </a:cubicBezTo>
                    <a:cubicBezTo>
                      <a:pt x="628" y="792"/>
                      <a:pt x="628" y="792"/>
                      <a:pt x="628" y="792"/>
                    </a:cubicBezTo>
                    <a:cubicBezTo>
                      <a:pt x="628" y="792"/>
                      <a:pt x="643" y="768"/>
                      <a:pt x="653" y="755"/>
                    </a:cubicBezTo>
                    <a:cubicBezTo>
                      <a:pt x="663" y="742"/>
                      <a:pt x="705" y="723"/>
                      <a:pt x="717" y="723"/>
                    </a:cubicBezTo>
                    <a:cubicBezTo>
                      <a:pt x="729" y="723"/>
                      <a:pt x="839" y="710"/>
                      <a:pt x="839" y="710"/>
                    </a:cubicBezTo>
                    <a:cubicBezTo>
                      <a:pt x="972" y="661"/>
                      <a:pt x="972" y="661"/>
                      <a:pt x="972" y="661"/>
                    </a:cubicBezTo>
                    <a:cubicBezTo>
                      <a:pt x="998" y="546"/>
                      <a:pt x="998" y="546"/>
                      <a:pt x="998" y="546"/>
                    </a:cubicBezTo>
                    <a:cubicBezTo>
                      <a:pt x="998" y="546"/>
                      <a:pt x="980" y="531"/>
                      <a:pt x="980" y="52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4" name="MCShape 56">
                <a:extLst>
                  <a:ext uri="{FF2B5EF4-FFF2-40B4-BE49-F238E27FC236}">
                    <a16:creationId xmlns:a16="http://schemas.microsoft.com/office/drawing/2014/main" id="{471E69D5-DD9C-475C-977E-91EBBAB84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7234" y="3114957"/>
                <a:ext cx="44855" cy="61870"/>
              </a:xfrm>
              <a:custGeom>
                <a:avLst/>
                <a:gdLst>
                  <a:gd name="T0" fmla="*/ 46 w 76"/>
                  <a:gd name="T1" fmla="*/ 66 h 105"/>
                  <a:gd name="T2" fmla="*/ 50 w 76"/>
                  <a:gd name="T3" fmla="*/ 46 h 105"/>
                  <a:gd name="T4" fmla="*/ 71 w 76"/>
                  <a:gd name="T5" fmla="*/ 34 h 105"/>
                  <a:gd name="T6" fmla="*/ 64 w 76"/>
                  <a:gd name="T7" fmla="*/ 10 h 105"/>
                  <a:gd name="T8" fmla="*/ 65 w 76"/>
                  <a:gd name="T9" fmla="*/ 0 h 105"/>
                  <a:gd name="T10" fmla="*/ 40 w 76"/>
                  <a:gd name="T11" fmla="*/ 0 h 105"/>
                  <a:gd name="T12" fmla="*/ 37 w 76"/>
                  <a:gd name="T13" fmla="*/ 0 h 105"/>
                  <a:gd name="T14" fmla="*/ 36 w 76"/>
                  <a:gd name="T15" fmla="*/ 5 h 105"/>
                  <a:gd name="T16" fmla="*/ 20 w 76"/>
                  <a:gd name="T17" fmla="*/ 21 h 105"/>
                  <a:gd name="T18" fmla="*/ 11 w 76"/>
                  <a:gd name="T19" fmla="*/ 45 h 105"/>
                  <a:gd name="T20" fmla="*/ 0 w 76"/>
                  <a:gd name="T21" fmla="*/ 89 h 105"/>
                  <a:gd name="T22" fmla="*/ 1 w 76"/>
                  <a:gd name="T23" fmla="*/ 105 h 105"/>
                  <a:gd name="T24" fmla="*/ 6 w 76"/>
                  <a:gd name="T25" fmla="*/ 100 h 105"/>
                  <a:gd name="T26" fmla="*/ 13 w 76"/>
                  <a:gd name="T27" fmla="*/ 87 h 105"/>
                  <a:gd name="T28" fmla="*/ 27 w 76"/>
                  <a:gd name="T29" fmla="*/ 86 h 105"/>
                  <a:gd name="T30" fmla="*/ 31 w 76"/>
                  <a:gd name="T31" fmla="*/ 69 h 105"/>
                  <a:gd name="T32" fmla="*/ 46 w 76"/>
                  <a:gd name="T33" fmla="*/ 66 h 10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76"/>
                  <a:gd name="T52" fmla="*/ 0 h 105"/>
                  <a:gd name="T53" fmla="*/ 76 w 76"/>
                  <a:gd name="T54" fmla="*/ 105 h 10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76" h="105">
                    <a:moveTo>
                      <a:pt x="46" y="66"/>
                    </a:moveTo>
                    <a:cubicBezTo>
                      <a:pt x="46" y="66"/>
                      <a:pt x="41" y="49"/>
                      <a:pt x="50" y="46"/>
                    </a:cubicBezTo>
                    <a:cubicBezTo>
                      <a:pt x="59" y="43"/>
                      <a:pt x="66" y="46"/>
                      <a:pt x="71" y="34"/>
                    </a:cubicBezTo>
                    <a:cubicBezTo>
                      <a:pt x="76" y="22"/>
                      <a:pt x="64" y="10"/>
                      <a:pt x="64" y="1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2"/>
                      <a:pt x="37" y="4"/>
                      <a:pt x="36" y="5"/>
                    </a:cubicBezTo>
                    <a:cubicBezTo>
                      <a:pt x="29" y="15"/>
                      <a:pt x="20" y="21"/>
                      <a:pt x="20" y="21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5"/>
                      <a:pt x="1" y="69"/>
                      <a:pt x="0" y="89"/>
                    </a:cubicBezTo>
                    <a:cubicBezTo>
                      <a:pt x="0" y="94"/>
                      <a:pt x="0" y="100"/>
                      <a:pt x="1" y="105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3" y="87"/>
                      <a:pt x="13" y="87"/>
                      <a:pt x="13" y="87"/>
                    </a:cubicBezTo>
                    <a:cubicBezTo>
                      <a:pt x="13" y="87"/>
                      <a:pt x="22" y="93"/>
                      <a:pt x="27" y="86"/>
                    </a:cubicBezTo>
                    <a:cubicBezTo>
                      <a:pt x="32" y="79"/>
                      <a:pt x="31" y="69"/>
                      <a:pt x="31" y="69"/>
                    </a:cubicBezTo>
                    <a:cubicBezTo>
                      <a:pt x="46" y="66"/>
                      <a:pt x="46" y="66"/>
                      <a:pt x="46" y="6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5" name="MCShape 57">
                <a:extLst>
                  <a:ext uri="{FF2B5EF4-FFF2-40B4-BE49-F238E27FC236}">
                    <a16:creationId xmlns:a16="http://schemas.microsoft.com/office/drawing/2014/main" id="{9F99885B-2369-4970-9539-E71478BC5C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9608" y="3026792"/>
                <a:ext cx="174781" cy="162408"/>
              </a:xfrm>
              <a:custGeom>
                <a:avLst/>
                <a:gdLst>
                  <a:gd name="T0" fmla="*/ 281 w 297"/>
                  <a:gd name="T1" fmla="*/ 39 h 275"/>
                  <a:gd name="T2" fmla="*/ 297 w 297"/>
                  <a:gd name="T3" fmla="*/ 19 h 275"/>
                  <a:gd name="T4" fmla="*/ 290 w 297"/>
                  <a:gd name="T5" fmla="*/ 2 h 275"/>
                  <a:gd name="T6" fmla="*/ 277 w 297"/>
                  <a:gd name="T7" fmla="*/ 12 h 275"/>
                  <a:gd name="T8" fmla="*/ 264 w 297"/>
                  <a:gd name="T9" fmla="*/ 15 h 275"/>
                  <a:gd name="T10" fmla="*/ 250 w 297"/>
                  <a:gd name="T11" fmla="*/ 22 h 275"/>
                  <a:gd name="T12" fmla="*/ 241 w 297"/>
                  <a:gd name="T13" fmla="*/ 16 h 275"/>
                  <a:gd name="T14" fmla="*/ 217 w 297"/>
                  <a:gd name="T15" fmla="*/ 16 h 275"/>
                  <a:gd name="T16" fmla="*/ 188 w 297"/>
                  <a:gd name="T17" fmla="*/ 32 h 275"/>
                  <a:gd name="T18" fmla="*/ 163 w 297"/>
                  <a:gd name="T19" fmla="*/ 39 h 275"/>
                  <a:gd name="T20" fmla="*/ 140 w 297"/>
                  <a:gd name="T21" fmla="*/ 35 h 275"/>
                  <a:gd name="T22" fmla="*/ 114 w 297"/>
                  <a:gd name="T23" fmla="*/ 22 h 275"/>
                  <a:gd name="T24" fmla="*/ 100 w 297"/>
                  <a:gd name="T25" fmla="*/ 33 h 275"/>
                  <a:gd name="T26" fmla="*/ 64 w 297"/>
                  <a:gd name="T27" fmla="*/ 41 h 275"/>
                  <a:gd name="T28" fmla="*/ 58 w 297"/>
                  <a:gd name="T29" fmla="*/ 31 h 275"/>
                  <a:gd name="T30" fmla="*/ 42 w 297"/>
                  <a:gd name="T31" fmla="*/ 32 h 275"/>
                  <a:gd name="T32" fmla="*/ 43 w 297"/>
                  <a:gd name="T33" fmla="*/ 53 h 275"/>
                  <a:gd name="T34" fmla="*/ 48 w 297"/>
                  <a:gd name="T35" fmla="*/ 64 h 275"/>
                  <a:gd name="T36" fmla="*/ 33 w 297"/>
                  <a:gd name="T37" fmla="*/ 66 h 275"/>
                  <a:gd name="T38" fmla="*/ 33 w 297"/>
                  <a:gd name="T39" fmla="*/ 75 h 275"/>
                  <a:gd name="T40" fmla="*/ 27 w 297"/>
                  <a:gd name="T41" fmla="*/ 84 h 275"/>
                  <a:gd name="T42" fmla="*/ 14 w 297"/>
                  <a:gd name="T43" fmla="*/ 78 h 275"/>
                  <a:gd name="T44" fmla="*/ 5 w 297"/>
                  <a:gd name="T45" fmla="*/ 98 h 275"/>
                  <a:gd name="T46" fmla="*/ 1 w 297"/>
                  <a:gd name="T47" fmla="*/ 99 h 275"/>
                  <a:gd name="T48" fmla="*/ 0 w 297"/>
                  <a:gd name="T49" fmla="*/ 131 h 275"/>
                  <a:gd name="T50" fmla="*/ 17 w 297"/>
                  <a:gd name="T51" fmla="*/ 147 h 275"/>
                  <a:gd name="T52" fmla="*/ 20 w 297"/>
                  <a:gd name="T53" fmla="*/ 147 h 275"/>
                  <a:gd name="T54" fmla="*/ 45 w 297"/>
                  <a:gd name="T55" fmla="*/ 147 h 275"/>
                  <a:gd name="T56" fmla="*/ 44 w 297"/>
                  <a:gd name="T57" fmla="*/ 157 h 275"/>
                  <a:gd name="T58" fmla="*/ 51 w 297"/>
                  <a:gd name="T59" fmla="*/ 181 h 275"/>
                  <a:gd name="T60" fmla="*/ 30 w 297"/>
                  <a:gd name="T61" fmla="*/ 193 h 275"/>
                  <a:gd name="T62" fmla="*/ 26 w 297"/>
                  <a:gd name="T63" fmla="*/ 213 h 275"/>
                  <a:gd name="T64" fmla="*/ 16 w 297"/>
                  <a:gd name="T65" fmla="*/ 224 h 275"/>
                  <a:gd name="T66" fmla="*/ 19 w 297"/>
                  <a:gd name="T67" fmla="*/ 254 h 275"/>
                  <a:gd name="T68" fmla="*/ 23 w 297"/>
                  <a:gd name="T69" fmla="*/ 251 h 275"/>
                  <a:gd name="T70" fmla="*/ 45 w 297"/>
                  <a:gd name="T71" fmla="*/ 263 h 275"/>
                  <a:gd name="T72" fmla="*/ 73 w 297"/>
                  <a:gd name="T73" fmla="*/ 275 h 275"/>
                  <a:gd name="T74" fmla="*/ 157 w 297"/>
                  <a:gd name="T75" fmla="*/ 218 h 275"/>
                  <a:gd name="T76" fmla="*/ 200 w 297"/>
                  <a:gd name="T77" fmla="*/ 183 h 275"/>
                  <a:gd name="T78" fmla="*/ 261 w 297"/>
                  <a:gd name="T79" fmla="*/ 156 h 275"/>
                  <a:gd name="T80" fmla="*/ 255 w 297"/>
                  <a:gd name="T81" fmla="*/ 131 h 275"/>
                  <a:gd name="T82" fmla="*/ 264 w 297"/>
                  <a:gd name="T83" fmla="*/ 112 h 275"/>
                  <a:gd name="T84" fmla="*/ 260 w 297"/>
                  <a:gd name="T85" fmla="*/ 77 h 275"/>
                  <a:gd name="T86" fmla="*/ 249 w 297"/>
                  <a:gd name="T87" fmla="*/ 55 h 275"/>
                  <a:gd name="T88" fmla="*/ 281 w 297"/>
                  <a:gd name="T89" fmla="*/ 39 h 27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7"/>
                  <a:gd name="T136" fmla="*/ 0 h 275"/>
                  <a:gd name="T137" fmla="*/ 297 w 297"/>
                  <a:gd name="T138" fmla="*/ 275 h 27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7" h="275">
                    <a:moveTo>
                      <a:pt x="281" y="39"/>
                    </a:moveTo>
                    <a:cubicBezTo>
                      <a:pt x="290" y="35"/>
                      <a:pt x="295" y="26"/>
                      <a:pt x="297" y="19"/>
                    </a:cubicBezTo>
                    <a:cubicBezTo>
                      <a:pt x="288" y="20"/>
                      <a:pt x="293" y="4"/>
                      <a:pt x="290" y="2"/>
                    </a:cubicBezTo>
                    <a:cubicBezTo>
                      <a:pt x="287" y="0"/>
                      <a:pt x="285" y="11"/>
                      <a:pt x="277" y="12"/>
                    </a:cubicBezTo>
                    <a:cubicBezTo>
                      <a:pt x="269" y="13"/>
                      <a:pt x="264" y="15"/>
                      <a:pt x="264" y="15"/>
                    </a:cubicBezTo>
                    <a:cubicBezTo>
                      <a:pt x="264" y="15"/>
                      <a:pt x="259" y="21"/>
                      <a:pt x="250" y="22"/>
                    </a:cubicBezTo>
                    <a:cubicBezTo>
                      <a:pt x="241" y="23"/>
                      <a:pt x="246" y="18"/>
                      <a:pt x="241" y="16"/>
                    </a:cubicBezTo>
                    <a:cubicBezTo>
                      <a:pt x="236" y="14"/>
                      <a:pt x="230" y="15"/>
                      <a:pt x="217" y="16"/>
                    </a:cubicBezTo>
                    <a:cubicBezTo>
                      <a:pt x="204" y="17"/>
                      <a:pt x="197" y="29"/>
                      <a:pt x="188" y="32"/>
                    </a:cubicBezTo>
                    <a:cubicBezTo>
                      <a:pt x="179" y="35"/>
                      <a:pt x="174" y="38"/>
                      <a:pt x="163" y="39"/>
                    </a:cubicBezTo>
                    <a:cubicBezTo>
                      <a:pt x="152" y="40"/>
                      <a:pt x="140" y="35"/>
                      <a:pt x="140" y="35"/>
                    </a:cubicBezTo>
                    <a:cubicBezTo>
                      <a:pt x="140" y="35"/>
                      <a:pt x="117" y="23"/>
                      <a:pt x="114" y="22"/>
                    </a:cubicBezTo>
                    <a:cubicBezTo>
                      <a:pt x="111" y="21"/>
                      <a:pt x="100" y="33"/>
                      <a:pt x="100" y="33"/>
                    </a:cubicBezTo>
                    <a:cubicBezTo>
                      <a:pt x="100" y="33"/>
                      <a:pt x="85" y="41"/>
                      <a:pt x="64" y="41"/>
                    </a:cubicBezTo>
                    <a:cubicBezTo>
                      <a:pt x="43" y="41"/>
                      <a:pt x="60" y="35"/>
                      <a:pt x="58" y="31"/>
                    </a:cubicBezTo>
                    <a:cubicBezTo>
                      <a:pt x="56" y="27"/>
                      <a:pt x="42" y="32"/>
                      <a:pt x="42" y="32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3" y="53"/>
                      <a:pt x="50" y="51"/>
                      <a:pt x="48" y="64"/>
                    </a:cubicBezTo>
                    <a:cubicBezTo>
                      <a:pt x="47" y="72"/>
                      <a:pt x="33" y="66"/>
                      <a:pt x="33" y="66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33" y="75"/>
                      <a:pt x="31" y="83"/>
                      <a:pt x="27" y="84"/>
                    </a:cubicBezTo>
                    <a:cubicBezTo>
                      <a:pt x="24" y="85"/>
                      <a:pt x="17" y="80"/>
                      <a:pt x="14" y="78"/>
                    </a:cubicBezTo>
                    <a:cubicBezTo>
                      <a:pt x="12" y="83"/>
                      <a:pt x="2" y="91"/>
                      <a:pt x="5" y="98"/>
                    </a:cubicBezTo>
                    <a:cubicBezTo>
                      <a:pt x="1" y="99"/>
                      <a:pt x="1" y="99"/>
                      <a:pt x="1" y="99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1"/>
                      <a:pt x="14" y="139"/>
                      <a:pt x="17" y="147"/>
                    </a:cubicBezTo>
                    <a:cubicBezTo>
                      <a:pt x="20" y="147"/>
                      <a:pt x="20" y="147"/>
                      <a:pt x="20" y="147"/>
                    </a:cubicBezTo>
                    <a:cubicBezTo>
                      <a:pt x="45" y="147"/>
                      <a:pt x="45" y="147"/>
                      <a:pt x="45" y="147"/>
                    </a:cubicBezTo>
                    <a:cubicBezTo>
                      <a:pt x="44" y="157"/>
                      <a:pt x="44" y="157"/>
                      <a:pt x="44" y="157"/>
                    </a:cubicBezTo>
                    <a:cubicBezTo>
                      <a:pt x="44" y="157"/>
                      <a:pt x="56" y="169"/>
                      <a:pt x="51" y="181"/>
                    </a:cubicBezTo>
                    <a:cubicBezTo>
                      <a:pt x="46" y="193"/>
                      <a:pt x="39" y="190"/>
                      <a:pt x="30" y="193"/>
                    </a:cubicBezTo>
                    <a:cubicBezTo>
                      <a:pt x="21" y="196"/>
                      <a:pt x="26" y="213"/>
                      <a:pt x="26" y="213"/>
                    </a:cubicBezTo>
                    <a:cubicBezTo>
                      <a:pt x="16" y="224"/>
                      <a:pt x="16" y="224"/>
                      <a:pt x="16" y="224"/>
                    </a:cubicBezTo>
                    <a:cubicBezTo>
                      <a:pt x="19" y="254"/>
                      <a:pt x="19" y="254"/>
                      <a:pt x="19" y="254"/>
                    </a:cubicBezTo>
                    <a:cubicBezTo>
                      <a:pt x="23" y="251"/>
                      <a:pt x="23" y="251"/>
                      <a:pt x="23" y="251"/>
                    </a:cubicBezTo>
                    <a:cubicBezTo>
                      <a:pt x="45" y="263"/>
                      <a:pt x="45" y="263"/>
                      <a:pt x="45" y="263"/>
                    </a:cubicBezTo>
                    <a:cubicBezTo>
                      <a:pt x="45" y="263"/>
                      <a:pt x="52" y="275"/>
                      <a:pt x="73" y="275"/>
                    </a:cubicBezTo>
                    <a:cubicBezTo>
                      <a:pt x="94" y="275"/>
                      <a:pt x="157" y="218"/>
                      <a:pt x="157" y="218"/>
                    </a:cubicBezTo>
                    <a:cubicBezTo>
                      <a:pt x="200" y="183"/>
                      <a:pt x="200" y="183"/>
                      <a:pt x="200" y="183"/>
                    </a:cubicBezTo>
                    <a:cubicBezTo>
                      <a:pt x="200" y="183"/>
                      <a:pt x="249" y="165"/>
                      <a:pt x="261" y="156"/>
                    </a:cubicBezTo>
                    <a:cubicBezTo>
                      <a:pt x="273" y="147"/>
                      <a:pt x="256" y="138"/>
                      <a:pt x="255" y="131"/>
                    </a:cubicBezTo>
                    <a:cubicBezTo>
                      <a:pt x="254" y="124"/>
                      <a:pt x="260" y="117"/>
                      <a:pt x="264" y="112"/>
                    </a:cubicBezTo>
                    <a:cubicBezTo>
                      <a:pt x="268" y="107"/>
                      <a:pt x="260" y="77"/>
                      <a:pt x="260" y="77"/>
                    </a:cubicBezTo>
                    <a:cubicBezTo>
                      <a:pt x="260" y="77"/>
                      <a:pt x="245" y="69"/>
                      <a:pt x="249" y="55"/>
                    </a:cubicBezTo>
                    <a:cubicBezTo>
                      <a:pt x="253" y="41"/>
                      <a:pt x="265" y="46"/>
                      <a:pt x="281" y="3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6" name="MCShape 58">
                <a:extLst>
                  <a:ext uri="{FF2B5EF4-FFF2-40B4-BE49-F238E27FC236}">
                    <a16:creationId xmlns:a16="http://schemas.microsoft.com/office/drawing/2014/main" id="{64AA2ECB-A1EC-48DB-866F-2D97F4CA7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670" y="2903052"/>
                <a:ext cx="89711" cy="81978"/>
              </a:xfrm>
              <a:custGeom>
                <a:avLst/>
                <a:gdLst>
                  <a:gd name="T0" fmla="*/ 147 w 152"/>
                  <a:gd name="T1" fmla="*/ 111 h 140"/>
                  <a:gd name="T2" fmla="*/ 143 w 152"/>
                  <a:gd name="T3" fmla="*/ 104 h 140"/>
                  <a:gd name="T4" fmla="*/ 145 w 152"/>
                  <a:gd name="T5" fmla="*/ 94 h 140"/>
                  <a:gd name="T6" fmla="*/ 125 w 152"/>
                  <a:gd name="T7" fmla="*/ 92 h 140"/>
                  <a:gd name="T8" fmla="*/ 115 w 152"/>
                  <a:gd name="T9" fmla="*/ 78 h 140"/>
                  <a:gd name="T10" fmla="*/ 97 w 152"/>
                  <a:gd name="T11" fmla="*/ 70 h 140"/>
                  <a:gd name="T12" fmla="*/ 118 w 152"/>
                  <a:gd name="T13" fmla="*/ 61 h 140"/>
                  <a:gd name="T14" fmla="*/ 88 w 152"/>
                  <a:gd name="T15" fmla="*/ 39 h 140"/>
                  <a:gd name="T16" fmla="*/ 94 w 152"/>
                  <a:gd name="T17" fmla="*/ 24 h 140"/>
                  <a:gd name="T18" fmla="*/ 75 w 152"/>
                  <a:gd name="T19" fmla="*/ 16 h 140"/>
                  <a:gd name="T20" fmla="*/ 76 w 152"/>
                  <a:gd name="T21" fmla="*/ 7 h 140"/>
                  <a:gd name="T22" fmla="*/ 61 w 152"/>
                  <a:gd name="T23" fmla="*/ 0 h 140"/>
                  <a:gd name="T24" fmla="*/ 55 w 152"/>
                  <a:gd name="T25" fmla="*/ 10 h 140"/>
                  <a:gd name="T26" fmla="*/ 22 w 152"/>
                  <a:gd name="T27" fmla="*/ 6 h 140"/>
                  <a:gd name="T28" fmla="*/ 17 w 152"/>
                  <a:gd name="T29" fmla="*/ 13 h 140"/>
                  <a:gd name="T30" fmla="*/ 0 w 152"/>
                  <a:gd name="T31" fmla="*/ 14 h 140"/>
                  <a:gd name="T32" fmla="*/ 6 w 152"/>
                  <a:gd name="T33" fmla="*/ 29 h 140"/>
                  <a:gd name="T34" fmla="*/ 18 w 152"/>
                  <a:gd name="T35" fmla="*/ 69 h 140"/>
                  <a:gd name="T36" fmla="*/ 47 w 152"/>
                  <a:gd name="T37" fmla="*/ 72 h 140"/>
                  <a:gd name="T38" fmla="*/ 57 w 152"/>
                  <a:gd name="T39" fmla="*/ 93 h 140"/>
                  <a:gd name="T40" fmla="*/ 55 w 152"/>
                  <a:gd name="T41" fmla="*/ 98 h 140"/>
                  <a:gd name="T42" fmla="*/ 62 w 152"/>
                  <a:gd name="T43" fmla="*/ 103 h 140"/>
                  <a:gd name="T44" fmla="*/ 72 w 152"/>
                  <a:gd name="T45" fmla="*/ 89 h 140"/>
                  <a:gd name="T46" fmla="*/ 83 w 152"/>
                  <a:gd name="T47" fmla="*/ 86 h 140"/>
                  <a:gd name="T48" fmla="*/ 100 w 152"/>
                  <a:gd name="T49" fmla="*/ 97 h 140"/>
                  <a:gd name="T50" fmla="*/ 111 w 152"/>
                  <a:gd name="T51" fmla="*/ 95 h 140"/>
                  <a:gd name="T52" fmla="*/ 119 w 152"/>
                  <a:gd name="T53" fmla="*/ 111 h 140"/>
                  <a:gd name="T54" fmla="*/ 130 w 152"/>
                  <a:gd name="T55" fmla="*/ 138 h 140"/>
                  <a:gd name="T56" fmla="*/ 148 w 152"/>
                  <a:gd name="T57" fmla="*/ 140 h 140"/>
                  <a:gd name="T58" fmla="*/ 147 w 152"/>
                  <a:gd name="T59" fmla="*/ 111 h 14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52"/>
                  <a:gd name="T91" fmla="*/ 0 h 140"/>
                  <a:gd name="T92" fmla="*/ 152 w 152"/>
                  <a:gd name="T93" fmla="*/ 140 h 140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52" h="140">
                    <a:moveTo>
                      <a:pt x="147" y="111"/>
                    </a:moveTo>
                    <a:cubicBezTo>
                      <a:pt x="143" y="104"/>
                      <a:pt x="143" y="104"/>
                      <a:pt x="143" y="104"/>
                    </a:cubicBezTo>
                    <a:cubicBezTo>
                      <a:pt x="145" y="94"/>
                      <a:pt x="145" y="94"/>
                      <a:pt x="145" y="94"/>
                    </a:cubicBezTo>
                    <a:cubicBezTo>
                      <a:pt x="125" y="92"/>
                      <a:pt x="125" y="92"/>
                      <a:pt x="125" y="92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97" y="70"/>
                      <a:pt x="97" y="70"/>
                      <a:pt x="97" y="70"/>
                    </a:cubicBezTo>
                    <a:cubicBezTo>
                      <a:pt x="97" y="70"/>
                      <a:pt x="117" y="70"/>
                      <a:pt x="118" y="61"/>
                    </a:cubicBezTo>
                    <a:cubicBezTo>
                      <a:pt x="119" y="52"/>
                      <a:pt x="88" y="39"/>
                      <a:pt x="88" y="39"/>
                    </a:cubicBezTo>
                    <a:cubicBezTo>
                      <a:pt x="88" y="39"/>
                      <a:pt x="94" y="31"/>
                      <a:pt x="94" y="24"/>
                    </a:cubicBezTo>
                    <a:cubicBezTo>
                      <a:pt x="94" y="17"/>
                      <a:pt x="75" y="16"/>
                      <a:pt x="75" y="16"/>
                    </a:cubicBezTo>
                    <a:cubicBezTo>
                      <a:pt x="76" y="7"/>
                      <a:pt x="76" y="7"/>
                      <a:pt x="76" y="7"/>
                    </a:cubicBezTo>
                    <a:cubicBezTo>
                      <a:pt x="76" y="7"/>
                      <a:pt x="64" y="0"/>
                      <a:pt x="61" y="0"/>
                    </a:cubicBezTo>
                    <a:cubicBezTo>
                      <a:pt x="58" y="0"/>
                      <a:pt x="55" y="10"/>
                      <a:pt x="55" y="10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7"/>
                      <a:pt x="3" y="22"/>
                      <a:pt x="6" y="29"/>
                    </a:cubicBezTo>
                    <a:cubicBezTo>
                      <a:pt x="12" y="44"/>
                      <a:pt x="10" y="58"/>
                      <a:pt x="18" y="69"/>
                    </a:cubicBezTo>
                    <a:cubicBezTo>
                      <a:pt x="26" y="80"/>
                      <a:pt x="42" y="71"/>
                      <a:pt x="47" y="72"/>
                    </a:cubicBezTo>
                    <a:cubicBezTo>
                      <a:pt x="50" y="72"/>
                      <a:pt x="54" y="83"/>
                      <a:pt x="57" y="93"/>
                    </a:cubicBezTo>
                    <a:cubicBezTo>
                      <a:pt x="56" y="95"/>
                      <a:pt x="56" y="96"/>
                      <a:pt x="55" y="98"/>
                    </a:cubicBezTo>
                    <a:cubicBezTo>
                      <a:pt x="62" y="103"/>
                      <a:pt x="62" y="103"/>
                      <a:pt x="62" y="103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89"/>
                      <a:pt x="82" y="86"/>
                      <a:pt x="83" y="86"/>
                    </a:cubicBezTo>
                    <a:cubicBezTo>
                      <a:pt x="90" y="96"/>
                      <a:pt x="100" y="97"/>
                      <a:pt x="100" y="97"/>
                    </a:cubicBezTo>
                    <a:cubicBezTo>
                      <a:pt x="100" y="97"/>
                      <a:pt x="102" y="94"/>
                      <a:pt x="111" y="95"/>
                    </a:cubicBezTo>
                    <a:cubicBezTo>
                      <a:pt x="120" y="96"/>
                      <a:pt x="116" y="107"/>
                      <a:pt x="119" y="111"/>
                    </a:cubicBezTo>
                    <a:cubicBezTo>
                      <a:pt x="122" y="115"/>
                      <a:pt x="130" y="138"/>
                      <a:pt x="130" y="138"/>
                    </a:cubicBezTo>
                    <a:cubicBezTo>
                      <a:pt x="130" y="138"/>
                      <a:pt x="144" y="140"/>
                      <a:pt x="148" y="140"/>
                    </a:cubicBezTo>
                    <a:cubicBezTo>
                      <a:pt x="152" y="140"/>
                      <a:pt x="147" y="111"/>
                      <a:pt x="147" y="11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7" name="MCShape 59">
                <a:extLst>
                  <a:ext uri="{FF2B5EF4-FFF2-40B4-BE49-F238E27FC236}">
                    <a16:creationId xmlns:a16="http://schemas.microsoft.com/office/drawing/2014/main" id="{4364C971-AAC4-425E-8E91-2CD10EEBC9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15009" y="2875211"/>
                <a:ext cx="522797" cy="201076"/>
              </a:xfrm>
              <a:custGeom>
                <a:avLst/>
                <a:gdLst>
                  <a:gd name="T0" fmla="*/ 20 w 888"/>
                  <a:gd name="T1" fmla="*/ 116 h 340"/>
                  <a:gd name="T2" fmla="*/ 27 w 888"/>
                  <a:gd name="T3" fmla="*/ 107 h 340"/>
                  <a:gd name="T4" fmla="*/ 63 w 888"/>
                  <a:gd name="T5" fmla="*/ 93 h 340"/>
                  <a:gd name="T6" fmla="*/ 52 w 888"/>
                  <a:gd name="T7" fmla="*/ 101 h 340"/>
                  <a:gd name="T8" fmla="*/ 887 w 888"/>
                  <a:gd name="T9" fmla="*/ 259 h 340"/>
                  <a:gd name="T10" fmla="*/ 850 w 888"/>
                  <a:gd name="T11" fmla="*/ 224 h 340"/>
                  <a:gd name="T12" fmla="*/ 845 w 888"/>
                  <a:gd name="T13" fmla="*/ 165 h 340"/>
                  <a:gd name="T14" fmla="*/ 853 w 888"/>
                  <a:gd name="T15" fmla="*/ 137 h 340"/>
                  <a:gd name="T16" fmla="*/ 802 w 888"/>
                  <a:gd name="T17" fmla="*/ 73 h 340"/>
                  <a:gd name="T18" fmla="*/ 761 w 888"/>
                  <a:gd name="T19" fmla="*/ 32 h 340"/>
                  <a:gd name="T20" fmla="*/ 678 w 888"/>
                  <a:gd name="T21" fmla="*/ 63 h 340"/>
                  <a:gd name="T22" fmla="*/ 542 w 888"/>
                  <a:gd name="T23" fmla="*/ 57 h 340"/>
                  <a:gd name="T24" fmla="*/ 491 w 888"/>
                  <a:gd name="T25" fmla="*/ 51 h 340"/>
                  <a:gd name="T26" fmla="*/ 442 w 888"/>
                  <a:gd name="T27" fmla="*/ 30 h 340"/>
                  <a:gd name="T28" fmla="*/ 385 w 888"/>
                  <a:gd name="T29" fmla="*/ 16 h 340"/>
                  <a:gd name="T30" fmla="*/ 272 w 888"/>
                  <a:gd name="T31" fmla="*/ 42 h 340"/>
                  <a:gd name="T32" fmla="*/ 203 w 888"/>
                  <a:gd name="T33" fmla="*/ 53 h 340"/>
                  <a:gd name="T34" fmla="*/ 120 w 888"/>
                  <a:gd name="T35" fmla="*/ 14 h 340"/>
                  <a:gd name="T36" fmla="*/ 79 w 888"/>
                  <a:gd name="T37" fmla="*/ 10 h 340"/>
                  <a:gd name="T38" fmla="*/ 52 w 888"/>
                  <a:gd name="T39" fmla="*/ 28 h 340"/>
                  <a:gd name="T40" fmla="*/ 50 w 888"/>
                  <a:gd name="T41" fmla="*/ 47 h 340"/>
                  <a:gd name="T42" fmla="*/ 50 w 888"/>
                  <a:gd name="T43" fmla="*/ 86 h 340"/>
                  <a:gd name="T44" fmla="*/ 107 w 888"/>
                  <a:gd name="T45" fmla="*/ 65 h 340"/>
                  <a:gd name="T46" fmla="*/ 165 w 888"/>
                  <a:gd name="T47" fmla="*/ 81 h 340"/>
                  <a:gd name="T48" fmla="*/ 92 w 888"/>
                  <a:gd name="T49" fmla="*/ 91 h 340"/>
                  <a:gd name="T50" fmla="*/ 76 w 888"/>
                  <a:gd name="T51" fmla="*/ 142 h 340"/>
                  <a:gd name="T52" fmla="*/ 83 w 888"/>
                  <a:gd name="T53" fmla="*/ 186 h 340"/>
                  <a:gd name="T54" fmla="*/ 108 w 888"/>
                  <a:gd name="T55" fmla="*/ 234 h 340"/>
                  <a:gd name="T56" fmla="*/ 146 w 888"/>
                  <a:gd name="T57" fmla="*/ 297 h 340"/>
                  <a:gd name="T58" fmla="*/ 250 w 888"/>
                  <a:gd name="T59" fmla="*/ 310 h 340"/>
                  <a:gd name="T60" fmla="*/ 359 w 888"/>
                  <a:gd name="T61" fmla="*/ 325 h 340"/>
                  <a:gd name="T62" fmla="*/ 477 w 888"/>
                  <a:gd name="T63" fmla="*/ 298 h 340"/>
                  <a:gd name="T64" fmla="*/ 495 w 888"/>
                  <a:gd name="T65" fmla="*/ 329 h 340"/>
                  <a:gd name="T66" fmla="*/ 515 w 888"/>
                  <a:gd name="T67" fmla="*/ 330 h 340"/>
                  <a:gd name="T68" fmla="*/ 525 w 888"/>
                  <a:gd name="T69" fmla="*/ 308 h 340"/>
                  <a:gd name="T70" fmla="*/ 546 w 888"/>
                  <a:gd name="T71" fmla="*/ 296 h 340"/>
                  <a:gd name="T72" fmla="*/ 622 w 888"/>
                  <a:gd name="T73" fmla="*/ 290 h 340"/>
                  <a:gd name="T74" fmla="*/ 699 w 888"/>
                  <a:gd name="T75" fmla="*/ 271 h 340"/>
                  <a:gd name="T76" fmla="*/ 746 w 888"/>
                  <a:gd name="T77" fmla="*/ 270 h 340"/>
                  <a:gd name="T78" fmla="*/ 781 w 888"/>
                  <a:gd name="T79" fmla="*/ 274 h 340"/>
                  <a:gd name="T80" fmla="*/ 835 w 888"/>
                  <a:gd name="T81" fmla="*/ 267 h 340"/>
                  <a:gd name="T82" fmla="*/ 888 w 888"/>
                  <a:gd name="T83" fmla="*/ 265 h 340"/>
                  <a:gd name="T84" fmla="*/ 81 w 888"/>
                  <a:gd name="T85" fmla="*/ 204 h 34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88"/>
                  <a:gd name="T130" fmla="*/ 0 h 340"/>
                  <a:gd name="T131" fmla="*/ 888 w 888"/>
                  <a:gd name="T132" fmla="*/ 340 h 34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88" h="340">
                    <a:moveTo>
                      <a:pt x="3" y="126"/>
                    </a:moveTo>
                    <a:cubicBezTo>
                      <a:pt x="17" y="125"/>
                      <a:pt x="17" y="125"/>
                      <a:pt x="17" y="125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0" y="116"/>
                      <a:pt x="0" y="116"/>
                      <a:pt x="0" y="116"/>
                    </a:cubicBezTo>
                    <a:lnTo>
                      <a:pt x="3" y="126"/>
                    </a:lnTo>
                    <a:close/>
                    <a:moveTo>
                      <a:pt x="27" y="107"/>
                    </a:moveTo>
                    <a:cubicBezTo>
                      <a:pt x="30" y="116"/>
                      <a:pt x="40" y="122"/>
                      <a:pt x="39" y="106"/>
                    </a:cubicBezTo>
                    <a:cubicBezTo>
                      <a:pt x="38" y="90"/>
                      <a:pt x="27" y="107"/>
                      <a:pt x="27" y="107"/>
                    </a:cubicBezTo>
                    <a:close/>
                    <a:moveTo>
                      <a:pt x="63" y="93"/>
                    </a:moveTo>
                    <a:cubicBezTo>
                      <a:pt x="45" y="93"/>
                      <a:pt x="45" y="93"/>
                      <a:pt x="45" y="93"/>
                    </a:cubicBezTo>
                    <a:cubicBezTo>
                      <a:pt x="45" y="114"/>
                      <a:pt x="45" y="114"/>
                      <a:pt x="45" y="114"/>
                    </a:cubicBezTo>
                    <a:cubicBezTo>
                      <a:pt x="52" y="101"/>
                      <a:pt x="52" y="101"/>
                      <a:pt x="52" y="101"/>
                    </a:cubicBezTo>
                    <a:lnTo>
                      <a:pt x="63" y="93"/>
                    </a:lnTo>
                    <a:close/>
                    <a:moveTo>
                      <a:pt x="888" y="265"/>
                    </a:moveTo>
                    <a:cubicBezTo>
                      <a:pt x="887" y="261"/>
                      <a:pt x="887" y="259"/>
                      <a:pt x="887" y="259"/>
                    </a:cubicBezTo>
                    <a:cubicBezTo>
                      <a:pt x="871" y="254"/>
                      <a:pt x="871" y="254"/>
                      <a:pt x="871" y="254"/>
                    </a:cubicBezTo>
                    <a:cubicBezTo>
                      <a:pt x="871" y="236"/>
                      <a:pt x="871" y="236"/>
                      <a:pt x="871" y="236"/>
                    </a:cubicBezTo>
                    <a:cubicBezTo>
                      <a:pt x="850" y="224"/>
                      <a:pt x="850" y="224"/>
                      <a:pt x="850" y="224"/>
                    </a:cubicBezTo>
                    <a:cubicBezTo>
                      <a:pt x="850" y="224"/>
                      <a:pt x="863" y="205"/>
                      <a:pt x="858" y="203"/>
                    </a:cubicBezTo>
                    <a:cubicBezTo>
                      <a:pt x="853" y="201"/>
                      <a:pt x="846" y="180"/>
                      <a:pt x="846" y="180"/>
                    </a:cubicBezTo>
                    <a:cubicBezTo>
                      <a:pt x="845" y="165"/>
                      <a:pt x="845" y="165"/>
                      <a:pt x="845" y="165"/>
                    </a:cubicBezTo>
                    <a:cubicBezTo>
                      <a:pt x="834" y="149"/>
                      <a:pt x="834" y="149"/>
                      <a:pt x="834" y="149"/>
                    </a:cubicBezTo>
                    <a:cubicBezTo>
                      <a:pt x="850" y="147"/>
                      <a:pt x="850" y="147"/>
                      <a:pt x="850" y="147"/>
                    </a:cubicBezTo>
                    <a:cubicBezTo>
                      <a:pt x="850" y="147"/>
                      <a:pt x="851" y="142"/>
                      <a:pt x="853" y="137"/>
                    </a:cubicBezTo>
                    <a:cubicBezTo>
                      <a:pt x="850" y="127"/>
                      <a:pt x="846" y="116"/>
                      <a:pt x="843" y="116"/>
                    </a:cubicBezTo>
                    <a:cubicBezTo>
                      <a:pt x="838" y="115"/>
                      <a:pt x="822" y="124"/>
                      <a:pt x="814" y="113"/>
                    </a:cubicBezTo>
                    <a:cubicBezTo>
                      <a:pt x="806" y="102"/>
                      <a:pt x="808" y="88"/>
                      <a:pt x="802" y="73"/>
                    </a:cubicBezTo>
                    <a:cubicBezTo>
                      <a:pt x="796" y="58"/>
                      <a:pt x="794" y="50"/>
                      <a:pt x="794" y="50"/>
                    </a:cubicBezTo>
                    <a:cubicBezTo>
                      <a:pt x="777" y="50"/>
                      <a:pt x="777" y="50"/>
                      <a:pt x="777" y="50"/>
                    </a:cubicBezTo>
                    <a:cubicBezTo>
                      <a:pt x="777" y="50"/>
                      <a:pt x="775" y="35"/>
                      <a:pt x="761" y="32"/>
                    </a:cubicBezTo>
                    <a:cubicBezTo>
                      <a:pt x="747" y="29"/>
                      <a:pt x="741" y="39"/>
                      <a:pt x="741" y="39"/>
                    </a:cubicBezTo>
                    <a:cubicBezTo>
                      <a:pt x="715" y="34"/>
                      <a:pt x="715" y="34"/>
                      <a:pt x="715" y="34"/>
                    </a:cubicBezTo>
                    <a:cubicBezTo>
                      <a:pt x="706" y="43"/>
                      <a:pt x="688" y="59"/>
                      <a:pt x="678" y="63"/>
                    </a:cubicBezTo>
                    <a:cubicBezTo>
                      <a:pt x="665" y="68"/>
                      <a:pt x="621" y="62"/>
                      <a:pt x="621" y="62"/>
                    </a:cubicBezTo>
                    <a:cubicBezTo>
                      <a:pt x="585" y="72"/>
                      <a:pt x="585" y="72"/>
                      <a:pt x="585" y="72"/>
                    </a:cubicBezTo>
                    <a:cubicBezTo>
                      <a:pt x="542" y="57"/>
                      <a:pt x="542" y="57"/>
                      <a:pt x="542" y="57"/>
                    </a:cubicBezTo>
                    <a:cubicBezTo>
                      <a:pt x="525" y="63"/>
                      <a:pt x="525" y="63"/>
                      <a:pt x="525" y="63"/>
                    </a:cubicBezTo>
                    <a:cubicBezTo>
                      <a:pt x="525" y="63"/>
                      <a:pt x="516" y="40"/>
                      <a:pt x="508" y="42"/>
                    </a:cubicBezTo>
                    <a:cubicBezTo>
                      <a:pt x="500" y="44"/>
                      <a:pt x="491" y="51"/>
                      <a:pt x="491" y="51"/>
                    </a:cubicBezTo>
                    <a:cubicBezTo>
                      <a:pt x="475" y="40"/>
                      <a:pt x="475" y="40"/>
                      <a:pt x="475" y="40"/>
                    </a:cubicBezTo>
                    <a:cubicBezTo>
                      <a:pt x="472" y="25"/>
                      <a:pt x="472" y="25"/>
                      <a:pt x="472" y="25"/>
                    </a:cubicBezTo>
                    <a:cubicBezTo>
                      <a:pt x="442" y="30"/>
                      <a:pt x="442" y="30"/>
                      <a:pt x="442" y="30"/>
                    </a:cubicBezTo>
                    <a:cubicBezTo>
                      <a:pt x="424" y="20"/>
                      <a:pt x="424" y="20"/>
                      <a:pt x="424" y="20"/>
                    </a:cubicBezTo>
                    <a:cubicBezTo>
                      <a:pt x="421" y="6"/>
                      <a:pt x="421" y="6"/>
                      <a:pt x="421" y="6"/>
                    </a:cubicBezTo>
                    <a:cubicBezTo>
                      <a:pt x="421" y="6"/>
                      <a:pt x="398" y="16"/>
                      <a:pt x="385" y="16"/>
                    </a:cubicBezTo>
                    <a:cubicBezTo>
                      <a:pt x="373" y="16"/>
                      <a:pt x="355" y="10"/>
                      <a:pt x="343" y="11"/>
                    </a:cubicBezTo>
                    <a:cubicBezTo>
                      <a:pt x="332" y="12"/>
                      <a:pt x="297" y="26"/>
                      <a:pt x="291" y="32"/>
                    </a:cubicBezTo>
                    <a:cubicBezTo>
                      <a:pt x="286" y="39"/>
                      <a:pt x="272" y="42"/>
                      <a:pt x="272" y="42"/>
                    </a:cubicBezTo>
                    <a:cubicBezTo>
                      <a:pt x="266" y="58"/>
                      <a:pt x="266" y="58"/>
                      <a:pt x="266" y="58"/>
                    </a:cubicBezTo>
                    <a:cubicBezTo>
                      <a:pt x="266" y="58"/>
                      <a:pt x="266" y="62"/>
                      <a:pt x="252" y="59"/>
                    </a:cubicBezTo>
                    <a:cubicBezTo>
                      <a:pt x="239" y="56"/>
                      <a:pt x="216" y="53"/>
                      <a:pt x="203" y="53"/>
                    </a:cubicBezTo>
                    <a:cubicBezTo>
                      <a:pt x="191" y="53"/>
                      <a:pt x="151" y="44"/>
                      <a:pt x="151" y="44"/>
                    </a:cubicBezTo>
                    <a:cubicBezTo>
                      <a:pt x="151" y="44"/>
                      <a:pt x="127" y="47"/>
                      <a:pt x="124" y="33"/>
                    </a:cubicBezTo>
                    <a:cubicBezTo>
                      <a:pt x="122" y="26"/>
                      <a:pt x="121" y="19"/>
                      <a:pt x="120" y="14"/>
                    </a:cubicBezTo>
                    <a:cubicBezTo>
                      <a:pt x="111" y="15"/>
                      <a:pt x="97" y="13"/>
                      <a:pt x="97" y="1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52" y="28"/>
                      <a:pt x="59" y="27"/>
                      <a:pt x="62" y="32"/>
                    </a:cubicBezTo>
                    <a:cubicBezTo>
                      <a:pt x="65" y="37"/>
                      <a:pt x="64" y="45"/>
                      <a:pt x="64" y="45"/>
                    </a:cubicBezTo>
                    <a:cubicBezTo>
                      <a:pt x="64" y="45"/>
                      <a:pt x="51" y="41"/>
                      <a:pt x="50" y="47"/>
                    </a:cubicBezTo>
                    <a:cubicBezTo>
                      <a:pt x="49" y="53"/>
                      <a:pt x="54" y="56"/>
                      <a:pt x="52" y="63"/>
                    </a:cubicBezTo>
                    <a:cubicBezTo>
                      <a:pt x="50" y="70"/>
                      <a:pt x="47" y="75"/>
                      <a:pt x="47" y="75"/>
                    </a:cubicBezTo>
                    <a:cubicBezTo>
                      <a:pt x="47" y="75"/>
                      <a:pt x="35" y="87"/>
                      <a:pt x="50" y="86"/>
                    </a:cubicBezTo>
                    <a:cubicBezTo>
                      <a:pt x="65" y="85"/>
                      <a:pt x="76" y="80"/>
                      <a:pt x="76" y="80"/>
                    </a:cubicBezTo>
                    <a:cubicBezTo>
                      <a:pt x="76" y="80"/>
                      <a:pt x="72" y="90"/>
                      <a:pt x="80" y="87"/>
                    </a:cubicBezTo>
                    <a:cubicBezTo>
                      <a:pt x="88" y="84"/>
                      <a:pt x="107" y="65"/>
                      <a:pt x="107" y="65"/>
                    </a:cubicBezTo>
                    <a:cubicBezTo>
                      <a:pt x="107" y="65"/>
                      <a:pt x="141" y="53"/>
                      <a:pt x="152" y="61"/>
                    </a:cubicBezTo>
                    <a:cubicBezTo>
                      <a:pt x="163" y="69"/>
                      <a:pt x="197" y="74"/>
                      <a:pt x="197" y="74"/>
                    </a:cubicBezTo>
                    <a:cubicBezTo>
                      <a:pt x="197" y="74"/>
                      <a:pt x="166" y="78"/>
                      <a:pt x="165" y="81"/>
                    </a:cubicBezTo>
                    <a:cubicBezTo>
                      <a:pt x="164" y="84"/>
                      <a:pt x="159" y="93"/>
                      <a:pt x="159" y="93"/>
                    </a:cubicBezTo>
                    <a:cubicBezTo>
                      <a:pt x="126" y="94"/>
                      <a:pt x="126" y="94"/>
                      <a:pt x="126" y="94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92" y="91"/>
                      <a:pt x="66" y="97"/>
                      <a:pt x="62" y="105"/>
                    </a:cubicBezTo>
                    <a:cubicBezTo>
                      <a:pt x="58" y="113"/>
                      <a:pt x="49" y="143"/>
                      <a:pt x="49" y="143"/>
                    </a:cubicBezTo>
                    <a:cubicBezTo>
                      <a:pt x="76" y="142"/>
                      <a:pt x="76" y="142"/>
                      <a:pt x="76" y="142"/>
                    </a:cubicBezTo>
                    <a:cubicBezTo>
                      <a:pt x="76" y="142"/>
                      <a:pt x="72" y="151"/>
                      <a:pt x="77" y="159"/>
                    </a:cubicBezTo>
                    <a:cubicBezTo>
                      <a:pt x="82" y="167"/>
                      <a:pt x="88" y="175"/>
                      <a:pt x="88" y="175"/>
                    </a:cubicBezTo>
                    <a:cubicBezTo>
                      <a:pt x="83" y="186"/>
                      <a:pt x="83" y="186"/>
                      <a:pt x="83" y="186"/>
                    </a:cubicBezTo>
                    <a:cubicBezTo>
                      <a:pt x="93" y="201"/>
                      <a:pt x="93" y="201"/>
                      <a:pt x="93" y="201"/>
                    </a:cubicBezTo>
                    <a:cubicBezTo>
                      <a:pt x="84" y="212"/>
                      <a:pt x="84" y="212"/>
                      <a:pt x="84" y="212"/>
                    </a:cubicBezTo>
                    <a:cubicBezTo>
                      <a:pt x="108" y="234"/>
                      <a:pt x="108" y="234"/>
                      <a:pt x="108" y="234"/>
                    </a:cubicBezTo>
                    <a:cubicBezTo>
                      <a:pt x="106" y="258"/>
                      <a:pt x="106" y="258"/>
                      <a:pt x="106" y="258"/>
                    </a:cubicBezTo>
                    <a:cubicBezTo>
                      <a:pt x="140" y="275"/>
                      <a:pt x="140" y="275"/>
                      <a:pt x="140" y="275"/>
                    </a:cubicBezTo>
                    <a:cubicBezTo>
                      <a:pt x="146" y="297"/>
                      <a:pt x="146" y="297"/>
                      <a:pt x="146" y="297"/>
                    </a:cubicBezTo>
                    <a:cubicBezTo>
                      <a:pt x="146" y="297"/>
                      <a:pt x="143" y="285"/>
                      <a:pt x="162" y="290"/>
                    </a:cubicBezTo>
                    <a:cubicBezTo>
                      <a:pt x="181" y="295"/>
                      <a:pt x="178" y="312"/>
                      <a:pt x="208" y="315"/>
                    </a:cubicBezTo>
                    <a:cubicBezTo>
                      <a:pt x="238" y="318"/>
                      <a:pt x="250" y="317"/>
                      <a:pt x="250" y="310"/>
                    </a:cubicBezTo>
                    <a:cubicBezTo>
                      <a:pt x="250" y="303"/>
                      <a:pt x="252" y="284"/>
                      <a:pt x="262" y="283"/>
                    </a:cubicBezTo>
                    <a:cubicBezTo>
                      <a:pt x="272" y="282"/>
                      <a:pt x="299" y="289"/>
                      <a:pt x="313" y="294"/>
                    </a:cubicBezTo>
                    <a:cubicBezTo>
                      <a:pt x="327" y="299"/>
                      <a:pt x="313" y="326"/>
                      <a:pt x="359" y="325"/>
                    </a:cubicBezTo>
                    <a:cubicBezTo>
                      <a:pt x="405" y="324"/>
                      <a:pt x="406" y="299"/>
                      <a:pt x="422" y="294"/>
                    </a:cubicBezTo>
                    <a:cubicBezTo>
                      <a:pt x="438" y="289"/>
                      <a:pt x="450" y="285"/>
                      <a:pt x="457" y="291"/>
                    </a:cubicBezTo>
                    <a:cubicBezTo>
                      <a:pt x="464" y="297"/>
                      <a:pt x="466" y="303"/>
                      <a:pt x="477" y="298"/>
                    </a:cubicBezTo>
                    <a:cubicBezTo>
                      <a:pt x="488" y="293"/>
                      <a:pt x="495" y="277"/>
                      <a:pt x="502" y="284"/>
                    </a:cubicBezTo>
                    <a:cubicBezTo>
                      <a:pt x="509" y="291"/>
                      <a:pt x="501" y="300"/>
                      <a:pt x="498" y="306"/>
                    </a:cubicBezTo>
                    <a:cubicBezTo>
                      <a:pt x="495" y="312"/>
                      <a:pt x="488" y="324"/>
                      <a:pt x="495" y="329"/>
                    </a:cubicBezTo>
                    <a:cubicBezTo>
                      <a:pt x="496" y="330"/>
                      <a:pt x="497" y="331"/>
                      <a:pt x="496" y="333"/>
                    </a:cubicBezTo>
                    <a:cubicBezTo>
                      <a:pt x="499" y="335"/>
                      <a:pt x="506" y="340"/>
                      <a:pt x="509" y="339"/>
                    </a:cubicBezTo>
                    <a:cubicBezTo>
                      <a:pt x="513" y="338"/>
                      <a:pt x="515" y="330"/>
                      <a:pt x="515" y="330"/>
                    </a:cubicBezTo>
                    <a:cubicBezTo>
                      <a:pt x="515" y="321"/>
                      <a:pt x="515" y="321"/>
                      <a:pt x="515" y="321"/>
                    </a:cubicBezTo>
                    <a:cubicBezTo>
                      <a:pt x="515" y="321"/>
                      <a:pt x="529" y="327"/>
                      <a:pt x="530" y="319"/>
                    </a:cubicBezTo>
                    <a:cubicBezTo>
                      <a:pt x="532" y="306"/>
                      <a:pt x="525" y="308"/>
                      <a:pt x="525" y="308"/>
                    </a:cubicBezTo>
                    <a:cubicBezTo>
                      <a:pt x="524" y="287"/>
                      <a:pt x="524" y="287"/>
                      <a:pt x="524" y="287"/>
                    </a:cubicBezTo>
                    <a:cubicBezTo>
                      <a:pt x="524" y="287"/>
                      <a:pt x="538" y="282"/>
                      <a:pt x="540" y="286"/>
                    </a:cubicBezTo>
                    <a:cubicBezTo>
                      <a:pt x="542" y="290"/>
                      <a:pt x="525" y="296"/>
                      <a:pt x="546" y="296"/>
                    </a:cubicBezTo>
                    <a:cubicBezTo>
                      <a:pt x="567" y="296"/>
                      <a:pt x="582" y="288"/>
                      <a:pt x="582" y="288"/>
                    </a:cubicBezTo>
                    <a:cubicBezTo>
                      <a:pt x="582" y="288"/>
                      <a:pt x="593" y="276"/>
                      <a:pt x="596" y="277"/>
                    </a:cubicBezTo>
                    <a:cubicBezTo>
                      <a:pt x="599" y="278"/>
                      <a:pt x="622" y="290"/>
                      <a:pt x="622" y="290"/>
                    </a:cubicBezTo>
                    <a:cubicBezTo>
                      <a:pt x="622" y="290"/>
                      <a:pt x="634" y="295"/>
                      <a:pt x="645" y="294"/>
                    </a:cubicBezTo>
                    <a:cubicBezTo>
                      <a:pt x="656" y="293"/>
                      <a:pt x="661" y="290"/>
                      <a:pt x="670" y="287"/>
                    </a:cubicBezTo>
                    <a:cubicBezTo>
                      <a:pt x="679" y="284"/>
                      <a:pt x="686" y="272"/>
                      <a:pt x="699" y="271"/>
                    </a:cubicBezTo>
                    <a:cubicBezTo>
                      <a:pt x="712" y="270"/>
                      <a:pt x="718" y="269"/>
                      <a:pt x="723" y="271"/>
                    </a:cubicBezTo>
                    <a:cubicBezTo>
                      <a:pt x="728" y="273"/>
                      <a:pt x="723" y="278"/>
                      <a:pt x="732" y="277"/>
                    </a:cubicBezTo>
                    <a:cubicBezTo>
                      <a:pt x="741" y="276"/>
                      <a:pt x="746" y="270"/>
                      <a:pt x="746" y="270"/>
                    </a:cubicBezTo>
                    <a:cubicBezTo>
                      <a:pt x="746" y="270"/>
                      <a:pt x="751" y="268"/>
                      <a:pt x="759" y="267"/>
                    </a:cubicBezTo>
                    <a:cubicBezTo>
                      <a:pt x="767" y="266"/>
                      <a:pt x="769" y="255"/>
                      <a:pt x="772" y="257"/>
                    </a:cubicBezTo>
                    <a:cubicBezTo>
                      <a:pt x="775" y="259"/>
                      <a:pt x="769" y="277"/>
                      <a:pt x="781" y="274"/>
                    </a:cubicBezTo>
                    <a:cubicBezTo>
                      <a:pt x="793" y="271"/>
                      <a:pt x="792" y="258"/>
                      <a:pt x="792" y="258"/>
                    </a:cubicBezTo>
                    <a:cubicBezTo>
                      <a:pt x="818" y="258"/>
                      <a:pt x="818" y="258"/>
                      <a:pt x="818" y="258"/>
                    </a:cubicBezTo>
                    <a:cubicBezTo>
                      <a:pt x="818" y="258"/>
                      <a:pt x="827" y="269"/>
                      <a:pt x="835" y="267"/>
                    </a:cubicBezTo>
                    <a:cubicBezTo>
                      <a:pt x="843" y="265"/>
                      <a:pt x="835" y="257"/>
                      <a:pt x="849" y="258"/>
                    </a:cubicBezTo>
                    <a:cubicBezTo>
                      <a:pt x="863" y="259"/>
                      <a:pt x="861" y="276"/>
                      <a:pt x="861" y="276"/>
                    </a:cubicBezTo>
                    <a:lnTo>
                      <a:pt x="888" y="265"/>
                    </a:lnTo>
                    <a:close/>
                    <a:moveTo>
                      <a:pt x="67" y="189"/>
                    </a:moveTo>
                    <a:cubicBezTo>
                      <a:pt x="63" y="185"/>
                      <a:pt x="61" y="207"/>
                      <a:pt x="67" y="217"/>
                    </a:cubicBezTo>
                    <a:cubicBezTo>
                      <a:pt x="72" y="226"/>
                      <a:pt x="79" y="208"/>
                      <a:pt x="81" y="204"/>
                    </a:cubicBezTo>
                    <a:cubicBezTo>
                      <a:pt x="83" y="200"/>
                      <a:pt x="71" y="193"/>
                      <a:pt x="67" y="18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8" name="MCShape 60">
                <a:extLst>
                  <a:ext uri="{FF2B5EF4-FFF2-40B4-BE49-F238E27FC236}">
                    <a16:creationId xmlns:a16="http://schemas.microsoft.com/office/drawing/2014/main" id="{4CCE570A-F4A8-4C29-9BE2-08A053CBDD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9722" y="2889132"/>
                <a:ext cx="216544" cy="216544"/>
              </a:xfrm>
              <a:custGeom>
                <a:avLst/>
                <a:gdLst>
                  <a:gd name="T0" fmla="*/ 190 w 365"/>
                  <a:gd name="T1" fmla="*/ 78 h 367"/>
                  <a:gd name="T2" fmla="*/ 5 w 365"/>
                  <a:gd name="T3" fmla="*/ 188 h 367"/>
                  <a:gd name="T4" fmla="*/ 212 w 365"/>
                  <a:gd name="T5" fmla="*/ 277 h 367"/>
                  <a:gd name="T6" fmla="*/ 210 w 365"/>
                  <a:gd name="T7" fmla="*/ 258 h 367"/>
                  <a:gd name="T8" fmla="*/ 210 w 365"/>
                  <a:gd name="T9" fmla="*/ 258 h 367"/>
                  <a:gd name="T10" fmla="*/ 223 w 365"/>
                  <a:gd name="T11" fmla="*/ 213 h 367"/>
                  <a:gd name="T12" fmla="*/ 97 w 365"/>
                  <a:gd name="T13" fmla="*/ 176 h 367"/>
                  <a:gd name="T14" fmla="*/ 166 w 365"/>
                  <a:gd name="T15" fmla="*/ 188 h 367"/>
                  <a:gd name="T16" fmla="*/ 128 w 365"/>
                  <a:gd name="T17" fmla="*/ 152 h 367"/>
                  <a:gd name="T18" fmla="*/ 153 w 365"/>
                  <a:gd name="T19" fmla="*/ 156 h 367"/>
                  <a:gd name="T20" fmla="*/ 107 w 365"/>
                  <a:gd name="T21" fmla="*/ 94 h 367"/>
                  <a:gd name="T22" fmla="*/ 129 w 365"/>
                  <a:gd name="T23" fmla="*/ 78 h 367"/>
                  <a:gd name="T24" fmla="*/ 140 w 365"/>
                  <a:gd name="T25" fmla="*/ 79 h 367"/>
                  <a:gd name="T26" fmla="*/ 152 w 365"/>
                  <a:gd name="T27" fmla="*/ 77 h 367"/>
                  <a:gd name="T28" fmla="*/ 182 w 365"/>
                  <a:gd name="T29" fmla="*/ 49 h 367"/>
                  <a:gd name="T30" fmla="*/ 258 w 365"/>
                  <a:gd name="T31" fmla="*/ 52 h 367"/>
                  <a:gd name="T32" fmla="*/ 275 w 365"/>
                  <a:gd name="T33" fmla="*/ 22 h 367"/>
                  <a:gd name="T34" fmla="*/ 261 w 365"/>
                  <a:gd name="T35" fmla="*/ 0 h 367"/>
                  <a:gd name="T36" fmla="*/ 237 w 365"/>
                  <a:gd name="T37" fmla="*/ 25 h 367"/>
                  <a:gd name="T38" fmla="*/ 205 w 365"/>
                  <a:gd name="T39" fmla="*/ 17 h 367"/>
                  <a:gd name="T40" fmla="*/ 161 w 365"/>
                  <a:gd name="T41" fmla="*/ 9 h 367"/>
                  <a:gd name="T42" fmla="*/ 123 w 365"/>
                  <a:gd name="T43" fmla="*/ 25 h 367"/>
                  <a:gd name="T44" fmla="*/ 70 w 365"/>
                  <a:gd name="T45" fmla="*/ 36 h 367"/>
                  <a:gd name="T46" fmla="*/ 38 w 365"/>
                  <a:gd name="T47" fmla="*/ 50 h 367"/>
                  <a:gd name="T48" fmla="*/ 21 w 365"/>
                  <a:gd name="T49" fmla="*/ 84 h 367"/>
                  <a:gd name="T50" fmla="*/ 3 w 365"/>
                  <a:gd name="T51" fmla="*/ 109 h 367"/>
                  <a:gd name="T52" fmla="*/ 29 w 365"/>
                  <a:gd name="T53" fmla="*/ 156 h 367"/>
                  <a:gd name="T54" fmla="*/ 266 w 365"/>
                  <a:gd name="T55" fmla="*/ 168 h 367"/>
                  <a:gd name="T56" fmla="*/ 261 w 365"/>
                  <a:gd name="T57" fmla="*/ 196 h 367"/>
                  <a:gd name="T58" fmla="*/ 30 w 365"/>
                  <a:gd name="T59" fmla="*/ 220 h 367"/>
                  <a:gd name="T60" fmla="*/ 255 w 365"/>
                  <a:gd name="T61" fmla="*/ 270 h 367"/>
                  <a:gd name="T62" fmla="*/ 275 w 365"/>
                  <a:gd name="T63" fmla="*/ 220 h 367"/>
                  <a:gd name="T64" fmla="*/ 269 w 365"/>
                  <a:gd name="T65" fmla="*/ 127 h 367"/>
                  <a:gd name="T66" fmla="*/ 278 w 365"/>
                  <a:gd name="T67" fmla="*/ 148 h 367"/>
                  <a:gd name="T68" fmla="*/ 247 w 365"/>
                  <a:gd name="T69" fmla="*/ 254 h 367"/>
                  <a:gd name="T70" fmla="*/ 291 w 365"/>
                  <a:gd name="T71" fmla="*/ 220 h 367"/>
                  <a:gd name="T72" fmla="*/ 307 w 365"/>
                  <a:gd name="T73" fmla="*/ 236 h 367"/>
                  <a:gd name="T74" fmla="*/ 186 w 365"/>
                  <a:gd name="T75" fmla="*/ 146 h 367"/>
                  <a:gd name="T76" fmla="*/ 361 w 365"/>
                  <a:gd name="T77" fmla="*/ 281 h 367"/>
                  <a:gd name="T78" fmla="*/ 310 w 365"/>
                  <a:gd name="T79" fmla="*/ 258 h 367"/>
                  <a:gd name="T80" fmla="*/ 326 w 365"/>
                  <a:gd name="T81" fmla="*/ 249 h 367"/>
                  <a:gd name="T82" fmla="*/ 324 w 365"/>
                  <a:gd name="T83" fmla="*/ 339 h 367"/>
                  <a:gd name="T84" fmla="*/ 186 w 365"/>
                  <a:gd name="T85" fmla="*/ 221 h 367"/>
                  <a:gd name="T86" fmla="*/ 127 w 365"/>
                  <a:gd name="T87" fmla="*/ 288 h 367"/>
                  <a:gd name="T88" fmla="*/ 259 w 365"/>
                  <a:gd name="T89" fmla="*/ 352 h 367"/>
                  <a:gd name="T90" fmla="*/ 209 w 365"/>
                  <a:gd name="T91" fmla="*/ 336 h 367"/>
                  <a:gd name="T92" fmla="*/ 161 w 365"/>
                  <a:gd name="T93" fmla="*/ 342 h 367"/>
                  <a:gd name="T94" fmla="*/ 205 w 365"/>
                  <a:gd name="T95" fmla="*/ 352 h 367"/>
                  <a:gd name="T96" fmla="*/ 241 w 365"/>
                  <a:gd name="T97" fmla="*/ 362 h 367"/>
                  <a:gd name="T98" fmla="*/ 285 w 365"/>
                  <a:gd name="T99" fmla="*/ 272 h 367"/>
                  <a:gd name="T100" fmla="*/ 79 w 365"/>
                  <a:gd name="T101" fmla="*/ 186 h 367"/>
                  <a:gd name="T102" fmla="*/ 47 w 365"/>
                  <a:gd name="T103" fmla="*/ 207 h 367"/>
                  <a:gd name="T104" fmla="*/ 81 w 365"/>
                  <a:gd name="T105" fmla="*/ 260 h 367"/>
                  <a:gd name="T106" fmla="*/ 113 w 365"/>
                  <a:gd name="T107" fmla="*/ 262 h 367"/>
                  <a:gd name="T108" fmla="*/ 129 w 365"/>
                  <a:gd name="T109" fmla="*/ 270 h 367"/>
                  <a:gd name="T110" fmla="*/ 117 w 365"/>
                  <a:gd name="T111" fmla="*/ 221 h 367"/>
                  <a:gd name="T112" fmla="*/ 132 w 365"/>
                  <a:gd name="T113" fmla="*/ 212 h 36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65"/>
                  <a:gd name="T172" fmla="*/ 0 h 367"/>
                  <a:gd name="T173" fmla="*/ 365 w 365"/>
                  <a:gd name="T174" fmla="*/ 367 h 36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65" h="367">
                    <a:moveTo>
                      <a:pt x="165" y="73"/>
                    </a:moveTo>
                    <a:cubicBezTo>
                      <a:pt x="183" y="85"/>
                      <a:pt x="183" y="85"/>
                      <a:pt x="183" y="85"/>
                    </a:cubicBezTo>
                    <a:cubicBezTo>
                      <a:pt x="190" y="78"/>
                      <a:pt x="190" y="78"/>
                      <a:pt x="190" y="78"/>
                    </a:cubicBezTo>
                    <a:lnTo>
                      <a:pt x="165" y="73"/>
                    </a:lnTo>
                    <a:close/>
                    <a:moveTo>
                      <a:pt x="19" y="173"/>
                    </a:moveTo>
                    <a:cubicBezTo>
                      <a:pt x="5" y="188"/>
                      <a:pt x="5" y="188"/>
                      <a:pt x="5" y="188"/>
                    </a:cubicBezTo>
                    <a:cubicBezTo>
                      <a:pt x="30" y="195"/>
                      <a:pt x="30" y="195"/>
                      <a:pt x="30" y="195"/>
                    </a:cubicBezTo>
                    <a:lnTo>
                      <a:pt x="19" y="173"/>
                    </a:lnTo>
                    <a:close/>
                    <a:moveTo>
                      <a:pt x="212" y="277"/>
                    </a:moveTo>
                    <a:cubicBezTo>
                      <a:pt x="211" y="280"/>
                      <a:pt x="220" y="282"/>
                      <a:pt x="219" y="275"/>
                    </a:cubicBezTo>
                    <a:cubicBezTo>
                      <a:pt x="218" y="268"/>
                      <a:pt x="213" y="271"/>
                      <a:pt x="212" y="277"/>
                    </a:cubicBezTo>
                    <a:close/>
                    <a:moveTo>
                      <a:pt x="210" y="258"/>
                    </a:moveTo>
                    <a:cubicBezTo>
                      <a:pt x="204" y="253"/>
                      <a:pt x="204" y="253"/>
                      <a:pt x="204" y="253"/>
                    </a:cubicBezTo>
                    <a:cubicBezTo>
                      <a:pt x="198" y="259"/>
                      <a:pt x="198" y="259"/>
                      <a:pt x="198" y="259"/>
                    </a:cubicBezTo>
                    <a:lnTo>
                      <a:pt x="210" y="258"/>
                    </a:lnTo>
                    <a:close/>
                    <a:moveTo>
                      <a:pt x="201" y="196"/>
                    </a:moveTo>
                    <a:cubicBezTo>
                      <a:pt x="217" y="224"/>
                      <a:pt x="217" y="224"/>
                      <a:pt x="217" y="224"/>
                    </a:cubicBezTo>
                    <a:cubicBezTo>
                      <a:pt x="223" y="213"/>
                      <a:pt x="223" y="213"/>
                      <a:pt x="223" y="213"/>
                    </a:cubicBezTo>
                    <a:lnTo>
                      <a:pt x="201" y="196"/>
                    </a:lnTo>
                    <a:close/>
                    <a:moveTo>
                      <a:pt x="76" y="178"/>
                    </a:moveTo>
                    <a:cubicBezTo>
                      <a:pt x="76" y="178"/>
                      <a:pt x="90" y="173"/>
                      <a:pt x="97" y="176"/>
                    </a:cubicBezTo>
                    <a:cubicBezTo>
                      <a:pt x="104" y="179"/>
                      <a:pt x="141" y="193"/>
                      <a:pt x="141" y="193"/>
                    </a:cubicBezTo>
                    <a:cubicBezTo>
                      <a:pt x="141" y="193"/>
                      <a:pt x="163" y="216"/>
                      <a:pt x="168" y="210"/>
                    </a:cubicBezTo>
                    <a:cubicBezTo>
                      <a:pt x="173" y="204"/>
                      <a:pt x="174" y="195"/>
                      <a:pt x="166" y="188"/>
                    </a:cubicBezTo>
                    <a:cubicBezTo>
                      <a:pt x="158" y="181"/>
                      <a:pt x="142" y="168"/>
                      <a:pt x="139" y="167"/>
                    </a:cubicBezTo>
                    <a:cubicBezTo>
                      <a:pt x="136" y="166"/>
                      <a:pt x="117" y="157"/>
                      <a:pt x="117" y="157"/>
                    </a:cubicBezTo>
                    <a:cubicBezTo>
                      <a:pt x="117" y="157"/>
                      <a:pt x="124" y="151"/>
                      <a:pt x="128" y="152"/>
                    </a:cubicBezTo>
                    <a:cubicBezTo>
                      <a:pt x="132" y="153"/>
                      <a:pt x="155" y="176"/>
                      <a:pt x="169" y="178"/>
                    </a:cubicBezTo>
                    <a:cubicBezTo>
                      <a:pt x="183" y="180"/>
                      <a:pt x="189" y="164"/>
                      <a:pt x="176" y="162"/>
                    </a:cubicBezTo>
                    <a:cubicBezTo>
                      <a:pt x="163" y="160"/>
                      <a:pt x="153" y="156"/>
                      <a:pt x="153" y="156"/>
                    </a:cubicBezTo>
                    <a:cubicBezTo>
                      <a:pt x="153" y="156"/>
                      <a:pt x="139" y="148"/>
                      <a:pt x="137" y="141"/>
                    </a:cubicBezTo>
                    <a:cubicBezTo>
                      <a:pt x="135" y="134"/>
                      <a:pt x="123" y="117"/>
                      <a:pt x="123" y="117"/>
                    </a:cubicBezTo>
                    <a:cubicBezTo>
                      <a:pt x="123" y="117"/>
                      <a:pt x="112" y="100"/>
                      <a:pt x="107" y="94"/>
                    </a:cubicBezTo>
                    <a:cubicBezTo>
                      <a:pt x="102" y="88"/>
                      <a:pt x="97" y="67"/>
                      <a:pt x="104" y="64"/>
                    </a:cubicBezTo>
                    <a:cubicBezTo>
                      <a:pt x="111" y="61"/>
                      <a:pt x="113" y="78"/>
                      <a:pt x="121" y="78"/>
                    </a:cubicBezTo>
                    <a:cubicBezTo>
                      <a:pt x="123" y="78"/>
                      <a:pt x="126" y="78"/>
                      <a:pt x="129" y="78"/>
                    </a:cubicBezTo>
                    <a:cubicBezTo>
                      <a:pt x="133" y="86"/>
                      <a:pt x="137" y="95"/>
                      <a:pt x="139" y="96"/>
                    </a:cubicBezTo>
                    <a:cubicBezTo>
                      <a:pt x="142" y="98"/>
                      <a:pt x="148" y="94"/>
                      <a:pt x="148" y="94"/>
                    </a:cubicBezTo>
                    <a:cubicBezTo>
                      <a:pt x="140" y="79"/>
                      <a:pt x="140" y="79"/>
                      <a:pt x="140" y="79"/>
                    </a:cubicBezTo>
                    <a:cubicBezTo>
                      <a:pt x="141" y="79"/>
                      <a:pt x="142" y="79"/>
                      <a:pt x="143" y="79"/>
                    </a:cubicBezTo>
                    <a:cubicBezTo>
                      <a:pt x="161" y="90"/>
                      <a:pt x="161" y="90"/>
                      <a:pt x="161" y="90"/>
                    </a:cubicBezTo>
                    <a:cubicBezTo>
                      <a:pt x="152" y="77"/>
                      <a:pt x="152" y="77"/>
                      <a:pt x="152" y="77"/>
                    </a:cubicBezTo>
                    <a:cubicBezTo>
                      <a:pt x="152" y="77"/>
                      <a:pt x="153" y="77"/>
                      <a:pt x="153" y="77"/>
                    </a:cubicBezTo>
                    <a:cubicBezTo>
                      <a:pt x="156" y="74"/>
                      <a:pt x="157" y="66"/>
                      <a:pt x="156" y="58"/>
                    </a:cubicBezTo>
                    <a:cubicBezTo>
                      <a:pt x="155" y="50"/>
                      <a:pt x="173" y="46"/>
                      <a:pt x="182" y="49"/>
                    </a:cubicBezTo>
                    <a:cubicBezTo>
                      <a:pt x="191" y="52"/>
                      <a:pt x="184" y="65"/>
                      <a:pt x="193" y="62"/>
                    </a:cubicBezTo>
                    <a:cubicBezTo>
                      <a:pt x="202" y="59"/>
                      <a:pt x="205" y="44"/>
                      <a:pt x="210" y="43"/>
                    </a:cubicBezTo>
                    <a:cubicBezTo>
                      <a:pt x="215" y="42"/>
                      <a:pt x="258" y="52"/>
                      <a:pt x="258" y="52"/>
                    </a:cubicBezTo>
                    <a:cubicBezTo>
                      <a:pt x="258" y="52"/>
                      <a:pt x="261" y="47"/>
                      <a:pt x="263" y="40"/>
                    </a:cubicBezTo>
                    <a:cubicBezTo>
                      <a:pt x="265" y="33"/>
                      <a:pt x="260" y="30"/>
                      <a:pt x="261" y="24"/>
                    </a:cubicBezTo>
                    <a:cubicBezTo>
                      <a:pt x="262" y="18"/>
                      <a:pt x="275" y="22"/>
                      <a:pt x="275" y="22"/>
                    </a:cubicBezTo>
                    <a:cubicBezTo>
                      <a:pt x="275" y="22"/>
                      <a:pt x="276" y="14"/>
                      <a:pt x="273" y="9"/>
                    </a:cubicBezTo>
                    <a:cubicBezTo>
                      <a:pt x="270" y="4"/>
                      <a:pt x="263" y="5"/>
                      <a:pt x="263" y="5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249" y="6"/>
                      <a:pt x="249" y="6"/>
                      <a:pt x="249" y="6"/>
                    </a:cubicBezTo>
                    <a:cubicBezTo>
                      <a:pt x="249" y="6"/>
                      <a:pt x="255" y="14"/>
                      <a:pt x="253" y="19"/>
                    </a:cubicBezTo>
                    <a:cubicBezTo>
                      <a:pt x="251" y="24"/>
                      <a:pt x="237" y="25"/>
                      <a:pt x="237" y="25"/>
                    </a:cubicBezTo>
                    <a:cubicBezTo>
                      <a:pt x="227" y="17"/>
                      <a:pt x="227" y="17"/>
                      <a:pt x="227" y="17"/>
                    </a:cubicBezTo>
                    <a:cubicBezTo>
                      <a:pt x="227" y="17"/>
                      <a:pt x="222" y="24"/>
                      <a:pt x="214" y="25"/>
                    </a:cubicBezTo>
                    <a:cubicBezTo>
                      <a:pt x="206" y="26"/>
                      <a:pt x="205" y="17"/>
                      <a:pt x="205" y="17"/>
                    </a:cubicBezTo>
                    <a:cubicBezTo>
                      <a:pt x="205" y="17"/>
                      <a:pt x="199" y="20"/>
                      <a:pt x="191" y="20"/>
                    </a:cubicBezTo>
                    <a:cubicBezTo>
                      <a:pt x="183" y="20"/>
                      <a:pt x="179" y="6"/>
                      <a:pt x="179" y="6"/>
                    </a:cubicBezTo>
                    <a:cubicBezTo>
                      <a:pt x="161" y="9"/>
                      <a:pt x="161" y="9"/>
                      <a:pt x="161" y="9"/>
                    </a:cubicBezTo>
                    <a:cubicBezTo>
                      <a:pt x="155" y="21"/>
                      <a:pt x="155" y="21"/>
                      <a:pt x="155" y="21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41" y="15"/>
                      <a:pt x="131" y="25"/>
                      <a:pt x="123" y="25"/>
                    </a:cubicBezTo>
                    <a:cubicBezTo>
                      <a:pt x="118" y="25"/>
                      <a:pt x="114" y="21"/>
                      <a:pt x="111" y="18"/>
                    </a:cubicBezTo>
                    <a:cubicBezTo>
                      <a:pt x="107" y="23"/>
                      <a:pt x="102" y="26"/>
                      <a:pt x="97" y="32"/>
                    </a:cubicBezTo>
                    <a:cubicBezTo>
                      <a:pt x="89" y="40"/>
                      <a:pt x="70" y="36"/>
                      <a:pt x="70" y="36"/>
                    </a:cubicBezTo>
                    <a:cubicBezTo>
                      <a:pt x="70" y="36"/>
                      <a:pt x="71" y="41"/>
                      <a:pt x="67" y="47"/>
                    </a:cubicBezTo>
                    <a:cubicBezTo>
                      <a:pt x="63" y="53"/>
                      <a:pt x="43" y="45"/>
                      <a:pt x="43" y="45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38" y="55"/>
                      <a:pt x="39" y="62"/>
                      <a:pt x="36" y="64"/>
                    </a:cubicBezTo>
                    <a:cubicBezTo>
                      <a:pt x="31" y="68"/>
                      <a:pt x="21" y="70"/>
                      <a:pt x="21" y="7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4" y="86"/>
                      <a:pt x="3" y="93"/>
                    </a:cubicBezTo>
                    <a:cubicBezTo>
                      <a:pt x="2" y="100"/>
                      <a:pt x="3" y="109"/>
                      <a:pt x="3" y="109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5" y="116"/>
                      <a:pt x="0" y="133"/>
                      <a:pt x="9" y="136"/>
                    </a:cubicBezTo>
                    <a:cubicBezTo>
                      <a:pt x="18" y="139"/>
                      <a:pt x="29" y="156"/>
                      <a:pt x="29" y="156"/>
                    </a:cubicBezTo>
                    <a:cubicBezTo>
                      <a:pt x="29" y="156"/>
                      <a:pt x="39" y="179"/>
                      <a:pt x="47" y="179"/>
                    </a:cubicBezTo>
                    <a:cubicBezTo>
                      <a:pt x="55" y="179"/>
                      <a:pt x="76" y="178"/>
                      <a:pt x="76" y="178"/>
                    </a:cubicBezTo>
                    <a:close/>
                    <a:moveTo>
                      <a:pt x="266" y="168"/>
                    </a:moveTo>
                    <a:cubicBezTo>
                      <a:pt x="253" y="168"/>
                      <a:pt x="253" y="168"/>
                      <a:pt x="253" y="168"/>
                    </a:cubicBezTo>
                    <a:cubicBezTo>
                      <a:pt x="252" y="180"/>
                      <a:pt x="252" y="180"/>
                      <a:pt x="252" y="180"/>
                    </a:cubicBezTo>
                    <a:cubicBezTo>
                      <a:pt x="261" y="196"/>
                      <a:pt x="261" y="196"/>
                      <a:pt x="261" y="196"/>
                    </a:cubicBezTo>
                    <a:lnTo>
                      <a:pt x="266" y="168"/>
                    </a:lnTo>
                    <a:close/>
                    <a:moveTo>
                      <a:pt x="19" y="207"/>
                    </a:moveTo>
                    <a:cubicBezTo>
                      <a:pt x="10" y="214"/>
                      <a:pt x="30" y="220"/>
                      <a:pt x="30" y="220"/>
                    </a:cubicBezTo>
                    <a:cubicBezTo>
                      <a:pt x="36" y="216"/>
                      <a:pt x="28" y="200"/>
                      <a:pt x="19" y="207"/>
                    </a:cubicBezTo>
                    <a:close/>
                    <a:moveTo>
                      <a:pt x="255" y="261"/>
                    </a:moveTo>
                    <a:cubicBezTo>
                      <a:pt x="255" y="270"/>
                      <a:pt x="255" y="270"/>
                      <a:pt x="255" y="270"/>
                    </a:cubicBezTo>
                    <a:cubicBezTo>
                      <a:pt x="264" y="260"/>
                      <a:pt x="264" y="260"/>
                      <a:pt x="264" y="260"/>
                    </a:cubicBezTo>
                    <a:lnTo>
                      <a:pt x="255" y="261"/>
                    </a:lnTo>
                    <a:close/>
                    <a:moveTo>
                      <a:pt x="275" y="220"/>
                    </a:moveTo>
                    <a:cubicBezTo>
                      <a:pt x="271" y="216"/>
                      <a:pt x="259" y="219"/>
                      <a:pt x="259" y="227"/>
                    </a:cubicBezTo>
                    <a:cubicBezTo>
                      <a:pt x="259" y="232"/>
                      <a:pt x="279" y="224"/>
                      <a:pt x="275" y="220"/>
                    </a:cubicBezTo>
                    <a:close/>
                    <a:moveTo>
                      <a:pt x="269" y="127"/>
                    </a:moveTo>
                    <a:cubicBezTo>
                      <a:pt x="250" y="132"/>
                      <a:pt x="250" y="132"/>
                      <a:pt x="250" y="132"/>
                    </a:cubicBezTo>
                    <a:cubicBezTo>
                      <a:pt x="251" y="148"/>
                      <a:pt x="264" y="141"/>
                      <a:pt x="264" y="141"/>
                    </a:cubicBezTo>
                    <a:cubicBezTo>
                      <a:pt x="264" y="141"/>
                      <a:pt x="269" y="152"/>
                      <a:pt x="278" y="148"/>
                    </a:cubicBezTo>
                    <a:cubicBezTo>
                      <a:pt x="287" y="144"/>
                      <a:pt x="269" y="127"/>
                      <a:pt x="269" y="127"/>
                    </a:cubicBezTo>
                    <a:close/>
                    <a:moveTo>
                      <a:pt x="230" y="247"/>
                    </a:moveTo>
                    <a:cubicBezTo>
                      <a:pt x="232" y="259"/>
                      <a:pt x="242" y="262"/>
                      <a:pt x="247" y="254"/>
                    </a:cubicBezTo>
                    <a:cubicBezTo>
                      <a:pt x="253" y="244"/>
                      <a:pt x="228" y="235"/>
                      <a:pt x="230" y="247"/>
                    </a:cubicBezTo>
                    <a:close/>
                    <a:moveTo>
                      <a:pt x="299" y="210"/>
                    </a:moveTo>
                    <a:cubicBezTo>
                      <a:pt x="289" y="202"/>
                      <a:pt x="291" y="220"/>
                      <a:pt x="291" y="220"/>
                    </a:cubicBezTo>
                    <a:cubicBezTo>
                      <a:pt x="305" y="227"/>
                      <a:pt x="309" y="218"/>
                      <a:pt x="299" y="210"/>
                    </a:cubicBezTo>
                    <a:close/>
                    <a:moveTo>
                      <a:pt x="298" y="249"/>
                    </a:moveTo>
                    <a:cubicBezTo>
                      <a:pt x="307" y="236"/>
                      <a:pt x="307" y="236"/>
                      <a:pt x="307" y="236"/>
                    </a:cubicBezTo>
                    <a:cubicBezTo>
                      <a:pt x="295" y="236"/>
                      <a:pt x="295" y="236"/>
                      <a:pt x="295" y="236"/>
                    </a:cubicBezTo>
                    <a:lnTo>
                      <a:pt x="298" y="249"/>
                    </a:lnTo>
                    <a:close/>
                    <a:moveTo>
                      <a:pt x="186" y="146"/>
                    </a:moveTo>
                    <a:cubicBezTo>
                      <a:pt x="186" y="146"/>
                      <a:pt x="180" y="158"/>
                      <a:pt x="196" y="158"/>
                    </a:cubicBezTo>
                    <a:lnTo>
                      <a:pt x="186" y="146"/>
                    </a:lnTo>
                    <a:close/>
                    <a:moveTo>
                      <a:pt x="361" y="281"/>
                    </a:moveTo>
                    <a:cubicBezTo>
                      <a:pt x="357" y="274"/>
                      <a:pt x="336" y="302"/>
                      <a:pt x="342" y="312"/>
                    </a:cubicBezTo>
                    <a:cubicBezTo>
                      <a:pt x="347" y="321"/>
                      <a:pt x="365" y="288"/>
                      <a:pt x="361" y="281"/>
                    </a:cubicBezTo>
                    <a:close/>
                    <a:moveTo>
                      <a:pt x="310" y="258"/>
                    </a:moveTo>
                    <a:cubicBezTo>
                      <a:pt x="309" y="273"/>
                      <a:pt x="309" y="273"/>
                      <a:pt x="309" y="273"/>
                    </a:cubicBezTo>
                    <a:cubicBezTo>
                      <a:pt x="334" y="254"/>
                      <a:pt x="334" y="254"/>
                      <a:pt x="334" y="254"/>
                    </a:cubicBezTo>
                    <a:cubicBezTo>
                      <a:pt x="326" y="249"/>
                      <a:pt x="326" y="249"/>
                      <a:pt x="326" y="249"/>
                    </a:cubicBezTo>
                    <a:lnTo>
                      <a:pt x="310" y="258"/>
                    </a:lnTo>
                    <a:close/>
                    <a:moveTo>
                      <a:pt x="311" y="342"/>
                    </a:moveTo>
                    <a:cubicBezTo>
                      <a:pt x="324" y="339"/>
                      <a:pt x="324" y="339"/>
                      <a:pt x="324" y="339"/>
                    </a:cubicBezTo>
                    <a:cubicBezTo>
                      <a:pt x="317" y="312"/>
                      <a:pt x="317" y="312"/>
                      <a:pt x="317" y="312"/>
                    </a:cubicBezTo>
                    <a:lnTo>
                      <a:pt x="311" y="342"/>
                    </a:lnTo>
                    <a:close/>
                    <a:moveTo>
                      <a:pt x="186" y="221"/>
                    </a:moveTo>
                    <a:cubicBezTo>
                      <a:pt x="181" y="226"/>
                      <a:pt x="184" y="232"/>
                      <a:pt x="189" y="231"/>
                    </a:cubicBezTo>
                    <a:cubicBezTo>
                      <a:pt x="198" y="229"/>
                      <a:pt x="191" y="216"/>
                      <a:pt x="186" y="221"/>
                    </a:cubicBezTo>
                    <a:close/>
                    <a:moveTo>
                      <a:pt x="127" y="288"/>
                    </a:moveTo>
                    <a:cubicBezTo>
                      <a:pt x="121" y="290"/>
                      <a:pt x="126" y="307"/>
                      <a:pt x="133" y="301"/>
                    </a:cubicBezTo>
                    <a:cubicBezTo>
                      <a:pt x="140" y="295"/>
                      <a:pt x="134" y="286"/>
                      <a:pt x="127" y="288"/>
                    </a:cubicBezTo>
                    <a:close/>
                    <a:moveTo>
                      <a:pt x="259" y="352"/>
                    </a:moveTo>
                    <a:cubicBezTo>
                      <a:pt x="255" y="354"/>
                      <a:pt x="252" y="342"/>
                      <a:pt x="252" y="342"/>
                    </a:cubicBezTo>
                    <a:cubicBezTo>
                      <a:pt x="230" y="341"/>
                      <a:pt x="230" y="341"/>
                      <a:pt x="230" y="341"/>
                    </a:cubicBezTo>
                    <a:cubicBezTo>
                      <a:pt x="209" y="336"/>
                      <a:pt x="209" y="336"/>
                      <a:pt x="209" y="336"/>
                    </a:cubicBezTo>
                    <a:cubicBezTo>
                      <a:pt x="188" y="336"/>
                      <a:pt x="188" y="336"/>
                      <a:pt x="188" y="336"/>
                    </a:cubicBezTo>
                    <a:cubicBezTo>
                      <a:pt x="168" y="325"/>
                      <a:pt x="168" y="325"/>
                      <a:pt x="168" y="325"/>
                    </a:cubicBezTo>
                    <a:cubicBezTo>
                      <a:pt x="168" y="325"/>
                      <a:pt x="152" y="332"/>
                      <a:pt x="161" y="342"/>
                    </a:cubicBezTo>
                    <a:cubicBezTo>
                      <a:pt x="170" y="352"/>
                      <a:pt x="175" y="345"/>
                      <a:pt x="175" y="345"/>
                    </a:cubicBezTo>
                    <a:cubicBezTo>
                      <a:pt x="181" y="351"/>
                      <a:pt x="181" y="351"/>
                      <a:pt x="181" y="351"/>
                    </a:cubicBezTo>
                    <a:cubicBezTo>
                      <a:pt x="205" y="352"/>
                      <a:pt x="205" y="352"/>
                      <a:pt x="205" y="352"/>
                    </a:cubicBezTo>
                    <a:cubicBezTo>
                      <a:pt x="213" y="367"/>
                      <a:pt x="213" y="367"/>
                      <a:pt x="213" y="367"/>
                    </a:cubicBezTo>
                    <a:cubicBezTo>
                      <a:pt x="238" y="366"/>
                      <a:pt x="238" y="366"/>
                      <a:pt x="238" y="366"/>
                    </a:cubicBezTo>
                    <a:cubicBezTo>
                      <a:pt x="241" y="362"/>
                      <a:pt x="241" y="362"/>
                      <a:pt x="241" y="362"/>
                    </a:cubicBezTo>
                    <a:cubicBezTo>
                      <a:pt x="241" y="362"/>
                      <a:pt x="279" y="367"/>
                      <a:pt x="281" y="353"/>
                    </a:cubicBezTo>
                    <a:cubicBezTo>
                      <a:pt x="283" y="339"/>
                      <a:pt x="263" y="350"/>
                      <a:pt x="259" y="352"/>
                    </a:cubicBezTo>
                    <a:close/>
                    <a:moveTo>
                      <a:pt x="285" y="272"/>
                    </a:moveTo>
                    <a:cubicBezTo>
                      <a:pt x="276" y="268"/>
                      <a:pt x="272" y="276"/>
                      <a:pt x="277" y="279"/>
                    </a:cubicBezTo>
                    <a:cubicBezTo>
                      <a:pt x="284" y="284"/>
                      <a:pt x="294" y="276"/>
                      <a:pt x="285" y="272"/>
                    </a:cubicBezTo>
                    <a:close/>
                    <a:moveTo>
                      <a:pt x="79" y="186"/>
                    </a:moveTo>
                    <a:cubicBezTo>
                      <a:pt x="65" y="192"/>
                      <a:pt x="65" y="192"/>
                      <a:pt x="65" y="192"/>
                    </a:cubicBezTo>
                    <a:cubicBezTo>
                      <a:pt x="58" y="192"/>
                      <a:pt x="58" y="192"/>
                      <a:pt x="58" y="192"/>
                    </a:cubicBezTo>
                    <a:cubicBezTo>
                      <a:pt x="47" y="207"/>
                      <a:pt x="47" y="207"/>
                      <a:pt x="47" y="207"/>
                    </a:cubicBezTo>
                    <a:cubicBezTo>
                      <a:pt x="66" y="224"/>
                      <a:pt x="66" y="224"/>
                      <a:pt x="66" y="224"/>
                    </a:cubicBezTo>
                    <a:cubicBezTo>
                      <a:pt x="66" y="224"/>
                      <a:pt x="63" y="241"/>
                      <a:pt x="63" y="251"/>
                    </a:cubicBezTo>
                    <a:cubicBezTo>
                      <a:pt x="63" y="261"/>
                      <a:pt x="78" y="267"/>
                      <a:pt x="81" y="260"/>
                    </a:cubicBezTo>
                    <a:cubicBezTo>
                      <a:pt x="84" y="253"/>
                      <a:pt x="93" y="254"/>
                      <a:pt x="93" y="254"/>
                    </a:cubicBezTo>
                    <a:cubicBezTo>
                      <a:pt x="107" y="280"/>
                      <a:pt x="107" y="280"/>
                      <a:pt x="107" y="280"/>
                    </a:cubicBezTo>
                    <a:cubicBezTo>
                      <a:pt x="113" y="262"/>
                      <a:pt x="113" y="262"/>
                      <a:pt x="113" y="262"/>
                    </a:cubicBezTo>
                    <a:cubicBezTo>
                      <a:pt x="122" y="275"/>
                      <a:pt x="122" y="275"/>
                      <a:pt x="122" y="275"/>
                    </a:cubicBezTo>
                    <a:cubicBezTo>
                      <a:pt x="138" y="281"/>
                      <a:pt x="138" y="281"/>
                      <a:pt x="138" y="281"/>
                    </a:cubicBezTo>
                    <a:cubicBezTo>
                      <a:pt x="129" y="270"/>
                      <a:pt x="129" y="270"/>
                      <a:pt x="129" y="270"/>
                    </a:cubicBezTo>
                    <a:cubicBezTo>
                      <a:pt x="133" y="265"/>
                      <a:pt x="133" y="265"/>
                      <a:pt x="133" y="265"/>
                    </a:cubicBezTo>
                    <a:cubicBezTo>
                      <a:pt x="131" y="250"/>
                      <a:pt x="131" y="250"/>
                      <a:pt x="131" y="250"/>
                    </a:cubicBezTo>
                    <a:cubicBezTo>
                      <a:pt x="131" y="250"/>
                      <a:pt x="114" y="229"/>
                      <a:pt x="117" y="221"/>
                    </a:cubicBezTo>
                    <a:cubicBezTo>
                      <a:pt x="120" y="213"/>
                      <a:pt x="143" y="232"/>
                      <a:pt x="143" y="232"/>
                    </a:cubicBezTo>
                    <a:cubicBezTo>
                      <a:pt x="152" y="228"/>
                      <a:pt x="152" y="228"/>
                      <a:pt x="152" y="228"/>
                    </a:cubicBezTo>
                    <a:cubicBezTo>
                      <a:pt x="152" y="228"/>
                      <a:pt x="141" y="221"/>
                      <a:pt x="132" y="212"/>
                    </a:cubicBezTo>
                    <a:cubicBezTo>
                      <a:pt x="123" y="203"/>
                      <a:pt x="79" y="186"/>
                      <a:pt x="79" y="18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69" name="MCShape 61">
                <a:extLst>
                  <a:ext uri="{FF2B5EF4-FFF2-40B4-BE49-F238E27FC236}">
                    <a16:creationId xmlns:a16="http://schemas.microsoft.com/office/drawing/2014/main" id="{B9C83247-C970-4DFD-84B6-BDC313154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5694" y="2861291"/>
                <a:ext cx="58776" cy="97444"/>
              </a:xfrm>
              <a:custGeom>
                <a:avLst/>
                <a:gdLst>
                  <a:gd name="T0" fmla="*/ 62 w 100"/>
                  <a:gd name="T1" fmla="*/ 142 h 165"/>
                  <a:gd name="T2" fmla="*/ 72 w 100"/>
                  <a:gd name="T3" fmla="*/ 138 h 165"/>
                  <a:gd name="T4" fmla="*/ 80 w 100"/>
                  <a:gd name="T5" fmla="*/ 133 h 165"/>
                  <a:gd name="T6" fmla="*/ 80 w 100"/>
                  <a:gd name="T7" fmla="*/ 119 h 165"/>
                  <a:gd name="T8" fmla="*/ 95 w 100"/>
                  <a:gd name="T9" fmla="*/ 113 h 165"/>
                  <a:gd name="T10" fmla="*/ 95 w 100"/>
                  <a:gd name="T11" fmla="*/ 92 h 165"/>
                  <a:gd name="T12" fmla="*/ 77 w 100"/>
                  <a:gd name="T13" fmla="*/ 99 h 165"/>
                  <a:gd name="T14" fmla="*/ 77 w 100"/>
                  <a:gd name="T15" fmla="*/ 85 h 165"/>
                  <a:gd name="T16" fmla="*/ 69 w 100"/>
                  <a:gd name="T17" fmla="*/ 79 h 165"/>
                  <a:gd name="T18" fmla="*/ 71 w 100"/>
                  <a:gd name="T19" fmla="*/ 67 h 165"/>
                  <a:gd name="T20" fmla="*/ 66 w 100"/>
                  <a:gd name="T21" fmla="*/ 56 h 165"/>
                  <a:gd name="T22" fmla="*/ 68 w 100"/>
                  <a:gd name="T23" fmla="*/ 41 h 165"/>
                  <a:gd name="T24" fmla="*/ 68 w 100"/>
                  <a:gd name="T25" fmla="*/ 29 h 165"/>
                  <a:gd name="T26" fmla="*/ 64 w 100"/>
                  <a:gd name="T27" fmla="*/ 19 h 165"/>
                  <a:gd name="T28" fmla="*/ 55 w 100"/>
                  <a:gd name="T29" fmla="*/ 19 h 165"/>
                  <a:gd name="T30" fmla="*/ 47 w 100"/>
                  <a:gd name="T31" fmla="*/ 4 h 165"/>
                  <a:gd name="T32" fmla="*/ 41 w 100"/>
                  <a:gd name="T33" fmla="*/ 10 h 165"/>
                  <a:gd name="T34" fmla="*/ 23 w 100"/>
                  <a:gd name="T35" fmla="*/ 0 h 165"/>
                  <a:gd name="T36" fmla="*/ 21 w 100"/>
                  <a:gd name="T37" fmla="*/ 14 h 165"/>
                  <a:gd name="T38" fmla="*/ 15 w 100"/>
                  <a:gd name="T39" fmla="*/ 19 h 165"/>
                  <a:gd name="T40" fmla="*/ 0 w 100"/>
                  <a:gd name="T41" fmla="*/ 19 h 165"/>
                  <a:gd name="T42" fmla="*/ 9 w 100"/>
                  <a:gd name="T43" fmla="*/ 25 h 165"/>
                  <a:gd name="T44" fmla="*/ 15 w 100"/>
                  <a:gd name="T45" fmla="*/ 22 h 165"/>
                  <a:gd name="T46" fmla="*/ 17 w 100"/>
                  <a:gd name="T47" fmla="*/ 32 h 165"/>
                  <a:gd name="T48" fmla="*/ 10 w 100"/>
                  <a:gd name="T49" fmla="*/ 41 h 165"/>
                  <a:gd name="T50" fmla="*/ 14 w 100"/>
                  <a:gd name="T51" fmla="*/ 45 h 165"/>
                  <a:gd name="T52" fmla="*/ 30 w 100"/>
                  <a:gd name="T53" fmla="*/ 45 h 165"/>
                  <a:gd name="T54" fmla="*/ 24 w 100"/>
                  <a:gd name="T55" fmla="*/ 96 h 165"/>
                  <a:gd name="T56" fmla="*/ 17 w 100"/>
                  <a:gd name="T57" fmla="*/ 129 h 165"/>
                  <a:gd name="T58" fmla="*/ 40 w 100"/>
                  <a:gd name="T59" fmla="*/ 144 h 165"/>
                  <a:gd name="T60" fmla="*/ 41 w 100"/>
                  <a:gd name="T61" fmla="*/ 163 h 165"/>
                  <a:gd name="T62" fmla="*/ 64 w 100"/>
                  <a:gd name="T63" fmla="*/ 165 h 165"/>
                  <a:gd name="T64" fmla="*/ 62 w 100"/>
                  <a:gd name="T65" fmla="*/ 158 h 165"/>
                  <a:gd name="T66" fmla="*/ 62 w 100"/>
                  <a:gd name="T67" fmla="*/ 142 h 16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0"/>
                  <a:gd name="T103" fmla="*/ 0 h 165"/>
                  <a:gd name="T104" fmla="*/ 100 w 100"/>
                  <a:gd name="T105" fmla="*/ 165 h 16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0" h="165">
                    <a:moveTo>
                      <a:pt x="62" y="142"/>
                    </a:moveTo>
                    <a:cubicBezTo>
                      <a:pt x="63" y="135"/>
                      <a:pt x="72" y="138"/>
                      <a:pt x="72" y="138"/>
                    </a:cubicBezTo>
                    <a:cubicBezTo>
                      <a:pt x="80" y="133"/>
                      <a:pt x="80" y="133"/>
                      <a:pt x="80" y="133"/>
                    </a:cubicBezTo>
                    <a:cubicBezTo>
                      <a:pt x="80" y="119"/>
                      <a:pt x="80" y="119"/>
                      <a:pt x="80" y="119"/>
                    </a:cubicBezTo>
                    <a:cubicBezTo>
                      <a:pt x="80" y="119"/>
                      <a:pt x="90" y="117"/>
                      <a:pt x="95" y="113"/>
                    </a:cubicBezTo>
                    <a:cubicBezTo>
                      <a:pt x="100" y="109"/>
                      <a:pt x="95" y="92"/>
                      <a:pt x="95" y="92"/>
                    </a:cubicBezTo>
                    <a:cubicBezTo>
                      <a:pt x="77" y="99"/>
                      <a:pt x="77" y="99"/>
                      <a:pt x="77" y="99"/>
                    </a:cubicBezTo>
                    <a:cubicBezTo>
                      <a:pt x="77" y="85"/>
                      <a:pt x="77" y="85"/>
                      <a:pt x="77" y="85"/>
                    </a:cubicBezTo>
                    <a:cubicBezTo>
                      <a:pt x="77" y="85"/>
                      <a:pt x="69" y="84"/>
                      <a:pt x="69" y="79"/>
                    </a:cubicBezTo>
                    <a:cubicBezTo>
                      <a:pt x="69" y="74"/>
                      <a:pt x="71" y="67"/>
                      <a:pt x="71" y="67"/>
                    </a:cubicBezTo>
                    <a:cubicBezTo>
                      <a:pt x="66" y="56"/>
                      <a:pt x="66" y="56"/>
                      <a:pt x="66" y="56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30" y="45"/>
                      <a:pt x="25" y="84"/>
                      <a:pt x="24" y="96"/>
                    </a:cubicBezTo>
                    <a:cubicBezTo>
                      <a:pt x="23" y="108"/>
                      <a:pt x="12" y="124"/>
                      <a:pt x="17" y="129"/>
                    </a:cubicBezTo>
                    <a:cubicBezTo>
                      <a:pt x="22" y="134"/>
                      <a:pt x="40" y="144"/>
                      <a:pt x="40" y="144"/>
                    </a:cubicBezTo>
                    <a:cubicBezTo>
                      <a:pt x="40" y="144"/>
                      <a:pt x="37" y="164"/>
                      <a:pt x="41" y="163"/>
                    </a:cubicBezTo>
                    <a:cubicBezTo>
                      <a:pt x="45" y="162"/>
                      <a:pt x="64" y="165"/>
                      <a:pt x="64" y="165"/>
                    </a:cubicBezTo>
                    <a:cubicBezTo>
                      <a:pt x="62" y="158"/>
                      <a:pt x="62" y="158"/>
                      <a:pt x="62" y="158"/>
                    </a:cubicBezTo>
                    <a:cubicBezTo>
                      <a:pt x="62" y="158"/>
                      <a:pt x="61" y="149"/>
                      <a:pt x="62" y="14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0" name="MCShape 62">
                <a:extLst>
                  <a:ext uri="{FF2B5EF4-FFF2-40B4-BE49-F238E27FC236}">
                    <a16:creationId xmlns:a16="http://schemas.microsoft.com/office/drawing/2014/main" id="{1AEBCD87-B100-4D4A-8AE1-67A2B397E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671" y="2813341"/>
                <a:ext cx="159313" cy="92804"/>
              </a:xfrm>
              <a:custGeom>
                <a:avLst/>
                <a:gdLst>
                  <a:gd name="T0" fmla="*/ 225 w 267"/>
                  <a:gd name="T1" fmla="*/ 87 h 155"/>
                  <a:gd name="T2" fmla="*/ 241 w 267"/>
                  <a:gd name="T3" fmla="*/ 47 h 155"/>
                  <a:gd name="T4" fmla="*/ 264 w 267"/>
                  <a:gd name="T5" fmla="*/ 23 h 155"/>
                  <a:gd name="T6" fmla="*/ 237 w 267"/>
                  <a:gd name="T7" fmla="*/ 12 h 155"/>
                  <a:gd name="T8" fmla="*/ 194 w 267"/>
                  <a:gd name="T9" fmla="*/ 2 h 155"/>
                  <a:gd name="T10" fmla="*/ 169 w 267"/>
                  <a:gd name="T11" fmla="*/ 6 h 155"/>
                  <a:gd name="T12" fmla="*/ 157 w 267"/>
                  <a:gd name="T13" fmla="*/ 12 h 155"/>
                  <a:gd name="T14" fmla="*/ 118 w 267"/>
                  <a:gd name="T15" fmla="*/ 23 h 155"/>
                  <a:gd name="T16" fmla="*/ 92 w 267"/>
                  <a:gd name="T17" fmla="*/ 17 h 155"/>
                  <a:gd name="T18" fmla="*/ 62 w 267"/>
                  <a:gd name="T19" fmla="*/ 21 h 155"/>
                  <a:gd name="T20" fmla="*/ 39 w 267"/>
                  <a:gd name="T21" fmla="*/ 21 h 155"/>
                  <a:gd name="T22" fmla="*/ 29 w 267"/>
                  <a:gd name="T23" fmla="*/ 5 h 155"/>
                  <a:gd name="T24" fmla="*/ 10 w 267"/>
                  <a:gd name="T25" fmla="*/ 0 h 155"/>
                  <a:gd name="T26" fmla="*/ 0 w 267"/>
                  <a:gd name="T27" fmla="*/ 16 h 155"/>
                  <a:gd name="T28" fmla="*/ 12 w 267"/>
                  <a:gd name="T29" fmla="*/ 33 h 155"/>
                  <a:gd name="T30" fmla="*/ 23 w 267"/>
                  <a:gd name="T31" fmla="*/ 47 h 155"/>
                  <a:gd name="T32" fmla="*/ 20 w 267"/>
                  <a:gd name="T33" fmla="*/ 68 h 155"/>
                  <a:gd name="T34" fmla="*/ 8 w 267"/>
                  <a:gd name="T35" fmla="*/ 80 h 155"/>
                  <a:gd name="T36" fmla="*/ 2 w 267"/>
                  <a:gd name="T37" fmla="*/ 95 h 155"/>
                  <a:gd name="T38" fmla="*/ 8 w 267"/>
                  <a:gd name="T39" fmla="*/ 104 h 155"/>
                  <a:gd name="T40" fmla="*/ 13 w 267"/>
                  <a:gd name="T41" fmla="*/ 112 h 155"/>
                  <a:gd name="T42" fmla="*/ 33 w 267"/>
                  <a:gd name="T43" fmla="*/ 139 h 155"/>
                  <a:gd name="T44" fmla="*/ 41 w 267"/>
                  <a:gd name="T45" fmla="*/ 154 h 155"/>
                  <a:gd name="T46" fmla="*/ 73 w 267"/>
                  <a:gd name="T47" fmla="*/ 150 h 155"/>
                  <a:gd name="T48" fmla="*/ 97 w 267"/>
                  <a:gd name="T49" fmla="*/ 135 h 155"/>
                  <a:gd name="T50" fmla="*/ 123 w 267"/>
                  <a:gd name="T51" fmla="*/ 146 h 155"/>
                  <a:gd name="T52" fmla="*/ 145 w 267"/>
                  <a:gd name="T53" fmla="*/ 146 h 155"/>
                  <a:gd name="T54" fmla="*/ 171 w 267"/>
                  <a:gd name="T55" fmla="*/ 148 h 155"/>
                  <a:gd name="T56" fmla="*/ 179 w 267"/>
                  <a:gd name="T57" fmla="*/ 129 h 155"/>
                  <a:gd name="T58" fmla="*/ 208 w 267"/>
                  <a:gd name="T59" fmla="*/ 116 h 155"/>
                  <a:gd name="T60" fmla="*/ 226 w 267"/>
                  <a:gd name="T61" fmla="*/ 119 h 155"/>
                  <a:gd name="T62" fmla="*/ 248 w 267"/>
                  <a:gd name="T63" fmla="*/ 115 h 15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67"/>
                  <a:gd name="T97" fmla="*/ 0 h 155"/>
                  <a:gd name="T98" fmla="*/ 267 w 267"/>
                  <a:gd name="T99" fmla="*/ 155 h 15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67" h="155">
                    <a:moveTo>
                      <a:pt x="248" y="115"/>
                    </a:moveTo>
                    <a:cubicBezTo>
                      <a:pt x="225" y="87"/>
                      <a:pt x="225" y="87"/>
                      <a:pt x="225" y="87"/>
                    </a:cubicBezTo>
                    <a:cubicBezTo>
                      <a:pt x="225" y="87"/>
                      <a:pt x="235" y="82"/>
                      <a:pt x="239" y="75"/>
                    </a:cubicBezTo>
                    <a:cubicBezTo>
                      <a:pt x="243" y="68"/>
                      <a:pt x="232" y="54"/>
                      <a:pt x="241" y="47"/>
                    </a:cubicBezTo>
                    <a:cubicBezTo>
                      <a:pt x="250" y="40"/>
                      <a:pt x="267" y="44"/>
                      <a:pt x="267" y="44"/>
                    </a:cubicBezTo>
                    <a:cubicBezTo>
                      <a:pt x="267" y="44"/>
                      <a:pt x="265" y="35"/>
                      <a:pt x="264" y="23"/>
                    </a:cubicBezTo>
                    <a:cubicBezTo>
                      <a:pt x="257" y="24"/>
                      <a:pt x="248" y="24"/>
                      <a:pt x="245" y="22"/>
                    </a:cubicBezTo>
                    <a:cubicBezTo>
                      <a:pt x="240" y="19"/>
                      <a:pt x="237" y="12"/>
                      <a:pt x="237" y="12"/>
                    </a:cubicBezTo>
                    <a:cubicBezTo>
                      <a:pt x="237" y="12"/>
                      <a:pt x="228" y="10"/>
                      <a:pt x="219" y="10"/>
                    </a:cubicBezTo>
                    <a:cubicBezTo>
                      <a:pt x="210" y="10"/>
                      <a:pt x="203" y="2"/>
                      <a:pt x="194" y="2"/>
                    </a:cubicBezTo>
                    <a:cubicBezTo>
                      <a:pt x="185" y="2"/>
                      <a:pt x="188" y="8"/>
                      <a:pt x="188" y="8"/>
                    </a:cubicBezTo>
                    <a:cubicBezTo>
                      <a:pt x="169" y="6"/>
                      <a:pt x="169" y="6"/>
                      <a:pt x="169" y="6"/>
                    </a:cubicBezTo>
                    <a:cubicBezTo>
                      <a:pt x="170" y="11"/>
                      <a:pt x="170" y="11"/>
                      <a:pt x="170" y="11"/>
                    </a:cubicBezTo>
                    <a:cubicBezTo>
                      <a:pt x="170" y="11"/>
                      <a:pt x="164" y="10"/>
                      <a:pt x="157" y="12"/>
                    </a:cubicBezTo>
                    <a:cubicBezTo>
                      <a:pt x="150" y="14"/>
                      <a:pt x="151" y="30"/>
                      <a:pt x="140" y="29"/>
                    </a:cubicBezTo>
                    <a:cubicBezTo>
                      <a:pt x="129" y="28"/>
                      <a:pt x="118" y="23"/>
                      <a:pt x="118" y="23"/>
                    </a:cubicBezTo>
                    <a:cubicBezTo>
                      <a:pt x="105" y="22"/>
                      <a:pt x="105" y="22"/>
                      <a:pt x="105" y="22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92" y="17"/>
                      <a:pt x="97" y="26"/>
                      <a:pt x="84" y="26"/>
                    </a:cubicBezTo>
                    <a:cubicBezTo>
                      <a:pt x="71" y="26"/>
                      <a:pt x="62" y="21"/>
                      <a:pt x="62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22" y="22"/>
                      <a:pt x="22" y="18"/>
                    </a:cubicBezTo>
                    <a:cubicBezTo>
                      <a:pt x="22" y="14"/>
                      <a:pt x="31" y="9"/>
                      <a:pt x="29" y="5"/>
                    </a:cubicBezTo>
                    <a:cubicBezTo>
                      <a:pt x="27" y="1"/>
                      <a:pt x="17" y="1"/>
                      <a:pt x="17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23" y="47"/>
                      <a:pt x="23" y="47"/>
                      <a:pt x="23" y="47"/>
                    </a:cubicBezTo>
                    <a:cubicBezTo>
                      <a:pt x="23" y="47"/>
                      <a:pt x="28" y="53"/>
                      <a:pt x="26" y="57"/>
                    </a:cubicBezTo>
                    <a:cubicBezTo>
                      <a:pt x="24" y="61"/>
                      <a:pt x="20" y="68"/>
                      <a:pt x="20" y="68"/>
                    </a:cubicBezTo>
                    <a:cubicBezTo>
                      <a:pt x="20" y="68"/>
                      <a:pt x="9" y="65"/>
                      <a:pt x="7" y="69"/>
                    </a:cubicBezTo>
                    <a:cubicBezTo>
                      <a:pt x="5" y="73"/>
                      <a:pt x="8" y="80"/>
                      <a:pt x="8" y="80"/>
                    </a:cubicBezTo>
                    <a:cubicBezTo>
                      <a:pt x="8" y="80"/>
                      <a:pt x="11" y="88"/>
                      <a:pt x="10" y="91"/>
                    </a:cubicBezTo>
                    <a:cubicBezTo>
                      <a:pt x="9" y="93"/>
                      <a:pt x="5" y="94"/>
                      <a:pt x="2" y="95"/>
                    </a:cubicBezTo>
                    <a:cubicBezTo>
                      <a:pt x="2" y="95"/>
                      <a:pt x="2" y="95"/>
                      <a:pt x="2" y="95"/>
                    </a:cubicBezTo>
                    <a:cubicBezTo>
                      <a:pt x="8" y="104"/>
                      <a:pt x="8" y="104"/>
                      <a:pt x="8" y="104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5" y="121"/>
                      <a:pt x="36" y="128"/>
                      <a:pt x="33" y="139"/>
                    </a:cubicBezTo>
                    <a:cubicBezTo>
                      <a:pt x="32" y="142"/>
                      <a:pt x="31" y="145"/>
                      <a:pt x="29" y="147"/>
                    </a:cubicBezTo>
                    <a:cubicBezTo>
                      <a:pt x="32" y="150"/>
                      <a:pt x="36" y="154"/>
                      <a:pt x="41" y="154"/>
                    </a:cubicBezTo>
                    <a:cubicBezTo>
                      <a:pt x="49" y="154"/>
                      <a:pt x="59" y="144"/>
                      <a:pt x="59" y="144"/>
                    </a:cubicBezTo>
                    <a:cubicBezTo>
                      <a:pt x="73" y="150"/>
                      <a:pt x="73" y="150"/>
                      <a:pt x="73" y="150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97" y="135"/>
                      <a:pt x="97" y="135"/>
                      <a:pt x="97" y="135"/>
                    </a:cubicBezTo>
                    <a:cubicBezTo>
                      <a:pt x="97" y="135"/>
                      <a:pt x="101" y="149"/>
                      <a:pt x="109" y="149"/>
                    </a:cubicBezTo>
                    <a:cubicBezTo>
                      <a:pt x="117" y="149"/>
                      <a:pt x="123" y="146"/>
                      <a:pt x="123" y="146"/>
                    </a:cubicBezTo>
                    <a:cubicBezTo>
                      <a:pt x="123" y="146"/>
                      <a:pt x="124" y="155"/>
                      <a:pt x="132" y="154"/>
                    </a:cubicBezTo>
                    <a:cubicBezTo>
                      <a:pt x="140" y="153"/>
                      <a:pt x="145" y="146"/>
                      <a:pt x="145" y="146"/>
                    </a:cubicBez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5" y="154"/>
                      <a:pt x="169" y="153"/>
                      <a:pt x="171" y="148"/>
                    </a:cubicBezTo>
                    <a:cubicBezTo>
                      <a:pt x="173" y="143"/>
                      <a:pt x="167" y="135"/>
                      <a:pt x="167" y="135"/>
                    </a:cubicBezTo>
                    <a:cubicBezTo>
                      <a:pt x="179" y="129"/>
                      <a:pt x="179" y="129"/>
                      <a:pt x="179" y="129"/>
                    </a:cubicBezTo>
                    <a:cubicBezTo>
                      <a:pt x="188" y="114"/>
                      <a:pt x="188" y="114"/>
                      <a:pt x="188" y="114"/>
                    </a:cubicBezTo>
                    <a:cubicBezTo>
                      <a:pt x="208" y="116"/>
                      <a:pt x="208" y="116"/>
                      <a:pt x="208" y="116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26" y="119"/>
                      <a:pt x="226" y="119"/>
                      <a:pt x="226" y="119"/>
                    </a:cubicBezTo>
                    <a:cubicBezTo>
                      <a:pt x="226" y="119"/>
                      <a:pt x="240" y="121"/>
                      <a:pt x="249" y="120"/>
                    </a:cubicBezTo>
                    <a:cubicBezTo>
                      <a:pt x="248" y="117"/>
                      <a:pt x="248" y="115"/>
                      <a:pt x="248" y="1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1" name="MCShape 63">
                <a:extLst>
                  <a:ext uri="{FF2B5EF4-FFF2-40B4-BE49-F238E27FC236}">
                    <a16:creationId xmlns:a16="http://schemas.microsoft.com/office/drawing/2014/main" id="{2DBBB942-E5DA-4B90-8A4D-CECA6D85A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363" y="2869024"/>
                <a:ext cx="64963" cy="52589"/>
              </a:xfrm>
              <a:custGeom>
                <a:avLst/>
                <a:gdLst>
                  <a:gd name="T0" fmla="*/ 100 w 111"/>
                  <a:gd name="T1" fmla="*/ 26 h 87"/>
                  <a:gd name="T2" fmla="*/ 88 w 111"/>
                  <a:gd name="T3" fmla="*/ 17 h 87"/>
                  <a:gd name="T4" fmla="*/ 88 w 111"/>
                  <a:gd name="T5" fmla="*/ 9 h 87"/>
                  <a:gd name="T6" fmla="*/ 83 w 111"/>
                  <a:gd name="T7" fmla="*/ 9 h 87"/>
                  <a:gd name="T8" fmla="*/ 77 w 111"/>
                  <a:gd name="T9" fmla="*/ 0 h 87"/>
                  <a:gd name="T10" fmla="*/ 76 w 111"/>
                  <a:gd name="T11" fmla="*/ 0 h 87"/>
                  <a:gd name="T12" fmla="*/ 50 w 111"/>
                  <a:gd name="T13" fmla="*/ 2 h 87"/>
                  <a:gd name="T14" fmla="*/ 46 w 111"/>
                  <a:gd name="T15" fmla="*/ 6 h 87"/>
                  <a:gd name="T16" fmla="*/ 33 w 111"/>
                  <a:gd name="T17" fmla="*/ 6 h 87"/>
                  <a:gd name="T18" fmla="*/ 30 w 111"/>
                  <a:gd name="T19" fmla="*/ 14 h 87"/>
                  <a:gd name="T20" fmla="*/ 18 w 111"/>
                  <a:gd name="T21" fmla="*/ 14 h 87"/>
                  <a:gd name="T22" fmla="*/ 13 w 111"/>
                  <a:gd name="T23" fmla="*/ 22 h 87"/>
                  <a:gd name="T24" fmla="*/ 2 w 111"/>
                  <a:gd name="T25" fmla="*/ 26 h 87"/>
                  <a:gd name="T26" fmla="*/ 0 w 111"/>
                  <a:gd name="T27" fmla="*/ 41 h 87"/>
                  <a:gd name="T28" fmla="*/ 5 w 111"/>
                  <a:gd name="T29" fmla="*/ 52 h 87"/>
                  <a:gd name="T30" fmla="*/ 3 w 111"/>
                  <a:gd name="T31" fmla="*/ 64 h 87"/>
                  <a:gd name="T32" fmla="*/ 11 w 111"/>
                  <a:gd name="T33" fmla="*/ 70 h 87"/>
                  <a:gd name="T34" fmla="*/ 11 w 111"/>
                  <a:gd name="T35" fmla="*/ 84 h 87"/>
                  <a:gd name="T36" fmla="*/ 29 w 111"/>
                  <a:gd name="T37" fmla="*/ 77 h 87"/>
                  <a:gd name="T38" fmla="*/ 31 w 111"/>
                  <a:gd name="T39" fmla="*/ 84 h 87"/>
                  <a:gd name="T40" fmla="*/ 36 w 111"/>
                  <a:gd name="T41" fmla="*/ 79 h 87"/>
                  <a:gd name="T42" fmla="*/ 60 w 111"/>
                  <a:gd name="T43" fmla="*/ 81 h 87"/>
                  <a:gd name="T44" fmla="*/ 63 w 111"/>
                  <a:gd name="T45" fmla="*/ 70 h 87"/>
                  <a:gd name="T46" fmla="*/ 90 w 111"/>
                  <a:gd name="T47" fmla="*/ 66 h 87"/>
                  <a:gd name="T48" fmla="*/ 108 w 111"/>
                  <a:gd name="T49" fmla="*/ 44 h 87"/>
                  <a:gd name="T50" fmla="*/ 100 w 111"/>
                  <a:gd name="T51" fmla="*/ 26 h 8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1"/>
                  <a:gd name="T79" fmla="*/ 0 h 87"/>
                  <a:gd name="T80" fmla="*/ 111 w 111"/>
                  <a:gd name="T81" fmla="*/ 87 h 8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1" h="87">
                    <a:moveTo>
                      <a:pt x="100" y="26"/>
                    </a:move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6" y="0"/>
                      <a:pt x="76" y="0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7" y="14"/>
                      <a:pt x="30" y="14"/>
                    </a:cubicBezTo>
                    <a:cubicBezTo>
                      <a:pt x="23" y="14"/>
                      <a:pt x="18" y="14"/>
                      <a:pt x="18" y="14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5" y="52"/>
                      <a:pt x="3" y="59"/>
                      <a:pt x="3" y="64"/>
                    </a:cubicBezTo>
                    <a:cubicBezTo>
                      <a:pt x="3" y="69"/>
                      <a:pt x="11" y="70"/>
                      <a:pt x="11" y="70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77"/>
                      <a:pt x="30" y="80"/>
                      <a:pt x="31" y="84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79"/>
                      <a:pt x="56" y="87"/>
                      <a:pt x="60" y="81"/>
                    </a:cubicBezTo>
                    <a:cubicBezTo>
                      <a:pt x="64" y="75"/>
                      <a:pt x="63" y="70"/>
                      <a:pt x="63" y="70"/>
                    </a:cubicBezTo>
                    <a:cubicBezTo>
                      <a:pt x="63" y="70"/>
                      <a:pt x="82" y="74"/>
                      <a:pt x="90" y="66"/>
                    </a:cubicBezTo>
                    <a:cubicBezTo>
                      <a:pt x="98" y="58"/>
                      <a:pt x="105" y="55"/>
                      <a:pt x="108" y="44"/>
                    </a:cubicBezTo>
                    <a:cubicBezTo>
                      <a:pt x="111" y="33"/>
                      <a:pt x="100" y="26"/>
                      <a:pt x="100" y="2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2" name="MCShape 64">
                <a:extLst>
                  <a:ext uri="{FF2B5EF4-FFF2-40B4-BE49-F238E27FC236}">
                    <a16:creationId xmlns:a16="http://schemas.microsoft.com/office/drawing/2014/main" id="{5689E822-8DB4-4AF2-A57B-3C891E024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8209" y="2678776"/>
                <a:ext cx="83524" cy="94350"/>
              </a:xfrm>
              <a:custGeom>
                <a:avLst/>
                <a:gdLst>
                  <a:gd name="T0" fmla="*/ 0 w 143"/>
                  <a:gd name="T1" fmla="*/ 11 h 158"/>
                  <a:gd name="T2" fmla="*/ 24 w 143"/>
                  <a:gd name="T3" fmla="*/ 30 h 158"/>
                  <a:gd name="T4" fmla="*/ 23 w 143"/>
                  <a:gd name="T5" fmla="*/ 40 h 158"/>
                  <a:gd name="T6" fmla="*/ 38 w 143"/>
                  <a:gd name="T7" fmla="*/ 49 h 158"/>
                  <a:gd name="T8" fmla="*/ 44 w 143"/>
                  <a:gd name="T9" fmla="*/ 63 h 158"/>
                  <a:gd name="T10" fmla="*/ 52 w 143"/>
                  <a:gd name="T11" fmla="*/ 64 h 158"/>
                  <a:gd name="T12" fmla="*/ 54 w 143"/>
                  <a:gd name="T13" fmla="*/ 74 h 158"/>
                  <a:gd name="T14" fmla="*/ 71 w 143"/>
                  <a:gd name="T15" fmla="*/ 84 h 158"/>
                  <a:gd name="T16" fmla="*/ 69 w 143"/>
                  <a:gd name="T17" fmla="*/ 106 h 158"/>
                  <a:gd name="T18" fmla="*/ 74 w 143"/>
                  <a:gd name="T19" fmla="*/ 109 h 158"/>
                  <a:gd name="T20" fmla="*/ 67 w 143"/>
                  <a:gd name="T21" fmla="*/ 129 h 158"/>
                  <a:gd name="T22" fmla="*/ 73 w 143"/>
                  <a:gd name="T23" fmla="*/ 143 h 158"/>
                  <a:gd name="T24" fmla="*/ 75 w 143"/>
                  <a:gd name="T25" fmla="*/ 158 h 158"/>
                  <a:gd name="T26" fmla="*/ 92 w 143"/>
                  <a:gd name="T27" fmla="*/ 155 h 158"/>
                  <a:gd name="T28" fmla="*/ 88 w 143"/>
                  <a:gd name="T29" fmla="*/ 141 h 158"/>
                  <a:gd name="T30" fmla="*/ 104 w 143"/>
                  <a:gd name="T31" fmla="*/ 129 h 158"/>
                  <a:gd name="T32" fmla="*/ 113 w 143"/>
                  <a:gd name="T33" fmla="*/ 120 h 158"/>
                  <a:gd name="T34" fmla="*/ 97 w 143"/>
                  <a:gd name="T35" fmla="*/ 106 h 158"/>
                  <a:gd name="T36" fmla="*/ 113 w 143"/>
                  <a:gd name="T37" fmla="*/ 102 h 158"/>
                  <a:gd name="T38" fmla="*/ 126 w 143"/>
                  <a:gd name="T39" fmla="*/ 109 h 158"/>
                  <a:gd name="T40" fmla="*/ 143 w 143"/>
                  <a:gd name="T41" fmla="*/ 104 h 158"/>
                  <a:gd name="T42" fmla="*/ 141 w 143"/>
                  <a:gd name="T43" fmla="*/ 83 h 158"/>
                  <a:gd name="T44" fmla="*/ 120 w 143"/>
                  <a:gd name="T45" fmla="*/ 77 h 158"/>
                  <a:gd name="T46" fmla="*/ 122 w 143"/>
                  <a:gd name="T47" fmla="*/ 61 h 158"/>
                  <a:gd name="T48" fmla="*/ 117 w 143"/>
                  <a:gd name="T49" fmla="*/ 56 h 158"/>
                  <a:gd name="T50" fmla="*/ 105 w 143"/>
                  <a:gd name="T51" fmla="*/ 58 h 158"/>
                  <a:gd name="T52" fmla="*/ 105 w 143"/>
                  <a:gd name="T53" fmla="*/ 43 h 158"/>
                  <a:gd name="T54" fmla="*/ 103 w 143"/>
                  <a:gd name="T55" fmla="*/ 26 h 158"/>
                  <a:gd name="T56" fmla="*/ 83 w 143"/>
                  <a:gd name="T57" fmla="*/ 24 h 158"/>
                  <a:gd name="T58" fmla="*/ 78 w 143"/>
                  <a:gd name="T59" fmla="*/ 13 h 158"/>
                  <a:gd name="T60" fmla="*/ 57 w 143"/>
                  <a:gd name="T61" fmla="*/ 12 h 158"/>
                  <a:gd name="T62" fmla="*/ 52 w 143"/>
                  <a:gd name="T63" fmla="*/ 7 h 158"/>
                  <a:gd name="T64" fmla="*/ 48 w 143"/>
                  <a:gd name="T65" fmla="*/ 9 h 158"/>
                  <a:gd name="T66" fmla="*/ 33 w 143"/>
                  <a:gd name="T67" fmla="*/ 1 h 158"/>
                  <a:gd name="T68" fmla="*/ 18 w 143"/>
                  <a:gd name="T69" fmla="*/ 8 h 158"/>
                  <a:gd name="T70" fmla="*/ 2 w 143"/>
                  <a:gd name="T71" fmla="*/ 3 h 158"/>
                  <a:gd name="T72" fmla="*/ 0 w 143"/>
                  <a:gd name="T73" fmla="*/ 11 h 158"/>
                  <a:gd name="T74" fmla="*/ 0 w 143"/>
                  <a:gd name="T75" fmla="*/ 11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3"/>
                  <a:gd name="T115" fmla="*/ 0 h 158"/>
                  <a:gd name="T116" fmla="*/ 143 w 143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3" h="158">
                    <a:moveTo>
                      <a:pt x="0" y="11"/>
                    </a:moveTo>
                    <a:cubicBezTo>
                      <a:pt x="17" y="14"/>
                      <a:pt x="24" y="30"/>
                      <a:pt x="24" y="3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52" y="64"/>
                      <a:pt x="52" y="64"/>
                      <a:pt x="52" y="64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54" y="74"/>
                      <a:pt x="70" y="75"/>
                      <a:pt x="71" y="84"/>
                    </a:cubicBezTo>
                    <a:cubicBezTo>
                      <a:pt x="72" y="93"/>
                      <a:pt x="69" y="106"/>
                      <a:pt x="69" y="106"/>
                    </a:cubicBezTo>
                    <a:cubicBezTo>
                      <a:pt x="74" y="109"/>
                      <a:pt x="74" y="109"/>
                      <a:pt x="74" y="109"/>
                    </a:cubicBezTo>
                    <a:cubicBezTo>
                      <a:pt x="74" y="109"/>
                      <a:pt x="67" y="122"/>
                      <a:pt x="67" y="129"/>
                    </a:cubicBezTo>
                    <a:cubicBezTo>
                      <a:pt x="67" y="136"/>
                      <a:pt x="73" y="143"/>
                      <a:pt x="73" y="143"/>
                    </a:cubicBezTo>
                    <a:cubicBezTo>
                      <a:pt x="73" y="143"/>
                      <a:pt x="72" y="151"/>
                      <a:pt x="75" y="158"/>
                    </a:cubicBezTo>
                    <a:cubicBezTo>
                      <a:pt x="92" y="155"/>
                      <a:pt x="92" y="155"/>
                      <a:pt x="92" y="155"/>
                    </a:cubicBezTo>
                    <a:cubicBezTo>
                      <a:pt x="92" y="155"/>
                      <a:pt x="88" y="145"/>
                      <a:pt x="88" y="141"/>
                    </a:cubicBezTo>
                    <a:cubicBezTo>
                      <a:pt x="88" y="137"/>
                      <a:pt x="104" y="129"/>
                      <a:pt x="104" y="129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3" y="120"/>
                      <a:pt x="98" y="110"/>
                      <a:pt x="97" y="106"/>
                    </a:cubicBezTo>
                    <a:cubicBezTo>
                      <a:pt x="96" y="102"/>
                      <a:pt x="113" y="102"/>
                      <a:pt x="113" y="102"/>
                    </a:cubicBezTo>
                    <a:cubicBezTo>
                      <a:pt x="113" y="102"/>
                      <a:pt x="119" y="110"/>
                      <a:pt x="126" y="109"/>
                    </a:cubicBezTo>
                    <a:cubicBezTo>
                      <a:pt x="133" y="108"/>
                      <a:pt x="143" y="104"/>
                      <a:pt x="143" y="104"/>
                    </a:cubicBezTo>
                    <a:cubicBezTo>
                      <a:pt x="143" y="104"/>
                      <a:pt x="142" y="90"/>
                      <a:pt x="141" y="83"/>
                    </a:cubicBezTo>
                    <a:cubicBezTo>
                      <a:pt x="140" y="76"/>
                      <a:pt x="127" y="79"/>
                      <a:pt x="120" y="77"/>
                    </a:cubicBezTo>
                    <a:cubicBezTo>
                      <a:pt x="113" y="75"/>
                      <a:pt x="122" y="61"/>
                      <a:pt x="122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08" y="58"/>
                      <a:pt x="105" y="58"/>
                    </a:cubicBezTo>
                    <a:cubicBezTo>
                      <a:pt x="102" y="58"/>
                      <a:pt x="105" y="43"/>
                      <a:pt x="105" y="43"/>
                    </a:cubicBezTo>
                    <a:cubicBezTo>
                      <a:pt x="105" y="43"/>
                      <a:pt x="114" y="34"/>
                      <a:pt x="103" y="26"/>
                    </a:cubicBezTo>
                    <a:cubicBezTo>
                      <a:pt x="92" y="18"/>
                      <a:pt x="83" y="24"/>
                      <a:pt x="83" y="24"/>
                    </a:cubicBezTo>
                    <a:cubicBezTo>
                      <a:pt x="83" y="24"/>
                      <a:pt x="83" y="17"/>
                      <a:pt x="78" y="13"/>
                    </a:cubicBezTo>
                    <a:cubicBezTo>
                      <a:pt x="73" y="9"/>
                      <a:pt x="66" y="12"/>
                      <a:pt x="57" y="12"/>
                    </a:cubicBezTo>
                    <a:cubicBezTo>
                      <a:pt x="48" y="12"/>
                      <a:pt x="52" y="7"/>
                      <a:pt x="52" y="7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9"/>
                      <a:pt x="42" y="0"/>
                      <a:pt x="33" y="1"/>
                    </a:cubicBezTo>
                    <a:cubicBezTo>
                      <a:pt x="24" y="2"/>
                      <a:pt x="24" y="7"/>
                      <a:pt x="18" y="8"/>
                    </a:cubicBezTo>
                    <a:cubicBezTo>
                      <a:pt x="12" y="9"/>
                      <a:pt x="2" y="3"/>
                      <a:pt x="2" y="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3" name="MCShape 65">
                <a:extLst>
                  <a:ext uri="{FF2B5EF4-FFF2-40B4-BE49-F238E27FC236}">
                    <a16:creationId xmlns:a16="http://schemas.microsoft.com/office/drawing/2014/main" id="{24277055-BF6B-4BD4-A605-FB9600237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8216" y="2715898"/>
                <a:ext cx="9281" cy="9281"/>
              </a:xfrm>
              <a:custGeom>
                <a:avLst/>
                <a:gdLst>
                  <a:gd name="T0" fmla="*/ 11 w 15"/>
                  <a:gd name="T1" fmla="*/ 1 h 16"/>
                  <a:gd name="T2" fmla="*/ 4 w 15"/>
                  <a:gd name="T3" fmla="*/ 14 h 16"/>
                  <a:gd name="T4" fmla="*/ 12 w 15"/>
                  <a:gd name="T5" fmla="*/ 16 h 16"/>
                  <a:gd name="T6" fmla="*/ 15 w 15"/>
                  <a:gd name="T7" fmla="*/ 16 h 16"/>
                  <a:gd name="T8" fmla="*/ 15 w 15"/>
                  <a:gd name="T9" fmla="*/ 6 h 16"/>
                  <a:gd name="T10" fmla="*/ 13 w 15"/>
                  <a:gd name="T11" fmla="*/ 0 h 16"/>
                  <a:gd name="T12" fmla="*/ 11 w 15"/>
                  <a:gd name="T13" fmla="*/ 1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16"/>
                  <a:gd name="T23" fmla="*/ 15 w 15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16">
                    <a:moveTo>
                      <a:pt x="11" y="1"/>
                    </a:moveTo>
                    <a:cubicBezTo>
                      <a:pt x="6" y="3"/>
                      <a:pt x="0" y="11"/>
                      <a:pt x="4" y="14"/>
                    </a:cubicBezTo>
                    <a:cubicBezTo>
                      <a:pt x="8" y="16"/>
                      <a:pt x="12" y="16"/>
                      <a:pt x="12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4"/>
                      <a:pt x="15" y="9"/>
                      <a:pt x="15" y="6"/>
                    </a:cubicBezTo>
                    <a:cubicBezTo>
                      <a:pt x="15" y="4"/>
                      <a:pt x="14" y="2"/>
                      <a:pt x="13" y="0"/>
                    </a:cubicBezTo>
                    <a:cubicBezTo>
                      <a:pt x="12" y="0"/>
                      <a:pt x="12" y="1"/>
                      <a:pt x="11" y="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4" name="MCShape 66">
                <a:extLst>
                  <a:ext uri="{FF2B5EF4-FFF2-40B4-BE49-F238E27FC236}">
                    <a16:creationId xmlns:a16="http://schemas.microsoft.com/office/drawing/2014/main" id="{DA91592F-6264-448E-944F-14C7BFC22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989" y="2684963"/>
                <a:ext cx="242837" cy="146940"/>
              </a:xfrm>
              <a:custGeom>
                <a:avLst/>
                <a:gdLst>
                  <a:gd name="T0" fmla="*/ 360 w 411"/>
                  <a:gd name="T1" fmla="*/ 241 h 248"/>
                  <a:gd name="T2" fmla="*/ 379 w 411"/>
                  <a:gd name="T3" fmla="*/ 187 h 248"/>
                  <a:gd name="T4" fmla="*/ 396 w 411"/>
                  <a:gd name="T5" fmla="*/ 146 h 248"/>
                  <a:gd name="T6" fmla="*/ 353 w 411"/>
                  <a:gd name="T7" fmla="*/ 161 h 248"/>
                  <a:gd name="T8" fmla="*/ 330 w 411"/>
                  <a:gd name="T9" fmla="*/ 121 h 248"/>
                  <a:gd name="T10" fmla="*/ 332 w 411"/>
                  <a:gd name="T11" fmla="*/ 98 h 248"/>
                  <a:gd name="T12" fmla="*/ 317 w 411"/>
                  <a:gd name="T13" fmla="*/ 66 h 248"/>
                  <a:gd name="T14" fmla="*/ 307 w 411"/>
                  <a:gd name="T15" fmla="*/ 55 h 248"/>
                  <a:gd name="T16" fmla="*/ 286 w 411"/>
                  <a:gd name="T17" fmla="*/ 32 h 248"/>
                  <a:gd name="T18" fmla="*/ 263 w 411"/>
                  <a:gd name="T19" fmla="*/ 3 h 248"/>
                  <a:gd name="T20" fmla="*/ 225 w 411"/>
                  <a:gd name="T21" fmla="*/ 17 h 248"/>
                  <a:gd name="T22" fmla="*/ 204 w 411"/>
                  <a:gd name="T23" fmla="*/ 21 h 248"/>
                  <a:gd name="T24" fmla="*/ 172 w 411"/>
                  <a:gd name="T25" fmla="*/ 16 h 248"/>
                  <a:gd name="T26" fmla="*/ 145 w 411"/>
                  <a:gd name="T27" fmla="*/ 18 h 248"/>
                  <a:gd name="T28" fmla="*/ 123 w 411"/>
                  <a:gd name="T29" fmla="*/ 14 h 248"/>
                  <a:gd name="T30" fmla="*/ 90 w 411"/>
                  <a:gd name="T31" fmla="*/ 28 h 248"/>
                  <a:gd name="T32" fmla="*/ 69 w 411"/>
                  <a:gd name="T33" fmla="*/ 53 h 248"/>
                  <a:gd name="T34" fmla="*/ 46 w 411"/>
                  <a:gd name="T35" fmla="*/ 83 h 248"/>
                  <a:gd name="T36" fmla="*/ 29 w 411"/>
                  <a:gd name="T37" fmla="*/ 107 h 248"/>
                  <a:gd name="T38" fmla="*/ 16 w 411"/>
                  <a:gd name="T39" fmla="*/ 114 h 248"/>
                  <a:gd name="T40" fmla="*/ 1 w 411"/>
                  <a:gd name="T41" fmla="*/ 119 h 248"/>
                  <a:gd name="T42" fmla="*/ 22 w 411"/>
                  <a:gd name="T43" fmla="*/ 131 h 248"/>
                  <a:gd name="T44" fmla="*/ 38 w 411"/>
                  <a:gd name="T45" fmla="*/ 160 h 248"/>
                  <a:gd name="T46" fmla="*/ 51 w 411"/>
                  <a:gd name="T47" fmla="*/ 177 h 248"/>
                  <a:gd name="T48" fmla="*/ 72 w 411"/>
                  <a:gd name="T49" fmla="*/ 190 h 248"/>
                  <a:gd name="T50" fmla="*/ 94 w 411"/>
                  <a:gd name="T51" fmla="*/ 190 h 248"/>
                  <a:gd name="T52" fmla="*/ 107 w 411"/>
                  <a:gd name="T53" fmla="*/ 200 h 248"/>
                  <a:gd name="T54" fmla="*/ 107 w 411"/>
                  <a:gd name="T55" fmla="*/ 212 h 248"/>
                  <a:gd name="T56" fmla="*/ 113 w 411"/>
                  <a:gd name="T57" fmla="*/ 219 h 248"/>
                  <a:gd name="T58" fmla="*/ 118 w 411"/>
                  <a:gd name="T59" fmla="*/ 236 h 248"/>
                  <a:gd name="T60" fmla="*/ 142 w 411"/>
                  <a:gd name="T61" fmla="*/ 232 h 248"/>
                  <a:gd name="T62" fmla="*/ 180 w 411"/>
                  <a:gd name="T63" fmla="*/ 244 h 248"/>
                  <a:gd name="T64" fmla="*/ 201 w 411"/>
                  <a:gd name="T65" fmla="*/ 240 h 248"/>
                  <a:gd name="T66" fmla="*/ 236 w 411"/>
                  <a:gd name="T67" fmla="*/ 247 h 248"/>
                  <a:gd name="T68" fmla="*/ 266 w 411"/>
                  <a:gd name="T69" fmla="*/ 229 h 248"/>
                  <a:gd name="T70" fmla="*/ 284 w 411"/>
                  <a:gd name="T71" fmla="*/ 226 h 248"/>
                  <a:gd name="T72" fmla="*/ 315 w 411"/>
                  <a:gd name="T73" fmla="*/ 228 h 248"/>
                  <a:gd name="T74" fmla="*/ 341 w 411"/>
                  <a:gd name="T75" fmla="*/ 240 h 24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11"/>
                  <a:gd name="T115" fmla="*/ 0 h 248"/>
                  <a:gd name="T116" fmla="*/ 411 w 411"/>
                  <a:gd name="T117" fmla="*/ 248 h 24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11" h="248">
                    <a:moveTo>
                      <a:pt x="341" y="240"/>
                    </a:moveTo>
                    <a:cubicBezTo>
                      <a:pt x="344" y="242"/>
                      <a:pt x="353" y="242"/>
                      <a:pt x="360" y="241"/>
                    </a:cubicBezTo>
                    <a:cubicBezTo>
                      <a:pt x="358" y="230"/>
                      <a:pt x="359" y="216"/>
                      <a:pt x="364" y="209"/>
                    </a:cubicBezTo>
                    <a:cubicBezTo>
                      <a:pt x="373" y="197"/>
                      <a:pt x="379" y="187"/>
                      <a:pt x="379" y="187"/>
                    </a:cubicBezTo>
                    <a:cubicBezTo>
                      <a:pt x="379" y="187"/>
                      <a:pt x="411" y="197"/>
                      <a:pt x="407" y="174"/>
                    </a:cubicBezTo>
                    <a:cubicBezTo>
                      <a:pt x="404" y="158"/>
                      <a:pt x="399" y="149"/>
                      <a:pt x="396" y="146"/>
                    </a:cubicBezTo>
                    <a:cubicBezTo>
                      <a:pt x="395" y="148"/>
                      <a:pt x="391" y="152"/>
                      <a:pt x="382" y="151"/>
                    </a:cubicBezTo>
                    <a:cubicBezTo>
                      <a:pt x="370" y="150"/>
                      <a:pt x="374" y="164"/>
                      <a:pt x="353" y="161"/>
                    </a:cubicBezTo>
                    <a:cubicBezTo>
                      <a:pt x="332" y="158"/>
                      <a:pt x="336" y="135"/>
                      <a:pt x="336" y="135"/>
                    </a:cubicBezTo>
                    <a:cubicBezTo>
                      <a:pt x="336" y="135"/>
                      <a:pt x="330" y="128"/>
                      <a:pt x="330" y="121"/>
                    </a:cubicBezTo>
                    <a:cubicBezTo>
                      <a:pt x="330" y="114"/>
                      <a:pt x="337" y="101"/>
                      <a:pt x="337" y="101"/>
                    </a:cubicBezTo>
                    <a:cubicBezTo>
                      <a:pt x="332" y="98"/>
                      <a:pt x="332" y="98"/>
                      <a:pt x="332" y="98"/>
                    </a:cubicBezTo>
                    <a:cubicBezTo>
                      <a:pt x="332" y="98"/>
                      <a:pt x="335" y="85"/>
                      <a:pt x="334" y="76"/>
                    </a:cubicBezTo>
                    <a:cubicBezTo>
                      <a:pt x="333" y="67"/>
                      <a:pt x="317" y="66"/>
                      <a:pt x="317" y="66"/>
                    </a:cubicBezTo>
                    <a:cubicBezTo>
                      <a:pt x="315" y="56"/>
                      <a:pt x="315" y="56"/>
                      <a:pt x="315" y="56"/>
                    </a:cubicBezTo>
                    <a:cubicBezTo>
                      <a:pt x="307" y="55"/>
                      <a:pt x="307" y="55"/>
                      <a:pt x="307" y="55"/>
                    </a:cubicBezTo>
                    <a:cubicBezTo>
                      <a:pt x="301" y="41"/>
                      <a:pt x="301" y="41"/>
                      <a:pt x="301" y="41"/>
                    </a:cubicBezTo>
                    <a:cubicBezTo>
                      <a:pt x="286" y="32"/>
                      <a:pt x="286" y="32"/>
                      <a:pt x="286" y="32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0" y="6"/>
                      <a:pt x="263" y="3"/>
                    </a:cubicBezTo>
                    <a:cubicBezTo>
                      <a:pt x="246" y="0"/>
                      <a:pt x="248" y="18"/>
                      <a:pt x="238" y="18"/>
                    </a:cubicBezTo>
                    <a:cubicBezTo>
                      <a:pt x="228" y="18"/>
                      <a:pt x="225" y="17"/>
                      <a:pt x="225" y="17"/>
                    </a:cubicBezTo>
                    <a:cubicBezTo>
                      <a:pt x="221" y="24"/>
                      <a:pt x="221" y="24"/>
                      <a:pt x="221" y="24"/>
                    </a:cubicBezTo>
                    <a:cubicBezTo>
                      <a:pt x="204" y="21"/>
                      <a:pt x="204" y="21"/>
                      <a:pt x="204" y="21"/>
                    </a:cubicBezTo>
                    <a:cubicBezTo>
                      <a:pt x="204" y="21"/>
                      <a:pt x="204" y="30"/>
                      <a:pt x="194" y="33"/>
                    </a:cubicBezTo>
                    <a:cubicBezTo>
                      <a:pt x="184" y="36"/>
                      <a:pt x="178" y="17"/>
                      <a:pt x="172" y="16"/>
                    </a:cubicBezTo>
                    <a:cubicBezTo>
                      <a:pt x="166" y="15"/>
                      <a:pt x="151" y="23"/>
                      <a:pt x="151" y="23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29" y="21"/>
                      <a:pt x="127" y="14"/>
                      <a:pt x="123" y="14"/>
                    </a:cubicBezTo>
                    <a:cubicBezTo>
                      <a:pt x="119" y="14"/>
                      <a:pt x="110" y="14"/>
                      <a:pt x="110" y="14"/>
                    </a:cubicBezTo>
                    <a:cubicBezTo>
                      <a:pt x="110" y="14"/>
                      <a:pt x="100" y="27"/>
                      <a:pt x="90" y="28"/>
                    </a:cubicBezTo>
                    <a:cubicBezTo>
                      <a:pt x="80" y="29"/>
                      <a:pt x="71" y="29"/>
                      <a:pt x="70" y="35"/>
                    </a:cubicBezTo>
                    <a:cubicBezTo>
                      <a:pt x="69" y="41"/>
                      <a:pt x="69" y="53"/>
                      <a:pt x="69" y="53"/>
                    </a:cubicBezTo>
                    <a:cubicBezTo>
                      <a:pt x="69" y="53"/>
                      <a:pt x="72" y="65"/>
                      <a:pt x="62" y="70"/>
                    </a:cubicBezTo>
                    <a:cubicBezTo>
                      <a:pt x="52" y="75"/>
                      <a:pt x="46" y="83"/>
                      <a:pt x="46" y="83"/>
                    </a:cubicBezTo>
                    <a:cubicBezTo>
                      <a:pt x="46" y="83"/>
                      <a:pt x="51" y="91"/>
                      <a:pt x="45" y="97"/>
                    </a:cubicBezTo>
                    <a:cubicBezTo>
                      <a:pt x="39" y="103"/>
                      <a:pt x="29" y="107"/>
                      <a:pt x="29" y="107"/>
                    </a:cubicBezTo>
                    <a:cubicBezTo>
                      <a:pt x="18" y="105"/>
                      <a:pt x="18" y="105"/>
                      <a:pt x="18" y="105"/>
                    </a:cubicBezTo>
                    <a:cubicBezTo>
                      <a:pt x="16" y="114"/>
                      <a:pt x="16" y="114"/>
                      <a:pt x="16" y="114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19"/>
                      <a:pt x="1" y="119"/>
                      <a:pt x="1" y="119"/>
                    </a:cubicBezTo>
                    <a:cubicBezTo>
                      <a:pt x="16" y="133"/>
                      <a:pt x="16" y="133"/>
                      <a:pt x="16" y="133"/>
                    </a:cubicBezTo>
                    <a:cubicBezTo>
                      <a:pt x="22" y="131"/>
                      <a:pt x="22" y="131"/>
                      <a:pt x="22" y="131"/>
                    </a:cubicBezTo>
                    <a:cubicBezTo>
                      <a:pt x="30" y="154"/>
                      <a:pt x="30" y="154"/>
                      <a:pt x="30" y="154"/>
                    </a:cubicBezTo>
                    <a:cubicBezTo>
                      <a:pt x="30" y="154"/>
                      <a:pt x="36" y="165"/>
                      <a:pt x="38" y="160"/>
                    </a:cubicBezTo>
                    <a:cubicBezTo>
                      <a:pt x="40" y="155"/>
                      <a:pt x="52" y="156"/>
                      <a:pt x="54" y="162"/>
                    </a:cubicBezTo>
                    <a:cubicBezTo>
                      <a:pt x="56" y="168"/>
                      <a:pt x="51" y="177"/>
                      <a:pt x="51" y="177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72" y="190"/>
                      <a:pt x="72" y="190"/>
                      <a:pt x="72" y="190"/>
                    </a:cubicBezTo>
                    <a:cubicBezTo>
                      <a:pt x="78" y="197"/>
                      <a:pt x="78" y="197"/>
                      <a:pt x="78" y="197"/>
                    </a:cubicBezTo>
                    <a:cubicBezTo>
                      <a:pt x="94" y="190"/>
                      <a:pt x="94" y="190"/>
                      <a:pt x="94" y="190"/>
                    </a:cubicBezTo>
                    <a:cubicBezTo>
                      <a:pt x="110" y="194"/>
                      <a:pt x="110" y="194"/>
                      <a:pt x="110" y="194"/>
                    </a:cubicBezTo>
                    <a:cubicBezTo>
                      <a:pt x="107" y="200"/>
                      <a:pt x="107" y="200"/>
                      <a:pt x="107" y="200"/>
                    </a:cubicBezTo>
                    <a:cubicBezTo>
                      <a:pt x="100" y="208"/>
                      <a:pt x="100" y="208"/>
                      <a:pt x="100" y="208"/>
                    </a:cubicBezTo>
                    <a:cubicBezTo>
                      <a:pt x="107" y="212"/>
                      <a:pt x="107" y="212"/>
                      <a:pt x="107" y="212"/>
                    </a:cubicBezTo>
                    <a:cubicBezTo>
                      <a:pt x="106" y="218"/>
                      <a:pt x="106" y="218"/>
                      <a:pt x="106" y="218"/>
                    </a:cubicBezTo>
                    <a:cubicBezTo>
                      <a:pt x="113" y="219"/>
                      <a:pt x="113" y="219"/>
                      <a:pt x="113" y="219"/>
                    </a:cubicBezTo>
                    <a:cubicBezTo>
                      <a:pt x="113" y="219"/>
                      <a:pt x="123" y="219"/>
                      <a:pt x="125" y="223"/>
                    </a:cubicBezTo>
                    <a:cubicBezTo>
                      <a:pt x="127" y="227"/>
                      <a:pt x="118" y="232"/>
                      <a:pt x="118" y="236"/>
                    </a:cubicBezTo>
                    <a:cubicBezTo>
                      <a:pt x="118" y="240"/>
                      <a:pt x="135" y="239"/>
                      <a:pt x="135" y="239"/>
                    </a:cubicBezTo>
                    <a:cubicBezTo>
                      <a:pt x="142" y="232"/>
                      <a:pt x="142" y="232"/>
                      <a:pt x="142" y="232"/>
                    </a:cubicBezTo>
                    <a:cubicBezTo>
                      <a:pt x="158" y="239"/>
                      <a:pt x="158" y="239"/>
                      <a:pt x="158" y="239"/>
                    </a:cubicBezTo>
                    <a:cubicBezTo>
                      <a:pt x="158" y="239"/>
                      <a:pt x="167" y="244"/>
                      <a:pt x="180" y="244"/>
                    </a:cubicBezTo>
                    <a:cubicBezTo>
                      <a:pt x="193" y="244"/>
                      <a:pt x="188" y="235"/>
                      <a:pt x="188" y="235"/>
                    </a:cubicBezTo>
                    <a:cubicBezTo>
                      <a:pt x="201" y="240"/>
                      <a:pt x="201" y="240"/>
                      <a:pt x="201" y="240"/>
                    </a:cubicBezTo>
                    <a:cubicBezTo>
                      <a:pt x="214" y="241"/>
                      <a:pt x="214" y="241"/>
                      <a:pt x="214" y="241"/>
                    </a:cubicBezTo>
                    <a:cubicBezTo>
                      <a:pt x="214" y="241"/>
                      <a:pt x="225" y="246"/>
                      <a:pt x="236" y="247"/>
                    </a:cubicBezTo>
                    <a:cubicBezTo>
                      <a:pt x="247" y="248"/>
                      <a:pt x="246" y="232"/>
                      <a:pt x="253" y="230"/>
                    </a:cubicBezTo>
                    <a:cubicBezTo>
                      <a:pt x="260" y="228"/>
                      <a:pt x="266" y="229"/>
                      <a:pt x="266" y="229"/>
                    </a:cubicBezTo>
                    <a:cubicBezTo>
                      <a:pt x="265" y="224"/>
                      <a:pt x="265" y="224"/>
                      <a:pt x="265" y="224"/>
                    </a:cubicBezTo>
                    <a:cubicBezTo>
                      <a:pt x="284" y="226"/>
                      <a:pt x="284" y="226"/>
                      <a:pt x="284" y="226"/>
                    </a:cubicBezTo>
                    <a:cubicBezTo>
                      <a:pt x="284" y="226"/>
                      <a:pt x="281" y="220"/>
                      <a:pt x="290" y="220"/>
                    </a:cubicBezTo>
                    <a:cubicBezTo>
                      <a:pt x="299" y="220"/>
                      <a:pt x="306" y="228"/>
                      <a:pt x="315" y="228"/>
                    </a:cubicBezTo>
                    <a:cubicBezTo>
                      <a:pt x="324" y="228"/>
                      <a:pt x="333" y="230"/>
                      <a:pt x="333" y="230"/>
                    </a:cubicBezTo>
                    <a:cubicBezTo>
                      <a:pt x="333" y="230"/>
                      <a:pt x="336" y="237"/>
                      <a:pt x="341" y="24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5" name="MCShape 67">
                <a:extLst>
                  <a:ext uri="{FF2B5EF4-FFF2-40B4-BE49-F238E27FC236}">
                    <a16:creationId xmlns:a16="http://schemas.microsoft.com/office/drawing/2014/main" id="{7F16169D-49BA-4126-97D4-2CEE76A9E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5984" y="2779314"/>
                <a:ext cx="102085" cy="89711"/>
              </a:xfrm>
              <a:custGeom>
                <a:avLst/>
                <a:gdLst>
                  <a:gd name="T0" fmla="*/ 162 w 173"/>
                  <a:gd name="T1" fmla="*/ 51 h 153"/>
                  <a:gd name="T2" fmla="*/ 151 w 173"/>
                  <a:gd name="T3" fmla="*/ 52 h 153"/>
                  <a:gd name="T4" fmla="*/ 151 w 173"/>
                  <a:gd name="T5" fmla="*/ 41 h 153"/>
                  <a:gd name="T6" fmla="*/ 163 w 173"/>
                  <a:gd name="T7" fmla="*/ 22 h 153"/>
                  <a:gd name="T8" fmla="*/ 144 w 173"/>
                  <a:gd name="T9" fmla="*/ 23 h 153"/>
                  <a:gd name="T10" fmla="*/ 141 w 173"/>
                  <a:gd name="T11" fmla="*/ 18 h 153"/>
                  <a:gd name="T12" fmla="*/ 136 w 173"/>
                  <a:gd name="T13" fmla="*/ 19 h 153"/>
                  <a:gd name="T14" fmla="*/ 126 w 173"/>
                  <a:gd name="T15" fmla="*/ 8 h 153"/>
                  <a:gd name="T16" fmla="*/ 109 w 173"/>
                  <a:gd name="T17" fmla="*/ 7 h 153"/>
                  <a:gd name="T18" fmla="*/ 93 w 173"/>
                  <a:gd name="T19" fmla="*/ 8 h 153"/>
                  <a:gd name="T20" fmla="*/ 80 w 173"/>
                  <a:gd name="T21" fmla="*/ 5 h 153"/>
                  <a:gd name="T22" fmla="*/ 71 w 173"/>
                  <a:gd name="T23" fmla="*/ 9 h 153"/>
                  <a:gd name="T24" fmla="*/ 58 w 173"/>
                  <a:gd name="T25" fmla="*/ 2 h 153"/>
                  <a:gd name="T26" fmla="*/ 43 w 173"/>
                  <a:gd name="T27" fmla="*/ 4 h 153"/>
                  <a:gd name="T28" fmla="*/ 28 w 173"/>
                  <a:gd name="T29" fmla="*/ 8 h 153"/>
                  <a:gd name="T30" fmla="*/ 12 w 173"/>
                  <a:gd name="T31" fmla="*/ 1 h 153"/>
                  <a:gd name="T32" fmla="*/ 9 w 173"/>
                  <a:gd name="T33" fmla="*/ 15 h 153"/>
                  <a:gd name="T34" fmla="*/ 0 w 173"/>
                  <a:gd name="T35" fmla="*/ 20 h 153"/>
                  <a:gd name="T36" fmla="*/ 7 w 173"/>
                  <a:gd name="T37" fmla="*/ 27 h 153"/>
                  <a:gd name="T38" fmla="*/ 19 w 173"/>
                  <a:gd name="T39" fmla="*/ 30 h 153"/>
                  <a:gd name="T40" fmla="*/ 18 w 173"/>
                  <a:gd name="T41" fmla="*/ 39 h 153"/>
                  <a:gd name="T42" fmla="*/ 26 w 173"/>
                  <a:gd name="T43" fmla="*/ 43 h 153"/>
                  <a:gd name="T44" fmla="*/ 26 w 173"/>
                  <a:gd name="T45" fmla="*/ 57 h 153"/>
                  <a:gd name="T46" fmla="*/ 37 w 173"/>
                  <a:gd name="T47" fmla="*/ 60 h 153"/>
                  <a:gd name="T48" fmla="*/ 47 w 173"/>
                  <a:gd name="T49" fmla="*/ 80 h 153"/>
                  <a:gd name="T50" fmla="*/ 75 w 173"/>
                  <a:gd name="T51" fmla="*/ 99 h 153"/>
                  <a:gd name="T52" fmla="*/ 81 w 173"/>
                  <a:gd name="T53" fmla="*/ 120 h 153"/>
                  <a:gd name="T54" fmla="*/ 89 w 173"/>
                  <a:gd name="T55" fmla="*/ 121 h 153"/>
                  <a:gd name="T56" fmla="*/ 125 w 173"/>
                  <a:gd name="T57" fmla="*/ 153 h 153"/>
                  <a:gd name="T58" fmla="*/ 138 w 173"/>
                  <a:gd name="T59" fmla="*/ 137 h 153"/>
                  <a:gd name="T60" fmla="*/ 124 w 173"/>
                  <a:gd name="T61" fmla="*/ 128 h 153"/>
                  <a:gd name="T62" fmla="*/ 125 w 173"/>
                  <a:gd name="T63" fmla="*/ 118 h 153"/>
                  <a:gd name="T64" fmla="*/ 130 w 173"/>
                  <a:gd name="T65" fmla="*/ 118 h 153"/>
                  <a:gd name="T66" fmla="*/ 139 w 173"/>
                  <a:gd name="T67" fmla="*/ 103 h 153"/>
                  <a:gd name="T68" fmla="*/ 150 w 173"/>
                  <a:gd name="T69" fmla="*/ 104 h 153"/>
                  <a:gd name="T70" fmla="*/ 150 w 173"/>
                  <a:gd name="T71" fmla="*/ 89 h 153"/>
                  <a:gd name="T72" fmla="*/ 171 w 173"/>
                  <a:gd name="T73" fmla="*/ 86 h 153"/>
                  <a:gd name="T74" fmla="*/ 159 w 173"/>
                  <a:gd name="T75" fmla="*/ 66 h 153"/>
                  <a:gd name="T76" fmla="*/ 173 w 173"/>
                  <a:gd name="T77" fmla="*/ 64 h 153"/>
                  <a:gd name="T78" fmla="*/ 162 w 173"/>
                  <a:gd name="T79" fmla="*/ 51 h 15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73"/>
                  <a:gd name="T121" fmla="*/ 0 h 153"/>
                  <a:gd name="T122" fmla="*/ 173 w 173"/>
                  <a:gd name="T123" fmla="*/ 153 h 15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73" h="153">
                    <a:moveTo>
                      <a:pt x="162" y="51"/>
                    </a:moveTo>
                    <a:cubicBezTo>
                      <a:pt x="155" y="49"/>
                      <a:pt x="151" y="52"/>
                      <a:pt x="151" y="52"/>
                    </a:cubicBezTo>
                    <a:cubicBezTo>
                      <a:pt x="151" y="41"/>
                      <a:pt x="151" y="41"/>
                      <a:pt x="151" y="41"/>
                    </a:cubicBezTo>
                    <a:cubicBezTo>
                      <a:pt x="151" y="41"/>
                      <a:pt x="163" y="27"/>
                      <a:pt x="163" y="22"/>
                    </a:cubicBezTo>
                    <a:cubicBezTo>
                      <a:pt x="163" y="17"/>
                      <a:pt x="144" y="23"/>
                      <a:pt x="144" y="23"/>
                    </a:cubicBezTo>
                    <a:cubicBezTo>
                      <a:pt x="141" y="18"/>
                      <a:pt x="141" y="18"/>
                      <a:pt x="141" y="18"/>
                    </a:cubicBezTo>
                    <a:cubicBezTo>
                      <a:pt x="136" y="19"/>
                      <a:pt x="136" y="19"/>
                      <a:pt x="136" y="19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8"/>
                      <a:pt x="115" y="8"/>
                      <a:pt x="109" y="7"/>
                    </a:cubicBezTo>
                    <a:cubicBezTo>
                      <a:pt x="103" y="6"/>
                      <a:pt x="96" y="8"/>
                      <a:pt x="93" y="8"/>
                    </a:cubicBezTo>
                    <a:cubicBezTo>
                      <a:pt x="90" y="8"/>
                      <a:pt x="80" y="5"/>
                      <a:pt x="80" y="5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8"/>
                      <a:pt x="16" y="0"/>
                      <a:pt x="12" y="1"/>
                    </a:cubicBezTo>
                    <a:cubicBezTo>
                      <a:pt x="8" y="2"/>
                      <a:pt x="9" y="15"/>
                      <a:pt x="9" y="1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8" y="39"/>
                      <a:pt x="23" y="39"/>
                      <a:pt x="26" y="43"/>
                    </a:cubicBezTo>
                    <a:cubicBezTo>
                      <a:pt x="29" y="47"/>
                      <a:pt x="26" y="57"/>
                      <a:pt x="26" y="57"/>
                    </a:cubicBezTo>
                    <a:cubicBezTo>
                      <a:pt x="37" y="60"/>
                      <a:pt x="37" y="60"/>
                      <a:pt x="37" y="60"/>
                    </a:cubicBezTo>
                    <a:cubicBezTo>
                      <a:pt x="47" y="80"/>
                      <a:pt x="47" y="80"/>
                      <a:pt x="47" y="80"/>
                    </a:cubicBezTo>
                    <a:cubicBezTo>
                      <a:pt x="47" y="80"/>
                      <a:pt x="51" y="84"/>
                      <a:pt x="75" y="99"/>
                    </a:cubicBezTo>
                    <a:cubicBezTo>
                      <a:pt x="90" y="108"/>
                      <a:pt x="86" y="116"/>
                      <a:pt x="81" y="120"/>
                    </a:cubicBezTo>
                    <a:cubicBezTo>
                      <a:pt x="89" y="121"/>
                      <a:pt x="89" y="121"/>
                      <a:pt x="89" y="121"/>
                    </a:cubicBezTo>
                    <a:cubicBezTo>
                      <a:pt x="89" y="121"/>
                      <a:pt x="116" y="148"/>
                      <a:pt x="125" y="153"/>
                    </a:cubicBezTo>
                    <a:cubicBezTo>
                      <a:pt x="138" y="137"/>
                      <a:pt x="138" y="137"/>
                      <a:pt x="138" y="137"/>
                    </a:cubicBezTo>
                    <a:cubicBezTo>
                      <a:pt x="138" y="137"/>
                      <a:pt x="127" y="131"/>
                      <a:pt x="124" y="128"/>
                    </a:cubicBezTo>
                    <a:cubicBezTo>
                      <a:pt x="121" y="125"/>
                      <a:pt x="125" y="118"/>
                      <a:pt x="125" y="118"/>
                    </a:cubicBezTo>
                    <a:cubicBezTo>
                      <a:pt x="130" y="118"/>
                      <a:pt x="130" y="118"/>
                      <a:pt x="130" y="118"/>
                    </a:cubicBezTo>
                    <a:cubicBezTo>
                      <a:pt x="130" y="118"/>
                      <a:pt x="136" y="107"/>
                      <a:pt x="139" y="103"/>
                    </a:cubicBezTo>
                    <a:cubicBezTo>
                      <a:pt x="142" y="99"/>
                      <a:pt x="150" y="104"/>
                      <a:pt x="150" y="104"/>
                    </a:cubicBezTo>
                    <a:cubicBezTo>
                      <a:pt x="150" y="89"/>
                      <a:pt x="150" y="89"/>
                      <a:pt x="150" y="89"/>
                    </a:cubicBezTo>
                    <a:cubicBezTo>
                      <a:pt x="150" y="89"/>
                      <a:pt x="169" y="93"/>
                      <a:pt x="171" y="86"/>
                    </a:cubicBezTo>
                    <a:cubicBezTo>
                      <a:pt x="173" y="79"/>
                      <a:pt x="159" y="66"/>
                      <a:pt x="159" y="66"/>
                    </a:cubicBezTo>
                    <a:cubicBezTo>
                      <a:pt x="173" y="64"/>
                      <a:pt x="173" y="64"/>
                      <a:pt x="173" y="64"/>
                    </a:cubicBezTo>
                    <a:cubicBezTo>
                      <a:pt x="173" y="64"/>
                      <a:pt x="169" y="53"/>
                      <a:pt x="162" y="5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6" name="MCShape 68">
                <a:extLst>
                  <a:ext uri="{FF2B5EF4-FFF2-40B4-BE49-F238E27FC236}">
                    <a16:creationId xmlns:a16="http://schemas.microsoft.com/office/drawing/2014/main" id="{900DE396-B753-4017-8C18-AA454C410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6487" y="2740645"/>
                <a:ext cx="145393" cy="109818"/>
              </a:xfrm>
              <a:custGeom>
                <a:avLst/>
                <a:gdLst>
                  <a:gd name="T0" fmla="*/ 232 w 246"/>
                  <a:gd name="T1" fmla="*/ 77 h 186"/>
                  <a:gd name="T2" fmla="*/ 228 w 246"/>
                  <a:gd name="T3" fmla="*/ 65 h 186"/>
                  <a:gd name="T4" fmla="*/ 226 w 246"/>
                  <a:gd name="T5" fmla="*/ 52 h 186"/>
                  <a:gd name="T6" fmla="*/ 217 w 246"/>
                  <a:gd name="T7" fmla="*/ 32 h 186"/>
                  <a:gd name="T8" fmla="*/ 183 w 246"/>
                  <a:gd name="T9" fmla="*/ 41 h 186"/>
                  <a:gd name="T10" fmla="*/ 168 w 246"/>
                  <a:gd name="T11" fmla="*/ 34 h 186"/>
                  <a:gd name="T12" fmla="*/ 139 w 246"/>
                  <a:gd name="T13" fmla="*/ 13 h 186"/>
                  <a:gd name="T14" fmla="*/ 112 w 246"/>
                  <a:gd name="T15" fmla="*/ 2 h 186"/>
                  <a:gd name="T16" fmla="*/ 93 w 246"/>
                  <a:gd name="T17" fmla="*/ 14 h 186"/>
                  <a:gd name="T18" fmla="*/ 87 w 246"/>
                  <a:gd name="T19" fmla="*/ 31 h 186"/>
                  <a:gd name="T20" fmla="*/ 70 w 246"/>
                  <a:gd name="T21" fmla="*/ 40 h 186"/>
                  <a:gd name="T22" fmla="*/ 59 w 246"/>
                  <a:gd name="T23" fmla="*/ 53 h 186"/>
                  <a:gd name="T24" fmla="*/ 40 w 246"/>
                  <a:gd name="T25" fmla="*/ 45 h 186"/>
                  <a:gd name="T26" fmla="*/ 22 w 246"/>
                  <a:gd name="T27" fmla="*/ 54 h 186"/>
                  <a:gd name="T28" fmla="*/ 14 w 246"/>
                  <a:gd name="T29" fmla="*/ 57 h 186"/>
                  <a:gd name="T30" fmla="*/ 1 w 246"/>
                  <a:gd name="T31" fmla="*/ 67 h 186"/>
                  <a:gd name="T32" fmla="*/ 31 w 246"/>
                  <a:gd name="T33" fmla="*/ 70 h 186"/>
                  <a:gd name="T34" fmla="*/ 54 w 246"/>
                  <a:gd name="T35" fmla="*/ 87 h 186"/>
                  <a:gd name="T36" fmla="*/ 68 w 246"/>
                  <a:gd name="T37" fmla="*/ 123 h 186"/>
                  <a:gd name="T38" fmla="*/ 98 w 246"/>
                  <a:gd name="T39" fmla="*/ 161 h 186"/>
                  <a:gd name="T40" fmla="*/ 146 w 246"/>
                  <a:gd name="T41" fmla="*/ 171 h 186"/>
                  <a:gd name="T42" fmla="*/ 165 w 246"/>
                  <a:gd name="T43" fmla="*/ 186 h 186"/>
                  <a:gd name="T44" fmla="*/ 131 w 246"/>
                  <a:gd name="T45" fmla="*/ 146 h 186"/>
                  <a:gd name="T46" fmla="*/ 110 w 246"/>
                  <a:gd name="T47" fmla="*/ 123 h 186"/>
                  <a:gd name="T48" fmla="*/ 102 w 246"/>
                  <a:gd name="T49" fmla="*/ 105 h 186"/>
                  <a:gd name="T50" fmla="*/ 91 w 246"/>
                  <a:gd name="T51" fmla="*/ 93 h 186"/>
                  <a:gd name="T52" fmla="*/ 93 w 246"/>
                  <a:gd name="T53" fmla="*/ 81 h 186"/>
                  <a:gd name="T54" fmla="*/ 112 w 246"/>
                  <a:gd name="T55" fmla="*/ 74 h 186"/>
                  <a:gd name="T56" fmla="*/ 142 w 246"/>
                  <a:gd name="T57" fmla="*/ 68 h 186"/>
                  <a:gd name="T58" fmla="*/ 164 w 246"/>
                  <a:gd name="T59" fmla="*/ 71 h 186"/>
                  <a:gd name="T60" fmla="*/ 193 w 246"/>
                  <a:gd name="T61" fmla="*/ 73 h 186"/>
                  <a:gd name="T62" fmla="*/ 220 w 246"/>
                  <a:gd name="T63" fmla="*/ 85 h 18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46"/>
                  <a:gd name="T97" fmla="*/ 0 h 186"/>
                  <a:gd name="T98" fmla="*/ 246 w 246"/>
                  <a:gd name="T99" fmla="*/ 186 h 18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46" h="186">
                    <a:moveTo>
                      <a:pt x="230" y="84"/>
                    </a:moveTo>
                    <a:cubicBezTo>
                      <a:pt x="232" y="77"/>
                      <a:pt x="232" y="77"/>
                      <a:pt x="232" y="77"/>
                    </a:cubicBezTo>
                    <a:cubicBezTo>
                      <a:pt x="232" y="77"/>
                      <a:pt x="246" y="74"/>
                      <a:pt x="245" y="71"/>
                    </a:cubicBezTo>
                    <a:cubicBezTo>
                      <a:pt x="244" y="68"/>
                      <a:pt x="228" y="65"/>
                      <a:pt x="228" y="65"/>
                    </a:cubicBezTo>
                    <a:cubicBezTo>
                      <a:pt x="231" y="53"/>
                      <a:pt x="231" y="53"/>
                      <a:pt x="231" y="53"/>
                    </a:cubicBezTo>
                    <a:cubicBezTo>
                      <a:pt x="226" y="52"/>
                      <a:pt x="226" y="52"/>
                      <a:pt x="226" y="52"/>
                    </a:cubicBezTo>
                    <a:cubicBezTo>
                      <a:pt x="222" y="34"/>
                      <a:pt x="222" y="34"/>
                      <a:pt x="222" y="34"/>
                    </a:cubicBezTo>
                    <a:cubicBezTo>
                      <a:pt x="217" y="32"/>
                      <a:pt x="217" y="32"/>
                      <a:pt x="217" y="32"/>
                    </a:cubicBezTo>
                    <a:cubicBezTo>
                      <a:pt x="211" y="38"/>
                      <a:pt x="211" y="38"/>
                      <a:pt x="211" y="38"/>
                    </a:cubicBezTo>
                    <a:cubicBezTo>
                      <a:pt x="183" y="41"/>
                      <a:pt x="183" y="41"/>
                      <a:pt x="183" y="41"/>
                    </a:cubicBezTo>
                    <a:cubicBezTo>
                      <a:pt x="180" y="34"/>
                      <a:pt x="180" y="34"/>
                      <a:pt x="180" y="34"/>
                    </a:cubicBezTo>
                    <a:cubicBezTo>
                      <a:pt x="168" y="34"/>
                      <a:pt x="168" y="34"/>
                      <a:pt x="168" y="34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30"/>
                      <a:pt x="141" y="16"/>
                      <a:pt x="139" y="13"/>
                    </a:cubicBezTo>
                    <a:cubicBezTo>
                      <a:pt x="137" y="10"/>
                      <a:pt x="125" y="0"/>
                      <a:pt x="125" y="0"/>
                    </a:cubicBezTo>
                    <a:cubicBezTo>
                      <a:pt x="112" y="2"/>
                      <a:pt x="112" y="2"/>
                      <a:pt x="112" y="2"/>
                    </a:cubicBezTo>
                    <a:cubicBezTo>
                      <a:pt x="112" y="2"/>
                      <a:pt x="115" y="6"/>
                      <a:pt x="109" y="10"/>
                    </a:cubicBezTo>
                    <a:cubicBezTo>
                      <a:pt x="103" y="14"/>
                      <a:pt x="93" y="14"/>
                      <a:pt x="93" y="14"/>
                    </a:cubicBezTo>
                    <a:cubicBezTo>
                      <a:pt x="93" y="14"/>
                      <a:pt x="84" y="14"/>
                      <a:pt x="84" y="18"/>
                    </a:cubicBezTo>
                    <a:cubicBezTo>
                      <a:pt x="84" y="22"/>
                      <a:pt x="87" y="31"/>
                      <a:pt x="87" y="31"/>
                    </a:cubicBezTo>
                    <a:cubicBezTo>
                      <a:pt x="80" y="39"/>
                      <a:pt x="80" y="39"/>
                      <a:pt x="80" y="39"/>
                    </a:cubicBez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40"/>
                      <a:pt x="74" y="51"/>
                      <a:pt x="69" y="53"/>
                    </a:cubicBezTo>
                    <a:cubicBezTo>
                      <a:pt x="64" y="55"/>
                      <a:pt x="59" y="53"/>
                      <a:pt x="59" y="53"/>
                    </a:cubicBezTo>
                    <a:cubicBezTo>
                      <a:pt x="59" y="53"/>
                      <a:pt x="52" y="54"/>
                      <a:pt x="46" y="53"/>
                    </a:cubicBezTo>
                    <a:cubicBezTo>
                      <a:pt x="40" y="52"/>
                      <a:pt x="40" y="45"/>
                      <a:pt x="40" y="45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3" y="62"/>
                      <a:pt x="1" y="67"/>
                      <a:pt x="1" y="67"/>
                    </a:cubicBezTo>
                    <a:cubicBezTo>
                      <a:pt x="1" y="67"/>
                      <a:pt x="0" y="97"/>
                      <a:pt x="8" y="88"/>
                    </a:cubicBezTo>
                    <a:cubicBezTo>
                      <a:pt x="16" y="79"/>
                      <a:pt x="27" y="64"/>
                      <a:pt x="31" y="70"/>
                    </a:cubicBezTo>
                    <a:cubicBezTo>
                      <a:pt x="35" y="76"/>
                      <a:pt x="35" y="91"/>
                      <a:pt x="35" y="91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4" y="87"/>
                      <a:pt x="48" y="107"/>
                      <a:pt x="60" y="111"/>
                    </a:cubicBezTo>
                    <a:cubicBezTo>
                      <a:pt x="72" y="115"/>
                      <a:pt x="68" y="123"/>
                      <a:pt x="68" y="123"/>
                    </a:cubicBezTo>
                    <a:cubicBezTo>
                      <a:pt x="97" y="144"/>
                      <a:pt x="97" y="144"/>
                      <a:pt x="97" y="144"/>
                    </a:cubicBezTo>
                    <a:cubicBezTo>
                      <a:pt x="98" y="161"/>
                      <a:pt x="98" y="161"/>
                      <a:pt x="98" y="161"/>
                    </a:cubicBez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25" y="162"/>
                      <a:pt x="142" y="163"/>
                      <a:pt x="146" y="171"/>
                    </a:cubicBezTo>
                    <a:cubicBezTo>
                      <a:pt x="146" y="171"/>
                      <a:pt x="142" y="180"/>
                      <a:pt x="148" y="184"/>
                    </a:cubicBezTo>
                    <a:cubicBezTo>
                      <a:pt x="165" y="186"/>
                      <a:pt x="165" y="186"/>
                      <a:pt x="165" y="186"/>
                    </a:cubicBezTo>
                    <a:cubicBezTo>
                      <a:pt x="170" y="182"/>
                      <a:pt x="174" y="174"/>
                      <a:pt x="159" y="165"/>
                    </a:cubicBezTo>
                    <a:cubicBezTo>
                      <a:pt x="135" y="150"/>
                      <a:pt x="131" y="146"/>
                      <a:pt x="131" y="146"/>
                    </a:cubicBezTo>
                    <a:cubicBezTo>
                      <a:pt x="121" y="126"/>
                      <a:pt x="121" y="126"/>
                      <a:pt x="121" y="126"/>
                    </a:cubicBezTo>
                    <a:cubicBezTo>
                      <a:pt x="110" y="123"/>
                      <a:pt x="110" y="123"/>
                      <a:pt x="110" y="123"/>
                    </a:cubicBezTo>
                    <a:cubicBezTo>
                      <a:pt x="110" y="123"/>
                      <a:pt x="113" y="113"/>
                      <a:pt x="110" y="109"/>
                    </a:cubicBezTo>
                    <a:cubicBezTo>
                      <a:pt x="107" y="105"/>
                      <a:pt x="102" y="105"/>
                      <a:pt x="102" y="105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91" y="93"/>
                      <a:pt x="91" y="93"/>
                      <a:pt x="91" y="93"/>
                    </a:cubicBezTo>
                    <a:cubicBezTo>
                      <a:pt x="84" y="86"/>
                      <a:pt x="84" y="86"/>
                      <a:pt x="84" y="86"/>
                    </a:cubicBezTo>
                    <a:cubicBezTo>
                      <a:pt x="93" y="81"/>
                      <a:pt x="93" y="81"/>
                      <a:pt x="93" y="81"/>
                    </a:cubicBezTo>
                    <a:cubicBezTo>
                      <a:pt x="93" y="81"/>
                      <a:pt x="92" y="68"/>
                      <a:pt x="96" y="67"/>
                    </a:cubicBezTo>
                    <a:cubicBezTo>
                      <a:pt x="100" y="66"/>
                      <a:pt x="112" y="74"/>
                      <a:pt x="112" y="74"/>
                    </a:cubicBezTo>
                    <a:cubicBezTo>
                      <a:pt x="127" y="70"/>
                      <a:pt x="127" y="70"/>
                      <a:pt x="127" y="70"/>
                    </a:cubicBezTo>
                    <a:cubicBezTo>
                      <a:pt x="142" y="68"/>
                      <a:pt x="142" y="68"/>
                      <a:pt x="142" y="68"/>
                    </a:cubicBezTo>
                    <a:cubicBezTo>
                      <a:pt x="155" y="75"/>
                      <a:pt x="155" y="75"/>
                      <a:pt x="155" y="75"/>
                    </a:cubicBezTo>
                    <a:cubicBezTo>
                      <a:pt x="164" y="71"/>
                      <a:pt x="164" y="71"/>
                      <a:pt x="164" y="71"/>
                    </a:cubicBezTo>
                    <a:cubicBezTo>
                      <a:pt x="164" y="71"/>
                      <a:pt x="174" y="74"/>
                      <a:pt x="177" y="74"/>
                    </a:cubicBezTo>
                    <a:cubicBezTo>
                      <a:pt x="180" y="74"/>
                      <a:pt x="187" y="72"/>
                      <a:pt x="193" y="73"/>
                    </a:cubicBezTo>
                    <a:cubicBezTo>
                      <a:pt x="199" y="74"/>
                      <a:pt x="210" y="74"/>
                      <a:pt x="210" y="74"/>
                    </a:cubicBezTo>
                    <a:cubicBezTo>
                      <a:pt x="220" y="85"/>
                      <a:pt x="220" y="85"/>
                      <a:pt x="220" y="85"/>
                    </a:cubicBezTo>
                    <a:lnTo>
                      <a:pt x="230" y="8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7" name="MCShape 69">
                <a:extLst>
                  <a:ext uri="{FF2B5EF4-FFF2-40B4-BE49-F238E27FC236}">
                    <a16:creationId xmlns:a16="http://schemas.microsoft.com/office/drawing/2014/main" id="{95CAC7DD-C539-42D3-A42B-4DAEF7F3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0301" y="2728272"/>
                <a:ext cx="80430" cy="46402"/>
              </a:xfrm>
              <a:custGeom>
                <a:avLst/>
                <a:gdLst>
                  <a:gd name="T0" fmla="*/ 18 w 138"/>
                  <a:gd name="T1" fmla="*/ 80 h 80"/>
                  <a:gd name="T2" fmla="*/ 27 w 138"/>
                  <a:gd name="T3" fmla="*/ 79 h 80"/>
                  <a:gd name="T4" fmla="*/ 29 w 138"/>
                  <a:gd name="T5" fmla="*/ 70 h 80"/>
                  <a:gd name="T6" fmla="*/ 35 w 138"/>
                  <a:gd name="T7" fmla="*/ 76 h 80"/>
                  <a:gd name="T8" fmla="*/ 47 w 138"/>
                  <a:gd name="T9" fmla="*/ 75 h 80"/>
                  <a:gd name="T10" fmla="*/ 53 w 138"/>
                  <a:gd name="T11" fmla="*/ 67 h 80"/>
                  <a:gd name="T12" fmla="*/ 59 w 138"/>
                  <a:gd name="T13" fmla="*/ 75 h 80"/>
                  <a:gd name="T14" fmla="*/ 72 w 138"/>
                  <a:gd name="T15" fmla="*/ 75 h 80"/>
                  <a:gd name="T16" fmla="*/ 82 w 138"/>
                  <a:gd name="T17" fmla="*/ 75 h 80"/>
                  <a:gd name="T18" fmla="*/ 83 w 138"/>
                  <a:gd name="T19" fmla="*/ 62 h 80"/>
                  <a:gd name="T20" fmla="*/ 93 w 138"/>
                  <a:gd name="T21" fmla="*/ 61 h 80"/>
                  <a:gd name="T22" fmla="*/ 100 w 138"/>
                  <a:gd name="T23" fmla="*/ 53 h 80"/>
                  <a:gd name="T24" fmla="*/ 97 w 138"/>
                  <a:gd name="T25" fmla="*/ 40 h 80"/>
                  <a:gd name="T26" fmla="*/ 106 w 138"/>
                  <a:gd name="T27" fmla="*/ 36 h 80"/>
                  <a:gd name="T28" fmla="*/ 122 w 138"/>
                  <a:gd name="T29" fmla="*/ 32 h 80"/>
                  <a:gd name="T30" fmla="*/ 125 w 138"/>
                  <a:gd name="T31" fmla="*/ 24 h 80"/>
                  <a:gd name="T32" fmla="*/ 138 w 138"/>
                  <a:gd name="T33" fmla="*/ 22 h 80"/>
                  <a:gd name="T34" fmla="*/ 128 w 138"/>
                  <a:gd name="T35" fmla="*/ 15 h 80"/>
                  <a:gd name="T36" fmla="*/ 125 w 138"/>
                  <a:gd name="T37" fmla="*/ 5 h 80"/>
                  <a:gd name="T38" fmla="*/ 118 w 138"/>
                  <a:gd name="T39" fmla="*/ 0 h 80"/>
                  <a:gd name="T40" fmla="*/ 115 w 138"/>
                  <a:gd name="T41" fmla="*/ 8 h 80"/>
                  <a:gd name="T42" fmla="*/ 113 w 138"/>
                  <a:gd name="T43" fmla="*/ 20 h 80"/>
                  <a:gd name="T44" fmla="*/ 97 w 138"/>
                  <a:gd name="T45" fmla="*/ 15 h 80"/>
                  <a:gd name="T46" fmla="*/ 90 w 138"/>
                  <a:gd name="T47" fmla="*/ 19 h 80"/>
                  <a:gd name="T48" fmla="*/ 57 w 138"/>
                  <a:gd name="T49" fmla="*/ 18 h 80"/>
                  <a:gd name="T50" fmla="*/ 50 w 138"/>
                  <a:gd name="T51" fmla="*/ 27 h 80"/>
                  <a:gd name="T52" fmla="*/ 35 w 138"/>
                  <a:gd name="T53" fmla="*/ 25 h 80"/>
                  <a:gd name="T54" fmla="*/ 26 w 138"/>
                  <a:gd name="T55" fmla="*/ 21 h 80"/>
                  <a:gd name="T56" fmla="*/ 14 w 138"/>
                  <a:gd name="T57" fmla="*/ 25 h 80"/>
                  <a:gd name="T58" fmla="*/ 5 w 138"/>
                  <a:gd name="T59" fmla="*/ 25 h 80"/>
                  <a:gd name="T60" fmla="*/ 0 w 138"/>
                  <a:gd name="T61" fmla="*/ 34 h 80"/>
                  <a:gd name="T62" fmla="*/ 8 w 138"/>
                  <a:gd name="T63" fmla="*/ 37 h 80"/>
                  <a:gd name="T64" fmla="*/ 3 w 138"/>
                  <a:gd name="T65" fmla="*/ 62 h 80"/>
                  <a:gd name="T66" fmla="*/ 23 w 138"/>
                  <a:gd name="T67" fmla="*/ 70 h 80"/>
                  <a:gd name="T68" fmla="*/ 18 w 138"/>
                  <a:gd name="T69" fmla="*/ 80 h 8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38"/>
                  <a:gd name="T106" fmla="*/ 0 h 80"/>
                  <a:gd name="T107" fmla="*/ 138 w 138"/>
                  <a:gd name="T108" fmla="*/ 80 h 8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38" h="80">
                    <a:moveTo>
                      <a:pt x="18" y="80"/>
                    </a:moveTo>
                    <a:cubicBezTo>
                      <a:pt x="27" y="79"/>
                      <a:pt x="27" y="79"/>
                      <a:pt x="27" y="79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3" y="67"/>
                      <a:pt x="53" y="74"/>
                      <a:pt x="59" y="75"/>
                    </a:cubicBezTo>
                    <a:cubicBezTo>
                      <a:pt x="65" y="76"/>
                      <a:pt x="72" y="75"/>
                      <a:pt x="72" y="75"/>
                    </a:cubicBezTo>
                    <a:cubicBezTo>
                      <a:pt x="72" y="75"/>
                      <a:pt x="77" y="77"/>
                      <a:pt x="82" y="75"/>
                    </a:cubicBezTo>
                    <a:cubicBezTo>
                      <a:pt x="87" y="73"/>
                      <a:pt x="83" y="62"/>
                      <a:pt x="83" y="62"/>
                    </a:cubicBezTo>
                    <a:cubicBezTo>
                      <a:pt x="93" y="61"/>
                      <a:pt x="93" y="61"/>
                      <a:pt x="93" y="61"/>
                    </a:cubicBezTo>
                    <a:cubicBezTo>
                      <a:pt x="100" y="53"/>
                      <a:pt x="100" y="53"/>
                      <a:pt x="100" y="53"/>
                    </a:cubicBezTo>
                    <a:cubicBezTo>
                      <a:pt x="100" y="53"/>
                      <a:pt x="97" y="44"/>
                      <a:pt x="97" y="40"/>
                    </a:cubicBezTo>
                    <a:cubicBezTo>
                      <a:pt x="97" y="36"/>
                      <a:pt x="106" y="36"/>
                      <a:pt x="106" y="36"/>
                    </a:cubicBezTo>
                    <a:cubicBezTo>
                      <a:pt x="106" y="36"/>
                      <a:pt x="116" y="36"/>
                      <a:pt x="122" y="32"/>
                    </a:cubicBezTo>
                    <a:cubicBezTo>
                      <a:pt x="128" y="28"/>
                      <a:pt x="125" y="24"/>
                      <a:pt x="125" y="24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25" y="5"/>
                      <a:pt x="125" y="5"/>
                      <a:pt x="125" y="5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3" y="20"/>
                      <a:pt x="113" y="20"/>
                      <a:pt x="113" y="20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0" y="19"/>
                      <a:pt x="90" y="19"/>
                      <a:pt x="90" y="19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7" y="18"/>
                      <a:pt x="57" y="27"/>
                      <a:pt x="50" y="27"/>
                    </a:cubicBezTo>
                    <a:cubicBezTo>
                      <a:pt x="43" y="27"/>
                      <a:pt x="35" y="25"/>
                      <a:pt x="35" y="25"/>
                    </a:cubicBezTo>
                    <a:cubicBezTo>
                      <a:pt x="35" y="25"/>
                      <a:pt x="29" y="21"/>
                      <a:pt x="26" y="21"/>
                    </a:cubicBezTo>
                    <a:cubicBezTo>
                      <a:pt x="23" y="21"/>
                      <a:pt x="14" y="25"/>
                      <a:pt x="14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4" y="30"/>
                      <a:pt x="0" y="34"/>
                      <a:pt x="0" y="34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2"/>
                      <a:pt x="26" y="66"/>
                      <a:pt x="23" y="70"/>
                    </a:cubicBezTo>
                    <a:cubicBezTo>
                      <a:pt x="22" y="72"/>
                      <a:pt x="20" y="76"/>
                      <a:pt x="18" y="8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8" name="MCShape 70">
                <a:extLst>
                  <a:ext uri="{FF2B5EF4-FFF2-40B4-BE49-F238E27FC236}">
                    <a16:creationId xmlns:a16="http://schemas.microsoft.com/office/drawing/2014/main" id="{F4F27759-F060-4A1A-9EE4-80ADFEAF1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3825" y="2644748"/>
                <a:ext cx="139206" cy="60322"/>
              </a:xfrm>
              <a:custGeom>
                <a:avLst/>
                <a:gdLst>
                  <a:gd name="T0" fmla="*/ 233 w 239"/>
                  <a:gd name="T1" fmla="*/ 23 h 98"/>
                  <a:gd name="T2" fmla="*/ 214 w 239"/>
                  <a:gd name="T3" fmla="*/ 19 h 98"/>
                  <a:gd name="T4" fmla="*/ 194 w 239"/>
                  <a:gd name="T5" fmla="*/ 6 h 98"/>
                  <a:gd name="T6" fmla="*/ 170 w 239"/>
                  <a:gd name="T7" fmla="*/ 14 h 98"/>
                  <a:gd name="T8" fmla="*/ 159 w 239"/>
                  <a:gd name="T9" fmla="*/ 10 h 98"/>
                  <a:gd name="T10" fmla="*/ 140 w 239"/>
                  <a:gd name="T11" fmla="*/ 9 h 98"/>
                  <a:gd name="T12" fmla="*/ 132 w 239"/>
                  <a:gd name="T13" fmla="*/ 18 h 98"/>
                  <a:gd name="T14" fmla="*/ 126 w 239"/>
                  <a:gd name="T15" fmla="*/ 11 h 98"/>
                  <a:gd name="T16" fmla="*/ 119 w 239"/>
                  <a:gd name="T17" fmla="*/ 11 h 98"/>
                  <a:gd name="T18" fmla="*/ 111 w 239"/>
                  <a:gd name="T19" fmla="*/ 2 h 98"/>
                  <a:gd name="T20" fmla="*/ 91 w 239"/>
                  <a:gd name="T21" fmla="*/ 8 h 98"/>
                  <a:gd name="T22" fmla="*/ 83 w 239"/>
                  <a:gd name="T23" fmla="*/ 2 h 98"/>
                  <a:gd name="T24" fmla="*/ 72 w 239"/>
                  <a:gd name="T25" fmla="*/ 9 h 98"/>
                  <a:gd name="T26" fmla="*/ 58 w 239"/>
                  <a:gd name="T27" fmla="*/ 15 h 98"/>
                  <a:gd name="T28" fmla="*/ 58 w 239"/>
                  <a:gd name="T29" fmla="*/ 28 h 98"/>
                  <a:gd name="T30" fmla="*/ 36 w 239"/>
                  <a:gd name="T31" fmla="*/ 40 h 98"/>
                  <a:gd name="T32" fmla="*/ 24 w 239"/>
                  <a:gd name="T33" fmla="*/ 39 h 98"/>
                  <a:gd name="T34" fmla="*/ 12 w 239"/>
                  <a:gd name="T35" fmla="*/ 41 h 98"/>
                  <a:gd name="T36" fmla="*/ 3 w 239"/>
                  <a:gd name="T37" fmla="*/ 46 h 98"/>
                  <a:gd name="T38" fmla="*/ 1 w 239"/>
                  <a:gd name="T39" fmla="*/ 60 h 98"/>
                  <a:gd name="T40" fmla="*/ 0 w 239"/>
                  <a:gd name="T41" fmla="*/ 70 h 98"/>
                  <a:gd name="T42" fmla="*/ 7 w 239"/>
                  <a:gd name="T43" fmla="*/ 75 h 98"/>
                  <a:gd name="T44" fmla="*/ 7 w 239"/>
                  <a:gd name="T45" fmla="*/ 87 h 98"/>
                  <a:gd name="T46" fmla="*/ 7 w 239"/>
                  <a:gd name="T47" fmla="*/ 87 h 98"/>
                  <a:gd name="T48" fmla="*/ 13 w 239"/>
                  <a:gd name="T49" fmla="*/ 92 h 98"/>
                  <a:gd name="T50" fmla="*/ 20 w 239"/>
                  <a:gd name="T51" fmla="*/ 81 h 98"/>
                  <a:gd name="T52" fmla="*/ 40 w 239"/>
                  <a:gd name="T53" fmla="*/ 97 h 98"/>
                  <a:gd name="T54" fmla="*/ 81 w 239"/>
                  <a:gd name="T55" fmla="*/ 94 h 98"/>
                  <a:gd name="T56" fmla="*/ 87 w 239"/>
                  <a:gd name="T57" fmla="*/ 78 h 98"/>
                  <a:gd name="T58" fmla="*/ 111 w 239"/>
                  <a:gd name="T59" fmla="*/ 81 h 98"/>
                  <a:gd name="T60" fmla="*/ 118 w 239"/>
                  <a:gd name="T61" fmla="*/ 73 h 98"/>
                  <a:gd name="T62" fmla="*/ 144 w 239"/>
                  <a:gd name="T63" fmla="*/ 69 h 98"/>
                  <a:gd name="T64" fmla="*/ 155 w 239"/>
                  <a:gd name="T65" fmla="*/ 53 h 98"/>
                  <a:gd name="T66" fmla="*/ 171 w 239"/>
                  <a:gd name="T67" fmla="*/ 53 h 98"/>
                  <a:gd name="T68" fmla="*/ 174 w 239"/>
                  <a:gd name="T69" fmla="*/ 63 h 98"/>
                  <a:gd name="T70" fmla="*/ 183 w 239"/>
                  <a:gd name="T71" fmla="*/ 64 h 98"/>
                  <a:gd name="T72" fmla="*/ 188 w 239"/>
                  <a:gd name="T73" fmla="*/ 53 h 98"/>
                  <a:gd name="T74" fmla="*/ 194 w 239"/>
                  <a:gd name="T75" fmla="*/ 63 h 98"/>
                  <a:gd name="T76" fmla="*/ 223 w 239"/>
                  <a:gd name="T77" fmla="*/ 59 h 98"/>
                  <a:gd name="T78" fmla="*/ 223 w 239"/>
                  <a:gd name="T79" fmla="*/ 59 h 98"/>
                  <a:gd name="T80" fmla="*/ 224 w 239"/>
                  <a:gd name="T81" fmla="*/ 51 h 98"/>
                  <a:gd name="T82" fmla="*/ 234 w 239"/>
                  <a:gd name="T83" fmla="*/ 43 h 98"/>
                  <a:gd name="T84" fmla="*/ 237 w 239"/>
                  <a:gd name="T85" fmla="*/ 30 h 98"/>
                  <a:gd name="T86" fmla="*/ 233 w 239"/>
                  <a:gd name="T87" fmla="*/ 23 h 9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39"/>
                  <a:gd name="T133" fmla="*/ 0 h 98"/>
                  <a:gd name="T134" fmla="*/ 239 w 239"/>
                  <a:gd name="T135" fmla="*/ 98 h 9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39" h="98">
                    <a:moveTo>
                      <a:pt x="233" y="23"/>
                    </a:moveTo>
                    <a:cubicBezTo>
                      <a:pt x="227" y="23"/>
                      <a:pt x="221" y="25"/>
                      <a:pt x="214" y="19"/>
                    </a:cubicBezTo>
                    <a:cubicBezTo>
                      <a:pt x="207" y="13"/>
                      <a:pt x="208" y="6"/>
                      <a:pt x="194" y="6"/>
                    </a:cubicBezTo>
                    <a:cubicBezTo>
                      <a:pt x="180" y="6"/>
                      <a:pt x="175" y="14"/>
                      <a:pt x="170" y="14"/>
                    </a:cubicBezTo>
                    <a:cubicBezTo>
                      <a:pt x="165" y="14"/>
                      <a:pt x="159" y="10"/>
                      <a:pt x="159" y="10"/>
                    </a:cubicBezTo>
                    <a:cubicBezTo>
                      <a:pt x="140" y="9"/>
                      <a:pt x="140" y="9"/>
                      <a:pt x="140" y="9"/>
                    </a:cubicBezTo>
                    <a:cubicBezTo>
                      <a:pt x="140" y="9"/>
                      <a:pt x="141" y="18"/>
                      <a:pt x="132" y="18"/>
                    </a:cubicBezTo>
                    <a:cubicBezTo>
                      <a:pt x="123" y="18"/>
                      <a:pt x="126" y="11"/>
                      <a:pt x="126" y="11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19" y="11"/>
                      <a:pt x="118" y="4"/>
                      <a:pt x="111" y="2"/>
                    </a:cubicBezTo>
                    <a:cubicBezTo>
                      <a:pt x="104" y="0"/>
                      <a:pt x="94" y="8"/>
                      <a:pt x="91" y="8"/>
                    </a:cubicBezTo>
                    <a:cubicBezTo>
                      <a:pt x="89" y="8"/>
                      <a:pt x="86" y="5"/>
                      <a:pt x="83" y="2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8"/>
                      <a:pt x="43" y="35"/>
                      <a:pt x="36" y="40"/>
                    </a:cubicBezTo>
                    <a:cubicBezTo>
                      <a:pt x="31" y="43"/>
                      <a:pt x="25" y="41"/>
                      <a:pt x="24" y="39"/>
                    </a:cubicBezTo>
                    <a:cubicBezTo>
                      <a:pt x="21" y="40"/>
                      <a:pt x="15" y="40"/>
                      <a:pt x="12" y="41"/>
                    </a:cubicBezTo>
                    <a:cubicBezTo>
                      <a:pt x="8" y="42"/>
                      <a:pt x="3" y="46"/>
                      <a:pt x="3" y="46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6" y="69"/>
                      <a:pt x="7" y="75"/>
                    </a:cubicBezTo>
                    <a:cubicBezTo>
                      <a:pt x="7" y="78"/>
                      <a:pt x="7" y="83"/>
                      <a:pt x="7" y="87"/>
                    </a:cubicBezTo>
                    <a:cubicBezTo>
                      <a:pt x="7" y="87"/>
                      <a:pt x="7" y="87"/>
                      <a:pt x="7" y="87"/>
                    </a:cubicBezTo>
                    <a:cubicBezTo>
                      <a:pt x="13" y="92"/>
                      <a:pt x="13" y="92"/>
                      <a:pt x="13" y="92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20" y="81"/>
                      <a:pt x="23" y="98"/>
                      <a:pt x="40" y="97"/>
                    </a:cubicBezTo>
                    <a:cubicBezTo>
                      <a:pt x="57" y="96"/>
                      <a:pt x="81" y="94"/>
                      <a:pt x="81" y="9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3"/>
                      <a:pt x="141" y="72"/>
                      <a:pt x="144" y="69"/>
                    </a:cubicBezTo>
                    <a:cubicBezTo>
                      <a:pt x="147" y="66"/>
                      <a:pt x="155" y="53"/>
                      <a:pt x="155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74" y="63"/>
                      <a:pt x="174" y="63"/>
                      <a:pt x="174" y="63"/>
                    </a:cubicBezTo>
                    <a:cubicBezTo>
                      <a:pt x="183" y="64"/>
                      <a:pt x="183" y="64"/>
                      <a:pt x="183" y="64"/>
                    </a:cubicBezTo>
                    <a:cubicBezTo>
                      <a:pt x="183" y="64"/>
                      <a:pt x="183" y="53"/>
                      <a:pt x="188" y="53"/>
                    </a:cubicBezTo>
                    <a:cubicBezTo>
                      <a:pt x="193" y="53"/>
                      <a:pt x="194" y="63"/>
                      <a:pt x="194" y="63"/>
                    </a:cubicBezTo>
                    <a:cubicBezTo>
                      <a:pt x="194" y="63"/>
                      <a:pt x="215" y="57"/>
                      <a:pt x="223" y="59"/>
                    </a:cubicBezTo>
                    <a:cubicBezTo>
                      <a:pt x="223" y="59"/>
                      <a:pt x="223" y="59"/>
                      <a:pt x="223" y="59"/>
                    </a:cubicBezTo>
                    <a:cubicBezTo>
                      <a:pt x="224" y="51"/>
                      <a:pt x="224" y="51"/>
                      <a:pt x="224" y="51"/>
                    </a:cubicBezTo>
                    <a:cubicBezTo>
                      <a:pt x="224" y="51"/>
                      <a:pt x="232" y="49"/>
                      <a:pt x="234" y="43"/>
                    </a:cubicBezTo>
                    <a:cubicBezTo>
                      <a:pt x="236" y="37"/>
                      <a:pt x="237" y="30"/>
                      <a:pt x="237" y="30"/>
                    </a:cubicBezTo>
                    <a:cubicBezTo>
                      <a:pt x="237" y="30"/>
                      <a:pt x="239" y="23"/>
                      <a:pt x="233" y="2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79" name="MCShape 71">
                <a:extLst>
                  <a:ext uri="{FF2B5EF4-FFF2-40B4-BE49-F238E27FC236}">
                    <a16:creationId xmlns:a16="http://schemas.microsoft.com/office/drawing/2014/main" id="{908B005B-4C92-4868-982C-7A0038B17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8357" y="2677229"/>
                <a:ext cx="168595" cy="94896"/>
              </a:xfrm>
              <a:custGeom>
                <a:avLst/>
                <a:gdLst>
                  <a:gd name="T0" fmla="*/ 31 w 286"/>
                  <a:gd name="T1" fmla="*/ 43 h 148"/>
                  <a:gd name="T2" fmla="*/ 16 w 286"/>
                  <a:gd name="T3" fmla="*/ 43 h 148"/>
                  <a:gd name="T4" fmla="*/ 15 w 286"/>
                  <a:gd name="T5" fmla="*/ 52 h 148"/>
                  <a:gd name="T6" fmla="*/ 23 w 286"/>
                  <a:gd name="T7" fmla="*/ 53 h 148"/>
                  <a:gd name="T8" fmla="*/ 15 w 286"/>
                  <a:gd name="T9" fmla="*/ 65 h 148"/>
                  <a:gd name="T10" fmla="*/ 15 w 286"/>
                  <a:gd name="T11" fmla="*/ 79 h 148"/>
                  <a:gd name="T12" fmla="*/ 2 w 286"/>
                  <a:gd name="T13" fmla="*/ 81 h 148"/>
                  <a:gd name="T14" fmla="*/ 0 w 286"/>
                  <a:gd name="T15" fmla="*/ 85 h 148"/>
                  <a:gd name="T16" fmla="*/ 7 w 286"/>
                  <a:gd name="T17" fmla="*/ 90 h 148"/>
                  <a:gd name="T18" fmla="*/ 10 w 286"/>
                  <a:gd name="T19" fmla="*/ 100 h 148"/>
                  <a:gd name="T20" fmla="*/ 20 w 286"/>
                  <a:gd name="T21" fmla="*/ 107 h 148"/>
                  <a:gd name="T22" fmla="*/ 34 w 286"/>
                  <a:gd name="T23" fmla="*/ 120 h 148"/>
                  <a:gd name="T24" fmla="*/ 54 w 286"/>
                  <a:gd name="T25" fmla="*/ 137 h 148"/>
                  <a:gd name="T26" fmla="*/ 63 w 286"/>
                  <a:gd name="T27" fmla="*/ 141 h 148"/>
                  <a:gd name="T28" fmla="*/ 75 w 286"/>
                  <a:gd name="T29" fmla="*/ 141 h 148"/>
                  <a:gd name="T30" fmla="*/ 78 w 286"/>
                  <a:gd name="T31" fmla="*/ 148 h 148"/>
                  <a:gd name="T32" fmla="*/ 106 w 286"/>
                  <a:gd name="T33" fmla="*/ 145 h 148"/>
                  <a:gd name="T34" fmla="*/ 112 w 286"/>
                  <a:gd name="T35" fmla="*/ 139 h 148"/>
                  <a:gd name="T36" fmla="*/ 115 w 286"/>
                  <a:gd name="T37" fmla="*/ 140 h 148"/>
                  <a:gd name="T38" fmla="*/ 118 w 286"/>
                  <a:gd name="T39" fmla="*/ 136 h 148"/>
                  <a:gd name="T40" fmla="*/ 133 w 286"/>
                  <a:gd name="T41" fmla="*/ 136 h 148"/>
                  <a:gd name="T42" fmla="*/ 145 w 286"/>
                  <a:gd name="T43" fmla="*/ 125 h 148"/>
                  <a:gd name="T44" fmla="*/ 163 w 286"/>
                  <a:gd name="T45" fmla="*/ 125 h 148"/>
                  <a:gd name="T46" fmla="*/ 176 w 286"/>
                  <a:gd name="T47" fmla="*/ 131 h 148"/>
                  <a:gd name="T48" fmla="*/ 192 w 286"/>
                  <a:gd name="T49" fmla="*/ 127 h 148"/>
                  <a:gd name="T50" fmla="*/ 194 w 286"/>
                  <a:gd name="T51" fmla="*/ 118 h 148"/>
                  <a:gd name="T52" fmla="*/ 205 w 286"/>
                  <a:gd name="T53" fmla="*/ 120 h 148"/>
                  <a:gd name="T54" fmla="*/ 221 w 286"/>
                  <a:gd name="T55" fmla="*/ 110 h 148"/>
                  <a:gd name="T56" fmla="*/ 222 w 286"/>
                  <a:gd name="T57" fmla="*/ 96 h 148"/>
                  <a:gd name="T58" fmla="*/ 238 w 286"/>
                  <a:gd name="T59" fmla="*/ 83 h 148"/>
                  <a:gd name="T60" fmla="*/ 245 w 286"/>
                  <a:gd name="T61" fmla="*/ 66 h 148"/>
                  <a:gd name="T62" fmla="*/ 246 w 286"/>
                  <a:gd name="T63" fmla="*/ 48 h 148"/>
                  <a:gd name="T64" fmla="*/ 266 w 286"/>
                  <a:gd name="T65" fmla="*/ 41 h 148"/>
                  <a:gd name="T66" fmla="*/ 286 w 286"/>
                  <a:gd name="T67" fmla="*/ 27 h 148"/>
                  <a:gd name="T68" fmla="*/ 264 w 286"/>
                  <a:gd name="T69" fmla="*/ 19 h 148"/>
                  <a:gd name="T70" fmla="*/ 248 w 286"/>
                  <a:gd name="T71" fmla="*/ 6 h 148"/>
                  <a:gd name="T72" fmla="*/ 219 w 286"/>
                  <a:gd name="T73" fmla="*/ 10 h 148"/>
                  <a:gd name="T74" fmla="*/ 213 w 286"/>
                  <a:gd name="T75" fmla="*/ 0 h 148"/>
                  <a:gd name="T76" fmla="*/ 208 w 286"/>
                  <a:gd name="T77" fmla="*/ 11 h 148"/>
                  <a:gd name="T78" fmla="*/ 199 w 286"/>
                  <a:gd name="T79" fmla="*/ 10 h 148"/>
                  <a:gd name="T80" fmla="*/ 196 w 286"/>
                  <a:gd name="T81" fmla="*/ 0 h 148"/>
                  <a:gd name="T82" fmla="*/ 180 w 286"/>
                  <a:gd name="T83" fmla="*/ 0 h 148"/>
                  <a:gd name="T84" fmla="*/ 169 w 286"/>
                  <a:gd name="T85" fmla="*/ 16 h 148"/>
                  <a:gd name="T86" fmla="*/ 143 w 286"/>
                  <a:gd name="T87" fmla="*/ 20 h 148"/>
                  <a:gd name="T88" fmla="*/ 136 w 286"/>
                  <a:gd name="T89" fmla="*/ 28 h 148"/>
                  <a:gd name="T90" fmla="*/ 112 w 286"/>
                  <a:gd name="T91" fmla="*/ 25 h 148"/>
                  <a:gd name="T92" fmla="*/ 106 w 286"/>
                  <a:gd name="T93" fmla="*/ 41 h 148"/>
                  <a:gd name="T94" fmla="*/ 65 w 286"/>
                  <a:gd name="T95" fmla="*/ 44 h 148"/>
                  <a:gd name="T96" fmla="*/ 45 w 286"/>
                  <a:gd name="T97" fmla="*/ 28 h 148"/>
                  <a:gd name="T98" fmla="*/ 38 w 286"/>
                  <a:gd name="T99" fmla="*/ 39 h 148"/>
                  <a:gd name="T100" fmla="*/ 32 w 286"/>
                  <a:gd name="T101" fmla="*/ 34 h 148"/>
                  <a:gd name="T102" fmla="*/ 31 w 286"/>
                  <a:gd name="T103" fmla="*/ 43 h 14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86"/>
                  <a:gd name="T157" fmla="*/ 0 h 148"/>
                  <a:gd name="T158" fmla="*/ 286 w 286"/>
                  <a:gd name="T159" fmla="*/ 148 h 14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86" h="148">
                    <a:moveTo>
                      <a:pt x="31" y="43"/>
                    </a:moveTo>
                    <a:cubicBezTo>
                      <a:pt x="16" y="43"/>
                      <a:pt x="16" y="43"/>
                      <a:pt x="16" y="43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100"/>
                      <a:pt x="10" y="100"/>
                      <a:pt x="10" y="100"/>
                    </a:cubicBezTo>
                    <a:cubicBezTo>
                      <a:pt x="20" y="107"/>
                      <a:pt x="20" y="107"/>
                      <a:pt x="20" y="107"/>
                    </a:cubicBezTo>
                    <a:cubicBezTo>
                      <a:pt x="20" y="107"/>
                      <a:pt x="32" y="117"/>
                      <a:pt x="34" y="120"/>
                    </a:cubicBezTo>
                    <a:cubicBezTo>
                      <a:pt x="36" y="123"/>
                      <a:pt x="54" y="137"/>
                      <a:pt x="54" y="137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75" y="141"/>
                      <a:pt x="75" y="141"/>
                      <a:pt x="75" y="141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106" y="145"/>
                      <a:pt x="106" y="145"/>
                      <a:pt x="106" y="145"/>
                    </a:cubicBezTo>
                    <a:cubicBezTo>
                      <a:pt x="112" y="139"/>
                      <a:pt x="112" y="139"/>
                      <a:pt x="112" y="139"/>
                    </a:cubicBezTo>
                    <a:cubicBezTo>
                      <a:pt x="115" y="140"/>
                      <a:pt x="115" y="140"/>
                      <a:pt x="115" y="140"/>
                    </a:cubicBezTo>
                    <a:cubicBezTo>
                      <a:pt x="118" y="136"/>
                      <a:pt x="118" y="136"/>
                      <a:pt x="118" y="136"/>
                    </a:cubicBezTo>
                    <a:cubicBezTo>
                      <a:pt x="133" y="136"/>
                      <a:pt x="133" y="136"/>
                      <a:pt x="133" y="136"/>
                    </a:cubicBezTo>
                    <a:cubicBezTo>
                      <a:pt x="133" y="136"/>
                      <a:pt x="142" y="131"/>
                      <a:pt x="145" y="125"/>
                    </a:cubicBezTo>
                    <a:cubicBezTo>
                      <a:pt x="148" y="119"/>
                      <a:pt x="163" y="125"/>
                      <a:pt x="163" y="125"/>
                    </a:cubicBezTo>
                    <a:cubicBezTo>
                      <a:pt x="176" y="131"/>
                      <a:pt x="176" y="131"/>
                      <a:pt x="176" y="131"/>
                    </a:cubicBezTo>
                    <a:cubicBezTo>
                      <a:pt x="192" y="127"/>
                      <a:pt x="192" y="127"/>
                      <a:pt x="192" y="127"/>
                    </a:cubicBezTo>
                    <a:cubicBezTo>
                      <a:pt x="194" y="118"/>
                      <a:pt x="194" y="118"/>
                      <a:pt x="194" y="118"/>
                    </a:cubicBezTo>
                    <a:cubicBezTo>
                      <a:pt x="205" y="120"/>
                      <a:pt x="205" y="120"/>
                      <a:pt x="205" y="120"/>
                    </a:cubicBezTo>
                    <a:cubicBezTo>
                      <a:pt x="205" y="120"/>
                      <a:pt x="215" y="116"/>
                      <a:pt x="221" y="110"/>
                    </a:cubicBezTo>
                    <a:cubicBezTo>
                      <a:pt x="227" y="104"/>
                      <a:pt x="222" y="96"/>
                      <a:pt x="222" y="96"/>
                    </a:cubicBezTo>
                    <a:cubicBezTo>
                      <a:pt x="222" y="96"/>
                      <a:pt x="228" y="88"/>
                      <a:pt x="238" y="83"/>
                    </a:cubicBezTo>
                    <a:cubicBezTo>
                      <a:pt x="248" y="78"/>
                      <a:pt x="245" y="66"/>
                      <a:pt x="245" y="66"/>
                    </a:cubicBezTo>
                    <a:cubicBezTo>
                      <a:pt x="245" y="66"/>
                      <a:pt x="245" y="54"/>
                      <a:pt x="246" y="48"/>
                    </a:cubicBezTo>
                    <a:cubicBezTo>
                      <a:pt x="247" y="42"/>
                      <a:pt x="256" y="42"/>
                      <a:pt x="266" y="41"/>
                    </a:cubicBezTo>
                    <a:cubicBezTo>
                      <a:pt x="276" y="40"/>
                      <a:pt x="286" y="27"/>
                      <a:pt x="286" y="27"/>
                    </a:cubicBezTo>
                    <a:cubicBezTo>
                      <a:pt x="286" y="27"/>
                      <a:pt x="270" y="20"/>
                      <a:pt x="264" y="19"/>
                    </a:cubicBezTo>
                    <a:cubicBezTo>
                      <a:pt x="258" y="18"/>
                      <a:pt x="256" y="8"/>
                      <a:pt x="248" y="6"/>
                    </a:cubicBezTo>
                    <a:cubicBezTo>
                      <a:pt x="240" y="4"/>
                      <a:pt x="219" y="10"/>
                      <a:pt x="219" y="10"/>
                    </a:cubicBezTo>
                    <a:cubicBezTo>
                      <a:pt x="219" y="10"/>
                      <a:pt x="218" y="0"/>
                      <a:pt x="213" y="0"/>
                    </a:cubicBezTo>
                    <a:cubicBezTo>
                      <a:pt x="208" y="0"/>
                      <a:pt x="208" y="11"/>
                      <a:pt x="208" y="11"/>
                    </a:cubicBezTo>
                    <a:cubicBezTo>
                      <a:pt x="199" y="10"/>
                      <a:pt x="199" y="10"/>
                      <a:pt x="199" y="1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180" y="0"/>
                      <a:pt x="172" y="13"/>
                      <a:pt x="169" y="16"/>
                    </a:cubicBezTo>
                    <a:cubicBezTo>
                      <a:pt x="166" y="19"/>
                      <a:pt x="143" y="20"/>
                      <a:pt x="143" y="20"/>
                    </a:cubicBezTo>
                    <a:cubicBezTo>
                      <a:pt x="136" y="28"/>
                      <a:pt x="136" y="28"/>
                      <a:pt x="136" y="28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6" y="41"/>
                      <a:pt x="82" y="43"/>
                      <a:pt x="65" y="44"/>
                    </a:cubicBezTo>
                    <a:cubicBezTo>
                      <a:pt x="48" y="45"/>
                      <a:pt x="45" y="28"/>
                      <a:pt x="45" y="2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1" y="39"/>
                      <a:pt x="31" y="43"/>
                      <a:pt x="31" y="4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0" name="MCShape 72">
                <a:extLst>
                  <a:ext uri="{FF2B5EF4-FFF2-40B4-BE49-F238E27FC236}">
                    <a16:creationId xmlns:a16="http://schemas.microsoft.com/office/drawing/2014/main" id="{A03F3435-C9EC-444B-9C2A-D604823FE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989" y="2434392"/>
                <a:ext cx="137659" cy="80430"/>
              </a:xfrm>
              <a:custGeom>
                <a:avLst/>
                <a:gdLst>
                  <a:gd name="T0" fmla="*/ 222 w 230"/>
                  <a:gd name="T1" fmla="*/ 42 h 132"/>
                  <a:gd name="T2" fmla="*/ 210 w 230"/>
                  <a:gd name="T3" fmla="*/ 38 h 132"/>
                  <a:gd name="T4" fmla="*/ 195 w 230"/>
                  <a:gd name="T5" fmla="*/ 30 h 132"/>
                  <a:gd name="T6" fmla="*/ 184 w 230"/>
                  <a:gd name="T7" fmla="*/ 20 h 132"/>
                  <a:gd name="T8" fmla="*/ 157 w 230"/>
                  <a:gd name="T9" fmla="*/ 17 h 132"/>
                  <a:gd name="T10" fmla="*/ 145 w 230"/>
                  <a:gd name="T11" fmla="*/ 4 h 132"/>
                  <a:gd name="T12" fmla="*/ 128 w 230"/>
                  <a:gd name="T13" fmla="*/ 12 h 132"/>
                  <a:gd name="T14" fmla="*/ 113 w 230"/>
                  <a:gd name="T15" fmla="*/ 8 h 132"/>
                  <a:gd name="T16" fmla="*/ 104 w 230"/>
                  <a:gd name="T17" fmla="*/ 13 h 132"/>
                  <a:gd name="T18" fmla="*/ 81 w 230"/>
                  <a:gd name="T19" fmla="*/ 7 h 132"/>
                  <a:gd name="T20" fmla="*/ 73 w 230"/>
                  <a:gd name="T21" fmla="*/ 9 h 132"/>
                  <a:gd name="T22" fmla="*/ 60 w 230"/>
                  <a:gd name="T23" fmla="*/ 2 h 132"/>
                  <a:gd name="T24" fmla="*/ 46 w 230"/>
                  <a:gd name="T25" fmla="*/ 5 h 132"/>
                  <a:gd name="T26" fmla="*/ 13 w 230"/>
                  <a:gd name="T27" fmla="*/ 11 h 132"/>
                  <a:gd name="T28" fmla="*/ 0 w 230"/>
                  <a:gd name="T29" fmla="*/ 16 h 132"/>
                  <a:gd name="T30" fmla="*/ 1 w 230"/>
                  <a:gd name="T31" fmla="*/ 23 h 132"/>
                  <a:gd name="T32" fmla="*/ 11 w 230"/>
                  <a:gd name="T33" fmla="*/ 60 h 132"/>
                  <a:gd name="T34" fmla="*/ 14 w 230"/>
                  <a:gd name="T35" fmla="*/ 64 h 132"/>
                  <a:gd name="T36" fmla="*/ 19 w 230"/>
                  <a:gd name="T37" fmla="*/ 64 h 132"/>
                  <a:gd name="T38" fmla="*/ 22 w 230"/>
                  <a:gd name="T39" fmla="*/ 70 h 132"/>
                  <a:gd name="T40" fmla="*/ 30 w 230"/>
                  <a:gd name="T41" fmla="*/ 69 h 132"/>
                  <a:gd name="T42" fmla="*/ 32 w 230"/>
                  <a:gd name="T43" fmla="*/ 75 h 132"/>
                  <a:gd name="T44" fmla="*/ 64 w 230"/>
                  <a:gd name="T45" fmla="*/ 71 h 132"/>
                  <a:gd name="T46" fmla="*/ 74 w 230"/>
                  <a:gd name="T47" fmla="*/ 86 h 132"/>
                  <a:gd name="T48" fmla="*/ 65 w 230"/>
                  <a:gd name="T49" fmla="*/ 98 h 132"/>
                  <a:gd name="T50" fmla="*/ 70 w 230"/>
                  <a:gd name="T51" fmla="*/ 108 h 132"/>
                  <a:gd name="T52" fmla="*/ 74 w 230"/>
                  <a:gd name="T53" fmla="*/ 108 h 132"/>
                  <a:gd name="T54" fmla="*/ 103 w 230"/>
                  <a:gd name="T55" fmla="*/ 119 h 132"/>
                  <a:gd name="T56" fmla="*/ 103 w 230"/>
                  <a:gd name="T57" fmla="*/ 132 h 132"/>
                  <a:gd name="T58" fmla="*/ 127 w 230"/>
                  <a:gd name="T59" fmla="*/ 127 h 132"/>
                  <a:gd name="T60" fmla="*/ 137 w 230"/>
                  <a:gd name="T61" fmla="*/ 132 h 132"/>
                  <a:gd name="T62" fmla="*/ 155 w 230"/>
                  <a:gd name="T63" fmla="*/ 132 h 132"/>
                  <a:gd name="T64" fmla="*/ 157 w 230"/>
                  <a:gd name="T65" fmla="*/ 122 h 132"/>
                  <a:gd name="T66" fmla="*/ 165 w 230"/>
                  <a:gd name="T67" fmla="*/ 130 h 132"/>
                  <a:gd name="T68" fmla="*/ 169 w 230"/>
                  <a:gd name="T69" fmla="*/ 122 h 132"/>
                  <a:gd name="T70" fmla="*/ 187 w 230"/>
                  <a:gd name="T71" fmla="*/ 115 h 132"/>
                  <a:gd name="T72" fmla="*/ 193 w 230"/>
                  <a:gd name="T73" fmla="*/ 123 h 132"/>
                  <a:gd name="T74" fmla="*/ 188 w 230"/>
                  <a:gd name="T75" fmla="*/ 103 h 132"/>
                  <a:gd name="T76" fmla="*/ 195 w 230"/>
                  <a:gd name="T77" fmla="*/ 96 h 132"/>
                  <a:gd name="T78" fmla="*/ 193 w 230"/>
                  <a:gd name="T79" fmla="*/ 81 h 132"/>
                  <a:gd name="T80" fmla="*/ 208 w 230"/>
                  <a:gd name="T81" fmla="*/ 79 h 132"/>
                  <a:gd name="T82" fmla="*/ 204 w 230"/>
                  <a:gd name="T83" fmla="*/ 66 h 132"/>
                  <a:gd name="T84" fmla="*/ 217 w 230"/>
                  <a:gd name="T85" fmla="*/ 71 h 132"/>
                  <a:gd name="T86" fmla="*/ 230 w 230"/>
                  <a:gd name="T87" fmla="*/ 65 h 132"/>
                  <a:gd name="T88" fmla="*/ 216 w 230"/>
                  <a:gd name="T89" fmla="*/ 50 h 132"/>
                  <a:gd name="T90" fmla="*/ 222 w 230"/>
                  <a:gd name="T91" fmla="*/ 42 h 13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30"/>
                  <a:gd name="T139" fmla="*/ 0 h 132"/>
                  <a:gd name="T140" fmla="*/ 230 w 230"/>
                  <a:gd name="T141" fmla="*/ 132 h 13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30" h="132">
                    <a:moveTo>
                      <a:pt x="222" y="42"/>
                    </a:moveTo>
                    <a:cubicBezTo>
                      <a:pt x="210" y="38"/>
                      <a:pt x="210" y="38"/>
                      <a:pt x="210" y="38"/>
                    </a:cubicBezTo>
                    <a:cubicBezTo>
                      <a:pt x="195" y="30"/>
                      <a:pt x="195" y="30"/>
                      <a:pt x="195" y="30"/>
                    </a:cubicBezTo>
                    <a:cubicBezTo>
                      <a:pt x="195" y="30"/>
                      <a:pt x="190" y="22"/>
                      <a:pt x="184" y="20"/>
                    </a:cubicBezTo>
                    <a:cubicBezTo>
                      <a:pt x="178" y="18"/>
                      <a:pt x="157" y="17"/>
                      <a:pt x="157" y="17"/>
                    </a:cubicBezTo>
                    <a:cubicBezTo>
                      <a:pt x="157" y="17"/>
                      <a:pt x="151" y="4"/>
                      <a:pt x="145" y="4"/>
                    </a:cubicBezTo>
                    <a:cubicBezTo>
                      <a:pt x="139" y="4"/>
                      <a:pt x="136" y="12"/>
                      <a:pt x="128" y="12"/>
                    </a:cubicBezTo>
                    <a:cubicBezTo>
                      <a:pt x="120" y="12"/>
                      <a:pt x="118" y="8"/>
                      <a:pt x="113" y="8"/>
                    </a:cubicBezTo>
                    <a:cubicBezTo>
                      <a:pt x="108" y="8"/>
                      <a:pt x="104" y="13"/>
                      <a:pt x="104" y="13"/>
                    </a:cubicBezTo>
                    <a:cubicBezTo>
                      <a:pt x="104" y="13"/>
                      <a:pt x="84" y="6"/>
                      <a:pt x="81" y="7"/>
                    </a:cubicBezTo>
                    <a:cubicBezTo>
                      <a:pt x="78" y="8"/>
                      <a:pt x="73" y="9"/>
                      <a:pt x="73" y="9"/>
                    </a:cubicBezTo>
                    <a:cubicBezTo>
                      <a:pt x="73" y="9"/>
                      <a:pt x="66" y="4"/>
                      <a:pt x="60" y="2"/>
                    </a:cubicBezTo>
                    <a:cubicBezTo>
                      <a:pt x="54" y="0"/>
                      <a:pt x="52" y="2"/>
                      <a:pt x="46" y="5"/>
                    </a:cubicBezTo>
                    <a:cubicBezTo>
                      <a:pt x="40" y="8"/>
                      <a:pt x="33" y="8"/>
                      <a:pt x="13" y="11"/>
                    </a:cubicBezTo>
                    <a:cubicBezTo>
                      <a:pt x="7" y="12"/>
                      <a:pt x="3" y="14"/>
                      <a:pt x="0" y="16"/>
                    </a:cubicBezTo>
                    <a:cubicBezTo>
                      <a:pt x="0" y="20"/>
                      <a:pt x="1" y="23"/>
                      <a:pt x="1" y="23"/>
                    </a:cubicBezTo>
                    <a:cubicBezTo>
                      <a:pt x="1" y="23"/>
                      <a:pt x="2" y="58"/>
                      <a:pt x="11" y="60"/>
                    </a:cubicBezTo>
                    <a:cubicBezTo>
                      <a:pt x="13" y="60"/>
                      <a:pt x="14" y="62"/>
                      <a:pt x="14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2" y="70"/>
                      <a:pt x="22" y="70"/>
                      <a:pt x="22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5"/>
                      <a:pt x="56" y="72"/>
                      <a:pt x="64" y="71"/>
                    </a:cubicBezTo>
                    <a:cubicBezTo>
                      <a:pt x="72" y="70"/>
                      <a:pt x="75" y="81"/>
                      <a:pt x="74" y="86"/>
                    </a:cubicBezTo>
                    <a:cubicBezTo>
                      <a:pt x="73" y="91"/>
                      <a:pt x="65" y="98"/>
                      <a:pt x="65" y="98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1" y="108"/>
                      <a:pt x="73" y="108"/>
                      <a:pt x="74" y="108"/>
                    </a:cubicBezTo>
                    <a:cubicBezTo>
                      <a:pt x="87" y="110"/>
                      <a:pt x="103" y="119"/>
                      <a:pt x="103" y="119"/>
                    </a:cubicBezTo>
                    <a:cubicBezTo>
                      <a:pt x="103" y="132"/>
                      <a:pt x="103" y="132"/>
                      <a:pt x="103" y="132"/>
                    </a:cubicBezTo>
                    <a:cubicBezTo>
                      <a:pt x="103" y="132"/>
                      <a:pt x="119" y="128"/>
                      <a:pt x="127" y="127"/>
                    </a:cubicBezTo>
                    <a:cubicBezTo>
                      <a:pt x="135" y="126"/>
                      <a:pt x="137" y="132"/>
                      <a:pt x="137" y="132"/>
                    </a:cubicBezTo>
                    <a:cubicBezTo>
                      <a:pt x="155" y="132"/>
                      <a:pt x="155" y="132"/>
                      <a:pt x="155" y="132"/>
                    </a:cubicBezTo>
                    <a:cubicBezTo>
                      <a:pt x="157" y="122"/>
                      <a:pt x="157" y="122"/>
                      <a:pt x="157" y="122"/>
                    </a:cubicBezTo>
                    <a:cubicBezTo>
                      <a:pt x="165" y="130"/>
                      <a:pt x="165" y="130"/>
                      <a:pt x="165" y="130"/>
                    </a:cubicBezTo>
                    <a:cubicBezTo>
                      <a:pt x="169" y="122"/>
                      <a:pt x="169" y="122"/>
                      <a:pt x="169" y="122"/>
                    </a:cubicBezTo>
                    <a:cubicBezTo>
                      <a:pt x="169" y="122"/>
                      <a:pt x="177" y="115"/>
                      <a:pt x="187" y="115"/>
                    </a:cubicBezTo>
                    <a:cubicBezTo>
                      <a:pt x="197" y="115"/>
                      <a:pt x="186" y="124"/>
                      <a:pt x="193" y="123"/>
                    </a:cubicBezTo>
                    <a:cubicBezTo>
                      <a:pt x="200" y="122"/>
                      <a:pt x="193" y="111"/>
                      <a:pt x="188" y="103"/>
                    </a:cubicBezTo>
                    <a:cubicBezTo>
                      <a:pt x="183" y="95"/>
                      <a:pt x="195" y="96"/>
                      <a:pt x="195" y="96"/>
                    </a:cubicBezTo>
                    <a:cubicBezTo>
                      <a:pt x="195" y="96"/>
                      <a:pt x="191" y="88"/>
                      <a:pt x="193" y="81"/>
                    </a:cubicBezTo>
                    <a:cubicBezTo>
                      <a:pt x="195" y="74"/>
                      <a:pt x="208" y="79"/>
                      <a:pt x="208" y="79"/>
                    </a:cubicBezTo>
                    <a:cubicBezTo>
                      <a:pt x="204" y="66"/>
                      <a:pt x="204" y="66"/>
                      <a:pt x="204" y="66"/>
                    </a:cubicBezTo>
                    <a:cubicBezTo>
                      <a:pt x="204" y="66"/>
                      <a:pt x="211" y="71"/>
                      <a:pt x="217" y="71"/>
                    </a:cubicBezTo>
                    <a:cubicBezTo>
                      <a:pt x="223" y="71"/>
                      <a:pt x="230" y="65"/>
                      <a:pt x="230" y="65"/>
                    </a:cubicBezTo>
                    <a:cubicBezTo>
                      <a:pt x="230" y="65"/>
                      <a:pt x="214" y="55"/>
                      <a:pt x="216" y="50"/>
                    </a:cubicBezTo>
                    <a:cubicBezTo>
                      <a:pt x="217" y="48"/>
                      <a:pt x="219" y="45"/>
                      <a:pt x="222" y="4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1" name="MCShape 73">
                <a:extLst>
                  <a:ext uri="{FF2B5EF4-FFF2-40B4-BE49-F238E27FC236}">
                    <a16:creationId xmlns:a16="http://schemas.microsoft.com/office/drawing/2014/main" id="{C0A8A958-CA24-40F5-8888-8A195530F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4692" y="2700431"/>
                <a:ext cx="116006" cy="63415"/>
              </a:xfrm>
              <a:custGeom>
                <a:avLst/>
                <a:gdLst>
                  <a:gd name="T0" fmla="*/ 93 w 196"/>
                  <a:gd name="T1" fmla="*/ 17 h 109"/>
                  <a:gd name="T2" fmla="*/ 81 w 196"/>
                  <a:gd name="T3" fmla="*/ 17 h 109"/>
                  <a:gd name="T4" fmla="*/ 70 w 196"/>
                  <a:gd name="T5" fmla="*/ 15 h 109"/>
                  <a:gd name="T6" fmla="*/ 70 w 196"/>
                  <a:gd name="T7" fmla="*/ 16 h 109"/>
                  <a:gd name="T8" fmla="*/ 65 w 196"/>
                  <a:gd name="T9" fmla="*/ 26 h 109"/>
                  <a:gd name="T10" fmla="*/ 52 w 196"/>
                  <a:gd name="T11" fmla="*/ 19 h 109"/>
                  <a:gd name="T12" fmla="*/ 47 w 196"/>
                  <a:gd name="T13" fmla="*/ 28 h 109"/>
                  <a:gd name="T14" fmla="*/ 36 w 196"/>
                  <a:gd name="T15" fmla="*/ 43 h 109"/>
                  <a:gd name="T16" fmla="*/ 25 w 196"/>
                  <a:gd name="T17" fmla="*/ 43 h 109"/>
                  <a:gd name="T18" fmla="*/ 22 w 196"/>
                  <a:gd name="T19" fmla="*/ 56 h 109"/>
                  <a:gd name="T20" fmla="*/ 4 w 196"/>
                  <a:gd name="T21" fmla="*/ 72 h 109"/>
                  <a:gd name="T22" fmla="*/ 10 w 196"/>
                  <a:gd name="T23" fmla="*/ 80 h 109"/>
                  <a:gd name="T24" fmla="*/ 6 w 196"/>
                  <a:gd name="T25" fmla="*/ 89 h 109"/>
                  <a:gd name="T26" fmla="*/ 24 w 196"/>
                  <a:gd name="T27" fmla="*/ 73 h 109"/>
                  <a:gd name="T28" fmla="*/ 39 w 196"/>
                  <a:gd name="T29" fmla="*/ 75 h 109"/>
                  <a:gd name="T30" fmla="*/ 38 w 196"/>
                  <a:gd name="T31" fmla="*/ 93 h 109"/>
                  <a:gd name="T32" fmla="*/ 45 w 196"/>
                  <a:gd name="T33" fmla="*/ 103 h 109"/>
                  <a:gd name="T34" fmla="*/ 52 w 196"/>
                  <a:gd name="T35" fmla="*/ 103 h 109"/>
                  <a:gd name="T36" fmla="*/ 66 w 196"/>
                  <a:gd name="T37" fmla="*/ 96 h 109"/>
                  <a:gd name="T38" fmla="*/ 86 w 196"/>
                  <a:gd name="T39" fmla="*/ 101 h 109"/>
                  <a:gd name="T40" fmla="*/ 92 w 196"/>
                  <a:gd name="T41" fmla="*/ 81 h 109"/>
                  <a:gd name="T42" fmla="*/ 103 w 196"/>
                  <a:gd name="T43" fmla="*/ 75 h 109"/>
                  <a:gd name="T44" fmla="*/ 111 w 196"/>
                  <a:gd name="T45" fmla="*/ 90 h 109"/>
                  <a:gd name="T46" fmla="*/ 116 w 196"/>
                  <a:gd name="T47" fmla="*/ 91 h 109"/>
                  <a:gd name="T48" fmla="*/ 132 w 196"/>
                  <a:gd name="T49" fmla="*/ 108 h 109"/>
                  <a:gd name="T50" fmla="*/ 133 w 196"/>
                  <a:gd name="T51" fmla="*/ 93 h 109"/>
                  <a:gd name="T52" fmla="*/ 139 w 196"/>
                  <a:gd name="T53" fmla="*/ 87 h 109"/>
                  <a:gd name="T54" fmla="*/ 144 w 196"/>
                  <a:gd name="T55" fmla="*/ 71 h 109"/>
                  <a:gd name="T56" fmla="*/ 150 w 196"/>
                  <a:gd name="T57" fmla="*/ 83 h 109"/>
                  <a:gd name="T58" fmla="*/ 164 w 196"/>
                  <a:gd name="T59" fmla="*/ 80 h 109"/>
                  <a:gd name="T60" fmla="*/ 175 w 196"/>
                  <a:gd name="T61" fmla="*/ 85 h 109"/>
                  <a:gd name="T62" fmla="*/ 180 w 196"/>
                  <a:gd name="T63" fmla="*/ 79 h 109"/>
                  <a:gd name="T64" fmla="*/ 176 w 196"/>
                  <a:gd name="T65" fmla="*/ 66 h 109"/>
                  <a:gd name="T66" fmla="*/ 189 w 196"/>
                  <a:gd name="T67" fmla="*/ 68 h 109"/>
                  <a:gd name="T68" fmla="*/ 191 w 196"/>
                  <a:gd name="T69" fmla="*/ 55 h 109"/>
                  <a:gd name="T70" fmla="*/ 196 w 196"/>
                  <a:gd name="T71" fmla="*/ 54 h 109"/>
                  <a:gd name="T72" fmla="*/ 187 w 196"/>
                  <a:gd name="T73" fmla="*/ 43 h 109"/>
                  <a:gd name="T74" fmla="*/ 171 w 196"/>
                  <a:gd name="T75" fmla="*/ 55 h 109"/>
                  <a:gd name="T76" fmla="*/ 166 w 196"/>
                  <a:gd name="T77" fmla="*/ 43 h 109"/>
                  <a:gd name="T78" fmla="*/ 154 w 196"/>
                  <a:gd name="T79" fmla="*/ 44 h 109"/>
                  <a:gd name="T80" fmla="*/ 146 w 196"/>
                  <a:gd name="T81" fmla="*/ 42 h 109"/>
                  <a:gd name="T82" fmla="*/ 153 w 196"/>
                  <a:gd name="T83" fmla="*/ 29 h 109"/>
                  <a:gd name="T84" fmla="*/ 154 w 196"/>
                  <a:gd name="T85" fmla="*/ 19 h 109"/>
                  <a:gd name="T86" fmla="*/ 150 w 196"/>
                  <a:gd name="T87" fmla="*/ 19 h 109"/>
                  <a:gd name="T88" fmla="*/ 144 w 196"/>
                  <a:gd name="T89" fmla="*/ 11 h 109"/>
                  <a:gd name="T90" fmla="*/ 134 w 196"/>
                  <a:gd name="T91" fmla="*/ 8 h 109"/>
                  <a:gd name="T92" fmla="*/ 125 w 196"/>
                  <a:gd name="T93" fmla="*/ 8 h 109"/>
                  <a:gd name="T94" fmla="*/ 109 w 196"/>
                  <a:gd name="T95" fmla="*/ 1 h 109"/>
                  <a:gd name="T96" fmla="*/ 107 w 196"/>
                  <a:gd name="T97" fmla="*/ 14 h 109"/>
                  <a:gd name="T98" fmla="*/ 103 w 196"/>
                  <a:gd name="T99" fmla="*/ 10 h 109"/>
                  <a:gd name="T100" fmla="*/ 93 w 196"/>
                  <a:gd name="T101" fmla="*/ 17 h 10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6"/>
                  <a:gd name="T154" fmla="*/ 0 h 109"/>
                  <a:gd name="T155" fmla="*/ 196 w 196"/>
                  <a:gd name="T156" fmla="*/ 109 h 10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6" h="109">
                    <a:moveTo>
                      <a:pt x="93" y="17"/>
                    </a:moveTo>
                    <a:cubicBezTo>
                      <a:pt x="81" y="17"/>
                      <a:pt x="81" y="17"/>
                      <a:pt x="81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5" y="26"/>
                      <a:pt x="65" y="26"/>
                      <a:pt x="65" y="26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28"/>
                      <a:pt x="41" y="37"/>
                      <a:pt x="36" y="43"/>
                    </a:cubicBezTo>
                    <a:cubicBezTo>
                      <a:pt x="31" y="49"/>
                      <a:pt x="25" y="43"/>
                      <a:pt x="25" y="43"/>
                    </a:cubicBezTo>
                    <a:cubicBezTo>
                      <a:pt x="25" y="43"/>
                      <a:pt x="28" y="49"/>
                      <a:pt x="22" y="56"/>
                    </a:cubicBezTo>
                    <a:cubicBezTo>
                      <a:pt x="16" y="63"/>
                      <a:pt x="4" y="72"/>
                      <a:pt x="4" y="72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0" y="80"/>
                      <a:pt x="0" y="88"/>
                      <a:pt x="6" y="89"/>
                    </a:cubicBezTo>
                    <a:cubicBezTo>
                      <a:pt x="12" y="90"/>
                      <a:pt x="17" y="77"/>
                      <a:pt x="24" y="73"/>
                    </a:cubicBezTo>
                    <a:cubicBezTo>
                      <a:pt x="31" y="69"/>
                      <a:pt x="39" y="75"/>
                      <a:pt x="39" y="75"/>
                    </a:cubicBezTo>
                    <a:cubicBezTo>
                      <a:pt x="38" y="93"/>
                      <a:pt x="38" y="93"/>
                      <a:pt x="38" y="93"/>
                    </a:cubicBezTo>
                    <a:cubicBezTo>
                      <a:pt x="38" y="93"/>
                      <a:pt x="45" y="99"/>
                      <a:pt x="45" y="103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52" y="103"/>
                      <a:pt x="61" y="96"/>
                      <a:pt x="66" y="96"/>
                    </a:cubicBezTo>
                    <a:cubicBezTo>
                      <a:pt x="71" y="96"/>
                      <a:pt x="76" y="109"/>
                      <a:pt x="86" y="101"/>
                    </a:cubicBezTo>
                    <a:cubicBezTo>
                      <a:pt x="96" y="92"/>
                      <a:pt x="92" y="81"/>
                      <a:pt x="92" y="81"/>
                    </a:cubicBezTo>
                    <a:cubicBezTo>
                      <a:pt x="92" y="81"/>
                      <a:pt x="99" y="75"/>
                      <a:pt x="103" y="75"/>
                    </a:cubicBezTo>
                    <a:cubicBezTo>
                      <a:pt x="107" y="75"/>
                      <a:pt x="111" y="90"/>
                      <a:pt x="111" y="90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32" y="108"/>
                      <a:pt x="132" y="108"/>
                      <a:pt x="132" y="108"/>
                    </a:cubicBezTo>
                    <a:cubicBezTo>
                      <a:pt x="133" y="93"/>
                      <a:pt x="133" y="93"/>
                      <a:pt x="133" y="93"/>
                    </a:cubicBezTo>
                    <a:cubicBezTo>
                      <a:pt x="139" y="87"/>
                      <a:pt x="139" y="87"/>
                      <a:pt x="139" y="87"/>
                    </a:cubicBezTo>
                    <a:cubicBezTo>
                      <a:pt x="144" y="71"/>
                      <a:pt x="144" y="71"/>
                      <a:pt x="144" y="71"/>
                    </a:cubicBezTo>
                    <a:cubicBezTo>
                      <a:pt x="150" y="83"/>
                      <a:pt x="150" y="83"/>
                      <a:pt x="150" y="83"/>
                    </a:cubicBezTo>
                    <a:cubicBezTo>
                      <a:pt x="164" y="80"/>
                      <a:pt x="164" y="80"/>
                      <a:pt x="164" y="80"/>
                    </a:cubicBezTo>
                    <a:cubicBezTo>
                      <a:pt x="175" y="85"/>
                      <a:pt x="175" y="85"/>
                      <a:pt x="175" y="85"/>
                    </a:cubicBezTo>
                    <a:cubicBezTo>
                      <a:pt x="180" y="79"/>
                      <a:pt x="180" y="79"/>
                      <a:pt x="180" y="79"/>
                    </a:cubicBezTo>
                    <a:cubicBezTo>
                      <a:pt x="180" y="79"/>
                      <a:pt x="165" y="68"/>
                      <a:pt x="176" y="66"/>
                    </a:cubicBezTo>
                    <a:cubicBezTo>
                      <a:pt x="187" y="64"/>
                      <a:pt x="189" y="68"/>
                      <a:pt x="189" y="68"/>
                    </a:cubicBezTo>
                    <a:cubicBezTo>
                      <a:pt x="191" y="55"/>
                      <a:pt x="191" y="55"/>
                      <a:pt x="191" y="55"/>
                    </a:cubicBezTo>
                    <a:cubicBezTo>
                      <a:pt x="196" y="54"/>
                      <a:pt x="196" y="54"/>
                      <a:pt x="196" y="54"/>
                    </a:cubicBezTo>
                    <a:cubicBezTo>
                      <a:pt x="195" y="50"/>
                      <a:pt x="192" y="44"/>
                      <a:pt x="187" y="43"/>
                    </a:cubicBezTo>
                    <a:cubicBezTo>
                      <a:pt x="176" y="43"/>
                      <a:pt x="178" y="52"/>
                      <a:pt x="171" y="55"/>
                    </a:cubicBezTo>
                    <a:cubicBezTo>
                      <a:pt x="163" y="57"/>
                      <a:pt x="166" y="43"/>
                      <a:pt x="166" y="43"/>
                    </a:cubicBezTo>
                    <a:cubicBezTo>
                      <a:pt x="154" y="44"/>
                      <a:pt x="154" y="44"/>
                      <a:pt x="154" y="44"/>
                    </a:cubicBezTo>
                    <a:cubicBezTo>
                      <a:pt x="154" y="44"/>
                      <a:pt x="150" y="44"/>
                      <a:pt x="146" y="42"/>
                    </a:cubicBezTo>
                    <a:cubicBezTo>
                      <a:pt x="142" y="39"/>
                      <a:pt x="148" y="31"/>
                      <a:pt x="153" y="29"/>
                    </a:cubicBezTo>
                    <a:cubicBezTo>
                      <a:pt x="159" y="27"/>
                      <a:pt x="154" y="19"/>
                      <a:pt x="15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44" y="11"/>
                      <a:pt x="144" y="11"/>
                      <a:pt x="144" y="11"/>
                    </a:cubicBezTo>
                    <a:cubicBezTo>
                      <a:pt x="134" y="8"/>
                      <a:pt x="134" y="8"/>
                      <a:pt x="134" y="8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25" y="8"/>
                      <a:pt x="116" y="0"/>
                      <a:pt x="109" y="1"/>
                    </a:cubicBezTo>
                    <a:cubicBezTo>
                      <a:pt x="102" y="2"/>
                      <a:pt x="107" y="14"/>
                      <a:pt x="107" y="14"/>
                    </a:cubicBezTo>
                    <a:cubicBezTo>
                      <a:pt x="103" y="10"/>
                      <a:pt x="103" y="10"/>
                      <a:pt x="103" y="10"/>
                    </a:cubicBezTo>
                    <a:lnTo>
                      <a:pt x="93" y="1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2" name="MCShape 74">
                <a:extLst>
                  <a:ext uri="{FF2B5EF4-FFF2-40B4-BE49-F238E27FC236}">
                    <a16:creationId xmlns:a16="http://schemas.microsoft.com/office/drawing/2014/main" id="{2117B747-56D5-4330-8245-4F5762F73F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0159" y="2722085"/>
                <a:ext cx="307801" cy="327909"/>
              </a:xfrm>
              <a:custGeom>
                <a:avLst/>
                <a:gdLst>
                  <a:gd name="T0" fmla="*/ 341 w 523"/>
                  <a:gd name="T1" fmla="*/ 483 h 554"/>
                  <a:gd name="T2" fmla="*/ 278 w 523"/>
                  <a:gd name="T3" fmla="*/ 485 h 554"/>
                  <a:gd name="T4" fmla="*/ 281 w 523"/>
                  <a:gd name="T5" fmla="*/ 507 h 554"/>
                  <a:gd name="T6" fmla="*/ 330 w 523"/>
                  <a:gd name="T7" fmla="*/ 531 h 554"/>
                  <a:gd name="T8" fmla="*/ 372 w 523"/>
                  <a:gd name="T9" fmla="*/ 513 h 554"/>
                  <a:gd name="T10" fmla="*/ 378 w 523"/>
                  <a:gd name="T11" fmla="*/ 479 h 554"/>
                  <a:gd name="T12" fmla="*/ 68 w 523"/>
                  <a:gd name="T13" fmla="*/ 320 h 554"/>
                  <a:gd name="T14" fmla="*/ 75 w 523"/>
                  <a:gd name="T15" fmla="*/ 381 h 554"/>
                  <a:gd name="T16" fmla="*/ 78 w 523"/>
                  <a:gd name="T17" fmla="*/ 424 h 554"/>
                  <a:gd name="T18" fmla="*/ 103 w 523"/>
                  <a:gd name="T19" fmla="*/ 414 h 554"/>
                  <a:gd name="T20" fmla="*/ 133 w 523"/>
                  <a:gd name="T21" fmla="*/ 388 h 554"/>
                  <a:gd name="T22" fmla="*/ 140 w 523"/>
                  <a:gd name="T23" fmla="*/ 352 h 554"/>
                  <a:gd name="T24" fmla="*/ 481 w 523"/>
                  <a:gd name="T25" fmla="*/ 337 h 554"/>
                  <a:gd name="T26" fmla="*/ 414 w 523"/>
                  <a:gd name="T27" fmla="*/ 281 h 554"/>
                  <a:gd name="T28" fmla="*/ 311 w 523"/>
                  <a:gd name="T29" fmla="*/ 216 h 554"/>
                  <a:gd name="T30" fmla="*/ 249 w 523"/>
                  <a:gd name="T31" fmla="*/ 148 h 554"/>
                  <a:gd name="T32" fmla="*/ 244 w 523"/>
                  <a:gd name="T33" fmla="*/ 92 h 554"/>
                  <a:gd name="T34" fmla="*/ 294 w 523"/>
                  <a:gd name="T35" fmla="*/ 46 h 554"/>
                  <a:gd name="T36" fmla="*/ 265 w 523"/>
                  <a:gd name="T37" fmla="*/ 29 h 554"/>
                  <a:gd name="T38" fmla="*/ 243 w 523"/>
                  <a:gd name="T39" fmla="*/ 16 h 554"/>
                  <a:gd name="T40" fmla="*/ 195 w 523"/>
                  <a:gd name="T41" fmla="*/ 7 h 554"/>
                  <a:gd name="T42" fmla="*/ 165 w 523"/>
                  <a:gd name="T43" fmla="*/ 16 h 554"/>
                  <a:gd name="T44" fmla="*/ 154 w 523"/>
                  <a:gd name="T45" fmla="*/ 40 h 554"/>
                  <a:gd name="T46" fmla="*/ 124 w 523"/>
                  <a:gd name="T47" fmla="*/ 44 h 554"/>
                  <a:gd name="T48" fmla="*/ 107 w 523"/>
                  <a:gd name="T49" fmla="*/ 54 h 554"/>
                  <a:gd name="T50" fmla="*/ 85 w 523"/>
                  <a:gd name="T51" fmla="*/ 51 h 554"/>
                  <a:gd name="T52" fmla="*/ 60 w 523"/>
                  <a:gd name="T53" fmla="*/ 62 h 554"/>
                  <a:gd name="T54" fmla="*/ 19 w 523"/>
                  <a:gd name="T55" fmla="*/ 64 h 554"/>
                  <a:gd name="T56" fmla="*/ 28 w 523"/>
                  <a:gd name="T57" fmla="*/ 93 h 554"/>
                  <a:gd name="T58" fmla="*/ 6 w 523"/>
                  <a:gd name="T59" fmla="*/ 118 h 554"/>
                  <a:gd name="T60" fmla="*/ 12 w 523"/>
                  <a:gd name="T61" fmla="*/ 141 h 554"/>
                  <a:gd name="T62" fmla="*/ 45 w 523"/>
                  <a:gd name="T63" fmla="*/ 160 h 554"/>
                  <a:gd name="T64" fmla="*/ 58 w 523"/>
                  <a:gd name="T65" fmla="*/ 173 h 554"/>
                  <a:gd name="T66" fmla="*/ 160 w 523"/>
                  <a:gd name="T67" fmla="*/ 192 h 554"/>
                  <a:gd name="T68" fmla="*/ 193 w 523"/>
                  <a:gd name="T69" fmla="*/ 236 h 554"/>
                  <a:gd name="T70" fmla="*/ 259 w 523"/>
                  <a:gd name="T71" fmla="*/ 294 h 554"/>
                  <a:gd name="T72" fmla="*/ 325 w 523"/>
                  <a:gd name="T73" fmla="*/ 334 h 554"/>
                  <a:gd name="T74" fmla="*/ 397 w 523"/>
                  <a:gd name="T75" fmla="*/ 373 h 554"/>
                  <a:gd name="T76" fmla="*/ 418 w 523"/>
                  <a:gd name="T77" fmla="*/ 446 h 554"/>
                  <a:gd name="T78" fmla="*/ 395 w 523"/>
                  <a:gd name="T79" fmla="*/ 489 h 554"/>
                  <a:gd name="T80" fmla="*/ 435 w 523"/>
                  <a:gd name="T81" fmla="*/ 466 h 554"/>
                  <a:gd name="T82" fmla="*/ 452 w 523"/>
                  <a:gd name="T83" fmla="*/ 408 h 554"/>
                  <a:gd name="T84" fmla="*/ 468 w 523"/>
                  <a:gd name="T85" fmla="*/ 361 h 554"/>
                  <a:gd name="T86" fmla="*/ 515 w 523"/>
                  <a:gd name="T87" fmla="*/ 363 h 55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523"/>
                  <a:gd name="T133" fmla="*/ 0 h 554"/>
                  <a:gd name="T134" fmla="*/ 523 w 523"/>
                  <a:gd name="T135" fmla="*/ 554 h 55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523" h="554">
                    <a:moveTo>
                      <a:pt x="378" y="479"/>
                    </a:moveTo>
                    <a:cubicBezTo>
                      <a:pt x="378" y="479"/>
                      <a:pt x="365" y="472"/>
                      <a:pt x="358" y="474"/>
                    </a:cubicBezTo>
                    <a:cubicBezTo>
                      <a:pt x="351" y="476"/>
                      <a:pt x="341" y="483"/>
                      <a:pt x="341" y="483"/>
                    </a:cubicBezTo>
                    <a:cubicBezTo>
                      <a:pt x="341" y="483"/>
                      <a:pt x="322" y="486"/>
                      <a:pt x="314" y="486"/>
                    </a:cubicBezTo>
                    <a:cubicBezTo>
                      <a:pt x="306" y="486"/>
                      <a:pt x="292" y="470"/>
                      <a:pt x="289" y="473"/>
                    </a:cubicBezTo>
                    <a:cubicBezTo>
                      <a:pt x="286" y="476"/>
                      <a:pt x="278" y="485"/>
                      <a:pt x="278" y="485"/>
                    </a:cubicBezTo>
                    <a:cubicBezTo>
                      <a:pt x="265" y="477"/>
                      <a:pt x="265" y="477"/>
                      <a:pt x="265" y="477"/>
                    </a:cubicBezTo>
                    <a:cubicBezTo>
                      <a:pt x="265" y="477"/>
                      <a:pt x="245" y="482"/>
                      <a:pt x="253" y="494"/>
                    </a:cubicBezTo>
                    <a:cubicBezTo>
                      <a:pt x="264" y="510"/>
                      <a:pt x="276" y="505"/>
                      <a:pt x="281" y="507"/>
                    </a:cubicBezTo>
                    <a:cubicBezTo>
                      <a:pt x="286" y="509"/>
                      <a:pt x="291" y="517"/>
                      <a:pt x="293" y="521"/>
                    </a:cubicBezTo>
                    <a:cubicBezTo>
                      <a:pt x="295" y="525"/>
                      <a:pt x="317" y="535"/>
                      <a:pt x="317" y="535"/>
                    </a:cubicBezTo>
                    <a:cubicBezTo>
                      <a:pt x="330" y="531"/>
                      <a:pt x="330" y="531"/>
                      <a:pt x="330" y="531"/>
                    </a:cubicBezTo>
                    <a:cubicBezTo>
                      <a:pt x="330" y="531"/>
                      <a:pt x="344" y="552"/>
                      <a:pt x="363" y="553"/>
                    </a:cubicBezTo>
                    <a:cubicBezTo>
                      <a:pt x="382" y="554"/>
                      <a:pt x="377" y="537"/>
                      <a:pt x="377" y="537"/>
                    </a:cubicBezTo>
                    <a:cubicBezTo>
                      <a:pt x="377" y="537"/>
                      <a:pt x="372" y="520"/>
                      <a:pt x="372" y="513"/>
                    </a:cubicBezTo>
                    <a:cubicBezTo>
                      <a:pt x="372" y="506"/>
                      <a:pt x="377" y="496"/>
                      <a:pt x="383" y="491"/>
                    </a:cubicBezTo>
                    <a:cubicBezTo>
                      <a:pt x="389" y="486"/>
                      <a:pt x="383" y="469"/>
                      <a:pt x="383" y="469"/>
                    </a:cubicBezTo>
                    <a:lnTo>
                      <a:pt x="378" y="479"/>
                    </a:lnTo>
                    <a:close/>
                    <a:moveTo>
                      <a:pt x="119" y="312"/>
                    </a:moveTo>
                    <a:cubicBezTo>
                      <a:pt x="107" y="311"/>
                      <a:pt x="95" y="332"/>
                      <a:pt x="87" y="332"/>
                    </a:cubicBezTo>
                    <a:cubicBezTo>
                      <a:pt x="79" y="332"/>
                      <a:pt x="68" y="320"/>
                      <a:pt x="68" y="320"/>
                    </a:cubicBezTo>
                    <a:cubicBezTo>
                      <a:pt x="64" y="331"/>
                      <a:pt x="64" y="331"/>
                      <a:pt x="64" y="331"/>
                    </a:cubicBezTo>
                    <a:cubicBezTo>
                      <a:pt x="64" y="331"/>
                      <a:pt x="79" y="344"/>
                      <a:pt x="79" y="354"/>
                    </a:cubicBezTo>
                    <a:cubicBezTo>
                      <a:pt x="79" y="364"/>
                      <a:pt x="75" y="381"/>
                      <a:pt x="75" y="381"/>
                    </a:cubicBezTo>
                    <a:cubicBezTo>
                      <a:pt x="81" y="388"/>
                      <a:pt x="81" y="388"/>
                      <a:pt x="81" y="388"/>
                    </a:cubicBezTo>
                    <a:cubicBezTo>
                      <a:pt x="73" y="393"/>
                      <a:pt x="73" y="393"/>
                      <a:pt x="73" y="393"/>
                    </a:cubicBezTo>
                    <a:cubicBezTo>
                      <a:pt x="78" y="424"/>
                      <a:pt x="78" y="424"/>
                      <a:pt x="78" y="424"/>
                    </a:cubicBezTo>
                    <a:cubicBezTo>
                      <a:pt x="69" y="424"/>
                      <a:pt x="69" y="424"/>
                      <a:pt x="69" y="424"/>
                    </a:cubicBezTo>
                    <a:cubicBezTo>
                      <a:pt x="82" y="435"/>
                      <a:pt x="82" y="435"/>
                      <a:pt x="82" y="435"/>
                    </a:cubicBezTo>
                    <a:cubicBezTo>
                      <a:pt x="98" y="435"/>
                      <a:pt x="103" y="414"/>
                      <a:pt x="103" y="414"/>
                    </a:cubicBezTo>
                    <a:cubicBezTo>
                      <a:pt x="103" y="414"/>
                      <a:pt x="115" y="430"/>
                      <a:pt x="124" y="423"/>
                    </a:cubicBezTo>
                    <a:cubicBezTo>
                      <a:pt x="133" y="416"/>
                      <a:pt x="129" y="398"/>
                      <a:pt x="129" y="398"/>
                    </a:cubicBezTo>
                    <a:cubicBezTo>
                      <a:pt x="133" y="388"/>
                      <a:pt x="133" y="388"/>
                      <a:pt x="133" y="388"/>
                    </a:cubicBezTo>
                    <a:cubicBezTo>
                      <a:pt x="133" y="371"/>
                      <a:pt x="133" y="371"/>
                      <a:pt x="133" y="371"/>
                    </a:cubicBezTo>
                    <a:cubicBezTo>
                      <a:pt x="133" y="371"/>
                      <a:pt x="127" y="369"/>
                      <a:pt x="128" y="364"/>
                    </a:cubicBezTo>
                    <a:cubicBezTo>
                      <a:pt x="129" y="359"/>
                      <a:pt x="140" y="359"/>
                      <a:pt x="140" y="352"/>
                    </a:cubicBezTo>
                    <a:cubicBezTo>
                      <a:pt x="140" y="345"/>
                      <a:pt x="131" y="313"/>
                      <a:pt x="119" y="312"/>
                    </a:cubicBezTo>
                    <a:close/>
                    <a:moveTo>
                      <a:pt x="515" y="363"/>
                    </a:moveTo>
                    <a:cubicBezTo>
                      <a:pt x="507" y="354"/>
                      <a:pt x="481" y="337"/>
                      <a:pt x="481" y="337"/>
                    </a:cubicBezTo>
                    <a:cubicBezTo>
                      <a:pt x="451" y="321"/>
                      <a:pt x="451" y="321"/>
                      <a:pt x="451" y="321"/>
                    </a:cubicBezTo>
                    <a:cubicBezTo>
                      <a:pt x="451" y="321"/>
                      <a:pt x="398" y="308"/>
                      <a:pt x="402" y="299"/>
                    </a:cubicBezTo>
                    <a:cubicBezTo>
                      <a:pt x="406" y="290"/>
                      <a:pt x="415" y="289"/>
                      <a:pt x="414" y="281"/>
                    </a:cubicBezTo>
                    <a:cubicBezTo>
                      <a:pt x="413" y="273"/>
                      <a:pt x="365" y="271"/>
                      <a:pt x="365" y="271"/>
                    </a:cubicBezTo>
                    <a:cubicBezTo>
                      <a:pt x="365" y="271"/>
                      <a:pt x="351" y="266"/>
                      <a:pt x="334" y="249"/>
                    </a:cubicBezTo>
                    <a:cubicBezTo>
                      <a:pt x="317" y="232"/>
                      <a:pt x="311" y="216"/>
                      <a:pt x="311" y="216"/>
                    </a:cubicBezTo>
                    <a:cubicBezTo>
                      <a:pt x="311" y="216"/>
                      <a:pt x="306" y="192"/>
                      <a:pt x="296" y="186"/>
                    </a:cubicBezTo>
                    <a:cubicBezTo>
                      <a:pt x="286" y="180"/>
                      <a:pt x="275" y="170"/>
                      <a:pt x="275" y="170"/>
                    </a:cubicBezTo>
                    <a:cubicBezTo>
                      <a:pt x="249" y="148"/>
                      <a:pt x="249" y="148"/>
                      <a:pt x="249" y="148"/>
                    </a:cubicBezTo>
                    <a:cubicBezTo>
                      <a:pt x="249" y="148"/>
                      <a:pt x="235" y="126"/>
                      <a:pt x="240" y="124"/>
                    </a:cubicBezTo>
                    <a:cubicBezTo>
                      <a:pt x="245" y="122"/>
                      <a:pt x="253" y="120"/>
                      <a:pt x="253" y="115"/>
                    </a:cubicBezTo>
                    <a:cubicBezTo>
                      <a:pt x="253" y="110"/>
                      <a:pt x="236" y="101"/>
                      <a:pt x="244" y="92"/>
                    </a:cubicBezTo>
                    <a:cubicBezTo>
                      <a:pt x="252" y="83"/>
                      <a:pt x="275" y="77"/>
                      <a:pt x="275" y="77"/>
                    </a:cubicBezTo>
                    <a:cubicBezTo>
                      <a:pt x="289" y="71"/>
                      <a:pt x="289" y="71"/>
                      <a:pt x="289" y="71"/>
                    </a:cubicBezTo>
                    <a:cubicBezTo>
                      <a:pt x="294" y="46"/>
                      <a:pt x="294" y="46"/>
                      <a:pt x="294" y="46"/>
                    </a:cubicBezTo>
                    <a:cubicBezTo>
                      <a:pt x="286" y="43"/>
                      <a:pt x="286" y="43"/>
                      <a:pt x="286" y="43"/>
                    </a:cubicBezTo>
                    <a:cubicBezTo>
                      <a:pt x="286" y="43"/>
                      <a:pt x="294" y="36"/>
                      <a:pt x="291" y="30"/>
                    </a:cubicBezTo>
                    <a:cubicBezTo>
                      <a:pt x="288" y="25"/>
                      <a:pt x="265" y="29"/>
                      <a:pt x="265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48" y="16"/>
                      <a:pt x="248" y="16"/>
                      <a:pt x="248" y="16"/>
                    </a:cubicBezTo>
                    <a:cubicBezTo>
                      <a:pt x="243" y="16"/>
                      <a:pt x="243" y="16"/>
                      <a:pt x="243" y="16"/>
                    </a:cubicBezTo>
                    <a:cubicBezTo>
                      <a:pt x="243" y="16"/>
                      <a:pt x="242" y="2"/>
                      <a:pt x="233" y="1"/>
                    </a:cubicBezTo>
                    <a:cubicBezTo>
                      <a:pt x="223" y="0"/>
                      <a:pt x="221" y="9"/>
                      <a:pt x="221" y="9"/>
                    </a:cubicBezTo>
                    <a:cubicBezTo>
                      <a:pt x="195" y="7"/>
                      <a:pt x="195" y="7"/>
                      <a:pt x="195" y="7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5" y="16"/>
                      <a:pt x="165" y="16"/>
                      <a:pt x="165" y="16"/>
                    </a:cubicBezTo>
                    <a:cubicBezTo>
                      <a:pt x="163" y="29"/>
                      <a:pt x="163" y="29"/>
                      <a:pt x="163" y="29"/>
                    </a:cubicBezTo>
                    <a:cubicBezTo>
                      <a:pt x="163" y="29"/>
                      <a:pt x="161" y="25"/>
                      <a:pt x="150" y="27"/>
                    </a:cubicBezTo>
                    <a:cubicBezTo>
                      <a:pt x="139" y="29"/>
                      <a:pt x="154" y="40"/>
                      <a:pt x="154" y="4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24" y="44"/>
                      <a:pt x="124" y="44"/>
                      <a:pt x="124" y="44"/>
                    </a:cubicBezTo>
                    <a:cubicBezTo>
                      <a:pt x="118" y="32"/>
                      <a:pt x="118" y="32"/>
                      <a:pt x="118" y="32"/>
                    </a:cubicBezTo>
                    <a:cubicBezTo>
                      <a:pt x="113" y="48"/>
                      <a:pt x="113" y="48"/>
                      <a:pt x="113" y="48"/>
                    </a:cubicBezTo>
                    <a:cubicBezTo>
                      <a:pt x="107" y="54"/>
                      <a:pt x="107" y="54"/>
                      <a:pt x="107" y="54"/>
                    </a:cubicBezTo>
                    <a:cubicBezTo>
                      <a:pt x="106" y="69"/>
                      <a:pt x="106" y="69"/>
                      <a:pt x="106" y="69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1"/>
                      <a:pt x="81" y="36"/>
                      <a:pt x="77" y="36"/>
                    </a:cubicBezTo>
                    <a:cubicBezTo>
                      <a:pt x="73" y="36"/>
                      <a:pt x="66" y="42"/>
                      <a:pt x="66" y="42"/>
                    </a:cubicBezTo>
                    <a:cubicBezTo>
                      <a:pt x="66" y="42"/>
                      <a:pt x="70" y="53"/>
                      <a:pt x="60" y="62"/>
                    </a:cubicBezTo>
                    <a:cubicBezTo>
                      <a:pt x="50" y="70"/>
                      <a:pt x="45" y="57"/>
                      <a:pt x="40" y="57"/>
                    </a:cubicBezTo>
                    <a:cubicBezTo>
                      <a:pt x="35" y="57"/>
                      <a:pt x="26" y="64"/>
                      <a:pt x="26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68"/>
                      <a:pt x="9" y="72"/>
                      <a:pt x="9" y="72"/>
                    </a:cubicBezTo>
                    <a:cubicBezTo>
                      <a:pt x="17" y="80"/>
                      <a:pt x="17" y="80"/>
                      <a:pt x="17" y="80"/>
                    </a:cubicBezTo>
                    <a:cubicBezTo>
                      <a:pt x="17" y="80"/>
                      <a:pt x="28" y="84"/>
                      <a:pt x="28" y="93"/>
                    </a:cubicBezTo>
                    <a:cubicBezTo>
                      <a:pt x="28" y="102"/>
                      <a:pt x="9" y="103"/>
                      <a:pt x="9" y="103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13" y="118"/>
                      <a:pt x="13" y="118"/>
                      <a:pt x="13" y="118"/>
                    </a:cubicBezTo>
                    <a:cubicBezTo>
                      <a:pt x="13" y="118"/>
                      <a:pt x="17" y="121"/>
                      <a:pt x="18" y="126"/>
                    </a:cubicBezTo>
                    <a:cubicBezTo>
                      <a:pt x="19" y="131"/>
                      <a:pt x="13" y="131"/>
                      <a:pt x="12" y="141"/>
                    </a:cubicBezTo>
                    <a:cubicBezTo>
                      <a:pt x="11" y="151"/>
                      <a:pt x="25" y="152"/>
                      <a:pt x="25" y="152"/>
                    </a:cubicBezTo>
                    <a:cubicBezTo>
                      <a:pt x="28" y="158"/>
                      <a:pt x="28" y="158"/>
                      <a:pt x="28" y="158"/>
                    </a:cubicBezTo>
                    <a:cubicBezTo>
                      <a:pt x="28" y="158"/>
                      <a:pt x="42" y="156"/>
                      <a:pt x="45" y="160"/>
                    </a:cubicBezTo>
                    <a:cubicBezTo>
                      <a:pt x="48" y="164"/>
                      <a:pt x="42" y="174"/>
                      <a:pt x="38" y="174"/>
                    </a:cubicBezTo>
                    <a:cubicBezTo>
                      <a:pt x="36" y="174"/>
                      <a:pt x="35" y="176"/>
                      <a:pt x="35" y="179"/>
                    </a:cubicBezTo>
                    <a:cubicBezTo>
                      <a:pt x="44" y="178"/>
                      <a:pt x="54" y="177"/>
                      <a:pt x="58" y="173"/>
                    </a:cubicBezTo>
                    <a:cubicBezTo>
                      <a:pt x="65" y="166"/>
                      <a:pt x="83" y="145"/>
                      <a:pt x="93" y="145"/>
                    </a:cubicBezTo>
                    <a:cubicBezTo>
                      <a:pt x="103" y="145"/>
                      <a:pt x="132" y="152"/>
                      <a:pt x="144" y="162"/>
                    </a:cubicBezTo>
                    <a:cubicBezTo>
                      <a:pt x="156" y="172"/>
                      <a:pt x="160" y="192"/>
                      <a:pt x="160" y="192"/>
                    </a:cubicBezTo>
                    <a:cubicBezTo>
                      <a:pt x="168" y="200"/>
                      <a:pt x="168" y="200"/>
                      <a:pt x="168" y="200"/>
                    </a:cubicBezTo>
                    <a:cubicBezTo>
                      <a:pt x="168" y="200"/>
                      <a:pt x="160" y="221"/>
                      <a:pt x="169" y="226"/>
                    </a:cubicBezTo>
                    <a:cubicBezTo>
                      <a:pt x="178" y="231"/>
                      <a:pt x="193" y="236"/>
                      <a:pt x="193" y="236"/>
                    </a:cubicBezTo>
                    <a:cubicBezTo>
                      <a:pt x="197" y="249"/>
                      <a:pt x="197" y="249"/>
                      <a:pt x="197" y="249"/>
                    </a:cubicBezTo>
                    <a:cubicBezTo>
                      <a:pt x="217" y="250"/>
                      <a:pt x="217" y="250"/>
                      <a:pt x="217" y="250"/>
                    </a:cubicBezTo>
                    <a:cubicBezTo>
                      <a:pt x="217" y="250"/>
                      <a:pt x="250" y="284"/>
                      <a:pt x="259" y="294"/>
                    </a:cubicBezTo>
                    <a:cubicBezTo>
                      <a:pt x="268" y="304"/>
                      <a:pt x="276" y="313"/>
                      <a:pt x="276" y="313"/>
                    </a:cubicBezTo>
                    <a:cubicBezTo>
                      <a:pt x="303" y="314"/>
                      <a:pt x="303" y="314"/>
                      <a:pt x="303" y="314"/>
                    </a:cubicBezTo>
                    <a:cubicBezTo>
                      <a:pt x="303" y="314"/>
                      <a:pt x="310" y="329"/>
                      <a:pt x="325" y="334"/>
                    </a:cubicBezTo>
                    <a:cubicBezTo>
                      <a:pt x="340" y="339"/>
                      <a:pt x="359" y="335"/>
                      <a:pt x="362" y="342"/>
                    </a:cubicBezTo>
                    <a:cubicBezTo>
                      <a:pt x="365" y="349"/>
                      <a:pt x="366" y="372"/>
                      <a:pt x="379" y="375"/>
                    </a:cubicBezTo>
                    <a:cubicBezTo>
                      <a:pt x="392" y="378"/>
                      <a:pt x="397" y="373"/>
                      <a:pt x="397" y="373"/>
                    </a:cubicBezTo>
                    <a:cubicBezTo>
                      <a:pt x="397" y="373"/>
                      <a:pt x="400" y="392"/>
                      <a:pt x="402" y="406"/>
                    </a:cubicBezTo>
                    <a:cubicBezTo>
                      <a:pt x="404" y="420"/>
                      <a:pt x="417" y="419"/>
                      <a:pt x="417" y="429"/>
                    </a:cubicBezTo>
                    <a:cubicBezTo>
                      <a:pt x="417" y="439"/>
                      <a:pt x="418" y="446"/>
                      <a:pt x="418" y="446"/>
                    </a:cubicBezTo>
                    <a:cubicBezTo>
                      <a:pt x="405" y="445"/>
                      <a:pt x="405" y="445"/>
                      <a:pt x="405" y="445"/>
                    </a:cubicBezTo>
                    <a:cubicBezTo>
                      <a:pt x="404" y="460"/>
                      <a:pt x="404" y="460"/>
                      <a:pt x="404" y="460"/>
                    </a:cubicBezTo>
                    <a:cubicBezTo>
                      <a:pt x="404" y="460"/>
                      <a:pt x="384" y="489"/>
                      <a:pt x="395" y="489"/>
                    </a:cubicBezTo>
                    <a:cubicBezTo>
                      <a:pt x="406" y="489"/>
                      <a:pt x="414" y="483"/>
                      <a:pt x="414" y="483"/>
                    </a:cubicBezTo>
                    <a:cubicBezTo>
                      <a:pt x="422" y="468"/>
                      <a:pt x="422" y="468"/>
                      <a:pt x="422" y="468"/>
                    </a:cubicBezTo>
                    <a:cubicBezTo>
                      <a:pt x="435" y="466"/>
                      <a:pt x="435" y="466"/>
                      <a:pt x="435" y="466"/>
                    </a:cubicBezTo>
                    <a:cubicBezTo>
                      <a:pt x="435" y="466"/>
                      <a:pt x="432" y="444"/>
                      <a:pt x="436" y="441"/>
                    </a:cubicBezTo>
                    <a:cubicBezTo>
                      <a:pt x="440" y="438"/>
                      <a:pt x="461" y="432"/>
                      <a:pt x="461" y="432"/>
                    </a:cubicBezTo>
                    <a:cubicBezTo>
                      <a:pt x="461" y="432"/>
                      <a:pt x="456" y="412"/>
                      <a:pt x="452" y="408"/>
                    </a:cubicBezTo>
                    <a:cubicBezTo>
                      <a:pt x="448" y="404"/>
                      <a:pt x="430" y="399"/>
                      <a:pt x="431" y="392"/>
                    </a:cubicBezTo>
                    <a:cubicBezTo>
                      <a:pt x="432" y="385"/>
                      <a:pt x="445" y="351"/>
                      <a:pt x="453" y="354"/>
                    </a:cubicBezTo>
                    <a:cubicBezTo>
                      <a:pt x="461" y="357"/>
                      <a:pt x="468" y="361"/>
                      <a:pt x="468" y="361"/>
                    </a:cubicBezTo>
                    <a:cubicBezTo>
                      <a:pt x="488" y="361"/>
                      <a:pt x="488" y="361"/>
                      <a:pt x="488" y="361"/>
                    </a:cubicBezTo>
                    <a:cubicBezTo>
                      <a:pt x="488" y="361"/>
                      <a:pt x="491" y="384"/>
                      <a:pt x="505" y="385"/>
                    </a:cubicBezTo>
                    <a:cubicBezTo>
                      <a:pt x="519" y="386"/>
                      <a:pt x="523" y="372"/>
                      <a:pt x="515" y="36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3" name="MCShape 75">
                <a:extLst>
                  <a:ext uri="{FF2B5EF4-FFF2-40B4-BE49-F238E27FC236}">
                    <a16:creationId xmlns:a16="http://schemas.microsoft.com/office/drawing/2014/main" id="{70C190B5-62C1-4932-918B-3CD7E55BB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6273" y="2599892"/>
                <a:ext cx="165502" cy="77337"/>
              </a:xfrm>
              <a:custGeom>
                <a:avLst/>
                <a:gdLst>
                  <a:gd name="T0" fmla="*/ 268 w 280"/>
                  <a:gd name="T1" fmla="*/ 67 h 132"/>
                  <a:gd name="T2" fmla="*/ 255 w 280"/>
                  <a:gd name="T3" fmla="*/ 60 h 132"/>
                  <a:gd name="T4" fmla="*/ 240 w 280"/>
                  <a:gd name="T5" fmla="*/ 57 h 132"/>
                  <a:gd name="T6" fmla="*/ 219 w 280"/>
                  <a:gd name="T7" fmla="*/ 42 h 132"/>
                  <a:gd name="T8" fmla="*/ 196 w 280"/>
                  <a:gd name="T9" fmla="*/ 47 h 132"/>
                  <a:gd name="T10" fmla="*/ 177 w 280"/>
                  <a:gd name="T11" fmla="*/ 35 h 132"/>
                  <a:gd name="T12" fmla="*/ 178 w 280"/>
                  <a:gd name="T13" fmla="*/ 28 h 132"/>
                  <a:gd name="T14" fmla="*/ 159 w 280"/>
                  <a:gd name="T15" fmla="*/ 24 h 132"/>
                  <a:gd name="T16" fmla="*/ 132 w 280"/>
                  <a:gd name="T17" fmla="*/ 13 h 132"/>
                  <a:gd name="T18" fmla="*/ 116 w 280"/>
                  <a:gd name="T19" fmla="*/ 2 h 132"/>
                  <a:gd name="T20" fmla="*/ 108 w 280"/>
                  <a:gd name="T21" fmla="*/ 11 h 132"/>
                  <a:gd name="T22" fmla="*/ 87 w 280"/>
                  <a:gd name="T23" fmla="*/ 11 h 132"/>
                  <a:gd name="T24" fmla="*/ 72 w 280"/>
                  <a:gd name="T25" fmla="*/ 19 h 132"/>
                  <a:gd name="T26" fmla="*/ 56 w 280"/>
                  <a:gd name="T27" fmla="*/ 24 h 132"/>
                  <a:gd name="T28" fmla="*/ 38 w 280"/>
                  <a:gd name="T29" fmla="*/ 36 h 132"/>
                  <a:gd name="T30" fmla="*/ 21 w 280"/>
                  <a:gd name="T31" fmla="*/ 36 h 132"/>
                  <a:gd name="T32" fmla="*/ 11 w 280"/>
                  <a:gd name="T33" fmla="*/ 42 h 132"/>
                  <a:gd name="T34" fmla="*/ 5 w 280"/>
                  <a:gd name="T35" fmla="*/ 50 h 132"/>
                  <a:gd name="T36" fmla="*/ 17 w 280"/>
                  <a:gd name="T37" fmla="*/ 60 h 132"/>
                  <a:gd name="T38" fmla="*/ 19 w 280"/>
                  <a:gd name="T39" fmla="*/ 74 h 132"/>
                  <a:gd name="T40" fmla="*/ 27 w 280"/>
                  <a:gd name="T41" fmla="*/ 82 h 132"/>
                  <a:gd name="T42" fmla="*/ 42 w 280"/>
                  <a:gd name="T43" fmla="*/ 90 h 132"/>
                  <a:gd name="T44" fmla="*/ 49 w 280"/>
                  <a:gd name="T45" fmla="*/ 98 h 132"/>
                  <a:gd name="T46" fmla="*/ 65 w 280"/>
                  <a:gd name="T47" fmla="*/ 108 h 132"/>
                  <a:gd name="T48" fmla="*/ 87 w 280"/>
                  <a:gd name="T49" fmla="*/ 131 h 132"/>
                  <a:gd name="T50" fmla="*/ 110 w 280"/>
                  <a:gd name="T51" fmla="*/ 132 h 132"/>
                  <a:gd name="T52" fmla="*/ 115 w 280"/>
                  <a:gd name="T53" fmla="*/ 119 h 132"/>
                  <a:gd name="T54" fmla="*/ 142 w 280"/>
                  <a:gd name="T55" fmla="*/ 112 h 132"/>
                  <a:gd name="T56" fmla="*/ 158 w 280"/>
                  <a:gd name="T57" fmla="*/ 113 h 132"/>
                  <a:gd name="T58" fmla="*/ 173 w 280"/>
                  <a:gd name="T59" fmla="*/ 120 h 132"/>
                  <a:gd name="T60" fmla="*/ 200 w 280"/>
                  <a:gd name="T61" fmla="*/ 123 h 132"/>
                  <a:gd name="T62" fmla="*/ 221 w 280"/>
                  <a:gd name="T63" fmla="*/ 116 h 132"/>
                  <a:gd name="T64" fmla="*/ 255 w 280"/>
                  <a:gd name="T65" fmla="*/ 105 h 132"/>
                  <a:gd name="T66" fmla="*/ 269 w 280"/>
                  <a:gd name="T67" fmla="*/ 86 h 132"/>
                  <a:gd name="T68" fmla="*/ 275 w 280"/>
                  <a:gd name="T69" fmla="*/ 73 h 13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80"/>
                  <a:gd name="T106" fmla="*/ 0 h 132"/>
                  <a:gd name="T107" fmla="*/ 280 w 280"/>
                  <a:gd name="T108" fmla="*/ 132 h 13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80" h="132">
                    <a:moveTo>
                      <a:pt x="275" y="73"/>
                    </a:moveTo>
                    <a:cubicBezTo>
                      <a:pt x="268" y="67"/>
                      <a:pt x="268" y="67"/>
                      <a:pt x="268" y="67"/>
                    </a:cubicBezTo>
                    <a:cubicBezTo>
                      <a:pt x="269" y="62"/>
                      <a:pt x="269" y="62"/>
                      <a:pt x="269" y="62"/>
                    </a:cubicBezTo>
                    <a:cubicBezTo>
                      <a:pt x="269" y="62"/>
                      <a:pt x="259" y="60"/>
                      <a:pt x="255" y="60"/>
                    </a:cubicBezTo>
                    <a:cubicBezTo>
                      <a:pt x="251" y="60"/>
                      <a:pt x="247" y="51"/>
                      <a:pt x="247" y="51"/>
                    </a:cubicBezTo>
                    <a:cubicBezTo>
                      <a:pt x="240" y="57"/>
                      <a:pt x="240" y="57"/>
                      <a:pt x="240" y="57"/>
                    </a:cubicBezTo>
                    <a:cubicBezTo>
                      <a:pt x="240" y="57"/>
                      <a:pt x="235" y="44"/>
                      <a:pt x="227" y="43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19" y="42"/>
                      <a:pt x="224" y="35"/>
                      <a:pt x="211" y="39"/>
                    </a:cubicBezTo>
                    <a:cubicBezTo>
                      <a:pt x="198" y="43"/>
                      <a:pt x="196" y="47"/>
                      <a:pt x="196" y="47"/>
                    </a:cubicBezTo>
                    <a:cubicBezTo>
                      <a:pt x="196" y="47"/>
                      <a:pt x="185" y="45"/>
                      <a:pt x="181" y="43"/>
                    </a:cubicBezTo>
                    <a:cubicBezTo>
                      <a:pt x="177" y="41"/>
                      <a:pt x="177" y="35"/>
                      <a:pt x="177" y="35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8" y="28"/>
                      <a:pt x="178" y="28"/>
                      <a:pt x="178" y="28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75" y="23"/>
                      <a:pt x="162" y="24"/>
                      <a:pt x="159" y="24"/>
                    </a:cubicBezTo>
                    <a:cubicBezTo>
                      <a:pt x="156" y="24"/>
                      <a:pt x="158" y="18"/>
                      <a:pt x="146" y="14"/>
                    </a:cubicBezTo>
                    <a:cubicBezTo>
                      <a:pt x="134" y="10"/>
                      <a:pt x="132" y="13"/>
                      <a:pt x="132" y="13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4" y="6"/>
                      <a:pt x="111" y="11"/>
                      <a:pt x="108" y="11"/>
                    </a:cubicBezTo>
                    <a:cubicBezTo>
                      <a:pt x="103" y="12"/>
                      <a:pt x="98" y="0"/>
                      <a:pt x="96" y="1"/>
                    </a:cubicBezTo>
                    <a:cubicBezTo>
                      <a:pt x="94" y="2"/>
                      <a:pt x="89" y="8"/>
                      <a:pt x="87" y="11"/>
                    </a:cubicBezTo>
                    <a:cubicBezTo>
                      <a:pt x="84" y="14"/>
                      <a:pt x="73" y="13"/>
                      <a:pt x="73" y="13"/>
                    </a:cubicBezTo>
                    <a:cubicBezTo>
                      <a:pt x="73" y="13"/>
                      <a:pt x="75" y="18"/>
                      <a:pt x="72" y="19"/>
                    </a:cubicBezTo>
                    <a:cubicBezTo>
                      <a:pt x="69" y="20"/>
                      <a:pt x="58" y="20"/>
                      <a:pt x="58" y="20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40" y="32"/>
                      <a:pt x="31" y="30"/>
                    </a:cubicBezTo>
                    <a:cubicBezTo>
                      <a:pt x="23" y="28"/>
                      <a:pt x="21" y="36"/>
                      <a:pt x="21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5" y="41"/>
                      <a:pt x="11" y="42"/>
                    </a:cubicBezTo>
                    <a:cubicBezTo>
                      <a:pt x="7" y="42"/>
                      <a:pt x="7" y="36"/>
                      <a:pt x="3" y="38"/>
                    </a:cubicBezTo>
                    <a:cubicBezTo>
                      <a:pt x="0" y="41"/>
                      <a:pt x="5" y="50"/>
                      <a:pt x="5" y="50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9" y="64"/>
                      <a:pt x="10" y="66"/>
                    </a:cubicBezTo>
                    <a:cubicBezTo>
                      <a:pt x="11" y="68"/>
                      <a:pt x="19" y="74"/>
                      <a:pt x="19" y="74"/>
                    </a:cubicBezTo>
                    <a:cubicBezTo>
                      <a:pt x="21" y="80"/>
                      <a:pt x="21" y="80"/>
                      <a:pt x="21" y="80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27" y="82"/>
                      <a:pt x="21" y="87"/>
                      <a:pt x="29" y="88"/>
                    </a:cubicBezTo>
                    <a:cubicBezTo>
                      <a:pt x="36" y="88"/>
                      <a:pt x="42" y="90"/>
                      <a:pt x="42" y="90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5" y="107"/>
                      <a:pt x="60" y="105"/>
                      <a:pt x="65" y="108"/>
                    </a:cubicBezTo>
                    <a:cubicBezTo>
                      <a:pt x="71" y="112"/>
                      <a:pt x="72" y="119"/>
                      <a:pt x="72" y="119"/>
                    </a:cubicBezTo>
                    <a:cubicBezTo>
                      <a:pt x="72" y="119"/>
                      <a:pt x="80" y="131"/>
                      <a:pt x="87" y="131"/>
                    </a:cubicBezTo>
                    <a:cubicBezTo>
                      <a:pt x="95" y="131"/>
                      <a:pt x="101" y="127"/>
                      <a:pt x="101" y="127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5" y="119"/>
                      <a:pt x="115" y="119"/>
                      <a:pt x="115" y="119"/>
                    </a:cubicBezTo>
                    <a:cubicBezTo>
                      <a:pt x="115" y="119"/>
                      <a:pt x="122" y="106"/>
                      <a:pt x="125" y="105"/>
                    </a:cubicBezTo>
                    <a:cubicBezTo>
                      <a:pt x="129" y="104"/>
                      <a:pt x="142" y="112"/>
                      <a:pt x="142" y="112"/>
                    </a:cubicBezTo>
                    <a:cubicBezTo>
                      <a:pt x="151" y="118"/>
                      <a:pt x="151" y="118"/>
                      <a:pt x="151" y="118"/>
                    </a:cubicBezTo>
                    <a:cubicBezTo>
                      <a:pt x="158" y="113"/>
                      <a:pt x="158" y="113"/>
                      <a:pt x="158" y="113"/>
                    </a:cubicBezTo>
                    <a:cubicBezTo>
                      <a:pt x="165" y="121"/>
                      <a:pt x="165" y="121"/>
                      <a:pt x="165" y="121"/>
                    </a:cubicBezTo>
                    <a:cubicBezTo>
                      <a:pt x="173" y="120"/>
                      <a:pt x="173" y="120"/>
                      <a:pt x="173" y="120"/>
                    </a:cubicBezTo>
                    <a:cubicBezTo>
                      <a:pt x="173" y="120"/>
                      <a:pt x="177" y="113"/>
                      <a:pt x="184" y="115"/>
                    </a:cubicBezTo>
                    <a:cubicBezTo>
                      <a:pt x="192" y="118"/>
                      <a:pt x="200" y="123"/>
                      <a:pt x="200" y="123"/>
                    </a:cubicBezTo>
                    <a:cubicBezTo>
                      <a:pt x="200" y="123"/>
                      <a:pt x="205" y="119"/>
                      <a:pt x="209" y="118"/>
                    </a:cubicBezTo>
                    <a:cubicBezTo>
                      <a:pt x="212" y="117"/>
                      <a:pt x="218" y="117"/>
                      <a:pt x="221" y="116"/>
                    </a:cubicBezTo>
                    <a:cubicBezTo>
                      <a:pt x="222" y="118"/>
                      <a:pt x="228" y="120"/>
                      <a:pt x="233" y="117"/>
                    </a:cubicBezTo>
                    <a:cubicBezTo>
                      <a:pt x="240" y="112"/>
                      <a:pt x="255" y="105"/>
                      <a:pt x="255" y="105"/>
                    </a:cubicBezTo>
                    <a:cubicBezTo>
                      <a:pt x="255" y="92"/>
                      <a:pt x="255" y="92"/>
                      <a:pt x="255" y="92"/>
                    </a:cubicBezTo>
                    <a:cubicBezTo>
                      <a:pt x="269" y="86"/>
                      <a:pt x="269" y="86"/>
                      <a:pt x="269" y="86"/>
                    </a:cubicBezTo>
                    <a:cubicBezTo>
                      <a:pt x="280" y="79"/>
                      <a:pt x="280" y="79"/>
                      <a:pt x="280" y="79"/>
                    </a:cubicBezTo>
                    <a:cubicBezTo>
                      <a:pt x="277" y="76"/>
                      <a:pt x="275" y="73"/>
                      <a:pt x="275" y="7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4" name="MCShape 76">
                <a:extLst>
                  <a:ext uri="{FF2B5EF4-FFF2-40B4-BE49-F238E27FC236}">
                    <a16:creationId xmlns:a16="http://schemas.microsoft.com/office/drawing/2014/main" id="{67EEE0A9-946B-42A7-9641-3ED332502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4222" y="2486981"/>
                <a:ext cx="245931" cy="176328"/>
              </a:xfrm>
              <a:custGeom>
                <a:avLst/>
                <a:gdLst>
                  <a:gd name="T0" fmla="*/ 312 w 419"/>
                  <a:gd name="T1" fmla="*/ 276 h 301"/>
                  <a:gd name="T2" fmla="*/ 351 w 419"/>
                  <a:gd name="T3" fmla="*/ 293 h 301"/>
                  <a:gd name="T4" fmla="*/ 371 w 419"/>
                  <a:gd name="T5" fmla="*/ 301 h 301"/>
                  <a:gd name="T6" fmla="*/ 364 w 419"/>
                  <a:gd name="T7" fmla="*/ 265 h 301"/>
                  <a:gd name="T8" fmla="*/ 417 w 419"/>
                  <a:gd name="T9" fmla="*/ 224 h 301"/>
                  <a:gd name="T10" fmla="*/ 416 w 419"/>
                  <a:gd name="T11" fmla="*/ 203 h 301"/>
                  <a:gd name="T12" fmla="*/ 390 w 419"/>
                  <a:gd name="T13" fmla="*/ 180 h 301"/>
                  <a:gd name="T14" fmla="*/ 389 w 419"/>
                  <a:gd name="T15" fmla="*/ 167 h 301"/>
                  <a:gd name="T16" fmla="*/ 387 w 419"/>
                  <a:gd name="T17" fmla="*/ 140 h 301"/>
                  <a:gd name="T18" fmla="*/ 379 w 419"/>
                  <a:gd name="T19" fmla="*/ 123 h 301"/>
                  <a:gd name="T20" fmla="*/ 394 w 419"/>
                  <a:gd name="T21" fmla="*/ 106 h 301"/>
                  <a:gd name="T22" fmla="*/ 392 w 419"/>
                  <a:gd name="T23" fmla="*/ 78 h 301"/>
                  <a:gd name="T24" fmla="*/ 373 w 419"/>
                  <a:gd name="T25" fmla="*/ 46 h 301"/>
                  <a:gd name="T26" fmla="*/ 344 w 419"/>
                  <a:gd name="T27" fmla="*/ 22 h 301"/>
                  <a:gd name="T28" fmla="*/ 313 w 419"/>
                  <a:gd name="T29" fmla="*/ 26 h 301"/>
                  <a:gd name="T30" fmla="*/ 257 w 419"/>
                  <a:gd name="T31" fmla="*/ 20 h 301"/>
                  <a:gd name="T32" fmla="*/ 231 w 419"/>
                  <a:gd name="T33" fmla="*/ 18 h 301"/>
                  <a:gd name="T34" fmla="*/ 189 w 419"/>
                  <a:gd name="T35" fmla="*/ 22 h 301"/>
                  <a:gd name="T36" fmla="*/ 149 w 419"/>
                  <a:gd name="T37" fmla="*/ 0 h 301"/>
                  <a:gd name="T38" fmla="*/ 81 w 419"/>
                  <a:gd name="T39" fmla="*/ 28 h 301"/>
                  <a:gd name="T40" fmla="*/ 12 w 419"/>
                  <a:gd name="T41" fmla="*/ 48 h 301"/>
                  <a:gd name="T42" fmla="*/ 7 w 419"/>
                  <a:gd name="T43" fmla="*/ 58 h 301"/>
                  <a:gd name="T44" fmla="*/ 14 w 419"/>
                  <a:gd name="T45" fmla="*/ 75 h 301"/>
                  <a:gd name="T46" fmla="*/ 3 w 419"/>
                  <a:gd name="T47" fmla="*/ 102 h 301"/>
                  <a:gd name="T48" fmla="*/ 14 w 419"/>
                  <a:gd name="T49" fmla="*/ 111 h 301"/>
                  <a:gd name="T50" fmla="*/ 24 w 419"/>
                  <a:gd name="T51" fmla="*/ 122 h 301"/>
                  <a:gd name="T52" fmla="*/ 25 w 419"/>
                  <a:gd name="T53" fmla="*/ 132 h 301"/>
                  <a:gd name="T54" fmla="*/ 29 w 419"/>
                  <a:gd name="T55" fmla="*/ 142 h 301"/>
                  <a:gd name="T56" fmla="*/ 30 w 419"/>
                  <a:gd name="T57" fmla="*/ 161 h 301"/>
                  <a:gd name="T58" fmla="*/ 38 w 419"/>
                  <a:gd name="T59" fmla="*/ 173 h 301"/>
                  <a:gd name="T60" fmla="*/ 41 w 419"/>
                  <a:gd name="T61" fmla="*/ 187 h 301"/>
                  <a:gd name="T62" fmla="*/ 50 w 419"/>
                  <a:gd name="T63" fmla="*/ 197 h 301"/>
                  <a:gd name="T64" fmla="*/ 67 w 419"/>
                  <a:gd name="T65" fmla="*/ 207 h 301"/>
                  <a:gd name="T66" fmla="*/ 96 w 419"/>
                  <a:gd name="T67" fmla="*/ 216 h 301"/>
                  <a:gd name="T68" fmla="*/ 92 w 419"/>
                  <a:gd name="T69" fmla="*/ 225 h 301"/>
                  <a:gd name="T70" fmla="*/ 102 w 419"/>
                  <a:gd name="T71" fmla="*/ 236 h 301"/>
                  <a:gd name="T72" fmla="*/ 132 w 419"/>
                  <a:gd name="T73" fmla="*/ 232 h 301"/>
                  <a:gd name="T74" fmla="*/ 148 w 419"/>
                  <a:gd name="T75" fmla="*/ 236 h 301"/>
                  <a:gd name="T76" fmla="*/ 168 w 419"/>
                  <a:gd name="T77" fmla="*/ 244 h 301"/>
                  <a:gd name="T78" fmla="*/ 190 w 419"/>
                  <a:gd name="T79" fmla="*/ 255 h 301"/>
                  <a:gd name="T80" fmla="*/ 196 w 419"/>
                  <a:gd name="T81" fmla="*/ 266 h 301"/>
                  <a:gd name="T82" fmla="*/ 229 w 419"/>
                  <a:gd name="T83" fmla="*/ 272 h 301"/>
                  <a:gd name="T84" fmla="*/ 244 w 419"/>
                  <a:gd name="T85" fmla="*/ 281 h 301"/>
                  <a:gd name="T86" fmla="*/ 258 w 419"/>
                  <a:gd name="T87" fmla="*/ 279 h 301"/>
                  <a:gd name="T88" fmla="*/ 288 w 419"/>
                  <a:gd name="T89" fmla="*/ 284 h 30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19"/>
                  <a:gd name="T136" fmla="*/ 0 h 301"/>
                  <a:gd name="T137" fmla="*/ 419 w 419"/>
                  <a:gd name="T138" fmla="*/ 301 h 30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19" h="301">
                    <a:moveTo>
                      <a:pt x="288" y="284"/>
                    </a:moveTo>
                    <a:cubicBezTo>
                      <a:pt x="293" y="284"/>
                      <a:pt x="298" y="276"/>
                      <a:pt x="312" y="276"/>
                    </a:cubicBezTo>
                    <a:cubicBezTo>
                      <a:pt x="326" y="276"/>
                      <a:pt x="325" y="283"/>
                      <a:pt x="332" y="289"/>
                    </a:cubicBezTo>
                    <a:cubicBezTo>
                      <a:pt x="339" y="295"/>
                      <a:pt x="345" y="293"/>
                      <a:pt x="351" y="293"/>
                    </a:cubicBezTo>
                    <a:cubicBezTo>
                      <a:pt x="357" y="293"/>
                      <a:pt x="355" y="300"/>
                      <a:pt x="355" y="300"/>
                    </a:cubicBezTo>
                    <a:cubicBezTo>
                      <a:pt x="371" y="301"/>
                      <a:pt x="371" y="301"/>
                      <a:pt x="371" y="301"/>
                    </a:cubicBezTo>
                    <a:cubicBezTo>
                      <a:pt x="371" y="301"/>
                      <a:pt x="362" y="295"/>
                      <a:pt x="363" y="285"/>
                    </a:cubicBezTo>
                    <a:cubicBezTo>
                      <a:pt x="364" y="275"/>
                      <a:pt x="364" y="265"/>
                      <a:pt x="364" y="265"/>
                    </a:cubicBezTo>
                    <a:cubicBezTo>
                      <a:pt x="399" y="230"/>
                      <a:pt x="399" y="230"/>
                      <a:pt x="399" y="230"/>
                    </a:cubicBezTo>
                    <a:cubicBezTo>
                      <a:pt x="399" y="230"/>
                      <a:pt x="419" y="229"/>
                      <a:pt x="417" y="224"/>
                    </a:cubicBezTo>
                    <a:cubicBezTo>
                      <a:pt x="415" y="219"/>
                      <a:pt x="409" y="211"/>
                      <a:pt x="409" y="211"/>
                    </a:cubicBezTo>
                    <a:cubicBezTo>
                      <a:pt x="416" y="203"/>
                      <a:pt x="416" y="203"/>
                      <a:pt x="416" y="203"/>
                    </a:cubicBezTo>
                    <a:cubicBezTo>
                      <a:pt x="416" y="203"/>
                      <a:pt x="404" y="200"/>
                      <a:pt x="401" y="191"/>
                    </a:cubicBezTo>
                    <a:cubicBezTo>
                      <a:pt x="398" y="182"/>
                      <a:pt x="390" y="180"/>
                      <a:pt x="390" y="180"/>
                    </a:cubicBezTo>
                    <a:cubicBezTo>
                      <a:pt x="388" y="167"/>
                      <a:pt x="388" y="167"/>
                      <a:pt x="388" y="167"/>
                    </a:cubicBezTo>
                    <a:cubicBezTo>
                      <a:pt x="388" y="167"/>
                      <a:pt x="388" y="167"/>
                      <a:pt x="389" y="167"/>
                    </a:cubicBezTo>
                    <a:cubicBezTo>
                      <a:pt x="386" y="158"/>
                      <a:pt x="386" y="158"/>
                      <a:pt x="386" y="158"/>
                    </a:cubicBezTo>
                    <a:cubicBezTo>
                      <a:pt x="386" y="158"/>
                      <a:pt x="389" y="144"/>
                      <a:pt x="387" y="140"/>
                    </a:cubicBezTo>
                    <a:cubicBezTo>
                      <a:pt x="385" y="136"/>
                      <a:pt x="371" y="133"/>
                      <a:pt x="369" y="127"/>
                    </a:cubicBezTo>
                    <a:cubicBezTo>
                      <a:pt x="367" y="121"/>
                      <a:pt x="376" y="123"/>
                      <a:pt x="379" y="123"/>
                    </a:cubicBezTo>
                    <a:cubicBezTo>
                      <a:pt x="382" y="123"/>
                      <a:pt x="380" y="111"/>
                      <a:pt x="380" y="111"/>
                    </a:cubicBezTo>
                    <a:cubicBezTo>
                      <a:pt x="394" y="106"/>
                      <a:pt x="394" y="106"/>
                      <a:pt x="394" y="106"/>
                    </a:cubicBezTo>
                    <a:cubicBezTo>
                      <a:pt x="394" y="106"/>
                      <a:pt x="396" y="98"/>
                      <a:pt x="398" y="94"/>
                    </a:cubicBezTo>
                    <a:cubicBezTo>
                      <a:pt x="400" y="90"/>
                      <a:pt x="392" y="78"/>
                      <a:pt x="392" y="78"/>
                    </a:cubicBezTo>
                    <a:cubicBezTo>
                      <a:pt x="392" y="78"/>
                      <a:pt x="381" y="69"/>
                      <a:pt x="381" y="64"/>
                    </a:cubicBezTo>
                    <a:cubicBezTo>
                      <a:pt x="381" y="59"/>
                      <a:pt x="373" y="46"/>
                      <a:pt x="373" y="46"/>
                    </a:cubicBezTo>
                    <a:cubicBezTo>
                      <a:pt x="373" y="33"/>
                      <a:pt x="373" y="33"/>
                      <a:pt x="373" y="33"/>
                    </a:cubicBezTo>
                    <a:cubicBezTo>
                      <a:pt x="373" y="33"/>
                      <a:pt x="357" y="24"/>
                      <a:pt x="344" y="22"/>
                    </a:cubicBezTo>
                    <a:cubicBezTo>
                      <a:pt x="331" y="20"/>
                      <a:pt x="336" y="27"/>
                      <a:pt x="336" y="27"/>
                    </a:cubicBezTo>
                    <a:cubicBezTo>
                      <a:pt x="336" y="27"/>
                      <a:pt x="321" y="27"/>
                      <a:pt x="313" y="26"/>
                    </a:cubicBezTo>
                    <a:cubicBezTo>
                      <a:pt x="305" y="25"/>
                      <a:pt x="274" y="27"/>
                      <a:pt x="274" y="27"/>
                    </a:cubicBezTo>
                    <a:cubicBezTo>
                      <a:pt x="274" y="27"/>
                      <a:pt x="266" y="22"/>
                      <a:pt x="257" y="20"/>
                    </a:cubicBezTo>
                    <a:cubicBezTo>
                      <a:pt x="248" y="18"/>
                      <a:pt x="236" y="23"/>
                      <a:pt x="236" y="23"/>
                    </a:cubicBezTo>
                    <a:cubicBezTo>
                      <a:pt x="231" y="18"/>
                      <a:pt x="231" y="18"/>
                      <a:pt x="231" y="18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1" y="19"/>
                      <a:pt x="195" y="23"/>
                      <a:pt x="189" y="22"/>
                    </a:cubicBezTo>
                    <a:cubicBezTo>
                      <a:pt x="183" y="21"/>
                      <a:pt x="178" y="4"/>
                      <a:pt x="178" y="4"/>
                    </a:cubicBezTo>
                    <a:cubicBezTo>
                      <a:pt x="178" y="4"/>
                      <a:pt x="164" y="0"/>
                      <a:pt x="149" y="0"/>
                    </a:cubicBezTo>
                    <a:cubicBezTo>
                      <a:pt x="134" y="0"/>
                      <a:pt x="94" y="17"/>
                      <a:pt x="94" y="17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33"/>
                      <a:pt x="10" y="44"/>
                      <a:pt x="12" y="48"/>
                    </a:cubicBezTo>
                    <a:cubicBezTo>
                      <a:pt x="14" y="52"/>
                      <a:pt x="14" y="62"/>
                      <a:pt x="14" y="62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8" y="61"/>
                      <a:pt x="9" y="65"/>
                      <a:pt x="8" y="68"/>
                    </a:cubicBezTo>
                    <a:cubicBezTo>
                      <a:pt x="6" y="74"/>
                      <a:pt x="11" y="66"/>
                      <a:pt x="14" y="75"/>
                    </a:cubicBezTo>
                    <a:cubicBezTo>
                      <a:pt x="16" y="83"/>
                      <a:pt x="18" y="85"/>
                      <a:pt x="12" y="89"/>
                    </a:cubicBezTo>
                    <a:cubicBezTo>
                      <a:pt x="6" y="94"/>
                      <a:pt x="0" y="95"/>
                      <a:pt x="3" y="102"/>
                    </a:cubicBezTo>
                    <a:cubicBezTo>
                      <a:pt x="6" y="109"/>
                      <a:pt x="10" y="105"/>
                      <a:pt x="10" y="105"/>
                    </a:cubicBezTo>
                    <a:cubicBezTo>
                      <a:pt x="14" y="111"/>
                      <a:pt x="14" y="111"/>
                      <a:pt x="14" y="111"/>
                    </a:cubicBezTo>
                    <a:cubicBezTo>
                      <a:pt x="14" y="111"/>
                      <a:pt x="18" y="107"/>
                      <a:pt x="21" y="111"/>
                    </a:cubicBezTo>
                    <a:cubicBezTo>
                      <a:pt x="24" y="116"/>
                      <a:pt x="24" y="122"/>
                      <a:pt x="24" y="122"/>
                    </a:cubicBezTo>
                    <a:cubicBezTo>
                      <a:pt x="24" y="122"/>
                      <a:pt x="18" y="125"/>
                      <a:pt x="19" y="128"/>
                    </a:cubicBezTo>
                    <a:cubicBezTo>
                      <a:pt x="20" y="131"/>
                      <a:pt x="25" y="132"/>
                      <a:pt x="25" y="132"/>
                    </a:cubicBezTo>
                    <a:cubicBezTo>
                      <a:pt x="25" y="132"/>
                      <a:pt x="22" y="139"/>
                      <a:pt x="24" y="139"/>
                    </a:cubicBezTo>
                    <a:cubicBezTo>
                      <a:pt x="26" y="140"/>
                      <a:pt x="29" y="142"/>
                      <a:pt x="29" y="142"/>
                    </a:cubicBezTo>
                    <a:cubicBezTo>
                      <a:pt x="29" y="142"/>
                      <a:pt x="20" y="148"/>
                      <a:pt x="20" y="153"/>
                    </a:cubicBezTo>
                    <a:cubicBezTo>
                      <a:pt x="21" y="159"/>
                      <a:pt x="30" y="161"/>
                      <a:pt x="30" y="161"/>
                    </a:cubicBezTo>
                    <a:cubicBezTo>
                      <a:pt x="29" y="173"/>
                      <a:pt x="29" y="173"/>
                      <a:pt x="29" y="173"/>
                    </a:cubicBezTo>
                    <a:cubicBezTo>
                      <a:pt x="29" y="173"/>
                      <a:pt x="37" y="167"/>
                      <a:pt x="38" y="173"/>
                    </a:cubicBezTo>
                    <a:cubicBezTo>
                      <a:pt x="40" y="178"/>
                      <a:pt x="36" y="183"/>
                      <a:pt x="36" y="183"/>
                    </a:cubicBezTo>
                    <a:cubicBezTo>
                      <a:pt x="36" y="183"/>
                      <a:pt x="42" y="184"/>
                      <a:pt x="41" y="187"/>
                    </a:cubicBezTo>
                    <a:cubicBezTo>
                      <a:pt x="40" y="189"/>
                      <a:pt x="39" y="192"/>
                      <a:pt x="37" y="195"/>
                    </a:cubicBezTo>
                    <a:cubicBezTo>
                      <a:pt x="50" y="197"/>
                      <a:pt x="50" y="197"/>
                      <a:pt x="50" y="197"/>
                    </a:cubicBezTo>
                    <a:cubicBezTo>
                      <a:pt x="53" y="206"/>
                      <a:pt x="53" y="206"/>
                      <a:pt x="53" y="206"/>
                    </a:cubicBezTo>
                    <a:cubicBezTo>
                      <a:pt x="53" y="206"/>
                      <a:pt x="55" y="203"/>
                      <a:pt x="67" y="207"/>
                    </a:cubicBezTo>
                    <a:cubicBezTo>
                      <a:pt x="79" y="211"/>
                      <a:pt x="77" y="217"/>
                      <a:pt x="80" y="217"/>
                    </a:cubicBezTo>
                    <a:cubicBezTo>
                      <a:pt x="83" y="217"/>
                      <a:pt x="96" y="216"/>
                      <a:pt x="96" y="216"/>
                    </a:cubicBezTo>
                    <a:cubicBezTo>
                      <a:pt x="99" y="221"/>
                      <a:pt x="99" y="221"/>
                      <a:pt x="99" y="221"/>
                    </a:cubicBezTo>
                    <a:cubicBezTo>
                      <a:pt x="92" y="225"/>
                      <a:pt x="92" y="225"/>
                      <a:pt x="92" y="225"/>
                    </a:cubicBezTo>
                    <a:cubicBezTo>
                      <a:pt x="98" y="228"/>
                      <a:pt x="98" y="228"/>
                      <a:pt x="98" y="228"/>
                    </a:cubicBezTo>
                    <a:cubicBezTo>
                      <a:pt x="98" y="228"/>
                      <a:pt x="98" y="234"/>
                      <a:pt x="102" y="236"/>
                    </a:cubicBezTo>
                    <a:cubicBezTo>
                      <a:pt x="106" y="238"/>
                      <a:pt x="117" y="240"/>
                      <a:pt x="117" y="240"/>
                    </a:cubicBezTo>
                    <a:cubicBezTo>
                      <a:pt x="117" y="240"/>
                      <a:pt x="119" y="236"/>
                      <a:pt x="132" y="232"/>
                    </a:cubicBezTo>
                    <a:cubicBezTo>
                      <a:pt x="145" y="228"/>
                      <a:pt x="140" y="235"/>
                      <a:pt x="140" y="235"/>
                    </a:cubicBezTo>
                    <a:cubicBezTo>
                      <a:pt x="140" y="235"/>
                      <a:pt x="140" y="235"/>
                      <a:pt x="148" y="236"/>
                    </a:cubicBezTo>
                    <a:cubicBezTo>
                      <a:pt x="156" y="237"/>
                      <a:pt x="161" y="250"/>
                      <a:pt x="161" y="250"/>
                    </a:cubicBezTo>
                    <a:cubicBezTo>
                      <a:pt x="168" y="244"/>
                      <a:pt x="168" y="244"/>
                      <a:pt x="168" y="244"/>
                    </a:cubicBezTo>
                    <a:cubicBezTo>
                      <a:pt x="168" y="244"/>
                      <a:pt x="172" y="253"/>
                      <a:pt x="176" y="253"/>
                    </a:cubicBezTo>
                    <a:cubicBezTo>
                      <a:pt x="180" y="253"/>
                      <a:pt x="190" y="255"/>
                      <a:pt x="190" y="255"/>
                    </a:cubicBezTo>
                    <a:cubicBezTo>
                      <a:pt x="189" y="260"/>
                      <a:pt x="189" y="260"/>
                      <a:pt x="189" y="260"/>
                    </a:cubicBezTo>
                    <a:cubicBezTo>
                      <a:pt x="196" y="266"/>
                      <a:pt x="196" y="266"/>
                      <a:pt x="196" y="266"/>
                    </a:cubicBezTo>
                    <a:cubicBezTo>
                      <a:pt x="196" y="266"/>
                      <a:pt x="206" y="278"/>
                      <a:pt x="209" y="278"/>
                    </a:cubicBezTo>
                    <a:cubicBezTo>
                      <a:pt x="212" y="278"/>
                      <a:pt x="222" y="270"/>
                      <a:pt x="229" y="272"/>
                    </a:cubicBezTo>
                    <a:cubicBezTo>
                      <a:pt x="236" y="274"/>
                      <a:pt x="237" y="281"/>
                      <a:pt x="237" y="281"/>
                    </a:cubicBezTo>
                    <a:cubicBezTo>
                      <a:pt x="244" y="281"/>
                      <a:pt x="244" y="281"/>
                      <a:pt x="244" y="281"/>
                    </a:cubicBezTo>
                    <a:cubicBezTo>
                      <a:pt x="244" y="281"/>
                      <a:pt x="241" y="288"/>
                      <a:pt x="250" y="288"/>
                    </a:cubicBezTo>
                    <a:cubicBezTo>
                      <a:pt x="259" y="288"/>
                      <a:pt x="258" y="279"/>
                      <a:pt x="258" y="279"/>
                    </a:cubicBezTo>
                    <a:cubicBezTo>
                      <a:pt x="277" y="280"/>
                      <a:pt x="277" y="280"/>
                      <a:pt x="277" y="280"/>
                    </a:cubicBezTo>
                    <a:cubicBezTo>
                      <a:pt x="277" y="280"/>
                      <a:pt x="283" y="284"/>
                      <a:pt x="288" y="28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5" name="MCShape 77">
                <a:extLst>
                  <a:ext uri="{FF2B5EF4-FFF2-40B4-BE49-F238E27FC236}">
                    <a16:creationId xmlns:a16="http://schemas.microsoft.com/office/drawing/2014/main" id="{0FA74786-1C85-4F24-9FDF-B810E43DD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599" y="2627734"/>
                <a:ext cx="20108" cy="20108"/>
              </a:xfrm>
              <a:custGeom>
                <a:avLst/>
                <a:gdLst>
                  <a:gd name="T0" fmla="*/ 13 w 36"/>
                  <a:gd name="T1" fmla="*/ 32 h 32"/>
                  <a:gd name="T2" fmla="*/ 19 w 36"/>
                  <a:gd name="T3" fmla="*/ 27 h 32"/>
                  <a:gd name="T4" fmla="*/ 30 w 36"/>
                  <a:gd name="T5" fmla="*/ 29 h 32"/>
                  <a:gd name="T6" fmla="*/ 35 w 36"/>
                  <a:gd name="T7" fmla="*/ 20 h 32"/>
                  <a:gd name="T8" fmla="*/ 20 w 36"/>
                  <a:gd name="T9" fmla="*/ 8 h 32"/>
                  <a:gd name="T10" fmla="*/ 20 w 36"/>
                  <a:gd name="T11" fmla="*/ 0 h 32"/>
                  <a:gd name="T12" fmla="*/ 12 w 36"/>
                  <a:gd name="T13" fmla="*/ 4 h 32"/>
                  <a:gd name="T14" fmla="*/ 2 w 36"/>
                  <a:gd name="T15" fmla="*/ 18 h 32"/>
                  <a:gd name="T16" fmla="*/ 13 w 36"/>
                  <a:gd name="T17" fmla="*/ 32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"/>
                  <a:gd name="T28" fmla="*/ 0 h 32"/>
                  <a:gd name="T29" fmla="*/ 36 w 36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" h="32">
                    <a:moveTo>
                      <a:pt x="13" y="32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6" y="25"/>
                      <a:pt x="35" y="20"/>
                    </a:cubicBezTo>
                    <a:cubicBezTo>
                      <a:pt x="34" y="16"/>
                      <a:pt x="24" y="14"/>
                      <a:pt x="20" y="8"/>
                    </a:cubicBezTo>
                    <a:cubicBezTo>
                      <a:pt x="19" y="6"/>
                      <a:pt x="19" y="3"/>
                      <a:pt x="20" y="0"/>
                    </a:cubicBezTo>
                    <a:cubicBezTo>
                      <a:pt x="19" y="1"/>
                      <a:pt x="16" y="2"/>
                      <a:pt x="12" y="4"/>
                    </a:cubicBezTo>
                    <a:cubicBezTo>
                      <a:pt x="1" y="10"/>
                      <a:pt x="0" y="16"/>
                      <a:pt x="2" y="18"/>
                    </a:cubicBezTo>
                    <a:cubicBezTo>
                      <a:pt x="3" y="20"/>
                      <a:pt x="9" y="27"/>
                      <a:pt x="13" y="3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6" name="MCShape 78">
                <a:extLst>
                  <a:ext uri="{FF2B5EF4-FFF2-40B4-BE49-F238E27FC236}">
                    <a16:creationId xmlns:a16="http://schemas.microsoft.com/office/drawing/2014/main" id="{09A2ECA4-791D-4175-B6AB-716884F7C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5950" y="2661762"/>
                <a:ext cx="182515" cy="81978"/>
              </a:xfrm>
              <a:custGeom>
                <a:avLst/>
                <a:gdLst>
                  <a:gd name="T0" fmla="*/ 307 w 308"/>
                  <a:gd name="T1" fmla="*/ 48 h 138"/>
                  <a:gd name="T2" fmla="*/ 301 w 308"/>
                  <a:gd name="T3" fmla="*/ 33 h 138"/>
                  <a:gd name="T4" fmla="*/ 287 w 308"/>
                  <a:gd name="T5" fmla="*/ 11 h 138"/>
                  <a:gd name="T6" fmla="*/ 268 w 308"/>
                  <a:gd name="T7" fmla="*/ 17 h 138"/>
                  <a:gd name="T8" fmla="*/ 254 w 308"/>
                  <a:gd name="T9" fmla="*/ 14 h 138"/>
                  <a:gd name="T10" fmla="*/ 228 w 308"/>
                  <a:gd name="T11" fmla="*/ 1 h 138"/>
                  <a:gd name="T12" fmla="*/ 214 w 308"/>
                  <a:gd name="T13" fmla="*/ 16 h 138"/>
                  <a:gd name="T14" fmla="*/ 204 w 308"/>
                  <a:gd name="T15" fmla="*/ 23 h 138"/>
                  <a:gd name="T16" fmla="*/ 175 w 308"/>
                  <a:gd name="T17" fmla="*/ 15 h 138"/>
                  <a:gd name="T18" fmla="*/ 156 w 308"/>
                  <a:gd name="T19" fmla="*/ 27 h 138"/>
                  <a:gd name="T20" fmla="*/ 160 w 308"/>
                  <a:gd name="T21" fmla="*/ 45 h 138"/>
                  <a:gd name="T22" fmla="*/ 133 w 308"/>
                  <a:gd name="T23" fmla="*/ 57 h 138"/>
                  <a:gd name="T24" fmla="*/ 141 w 308"/>
                  <a:gd name="T25" fmla="*/ 68 h 138"/>
                  <a:gd name="T26" fmla="*/ 131 w 308"/>
                  <a:gd name="T27" fmla="*/ 77 h 138"/>
                  <a:gd name="T28" fmla="*/ 109 w 308"/>
                  <a:gd name="T29" fmla="*/ 71 h 138"/>
                  <a:gd name="T30" fmla="*/ 84 w 308"/>
                  <a:gd name="T31" fmla="*/ 78 h 138"/>
                  <a:gd name="T32" fmla="*/ 63 w 308"/>
                  <a:gd name="T33" fmla="*/ 88 h 138"/>
                  <a:gd name="T34" fmla="*/ 33 w 308"/>
                  <a:gd name="T35" fmla="*/ 76 h 138"/>
                  <a:gd name="T36" fmla="*/ 26 w 308"/>
                  <a:gd name="T37" fmla="*/ 91 h 138"/>
                  <a:gd name="T38" fmla="*/ 0 w 308"/>
                  <a:gd name="T39" fmla="*/ 84 h 138"/>
                  <a:gd name="T40" fmla="*/ 2 w 308"/>
                  <a:gd name="T41" fmla="*/ 97 h 138"/>
                  <a:gd name="T42" fmla="*/ 11 w 308"/>
                  <a:gd name="T43" fmla="*/ 106 h 138"/>
                  <a:gd name="T44" fmla="*/ 32 w 308"/>
                  <a:gd name="T45" fmla="*/ 106 h 138"/>
                  <a:gd name="T46" fmla="*/ 50 w 308"/>
                  <a:gd name="T47" fmla="*/ 117 h 138"/>
                  <a:gd name="T48" fmla="*/ 66 w 308"/>
                  <a:gd name="T49" fmla="*/ 109 h 138"/>
                  <a:gd name="T50" fmla="*/ 104 w 308"/>
                  <a:gd name="T51" fmla="*/ 103 h 138"/>
                  <a:gd name="T52" fmla="*/ 119 w 308"/>
                  <a:gd name="T53" fmla="*/ 118 h 138"/>
                  <a:gd name="T54" fmla="*/ 136 w 308"/>
                  <a:gd name="T55" fmla="*/ 131 h 138"/>
                  <a:gd name="T56" fmla="*/ 162 w 308"/>
                  <a:gd name="T57" fmla="*/ 136 h 138"/>
                  <a:gd name="T58" fmla="*/ 183 w 308"/>
                  <a:gd name="T59" fmla="*/ 132 h 138"/>
                  <a:gd name="T60" fmla="*/ 207 w 308"/>
                  <a:gd name="T61" fmla="*/ 138 h 138"/>
                  <a:gd name="T62" fmla="*/ 247 w 308"/>
                  <a:gd name="T63" fmla="*/ 130 h 138"/>
                  <a:gd name="T64" fmla="*/ 270 w 308"/>
                  <a:gd name="T65" fmla="*/ 131 h 138"/>
                  <a:gd name="T66" fmla="*/ 277 w 308"/>
                  <a:gd name="T67" fmla="*/ 107 h 138"/>
                  <a:gd name="T68" fmla="*/ 290 w 308"/>
                  <a:gd name="T69" fmla="*/ 91 h 138"/>
                  <a:gd name="T70" fmla="*/ 290 w 308"/>
                  <a:gd name="T71" fmla="*/ 78 h 138"/>
                  <a:gd name="T72" fmla="*/ 306 w 308"/>
                  <a:gd name="T73" fmla="*/ 69 h 13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8"/>
                  <a:gd name="T112" fmla="*/ 0 h 138"/>
                  <a:gd name="T113" fmla="*/ 308 w 308"/>
                  <a:gd name="T114" fmla="*/ 138 h 13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8" h="138">
                    <a:moveTo>
                      <a:pt x="306" y="69"/>
                    </a:moveTo>
                    <a:cubicBezTo>
                      <a:pt x="306" y="69"/>
                      <a:pt x="308" y="55"/>
                      <a:pt x="307" y="48"/>
                    </a:cubicBezTo>
                    <a:cubicBezTo>
                      <a:pt x="306" y="42"/>
                      <a:pt x="300" y="43"/>
                      <a:pt x="300" y="43"/>
                    </a:cubicBezTo>
                    <a:cubicBezTo>
                      <a:pt x="301" y="33"/>
                      <a:pt x="301" y="33"/>
                      <a:pt x="301" y="33"/>
                    </a:cubicBezTo>
                    <a:cubicBezTo>
                      <a:pt x="303" y="19"/>
                      <a:pt x="303" y="19"/>
                      <a:pt x="303" y="19"/>
                    </a:cubicBezTo>
                    <a:cubicBezTo>
                      <a:pt x="303" y="19"/>
                      <a:pt x="295" y="14"/>
                      <a:pt x="287" y="11"/>
                    </a:cubicBezTo>
                    <a:cubicBezTo>
                      <a:pt x="280" y="9"/>
                      <a:pt x="276" y="16"/>
                      <a:pt x="276" y="16"/>
                    </a:cubicBezTo>
                    <a:cubicBezTo>
                      <a:pt x="268" y="17"/>
                      <a:pt x="268" y="17"/>
                      <a:pt x="268" y="17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54" y="14"/>
                      <a:pt x="254" y="14"/>
                      <a:pt x="254" y="14"/>
                    </a:cubicBezTo>
                    <a:cubicBezTo>
                      <a:pt x="245" y="8"/>
                      <a:pt x="245" y="8"/>
                      <a:pt x="245" y="8"/>
                    </a:cubicBezTo>
                    <a:cubicBezTo>
                      <a:pt x="245" y="8"/>
                      <a:pt x="232" y="0"/>
                      <a:pt x="228" y="1"/>
                    </a:cubicBezTo>
                    <a:cubicBezTo>
                      <a:pt x="225" y="2"/>
                      <a:pt x="218" y="15"/>
                      <a:pt x="218" y="15"/>
                    </a:cubicBezTo>
                    <a:cubicBezTo>
                      <a:pt x="214" y="16"/>
                      <a:pt x="214" y="16"/>
                      <a:pt x="214" y="16"/>
                    </a:cubicBezTo>
                    <a:cubicBezTo>
                      <a:pt x="213" y="28"/>
                      <a:pt x="213" y="28"/>
                      <a:pt x="213" y="28"/>
                    </a:cubicBezTo>
                    <a:cubicBezTo>
                      <a:pt x="204" y="23"/>
                      <a:pt x="204" y="23"/>
                      <a:pt x="204" y="23"/>
                    </a:cubicBezTo>
                    <a:cubicBezTo>
                      <a:pt x="204" y="23"/>
                      <a:pt x="198" y="27"/>
                      <a:pt x="190" y="27"/>
                    </a:cubicBezTo>
                    <a:cubicBezTo>
                      <a:pt x="183" y="27"/>
                      <a:pt x="175" y="15"/>
                      <a:pt x="175" y="15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60" y="34"/>
                      <a:pt x="160" y="34"/>
                      <a:pt x="160" y="34"/>
                    </a:cubicBezTo>
                    <a:cubicBezTo>
                      <a:pt x="160" y="45"/>
                      <a:pt x="160" y="45"/>
                      <a:pt x="160" y="45"/>
                    </a:cubicBezTo>
                    <a:cubicBezTo>
                      <a:pt x="160" y="45"/>
                      <a:pt x="147" y="42"/>
                      <a:pt x="142" y="43"/>
                    </a:cubicBezTo>
                    <a:cubicBezTo>
                      <a:pt x="138" y="44"/>
                      <a:pt x="133" y="57"/>
                      <a:pt x="133" y="57"/>
                    </a:cubicBezTo>
                    <a:cubicBezTo>
                      <a:pt x="141" y="59"/>
                      <a:pt x="141" y="59"/>
                      <a:pt x="141" y="59"/>
                    </a:cubicBezTo>
                    <a:cubicBezTo>
                      <a:pt x="141" y="68"/>
                      <a:pt x="141" y="68"/>
                      <a:pt x="141" y="68"/>
                    </a:cubicBezTo>
                    <a:cubicBezTo>
                      <a:pt x="141" y="68"/>
                      <a:pt x="142" y="78"/>
                      <a:pt x="141" y="84"/>
                    </a:cubicBezTo>
                    <a:cubicBezTo>
                      <a:pt x="139" y="91"/>
                      <a:pt x="131" y="77"/>
                      <a:pt x="131" y="77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09" y="71"/>
                      <a:pt x="109" y="71"/>
                      <a:pt x="109" y="71"/>
                    </a:cubicBezTo>
                    <a:cubicBezTo>
                      <a:pt x="98" y="77"/>
                      <a:pt x="98" y="77"/>
                      <a:pt x="98" y="77"/>
                    </a:cubicBezTo>
                    <a:cubicBezTo>
                      <a:pt x="84" y="78"/>
                      <a:pt x="84" y="78"/>
                      <a:pt x="84" y="78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5" y="86"/>
                      <a:pt x="69" y="88"/>
                      <a:pt x="63" y="88"/>
                    </a:cubicBezTo>
                    <a:cubicBezTo>
                      <a:pt x="56" y="88"/>
                      <a:pt x="46" y="77"/>
                      <a:pt x="46" y="77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3" y="85"/>
                      <a:pt x="30" y="90"/>
                      <a:pt x="26" y="91"/>
                    </a:cubicBezTo>
                    <a:cubicBezTo>
                      <a:pt x="22" y="92"/>
                      <a:pt x="21" y="82"/>
                      <a:pt x="12" y="81"/>
                    </a:cubicBezTo>
                    <a:cubicBezTo>
                      <a:pt x="6" y="79"/>
                      <a:pt x="2" y="82"/>
                      <a:pt x="0" y="84"/>
                    </a:cubicBezTo>
                    <a:cubicBezTo>
                      <a:pt x="1" y="86"/>
                      <a:pt x="2" y="89"/>
                      <a:pt x="0" y="91"/>
                    </a:cubicBezTo>
                    <a:cubicBezTo>
                      <a:pt x="1" y="93"/>
                      <a:pt x="2" y="95"/>
                      <a:pt x="2" y="97"/>
                    </a:cubicBezTo>
                    <a:cubicBezTo>
                      <a:pt x="2" y="100"/>
                      <a:pt x="2" y="105"/>
                      <a:pt x="2" y="107"/>
                    </a:cubicBezTo>
                    <a:cubicBezTo>
                      <a:pt x="11" y="106"/>
                      <a:pt x="11" y="106"/>
                      <a:pt x="11" y="106"/>
                    </a:cubicBezTo>
                    <a:cubicBezTo>
                      <a:pt x="11" y="106"/>
                      <a:pt x="8" y="120"/>
                      <a:pt x="16" y="118"/>
                    </a:cubicBezTo>
                    <a:cubicBezTo>
                      <a:pt x="23" y="115"/>
                      <a:pt x="21" y="106"/>
                      <a:pt x="32" y="106"/>
                    </a:cubicBezTo>
                    <a:cubicBezTo>
                      <a:pt x="37" y="107"/>
                      <a:pt x="40" y="113"/>
                      <a:pt x="41" y="117"/>
                    </a:cubicBezTo>
                    <a:cubicBezTo>
                      <a:pt x="50" y="117"/>
                      <a:pt x="50" y="117"/>
                      <a:pt x="50" y="117"/>
                    </a:cubicBezTo>
                    <a:cubicBezTo>
                      <a:pt x="56" y="121"/>
                      <a:pt x="56" y="121"/>
                      <a:pt x="56" y="121"/>
                    </a:cubicBezTo>
                    <a:cubicBezTo>
                      <a:pt x="66" y="109"/>
                      <a:pt x="66" y="109"/>
                      <a:pt x="66" y="109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11"/>
                      <a:pt x="94" y="102"/>
                      <a:pt x="104" y="103"/>
                    </a:cubicBezTo>
                    <a:cubicBezTo>
                      <a:pt x="113" y="104"/>
                      <a:pt x="114" y="118"/>
                      <a:pt x="114" y="118"/>
                    </a:cubicBezTo>
                    <a:cubicBezTo>
                      <a:pt x="119" y="118"/>
                      <a:pt x="119" y="118"/>
                      <a:pt x="119" y="118"/>
                    </a:cubicBezTo>
                    <a:cubicBezTo>
                      <a:pt x="124" y="131"/>
                      <a:pt x="124" y="131"/>
                      <a:pt x="124" y="131"/>
                    </a:cubicBezTo>
                    <a:cubicBezTo>
                      <a:pt x="136" y="131"/>
                      <a:pt x="136" y="131"/>
                      <a:pt x="136" y="131"/>
                    </a:cubicBezTo>
                    <a:cubicBezTo>
                      <a:pt x="136" y="131"/>
                      <a:pt x="159" y="127"/>
                      <a:pt x="162" y="132"/>
                    </a:cubicBezTo>
                    <a:cubicBezTo>
                      <a:pt x="162" y="134"/>
                      <a:pt x="162" y="135"/>
                      <a:pt x="162" y="136"/>
                    </a:cubicBezTo>
                    <a:cubicBezTo>
                      <a:pt x="171" y="136"/>
                      <a:pt x="171" y="136"/>
                      <a:pt x="171" y="136"/>
                    </a:cubicBezTo>
                    <a:cubicBezTo>
                      <a:pt x="171" y="136"/>
                      <a:pt x="180" y="132"/>
                      <a:pt x="183" y="132"/>
                    </a:cubicBezTo>
                    <a:cubicBezTo>
                      <a:pt x="186" y="132"/>
                      <a:pt x="192" y="136"/>
                      <a:pt x="192" y="136"/>
                    </a:cubicBezTo>
                    <a:cubicBezTo>
                      <a:pt x="192" y="136"/>
                      <a:pt x="200" y="138"/>
                      <a:pt x="207" y="138"/>
                    </a:cubicBezTo>
                    <a:cubicBezTo>
                      <a:pt x="214" y="138"/>
                      <a:pt x="214" y="129"/>
                      <a:pt x="214" y="129"/>
                    </a:cubicBezTo>
                    <a:cubicBezTo>
                      <a:pt x="247" y="130"/>
                      <a:pt x="247" y="130"/>
                      <a:pt x="247" y="130"/>
                    </a:cubicBezTo>
                    <a:cubicBezTo>
                      <a:pt x="254" y="126"/>
                      <a:pt x="254" y="126"/>
                      <a:pt x="254" y="126"/>
                    </a:cubicBezTo>
                    <a:cubicBezTo>
                      <a:pt x="270" y="131"/>
                      <a:pt x="270" y="131"/>
                      <a:pt x="270" y="131"/>
                    </a:cubicBezTo>
                    <a:cubicBezTo>
                      <a:pt x="272" y="119"/>
                      <a:pt x="272" y="119"/>
                      <a:pt x="272" y="119"/>
                    </a:cubicBezTo>
                    <a:cubicBezTo>
                      <a:pt x="277" y="107"/>
                      <a:pt x="277" y="107"/>
                      <a:pt x="277" y="107"/>
                    </a:cubicBezTo>
                    <a:cubicBezTo>
                      <a:pt x="290" y="105"/>
                      <a:pt x="290" y="105"/>
                      <a:pt x="290" y="105"/>
                    </a:cubicBezTo>
                    <a:cubicBezTo>
                      <a:pt x="290" y="91"/>
                      <a:pt x="290" y="91"/>
                      <a:pt x="290" y="91"/>
                    </a:cubicBezTo>
                    <a:cubicBezTo>
                      <a:pt x="298" y="79"/>
                      <a:pt x="298" y="79"/>
                      <a:pt x="298" y="79"/>
                    </a:cubicBezTo>
                    <a:cubicBezTo>
                      <a:pt x="290" y="78"/>
                      <a:pt x="290" y="78"/>
                      <a:pt x="290" y="78"/>
                    </a:cubicBezTo>
                    <a:cubicBezTo>
                      <a:pt x="291" y="69"/>
                      <a:pt x="291" y="69"/>
                      <a:pt x="291" y="69"/>
                    </a:cubicBezTo>
                    <a:lnTo>
                      <a:pt x="306" y="6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7" name="MCShape 79">
                <a:extLst>
                  <a:ext uri="{FF2B5EF4-FFF2-40B4-BE49-F238E27FC236}">
                    <a16:creationId xmlns:a16="http://schemas.microsoft.com/office/drawing/2014/main" id="{51DD5089-F675-43F5-8842-B5C9040AB6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635" y="2528742"/>
                <a:ext cx="106726" cy="85072"/>
              </a:xfrm>
              <a:custGeom>
                <a:avLst/>
                <a:gdLst>
                  <a:gd name="T0" fmla="*/ 14 w 182"/>
                  <a:gd name="T1" fmla="*/ 104 h 145"/>
                  <a:gd name="T2" fmla="*/ 0 w 182"/>
                  <a:gd name="T3" fmla="*/ 116 h 145"/>
                  <a:gd name="T4" fmla="*/ 0 w 182"/>
                  <a:gd name="T5" fmla="*/ 116 h 145"/>
                  <a:gd name="T6" fmla="*/ 9 w 182"/>
                  <a:gd name="T7" fmla="*/ 108 h 145"/>
                  <a:gd name="T8" fmla="*/ 10 w 182"/>
                  <a:gd name="T9" fmla="*/ 110 h 145"/>
                  <a:gd name="T10" fmla="*/ 18 w 182"/>
                  <a:gd name="T11" fmla="*/ 108 h 145"/>
                  <a:gd name="T12" fmla="*/ 22 w 182"/>
                  <a:gd name="T13" fmla="*/ 114 h 145"/>
                  <a:gd name="T14" fmla="*/ 34 w 182"/>
                  <a:gd name="T15" fmla="*/ 112 h 145"/>
                  <a:gd name="T16" fmla="*/ 43 w 182"/>
                  <a:gd name="T17" fmla="*/ 117 h 145"/>
                  <a:gd name="T18" fmla="*/ 46 w 182"/>
                  <a:gd name="T19" fmla="*/ 110 h 145"/>
                  <a:gd name="T20" fmla="*/ 56 w 182"/>
                  <a:gd name="T21" fmla="*/ 112 h 145"/>
                  <a:gd name="T22" fmla="*/ 56 w 182"/>
                  <a:gd name="T23" fmla="*/ 106 h 145"/>
                  <a:gd name="T24" fmla="*/ 65 w 182"/>
                  <a:gd name="T25" fmla="*/ 108 h 145"/>
                  <a:gd name="T26" fmla="*/ 71 w 182"/>
                  <a:gd name="T27" fmla="*/ 104 h 145"/>
                  <a:gd name="T28" fmla="*/ 90 w 182"/>
                  <a:gd name="T29" fmla="*/ 104 h 145"/>
                  <a:gd name="T30" fmla="*/ 94 w 182"/>
                  <a:gd name="T31" fmla="*/ 114 h 145"/>
                  <a:gd name="T32" fmla="*/ 108 w 182"/>
                  <a:gd name="T33" fmla="*/ 114 h 145"/>
                  <a:gd name="T34" fmla="*/ 119 w 182"/>
                  <a:gd name="T35" fmla="*/ 121 h 145"/>
                  <a:gd name="T36" fmla="*/ 114 w 182"/>
                  <a:gd name="T37" fmla="*/ 130 h 145"/>
                  <a:gd name="T38" fmla="*/ 112 w 182"/>
                  <a:gd name="T39" fmla="*/ 140 h 145"/>
                  <a:gd name="T40" fmla="*/ 123 w 182"/>
                  <a:gd name="T41" fmla="*/ 140 h 145"/>
                  <a:gd name="T42" fmla="*/ 127 w 182"/>
                  <a:gd name="T43" fmla="*/ 124 h 145"/>
                  <a:gd name="T44" fmla="*/ 123 w 182"/>
                  <a:gd name="T45" fmla="*/ 116 h 145"/>
                  <a:gd name="T46" fmla="*/ 134 w 182"/>
                  <a:gd name="T47" fmla="*/ 106 h 145"/>
                  <a:gd name="T48" fmla="*/ 130 w 182"/>
                  <a:gd name="T49" fmla="*/ 95 h 145"/>
                  <a:gd name="T50" fmla="*/ 124 w 182"/>
                  <a:gd name="T51" fmla="*/ 80 h 145"/>
                  <a:gd name="T52" fmla="*/ 148 w 182"/>
                  <a:gd name="T53" fmla="*/ 85 h 145"/>
                  <a:gd name="T54" fmla="*/ 152 w 182"/>
                  <a:gd name="T55" fmla="*/ 77 h 145"/>
                  <a:gd name="T56" fmla="*/ 158 w 182"/>
                  <a:gd name="T57" fmla="*/ 78 h 145"/>
                  <a:gd name="T58" fmla="*/ 160 w 182"/>
                  <a:gd name="T59" fmla="*/ 67 h 145"/>
                  <a:gd name="T60" fmla="*/ 168 w 182"/>
                  <a:gd name="T61" fmla="*/ 59 h 145"/>
                  <a:gd name="T62" fmla="*/ 153 w 182"/>
                  <a:gd name="T63" fmla="*/ 47 h 145"/>
                  <a:gd name="T64" fmla="*/ 164 w 182"/>
                  <a:gd name="T65" fmla="*/ 40 h 145"/>
                  <a:gd name="T66" fmla="*/ 172 w 182"/>
                  <a:gd name="T67" fmla="*/ 40 h 145"/>
                  <a:gd name="T68" fmla="*/ 170 w 182"/>
                  <a:gd name="T69" fmla="*/ 28 h 145"/>
                  <a:gd name="T70" fmla="*/ 182 w 182"/>
                  <a:gd name="T71" fmla="*/ 20 h 145"/>
                  <a:gd name="T72" fmla="*/ 177 w 182"/>
                  <a:gd name="T73" fmla="*/ 12 h 145"/>
                  <a:gd name="T74" fmla="*/ 180 w 182"/>
                  <a:gd name="T75" fmla="*/ 10 h 145"/>
                  <a:gd name="T76" fmla="*/ 176 w 182"/>
                  <a:gd name="T77" fmla="*/ 7 h 145"/>
                  <a:gd name="T78" fmla="*/ 154 w 182"/>
                  <a:gd name="T79" fmla="*/ 1 h 145"/>
                  <a:gd name="T80" fmla="*/ 125 w 182"/>
                  <a:gd name="T81" fmla="*/ 0 h 145"/>
                  <a:gd name="T82" fmla="*/ 103 w 182"/>
                  <a:gd name="T83" fmla="*/ 10 h 145"/>
                  <a:gd name="T84" fmla="*/ 107 w 182"/>
                  <a:gd name="T85" fmla="*/ 21 h 145"/>
                  <a:gd name="T86" fmla="*/ 111 w 182"/>
                  <a:gd name="T87" fmla="*/ 34 h 145"/>
                  <a:gd name="T88" fmla="*/ 116 w 182"/>
                  <a:gd name="T89" fmla="*/ 40 h 145"/>
                  <a:gd name="T90" fmla="*/ 122 w 182"/>
                  <a:gd name="T91" fmla="*/ 48 h 145"/>
                  <a:gd name="T92" fmla="*/ 104 w 182"/>
                  <a:gd name="T93" fmla="*/ 60 h 145"/>
                  <a:gd name="T94" fmla="*/ 92 w 182"/>
                  <a:gd name="T95" fmla="*/ 52 h 145"/>
                  <a:gd name="T96" fmla="*/ 100 w 182"/>
                  <a:gd name="T97" fmla="*/ 37 h 145"/>
                  <a:gd name="T98" fmla="*/ 102 w 182"/>
                  <a:gd name="T99" fmla="*/ 24 h 145"/>
                  <a:gd name="T100" fmla="*/ 97 w 182"/>
                  <a:gd name="T101" fmla="*/ 16 h 145"/>
                  <a:gd name="T102" fmla="*/ 81 w 182"/>
                  <a:gd name="T103" fmla="*/ 30 h 145"/>
                  <a:gd name="T104" fmla="*/ 64 w 182"/>
                  <a:gd name="T105" fmla="*/ 49 h 145"/>
                  <a:gd name="T106" fmla="*/ 60 w 182"/>
                  <a:gd name="T107" fmla="*/ 69 h 145"/>
                  <a:gd name="T108" fmla="*/ 42 w 182"/>
                  <a:gd name="T109" fmla="*/ 89 h 145"/>
                  <a:gd name="T110" fmla="*/ 48 w 182"/>
                  <a:gd name="T111" fmla="*/ 97 h 145"/>
                  <a:gd name="T112" fmla="*/ 31 w 182"/>
                  <a:gd name="T113" fmla="*/ 98 h 145"/>
                  <a:gd name="T114" fmla="*/ 14 w 182"/>
                  <a:gd name="T115" fmla="*/ 104 h 14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82"/>
                  <a:gd name="T175" fmla="*/ 0 h 145"/>
                  <a:gd name="T176" fmla="*/ 182 w 182"/>
                  <a:gd name="T177" fmla="*/ 145 h 14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82" h="145">
                    <a:moveTo>
                      <a:pt x="14" y="104"/>
                    </a:move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10" y="110"/>
                      <a:pt x="10" y="110"/>
                      <a:pt x="10" y="110"/>
                    </a:cubicBezTo>
                    <a:cubicBezTo>
                      <a:pt x="18" y="108"/>
                      <a:pt x="18" y="108"/>
                      <a:pt x="18" y="108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30" y="113"/>
                      <a:pt x="34" y="112"/>
                    </a:cubicBezTo>
                    <a:cubicBezTo>
                      <a:pt x="39" y="112"/>
                      <a:pt x="43" y="117"/>
                      <a:pt x="43" y="117"/>
                    </a:cubicBezTo>
                    <a:cubicBezTo>
                      <a:pt x="46" y="110"/>
                      <a:pt x="46" y="110"/>
                      <a:pt x="46" y="110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65" y="108"/>
                      <a:pt x="66" y="105"/>
                      <a:pt x="71" y="104"/>
                    </a:cubicBezTo>
                    <a:cubicBezTo>
                      <a:pt x="76" y="102"/>
                      <a:pt x="90" y="104"/>
                      <a:pt x="90" y="104"/>
                    </a:cubicBezTo>
                    <a:cubicBezTo>
                      <a:pt x="90" y="104"/>
                      <a:pt x="91" y="110"/>
                      <a:pt x="94" y="114"/>
                    </a:cubicBezTo>
                    <a:cubicBezTo>
                      <a:pt x="96" y="118"/>
                      <a:pt x="108" y="114"/>
                      <a:pt x="108" y="114"/>
                    </a:cubicBezTo>
                    <a:cubicBezTo>
                      <a:pt x="108" y="114"/>
                      <a:pt x="118" y="112"/>
                      <a:pt x="119" y="121"/>
                    </a:cubicBezTo>
                    <a:cubicBezTo>
                      <a:pt x="120" y="130"/>
                      <a:pt x="114" y="130"/>
                      <a:pt x="114" y="130"/>
                    </a:cubicBezTo>
                    <a:cubicBezTo>
                      <a:pt x="114" y="130"/>
                      <a:pt x="110" y="134"/>
                      <a:pt x="112" y="140"/>
                    </a:cubicBezTo>
                    <a:cubicBezTo>
                      <a:pt x="114" y="145"/>
                      <a:pt x="123" y="140"/>
                      <a:pt x="123" y="140"/>
                    </a:cubicBezTo>
                    <a:cubicBezTo>
                      <a:pt x="123" y="140"/>
                      <a:pt x="126" y="126"/>
                      <a:pt x="127" y="124"/>
                    </a:cubicBezTo>
                    <a:cubicBezTo>
                      <a:pt x="128" y="122"/>
                      <a:pt x="123" y="116"/>
                      <a:pt x="123" y="116"/>
                    </a:cubicBezTo>
                    <a:cubicBezTo>
                      <a:pt x="123" y="116"/>
                      <a:pt x="134" y="110"/>
                      <a:pt x="134" y="106"/>
                    </a:cubicBezTo>
                    <a:cubicBezTo>
                      <a:pt x="135" y="103"/>
                      <a:pt x="130" y="95"/>
                      <a:pt x="130" y="95"/>
                    </a:cubicBezTo>
                    <a:cubicBezTo>
                      <a:pt x="124" y="80"/>
                      <a:pt x="124" y="80"/>
                      <a:pt x="124" y="80"/>
                    </a:cubicBezTo>
                    <a:cubicBezTo>
                      <a:pt x="124" y="80"/>
                      <a:pt x="146" y="88"/>
                      <a:pt x="148" y="85"/>
                    </a:cubicBezTo>
                    <a:cubicBezTo>
                      <a:pt x="150" y="82"/>
                      <a:pt x="152" y="77"/>
                      <a:pt x="152" y="77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0" y="67"/>
                      <a:pt x="160" y="67"/>
                      <a:pt x="160" y="67"/>
                    </a:cubicBezTo>
                    <a:cubicBezTo>
                      <a:pt x="160" y="67"/>
                      <a:pt x="168" y="63"/>
                      <a:pt x="168" y="59"/>
                    </a:cubicBezTo>
                    <a:cubicBezTo>
                      <a:pt x="168" y="55"/>
                      <a:pt x="154" y="50"/>
                      <a:pt x="153" y="47"/>
                    </a:cubicBezTo>
                    <a:cubicBezTo>
                      <a:pt x="152" y="44"/>
                      <a:pt x="164" y="40"/>
                      <a:pt x="164" y="40"/>
                    </a:cubicBezTo>
                    <a:cubicBezTo>
                      <a:pt x="172" y="40"/>
                      <a:pt x="172" y="40"/>
                      <a:pt x="172" y="40"/>
                    </a:cubicBezTo>
                    <a:cubicBezTo>
                      <a:pt x="172" y="40"/>
                      <a:pt x="168" y="32"/>
                      <a:pt x="170" y="28"/>
                    </a:cubicBezTo>
                    <a:cubicBezTo>
                      <a:pt x="171" y="24"/>
                      <a:pt x="182" y="20"/>
                      <a:pt x="182" y="20"/>
                    </a:cubicBezTo>
                    <a:cubicBezTo>
                      <a:pt x="177" y="12"/>
                      <a:pt x="177" y="12"/>
                      <a:pt x="177" y="12"/>
                    </a:cubicBezTo>
                    <a:cubicBezTo>
                      <a:pt x="180" y="10"/>
                      <a:pt x="180" y="10"/>
                      <a:pt x="180" y="10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76" y="7"/>
                      <a:pt x="160" y="1"/>
                      <a:pt x="154" y="1"/>
                    </a:cubicBezTo>
                    <a:cubicBezTo>
                      <a:pt x="148" y="1"/>
                      <a:pt x="125" y="0"/>
                      <a:pt x="125" y="0"/>
                    </a:cubicBezTo>
                    <a:cubicBezTo>
                      <a:pt x="125" y="0"/>
                      <a:pt x="111" y="5"/>
                      <a:pt x="103" y="10"/>
                    </a:cubicBezTo>
                    <a:cubicBezTo>
                      <a:pt x="104" y="14"/>
                      <a:pt x="107" y="19"/>
                      <a:pt x="107" y="21"/>
                    </a:cubicBezTo>
                    <a:cubicBezTo>
                      <a:pt x="108" y="24"/>
                      <a:pt x="111" y="34"/>
                      <a:pt x="111" y="34"/>
                    </a:cubicBezTo>
                    <a:cubicBezTo>
                      <a:pt x="111" y="34"/>
                      <a:pt x="114" y="40"/>
                      <a:pt x="116" y="40"/>
                    </a:cubicBezTo>
                    <a:cubicBezTo>
                      <a:pt x="119" y="40"/>
                      <a:pt x="122" y="43"/>
                      <a:pt x="122" y="48"/>
                    </a:cubicBezTo>
                    <a:cubicBezTo>
                      <a:pt x="123" y="52"/>
                      <a:pt x="111" y="59"/>
                      <a:pt x="104" y="60"/>
                    </a:cubicBezTo>
                    <a:cubicBezTo>
                      <a:pt x="98" y="60"/>
                      <a:pt x="95" y="55"/>
                      <a:pt x="92" y="52"/>
                    </a:cubicBezTo>
                    <a:cubicBezTo>
                      <a:pt x="88" y="48"/>
                      <a:pt x="94" y="45"/>
                      <a:pt x="100" y="37"/>
                    </a:cubicBezTo>
                    <a:cubicBezTo>
                      <a:pt x="106" y="29"/>
                      <a:pt x="102" y="24"/>
                      <a:pt x="102" y="24"/>
                    </a:cubicBezTo>
                    <a:cubicBezTo>
                      <a:pt x="102" y="24"/>
                      <a:pt x="99" y="21"/>
                      <a:pt x="97" y="16"/>
                    </a:cubicBezTo>
                    <a:cubicBezTo>
                      <a:pt x="92" y="23"/>
                      <a:pt x="81" y="30"/>
                      <a:pt x="81" y="30"/>
                    </a:cubicBezTo>
                    <a:cubicBezTo>
                      <a:pt x="81" y="30"/>
                      <a:pt x="64" y="42"/>
                      <a:pt x="64" y="49"/>
                    </a:cubicBezTo>
                    <a:cubicBezTo>
                      <a:pt x="64" y="56"/>
                      <a:pt x="60" y="69"/>
                      <a:pt x="60" y="69"/>
                    </a:cubicBezTo>
                    <a:cubicBezTo>
                      <a:pt x="42" y="89"/>
                      <a:pt x="42" y="89"/>
                      <a:pt x="42" y="89"/>
                    </a:cubicBezTo>
                    <a:cubicBezTo>
                      <a:pt x="48" y="97"/>
                      <a:pt x="48" y="97"/>
                      <a:pt x="48" y="97"/>
                    </a:cubicBezTo>
                    <a:cubicBezTo>
                      <a:pt x="31" y="98"/>
                      <a:pt x="31" y="98"/>
                      <a:pt x="31" y="98"/>
                    </a:cubicBezTo>
                    <a:lnTo>
                      <a:pt x="14" y="10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8" name="MCShape 80">
                <a:extLst>
                  <a:ext uri="{FF2B5EF4-FFF2-40B4-BE49-F238E27FC236}">
                    <a16:creationId xmlns:a16="http://schemas.microsoft.com/office/drawing/2014/main" id="{EC971619-2EB6-4DE3-AAD7-AEF1764CA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996" y="2589065"/>
                <a:ext cx="86617" cy="58776"/>
              </a:xfrm>
              <a:custGeom>
                <a:avLst/>
                <a:gdLst>
                  <a:gd name="T0" fmla="*/ 0 w 149"/>
                  <a:gd name="T1" fmla="*/ 29 h 102"/>
                  <a:gd name="T2" fmla="*/ 6 w 149"/>
                  <a:gd name="T3" fmla="*/ 43 h 102"/>
                  <a:gd name="T4" fmla="*/ 22 w 149"/>
                  <a:gd name="T5" fmla="*/ 47 h 102"/>
                  <a:gd name="T6" fmla="*/ 29 w 149"/>
                  <a:gd name="T7" fmla="*/ 54 h 102"/>
                  <a:gd name="T8" fmla="*/ 52 w 149"/>
                  <a:gd name="T9" fmla="*/ 59 h 102"/>
                  <a:gd name="T10" fmla="*/ 57 w 149"/>
                  <a:gd name="T11" fmla="*/ 78 h 102"/>
                  <a:gd name="T12" fmla="*/ 72 w 149"/>
                  <a:gd name="T13" fmla="*/ 78 h 102"/>
                  <a:gd name="T14" fmla="*/ 82 w 149"/>
                  <a:gd name="T15" fmla="*/ 71 h 102"/>
                  <a:gd name="T16" fmla="*/ 82 w 149"/>
                  <a:gd name="T17" fmla="*/ 87 h 102"/>
                  <a:gd name="T18" fmla="*/ 106 w 149"/>
                  <a:gd name="T19" fmla="*/ 94 h 102"/>
                  <a:gd name="T20" fmla="*/ 109 w 149"/>
                  <a:gd name="T21" fmla="*/ 98 h 102"/>
                  <a:gd name="T22" fmla="*/ 123 w 149"/>
                  <a:gd name="T23" fmla="*/ 98 h 102"/>
                  <a:gd name="T24" fmla="*/ 128 w 149"/>
                  <a:gd name="T25" fmla="*/ 102 h 102"/>
                  <a:gd name="T26" fmla="*/ 131 w 149"/>
                  <a:gd name="T27" fmla="*/ 100 h 102"/>
                  <a:gd name="T28" fmla="*/ 120 w 149"/>
                  <a:gd name="T29" fmla="*/ 86 h 102"/>
                  <a:gd name="T30" fmla="*/ 130 w 149"/>
                  <a:gd name="T31" fmla="*/ 72 h 102"/>
                  <a:gd name="T32" fmla="*/ 138 w 149"/>
                  <a:gd name="T33" fmla="*/ 68 h 102"/>
                  <a:gd name="T34" fmla="*/ 138 w 149"/>
                  <a:gd name="T35" fmla="*/ 68 h 102"/>
                  <a:gd name="T36" fmla="*/ 140 w 149"/>
                  <a:gd name="T37" fmla="*/ 62 h 102"/>
                  <a:gd name="T38" fmla="*/ 149 w 149"/>
                  <a:gd name="T39" fmla="*/ 61 h 102"/>
                  <a:gd name="T40" fmla="*/ 146 w 149"/>
                  <a:gd name="T41" fmla="*/ 48 h 102"/>
                  <a:gd name="T42" fmla="*/ 136 w 149"/>
                  <a:gd name="T43" fmla="*/ 39 h 102"/>
                  <a:gd name="T44" fmla="*/ 131 w 149"/>
                  <a:gd name="T45" fmla="*/ 38 h 102"/>
                  <a:gd name="T46" fmla="*/ 120 w 149"/>
                  <a:gd name="T47" fmla="*/ 38 h 102"/>
                  <a:gd name="T48" fmla="*/ 122 w 149"/>
                  <a:gd name="T49" fmla="*/ 28 h 102"/>
                  <a:gd name="T50" fmla="*/ 127 w 149"/>
                  <a:gd name="T51" fmla="*/ 19 h 102"/>
                  <a:gd name="T52" fmla="*/ 116 w 149"/>
                  <a:gd name="T53" fmla="*/ 12 h 102"/>
                  <a:gd name="T54" fmla="*/ 102 w 149"/>
                  <a:gd name="T55" fmla="*/ 12 h 102"/>
                  <a:gd name="T56" fmla="*/ 98 w 149"/>
                  <a:gd name="T57" fmla="*/ 2 h 102"/>
                  <a:gd name="T58" fmla="*/ 79 w 149"/>
                  <a:gd name="T59" fmla="*/ 2 h 102"/>
                  <a:gd name="T60" fmla="*/ 73 w 149"/>
                  <a:gd name="T61" fmla="*/ 6 h 102"/>
                  <a:gd name="T62" fmla="*/ 64 w 149"/>
                  <a:gd name="T63" fmla="*/ 4 h 102"/>
                  <a:gd name="T64" fmla="*/ 64 w 149"/>
                  <a:gd name="T65" fmla="*/ 10 h 102"/>
                  <a:gd name="T66" fmla="*/ 54 w 149"/>
                  <a:gd name="T67" fmla="*/ 8 h 102"/>
                  <a:gd name="T68" fmla="*/ 51 w 149"/>
                  <a:gd name="T69" fmla="*/ 15 h 102"/>
                  <a:gd name="T70" fmla="*/ 42 w 149"/>
                  <a:gd name="T71" fmla="*/ 10 h 102"/>
                  <a:gd name="T72" fmla="*/ 30 w 149"/>
                  <a:gd name="T73" fmla="*/ 12 h 102"/>
                  <a:gd name="T74" fmla="*/ 26 w 149"/>
                  <a:gd name="T75" fmla="*/ 6 h 102"/>
                  <a:gd name="T76" fmla="*/ 18 w 149"/>
                  <a:gd name="T77" fmla="*/ 8 h 102"/>
                  <a:gd name="T78" fmla="*/ 17 w 149"/>
                  <a:gd name="T79" fmla="*/ 6 h 102"/>
                  <a:gd name="T80" fmla="*/ 1 w 149"/>
                  <a:gd name="T81" fmla="*/ 20 h 102"/>
                  <a:gd name="T82" fmla="*/ 0 w 149"/>
                  <a:gd name="T83" fmla="*/ 29 h 10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49"/>
                  <a:gd name="T127" fmla="*/ 0 h 102"/>
                  <a:gd name="T128" fmla="*/ 149 w 149"/>
                  <a:gd name="T129" fmla="*/ 102 h 10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49" h="102">
                    <a:moveTo>
                      <a:pt x="0" y="29"/>
                    </a:moveTo>
                    <a:cubicBezTo>
                      <a:pt x="6" y="43"/>
                      <a:pt x="6" y="43"/>
                      <a:pt x="6" y="43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9" y="54"/>
                      <a:pt x="29" y="54"/>
                      <a:pt x="29" y="54"/>
                    </a:cubicBezTo>
                    <a:cubicBezTo>
                      <a:pt x="29" y="54"/>
                      <a:pt x="47" y="56"/>
                      <a:pt x="52" y="59"/>
                    </a:cubicBezTo>
                    <a:cubicBezTo>
                      <a:pt x="57" y="62"/>
                      <a:pt x="57" y="78"/>
                      <a:pt x="57" y="78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82" y="71"/>
                      <a:pt x="82" y="71"/>
                      <a:pt x="82" y="71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2" y="87"/>
                      <a:pt x="104" y="91"/>
                      <a:pt x="106" y="94"/>
                    </a:cubicBezTo>
                    <a:cubicBezTo>
                      <a:pt x="108" y="97"/>
                      <a:pt x="109" y="98"/>
                      <a:pt x="109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8" y="102"/>
                      <a:pt x="128" y="102"/>
                      <a:pt x="128" y="102"/>
                    </a:cubicBezTo>
                    <a:cubicBezTo>
                      <a:pt x="131" y="100"/>
                      <a:pt x="131" y="100"/>
                      <a:pt x="131" y="100"/>
                    </a:cubicBezTo>
                    <a:cubicBezTo>
                      <a:pt x="127" y="95"/>
                      <a:pt x="121" y="88"/>
                      <a:pt x="120" y="86"/>
                    </a:cubicBezTo>
                    <a:cubicBezTo>
                      <a:pt x="118" y="84"/>
                      <a:pt x="119" y="78"/>
                      <a:pt x="130" y="72"/>
                    </a:cubicBezTo>
                    <a:cubicBezTo>
                      <a:pt x="134" y="70"/>
                      <a:pt x="137" y="69"/>
                      <a:pt x="138" y="68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39" y="65"/>
                      <a:pt x="140" y="62"/>
                      <a:pt x="140" y="62"/>
                    </a:cubicBezTo>
                    <a:cubicBezTo>
                      <a:pt x="149" y="61"/>
                      <a:pt x="149" y="61"/>
                      <a:pt x="149" y="61"/>
                    </a:cubicBezTo>
                    <a:cubicBezTo>
                      <a:pt x="149" y="61"/>
                      <a:pt x="146" y="54"/>
                      <a:pt x="146" y="48"/>
                    </a:cubicBezTo>
                    <a:cubicBezTo>
                      <a:pt x="145" y="42"/>
                      <a:pt x="136" y="39"/>
                      <a:pt x="136" y="39"/>
                    </a:cubicBezTo>
                    <a:cubicBezTo>
                      <a:pt x="131" y="38"/>
                      <a:pt x="131" y="38"/>
                      <a:pt x="131" y="38"/>
                    </a:cubicBezTo>
                    <a:cubicBezTo>
                      <a:pt x="131" y="38"/>
                      <a:pt x="122" y="43"/>
                      <a:pt x="120" y="38"/>
                    </a:cubicBezTo>
                    <a:cubicBezTo>
                      <a:pt x="118" y="32"/>
                      <a:pt x="122" y="28"/>
                      <a:pt x="122" y="28"/>
                    </a:cubicBezTo>
                    <a:cubicBezTo>
                      <a:pt x="122" y="28"/>
                      <a:pt x="128" y="28"/>
                      <a:pt x="127" y="19"/>
                    </a:cubicBezTo>
                    <a:cubicBezTo>
                      <a:pt x="126" y="10"/>
                      <a:pt x="116" y="12"/>
                      <a:pt x="116" y="12"/>
                    </a:cubicBezTo>
                    <a:cubicBezTo>
                      <a:pt x="116" y="12"/>
                      <a:pt x="104" y="16"/>
                      <a:pt x="102" y="12"/>
                    </a:cubicBezTo>
                    <a:cubicBezTo>
                      <a:pt x="99" y="8"/>
                      <a:pt x="98" y="2"/>
                      <a:pt x="98" y="2"/>
                    </a:cubicBezTo>
                    <a:cubicBezTo>
                      <a:pt x="98" y="2"/>
                      <a:pt x="84" y="0"/>
                      <a:pt x="79" y="2"/>
                    </a:cubicBezTo>
                    <a:cubicBezTo>
                      <a:pt x="74" y="3"/>
                      <a:pt x="73" y="6"/>
                      <a:pt x="73" y="6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7" y="10"/>
                      <a:pt x="42" y="10"/>
                    </a:cubicBezTo>
                    <a:cubicBezTo>
                      <a:pt x="38" y="11"/>
                      <a:pt x="30" y="12"/>
                      <a:pt x="30" y="12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" y="20"/>
                      <a:pt x="1" y="20"/>
                      <a:pt x="1" y="20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89" name="MCShape 81">
                <a:extLst>
                  <a:ext uri="{FF2B5EF4-FFF2-40B4-BE49-F238E27FC236}">
                    <a16:creationId xmlns:a16="http://schemas.microsoft.com/office/drawing/2014/main" id="{667E3A4F-F369-479C-A999-D274A3C5F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786" y="2485434"/>
                <a:ext cx="221184" cy="232011"/>
              </a:xfrm>
              <a:custGeom>
                <a:avLst/>
                <a:gdLst>
                  <a:gd name="T0" fmla="*/ 21 w 373"/>
                  <a:gd name="T1" fmla="*/ 294 h 393"/>
                  <a:gd name="T2" fmla="*/ 62 w 373"/>
                  <a:gd name="T3" fmla="*/ 297 h 393"/>
                  <a:gd name="T4" fmla="*/ 90 w 373"/>
                  <a:gd name="T5" fmla="*/ 305 h 393"/>
                  <a:gd name="T6" fmla="*/ 74 w 373"/>
                  <a:gd name="T7" fmla="*/ 330 h 393"/>
                  <a:gd name="T8" fmla="*/ 75 w 373"/>
                  <a:gd name="T9" fmla="*/ 381 h 393"/>
                  <a:gd name="T10" fmla="*/ 101 w 373"/>
                  <a:gd name="T11" fmla="*/ 378 h 393"/>
                  <a:gd name="T12" fmla="*/ 128 w 373"/>
                  <a:gd name="T13" fmla="*/ 372 h 393"/>
                  <a:gd name="T14" fmla="*/ 148 w 373"/>
                  <a:gd name="T15" fmla="*/ 383 h 393"/>
                  <a:gd name="T16" fmla="*/ 161 w 373"/>
                  <a:gd name="T17" fmla="*/ 382 h 393"/>
                  <a:gd name="T18" fmla="*/ 182 w 373"/>
                  <a:gd name="T19" fmla="*/ 377 h 393"/>
                  <a:gd name="T20" fmla="*/ 224 w 373"/>
                  <a:gd name="T21" fmla="*/ 387 h 393"/>
                  <a:gd name="T22" fmla="*/ 258 w 373"/>
                  <a:gd name="T23" fmla="*/ 372 h 393"/>
                  <a:gd name="T24" fmla="*/ 290 w 373"/>
                  <a:gd name="T25" fmla="*/ 385 h 393"/>
                  <a:gd name="T26" fmla="*/ 282 w 373"/>
                  <a:gd name="T27" fmla="*/ 358 h 393"/>
                  <a:gd name="T28" fmla="*/ 309 w 373"/>
                  <a:gd name="T29" fmla="*/ 335 h 393"/>
                  <a:gd name="T30" fmla="*/ 324 w 373"/>
                  <a:gd name="T31" fmla="*/ 316 h 393"/>
                  <a:gd name="T32" fmla="*/ 301 w 373"/>
                  <a:gd name="T33" fmla="*/ 295 h 393"/>
                  <a:gd name="T34" fmla="*/ 281 w 373"/>
                  <a:gd name="T35" fmla="*/ 285 h 393"/>
                  <a:gd name="T36" fmla="*/ 271 w 373"/>
                  <a:gd name="T37" fmla="*/ 271 h 393"/>
                  <a:gd name="T38" fmla="*/ 263 w 373"/>
                  <a:gd name="T39" fmla="*/ 248 h 393"/>
                  <a:gd name="T40" fmla="*/ 263 w 373"/>
                  <a:gd name="T41" fmla="*/ 239 h 393"/>
                  <a:gd name="T42" fmla="*/ 283 w 373"/>
                  <a:gd name="T43" fmla="*/ 227 h 393"/>
                  <a:gd name="T44" fmla="*/ 308 w 373"/>
                  <a:gd name="T45" fmla="*/ 221 h 393"/>
                  <a:gd name="T46" fmla="*/ 325 w 373"/>
                  <a:gd name="T47" fmla="*/ 210 h 393"/>
                  <a:gd name="T48" fmla="*/ 360 w 373"/>
                  <a:gd name="T49" fmla="*/ 208 h 393"/>
                  <a:gd name="T50" fmla="*/ 369 w 373"/>
                  <a:gd name="T51" fmla="*/ 177 h 393"/>
                  <a:gd name="T52" fmla="*/ 351 w 373"/>
                  <a:gd name="T53" fmla="*/ 157 h 393"/>
                  <a:gd name="T54" fmla="*/ 356 w 373"/>
                  <a:gd name="T55" fmla="*/ 136 h 393"/>
                  <a:gd name="T56" fmla="*/ 352 w 373"/>
                  <a:gd name="T57" fmla="*/ 115 h 393"/>
                  <a:gd name="T58" fmla="*/ 334 w 373"/>
                  <a:gd name="T59" fmla="*/ 106 h 393"/>
                  <a:gd name="T60" fmla="*/ 339 w 373"/>
                  <a:gd name="T61" fmla="*/ 72 h 393"/>
                  <a:gd name="T62" fmla="*/ 321 w 373"/>
                  <a:gd name="T63" fmla="*/ 55 h 393"/>
                  <a:gd name="T64" fmla="*/ 296 w 373"/>
                  <a:gd name="T65" fmla="*/ 35 h 393"/>
                  <a:gd name="T66" fmla="*/ 226 w 373"/>
                  <a:gd name="T67" fmla="*/ 35 h 393"/>
                  <a:gd name="T68" fmla="*/ 202 w 373"/>
                  <a:gd name="T69" fmla="*/ 35 h 393"/>
                  <a:gd name="T70" fmla="*/ 168 w 373"/>
                  <a:gd name="T71" fmla="*/ 22 h 393"/>
                  <a:gd name="T72" fmla="*/ 145 w 373"/>
                  <a:gd name="T73" fmla="*/ 3 h 393"/>
                  <a:gd name="T74" fmla="*/ 112 w 373"/>
                  <a:gd name="T75" fmla="*/ 0 h 393"/>
                  <a:gd name="T76" fmla="*/ 130 w 373"/>
                  <a:gd name="T77" fmla="*/ 49 h 393"/>
                  <a:gd name="T78" fmla="*/ 105 w 373"/>
                  <a:gd name="T79" fmla="*/ 55 h 393"/>
                  <a:gd name="T80" fmla="*/ 82 w 373"/>
                  <a:gd name="T81" fmla="*/ 62 h 393"/>
                  <a:gd name="T82" fmla="*/ 57 w 373"/>
                  <a:gd name="T83" fmla="*/ 85 h 393"/>
                  <a:gd name="T84" fmla="*/ 47 w 373"/>
                  <a:gd name="T85" fmla="*/ 103 h 393"/>
                  <a:gd name="T86" fmla="*/ 30 w 373"/>
                  <a:gd name="T87" fmla="*/ 122 h 393"/>
                  <a:gd name="T88" fmla="*/ 35 w 373"/>
                  <a:gd name="T89" fmla="*/ 153 h 393"/>
                  <a:gd name="T90" fmla="*/ 1 w 373"/>
                  <a:gd name="T91" fmla="*/ 155 h 393"/>
                  <a:gd name="T92" fmla="*/ 0 w 373"/>
                  <a:gd name="T93" fmla="*/ 191 h 393"/>
                  <a:gd name="T94" fmla="*/ 5 w 373"/>
                  <a:gd name="T95" fmla="*/ 216 h 393"/>
                  <a:gd name="T96" fmla="*/ 9 w 373"/>
                  <a:gd name="T97" fmla="*/ 239 h 393"/>
                  <a:gd name="T98" fmla="*/ 17 w 373"/>
                  <a:gd name="T99" fmla="*/ 274 h 39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73"/>
                  <a:gd name="T151" fmla="*/ 0 h 393"/>
                  <a:gd name="T152" fmla="*/ 373 w 373"/>
                  <a:gd name="T153" fmla="*/ 393 h 39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73" h="393">
                    <a:moveTo>
                      <a:pt x="17" y="274"/>
                    </a:moveTo>
                    <a:cubicBezTo>
                      <a:pt x="17" y="274"/>
                      <a:pt x="19" y="278"/>
                      <a:pt x="22" y="281"/>
                    </a:cubicBezTo>
                    <a:cubicBezTo>
                      <a:pt x="25" y="284"/>
                      <a:pt x="21" y="294"/>
                      <a:pt x="21" y="294"/>
                    </a:cubicBezTo>
                    <a:cubicBezTo>
                      <a:pt x="38" y="294"/>
                      <a:pt x="38" y="294"/>
                      <a:pt x="38" y="294"/>
                    </a:cubicBezTo>
                    <a:cubicBezTo>
                      <a:pt x="38" y="294"/>
                      <a:pt x="36" y="299"/>
                      <a:pt x="42" y="300"/>
                    </a:cubicBezTo>
                    <a:cubicBezTo>
                      <a:pt x="48" y="301"/>
                      <a:pt x="62" y="297"/>
                      <a:pt x="62" y="297"/>
                    </a:cubicBezTo>
                    <a:cubicBezTo>
                      <a:pt x="62" y="301"/>
                      <a:pt x="62" y="301"/>
                      <a:pt x="62" y="301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90" y="305"/>
                      <a:pt x="90" y="305"/>
                      <a:pt x="90" y="305"/>
                    </a:cubicBezTo>
                    <a:cubicBezTo>
                      <a:pt x="88" y="311"/>
                      <a:pt x="88" y="311"/>
                      <a:pt x="88" y="311"/>
                    </a:cubicBezTo>
                    <a:cubicBezTo>
                      <a:pt x="74" y="322"/>
                      <a:pt x="74" y="322"/>
                      <a:pt x="74" y="322"/>
                    </a:cubicBezTo>
                    <a:cubicBezTo>
                      <a:pt x="74" y="330"/>
                      <a:pt x="74" y="330"/>
                      <a:pt x="74" y="330"/>
                    </a:cubicBezTo>
                    <a:cubicBezTo>
                      <a:pt x="74" y="330"/>
                      <a:pt x="64" y="349"/>
                      <a:pt x="62" y="360"/>
                    </a:cubicBezTo>
                    <a:cubicBezTo>
                      <a:pt x="60" y="369"/>
                      <a:pt x="63" y="377"/>
                      <a:pt x="64" y="379"/>
                    </a:cubicBezTo>
                    <a:cubicBezTo>
                      <a:pt x="75" y="381"/>
                      <a:pt x="75" y="381"/>
                      <a:pt x="75" y="381"/>
                    </a:cubicBezTo>
                    <a:cubicBezTo>
                      <a:pt x="87" y="381"/>
                      <a:pt x="87" y="381"/>
                      <a:pt x="87" y="381"/>
                    </a:cubicBezTo>
                    <a:cubicBezTo>
                      <a:pt x="97" y="374"/>
                      <a:pt x="97" y="374"/>
                      <a:pt x="97" y="374"/>
                    </a:cubicBezTo>
                    <a:cubicBezTo>
                      <a:pt x="101" y="378"/>
                      <a:pt x="101" y="378"/>
                      <a:pt x="101" y="378"/>
                    </a:cubicBezTo>
                    <a:cubicBezTo>
                      <a:pt x="101" y="378"/>
                      <a:pt x="96" y="366"/>
                      <a:pt x="103" y="365"/>
                    </a:cubicBezTo>
                    <a:cubicBezTo>
                      <a:pt x="110" y="364"/>
                      <a:pt x="119" y="372"/>
                      <a:pt x="119" y="372"/>
                    </a:cubicBezTo>
                    <a:cubicBezTo>
                      <a:pt x="128" y="372"/>
                      <a:pt x="128" y="372"/>
                      <a:pt x="128" y="372"/>
                    </a:cubicBezTo>
                    <a:cubicBezTo>
                      <a:pt x="138" y="375"/>
                      <a:pt x="138" y="375"/>
                      <a:pt x="138" y="375"/>
                    </a:cubicBezTo>
                    <a:cubicBezTo>
                      <a:pt x="144" y="383"/>
                      <a:pt x="144" y="383"/>
                      <a:pt x="144" y="383"/>
                    </a:cubicBezTo>
                    <a:cubicBezTo>
                      <a:pt x="148" y="383"/>
                      <a:pt x="148" y="383"/>
                      <a:pt x="148" y="383"/>
                    </a:cubicBezTo>
                    <a:cubicBezTo>
                      <a:pt x="148" y="383"/>
                      <a:pt x="149" y="384"/>
                      <a:pt x="149" y="385"/>
                    </a:cubicBezTo>
                    <a:cubicBezTo>
                      <a:pt x="149" y="385"/>
                      <a:pt x="149" y="385"/>
                      <a:pt x="149" y="385"/>
                    </a:cubicBezTo>
                    <a:cubicBezTo>
                      <a:pt x="151" y="383"/>
                      <a:pt x="155" y="380"/>
                      <a:pt x="161" y="382"/>
                    </a:cubicBezTo>
                    <a:cubicBezTo>
                      <a:pt x="170" y="383"/>
                      <a:pt x="171" y="393"/>
                      <a:pt x="175" y="392"/>
                    </a:cubicBezTo>
                    <a:cubicBezTo>
                      <a:pt x="179" y="391"/>
                      <a:pt x="182" y="386"/>
                      <a:pt x="182" y="386"/>
                    </a:cubicBezTo>
                    <a:cubicBezTo>
                      <a:pt x="182" y="377"/>
                      <a:pt x="182" y="377"/>
                      <a:pt x="182" y="377"/>
                    </a:cubicBezTo>
                    <a:cubicBezTo>
                      <a:pt x="195" y="378"/>
                      <a:pt x="195" y="378"/>
                      <a:pt x="195" y="378"/>
                    </a:cubicBezTo>
                    <a:cubicBezTo>
                      <a:pt x="195" y="378"/>
                      <a:pt x="205" y="389"/>
                      <a:pt x="212" y="389"/>
                    </a:cubicBezTo>
                    <a:cubicBezTo>
                      <a:pt x="218" y="389"/>
                      <a:pt x="224" y="387"/>
                      <a:pt x="224" y="387"/>
                    </a:cubicBezTo>
                    <a:cubicBezTo>
                      <a:pt x="233" y="379"/>
                      <a:pt x="233" y="379"/>
                      <a:pt x="233" y="379"/>
                    </a:cubicBezTo>
                    <a:cubicBezTo>
                      <a:pt x="247" y="378"/>
                      <a:pt x="247" y="378"/>
                      <a:pt x="247" y="378"/>
                    </a:cubicBezTo>
                    <a:cubicBezTo>
                      <a:pt x="258" y="372"/>
                      <a:pt x="258" y="372"/>
                      <a:pt x="258" y="372"/>
                    </a:cubicBezTo>
                    <a:cubicBezTo>
                      <a:pt x="267" y="373"/>
                      <a:pt x="267" y="373"/>
                      <a:pt x="267" y="373"/>
                    </a:cubicBezTo>
                    <a:cubicBezTo>
                      <a:pt x="280" y="378"/>
                      <a:pt x="280" y="378"/>
                      <a:pt x="280" y="378"/>
                    </a:cubicBezTo>
                    <a:cubicBezTo>
                      <a:pt x="280" y="378"/>
                      <a:pt x="288" y="392"/>
                      <a:pt x="290" y="385"/>
                    </a:cubicBezTo>
                    <a:cubicBezTo>
                      <a:pt x="291" y="379"/>
                      <a:pt x="290" y="369"/>
                      <a:pt x="290" y="369"/>
                    </a:cubicBezTo>
                    <a:cubicBezTo>
                      <a:pt x="290" y="360"/>
                      <a:pt x="290" y="360"/>
                      <a:pt x="290" y="360"/>
                    </a:cubicBezTo>
                    <a:cubicBezTo>
                      <a:pt x="282" y="358"/>
                      <a:pt x="282" y="358"/>
                      <a:pt x="282" y="358"/>
                    </a:cubicBezTo>
                    <a:cubicBezTo>
                      <a:pt x="282" y="358"/>
                      <a:pt x="287" y="345"/>
                      <a:pt x="291" y="344"/>
                    </a:cubicBezTo>
                    <a:cubicBezTo>
                      <a:pt x="296" y="343"/>
                      <a:pt x="309" y="346"/>
                      <a:pt x="309" y="346"/>
                    </a:cubicBezTo>
                    <a:cubicBezTo>
                      <a:pt x="309" y="335"/>
                      <a:pt x="309" y="335"/>
                      <a:pt x="309" y="335"/>
                    </a:cubicBezTo>
                    <a:cubicBezTo>
                      <a:pt x="305" y="328"/>
                      <a:pt x="305" y="328"/>
                      <a:pt x="305" y="328"/>
                    </a:cubicBezTo>
                    <a:cubicBezTo>
                      <a:pt x="317" y="327"/>
                      <a:pt x="317" y="327"/>
                      <a:pt x="317" y="327"/>
                    </a:cubicBezTo>
                    <a:cubicBezTo>
                      <a:pt x="324" y="316"/>
                      <a:pt x="324" y="316"/>
                      <a:pt x="324" y="316"/>
                    </a:cubicBezTo>
                    <a:cubicBezTo>
                      <a:pt x="324" y="316"/>
                      <a:pt x="323" y="309"/>
                      <a:pt x="317" y="305"/>
                    </a:cubicBezTo>
                    <a:cubicBezTo>
                      <a:pt x="312" y="302"/>
                      <a:pt x="307" y="304"/>
                      <a:pt x="307" y="304"/>
                    </a:cubicBezTo>
                    <a:cubicBezTo>
                      <a:pt x="301" y="295"/>
                      <a:pt x="301" y="295"/>
                      <a:pt x="301" y="295"/>
                    </a:cubicBezTo>
                    <a:cubicBezTo>
                      <a:pt x="297" y="295"/>
                      <a:pt x="297" y="295"/>
                      <a:pt x="297" y="295"/>
                    </a:cubicBezTo>
                    <a:cubicBezTo>
                      <a:pt x="294" y="287"/>
                      <a:pt x="294" y="287"/>
                      <a:pt x="294" y="287"/>
                    </a:cubicBezTo>
                    <a:cubicBezTo>
                      <a:pt x="294" y="287"/>
                      <a:pt x="288" y="285"/>
                      <a:pt x="281" y="285"/>
                    </a:cubicBezTo>
                    <a:cubicBezTo>
                      <a:pt x="273" y="284"/>
                      <a:pt x="279" y="279"/>
                      <a:pt x="279" y="279"/>
                    </a:cubicBezTo>
                    <a:cubicBezTo>
                      <a:pt x="273" y="277"/>
                      <a:pt x="273" y="277"/>
                      <a:pt x="273" y="277"/>
                    </a:cubicBezTo>
                    <a:cubicBezTo>
                      <a:pt x="271" y="271"/>
                      <a:pt x="271" y="271"/>
                      <a:pt x="271" y="271"/>
                    </a:cubicBezTo>
                    <a:cubicBezTo>
                      <a:pt x="271" y="271"/>
                      <a:pt x="263" y="265"/>
                      <a:pt x="262" y="263"/>
                    </a:cubicBezTo>
                    <a:cubicBezTo>
                      <a:pt x="261" y="261"/>
                      <a:pt x="269" y="257"/>
                      <a:pt x="269" y="257"/>
                    </a:cubicBezTo>
                    <a:cubicBezTo>
                      <a:pt x="263" y="248"/>
                      <a:pt x="263" y="248"/>
                      <a:pt x="263" y="248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57" y="247"/>
                      <a:pt x="252" y="238"/>
                      <a:pt x="255" y="235"/>
                    </a:cubicBezTo>
                    <a:cubicBezTo>
                      <a:pt x="259" y="233"/>
                      <a:pt x="259" y="239"/>
                      <a:pt x="263" y="239"/>
                    </a:cubicBezTo>
                    <a:cubicBezTo>
                      <a:pt x="267" y="238"/>
                      <a:pt x="266" y="233"/>
                      <a:pt x="266" y="233"/>
                    </a:cubicBezTo>
                    <a:cubicBezTo>
                      <a:pt x="273" y="233"/>
                      <a:pt x="273" y="233"/>
                      <a:pt x="273" y="233"/>
                    </a:cubicBezTo>
                    <a:cubicBezTo>
                      <a:pt x="273" y="233"/>
                      <a:pt x="275" y="225"/>
                      <a:pt x="283" y="227"/>
                    </a:cubicBezTo>
                    <a:cubicBezTo>
                      <a:pt x="292" y="229"/>
                      <a:pt x="290" y="233"/>
                      <a:pt x="290" y="233"/>
                    </a:cubicBezTo>
                    <a:cubicBezTo>
                      <a:pt x="297" y="224"/>
                      <a:pt x="297" y="224"/>
                      <a:pt x="297" y="224"/>
                    </a:cubicBezTo>
                    <a:cubicBezTo>
                      <a:pt x="308" y="221"/>
                      <a:pt x="308" y="221"/>
                      <a:pt x="308" y="221"/>
                    </a:cubicBezTo>
                    <a:cubicBezTo>
                      <a:pt x="310" y="217"/>
                      <a:pt x="310" y="217"/>
                      <a:pt x="310" y="217"/>
                    </a:cubicBezTo>
                    <a:cubicBezTo>
                      <a:pt x="310" y="217"/>
                      <a:pt x="321" y="217"/>
                      <a:pt x="324" y="216"/>
                    </a:cubicBezTo>
                    <a:cubicBezTo>
                      <a:pt x="327" y="215"/>
                      <a:pt x="325" y="210"/>
                      <a:pt x="325" y="210"/>
                    </a:cubicBezTo>
                    <a:cubicBezTo>
                      <a:pt x="325" y="210"/>
                      <a:pt x="336" y="211"/>
                      <a:pt x="339" y="208"/>
                    </a:cubicBezTo>
                    <a:cubicBezTo>
                      <a:pt x="341" y="205"/>
                      <a:pt x="346" y="199"/>
                      <a:pt x="348" y="198"/>
                    </a:cubicBezTo>
                    <a:cubicBezTo>
                      <a:pt x="350" y="197"/>
                      <a:pt x="355" y="209"/>
                      <a:pt x="360" y="208"/>
                    </a:cubicBezTo>
                    <a:cubicBezTo>
                      <a:pt x="365" y="207"/>
                      <a:pt x="371" y="195"/>
                      <a:pt x="372" y="191"/>
                    </a:cubicBezTo>
                    <a:cubicBezTo>
                      <a:pt x="373" y="188"/>
                      <a:pt x="367" y="187"/>
                      <a:pt x="367" y="187"/>
                    </a:cubicBezTo>
                    <a:cubicBezTo>
                      <a:pt x="367" y="187"/>
                      <a:pt x="371" y="182"/>
                      <a:pt x="369" y="177"/>
                    </a:cubicBezTo>
                    <a:cubicBezTo>
                      <a:pt x="368" y="171"/>
                      <a:pt x="360" y="177"/>
                      <a:pt x="360" y="177"/>
                    </a:cubicBezTo>
                    <a:cubicBezTo>
                      <a:pt x="361" y="165"/>
                      <a:pt x="361" y="165"/>
                      <a:pt x="361" y="165"/>
                    </a:cubicBezTo>
                    <a:cubicBezTo>
                      <a:pt x="361" y="165"/>
                      <a:pt x="352" y="163"/>
                      <a:pt x="351" y="157"/>
                    </a:cubicBezTo>
                    <a:cubicBezTo>
                      <a:pt x="351" y="152"/>
                      <a:pt x="360" y="146"/>
                      <a:pt x="360" y="146"/>
                    </a:cubicBezTo>
                    <a:cubicBezTo>
                      <a:pt x="360" y="146"/>
                      <a:pt x="357" y="144"/>
                      <a:pt x="355" y="143"/>
                    </a:cubicBezTo>
                    <a:cubicBezTo>
                      <a:pt x="353" y="143"/>
                      <a:pt x="356" y="136"/>
                      <a:pt x="356" y="136"/>
                    </a:cubicBezTo>
                    <a:cubicBezTo>
                      <a:pt x="356" y="136"/>
                      <a:pt x="351" y="135"/>
                      <a:pt x="350" y="132"/>
                    </a:cubicBezTo>
                    <a:cubicBezTo>
                      <a:pt x="349" y="129"/>
                      <a:pt x="355" y="126"/>
                      <a:pt x="355" y="126"/>
                    </a:cubicBezTo>
                    <a:cubicBezTo>
                      <a:pt x="355" y="126"/>
                      <a:pt x="355" y="120"/>
                      <a:pt x="352" y="115"/>
                    </a:cubicBezTo>
                    <a:cubicBezTo>
                      <a:pt x="349" y="111"/>
                      <a:pt x="345" y="115"/>
                      <a:pt x="345" y="115"/>
                    </a:cubicBezTo>
                    <a:cubicBezTo>
                      <a:pt x="341" y="109"/>
                      <a:pt x="341" y="109"/>
                      <a:pt x="341" y="109"/>
                    </a:cubicBezTo>
                    <a:cubicBezTo>
                      <a:pt x="341" y="109"/>
                      <a:pt x="337" y="113"/>
                      <a:pt x="334" y="106"/>
                    </a:cubicBezTo>
                    <a:cubicBezTo>
                      <a:pt x="331" y="99"/>
                      <a:pt x="337" y="98"/>
                      <a:pt x="343" y="93"/>
                    </a:cubicBezTo>
                    <a:cubicBezTo>
                      <a:pt x="349" y="89"/>
                      <a:pt x="347" y="87"/>
                      <a:pt x="345" y="79"/>
                    </a:cubicBezTo>
                    <a:cubicBezTo>
                      <a:pt x="342" y="70"/>
                      <a:pt x="337" y="78"/>
                      <a:pt x="339" y="72"/>
                    </a:cubicBezTo>
                    <a:cubicBezTo>
                      <a:pt x="340" y="69"/>
                      <a:pt x="339" y="65"/>
                      <a:pt x="338" y="62"/>
                    </a:cubicBezTo>
                    <a:cubicBezTo>
                      <a:pt x="334" y="60"/>
                      <a:pt x="334" y="60"/>
                      <a:pt x="334" y="60"/>
                    </a:cubicBezTo>
                    <a:cubicBezTo>
                      <a:pt x="321" y="55"/>
                      <a:pt x="321" y="55"/>
                      <a:pt x="321" y="55"/>
                    </a:cubicBezTo>
                    <a:cubicBezTo>
                      <a:pt x="321" y="55"/>
                      <a:pt x="323" y="50"/>
                      <a:pt x="318" y="44"/>
                    </a:cubicBezTo>
                    <a:cubicBezTo>
                      <a:pt x="313" y="38"/>
                      <a:pt x="301" y="41"/>
                      <a:pt x="301" y="41"/>
                    </a:cubicBezTo>
                    <a:cubicBezTo>
                      <a:pt x="296" y="35"/>
                      <a:pt x="296" y="35"/>
                      <a:pt x="296" y="35"/>
                    </a:cubicBezTo>
                    <a:cubicBezTo>
                      <a:pt x="296" y="35"/>
                      <a:pt x="270" y="23"/>
                      <a:pt x="265" y="26"/>
                    </a:cubicBezTo>
                    <a:cubicBezTo>
                      <a:pt x="260" y="29"/>
                      <a:pt x="253" y="36"/>
                      <a:pt x="253" y="36"/>
                    </a:cubicBezTo>
                    <a:cubicBezTo>
                      <a:pt x="226" y="35"/>
                      <a:pt x="226" y="35"/>
                      <a:pt x="226" y="35"/>
                    </a:cubicBezTo>
                    <a:cubicBezTo>
                      <a:pt x="226" y="47"/>
                      <a:pt x="226" y="47"/>
                      <a:pt x="226" y="47"/>
                    </a:cubicBezTo>
                    <a:cubicBezTo>
                      <a:pt x="200" y="46"/>
                      <a:pt x="200" y="46"/>
                      <a:pt x="200" y="46"/>
                    </a:cubicBezTo>
                    <a:cubicBezTo>
                      <a:pt x="200" y="46"/>
                      <a:pt x="198" y="38"/>
                      <a:pt x="202" y="35"/>
                    </a:cubicBezTo>
                    <a:cubicBezTo>
                      <a:pt x="206" y="32"/>
                      <a:pt x="209" y="20"/>
                      <a:pt x="209" y="20"/>
                    </a:cubicBezTo>
                    <a:cubicBezTo>
                      <a:pt x="196" y="27"/>
                      <a:pt x="196" y="27"/>
                      <a:pt x="196" y="27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8" y="22"/>
                      <a:pt x="160" y="14"/>
                      <a:pt x="156" y="4"/>
                    </a:cubicBezTo>
                    <a:cubicBezTo>
                      <a:pt x="154" y="5"/>
                      <a:pt x="153" y="6"/>
                      <a:pt x="153" y="6"/>
                    </a:cubicBezTo>
                    <a:cubicBezTo>
                      <a:pt x="153" y="6"/>
                      <a:pt x="152" y="2"/>
                      <a:pt x="145" y="3"/>
                    </a:cubicBezTo>
                    <a:cubicBezTo>
                      <a:pt x="137" y="3"/>
                      <a:pt x="135" y="5"/>
                      <a:pt x="135" y="5"/>
                    </a:cubicBezTo>
                    <a:cubicBezTo>
                      <a:pt x="135" y="5"/>
                      <a:pt x="127" y="0"/>
                      <a:pt x="123" y="0"/>
                    </a:cubicBezTo>
                    <a:cubicBezTo>
                      <a:pt x="119" y="0"/>
                      <a:pt x="112" y="0"/>
                      <a:pt x="112" y="0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30" y="49"/>
                      <a:pt x="130" y="49"/>
                      <a:pt x="130" y="49"/>
                    </a:cubicBezTo>
                    <a:cubicBezTo>
                      <a:pt x="142" y="58"/>
                      <a:pt x="142" y="58"/>
                      <a:pt x="142" y="58"/>
                    </a:cubicBezTo>
                    <a:cubicBezTo>
                      <a:pt x="123" y="51"/>
                      <a:pt x="123" y="51"/>
                      <a:pt x="123" y="51"/>
                    </a:cubicBezTo>
                    <a:cubicBezTo>
                      <a:pt x="105" y="55"/>
                      <a:pt x="105" y="55"/>
                      <a:pt x="105" y="55"/>
                    </a:cubicBezTo>
                    <a:cubicBezTo>
                      <a:pt x="105" y="55"/>
                      <a:pt x="110" y="70"/>
                      <a:pt x="104" y="72"/>
                    </a:cubicBezTo>
                    <a:cubicBezTo>
                      <a:pt x="98" y="74"/>
                      <a:pt x="88" y="72"/>
                      <a:pt x="88" y="72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2" y="62"/>
                      <a:pt x="55" y="59"/>
                      <a:pt x="54" y="64"/>
                    </a:cubicBezTo>
                    <a:cubicBezTo>
                      <a:pt x="53" y="69"/>
                      <a:pt x="53" y="82"/>
                      <a:pt x="53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9" y="95"/>
                      <a:pt x="48" y="99"/>
                      <a:pt x="47" y="103"/>
                    </a:cubicBezTo>
                    <a:cubicBezTo>
                      <a:pt x="45" y="107"/>
                      <a:pt x="49" y="115"/>
                      <a:pt x="49" y="115"/>
                    </a:cubicBezTo>
                    <a:cubicBezTo>
                      <a:pt x="41" y="115"/>
                      <a:pt x="41" y="115"/>
                      <a:pt x="41" y="115"/>
                    </a:cubicBezTo>
                    <a:cubicBezTo>
                      <a:pt x="41" y="115"/>
                      <a:pt x="29" y="119"/>
                      <a:pt x="30" y="122"/>
                    </a:cubicBezTo>
                    <a:cubicBezTo>
                      <a:pt x="31" y="125"/>
                      <a:pt x="45" y="130"/>
                      <a:pt x="45" y="134"/>
                    </a:cubicBezTo>
                    <a:cubicBezTo>
                      <a:pt x="45" y="138"/>
                      <a:pt x="37" y="142"/>
                      <a:pt x="37" y="142"/>
                    </a:cubicBezTo>
                    <a:cubicBezTo>
                      <a:pt x="35" y="153"/>
                      <a:pt x="35" y="153"/>
                      <a:pt x="35" y="153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29" y="152"/>
                      <a:pt x="27" y="157"/>
                      <a:pt x="25" y="160"/>
                    </a:cubicBezTo>
                    <a:cubicBezTo>
                      <a:pt x="23" y="163"/>
                      <a:pt x="1" y="155"/>
                      <a:pt x="1" y="155"/>
                    </a:cubicBezTo>
                    <a:cubicBezTo>
                      <a:pt x="7" y="170"/>
                      <a:pt x="7" y="170"/>
                      <a:pt x="7" y="170"/>
                    </a:cubicBezTo>
                    <a:cubicBezTo>
                      <a:pt x="7" y="170"/>
                      <a:pt x="12" y="178"/>
                      <a:pt x="11" y="181"/>
                    </a:cubicBezTo>
                    <a:cubicBezTo>
                      <a:pt x="11" y="185"/>
                      <a:pt x="0" y="191"/>
                      <a:pt x="0" y="191"/>
                    </a:cubicBezTo>
                    <a:cubicBezTo>
                      <a:pt x="0" y="191"/>
                      <a:pt x="5" y="197"/>
                      <a:pt x="4" y="199"/>
                    </a:cubicBezTo>
                    <a:cubicBezTo>
                      <a:pt x="3" y="201"/>
                      <a:pt x="0" y="215"/>
                      <a:pt x="0" y="215"/>
                    </a:cubicBezTo>
                    <a:cubicBezTo>
                      <a:pt x="5" y="216"/>
                      <a:pt x="5" y="216"/>
                      <a:pt x="5" y="216"/>
                    </a:cubicBezTo>
                    <a:cubicBezTo>
                      <a:pt x="5" y="216"/>
                      <a:pt x="14" y="219"/>
                      <a:pt x="15" y="225"/>
                    </a:cubicBezTo>
                    <a:cubicBezTo>
                      <a:pt x="15" y="231"/>
                      <a:pt x="18" y="238"/>
                      <a:pt x="18" y="238"/>
                    </a:cubicBezTo>
                    <a:cubicBezTo>
                      <a:pt x="9" y="239"/>
                      <a:pt x="9" y="239"/>
                      <a:pt x="9" y="239"/>
                    </a:cubicBezTo>
                    <a:cubicBezTo>
                      <a:pt x="9" y="239"/>
                      <a:pt x="4" y="247"/>
                      <a:pt x="7" y="253"/>
                    </a:cubicBezTo>
                    <a:cubicBezTo>
                      <a:pt x="11" y="259"/>
                      <a:pt x="21" y="261"/>
                      <a:pt x="22" y="265"/>
                    </a:cubicBezTo>
                    <a:cubicBezTo>
                      <a:pt x="23" y="270"/>
                      <a:pt x="17" y="274"/>
                      <a:pt x="17" y="27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0" name="MCShape 82">
                <a:extLst>
                  <a:ext uri="{FF2B5EF4-FFF2-40B4-BE49-F238E27FC236}">
                    <a16:creationId xmlns:a16="http://schemas.microsoft.com/office/drawing/2014/main" id="{F84EDAE4-8AC8-41FE-BD48-E6122CC43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8687" y="2861291"/>
                <a:ext cx="10827" cy="6187"/>
              </a:xfrm>
              <a:custGeom>
                <a:avLst/>
                <a:gdLst>
                  <a:gd name="T0" fmla="*/ 5 w 20"/>
                  <a:gd name="T1" fmla="*/ 13 h 13"/>
                  <a:gd name="T2" fmla="*/ 18 w 20"/>
                  <a:gd name="T3" fmla="*/ 10 h 13"/>
                  <a:gd name="T4" fmla="*/ 20 w 20"/>
                  <a:gd name="T5" fmla="*/ 10 h 13"/>
                  <a:gd name="T6" fmla="*/ 19 w 20"/>
                  <a:gd name="T7" fmla="*/ 1 h 13"/>
                  <a:gd name="T8" fmla="*/ 5 w 20"/>
                  <a:gd name="T9" fmla="*/ 1 h 13"/>
                  <a:gd name="T10" fmla="*/ 0 w 20"/>
                  <a:gd name="T11" fmla="*/ 2 h 13"/>
                  <a:gd name="T12" fmla="*/ 5 w 20"/>
                  <a:gd name="T13" fmla="*/ 13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3"/>
                  <a:gd name="T23" fmla="*/ 20 w 20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3">
                    <a:moveTo>
                      <a:pt x="5" y="13"/>
                    </a:moveTo>
                    <a:cubicBezTo>
                      <a:pt x="5" y="13"/>
                      <a:pt x="14" y="11"/>
                      <a:pt x="18" y="10"/>
                    </a:cubicBezTo>
                    <a:cubicBezTo>
                      <a:pt x="19" y="10"/>
                      <a:pt x="20" y="10"/>
                      <a:pt x="20" y="1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5" y="0"/>
                      <a:pt x="5" y="1"/>
                    </a:cubicBezTo>
                    <a:cubicBezTo>
                      <a:pt x="3" y="1"/>
                      <a:pt x="1" y="1"/>
                      <a:pt x="0" y="2"/>
                    </a:cubicBezTo>
                    <a:lnTo>
                      <a:pt x="5" y="1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1" name="MCShape 83">
                <a:extLst>
                  <a:ext uri="{FF2B5EF4-FFF2-40B4-BE49-F238E27FC236}">
                    <a16:creationId xmlns:a16="http://schemas.microsoft.com/office/drawing/2014/main" id="{79DBEBBA-03F8-453A-969B-445471C10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9265" y="2567411"/>
                <a:ext cx="827505" cy="327909"/>
              </a:xfrm>
              <a:custGeom>
                <a:avLst/>
                <a:gdLst>
                  <a:gd name="T0" fmla="*/ 1353 w 1406"/>
                  <a:gd name="T1" fmla="*/ 245 h 558"/>
                  <a:gd name="T2" fmla="*/ 1312 w 1406"/>
                  <a:gd name="T3" fmla="*/ 214 h 558"/>
                  <a:gd name="T4" fmla="*/ 1247 w 1406"/>
                  <a:gd name="T5" fmla="*/ 225 h 558"/>
                  <a:gd name="T6" fmla="*/ 1182 w 1406"/>
                  <a:gd name="T7" fmla="*/ 215 h 558"/>
                  <a:gd name="T8" fmla="*/ 1179 w 1406"/>
                  <a:gd name="T9" fmla="*/ 178 h 558"/>
                  <a:gd name="T10" fmla="*/ 1162 w 1406"/>
                  <a:gd name="T11" fmla="*/ 114 h 558"/>
                  <a:gd name="T12" fmla="*/ 1091 w 1406"/>
                  <a:gd name="T13" fmla="*/ 102 h 558"/>
                  <a:gd name="T14" fmla="*/ 1025 w 1406"/>
                  <a:gd name="T15" fmla="*/ 136 h 558"/>
                  <a:gd name="T16" fmla="*/ 967 w 1406"/>
                  <a:gd name="T17" fmla="*/ 143 h 558"/>
                  <a:gd name="T18" fmla="*/ 922 w 1406"/>
                  <a:gd name="T19" fmla="*/ 156 h 558"/>
                  <a:gd name="T20" fmla="*/ 855 w 1406"/>
                  <a:gd name="T21" fmla="*/ 148 h 558"/>
                  <a:gd name="T22" fmla="*/ 812 w 1406"/>
                  <a:gd name="T23" fmla="*/ 114 h 558"/>
                  <a:gd name="T24" fmla="*/ 728 w 1406"/>
                  <a:gd name="T25" fmla="*/ 97 h 558"/>
                  <a:gd name="T26" fmla="*/ 607 w 1406"/>
                  <a:gd name="T27" fmla="*/ 95 h 558"/>
                  <a:gd name="T28" fmla="*/ 563 w 1406"/>
                  <a:gd name="T29" fmla="*/ 83 h 558"/>
                  <a:gd name="T30" fmla="*/ 472 w 1406"/>
                  <a:gd name="T31" fmla="*/ 22 h 558"/>
                  <a:gd name="T32" fmla="*/ 384 w 1406"/>
                  <a:gd name="T33" fmla="*/ 0 h 558"/>
                  <a:gd name="T34" fmla="*/ 373 w 1406"/>
                  <a:gd name="T35" fmla="*/ 33 h 558"/>
                  <a:gd name="T36" fmla="*/ 372 w 1406"/>
                  <a:gd name="T37" fmla="*/ 60 h 558"/>
                  <a:gd name="T38" fmla="*/ 391 w 1406"/>
                  <a:gd name="T39" fmla="*/ 110 h 558"/>
                  <a:gd name="T40" fmla="*/ 335 w 1406"/>
                  <a:gd name="T41" fmla="*/ 119 h 558"/>
                  <a:gd name="T42" fmla="*/ 301 w 1406"/>
                  <a:gd name="T43" fmla="*/ 118 h 558"/>
                  <a:gd name="T44" fmla="*/ 278 w 1406"/>
                  <a:gd name="T45" fmla="*/ 107 h 558"/>
                  <a:gd name="T46" fmla="*/ 182 w 1406"/>
                  <a:gd name="T47" fmla="*/ 86 h 558"/>
                  <a:gd name="T48" fmla="*/ 155 w 1406"/>
                  <a:gd name="T49" fmla="*/ 70 h 558"/>
                  <a:gd name="T50" fmla="*/ 119 w 1406"/>
                  <a:gd name="T51" fmla="*/ 88 h 558"/>
                  <a:gd name="T52" fmla="*/ 83 w 1406"/>
                  <a:gd name="T53" fmla="*/ 100 h 558"/>
                  <a:gd name="T54" fmla="*/ 47 w 1406"/>
                  <a:gd name="T55" fmla="*/ 130 h 558"/>
                  <a:gd name="T56" fmla="*/ 9 w 1406"/>
                  <a:gd name="T57" fmla="*/ 151 h 558"/>
                  <a:gd name="T58" fmla="*/ 18 w 1406"/>
                  <a:gd name="T59" fmla="*/ 174 h 558"/>
                  <a:gd name="T60" fmla="*/ 54 w 1406"/>
                  <a:gd name="T61" fmla="*/ 203 h 558"/>
                  <a:gd name="T62" fmla="*/ 107 w 1406"/>
                  <a:gd name="T63" fmla="*/ 221 h 558"/>
                  <a:gd name="T64" fmla="*/ 179 w 1406"/>
                  <a:gd name="T65" fmla="*/ 276 h 558"/>
                  <a:gd name="T66" fmla="*/ 192 w 1406"/>
                  <a:gd name="T67" fmla="*/ 326 h 558"/>
                  <a:gd name="T68" fmla="*/ 274 w 1406"/>
                  <a:gd name="T69" fmla="*/ 374 h 558"/>
                  <a:gd name="T70" fmla="*/ 361 w 1406"/>
                  <a:gd name="T71" fmla="*/ 397 h 558"/>
                  <a:gd name="T72" fmla="*/ 430 w 1406"/>
                  <a:gd name="T73" fmla="*/ 429 h 558"/>
                  <a:gd name="T74" fmla="*/ 502 w 1406"/>
                  <a:gd name="T75" fmla="*/ 498 h 558"/>
                  <a:gd name="T76" fmla="*/ 610 w 1406"/>
                  <a:gd name="T77" fmla="*/ 499 h 558"/>
                  <a:gd name="T78" fmla="*/ 679 w 1406"/>
                  <a:gd name="T79" fmla="*/ 501 h 558"/>
                  <a:gd name="T80" fmla="*/ 795 w 1406"/>
                  <a:gd name="T81" fmla="*/ 531 h 558"/>
                  <a:gd name="T82" fmla="*/ 873 w 1406"/>
                  <a:gd name="T83" fmla="*/ 550 h 558"/>
                  <a:gd name="T84" fmla="*/ 1066 w 1406"/>
                  <a:gd name="T85" fmla="*/ 510 h 558"/>
                  <a:gd name="T86" fmla="*/ 1112 w 1406"/>
                  <a:gd name="T87" fmla="*/ 463 h 558"/>
                  <a:gd name="T88" fmla="*/ 1108 w 1406"/>
                  <a:gd name="T89" fmla="*/ 407 h 558"/>
                  <a:gd name="T90" fmla="*/ 1160 w 1406"/>
                  <a:gd name="T91" fmla="*/ 388 h 558"/>
                  <a:gd name="T92" fmla="*/ 1213 w 1406"/>
                  <a:gd name="T93" fmla="*/ 350 h 558"/>
                  <a:gd name="T94" fmla="*/ 1270 w 1406"/>
                  <a:gd name="T95" fmla="*/ 314 h 558"/>
                  <a:gd name="T96" fmla="*/ 1320 w 1406"/>
                  <a:gd name="T97" fmla="*/ 294 h 558"/>
                  <a:gd name="T98" fmla="*/ 1355 w 1406"/>
                  <a:gd name="T99" fmla="*/ 279 h 558"/>
                  <a:gd name="T100" fmla="*/ 1394 w 1406"/>
                  <a:gd name="T101" fmla="*/ 273 h 55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406"/>
                  <a:gd name="T154" fmla="*/ 0 h 558"/>
                  <a:gd name="T155" fmla="*/ 1406 w 1406"/>
                  <a:gd name="T156" fmla="*/ 558 h 55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406" h="558">
                    <a:moveTo>
                      <a:pt x="1394" y="273"/>
                    </a:moveTo>
                    <a:cubicBezTo>
                      <a:pt x="1385" y="267"/>
                      <a:pt x="1380" y="256"/>
                      <a:pt x="1380" y="256"/>
                    </a:cubicBezTo>
                    <a:cubicBezTo>
                      <a:pt x="1380" y="256"/>
                      <a:pt x="1362" y="252"/>
                      <a:pt x="1353" y="245"/>
                    </a:cubicBezTo>
                    <a:cubicBezTo>
                      <a:pt x="1344" y="238"/>
                      <a:pt x="1336" y="231"/>
                      <a:pt x="1336" y="231"/>
                    </a:cubicBezTo>
                    <a:cubicBezTo>
                      <a:pt x="1336" y="231"/>
                      <a:pt x="1333" y="231"/>
                      <a:pt x="1324" y="230"/>
                    </a:cubicBezTo>
                    <a:cubicBezTo>
                      <a:pt x="1315" y="229"/>
                      <a:pt x="1312" y="214"/>
                      <a:pt x="1312" y="214"/>
                    </a:cubicBezTo>
                    <a:cubicBezTo>
                      <a:pt x="1271" y="214"/>
                      <a:pt x="1271" y="214"/>
                      <a:pt x="1271" y="214"/>
                    </a:cubicBezTo>
                    <a:cubicBezTo>
                      <a:pt x="1271" y="214"/>
                      <a:pt x="1270" y="232"/>
                      <a:pt x="1264" y="234"/>
                    </a:cubicBezTo>
                    <a:cubicBezTo>
                      <a:pt x="1258" y="236"/>
                      <a:pt x="1247" y="225"/>
                      <a:pt x="1247" y="225"/>
                    </a:cubicBezTo>
                    <a:cubicBezTo>
                      <a:pt x="1247" y="225"/>
                      <a:pt x="1237" y="221"/>
                      <a:pt x="1218" y="222"/>
                    </a:cubicBezTo>
                    <a:cubicBezTo>
                      <a:pt x="1199" y="223"/>
                      <a:pt x="1215" y="230"/>
                      <a:pt x="1206" y="233"/>
                    </a:cubicBezTo>
                    <a:cubicBezTo>
                      <a:pt x="1197" y="236"/>
                      <a:pt x="1185" y="225"/>
                      <a:pt x="1182" y="215"/>
                    </a:cubicBezTo>
                    <a:cubicBezTo>
                      <a:pt x="1179" y="205"/>
                      <a:pt x="1184" y="202"/>
                      <a:pt x="1184" y="202"/>
                    </a:cubicBezTo>
                    <a:cubicBezTo>
                      <a:pt x="1180" y="196"/>
                      <a:pt x="1180" y="196"/>
                      <a:pt x="1180" y="196"/>
                    </a:cubicBezTo>
                    <a:cubicBezTo>
                      <a:pt x="1179" y="178"/>
                      <a:pt x="1179" y="178"/>
                      <a:pt x="1179" y="178"/>
                    </a:cubicBezTo>
                    <a:cubicBezTo>
                      <a:pt x="1174" y="172"/>
                      <a:pt x="1174" y="172"/>
                      <a:pt x="1174" y="172"/>
                    </a:cubicBezTo>
                    <a:cubicBezTo>
                      <a:pt x="1173" y="117"/>
                      <a:pt x="1173" y="117"/>
                      <a:pt x="1173" y="117"/>
                    </a:cubicBezTo>
                    <a:cubicBezTo>
                      <a:pt x="1162" y="114"/>
                      <a:pt x="1162" y="114"/>
                      <a:pt x="1162" y="114"/>
                    </a:cubicBezTo>
                    <a:cubicBezTo>
                      <a:pt x="1144" y="111"/>
                      <a:pt x="1144" y="111"/>
                      <a:pt x="1144" y="111"/>
                    </a:cubicBezTo>
                    <a:cubicBezTo>
                      <a:pt x="1144" y="111"/>
                      <a:pt x="1138" y="118"/>
                      <a:pt x="1124" y="118"/>
                    </a:cubicBezTo>
                    <a:cubicBezTo>
                      <a:pt x="1110" y="118"/>
                      <a:pt x="1100" y="102"/>
                      <a:pt x="1091" y="102"/>
                    </a:cubicBezTo>
                    <a:cubicBezTo>
                      <a:pt x="1082" y="102"/>
                      <a:pt x="1055" y="98"/>
                      <a:pt x="1055" y="98"/>
                    </a:cubicBezTo>
                    <a:cubicBezTo>
                      <a:pt x="1032" y="121"/>
                      <a:pt x="1032" y="121"/>
                      <a:pt x="1032" y="121"/>
                    </a:cubicBezTo>
                    <a:cubicBezTo>
                      <a:pt x="1032" y="121"/>
                      <a:pt x="1035" y="132"/>
                      <a:pt x="1025" y="136"/>
                    </a:cubicBezTo>
                    <a:cubicBezTo>
                      <a:pt x="1015" y="140"/>
                      <a:pt x="1003" y="137"/>
                      <a:pt x="1003" y="137"/>
                    </a:cubicBezTo>
                    <a:cubicBezTo>
                      <a:pt x="993" y="142"/>
                      <a:pt x="993" y="142"/>
                      <a:pt x="993" y="142"/>
                    </a:cubicBezTo>
                    <a:cubicBezTo>
                      <a:pt x="993" y="142"/>
                      <a:pt x="976" y="141"/>
                      <a:pt x="967" y="143"/>
                    </a:cubicBezTo>
                    <a:cubicBezTo>
                      <a:pt x="958" y="145"/>
                      <a:pt x="960" y="150"/>
                      <a:pt x="955" y="156"/>
                    </a:cubicBezTo>
                    <a:cubicBezTo>
                      <a:pt x="950" y="162"/>
                      <a:pt x="942" y="153"/>
                      <a:pt x="938" y="151"/>
                    </a:cubicBezTo>
                    <a:cubicBezTo>
                      <a:pt x="934" y="149"/>
                      <a:pt x="922" y="156"/>
                      <a:pt x="922" y="156"/>
                    </a:cubicBezTo>
                    <a:cubicBezTo>
                      <a:pt x="922" y="156"/>
                      <a:pt x="898" y="156"/>
                      <a:pt x="895" y="153"/>
                    </a:cubicBezTo>
                    <a:cubicBezTo>
                      <a:pt x="892" y="150"/>
                      <a:pt x="885" y="147"/>
                      <a:pt x="885" y="147"/>
                    </a:cubicBezTo>
                    <a:cubicBezTo>
                      <a:pt x="885" y="147"/>
                      <a:pt x="875" y="150"/>
                      <a:pt x="855" y="148"/>
                    </a:cubicBezTo>
                    <a:cubicBezTo>
                      <a:pt x="835" y="146"/>
                      <a:pt x="840" y="135"/>
                      <a:pt x="840" y="135"/>
                    </a:cubicBezTo>
                    <a:cubicBezTo>
                      <a:pt x="840" y="135"/>
                      <a:pt x="829" y="132"/>
                      <a:pt x="826" y="133"/>
                    </a:cubicBezTo>
                    <a:cubicBezTo>
                      <a:pt x="823" y="134"/>
                      <a:pt x="815" y="115"/>
                      <a:pt x="812" y="114"/>
                    </a:cubicBezTo>
                    <a:cubicBezTo>
                      <a:pt x="809" y="113"/>
                      <a:pt x="790" y="113"/>
                      <a:pt x="778" y="113"/>
                    </a:cubicBezTo>
                    <a:cubicBezTo>
                      <a:pt x="766" y="113"/>
                      <a:pt x="755" y="94"/>
                      <a:pt x="755" y="94"/>
                    </a:cubicBezTo>
                    <a:cubicBezTo>
                      <a:pt x="728" y="97"/>
                      <a:pt x="728" y="97"/>
                      <a:pt x="728" y="97"/>
                    </a:cubicBezTo>
                    <a:cubicBezTo>
                      <a:pt x="728" y="97"/>
                      <a:pt x="726" y="89"/>
                      <a:pt x="697" y="87"/>
                    </a:cubicBezTo>
                    <a:cubicBezTo>
                      <a:pt x="668" y="85"/>
                      <a:pt x="650" y="103"/>
                      <a:pt x="637" y="104"/>
                    </a:cubicBezTo>
                    <a:cubicBezTo>
                      <a:pt x="624" y="105"/>
                      <a:pt x="607" y="95"/>
                      <a:pt x="607" y="95"/>
                    </a:cubicBezTo>
                    <a:cubicBezTo>
                      <a:pt x="607" y="95"/>
                      <a:pt x="600" y="96"/>
                      <a:pt x="590" y="96"/>
                    </a:cubicBezTo>
                    <a:cubicBezTo>
                      <a:pt x="580" y="96"/>
                      <a:pt x="578" y="80"/>
                      <a:pt x="578" y="80"/>
                    </a:cubicBezTo>
                    <a:cubicBezTo>
                      <a:pt x="563" y="83"/>
                      <a:pt x="563" y="83"/>
                      <a:pt x="563" y="83"/>
                    </a:cubicBezTo>
                    <a:cubicBezTo>
                      <a:pt x="563" y="83"/>
                      <a:pt x="541" y="49"/>
                      <a:pt x="532" y="38"/>
                    </a:cubicBezTo>
                    <a:cubicBezTo>
                      <a:pt x="523" y="27"/>
                      <a:pt x="511" y="40"/>
                      <a:pt x="501" y="38"/>
                    </a:cubicBezTo>
                    <a:cubicBezTo>
                      <a:pt x="491" y="36"/>
                      <a:pt x="472" y="22"/>
                      <a:pt x="472" y="22"/>
                    </a:cubicBezTo>
                    <a:cubicBezTo>
                      <a:pt x="472" y="22"/>
                      <a:pt x="452" y="23"/>
                      <a:pt x="434" y="21"/>
                    </a:cubicBezTo>
                    <a:cubicBezTo>
                      <a:pt x="416" y="19"/>
                      <a:pt x="393" y="2"/>
                      <a:pt x="393" y="2"/>
                    </a:cubicBezTo>
                    <a:cubicBezTo>
                      <a:pt x="384" y="0"/>
                      <a:pt x="384" y="0"/>
                      <a:pt x="384" y="0"/>
                    </a:cubicBezTo>
                    <a:cubicBezTo>
                      <a:pt x="384" y="0"/>
                      <a:pt x="385" y="12"/>
                      <a:pt x="380" y="18"/>
                    </a:cubicBezTo>
                    <a:cubicBezTo>
                      <a:pt x="375" y="24"/>
                      <a:pt x="371" y="22"/>
                      <a:pt x="371" y="22"/>
                    </a:cubicBezTo>
                    <a:cubicBezTo>
                      <a:pt x="373" y="33"/>
                      <a:pt x="373" y="33"/>
                      <a:pt x="373" y="33"/>
                    </a:cubicBezTo>
                    <a:cubicBezTo>
                      <a:pt x="373" y="33"/>
                      <a:pt x="362" y="31"/>
                      <a:pt x="362" y="37"/>
                    </a:cubicBezTo>
                    <a:cubicBezTo>
                      <a:pt x="362" y="43"/>
                      <a:pt x="368" y="46"/>
                      <a:pt x="368" y="46"/>
                    </a:cubicBezTo>
                    <a:cubicBezTo>
                      <a:pt x="372" y="60"/>
                      <a:pt x="372" y="60"/>
                      <a:pt x="372" y="60"/>
                    </a:cubicBezTo>
                    <a:cubicBezTo>
                      <a:pt x="388" y="84"/>
                      <a:pt x="388" y="84"/>
                      <a:pt x="388" y="84"/>
                    </a:cubicBezTo>
                    <a:cubicBezTo>
                      <a:pt x="388" y="84"/>
                      <a:pt x="403" y="84"/>
                      <a:pt x="403" y="102"/>
                    </a:cubicBezTo>
                    <a:cubicBezTo>
                      <a:pt x="403" y="120"/>
                      <a:pt x="391" y="110"/>
                      <a:pt x="391" y="110"/>
                    </a:cubicBezTo>
                    <a:cubicBezTo>
                      <a:pt x="391" y="110"/>
                      <a:pt x="393" y="117"/>
                      <a:pt x="376" y="125"/>
                    </a:cubicBezTo>
                    <a:cubicBezTo>
                      <a:pt x="359" y="133"/>
                      <a:pt x="365" y="117"/>
                      <a:pt x="365" y="117"/>
                    </a:cubicBezTo>
                    <a:cubicBezTo>
                      <a:pt x="335" y="119"/>
                      <a:pt x="335" y="119"/>
                      <a:pt x="335" y="119"/>
                    </a:cubicBezTo>
                    <a:cubicBezTo>
                      <a:pt x="334" y="111"/>
                      <a:pt x="334" y="111"/>
                      <a:pt x="334" y="111"/>
                    </a:cubicBezTo>
                    <a:cubicBezTo>
                      <a:pt x="334" y="111"/>
                      <a:pt x="325" y="110"/>
                      <a:pt x="314" y="111"/>
                    </a:cubicBezTo>
                    <a:cubicBezTo>
                      <a:pt x="303" y="112"/>
                      <a:pt x="301" y="118"/>
                      <a:pt x="301" y="118"/>
                    </a:cubicBezTo>
                    <a:cubicBezTo>
                      <a:pt x="299" y="113"/>
                      <a:pt x="299" y="113"/>
                      <a:pt x="299" y="113"/>
                    </a:cubicBezTo>
                    <a:cubicBezTo>
                      <a:pt x="280" y="116"/>
                      <a:pt x="280" y="116"/>
                      <a:pt x="280" y="116"/>
                    </a:cubicBezTo>
                    <a:cubicBezTo>
                      <a:pt x="278" y="107"/>
                      <a:pt x="278" y="107"/>
                      <a:pt x="278" y="107"/>
                    </a:cubicBezTo>
                    <a:cubicBezTo>
                      <a:pt x="278" y="107"/>
                      <a:pt x="256" y="109"/>
                      <a:pt x="247" y="102"/>
                    </a:cubicBezTo>
                    <a:cubicBezTo>
                      <a:pt x="238" y="95"/>
                      <a:pt x="240" y="82"/>
                      <a:pt x="233" y="82"/>
                    </a:cubicBezTo>
                    <a:cubicBezTo>
                      <a:pt x="226" y="82"/>
                      <a:pt x="182" y="86"/>
                      <a:pt x="182" y="86"/>
                    </a:cubicBezTo>
                    <a:cubicBezTo>
                      <a:pt x="177" y="75"/>
                      <a:pt x="177" y="75"/>
                      <a:pt x="177" y="75"/>
                    </a:cubicBezTo>
                    <a:cubicBezTo>
                      <a:pt x="177" y="75"/>
                      <a:pt x="161" y="75"/>
                      <a:pt x="158" y="75"/>
                    </a:cubicBezTo>
                    <a:cubicBezTo>
                      <a:pt x="155" y="75"/>
                      <a:pt x="155" y="70"/>
                      <a:pt x="155" y="70"/>
                    </a:cubicBezTo>
                    <a:cubicBezTo>
                      <a:pt x="143" y="77"/>
                      <a:pt x="143" y="77"/>
                      <a:pt x="143" y="77"/>
                    </a:cubicBezTo>
                    <a:cubicBezTo>
                      <a:pt x="143" y="77"/>
                      <a:pt x="134" y="71"/>
                      <a:pt x="127" y="71"/>
                    </a:cubicBezTo>
                    <a:cubicBezTo>
                      <a:pt x="120" y="71"/>
                      <a:pt x="119" y="88"/>
                      <a:pt x="119" y="88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92" y="101"/>
                      <a:pt x="92" y="101"/>
                      <a:pt x="92" y="101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0"/>
                      <a:pt x="72" y="108"/>
                      <a:pt x="63" y="118"/>
                    </a:cubicBezTo>
                    <a:cubicBezTo>
                      <a:pt x="54" y="128"/>
                      <a:pt x="63" y="130"/>
                      <a:pt x="63" y="130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49" y="139"/>
                      <a:pt x="49" y="139"/>
                      <a:pt x="49" y="139"/>
                    </a:cubicBezTo>
                    <a:cubicBezTo>
                      <a:pt x="8" y="139"/>
                      <a:pt x="8" y="139"/>
                      <a:pt x="8" y="139"/>
                    </a:cubicBezTo>
                    <a:cubicBezTo>
                      <a:pt x="9" y="151"/>
                      <a:pt x="9" y="151"/>
                      <a:pt x="9" y="151"/>
                    </a:cubicBezTo>
                    <a:cubicBezTo>
                      <a:pt x="2" y="158"/>
                      <a:pt x="2" y="158"/>
                      <a:pt x="2" y="158"/>
                    </a:cubicBezTo>
                    <a:cubicBezTo>
                      <a:pt x="10" y="162"/>
                      <a:pt x="0" y="174"/>
                      <a:pt x="0" y="174"/>
                    </a:cubicBezTo>
                    <a:cubicBezTo>
                      <a:pt x="18" y="174"/>
                      <a:pt x="18" y="174"/>
                      <a:pt x="18" y="174"/>
                    </a:cubicBezTo>
                    <a:cubicBezTo>
                      <a:pt x="18" y="174"/>
                      <a:pt x="14" y="182"/>
                      <a:pt x="19" y="187"/>
                    </a:cubicBezTo>
                    <a:cubicBezTo>
                      <a:pt x="24" y="192"/>
                      <a:pt x="48" y="195"/>
                      <a:pt x="48" y="195"/>
                    </a:cubicBezTo>
                    <a:cubicBezTo>
                      <a:pt x="54" y="203"/>
                      <a:pt x="54" y="203"/>
                      <a:pt x="54" y="203"/>
                    </a:cubicBezTo>
                    <a:cubicBezTo>
                      <a:pt x="71" y="219"/>
                      <a:pt x="71" y="219"/>
                      <a:pt x="71" y="219"/>
                    </a:cubicBezTo>
                    <a:cubicBezTo>
                      <a:pt x="92" y="213"/>
                      <a:pt x="92" y="213"/>
                      <a:pt x="92" y="213"/>
                    </a:cubicBezTo>
                    <a:cubicBezTo>
                      <a:pt x="107" y="221"/>
                      <a:pt x="107" y="221"/>
                      <a:pt x="107" y="221"/>
                    </a:cubicBezTo>
                    <a:cubicBezTo>
                      <a:pt x="107" y="221"/>
                      <a:pt x="113" y="223"/>
                      <a:pt x="127" y="227"/>
                    </a:cubicBezTo>
                    <a:cubicBezTo>
                      <a:pt x="141" y="231"/>
                      <a:pt x="148" y="245"/>
                      <a:pt x="153" y="252"/>
                    </a:cubicBezTo>
                    <a:cubicBezTo>
                      <a:pt x="158" y="259"/>
                      <a:pt x="167" y="268"/>
                      <a:pt x="179" y="276"/>
                    </a:cubicBezTo>
                    <a:cubicBezTo>
                      <a:pt x="191" y="284"/>
                      <a:pt x="188" y="300"/>
                      <a:pt x="188" y="300"/>
                    </a:cubicBezTo>
                    <a:cubicBezTo>
                      <a:pt x="188" y="300"/>
                      <a:pt x="198" y="308"/>
                      <a:pt x="200" y="315"/>
                    </a:cubicBezTo>
                    <a:cubicBezTo>
                      <a:pt x="202" y="322"/>
                      <a:pt x="192" y="326"/>
                      <a:pt x="192" y="326"/>
                    </a:cubicBezTo>
                    <a:cubicBezTo>
                      <a:pt x="192" y="326"/>
                      <a:pt x="193" y="336"/>
                      <a:pt x="198" y="349"/>
                    </a:cubicBezTo>
                    <a:cubicBezTo>
                      <a:pt x="203" y="362"/>
                      <a:pt x="224" y="364"/>
                      <a:pt x="235" y="368"/>
                    </a:cubicBezTo>
                    <a:cubicBezTo>
                      <a:pt x="246" y="372"/>
                      <a:pt x="260" y="375"/>
                      <a:pt x="274" y="374"/>
                    </a:cubicBezTo>
                    <a:cubicBezTo>
                      <a:pt x="288" y="373"/>
                      <a:pt x="322" y="375"/>
                      <a:pt x="322" y="375"/>
                    </a:cubicBezTo>
                    <a:cubicBezTo>
                      <a:pt x="322" y="375"/>
                      <a:pt x="333" y="380"/>
                      <a:pt x="342" y="382"/>
                    </a:cubicBezTo>
                    <a:cubicBezTo>
                      <a:pt x="351" y="384"/>
                      <a:pt x="358" y="396"/>
                      <a:pt x="361" y="397"/>
                    </a:cubicBezTo>
                    <a:cubicBezTo>
                      <a:pt x="364" y="398"/>
                      <a:pt x="401" y="410"/>
                      <a:pt x="401" y="410"/>
                    </a:cubicBezTo>
                    <a:cubicBezTo>
                      <a:pt x="423" y="413"/>
                      <a:pt x="423" y="413"/>
                      <a:pt x="423" y="413"/>
                    </a:cubicBezTo>
                    <a:cubicBezTo>
                      <a:pt x="430" y="429"/>
                      <a:pt x="430" y="429"/>
                      <a:pt x="430" y="429"/>
                    </a:cubicBezTo>
                    <a:cubicBezTo>
                      <a:pt x="430" y="429"/>
                      <a:pt x="439" y="434"/>
                      <a:pt x="443" y="438"/>
                    </a:cubicBezTo>
                    <a:cubicBezTo>
                      <a:pt x="447" y="442"/>
                      <a:pt x="461" y="461"/>
                      <a:pt x="465" y="467"/>
                    </a:cubicBezTo>
                    <a:cubicBezTo>
                      <a:pt x="469" y="473"/>
                      <a:pt x="502" y="498"/>
                      <a:pt x="502" y="498"/>
                    </a:cubicBezTo>
                    <a:cubicBezTo>
                      <a:pt x="540" y="494"/>
                      <a:pt x="540" y="494"/>
                      <a:pt x="540" y="494"/>
                    </a:cubicBezTo>
                    <a:cubicBezTo>
                      <a:pt x="579" y="499"/>
                      <a:pt x="579" y="499"/>
                      <a:pt x="579" y="499"/>
                    </a:cubicBezTo>
                    <a:cubicBezTo>
                      <a:pt x="610" y="499"/>
                      <a:pt x="610" y="499"/>
                      <a:pt x="610" y="499"/>
                    </a:cubicBezTo>
                    <a:cubicBezTo>
                      <a:pt x="635" y="504"/>
                      <a:pt x="635" y="504"/>
                      <a:pt x="635" y="504"/>
                    </a:cubicBezTo>
                    <a:cubicBezTo>
                      <a:pt x="635" y="504"/>
                      <a:pt x="649" y="493"/>
                      <a:pt x="654" y="493"/>
                    </a:cubicBezTo>
                    <a:cubicBezTo>
                      <a:pt x="659" y="493"/>
                      <a:pt x="679" y="501"/>
                      <a:pt x="679" y="501"/>
                    </a:cubicBezTo>
                    <a:cubicBezTo>
                      <a:pt x="679" y="501"/>
                      <a:pt x="718" y="501"/>
                      <a:pt x="728" y="504"/>
                    </a:cubicBezTo>
                    <a:cubicBezTo>
                      <a:pt x="738" y="507"/>
                      <a:pt x="740" y="522"/>
                      <a:pt x="755" y="527"/>
                    </a:cubicBezTo>
                    <a:cubicBezTo>
                      <a:pt x="770" y="532"/>
                      <a:pt x="781" y="530"/>
                      <a:pt x="795" y="531"/>
                    </a:cubicBezTo>
                    <a:cubicBezTo>
                      <a:pt x="809" y="532"/>
                      <a:pt x="837" y="547"/>
                      <a:pt x="837" y="547"/>
                    </a:cubicBezTo>
                    <a:cubicBezTo>
                      <a:pt x="837" y="547"/>
                      <a:pt x="858" y="538"/>
                      <a:pt x="864" y="538"/>
                    </a:cubicBezTo>
                    <a:cubicBezTo>
                      <a:pt x="870" y="538"/>
                      <a:pt x="873" y="550"/>
                      <a:pt x="873" y="550"/>
                    </a:cubicBezTo>
                    <a:cubicBezTo>
                      <a:pt x="873" y="550"/>
                      <a:pt x="893" y="558"/>
                      <a:pt x="899" y="553"/>
                    </a:cubicBezTo>
                    <a:cubicBezTo>
                      <a:pt x="905" y="548"/>
                      <a:pt x="948" y="519"/>
                      <a:pt x="962" y="513"/>
                    </a:cubicBezTo>
                    <a:cubicBezTo>
                      <a:pt x="976" y="507"/>
                      <a:pt x="1066" y="510"/>
                      <a:pt x="1066" y="510"/>
                    </a:cubicBezTo>
                    <a:cubicBezTo>
                      <a:pt x="1078" y="497"/>
                      <a:pt x="1078" y="497"/>
                      <a:pt x="1078" y="497"/>
                    </a:cubicBezTo>
                    <a:cubicBezTo>
                      <a:pt x="1078" y="497"/>
                      <a:pt x="1095" y="499"/>
                      <a:pt x="1103" y="492"/>
                    </a:cubicBezTo>
                    <a:cubicBezTo>
                      <a:pt x="1111" y="485"/>
                      <a:pt x="1109" y="470"/>
                      <a:pt x="1112" y="463"/>
                    </a:cubicBezTo>
                    <a:cubicBezTo>
                      <a:pt x="1115" y="456"/>
                      <a:pt x="1125" y="459"/>
                      <a:pt x="1129" y="459"/>
                    </a:cubicBezTo>
                    <a:cubicBezTo>
                      <a:pt x="1133" y="459"/>
                      <a:pt x="1143" y="444"/>
                      <a:pt x="1144" y="439"/>
                    </a:cubicBezTo>
                    <a:cubicBezTo>
                      <a:pt x="1145" y="434"/>
                      <a:pt x="1114" y="411"/>
                      <a:pt x="1108" y="407"/>
                    </a:cubicBezTo>
                    <a:cubicBezTo>
                      <a:pt x="1102" y="403"/>
                      <a:pt x="1100" y="383"/>
                      <a:pt x="1106" y="373"/>
                    </a:cubicBezTo>
                    <a:cubicBezTo>
                      <a:pt x="1112" y="363"/>
                      <a:pt x="1130" y="369"/>
                      <a:pt x="1134" y="370"/>
                    </a:cubicBezTo>
                    <a:cubicBezTo>
                      <a:pt x="1138" y="371"/>
                      <a:pt x="1160" y="388"/>
                      <a:pt x="1160" y="388"/>
                    </a:cubicBezTo>
                    <a:cubicBezTo>
                      <a:pt x="1160" y="388"/>
                      <a:pt x="1187" y="387"/>
                      <a:pt x="1194" y="385"/>
                    </a:cubicBezTo>
                    <a:cubicBezTo>
                      <a:pt x="1201" y="383"/>
                      <a:pt x="1212" y="369"/>
                      <a:pt x="1212" y="369"/>
                    </a:cubicBezTo>
                    <a:cubicBezTo>
                      <a:pt x="1212" y="369"/>
                      <a:pt x="1210" y="353"/>
                      <a:pt x="1213" y="350"/>
                    </a:cubicBezTo>
                    <a:cubicBezTo>
                      <a:pt x="1216" y="347"/>
                      <a:pt x="1262" y="350"/>
                      <a:pt x="1262" y="350"/>
                    </a:cubicBezTo>
                    <a:cubicBezTo>
                      <a:pt x="1278" y="336"/>
                      <a:pt x="1278" y="336"/>
                      <a:pt x="1278" y="336"/>
                    </a:cubicBezTo>
                    <a:cubicBezTo>
                      <a:pt x="1278" y="336"/>
                      <a:pt x="1263" y="325"/>
                      <a:pt x="1270" y="314"/>
                    </a:cubicBezTo>
                    <a:cubicBezTo>
                      <a:pt x="1277" y="303"/>
                      <a:pt x="1302" y="302"/>
                      <a:pt x="1302" y="302"/>
                    </a:cubicBezTo>
                    <a:cubicBezTo>
                      <a:pt x="1302" y="291"/>
                      <a:pt x="1302" y="291"/>
                      <a:pt x="1302" y="291"/>
                    </a:cubicBezTo>
                    <a:cubicBezTo>
                      <a:pt x="1320" y="294"/>
                      <a:pt x="1320" y="294"/>
                      <a:pt x="1320" y="294"/>
                    </a:cubicBezTo>
                    <a:cubicBezTo>
                      <a:pt x="1326" y="291"/>
                      <a:pt x="1326" y="291"/>
                      <a:pt x="1326" y="291"/>
                    </a:cubicBezTo>
                    <a:cubicBezTo>
                      <a:pt x="1335" y="282"/>
                      <a:pt x="1335" y="282"/>
                      <a:pt x="1335" y="282"/>
                    </a:cubicBezTo>
                    <a:cubicBezTo>
                      <a:pt x="1335" y="282"/>
                      <a:pt x="1346" y="279"/>
                      <a:pt x="1355" y="279"/>
                    </a:cubicBezTo>
                    <a:cubicBezTo>
                      <a:pt x="1364" y="279"/>
                      <a:pt x="1372" y="288"/>
                      <a:pt x="1372" y="288"/>
                    </a:cubicBezTo>
                    <a:cubicBezTo>
                      <a:pt x="1372" y="288"/>
                      <a:pt x="1390" y="287"/>
                      <a:pt x="1398" y="286"/>
                    </a:cubicBezTo>
                    <a:cubicBezTo>
                      <a:pt x="1406" y="285"/>
                      <a:pt x="1403" y="279"/>
                      <a:pt x="1394" y="27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2" name="MCShape 84">
                <a:extLst>
                  <a:ext uri="{FF2B5EF4-FFF2-40B4-BE49-F238E27FC236}">
                    <a16:creationId xmlns:a16="http://schemas.microsoft.com/office/drawing/2014/main" id="{871D1732-08BA-47A1-8E0F-B54CFCDDB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226" y="2831903"/>
                <a:ext cx="180968" cy="85072"/>
              </a:xfrm>
              <a:custGeom>
                <a:avLst/>
                <a:gdLst>
                  <a:gd name="T0" fmla="*/ 4 w 308"/>
                  <a:gd name="T1" fmla="*/ 12 h 144"/>
                  <a:gd name="T2" fmla="*/ 52 w 308"/>
                  <a:gd name="T3" fmla="*/ 37 h 144"/>
                  <a:gd name="T4" fmla="*/ 75 w 308"/>
                  <a:gd name="T5" fmla="*/ 54 h 144"/>
                  <a:gd name="T6" fmla="*/ 79 w 308"/>
                  <a:gd name="T7" fmla="*/ 85 h 144"/>
                  <a:gd name="T8" fmla="*/ 92 w 308"/>
                  <a:gd name="T9" fmla="*/ 103 h 144"/>
                  <a:gd name="T10" fmla="*/ 85 w 308"/>
                  <a:gd name="T11" fmla="*/ 110 h 144"/>
                  <a:gd name="T12" fmla="*/ 111 w 308"/>
                  <a:gd name="T13" fmla="*/ 115 h 144"/>
                  <a:gd name="T14" fmla="*/ 131 w 308"/>
                  <a:gd name="T15" fmla="*/ 108 h 144"/>
                  <a:gd name="T16" fmla="*/ 147 w 308"/>
                  <a:gd name="T17" fmla="*/ 126 h 144"/>
                  <a:gd name="T18" fmla="*/ 164 w 308"/>
                  <a:gd name="T19" fmla="*/ 126 h 144"/>
                  <a:gd name="T20" fmla="*/ 166 w 308"/>
                  <a:gd name="T21" fmla="*/ 134 h 144"/>
                  <a:gd name="T22" fmla="*/ 183 w 308"/>
                  <a:gd name="T23" fmla="*/ 133 h 144"/>
                  <a:gd name="T24" fmla="*/ 188 w 308"/>
                  <a:gd name="T25" fmla="*/ 126 h 144"/>
                  <a:gd name="T26" fmla="*/ 221 w 308"/>
                  <a:gd name="T27" fmla="*/ 130 h 144"/>
                  <a:gd name="T28" fmla="*/ 227 w 308"/>
                  <a:gd name="T29" fmla="*/ 120 h 144"/>
                  <a:gd name="T30" fmla="*/ 235 w 308"/>
                  <a:gd name="T31" fmla="*/ 123 h 144"/>
                  <a:gd name="T32" fmla="*/ 235 w 308"/>
                  <a:gd name="T33" fmla="*/ 123 h 144"/>
                  <a:gd name="T34" fmla="*/ 250 w 308"/>
                  <a:gd name="T35" fmla="*/ 112 h 144"/>
                  <a:gd name="T36" fmla="*/ 261 w 308"/>
                  <a:gd name="T37" fmla="*/ 120 h 144"/>
                  <a:gd name="T38" fmla="*/ 275 w 308"/>
                  <a:gd name="T39" fmla="*/ 130 h 144"/>
                  <a:gd name="T40" fmla="*/ 289 w 308"/>
                  <a:gd name="T41" fmla="*/ 127 h 144"/>
                  <a:gd name="T42" fmla="*/ 306 w 308"/>
                  <a:gd name="T43" fmla="*/ 134 h 144"/>
                  <a:gd name="T44" fmla="*/ 287 w 308"/>
                  <a:gd name="T45" fmla="*/ 113 h 144"/>
                  <a:gd name="T46" fmla="*/ 278 w 308"/>
                  <a:gd name="T47" fmla="*/ 97 h 144"/>
                  <a:gd name="T48" fmla="*/ 286 w 308"/>
                  <a:gd name="T49" fmla="*/ 93 h 144"/>
                  <a:gd name="T50" fmla="*/ 251 w 308"/>
                  <a:gd name="T51" fmla="*/ 75 h 144"/>
                  <a:gd name="T52" fmla="*/ 256 w 308"/>
                  <a:gd name="T53" fmla="*/ 58 h 144"/>
                  <a:gd name="T54" fmla="*/ 236 w 308"/>
                  <a:gd name="T55" fmla="*/ 55 h 144"/>
                  <a:gd name="T56" fmla="*/ 208 w 308"/>
                  <a:gd name="T57" fmla="*/ 42 h 144"/>
                  <a:gd name="T58" fmla="*/ 179 w 308"/>
                  <a:gd name="T59" fmla="*/ 53 h 144"/>
                  <a:gd name="T60" fmla="*/ 160 w 308"/>
                  <a:gd name="T61" fmla="*/ 42 h 144"/>
                  <a:gd name="T62" fmla="*/ 128 w 308"/>
                  <a:gd name="T63" fmla="*/ 22 h 144"/>
                  <a:gd name="T64" fmla="*/ 95 w 308"/>
                  <a:gd name="T65" fmla="*/ 18 h 144"/>
                  <a:gd name="T66" fmla="*/ 54 w 308"/>
                  <a:gd name="T67" fmla="*/ 10 h 144"/>
                  <a:gd name="T68" fmla="*/ 13 w 308"/>
                  <a:gd name="T69" fmla="*/ 0 h 144"/>
                  <a:gd name="T70" fmla="*/ 0 w 308"/>
                  <a:gd name="T71" fmla="*/ 11 h 144"/>
                  <a:gd name="T72" fmla="*/ 4 w 308"/>
                  <a:gd name="T73" fmla="*/ 12 h 14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08"/>
                  <a:gd name="T112" fmla="*/ 0 h 144"/>
                  <a:gd name="T113" fmla="*/ 308 w 308"/>
                  <a:gd name="T114" fmla="*/ 144 h 14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08" h="144">
                    <a:moveTo>
                      <a:pt x="4" y="12"/>
                    </a:moveTo>
                    <a:cubicBezTo>
                      <a:pt x="4" y="12"/>
                      <a:pt x="44" y="34"/>
                      <a:pt x="52" y="37"/>
                    </a:cubicBezTo>
                    <a:cubicBezTo>
                      <a:pt x="60" y="40"/>
                      <a:pt x="75" y="54"/>
                      <a:pt x="75" y="54"/>
                    </a:cubicBezTo>
                    <a:cubicBezTo>
                      <a:pt x="75" y="54"/>
                      <a:pt x="79" y="82"/>
                      <a:pt x="79" y="85"/>
                    </a:cubicBezTo>
                    <a:cubicBezTo>
                      <a:pt x="79" y="88"/>
                      <a:pt x="92" y="103"/>
                      <a:pt x="92" y="103"/>
                    </a:cubicBezTo>
                    <a:cubicBezTo>
                      <a:pt x="92" y="103"/>
                      <a:pt x="90" y="105"/>
                      <a:pt x="85" y="110"/>
                    </a:cubicBezTo>
                    <a:cubicBezTo>
                      <a:pt x="111" y="115"/>
                      <a:pt x="111" y="115"/>
                      <a:pt x="111" y="115"/>
                    </a:cubicBezTo>
                    <a:cubicBezTo>
                      <a:pt x="111" y="115"/>
                      <a:pt x="117" y="105"/>
                      <a:pt x="131" y="108"/>
                    </a:cubicBezTo>
                    <a:cubicBezTo>
                      <a:pt x="145" y="111"/>
                      <a:pt x="147" y="126"/>
                      <a:pt x="147" y="126"/>
                    </a:cubicBezTo>
                    <a:cubicBezTo>
                      <a:pt x="164" y="126"/>
                      <a:pt x="164" y="126"/>
                      <a:pt x="164" y="126"/>
                    </a:cubicBezTo>
                    <a:cubicBezTo>
                      <a:pt x="164" y="126"/>
                      <a:pt x="165" y="129"/>
                      <a:pt x="166" y="134"/>
                    </a:cubicBezTo>
                    <a:cubicBezTo>
                      <a:pt x="183" y="133"/>
                      <a:pt x="183" y="133"/>
                      <a:pt x="183" y="133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221" y="130"/>
                      <a:pt x="221" y="130"/>
                      <a:pt x="221" y="130"/>
                    </a:cubicBezTo>
                    <a:cubicBezTo>
                      <a:pt x="221" y="130"/>
                      <a:pt x="224" y="120"/>
                      <a:pt x="227" y="120"/>
                    </a:cubicBezTo>
                    <a:cubicBezTo>
                      <a:pt x="228" y="120"/>
                      <a:pt x="232" y="121"/>
                      <a:pt x="235" y="123"/>
                    </a:cubicBezTo>
                    <a:cubicBezTo>
                      <a:pt x="235" y="123"/>
                      <a:pt x="235" y="123"/>
                      <a:pt x="235" y="123"/>
                    </a:cubicBezTo>
                    <a:cubicBezTo>
                      <a:pt x="236" y="119"/>
                      <a:pt x="240" y="111"/>
                      <a:pt x="250" y="112"/>
                    </a:cubicBezTo>
                    <a:cubicBezTo>
                      <a:pt x="263" y="113"/>
                      <a:pt x="261" y="120"/>
                      <a:pt x="261" y="120"/>
                    </a:cubicBezTo>
                    <a:cubicBezTo>
                      <a:pt x="275" y="130"/>
                      <a:pt x="275" y="130"/>
                      <a:pt x="275" y="130"/>
                    </a:cubicBezTo>
                    <a:cubicBezTo>
                      <a:pt x="275" y="130"/>
                      <a:pt x="286" y="127"/>
                      <a:pt x="289" y="127"/>
                    </a:cubicBezTo>
                    <a:cubicBezTo>
                      <a:pt x="292" y="127"/>
                      <a:pt x="304" y="144"/>
                      <a:pt x="306" y="134"/>
                    </a:cubicBezTo>
                    <a:cubicBezTo>
                      <a:pt x="308" y="124"/>
                      <a:pt x="287" y="113"/>
                      <a:pt x="287" y="113"/>
                    </a:cubicBezTo>
                    <a:cubicBezTo>
                      <a:pt x="287" y="113"/>
                      <a:pt x="272" y="102"/>
                      <a:pt x="278" y="97"/>
                    </a:cubicBezTo>
                    <a:cubicBezTo>
                      <a:pt x="280" y="95"/>
                      <a:pt x="283" y="94"/>
                      <a:pt x="286" y="93"/>
                    </a:cubicBezTo>
                    <a:cubicBezTo>
                      <a:pt x="279" y="86"/>
                      <a:pt x="268" y="76"/>
                      <a:pt x="251" y="75"/>
                    </a:cubicBezTo>
                    <a:cubicBezTo>
                      <a:pt x="251" y="76"/>
                      <a:pt x="256" y="58"/>
                      <a:pt x="256" y="58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6" y="55"/>
                      <a:pt x="226" y="40"/>
                      <a:pt x="208" y="42"/>
                    </a:cubicBezTo>
                    <a:cubicBezTo>
                      <a:pt x="190" y="44"/>
                      <a:pt x="198" y="53"/>
                      <a:pt x="179" y="53"/>
                    </a:cubicBezTo>
                    <a:cubicBezTo>
                      <a:pt x="160" y="53"/>
                      <a:pt x="160" y="42"/>
                      <a:pt x="160" y="42"/>
                    </a:cubicBezTo>
                    <a:cubicBezTo>
                      <a:pt x="128" y="22"/>
                      <a:pt x="128" y="22"/>
                      <a:pt x="128" y="22"/>
                    </a:cubicBezTo>
                    <a:cubicBezTo>
                      <a:pt x="128" y="22"/>
                      <a:pt x="108" y="17"/>
                      <a:pt x="95" y="18"/>
                    </a:cubicBezTo>
                    <a:cubicBezTo>
                      <a:pt x="82" y="19"/>
                      <a:pt x="70" y="17"/>
                      <a:pt x="54" y="10"/>
                    </a:cubicBezTo>
                    <a:cubicBezTo>
                      <a:pt x="38" y="3"/>
                      <a:pt x="13" y="0"/>
                      <a:pt x="13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2"/>
                      <a:pt x="4" y="12"/>
                      <a:pt x="4" y="1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3" name="MCShape 85">
                <a:extLst>
                  <a:ext uri="{FF2B5EF4-FFF2-40B4-BE49-F238E27FC236}">
                    <a16:creationId xmlns:a16="http://schemas.microsoft.com/office/drawing/2014/main" id="{1EC2BCD3-EF98-4046-89F2-4738A7CD31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5432" y="2884492"/>
                <a:ext cx="142300" cy="114459"/>
              </a:xfrm>
              <a:custGeom>
                <a:avLst/>
                <a:gdLst>
                  <a:gd name="T0" fmla="*/ 42 w 240"/>
                  <a:gd name="T1" fmla="*/ 125 h 194"/>
                  <a:gd name="T2" fmla="*/ 31 w 240"/>
                  <a:gd name="T3" fmla="*/ 127 h 194"/>
                  <a:gd name="T4" fmla="*/ 14 w 240"/>
                  <a:gd name="T5" fmla="*/ 116 h 194"/>
                  <a:gd name="T6" fmla="*/ 4 w 240"/>
                  <a:gd name="T7" fmla="*/ 119 h 194"/>
                  <a:gd name="T8" fmla="*/ 14 w 240"/>
                  <a:gd name="T9" fmla="*/ 141 h 194"/>
                  <a:gd name="T10" fmla="*/ 56 w 240"/>
                  <a:gd name="T11" fmla="*/ 163 h 194"/>
                  <a:gd name="T12" fmla="*/ 59 w 240"/>
                  <a:gd name="T13" fmla="*/ 163 h 194"/>
                  <a:gd name="T14" fmla="*/ 50 w 240"/>
                  <a:gd name="T15" fmla="*/ 141 h 194"/>
                  <a:gd name="T16" fmla="*/ 42 w 240"/>
                  <a:gd name="T17" fmla="*/ 125 h 194"/>
                  <a:gd name="T18" fmla="*/ 235 w 240"/>
                  <a:gd name="T19" fmla="*/ 75 h 194"/>
                  <a:gd name="T20" fmla="*/ 205 w 240"/>
                  <a:gd name="T21" fmla="*/ 74 h 194"/>
                  <a:gd name="T22" fmla="*/ 193 w 240"/>
                  <a:gd name="T23" fmla="*/ 56 h 194"/>
                  <a:gd name="T24" fmla="*/ 176 w 240"/>
                  <a:gd name="T25" fmla="*/ 38 h 194"/>
                  <a:gd name="T26" fmla="*/ 177 w 240"/>
                  <a:gd name="T27" fmla="*/ 29 h 194"/>
                  <a:gd name="T28" fmla="*/ 145 w 240"/>
                  <a:gd name="T29" fmla="*/ 2 h 194"/>
                  <a:gd name="T30" fmla="*/ 143 w 240"/>
                  <a:gd name="T31" fmla="*/ 20 h 194"/>
                  <a:gd name="T32" fmla="*/ 126 w 240"/>
                  <a:gd name="T33" fmla="*/ 24 h 194"/>
                  <a:gd name="T34" fmla="*/ 116 w 240"/>
                  <a:gd name="T35" fmla="*/ 38 h 194"/>
                  <a:gd name="T36" fmla="*/ 78 w 240"/>
                  <a:gd name="T37" fmla="*/ 9 h 194"/>
                  <a:gd name="T38" fmla="*/ 43 w 240"/>
                  <a:gd name="T39" fmla="*/ 7 h 194"/>
                  <a:gd name="T40" fmla="*/ 52 w 240"/>
                  <a:gd name="T41" fmla="*/ 23 h 194"/>
                  <a:gd name="T42" fmla="*/ 71 w 240"/>
                  <a:gd name="T43" fmla="*/ 44 h 194"/>
                  <a:gd name="T44" fmla="*/ 54 w 240"/>
                  <a:gd name="T45" fmla="*/ 37 h 194"/>
                  <a:gd name="T46" fmla="*/ 40 w 240"/>
                  <a:gd name="T47" fmla="*/ 40 h 194"/>
                  <a:gd name="T48" fmla="*/ 26 w 240"/>
                  <a:gd name="T49" fmla="*/ 30 h 194"/>
                  <a:gd name="T50" fmla="*/ 15 w 240"/>
                  <a:gd name="T51" fmla="*/ 22 h 194"/>
                  <a:gd name="T52" fmla="*/ 0 w 240"/>
                  <a:gd name="T53" fmla="*/ 33 h 194"/>
                  <a:gd name="T54" fmla="*/ 7 w 240"/>
                  <a:gd name="T55" fmla="*/ 37 h 194"/>
                  <a:gd name="T56" fmla="*/ 6 w 240"/>
                  <a:gd name="T57" fmla="*/ 46 h 194"/>
                  <a:gd name="T58" fmla="*/ 25 w 240"/>
                  <a:gd name="T59" fmla="*/ 54 h 194"/>
                  <a:gd name="T60" fmla="*/ 19 w 240"/>
                  <a:gd name="T61" fmla="*/ 69 h 194"/>
                  <a:gd name="T62" fmla="*/ 49 w 240"/>
                  <a:gd name="T63" fmla="*/ 91 h 194"/>
                  <a:gd name="T64" fmla="*/ 28 w 240"/>
                  <a:gd name="T65" fmla="*/ 100 h 194"/>
                  <a:gd name="T66" fmla="*/ 46 w 240"/>
                  <a:gd name="T67" fmla="*/ 108 h 194"/>
                  <a:gd name="T68" fmla="*/ 56 w 240"/>
                  <a:gd name="T69" fmla="*/ 122 h 194"/>
                  <a:gd name="T70" fmla="*/ 76 w 240"/>
                  <a:gd name="T71" fmla="*/ 124 h 194"/>
                  <a:gd name="T72" fmla="*/ 74 w 240"/>
                  <a:gd name="T73" fmla="*/ 134 h 194"/>
                  <a:gd name="T74" fmla="*/ 78 w 240"/>
                  <a:gd name="T75" fmla="*/ 141 h 194"/>
                  <a:gd name="T76" fmla="*/ 81 w 240"/>
                  <a:gd name="T77" fmla="*/ 162 h 194"/>
                  <a:gd name="T78" fmla="*/ 83 w 240"/>
                  <a:gd name="T79" fmla="*/ 162 h 194"/>
                  <a:gd name="T80" fmla="*/ 97 w 240"/>
                  <a:gd name="T81" fmla="*/ 146 h 194"/>
                  <a:gd name="T82" fmla="*/ 142 w 240"/>
                  <a:gd name="T83" fmla="*/ 115 h 194"/>
                  <a:gd name="T84" fmla="*/ 157 w 240"/>
                  <a:gd name="T85" fmla="*/ 133 h 194"/>
                  <a:gd name="T86" fmla="*/ 150 w 240"/>
                  <a:gd name="T87" fmla="*/ 144 h 194"/>
                  <a:gd name="T88" fmla="*/ 159 w 240"/>
                  <a:gd name="T89" fmla="*/ 157 h 194"/>
                  <a:gd name="T90" fmla="*/ 149 w 240"/>
                  <a:gd name="T91" fmla="*/ 164 h 194"/>
                  <a:gd name="T92" fmla="*/ 168 w 240"/>
                  <a:gd name="T93" fmla="*/ 180 h 194"/>
                  <a:gd name="T94" fmla="*/ 177 w 240"/>
                  <a:gd name="T95" fmla="*/ 189 h 194"/>
                  <a:gd name="T96" fmla="*/ 187 w 240"/>
                  <a:gd name="T97" fmla="*/ 191 h 194"/>
                  <a:gd name="T98" fmla="*/ 188 w 240"/>
                  <a:gd name="T99" fmla="*/ 194 h 194"/>
                  <a:gd name="T100" fmla="*/ 191 w 240"/>
                  <a:gd name="T101" fmla="*/ 174 h 194"/>
                  <a:gd name="T102" fmla="*/ 179 w 240"/>
                  <a:gd name="T103" fmla="*/ 165 h 194"/>
                  <a:gd name="T104" fmla="*/ 190 w 240"/>
                  <a:gd name="T105" fmla="*/ 161 h 194"/>
                  <a:gd name="T106" fmla="*/ 190 w 240"/>
                  <a:gd name="T107" fmla="*/ 142 h 194"/>
                  <a:gd name="T108" fmla="*/ 208 w 240"/>
                  <a:gd name="T109" fmla="*/ 147 h 194"/>
                  <a:gd name="T110" fmla="*/ 198 w 240"/>
                  <a:gd name="T111" fmla="*/ 129 h 194"/>
                  <a:gd name="T112" fmla="*/ 201 w 240"/>
                  <a:gd name="T113" fmla="*/ 116 h 194"/>
                  <a:gd name="T114" fmla="*/ 200 w 240"/>
                  <a:gd name="T115" fmla="*/ 93 h 194"/>
                  <a:gd name="T116" fmla="*/ 210 w 240"/>
                  <a:gd name="T117" fmla="*/ 95 h 194"/>
                  <a:gd name="T118" fmla="*/ 218 w 240"/>
                  <a:gd name="T119" fmla="*/ 86 h 194"/>
                  <a:gd name="T120" fmla="*/ 240 w 240"/>
                  <a:gd name="T121" fmla="*/ 88 h 194"/>
                  <a:gd name="T122" fmla="*/ 235 w 240"/>
                  <a:gd name="T123" fmla="*/ 75 h 19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40"/>
                  <a:gd name="T187" fmla="*/ 0 h 194"/>
                  <a:gd name="T188" fmla="*/ 240 w 240"/>
                  <a:gd name="T189" fmla="*/ 194 h 19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40" h="194">
                    <a:moveTo>
                      <a:pt x="42" y="125"/>
                    </a:moveTo>
                    <a:cubicBezTo>
                      <a:pt x="33" y="124"/>
                      <a:pt x="31" y="127"/>
                      <a:pt x="31" y="127"/>
                    </a:cubicBezTo>
                    <a:cubicBezTo>
                      <a:pt x="31" y="127"/>
                      <a:pt x="21" y="126"/>
                      <a:pt x="14" y="116"/>
                    </a:cubicBezTo>
                    <a:cubicBezTo>
                      <a:pt x="13" y="116"/>
                      <a:pt x="6" y="118"/>
                      <a:pt x="4" y="119"/>
                    </a:cubicBezTo>
                    <a:cubicBezTo>
                      <a:pt x="6" y="125"/>
                      <a:pt x="7" y="135"/>
                      <a:pt x="14" y="141"/>
                    </a:cubicBezTo>
                    <a:cubicBezTo>
                      <a:pt x="24" y="149"/>
                      <a:pt x="41" y="163"/>
                      <a:pt x="56" y="163"/>
                    </a:cubicBezTo>
                    <a:cubicBezTo>
                      <a:pt x="57" y="163"/>
                      <a:pt x="58" y="163"/>
                      <a:pt x="59" y="163"/>
                    </a:cubicBezTo>
                    <a:cubicBezTo>
                      <a:pt x="57" y="156"/>
                      <a:pt x="52" y="144"/>
                      <a:pt x="50" y="141"/>
                    </a:cubicBezTo>
                    <a:cubicBezTo>
                      <a:pt x="47" y="137"/>
                      <a:pt x="51" y="126"/>
                      <a:pt x="42" y="125"/>
                    </a:cubicBezTo>
                    <a:close/>
                    <a:moveTo>
                      <a:pt x="235" y="75"/>
                    </a:moveTo>
                    <a:cubicBezTo>
                      <a:pt x="231" y="67"/>
                      <a:pt x="215" y="74"/>
                      <a:pt x="205" y="74"/>
                    </a:cubicBezTo>
                    <a:cubicBezTo>
                      <a:pt x="195" y="74"/>
                      <a:pt x="193" y="56"/>
                      <a:pt x="193" y="56"/>
                    </a:cubicBezTo>
                    <a:cubicBezTo>
                      <a:pt x="176" y="38"/>
                      <a:pt x="176" y="38"/>
                      <a:pt x="176" y="38"/>
                    </a:cubicBezTo>
                    <a:cubicBezTo>
                      <a:pt x="177" y="29"/>
                      <a:pt x="177" y="29"/>
                      <a:pt x="177" y="29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45" y="2"/>
                      <a:pt x="144" y="13"/>
                      <a:pt x="143" y="20"/>
                    </a:cubicBezTo>
                    <a:cubicBezTo>
                      <a:pt x="142" y="27"/>
                      <a:pt x="126" y="24"/>
                      <a:pt x="126" y="24"/>
                    </a:cubicBezTo>
                    <a:cubicBezTo>
                      <a:pt x="126" y="24"/>
                      <a:pt x="132" y="36"/>
                      <a:pt x="116" y="38"/>
                    </a:cubicBezTo>
                    <a:cubicBezTo>
                      <a:pt x="100" y="40"/>
                      <a:pt x="91" y="18"/>
                      <a:pt x="78" y="9"/>
                    </a:cubicBezTo>
                    <a:cubicBezTo>
                      <a:pt x="65" y="0"/>
                      <a:pt x="49" y="2"/>
                      <a:pt x="43" y="7"/>
                    </a:cubicBezTo>
                    <a:cubicBezTo>
                      <a:pt x="37" y="12"/>
                      <a:pt x="52" y="23"/>
                      <a:pt x="52" y="23"/>
                    </a:cubicBezTo>
                    <a:cubicBezTo>
                      <a:pt x="52" y="23"/>
                      <a:pt x="73" y="34"/>
                      <a:pt x="71" y="44"/>
                    </a:cubicBezTo>
                    <a:cubicBezTo>
                      <a:pt x="69" y="54"/>
                      <a:pt x="57" y="37"/>
                      <a:pt x="54" y="37"/>
                    </a:cubicBezTo>
                    <a:cubicBezTo>
                      <a:pt x="51" y="37"/>
                      <a:pt x="40" y="40"/>
                      <a:pt x="40" y="4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0"/>
                      <a:pt x="28" y="23"/>
                      <a:pt x="15" y="22"/>
                    </a:cubicBezTo>
                    <a:cubicBezTo>
                      <a:pt x="5" y="21"/>
                      <a:pt x="1" y="29"/>
                      <a:pt x="0" y="33"/>
                    </a:cubicBezTo>
                    <a:cubicBezTo>
                      <a:pt x="3" y="35"/>
                      <a:pt x="7" y="37"/>
                      <a:pt x="7" y="37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25" y="47"/>
                      <a:pt x="25" y="54"/>
                    </a:cubicBezTo>
                    <a:cubicBezTo>
                      <a:pt x="25" y="61"/>
                      <a:pt x="19" y="69"/>
                      <a:pt x="19" y="69"/>
                    </a:cubicBezTo>
                    <a:cubicBezTo>
                      <a:pt x="19" y="69"/>
                      <a:pt x="50" y="82"/>
                      <a:pt x="49" y="91"/>
                    </a:cubicBezTo>
                    <a:cubicBezTo>
                      <a:pt x="48" y="100"/>
                      <a:pt x="28" y="100"/>
                      <a:pt x="28" y="100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56" y="122"/>
                      <a:pt x="56" y="122"/>
                      <a:pt x="56" y="122"/>
                    </a:cubicBezTo>
                    <a:cubicBezTo>
                      <a:pt x="76" y="124"/>
                      <a:pt x="76" y="124"/>
                      <a:pt x="76" y="124"/>
                    </a:cubicBezTo>
                    <a:cubicBezTo>
                      <a:pt x="74" y="134"/>
                      <a:pt x="74" y="134"/>
                      <a:pt x="74" y="134"/>
                    </a:cubicBezTo>
                    <a:cubicBezTo>
                      <a:pt x="78" y="141"/>
                      <a:pt x="78" y="141"/>
                      <a:pt x="78" y="141"/>
                    </a:cubicBezTo>
                    <a:cubicBezTo>
                      <a:pt x="78" y="141"/>
                      <a:pt x="80" y="154"/>
                      <a:pt x="81" y="162"/>
                    </a:cubicBezTo>
                    <a:cubicBezTo>
                      <a:pt x="82" y="162"/>
                      <a:pt x="82" y="162"/>
                      <a:pt x="83" y="162"/>
                    </a:cubicBezTo>
                    <a:cubicBezTo>
                      <a:pt x="86" y="161"/>
                      <a:pt x="94" y="150"/>
                      <a:pt x="97" y="146"/>
                    </a:cubicBezTo>
                    <a:cubicBezTo>
                      <a:pt x="100" y="142"/>
                      <a:pt x="136" y="115"/>
                      <a:pt x="142" y="115"/>
                    </a:cubicBezTo>
                    <a:cubicBezTo>
                      <a:pt x="148" y="115"/>
                      <a:pt x="155" y="127"/>
                      <a:pt x="157" y="133"/>
                    </a:cubicBezTo>
                    <a:cubicBezTo>
                      <a:pt x="159" y="139"/>
                      <a:pt x="150" y="139"/>
                      <a:pt x="150" y="144"/>
                    </a:cubicBezTo>
                    <a:cubicBezTo>
                      <a:pt x="150" y="149"/>
                      <a:pt x="159" y="151"/>
                      <a:pt x="159" y="157"/>
                    </a:cubicBezTo>
                    <a:cubicBezTo>
                      <a:pt x="159" y="163"/>
                      <a:pt x="149" y="159"/>
                      <a:pt x="149" y="164"/>
                    </a:cubicBezTo>
                    <a:cubicBezTo>
                      <a:pt x="149" y="169"/>
                      <a:pt x="162" y="177"/>
                      <a:pt x="168" y="180"/>
                    </a:cubicBezTo>
                    <a:cubicBezTo>
                      <a:pt x="174" y="183"/>
                      <a:pt x="177" y="189"/>
                      <a:pt x="177" y="189"/>
                    </a:cubicBezTo>
                    <a:cubicBezTo>
                      <a:pt x="187" y="191"/>
                      <a:pt x="187" y="191"/>
                      <a:pt x="187" y="191"/>
                    </a:cubicBezTo>
                    <a:cubicBezTo>
                      <a:pt x="187" y="191"/>
                      <a:pt x="187" y="192"/>
                      <a:pt x="188" y="194"/>
                    </a:cubicBezTo>
                    <a:cubicBezTo>
                      <a:pt x="190" y="187"/>
                      <a:pt x="192" y="178"/>
                      <a:pt x="191" y="174"/>
                    </a:cubicBezTo>
                    <a:cubicBezTo>
                      <a:pt x="189" y="168"/>
                      <a:pt x="179" y="165"/>
                      <a:pt x="179" y="165"/>
                    </a:cubicBezTo>
                    <a:cubicBezTo>
                      <a:pt x="190" y="161"/>
                      <a:pt x="190" y="161"/>
                      <a:pt x="190" y="161"/>
                    </a:cubicBezTo>
                    <a:cubicBezTo>
                      <a:pt x="190" y="142"/>
                      <a:pt x="190" y="142"/>
                      <a:pt x="190" y="142"/>
                    </a:cubicBezTo>
                    <a:cubicBezTo>
                      <a:pt x="190" y="142"/>
                      <a:pt x="202" y="155"/>
                      <a:pt x="208" y="147"/>
                    </a:cubicBezTo>
                    <a:cubicBezTo>
                      <a:pt x="214" y="139"/>
                      <a:pt x="198" y="129"/>
                      <a:pt x="198" y="129"/>
                    </a:cubicBezTo>
                    <a:cubicBezTo>
                      <a:pt x="201" y="116"/>
                      <a:pt x="201" y="116"/>
                      <a:pt x="201" y="116"/>
                    </a:cubicBezTo>
                    <a:cubicBezTo>
                      <a:pt x="200" y="93"/>
                      <a:pt x="200" y="93"/>
                      <a:pt x="200" y="93"/>
                    </a:cubicBezTo>
                    <a:cubicBezTo>
                      <a:pt x="210" y="95"/>
                      <a:pt x="210" y="95"/>
                      <a:pt x="210" y="95"/>
                    </a:cubicBezTo>
                    <a:cubicBezTo>
                      <a:pt x="218" y="86"/>
                      <a:pt x="218" y="86"/>
                      <a:pt x="218" y="86"/>
                    </a:cubicBezTo>
                    <a:cubicBezTo>
                      <a:pt x="240" y="88"/>
                      <a:pt x="240" y="88"/>
                      <a:pt x="240" y="88"/>
                    </a:cubicBezTo>
                    <a:cubicBezTo>
                      <a:pt x="240" y="88"/>
                      <a:pt x="239" y="83"/>
                      <a:pt x="235" y="7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4" name="MCShape 86">
                <a:extLst>
                  <a:ext uri="{FF2B5EF4-FFF2-40B4-BE49-F238E27FC236}">
                    <a16:creationId xmlns:a16="http://schemas.microsoft.com/office/drawing/2014/main" id="{5F9A037B-0135-45C7-9056-03794BBA4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3750" y="2561224"/>
                <a:ext cx="443914" cy="245931"/>
              </a:xfrm>
              <a:custGeom>
                <a:avLst/>
                <a:gdLst>
                  <a:gd name="T0" fmla="*/ 51 w 750"/>
                  <a:gd name="T1" fmla="*/ 223 h 415"/>
                  <a:gd name="T2" fmla="*/ 79 w 750"/>
                  <a:gd name="T3" fmla="*/ 232 h 415"/>
                  <a:gd name="T4" fmla="*/ 132 w 750"/>
                  <a:gd name="T5" fmla="*/ 230 h 415"/>
                  <a:gd name="T6" fmla="*/ 166 w 750"/>
                  <a:gd name="T7" fmla="*/ 227 h 415"/>
                  <a:gd name="T8" fmla="*/ 209 w 750"/>
                  <a:gd name="T9" fmla="*/ 209 h 415"/>
                  <a:gd name="T10" fmla="*/ 243 w 750"/>
                  <a:gd name="T11" fmla="*/ 208 h 415"/>
                  <a:gd name="T12" fmla="*/ 274 w 750"/>
                  <a:gd name="T13" fmla="*/ 225 h 415"/>
                  <a:gd name="T14" fmla="*/ 296 w 750"/>
                  <a:gd name="T15" fmla="*/ 259 h 415"/>
                  <a:gd name="T16" fmla="*/ 311 w 750"/>
                  <a:gd name="T17" fmla="*/ 278 h 415"/>
                  <a:gd name="T18" fmla="*/ 317 w 750"/>
                  <a:gd name="T19" fmla="*/ 310 h 415"/>
                  <a:gd name="T20" fmla="*/ 304 w 750"/>
                  <a:gd name="T21" fmla="*/ 321 h 415"/>
                  <a:gd name="T22" fmla="*/ 283 w 750"/>
                  <a:gd name="T23" fmla="*/ 356 h 415"/>
                  <a:gd name="T24" fmla="*/ 281 w 750"/>
                  <a:gd name="T25" fmla="*/ 370 h 415"/>
                  <a:gd name="T26" fmla="*/ 323 w 750"/>
                  <a:gd name="T27" fmla="*/ 353 h 415"/>
                  <a:gd name="T28" fmla="*/ 391 w 750"/>
                  <a:gd name="T29" fmla="*/ 301 h 415"/>
                  <a:gd name="T30" fmla="*/ 436 w 750"/>
                  <a:gd name="T31" fmla="*/ 299 h 415"/>
                  <a:gd name="T32" fmla="*/ 420 w 750"/>
                  <a:gd name="T33" fmla="*/ 310 h 415"/>
                  <a:gd name="T34" fmla="*/ 488 w 750"/>
                  <a:gd name="T35" fmla="*/ 324 h 415"/>
                  <a:gd name="T36" fmla="*/ 499 w 750"/>
                  <a:gd name="T37" fmla="*/ 381 h 415"/>
                  <a:gd name="T38" fmla="*/ 542 w 750"/>
                  <a:gd name="T39" fmla="*/ 396 h 415"/>
                  <a:gd name="T40" fmla="*/ 591 w 750"/>
                  <a:gd name="T41" fmla="*/ 385 h 415"/>
                  <a:gd name="T42" fmla="*/ 622 w 750"/>
                  <a:gd name="T43" fmla="*/ 361 h 415"/>
                  <a:gd name="T44" fmla="*/ 553 w 750"/>
                  <a:gd name="T45" fmla="*/ 352 h 415"/>
                  <a:gd name="T46" fmla="*/ 503 w 750"/>
                  <a:gd name="T47" fmla="*/ 328 h 415"/>
                  <a:gd name="T48" fmla="*/ 537 w 750"/>
                  <a:gd name="T49" fmla="*/ 322 h 415"/>
                  <a:gd name="T50" fmla="*/ 588 w 750"/>
                  <a:gd name="T51" fmla="*/ 297 h 415"/>
                  <a:gd name="T52" fmla="*/ 679 w 750"/>
                  <a:gd name="T53" fmla="*/ 273 h 415"/>
                  <a:gd name="T54" fmla="*/ 703 w 750"/>
                  <a:gd name="T55" fmla="*/ 231 h 415"/>
                  <a:gd name="T56" fmla="*/ 727 w 750"/>
                  <a:gd name="T57" fmla="*/ 189 h 415"/>
                  <a:gd name="T58" fmla="*/ 742 w 750"/>
                  <a:gd name="T59" fmla="*/ 166 h 415"/>
                  <a:gd name="T60" fmla="*/ 709 w 750"/>
                  <a:gd name="T61" fmla="*/ 136 h 415"/>
                  <a:gd name="T62" fmla="*/ 662 w 750"/>
                  <a:gd name="T63" fmla="*/ 119 h 415"/>
                  <a:gd name="T64" fmla="*/ 620 w 750"/>
                  <a:gd name="T65" fmla="*/ 100 h 415"/>
                  <a:gd name="T66" fmla="*/ 578 w 750"/>
                  <a:gd name="T67" fmla="*/ 106 h 415"/>
                  <a:gd name="T68" fmla="*/ 540 w 750"/>
                  <a:gd name="T69" fmla="*/ 99 h 415"/>
                  <a:gd name="T70" fmla="*/ 482 w 750"/>
                  <a:gd name="T71" fmla="*/ 56 h 415"/>
                  <a:gd name="T72" fmla="*/ 486 w 750"/>
                  <a:gd name="T73" fmla="*/ 26 h 415"/>
                  <a:gd name="T74" fmla="*/ 431 w 750"/>
                  <a:gd name="T75" fmla="*/ 1 h 415"/>
                  <a:gd name="T76" fmla="*/ 398 w 750"/>
                  <a:gd name="T77" fmla="*/ 16 h 415"/>
                  <a:gd name="T78" fmla="*/ 327 w 750"/>
                  <a:gd name="T79" fmla="*/ 53 h 415"/>
                  <a:gd name="T80" fmla="*/ 273 w 750"/>
                  <a:gd name="T81" fmla="*/ 39 h 415"/>
                  <a:gd name="T82" fmla="*/ 247 w 750"/>
                  <a:gd name="T83" fmla="*/ 46 h 415"/>
                  <a:gd name="T84" fmla="*/ 224 w 750"/>
                  <a:gd name="T85" fmla="*/ 38 h 415"/>
                  <a:gd name="T86" fmla="*/ 202 w 750"/>
                  <a:gd name="T87" fmla="*/ 40 h 415"/>
                  <a:gd name="T88" fmla="*/ 157 w 750"/>
                  <a:gd name="T89" fmla="*/ 28 h 415"/>
                  <a:gd name="T90" fmla="*/ 103 w 750"/>
                  <a:gd name="T91" fmla="*/ 27 h 415"/>
                  <a:gd name="T92" fmla="*/ 47 w 750"/>
                  <a:gd name="T93" fmla="*/ 40 h 415"/>
                  <a:gd name="T94" fmla="*/ 75 w 750"/>
                  <a:gd name="T95" fmla="*/ 76 h 415"/>
                  <a:gd name="T96" fmla="*/ 58 w 750"/>
                  <a:gd name="T97" fmla="*/ 103 h 415"/>
                  <a:gd name="T98" fmla="*/ 30 w 750"/>
                  <a:gd name="T99" fmla="*/ 174 h 415"/>
                  <a:gd name="T100" fmla="*/ 1 w 750"/>
                  <a:gd name="T101" fmla="*/ 194 h 41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50"/>
                  <a:gd name="T154" fmla="*/ 0 h 415"/>
                  <a:gd name="T155" fmla="*/ 750 w 750"/>
                  <a:gd name="T156" fmla="*/ 415 h 41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50" h="415">
                    <a:moveTo>
                      <a:pt x="16" y="215"/>
                    </a:moveTo>
                    <a:cubicBezTo>
                      <a:pt x="22" y="216"/>
                      <a:pt x="38" y="223"/>
                      <a:pt x="38" y="223"/>
                    </a:cubicBezTo>
                    <a:cubicBezTo>
                      <a:pt x="38" y="223"/>
                      <a:pt x="47" y="223"/>
                      <a:pt x="51" y="223"/>
                    </a:cubicBezTo>
                    <a:cubicBezTo>
                      <a:pt x="55" y="223"/>
                      <a:pt x="57" y="230"/>
                      <a:pt x="57" y="230"/>
                    </a:cubicBezTo>
                    <a:cubicBezTo>
                      <a:pt x="73" y="227"/>
                      <a:pt x="73" y="227"/>
                      <a:pt x="73" y="227"/>
                    </a:cubicBezTo>
                    <a:cubicBezTo>
                      <a:pt x="79" y="232"/>
                      <a:pt x="79" y="232"/>
                      <a:pt x="79" y="232"/>
                    </a:cubicBezTo>
                    <a:cubicBezTo>
                      <a:pt x="79" y="232"/>
                      <a:pt x="94" y="224"/>
                      <a:pt x="100" y="225"/>
                    </a:cubicBezTo>
                    <a:cubicBezTo>
                      <a:pt x="106" y="226"/>
                      <a:pt x="112" y="245"/>
                      <a:pt x="122" y="242"/>
                    </a:cubicBezTo>
                    <a:cubicBezTo>
                      <a:pt x="132" y="239"/>
                      <a:pt x="132" y="230"/>
                      <a:pt x="132" y="230"/>
                    </a:cubicBezTo>
                    <a:cubicBezTo>
                      <a:pt x="149" y="233"/>
                      <a:pt x="149" y="233"/>
                      <a:pt x="149" y="233"/>
                    </a:cubicBezTo>
                    <a:cubicBezTo>
                      <a:pt x="153" y="226"/>
                      <a:pt x="153" y="226"/>
                      <a:pt x="153" y="226"/>
                    </a:cubicBezTo>
                    <a:cubicBezTo>
                      <a:pt x="153" y="226"/>
                      <a:pt x="156" y="227"/>
                      <a:pt x="166" y="227"/>
                    </a:cubicBezTo>
                    <a:cubicBezTo>
                      <a:pt x="176" y="227"/>
                      <a:pt x="174" y="209"/>
                      <a:pt x="191" y="212"/>
                    </a:cubicBezTo>
                    <a:cubicBezTo>
                      <a:pt x="193" y="204"/>
                      <a:pt x="193" y="204"/>
                      <a:pt x="193" y="204"/>
                    </a:cubicBezTo>
                    <a:cubicBezTo>
                      <a:pt x="193" y="204"/>
                      <a:pt x="203" y="210"/>
                      <a:pt x="209" y="209"/>
                    </a:cubicBezTo>
                    <a:cubicBezTo>
                      <a:pt x="215" y="208"/>
                      <a:pt x="215" y="203"/>
                      <a:pt x="224" y="202"/>
                    </a:cubicBezTo>
                    <a:cubicBezTo>
                      <a:pt x="233" y="201"/>
                      <a:pt x="239" y="210"/>
                      <a:pt x="239" y="210"/>
                    </a:cubicBezTo>
                    <a:cubicBezTo>
                      <a:pt x="243" y="208"/>
                      <a:pt x="243" y="208"/>
                      <a:pt x="243" y="208"/>
                    </a:cubicBezTo>
                    <a:cubicBezTo>
                      <a:pt x="243" y="208"/>
                      <a:pt x="239" y="213"/>
                      <a:pt x="248" y="213"/>
                    </a:cubicBezTo>
                    <a:cubicBezTo>
                      <a:pt x="257" y="213"/>
                      <a:pt x="264" y="210"/>
                      <a:pt x="269" y="214"/>
                    </a:cubicBezTo>
                    <a:cubicBezTo>
                      <a:pt x="274" y="218"/>
                      <a:pt x="274" y="225"/>
                      <a:pt x="274" y="225"/>
                    </a:cubicBezTo>
                    <a:cubicBezTo>
                      <a:pt x="274" y="225"/>
                      <a:pt x="283" y="219"/>
                      <a:pt x="294" y="227"/>
                    </a:cubicBezTo>
                    <a:cubicBezTo>
                      <a:pt x="305" y="235"/>
                      <a:pt x="296" y="244"/>
                      <a:pt x="296" y="244"/>
                    </a:cubicBezTo>
                    <a:cubicBezTo>
                      <a:pt x="296" y="244"/>
                      <a:pt x="293" y="259"/>
                      <a:pt x="296" y="259"/>
                    </a:cubicBezTo>
                    <a:cubicBezTo>
                      <a:pt x="299" y="259"/>
                      <a:pt x="308" y="257"/>
                      <a:pt x="308" y="257"/>
                    </a:cubicBezTo>
                    <a:cubicBezTo>
                      <a:pt x="313" y="262"/>
                      <a:pt x="313" y="262"/>
                      <a:pt x="313" y="262"/>
                    </a:cubicBezTo>
                    <a:cubicBezTo>
                      <a:pt x="313" y="262"/>
                      <a:pt x="304" y="276"/>
                      <a:pt x="311" y="278"/>
                    </a:cubicBezTo>
                    <a:cubicBezTo>
                      <a:pt x="318" y="280"/>
                      <a:pt x="331" y="277"/>
                      <a:pt x="332" y="284"/>
                    </a:cubicBezTo>
                    <a:cubicBezTo>
                      <a:pt x="333" y="291"/>
                      <a:pt x="334" y="305"/>
                      <a:pt x="334" y="305"/>
                    </a:cubicBezTo>
                    <a:cubicBezTo>
                      <a:pt x="334" y="305"/>
                      <a:pt x="324" y="309"/>
                      <a:pt x="317" y="310"/>
                    </a:cubicBezTo>
                    <a:cubicBezTo>
                      <a:pt x="310" y="311"/>
                      <a:pt x="304" y="303"/>
                      <a:pt x="304" y="303"/>
                    </a:cubicBezTo>
                    <a:cubicBezTo>
                      <a:pt x="304" y="303"/>
                      <a:pt x="287" y="303"/>
                      <a:pt x="288" y="307"/>
                    </a:cubicBezTo>
                    <a:cubicBezTo>
                      <a:pt x="289" y="311"/>
                      <a:pt x="304" y="321"/>
                      <a:pt x="304" y="321"/>
                    </a:cubicBezTo>
                    <a:cubicBezTo>
                      <a:pt x="295" y="330"/>
                      <a:pt x="295" y="330"/>
                      <a:pt x="295" y="330"/>
                    </a:cubicBezTo>
                    <a:cubicBezTo>
                      <a:pt x="295" y="330"/>
                      <a:pt x="279" y="338"/>
                      <a:pt x="279" y="342"/>
                    </a:cubicBezTo>
                    <a:cubicBezTo>
                      <a:pt x="279" y="346"/>
                      <a:pt x="283" y="356"/>
                      <a:pt x="283" y="356"/>
                    </a:cubicBezTo>
                    <a:cubicBezTo>
                      <a:pt x="266" y="359"/>
                      <a:pt x="266" y="359"/>
                      <a:pt x="266" y="359"/>
                    </a:cubicBezTo>
                    <a:cubicBezTo>
                      <a:pt x="263" y="353"/>
                      <a:pt x="264" y="348"/>
                      <a:pt x="264" y="345"/>
                    </a:cubicBezTo>
                    <a:cubicBezTo>
                      <a:pt x="263" y="350"/>
                      <a:pt x="263" y="367"/>
                      <a:pt x="281" y="370"/>
                    </a:cubicBezTo>
                    <a:cubicBezTo>
                      <a:pt x="302" y="373"/>
                      <a:pt x="298" y="359"/>
                      <a:pt x="310" y="360"/>
                    </a:cubicBezTo>
                    <a:cubicBezTo>
                      <a:pt x="319" y="361"/>
                      <a:pt x="323" y="357"/>
                      <a:pt x="324" y="355"/>
                    </a:cubicBezTo>
                    <a:cubicBezTo>
                      <a:pt x="324" y="353"/>
                      <a:pt x="323" y="353"/>
                      <a:pt x="323" y="353"/>
                    </a:cubicBezTo>
                    <a:cubicBezTo>
                      <a:pt x="323" y="353"/>
                      <a:pt x="340" y="346"/>
                      <a:pt x="348" y="340"/>
                    </a:cubicBezTo>
                    <a:cubicBezTo>
                      <a:pt x="357" y="334"/>
                      <a:pt x="370" y="310"/>
                      <a:pt x="370" y="310"/>
                    </a:cubicBezTo>
                    <a:cubicBezTo>
                      <a:pt x="391" y="301"/>
                      <a:pt x="391" y="301"/>
                      <a:pt x="391" y="301"/>
                    </a:cubicBezTo>
                    <a:cubicBezTo>
                      <a:pt x="400" y="290"/>
                      <a:pt x="400" y="290"/>
                      <a:pt x="400" y="290"/>
                    </a:cubicBezTo>
                    <a:cubicBezTo>
                      <a:pt x="411" y="295"/>
                      <a:pt x="411" y="295"/>
                      <a:pt x="411" y="295"/>
                    </a:cubicBezTo>
                    <a:cubicBezTo>
                      <a:pt x="411" y="295"/>
                      <a:pt x="433" y="299"/>
                      <a:pt x="436" y="299"/>
                    </a:cubicBezTo>
                    <a:cubicBezTo>
                      <a:pt x="439" y="299"/>
                      <a:pt x="447" y="293"/>
                      <a:pt x="447" y="293"/>
                    </a:cubicBezTo>
                    <a:cubicBezTo>
                      <a:pt x="435" y="309"/>
                      <a:pt x="435" y="309"/>
                      <a:pt x="435" y="309"/>
                    </a:cubicBezTo>
                    <a:cubicBezTo>
                      <a:pt x="435" y="309"/>
                      <a:pt x="417" y="303"/>
                      <a:pt x="420" y="310"/>
                    </a:cubicBezTo>
                    <a:cubicBezTo>
                      <a:pt x="423" y="317"/>
                      <a:pt x="443" y="322"/>
                      <a:pt x="443" y="322"/>
                    </a:cubicBezTo>
                    <a:cubicBezTo>
                      <a:pt x="475" y="323"/>
                      <a:pt x="475" y="323"/>
                      <a:pt x="475" y="323"/>
                    </a:cubicBezTo>
                    <a:cubicBezTo>
                      <a:pt x="488" y="324"/>
                      <a:pt x="488" y="324"/>
                      <a:pt x="488" y="324"/>
                    </a:cubicBezTo>
                    <a:cubicBezTo>
                      <a:pt x="495" y="335"/>
                      <a:pt x="495" y="335"/>
                      <a:pt x="495" y="335"/>
                    </a:cubicBezTo>
                    <a:cubicBezTo>
                      <a:pt x="495" y="335"/>
                      <a:pt x="449" y="361"/>
                      <a:pt x="452" y="364"/>
                    </a:cubicBezTo>
                    <a:cubicBezTo>
                      <a:pt x="455" y="367"/>
                      <a:pt x="497" y="368"/>
                      <a:pt x="499" y="381"/>
                    </a:cubicBezTo>
                    <a:cubicBezTo>
                      <a:pt x="501" y="395"/>
                      <a:pt x="489" y="409"/>
                      <a:pt x="494" y="411"/>
                    </a:cubicBezTo>
                    <a:cubicBezTo>
                      <a:pt x="500" y="413"/>
                      <a:pt x="521" y="415"/>
                      <a:pt x="521" y="415"/>
                    </a:cubicBezTo>
                    <a:cubicBezTo>
                      <a:pt x="521" y="415"/>
                      <a:pt x="535" y="396"/>
                      <a:pt x="542" y="396"/>
                    </a:cubicBezTo>
                    <a:cubicBezTo>
                      <a:pt x="550" y="396"/>
                      <a:pt x="553" y="402"/>
                      <a:pt x="563" y="396"/>
                    </a:cubicBezTo>
                    <a:cubicBezTo>
                      <a:pt x="573" y="390"/>
                      <a:pt x="571" y="378"/>
                      <a:pt x="578" y="377"/>
                    </a:cubicBezTo>
                    <a:cubicBezTo>
                      <a:pt x="585" y="376"/>
                      <a:pt x="591" y="385"/>
                      <a:pt x="591" y="385"/>
                    </a:cubicBezTo>
                    <a:cubicBezTo>
                      <a:pt x="614" y="381"/>
                      <a:pt x="614" y="381"/>
                      <a:pt x="614" y="381"/>
                    </a:cubicBezTo>
                    <a:cubicBezTo>
                      <a:pt x="616" y="370"/>
                      <a:pt x="616" y="370"/>
                      <a:pt x="616" y="370"/>
                    </a:cubicBezTo>
                    <a:cubicBezTo>
                      <a:pt x="622" y="361"/>
                      <a:pt x="622" y="361"/>
                      <a:pt x="622" y="361"/>
                    </a:cubicBezTo>
                    <a:cubicBezTo>
                      <a:pt x="622" y="361"/>
                      <a:pt x="608" y="355"/>
                      <a:pt x="602" y="361"/>
                    </a:cubicBezTo>
                    <a:cubicBezTo>
                      <a:pt x="596" y="367"/>
                      <a:pt x="572" y="368"/>
                      <a:pt x="572" y="368"/>
                    </a:cubicBezTo>
                    <a:cubicBezTo>
                      <a:pt x="572" y="368"/>
                      <a:pt x="554" y="362"/>
                      <a:pt x="553" y="352"/>
                    </a:cubicBezTo>
                    <a:cubicBezTo>
                      <a:pt x="552" y="342"/>
                      <a:pt x="540" y="343"/>
                      <a:pt x="540" y="343"/>
                    </a:cubicBezTo>
                    <a:cubicBezTo>
                      <a:pt x="528" y="330"/>
                      <a:pt x="528" y="330"/>
                      <a:pt x="528" y="330"/>
                    </a:cubicBezTo>
                    <a:cubicBezTo>
                      <a:pt x="503" y="328"/>
                      <a:pt x="503" y="328"/>
                      <a:pt x="503" y="328"/>
                    </a:cubicBezTo>
                    <a:cubicBezTo>
                      <a:pt x="496" y="320"/>
                      <a:pt x="496" y="320"/>
                      <a:pt x="496" y="320"/>
                    </a:cubicBezTo>
                    <a:cubicBezTo>
                      <a:pt x="512" y="319"/>
                      <a:pt x="512" y="319"/>
                      <a:pt x="512" y="319"/>
                    </a:cubicBezTo>
                    <a:cubicBezTo>
                      <a:pt x="512" y="319"/>
                      <a:pt x="531" y="323"/>
                      <a:pt x="537" y="322"/>
                    </a:cubicBezTo>
                    <a:cubicBezTo>
                      <a:pt x="544" y="320"/>
                      <a:pt x="559" y="308"/>
                      <a:pt x="559" y="308"/>
                    </a:cubicBezTo>
                    <a:cubicBezTo>
                      <a:pt x="565" y="313"/>
                      <a:pt x="565" y="313"/>
                      <a:pt x="565" y="313"/>
                    </a:cubicBezTo>
                    <a:cubicBezTo>
                      <a:pt x="565" y="313"/>
                      <a:pt x="579" y="300"/>
                      <a:pt x="588" y="297"/>
                    </a:cubicBezTo>
                    <a:cubicBezTo>
                      <a:pt x="598" y="294"/>
                      <a:pt x="624" y="293"/>
                      <a:pt x="624" y="293"/>
                    </a:cubicBezTo>
                    <a:cubicBezTo>
                      <a:pt x="652" y="271"/>
                      <a:pt x="652" y="271"/>
                      <a:pt x="652" y="271"/>
                    </a:cubicBezTo>
                    <a:cubicBezTo>
                      <a:pt x="652" y="271"/>
                      <a:pt x="667" y="278"/>
                      <a:pt x="679" y="273"/>
                    </a:cubicBezTo>
                    <a:cubicBezTo>
                      <a:pt x="676" y="248"/>
                      <a:pt x="676" y="248"/>
                      <a:pt x="676" y="248"/>
                    </a:cubicBezTo>
                    <a:cubicBezTo>
                      <a:pt x="676" y="248"/>
                      <a:pt x="689" y="248"/>
                      <a:pt x="692" y="244"/>
                    </a:cubicBezTo>
                    <a:cubicBezTo>
                      <a:pt x="695" y="240"/>
                      <a:pt x="703" y="231"/>
                      <a:pt x="703" y="231"/>
                    </a:cubicBezTo>
                    <a:cubicBezTo>
                      <a:pt x="703" y="231"/>
                      <a:pt x="726" y="233"/>
                      <a:pt x="738" y="229"/>
                    </a:cubicBezTo>
                    <a:cubicBezTo>
                      <a:pt x="750" y="225"/>
                      <a:pt x="742" y="212"/>
                      <a:pt x="741" y="206"/>
                    </a:cubicBezTo>
                    <a:cubicBezTo>
                      <a:pt x="740" y="200"/>
                      <a:pt x="728" y="192"/>
                      <a:pt x="727" y="189"/>
                    </a:cubicBezTo>
                    <a:cubicBezTo>
                      <a:pt x="726" y="186"/>
                      <a:pt x="743" y="188"/>
                      <a:pt x="744" y="182"/>
                    </a:cubicBezTo>
                    <a:cubicBezTo>
                      <a:pt x="745" y="176"/>
                      <a:pt x="728" y="173"/>
                      <a:pt x="728" y="173"/>
                    </a:cubicBezTo>
                    <a:cubicBezTo>
                      <a:pt x="742" y="166"/>
                      <a:pt x="742" y="166"/>
                      <a:pt x="742" y="166"/>
                    </a:cubicBezTo>
                    <a:cubicBezTo>
                      <a:pt x="742" y="166"/>
                      <a:pt x="741" y="159"/>
                      <a:pt x="740" y="149"/>
                    </a:cubicBezTo>
                    <a:cubicBezTo>
                      <a:pt x="739" y="139"/>
                      <a:pt x="722" y="145"/>
                      <a:pt x="722" y="145"/>
                    </a:cubicBezTo>
                    <a:cubicBezTo>
                      <a:pt x="709" y="136"/>
                      <a:pt x="709" y="136"/>
                      <a:pt x="709" y="136"/>
                    </a:cubicBezTo>
                    <a:cubicBezTo>
                      <a:pt x="709" y="136"/>
                      <a:pt x="707" y="130"/>
                      <a:pt x="700" y="128"/>
                    </a:cubicBezTo>
                    <a:cubicBezTo>
                      <a:pt x="693" y="126"/>
                      <a:pt x="679" y="128"/>
                      <a:pt x="679" y="128"/>
                    </a:cubicBezTo>
                    <a:cubicBezTo>
                      <a:pt x="679" y="128"/>
                      <a:pt x="666" y="119"/>
                      <a:pt x="662" y="119"/>
                    </a:cubicBezTo>
                    <a:cubicBezTo>
                      <a:pt x="658" y="119"/>
                      <a:pt x="646" y="125"/>
                      <a:pt x="646" y="125"/>
                    </a:cubicBezTo>
                    <a:cubicBezTo>
                      <a:pt x="646" y="125"/>
                      <a:pt x="643" y="120"/>
                      <a:pt x="637" y="116"/>
                    </a:cubicBezTo>
                    <a:cubicBezTo>
                      <a:pt x="631" y="112"/>
                      <a:pt x="629" y="101"/>
                      <a:pt x="620" y="100"/>
                    </a:cubicBezTo>
                    <a:cubicBezTo>
                      <a:pt x="611" y="99"/>
                      <a:pt x="615" y="109"/>
                      <a:pt x="615" y="109"/>
                    </a:cubicBezTo>
                    <a:cubicBezTo>
                      <a:pt x="615" y="109"/>
                      <a:pt x="606" y="103"/>
                      <a:pt x="595" y="104"/>
                    </a:cubicBezTo>
                    <a:cubicBezTo>
                      <a:pt x="584" y="105"/>
                      <a:pt x="586" y="110"/>
                      <a:pt x="578" y="106"/>
                    </a:cubicBezTo>
                    <a:cubicBezTo>
                      <a:pt x="570" y="102"/>
                      <a:pt x="562" y="98"/>
                      <a:pt x="562" y="98"/>
                    </a:cubicBezTo>
                    <a:cubicBezTo>
                      <a:pt x="544" y="102"/>
                      <a:pt x="544" y="102"/>
                      <a:pt x="544" y="102"/>
                    </a:cubicBezTo>
                    <a:cubicBezTo>
                      <a:pt x="540" y="99"/>
                      <a:pt x="540" y="99"/>
                      <a:pt x="540" y="99"/>
                    </a:cubicBezTo>
                    <a:cubicBezTo>
                      <a:pt x="533" y="70"/>
                      <a:pt x="533" y="70"/>
                      <a:pt x="533" y="70"/>
                    </a:cubicBezTo>
                    <a:cubicBezTo>
                      <a:pt x="505" y="58"/>
                      <a:pt x="505" y="58"/>
                      <a:pt x="505" y="58"/>
                    </a:cubicBezTo>
                    <a:cubicBezTo>
                      <a:pt x="482" y="56"/>
                      <a:pt x="482" y="56"/>
                      <a:pt x="482" y="56"/>
                    </a:cubicBezTo>
                    <a:cubicBezTo>
                      <a:pt x="481" y="45"/>
                      <a:pt x="481" y="45"/>
                      <a:pt x="481" y="45"/>
                    </a:cubicBezTo>
                    <a:cubicBezTo>
                      <a:pt x="476" y="33"/>
                      <a:pt x="476" y="33"/>
                      <a:pt x="476" y="33"/>
                    </a:cubicBezTo>
                    <a:cubicBezTo>
                      <a:pt x="476" y="33"/>
                      <a:pt x="484" y="32"/>
                      <a:pt x="486" y="26"/>
                    </a:cubicBezTo>
                    <a:cubicBezTo>
                      <a:pt x="488" y="20"/>
                      <a:pt x="467" y="14"/>
                      <a:pt x="467" y="14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20" y="6"/>
                      <a:pt x="420" y="6"/>
                      <a:pt x="420" y="6"/>
                    </a:cubicBezTo>
                    <a:cubicBezTo>
                      <a:pt x="402" y="3"/>
                      <a:pt x="402" y="3"/>
                      <a:pt x="402" y="3"/>
                    </a:cubicBezTo>
                    <a:cubicBezTo>
                      <a:pt x="402" y="3"/>
                      <a:pt x="406" y="12"/>
                      <a:pt x="398" y="16"/>
                    </a:cubicBezTo>
                    <a:cubicBezTo>
                      <a:pt x="390" y="20"/>
                      <a:pt x="356" y="12"/>
                      <a:pt x="349" y="12"/>
                    </a:cubicBezTo>
                    <a:cubicBezTo>
                      <a:pt x="342" y="12"/>
                      <a:pt x="326" y="37"/>
                      <a:pt x="326" y="37"/>
                    </a:cubicBezTo>
                    <a:cubicBezTo>
                      <a:pt x="326" y="37"/>
                      <a:pt x="336" y="50"/>
                      <a:pt x="327" y="53"/>
                    </a:cubicBezTo>
                    <a:cubicBezTo>
                      <a:pt x="318" y="56"/>
                      <a:pt x="304" y="47"/>
                      <a:pt x="304" y="47"/>
                    </a:cubicBezTo>
                    <a:cubicBezTo>
                      <a:pt x="304" y="47"/>
                      <a:pt x="293" y="50"/>
                      <a:pt x="285" y="51"/>
                    </a:cubicBezTo>
                    <a:cubicBezTo>
                      <a:pt x="277" y="52"/>
                      <a:pt x="285" y="40"/>
                      <a:pt x="273" y="39"/>
                    </a:cubicBezTo>
                    <a:cubicBezTo>
                      <a:pt x="261" y="38"/>
                      <a:pt x="262" y="48"/>
                      <a:pt x="262" y="48"/>
                    </a:cubicBezTo>
                    <a:cubicBezTo>
                      <a:pt x="252" y="40"/>
                      <a:pt x="252" y="40"/>
                      <a:pt x="252" y="40"/>
                    </a:cubicBezTo>
                    <a:cubicBezTo>
                      <a:pt x="247" y="46"/>
                      <a:pt x="247" y="46"/>
                      <a:pt x="247" y="46"/>
                    </a:cubicBezTo>
                    <a:cubicBezTo>
                      <a:pt x="241" y="41"/>
                      <a:pt x="241" y="41"/>
                      <a:pt x="241" y="41"/>
                    </a:cubicBezTo>
                    <a:cubicBezTo>
                      <a:pt x="231" y="43"/>
                      <a:pt x="231" y="43"/>
                      <a:pt x="231" y="43"/>
                    </a:cubicBezTo>
                    <a:cubicBezTo>
                      <a:pt x="224" y="38"/>
                      <a:pt x="224" y="38"/>
                      <a:pt x="224" y="38"/>
                    </a:cubicBezTo>
                    <a:cubicBezTo>
                      <a:pt x="219" y="45"/>
                      <a:pt x="219" y="45"/>
                      <a:pt x="219" y="45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2" y="40"/>
                      <a:pt x="202" y="40"/>
                      <a:pt x="202" y="40"/>
                    </a:cubicBezTo>
                    <a:cubicBezTo>
                      <a:pt x="191" y="31"/>
                      <a:pt x="191" y="31"/>
                      <a:pt x="191" y="31"/>
                    </a:cubicBezTo>
                    <a:cubicBezTo>
                      <a:pt x="172" y="28"/>
                      <a:pt x="172" y="28"/>
                      <a:pt x="172" y="28"/>
                    </a:cubicBezTo>
                    <a:cubicBezTo>
                      <a:pt x="172" y="28"/>
                      <a:pt x="167" y="28"/>
                      <a:pt x="157" y="28"/>
                    </a:cubicBezTo>
                    <a:cubicBezTo>
                      <a:pt x="147" y="28"/>
                      <a:pt x="147" y="20"/>
                      <a:pt x="147" y="20"/>
                    </a:cubicBezTo>
                    <a:cubicBezTo>
                      <a:pt x="147" y="20"/>
                      <a:pt x="120" y="19"/>
                      <a:pt x="117" y="20"/>
                    </a:cubicBezTo>
                    <a:cubicBezTo>
                      <a:pt x="114" y="21"/>
                      <a:pt x="103" y="27"/>
                      <a:pt x="103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7" y="27"/>
                      <a:pt x="76" y="37"/>
                      <a:pt x="68" y="42"/>
                    </a:cubicBezTo>
                    <a:cubicBezTo>
                      <a:pt x="60" y="47"/>
                      <a:pt x="47" y="40"/>
                      <a:pt x="47" y="40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57" y="55"/>
                      <a:pt x="60" y="64"/>
                    </a:cubicBezTo>
                    <a:cubicBezTo>
                      <a:pt x="63" y="73"/>
                      <a:pt x="75" y="76"/>
                      <a:pt x="75" y="76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68" y="84"/>
                      <a:pt x="74" y="92"/>
                      <a:pt x="76" y="97"/>
                    </a:cubicBezTo>
                    <a:cubicBezTo>
                      <a:pt x="78" y="102"/>
                      <a:pt x="58" y="103"/>
                      <a:pt x="58" y="103"/>
                    </a:cubicBezTo>
                    <a:cubicBezTo>
                      <a:pt x="23" y="138"/>
                      <a:pt x="23" y="138"/>
                      <a:pt x="23" y="138"/>
                    </a:cubicBezTo>
                    <a:cubicBezTo>
                      <a:pt x="23" y="138"/>
                      <a:pt x="23" y="148"/>
                      <a:pt x="22" y="158"/>
                    </a:cubicBezTo>
                    <a:cubicBezTo>
                      <a:pt x="21" y="168"/>
                      <a:pt x="30" y="174"/>
                      <a:pt x="30" y="174"/>
                    </a:cubicBezTo>
                    <a:cubicBezTo>
                      <a:pt x="14" y="173"/>
                      <a:pt x="14" y="173"/>
                      <a:pt x="14" y="173"/>
                    </a:cubicBezTo>
                    <a:cubicBezTo>
                      <a:pt x="14" y="173"/>
                      <a:pt x="13" y="180"/>
                      <a:pt x="11" y="186"/>
                    </a:cubicBezTo>
                    <a:cubicBezTo>
                      <a:pt x="9" y="192"/>
                      <a:pt x="1" y="194"/>
                      <a:pt x="1" y="194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8" y="204"/>
                      <a:pt x="10" y="214"/>
                      <a:pt x="16" y="2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5" name="MCShape 87">
                <a:extLst>
                  <a:ext uri="{FF2B5EF4-FFF2-40B4-BE49-F238E27FC236}">
                    <a16:creationId xmlns:a16="http://schemas.microsoft.com/office/drawing/2014/main" id="{81812167-FC84-4BF6-8EE3-536D5A1CD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9218" y="2446765"/>
                <a:ext cx="225823" cy="146940"/>
              </a:xfrm>
              <a:custGeom>
                <a:avLst/>
                <a:gdLst>
                  <a:gd name="T0" fmla="*/ 19 w 382"/>
                  <a:gd name="T1" fmla="*/ 225 h 250"/>
                  <a:gd name="T2" fmla="*/ 42 w 382"/>
                  <a:gd name="T3" fmla="*/ 236 h 250"/>
                  <a:gd name="T4" fmla="*/ 77 w 382"/>
                  <a:gd name="T5" fmla="*/ 221 h 250"/>
                  <a:gd name="T6" fmla="*/ 121 w 382"/>
                  <a:gd name="T7" fmla="*/ 214 h 250"/>
                  <a:gd name="T8" fmla="*/ 146 w 382"/>
                  <a:gd name="T9" fmla="*/ 222 h 250"/>
                  <a:gd name="T10" fmla="*/ 176 w 382"/>
                  <a:gd name="T11" fmla="*/ 234 h 250"/>
                  <a:gd name="T12" fmla="*/ 193 w 382"/>
                  <a:gd name="T13" fmla="*/ 239 h 250"/>
                  <a:gd name="T14" fmla="*/ 205 w 382"/>
                  <a:gd name="T15" fmla="*/ 237 h 250"/>
                  <a:gd name="T16" fmla="*/ 221 w 382"/>
                  <a:gd name="T17" fmla="*/ 240 h 250"/>
                  <a:gd name="T18" fmla="*/ 236 w 382"/>
                  <a:gd name="T19" fmla="*/ 242 h 250"/>
                  <a:gd name="T20" fmla="*/ 259 w 382"/>
                  <a:gd name="T21" fmla="*/ 245 h 250"/>
                  <a:gd name="T22" fmla="*/ 301 w 382"/>
                  <a:gd name="T23" fmla="*/ 247 h 250"/>
                  <a:gd name="T24" fmla="*/ 323 w 382"/>
                  <a:gd name="T25" fmla="*/ 206 h 250"/>
                  <a:gd name="T26" fmla="*/ 344 w 382"/>
                  <a:gd name="T27" fmla="*/ 191 h 250"/>
                  <a:gd name="T28" fmla="*/ 328 w 382"/>
                  <a:gd name="T29" fmla="*/ 151 h 250"/>
                  <a:gd name="T30" fmla="*/ 365 w 382"/>
                  <a:gd name="T31" fmla="*/ 155 h 250"/>
                  <a:gd name="T32" fmla="*/ 368 w 382"/>
                  <a:gd name="T33" fmla="*/ 131 h 250"/>
                  <a:gd name="T34" fmla="*/ 340 w 382"/>
                  <a:gd name="T35" fmla="*/ 118 h 250"/>
                  <a:gd name="T36" fmla="*/ 318 w 382"/>
                  <a:gd name="T37" fmla="*/ 96 h 250"/>
                  <a:gd name="T38" fmla="*/ 294 w 382"/>
                  <a:gd name="T39" fmla="*/ 66 h 250"/>
                  <a:gd name="T40" fmla="*/ 290 w 382"/>
                  <a:gd name="T41" fmla="*/ 44 h 250"/>
                  <a:gd name="T42" fmla="*/ 260 w 382"/>
                  <a:gd name="T43" fmla="*/ 9 h 250"/>
                  <a:gd name="T44" fmla="*/ 236 w 382"/>
                  <a:gd name="T45" fmla="*/ 11 h 250"/>
                  <a:gd name="T46" fmla="*/ 204 w 382"/>
                  <a:gd name="T47" fmla="*/ 11 h 250"/>
                  <a:gd name="T48" fmla="*/ 176 w 382"/>
                  <a:gd name="T49" fmla="*/ 0 h 250"/>
                  <a:gd name="T50" fmla="*/ 157 w 382"/>
                  <a:gd name="T51" fmla="*/ 19 h 250"/>
                  <a:gd name="T52" fmla="*/ 119 w 382"/>
                  <a:gd name="T53" fmla="*/ 31 h 250"/>
                  <a:gd name="T54" fmla="*/ 120 w 382"/>
                  <a:gd name="T55" fmla="*/ 52 h 250"/>
                  <a:gd name="T56" fmla="*/ 111 w 382"/>
                  <a:gd name="T57" fmla="*/ 60 h 250"/>
                  <a:gd name="T58" fmla="*/ 98 w 382"/>
                  <a:gd name="T59" fmla="*/ 77 h 250"/>
                  <a:gd name="T60" fmla="*/ 96 w 382"/>
                  <a:gd name="T61" fmla="*/ 104 h 250"/>
                  <a:gd name="T62" fmla="*/ 72 w 382"/>
                  <a:gd name="T63" fmla="*/ 103 h 250"/>
                  <a:gd name="T64" fmla="*/ 60 w 382"/>
                  <a:gd name="T65" fmla="*/ 103 h 250"/>
                  <a:gd name="T66" fmla="*/ 40 w 382"/>
                  <a:gd name="T67" fmla="*/ 113 h 250"/>
                  <a:gd name="T68" fmla="*/ 6 w 382"/>
                  <a:gd name="T69" fmla="*/ 113 h 250"/>
                  <a:gd name="T70" fmla="*/ 25 w 382"/>
                  <a:gd name="T71" fmla="*/ 145 h 250"/>
                  <a:gd name="T72" fmla="*/ 27 w 382"/>
                  <a:gd name="T73" fmla="*/ 173 h 250"/>
                  <a:gd name="T74" fmla="*/ 12 w 382"/>
                  <a:gd name="T75" fmla="*/ 190 h 250"/>
                  <a:gd name="T76" fmla="*/ 20 w 382"/>
                  <a:gd name="T77" fmla="*/ 207 h 2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82"/>
                  <a:gd name="T118" fmla="*/ 0 h 250"/>
                  <a:gd name="T119" fmla="*/ 382 w 382"/>
                  <a:gd name="T120" fmla="*/ 250 h 2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82" h="250">
                    <a:moveTo>
                      <a:pt x="20" y="207"/>
                    </a:moveTo>
                    <a:cubicBezTo>
                      <a:pt x="22" y="211"/>
                      <a:pt x="19" y="225"/>
                      <a:pt x="19" y="225"/>
                    </a:cubicBezTo>
                    <a:cubicBezTo>
                      <a:pt x="22" y="234"/>
                      <a:pt x="22" y="234"/>
                      <a:pt x="22" y="234"/>
                    </a:cubicBezTo>
                    <a:cubicBezTo>
                      <a:pt x="26" y="236"/>
                      <a:pt x="35" y="240"/>
                      <a:pt x="42" y="236"/>
                    </a:cubicBezTo>
                    <a:cubicBezTo>
                      <a:pt x="50" y="231"/>
                      <a:pt x="51" y="221"/>
                      <a:pt x="51" y="221"/>
                    </a:cubicBezTo>
                    <a:cubicBezTo>
                      <a:pt x="77" y="221"/>
                      <a:pt x="77" y="221"/>
                      <a:pt x="77" y="221"/>
                    </a:cubicBezTo>
                    <a:cubicBezTo>
                      <a:pt x="77" y="221"/>
                      <a:pt x="88" y="215"/>
                      <a:pt x="91" y="214"/>
                    </a:cubicBezTo>
                    <a:cubicBezTo>
                      <a:pt x="94" y="213"/>
                      <a:pt x="121" y="214"/>
                      <a:pt x="121" y="214"/>
                    </a:cubicBezTo>
                    <a:cubicBezTo>
                      <a:pt x="121" y="214"/>
                      <a:pt x="121" y="222"/>
                      <a:pt x="131" y="222"/>
                    </a:cubicBezTo>
                    <a:cubicBezTo>
                      <a:pt x="141" y="222"/>
                      <a:pt x="146" y="222"/>
                      <a:pt x="146" y="222"/>
                    </a:cubicBezTo>
                    <a:cubicBezTo>
                      <a:pt x="165" y="225"/>
                      <a:pt x="165" y="225"/>
                      <a:pt x="165" y="225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81" y="231"/>
                      <a:pt x="181" y="231"/>
                      <a:pt x="181" y="231"/>
                    </a:cubicBezTo>
                    <a:cubicBezTo>
                      <a:pt x="193" y="239"/>
                      <a:pt x="193" y="239"/>
                      <a:pt x="193" y="239"/>
                    </a:cubicBezTo>
                    <a:cubicBezTo>
                      <a:pt x="198" y="232"/>
                      <a:pt x="198" y="232"/>
                      <a:pt x="198" y="232"/>
                    </a:cubicBezTo>
                    <a:cubicBezTo>
                      <a:pt x="205" y="237"/>
                      <a:pt x="205" y="237"/>
                      <a:pt x="205" y="237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221" y="240"/>
                      <a:pt x="221" y="240"/>
                      <a:pt x="221" y="240"/>
                    </a:cubicBezTo>
                    <a:cubicBezTo>
                      <a:pt x="226" y="234"/>
                      <a:pt x="226" y="234"/>
                      <a:pt x="226" y="234"/>
                    </a:cubicBezTo>
                    <a:cubicBezTo>
                      <a:pt x="236" y="242"/>
                      <a:pt x="236" y="242"/>
                      <a:pt x="236" y="242"/>
                    </a:cubicBezTo>
                    <a:cubicBezTo>
                      <a:pt x="236" y="242"/>
                      <a:pt x="235" y="232"/>
                      <a:pt x="247" y="233"/>
                    </a:cubicBezTo>
                    <a:cubicBezTo>
                      <a:pt x="259" y="234"/>
                      <a:pt x="251" y="246"/>
                      <a:pt x="259" y="245"/>
                    </a:cubicBezTo>
                    <a:cubicBezTo>
                      <a:pt x="267" y="244"/>
                      <a:pt x="278" y="241"/>
                      <a:pt x="278" y="241"/>
                    </a:cubicBezTo>
                    <a:cubicBezTo>
                      <a:pt x="278" y="241"/>
                      <a:pt x="292" y="250"/>
                      <a:pt x="301" y="247"/>
                    </a:cubicBezTo>
                    <a:cubicBezTo>
                      <a:pt x="310" y="244"/>
                      <a:pt x="300" y="231"/>
                      <a:pt x="300" y="231"/>
                    </a:cubicBezTo>
                    <a:cubicBezTo>
                      <a:pt x="300" y="231"/>
                      <a:pt x="316" y="206"/>
                      <a:pt x="323" y="206"/>
                    </a:cubicBezTo>
                    <a:cubicBezTo>
                      <a:pt x="326" y="206"/>
                      <a:pt x="336" y="208"/>
                      <a:pt x="347" y="209"/>
                    </a:cubicBezTo>
                    <a:cubicBezTo>
                      <a:pt x="346" y="201"/>
                      <a:pt x="346" y="191"/>
                      <a:pt x="344" y="191"/>
                    </a:cubicBezTo>
                    <a:cubicBezTo>
                      <a:pt x="341" y="190"/>
                      <a:pt x="341" y="176"/>
                      <a:pt x="341" y="176"/>
                    </a:cubicBezTo>
                    <a:cubicBezTo>
                      <a:pt x="341" y="176"/>
                      <a:pt x="314" y="154"/>
                      <a:pt x="328" y="151"/>
                    </a:cubicBezTo>
                    <a:cubicBezTo>
                      <a:pt x="342" y="148"/>
                      <a:pt x="344" y="154"/>
                      <a:pt x="344" y="154"/>
                    </a:cubicBezTo>
                    <a:cubicBezTo>
                      <a:pt x="344" y="154"/>
                      <a:pt x="357" y="162"/>
                      <a:pt x="365" y="155"/>
                    </a:cubicBezTo>
                    <a:cubicBezTo>
                      <a:pt x="373" y="148"/>
                      <a:pt x="382" y="139"/>
                      <a:pt x="382" y="139"/>
                    </a:cubicBezTo>
                    <a:cubicBezTo>
                      <a:pt x="368" y="131"/>
                      <a:pt x="368" y="131"/>
                      <a:pt x="368" y="131"/>
                    </a:cubicBezTo>
                    <a:cubicBezTo>
                      <a:pt x="368" y="131"/>
                      <a:pt x="376" y="122"/>
                      <a:pt x="363" y="119"/>
                    </a:cubicBezTo>
                    <a:cubicBezTo>
                      <a:pt x="350" y="116"/>
                      <a:pt x="340" y="118"/>
                      <a:pt x="340" y="118"/>
                    </a:cubicBezTo>
                    <a:cubicBezTo>
                      <a:pt x="338" y="103"/>
                      <a:pt x="338" y="103"/>
                      <a:pt x="338" y="103"/>
                    </a:cubicBezTo>
                    <a:cubicBezTo>
                      <a:pt x="318" y="96"/>
                      <a:pt x="318" y="96"/>
                      <a:pt x="318" y="96"/>
                    </a:cubicBezTo>
                    <a:cubicBezTo>
                      <a:pt x="318" y="96"/>
                      <a:pt x="315" y="75"/>
                      <a:pt x="307" y="73"/>
                    </a:cubicBezTo>
                    <a:cubicBezTo>
                      <a:pt x="299" y="71"/>
                      <a:pt x="294" y="66"/>
                      <a:pt x="294" y="66"/>
                    </a:cubicBezTo>
                    <a:cubicBezTo>
                      <a:pt x="298" y="54"/>
                      <a:pt x="298" y="54"/>
                      <a:pt x="298" y="54"/>
                    </a:cubicBezTo>
                    <a:cubicBezTo>
                      <a:pt x="290" y="44"/>
                      <a:pt x="290" y="44"/>
                      <a:pt x="290" y="44"/>
                    </a:cubicBezTo>
                    <a:cubicBezTo>
                      <a:pt x="290" y="44"/>
                      <a:pt x="304" y="30"/>
                      <a:pt x="293" y="25"/>
                    </a:cubicBezTo>
                    <a:cubicBezTo>
                      <a:pt x="282" y="20"/>
                      <a:pt x="260" y="9"/>
                      <a:pt x="260" y="9"/>
                    </a:cubicBezTo>
                    <a:cubicBezTo>
                      <a:pt x="238" y="21"/>
                      <a:pt x="238" y="21"/>
                      <a:pt x="238" y="21"/>
                    </a:cubicBezTo>
                    <a:cubicBezTo>
                      <a:pt x="236" y="11"/>
                      <a:pt x="236" y="11"/>
                      <a:pt x="236" y="11"/>
                    </a:cubicBezTo>
                    <a:cubicBezTo>
                      <a:pt x="210" y="5"/>
                      <a:pt x="210" y="5"/>
                      <a:pt x="210" y="5"/>
                    </a:cubicBezTo>
                    <a:cubicBezTo>
                      <a:pt x="204" y="11"/>
                      <a:pt x="204" y="11"/>
                      <a:pt x="204" y="11"/>
                    </a:cubicBezTo>
                    <a:cubicBezTo>
                      <a:pt x="204" y="11"/>
                      <a:pt x="203" y="4"/>
                      <a:pt x="195" y="3"/>
                    </a:cubicBezTo>
                    <a:cubicBezTo>
                      <a:pt x="187" y="2"/>
                      <a:pt x="176" y="0"/>
                      <a:pt x="176" y="0"/>
                    </a:cubicBezTo>
                    <a:cubicBezTo>
                      <a:pt x="176" y="0"/>
                      <a:pt x="162" y="16"/>
                      <a:pt x="162" y="13"/>
                    </a:cubicBezTo>
                    <a:cubicBezTo>
                      <a:pt x="162" y="10"/>
                      <a:pt x="157" y="19"/>
                      <a:pt x="157" y="19"/>
                    </a:cubicBezTo>
                    <a:cubicBezTo>
                      <a:pt x="157" y="19"/>
                      <a:pt x="146" y="13"/>
                      <a:pt x="141" y="13"/>
                    </a:cubicBezTo>
                    <a:cubicBezTo>
                      <a:pt x="136" y="13"/>
                      <a:pt x="121" y="26"/>
                      <a:pt x="119" y="31"/>
                    </a:cubicBezTo>
                    <a:cubicBezTo>
                      <a:pt x="117" y="36"/>
                      <a:pt x="133" y="46"/>
                      <a:pt x="133" y="46"/>
                    </a:cubicBezTo>
                    <a:cubicBezTo>
                      <a:pt x="133" y="46"/>
                      <a:pt x="126" y="52"/>
                      <a:pt x="120" y="52"/>
                    </a:cubicBezTo>
                    <a:cubicBezTo>
                      <a:pt x="114" y="52"/>
                      <a:pt x="107" y="47"/>
                      <a:pt x="107" y="47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1" y="60"/>
                      <a:pt x="98" y="55"/>
                      <a:pt x="96" y="62"/>
                    </a:cubicBezTo>
                    <a:cubicBezTo>
                      <a:pt x="94" y="69"/>
                      <a:pt x="98" y="77"/>
                      <a:pt x="98" y="77"/>
                    </a:cubicBezTo>
                    <a:cubicBezTo>
                      <a:pt x="98" y="77"/>
                      <a:pt x="86" y="76"/>
                      <a:pt x="91" y="84"/>
                    </a:cubicBezTo>
                    <a:cubicBezTo>
                      <a:pt x="96" y="92"/>
                      <a:pt x="103" y="103"/>
                      <a:pt x="96" y="104"/>
                    </a:cubicBezTo>
                    <a:cubicBezTo>
                      <a:pt x="89" y="105"/>
                      <a:pt x="100" y="96"/>
                      <a:pt x="90" y="96"/>
                    </a:cubicBezTo>
                    <a:cubicBezTo>
                      <a:pt x="80" y="96"/>
                      <a:pt x="72" y="103"/>
                      <a:pt x="72" y="103"/>
                    </a:cubicBezTo>
                    <a:cubicBezTo>
                      <a:pt x="68" y="111"/>
                      <a:pt x="68" y="111"/>
                      <a:pt x="68" y="111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58" y="113"/>
                      <a:pt x="58" y="113"/>
                      <a:pt x="58" y="113"/>
                    </a:cubicBezTo>
                    <a:cubicBezTo>
                      <a:pt x="40" y="113"/>
                      <a:pt x="40" y="113"/>
                      <a:pt x="40" y="113"/>
                    </a:cubicBezTo>
                    <a:cubicBezTo>
                      <a:pt x="40" y="113"/>
                      <a:pt x="38" y="107"/>
                      <a:pt x="30" y="108"/>
                    </a:cubicBezTo>
                    <a:cubicBezTo>
                      <a:pt x="22" y="109"/>
                      <a:pt x="6" y="113"/>
                      <a:pt x="6" y="113"/>
                    </a:cubicBezTo>
                    <a:cubicBezTo>
                      <a:pt x="6" y="113"/>
                      <a:pt x="14" y="126"/>
                      <a:pt x="14" y="131"/>
                    </a:cubicBezTo>
                    <a:cubicBezTo>
                      <a:pt x="14" y="136"/>
                      <a:pt x="25" y="145"/>
                      <a:pt x="25" y="145"/>
                    </a:cubicBezTo>
                    <a:cubicBezTo>
                      <a:pt x="25" y="145"/>
                      <a:pt x="33" y="157"/>
                      <a:pt x="31" y="161"/>
                    </a:cubicBezTo>
                    <a:cubicBezTo>
                      <a:pt x="29" y="165"/>
                      <a:pt x="27" y="173"/>
                      <a:pt x="27" y="173"/>
                    </a:cubicBezTo>
                    <a:cubicBezTo>
                      <a:pt x="13" y="178"/>
                      <a:pt x="13" y="178"/>
                      <a:pt x="13" y="178"/>
                    </a:cubicBezTo>
                    <a:cubicBezTo>
                      <a:pt x="13" y="178"/>
                      <a:pt x="15" y="190"/>
                      <a:pt x="12" y="190"/>
                    </a:cubicBezTo>
                    <a:cubicBezTo>
                      <a:pt x="9" y="190"/>
                      <a:pt x="0" y="188"/>
                      <a:pt x="2" y="194"/>
                    </a:cubicBezTo>
                    <a:cubicBezTo>
                      <a:pt x="4" y="200"/>
                      <a:pt x="18" y="203"/>
                      <a:pt x="20" y="20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6" name="MCShape 88">
                <a:extLst>
                  <a:ext uri="{FF2B5EF4-FFF2-40B4-BE49-F238E27FC236}">
                    <a16:creationId xmlns:a16="http://schemas.microsoft.com/office/drawing/2014/main" id="{1B76272A-2317-41E3-96B8-8EE8220FA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0442" y="2387989"/>
                <a:ext cx="168595" cy="71150"/>
              </a:xfrm>
              <a:custGeom>
                <a:avLst/>
                <a:gdLst>
                  <a:gd name="T0" fmla="*/ 5 w 286"/>
                  <a:gd name="T1" fmla="*/ 97 h 123"/>
                  <a:gd name="T2" fmla="*/ 18 w 286"/>
                  <a:gd name="T3" fmla="*/ 92 h 123"/>
                  <a:gd name="T4" fmla="*/ 51 w 286"/>
                  <a:gd name="T5" fmla="*/ 86 h 123"/>
                  <a:gd name="T6" fmla="*/ 65 w 286"/>
                  <a:gd name="T7" fmla="*/ 83 h 123"/>
                  <a:gd name="T8" fmla="*/ 78 w 286"/>
                  <a:gd name="T9" fmla="*/ 90 h 123"/>
                  <a:gd name="T10" fmla="*/ 86 w 286"/>
                  <a:gd name="T11" fmla="*/ 88 h 123"/>
                  <a:gd name="T12" fmla="*/ 109 w 286"/>
                  <a:gd name="T13" fmla="*/ 94 h 123"/>
                  <a:gd name="T14" fmla="*/ 118 w 286"/>
                  <a:gd name="T15" fmla="*/ 89 h 123"/>
                  <a:gd name="T16" fmla="*/ 133 w 286"/>
                  <a:gd name="T17" fmla="*/ 93 h 123"/>
                  <a:gd name="T18" fmla="*/ 150 w 286"/>
                  <a:gd name="T19" fmla="*/ 85 h 123"/>
                  <a:gd name="T20" fmla="*/ 162 w 286"/>
                  <a:gd name="T21" fmla="*/ 98 h 123"/>
                  <a:gd name="T22" fmla="*/ 189 w 286"/>
                  <a:gd name="T23" fmla="*/ 101 h 123"/>
                  <a:gd name="T24" fmla="*/ 200 w 286"/>
                  <a:gd name="T25" fmla="*/ 111 h 123"/>
                  <a:gd name="T26" fmla="*/ 215 w 286"/>
                  <a:gd name="T27" fmla="*/ 119 h 123"/>
                  <a:gd name="T28" fmla="*/ 227 w 286"/>
                  <a:gd name="T29" fmla="*/ 123 h 123"/>
                  <a:gd name="T30" fmla="*/ 243 w 286"/>
                  <a:gd name="T31" fmla="*/ 113 h 123"/>
                  <a:gd name="T32" fmla="*/ 259 w 286"/>
                  <a:gd name="T33" fmla="*/ 119 h 123"/>
                  <a:gd name="T34" fmla="*/ 264 w 286"/>
                  <a:gd name="T35" fmla="*/ 113 h 123"/>
                  <a:gd name="T36" fmla="*/ 278 w 286"/>
                  <a:gd name="T37" fmla="*/ 100 h 123"/>
                  <a:gd name="T38" fmla="*/ 286 w 286"/>
                  <a:gd name="T39" fmla="*/ 101 h 123"/>
                  <a:gd name="T40" fmla="*/ 280 w 286"/>
                  <a:gd name="T41" fmla="*/ 82 h 123"/>
                  <a:gd name="T42" fmla="*/ 268 w 286"/>
                  <a:gd name="T43" fmla="*/ 65 h 123"/>
                  <a:gd name="T44" fmla="*/ 255 w 286"/>
                  <a:gd name="T45" fmla="*/ 61 h 123"/>
                  <a:gd name="T46" fmla="*/ 256 w 286"/>
                  <a:gd name="T47" fmla="*/ 52 h 123"/>
                  <a:gd name="T48" fmla="*/ 268 w 286"/>
                  <a:gd name="T49" fmla="*/ 45 h 123"/>
                  <a:gd name="T50" fmla="*/ 246 w 286"/>
                  <a:gd name="T51" fmla="*/ 30 h 123"/>
                  <a:gd name="T52" fmla="*/ 238 w 286"/>
                  <a:gd name="T53" fmla="*/ 31 h 123"/>
                  <a:gd name="T54" fmla="*/ 225 w 286"/>
                  <a:gd name="T55" fmla="*/ 26 h 123"/>
                  <a:gd name="T56" fmla="*/ 214 w 286"/>
                  <a:gd name="T57" fmla="*/ 32 h 123"/>
                  <a:gd name="T58" fmla="*/ 194 w 286"/>
                  <a:gd name="T59" fmla="*/ 20 h 123"/>
                  <a:gd name="T60" fmla="*/ 166 w 286"/>
                  <a:gd name="T61" fmla="*/ 3 h 123"/>
                  <a:gd name="T62" fmla="*/ 145 w 286"/>
                  <a:gd name="T63" fmla="*/ 4 h 123"/>
                  <a:gd name="T64" fmla="*/ 124 w 286"/>
                  <a:gd name="T65" fmla="*/ 10 h 123"/>
                  <a:gd name="T66" fmla="*/ 120 w 286"/>
                  <a:gd name="T67" fmla="*/ 10 h 123"/>
                  <a:gd name="T68" fmla="*/ 119 w 286"/>
                  <a:gd name="T69" fmla="*/ 12 h 123"/>
                  <a:gd name="T70" fmla="*/ 123 w 286"/>
                  <a:gd name="T71" fmla="*/ 55 h 123"/>
                  <a:gd name="T72" fmla="*/ 86 w 286"/>
                  <a:gd name="T73" fmla="*/ 52 h 123"/>
                  <a:gd name="T74" fmla="*/ 79 w 286"/>
                  <a:gd name="T75" fmla="*/ 37 h 123"/>
                  <a:gd name="T76" fmla="*/ 56 w 286"/>
                  <a:gd name="T77" fmla="*/ 18 h 123"/>
                  <a:gd name="T78" fmla="*/ 21 w 286"/>
                  <a:gd name="T79" fmla="*/ 30 h 123"/>
                  <a:gd name="T80" fmla="*/ 16 w 286"/>
                  <a:gd name="T81" fmla="*/ 46 h 123"/>
                  <a:gd name="T82" fmla="*/ 0 w 286"/>
                  <a:gd name="T83" fmla="*/ 69 h 123"/>
                  <a:gd name="T84" fmla="*/ 6 w 286"/>
                  <a:gd name="T85" fmla="*/ 104 h 123"/>
                  <a:gd name="T86" fmla="*/ 5 w 286"/>
                  <a:gd name="T87" fmla="*/ 97 h 12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86"/>
                  <a:gd name="T133" fmla="*/ 0 h 123"/>
                  <a:gd name="T134" fmla="*/ 286 w 286"/>
                  <a:gd name="T135" fmla="*/ 123 h 12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86" h="123">
                    <a:moveTo>
                      <a:pt x="5" y="97"/>
                    </a:moveTo>
                    <a:cubicBezTo>
                      <a:pt x="8" y="95"/>
                      <a:pt x="12" y="93"/>
                      <a:pt x="18" y="92"/>
                    </a:cubicBezTo>
                    <a:cubicBezTo>
                      <a:pt x="38" y="89"/>
                      <a:pt x="45" y="89"/>
                      <a:pt x="51" y="86"/>
                    </a:cubicBezTo>
                    <a:cubicBezTo>
                      <a:pt x="57" y="83"/>
                      <a:pt x="59" y="81"/>
                      <a:pt x="65" y="83"/>
                    </a:cubicBezTo>
                    <a:cubicBezTo>
                      <a:pt x="71" y="85"/>
                      <a:pt x="78" y="90"/>
                      <a:pt x="78" y="90"/>
                    </a:cubicBezTo>
                    <a:cubicBezTo>
                      <a:pt x="78" y="90"/>
                      <a:pt x="83" y="89"/>
                      <a:pt x="86" y="88"/>
                    </a:cubicBezTo>
                    <a:cubicBezTo>
                      <a:pt x="89" y="87"/>
                      <a:pt x="109" y="94"/>
                      <a:pt x="109" y="94"/>
                    </a:cubicBezTo>
                    <a:cubicBezTo>
                      <a:pt x="109" y="94"/>
                      <a:pt x="113" y="89"/>
                      <a:pt x="118" y="89"/>
                    </a:cubicBezTo>
                    <a:cubicBezTo>
                      <a:pt x="123" y="89"/>
                      <a:pt x="125" y="93"/>
                      <a:pt x="133" y="93"/>
                    </a:cubicBezTo>
                    <a:cubicBezTo>
                      <a:pt x="141" y="93"/>
                      <a:pt x="144" y="85"/>
                      <a:pt x="150" y="85"/>
                    </a:cubicBezTo>
                    <a:cubicBezTo>
                      <a:pt x="156" y="85"/>
                      <a:pt x="162" y="98"/>
                      <a:pt x="162" y="98"/>
                    </a:cubicBezTo>
                    <a:cubicBezTo>
                      <a:pt x="162" y="98"/>
                      <a:pt x="183" y="99"/>
                      <a:pt x="189" y="101"/>
                    </a:cubicBezTo>
                    <a:cubicBezTo>
                      <a:pt x="195" y="103"/>
                      <a:pt x="200" y="111"/>
                      <a:pt x="200" y="111"/>
                    </a:cubicBezTo>
                    <a:cubicBezTo>
                      <a:pt x="215" y="119"/>
                      <a:pt x="215" y="119"/>
                      <a:pt x="215" y="119"/>
                    </a:cubicBezTo>
                    <a:cubicBezTo>
                      <a:pt x="227" y="123"/>
                      <a:pt x="227" y="123"/>
                      <a:pt x="227" y="123"/>
                    </a:cubicBezTo>
                    <a:cubicBezTo>
                      <a:pt x="233" y="118"/>
                      <a:pt x="240" y="113"/>
                      <a:pt x="243" y="113"/>
                    </a:cubicBezTo>
                    <a:cubicBezTo>
                      <a:pt x="248" y="113"/>
                      <a:pt x="259" y="119"/>
                      <a:pt x="259" y="119"/>
                    </a:cubicBezTo>
                    <a:cubicBezTo>
                      <a:pt x="259" y="119"/>
                      <a:pt x="264" y="110"/>
                      <a:pt x="264" y="113"/>
                    </a:cubicBezTo>
                    <a:cubicBezTo>
                      <a:pt x="264" y="116"/>
                      <a:pt x="278" y="100"/>
                      <a:pt x="278" y="100"/>
                    </a:cubicBezTo>
                    <a:cubicBezTo>
                      <a:pt x="278" y="100"/>
                      <a:pt x="282" y="101"/>
                      <a:pt x="286" y="101"/>
                    </a:cubicBezTo>
                    <a:cubicBezTo>
                      <a:pt x="286" y="97"/>
                      <a:pt x="286" y="87"/>
                      <a:pt x="280" y="82"/>
                    </a:cubicBezTo>
                    <a:cubicBezTo>
                      <a:pt x="273" y="76"/>
                      <a:pt x="268" y="65"/>
                      <a:pt x="268" y="65"/>
                    </a:cubicBezTo>
                    <a:cubicBezTo>
                      <a:pt x="255" y="61"/>
                      <a:pt x="255" y="61"/>
                      <a:pt x="255" y="61"/>
                    </a:cubicBezTo>
                    <a:cubicBezTo>
                      <a:pt x="256" y="52"/>
                      <a:pt x="256" y="52"/>
                      <a:pt x="256" y="52"/>
                    </a:cubicBezTo>
                    <a:cubicBezTo>
                      <a:pt x="256" y="52"/>
                      <a:pt x="269" y="50"/>
                      <a:pt x="268" y="45"/>
                    </a:cubicBezTo>
                    <a:cubicBezTo>
                      <a:pt x="267" y="40"/>
                      <a:pt x="246" y="30"/>
                      <a:pt x="246" y="30"/>
                    </a:cubicBezTo>
                    <a:cubicBezTo>
                      <a:pt x="238" y="31"/>
                      <a:pt x="238" y="31"/>
                      <a:pt x="238" y="31"/>
                    </a:cubicBezTo>
                    <a:cubicBezTo>
                      <a:pt x="238" y="31"/>
                      <a:pt x="228" y="27"/>
                      <a:pt x="225" y="26"/>
                    </a:cubicBezTo>
                    <a:cubicBezTo>
                      <a:pt x="222" y="25"/>
                      <a:pt x="220" y="32"/>
                      <a:pt x="214" y="32"/>
                    </a:cubicBezTo>
                    <a:cubicBezTo>
                      <a:pt x="208" y="32"/>
                      <a:pt x="205" y="29"/>
                      <a:pt x="194" y="20"/>
                    </a:cubicBezTo>
                    <a:cubicBezTo>
                      <a:pt x="183" y="11"/>
                      <a:pt x="181" y="6"/>
                      <a:pt x="166" y="3"/>
                    </a:cubicBezTo>
                    <a:cubicBezTo>
                      <a:pt x="151" y="0"/>
                      <a:pt x="145" y="4"/>
                      <a:pt x="145" y="4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0" y="10"/>
                      <a:pt x="120" y="10"/>
                      <a:pt x="120" y="10"/>
                    </a:cubicBezTo>
                    <a:cubicBezTo>
                      <a:pt x="119" y="12"/>
                      <a:pt x="119" y="12"/>
                      <a:pt x="119" y="12"/>
                    </a:cubicBezTo>
                    <a:cubicBezTo>
                      <a:pt x="119" y="12"/>
                      <a:pt x="136" y="55"/>
                      <a:pt x="123" y="55"/>
                    </a:cubicBezTo>
                    <a:cubicBezTo>
                      <a:pt x="110" y="55"/>
                      <a:pt x="86" y="52"/>
                      <a:pt x="86" y="52"/>
                    </a:cubicBezTo>
                    <a:cubicBezTo>
                      <a:pt x="79" y="37"/>
                      <a:pt x="79" y="37"/>
                      <a:pt x="79" y="3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6" y="18"/>
                      <a:pt x="24" y="23"/>
                      <a:pt x="21" y="30"/>
                    </a:cubicBezTo>
                    <a:cubicBezTo>
                      <a:pt x="18" y="37"/>
                      <a:pt x="16" y="46"/>
                      <a:pt x="16" y="46"/>
                    </a:cubicBezTo>
                    <a:cubicBezTo>
                      <a:pt x="16" y="46"/>
                      <a:pt x="0" y="64"/>
                      <a:pt x="0" y="69"/>
                    </a:cubicBezTo>
                    <a:cubicBezTo>
                      <a:pt x="0" y="74"/>
                      <a:pt x="6" y="104"/>
                      <a:pt x="6" y="104"/>
                    </a:cubicBezTo>
                    <a:cubicBezTo>
                      <a:pt x="6" y="104"/>
                      <a:pt x="5" y="101"/>
                      <a:pt x="5" y="9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7" name="MCShape 89">
                <a:extLst>
                  <a:ext uri="{FF2B5EF4-FFF2-40B4-BE49-F238E27FC236}">
                    <a16:creationId xmlns:a16="http://schemas.microsoft.com/office/drawing/2014/main" id="{AA430AFE-37BD-484D-9794-B01019715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6414" y="2052346"/>
                <a:ext cx="249025" cy="284600"/>
              </a:xfrm>
              <a:custGeom>
                <a:avLst/>
                <a:gdLst>
                  <a:gd name="T0" fmla="*/ 88 w 422"/>
                  <a:gd name="T1" fmla="*/ 64 h 480"/>
                  <a:gd name="T2" fmla="*/ 64 w 422"/>
                  <a:gd name="T3" fmla="*/ 59 h 480"/>
                  <a:gd name="T4" fmla="*/ 40 w 422"/>
                  <a:gd name="T5" fmla="*/ 47 h 480"/>
                  <a:gd name="T6" fmla="*/ 16 w 422"/>
                  <a:gd name="T7" fmla="*/ 36 h 480"/>
                  <a:gd name="T8" fmla="*/ 2 w 422"/>
                  <a:gd name="T9" fmla="*/ 40 h 480"/>
                  <a:gd name="T10" fmla="*/ 17 w 422"/>
                  <a:gd name="T11" fmla="*/ 56 h 480"/>
                  <a:gd name="T12" fmla="*/ 48 w 422"/>
                  <a:gd name="T13" fmla="*/ 72 h 480"/>
                  <a:gd name="T14" fmla="*/ 92 w 422"/>
                  <a:gd name="T15" fmla="*/ 85 h 480"/>
                  <a:gd name="T16" fmla="*/ 103 w 422"/>
                  <a:gd name="T17" fmla="*/ 114 h 480"/>
                  <a:gd name="T18" fmla="*/ 107 w 422"/>
                  <a:gd name="T19" fmla="*/ 132 h 480"/>
                  <a:gd name="T20" fmla="*/ 113 w 422"/>
                  <a:gd name="T21" fmla="*/ 165 h 480"/>
                  <a:gd name="T22" fmla="*/ 138 w 422"/>
                  <a:gd name="T23" fmla="*/ 204 h 480"/>
                  <a:gd name="T24" fmla="*/ 179 w 422"/>
                  <a:gd name="T25" fmla="*/ 217 h 480"/>
                  <a:gd name="T26" fmla="*/ 167 w 422"/>
                  <a:gd name="T27" fmla="*/ 234 h 480"/>
                  <a:gd name="T28" fmla="*/ 119 w 422"/>
                  <a:gd name="T29" fmla="*/ 283 h 480"/>
                  <a:gd name="T30" fmla="*/ 81 w 422"/>
                  <a:gd name="T31" fmla="*/ 309 h 480"/>
                  <a:gd name="T32" fmla="*/ 45 w 422"/>
                  <a:gd name="T33" fmla="*/ 336 h 480"/>
                  <a:gd name="T34" fmla="*/ 49 w 422"/>
                  <a:gd name="T35" fmla="*/ 364 h 480"/>
                  <a:gd name="T36" fmla="*/ 62 w 422"/>
                  <a:gd name="T37" fmla="*/ 393 h 480"/>
                  <a:gd name="T38" fmla="*/ 71 w 422"/>
                  <a:gd name="T39" fmla="*/ 452 h 480"/>
                  <a:gd name="T40" fmla="*/ 114 w 422"/>
                  <a:gd name="T41" fmla="*/ 460 h 480"/>
                  <a:gd name="T42" fmla="*/ 180 w 422"/>
                  <a:gd name="T43" fmla="*/ 475 h 480"/>
                  <a:gd name="T44" fmla="*/ 222 w 422"/>
                  <a:gd name="T45" fmla="*/ 465 h 480"/>
                  <a:gd name="T46" fmla="*/ 304 w 422"/>
                  <a:gd name="T47" fmla="*/ 451 h 480"/>
                  <a:gd name="T48" fmla="*/ 305 w 422"/>
                  <a:gd name="T49" fmla="*/ 441 h 480"/>
                  <a:gd name="T50" fmla="*/ 382 w 422"/>
                  <a:gd name="T51" fmla="*/ 381 h 480"/>
                  <a:gd name="T52" fmla="*/ 421 w 422"/>
                  <a:gd name="T53" fmla="*/ 340 h 480"/>
                  <a:gd name="T54" fmla="*/ 360 w 422"/>
                  <a:gd name="T55" fmla="*/ 295 h 480"/>
                  <a:gd name="T56" fmla="*/ 368 w 422"/>
                  <a:gd name="T57" fmla="*/ 265 h 480"/>
                  <a:gd name="T58" fmla="*/ 359 w 422"/>
                  <a:gd name="T59" fmla="*/ 247 h 480"/>
                  <a:gd name="T60" fmla="*/ 339 w 422"/>
                  <a:gd name="T61" fmla="*/ 228 h 480"/>
                  <a:gd name="T62" fmla="*/ 337 w 422"/>
                  <a:gd name="T63" fmla="*/ 202 h 480"/>
                  <a:gd name="T64" fmla="*/ 312 w 422"/>
                  <a:gd name="T65" fmla="*/ 156 h 480"/>
                  <a:gd name="T66" fmla="*/ 316 w 422"/>
                  <a:gd name="T67" fmla="*/ 133 h 480"/>
                  <a:gd name="T68" fmla="*/ 312 w 422"/>
                  <a:gd name="T69" fmla="*/ 98 h 480"/>
                  <a:gd name="T70" fmla="*/ 275 w 422"/>
                  <a:gd name="T71" fmla="*/ 82 h 480"/>
                  <a:gd name="T72" fmla="*/ 282 w 422"/>
                  <a:gd name="T73" fmla="*/ 62 h 480"/>
                  <a:gd name="T74" fmla="*/ 280 w 422"/>
                  <a:gd name="T75" fmla="*/ 36 h 480"/>
                  <a:gd name="T76" fmla="*/ 271 w 422"/>
                  <a:gd name="T77" fmla="*/ 13 h 480"/>
                  <a:gd name="T78" fmla="*/ 240 w 422"/>
                  <a:gd name="T79" fmla="*/ 1 h 480"/>
                  <a:gd name="T80" fmla="*/ 198 w 422"/>
                  <a:gd name="T81" fmla="*/ 5 h 480"/>
                  <a:gd name="T82" fmla="*/ 173 w 422"/>
                  <a:gd name="T83" fmla="*/ 30 h 480"/>
                  <a:gd name="T84" fmla="*/ 157 w 422"/>
                  <a:gd name="T85" fmla="*/ 50 h 480"/>
                  <a:gd name="T86" fmla="*/ 123 w 422"/>
                  <a:gd name="T87" fmla="*/ 56 h 4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2"/>
                  <a:gd name="T133" fmla="*/ 0 h 480"/>
                  <a:gd name="T134" fmla="*/ 422 w 422"/>
                  <a:gd name="T135" fmla="*/ 480 h 4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2" h="480">
                    <a:moveTo>
                      <a:pt x="107" y="59"/>
                    </a:moveTo>
                    <a:cubicBezTo>
                      <a:pt x="107" y="59"/>
                      <a:pt x="98" y="67"/>
                      <a:pt x="88" y="64"/>
                    </a:cubicBezTo>
                    <a:cubicBezTo>
                      <a:pt x="78" y="61"/>
                      <a:pt x="78" y="61"/>
                      <a:pt x="78" y="61"/>
                    </a:cubicBezTo>
                    <a:cubicBezTo>
                      <a:pt x="78" y="61"/>
                      <a:pt x="78" y="60"/>
                      <a:pt x="64" y="59"/>
                    </a:cubicBezTo>
                    <a:cubicBezTo>
                      <a:pt x="50" y="58"/>
                      <a:pt x="49" y="48"/>
                      <a:pt x="49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47"/>
                      <a:pt x="31" y="33"/>
                      <a:pt x="27" y="33"/>
                    </a:cubicBezTo>
                    <a:cubicBezTo>
                      <a:pt x="23" y="33"/>
                      <a:pt x="16" y="36"/>
                      <a:pt x="16" y="36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7" y="52"/>
                      <a:pt x="17" y="56"/>
                    </a:cubicBezTo>
                    <a:cubicBezTo>
                      <a:pt x="27" y="60"/>
                      <a:pt x="40" y="64"/>
                      <a:pt x="40" y="64"/>
                    </a:cubicBezTo>
                    <a:cubicBezTo>
                      <a:pt x="48" y="72"/>
                      <a:pt x="48" y="72"/>
                      <a:pt x="48" y="72"/>
                    </a:cubicBezTo>
                    <a:cubicBezTo>
                      <a:pt x="70" y="73"/>
                      <a:pt x="70" y="73"/>
                      <a:pt x="70" y="73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92" y="85"/>
                      <a:pt x="110" y="90"/>
                      <a:pt x="109" y="95"/>
                    </a:cubicBezTo>
                    <a:cubicBezTo>
                      <a:pt x="108" y="100"/>
                      <a:pt x="103" y="114"/>
                      <a:pt x="103" y="114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24" y="142"/>
                      <a:pt x="124" y="142"/>
                      <a:pt x="124" y="142"/>
                    </a:cubicBezTo>
                    <a:cubicBezTo>
                      <a:pt x="124" y="142"/>
                      <a:pt x="111" y="157"/>
                      <a:pt x="113" y="165"/>
                    </a:cubicBezTo>
                    <a:cubicBezTo>
                      <a:pt x="115" y="173"/>
                      <a:pt x="130" y="183"/>
                      <a:pt x="130" y="183"/>
                    </a:cubicBezTo>
                    <a:cubicBezTo>
                      <a:pt x="138" y="204"/>
                      <a:pt x="138" y="204"/>
                      <a:pt x="138" y="204"/>
                    </a:cubicBezTo>
                    <a:cubicBezTo>
                      <a:pt x="148" y="198"/>
                      <a:pt x="148" y="198"/>
                      <a:pt x="148" y="198"/>
                    </a:cubicBezTo>
                    <a:cubicBezTo>
                      <a:pt x="148" y="198"/>
                      <a:pt x="177" y="205"/>
                      <a:pt x="179" y="217"/>
                    </a:cubicBezTo>
                    <a:cubicBezTo>
                      <a:pt x="181" y="229"/>
                      <a:pt x="182" y="239"/>
                      <a:pt x="182" y="239"/>
                    </a:cubicBezTo>
                    <a:cubicBezTo>
                      <a:pt x="182" y="239"/>
                      <a:pt x="170" y="233"/>
                      <a:pt x="167" y="234"/>
                    </a:cubicBezTo>
                    <a:cubicBezTo>
                      <a:pt x="164" y="235"/>
                      <a:pt x="142" y="260"/>
                      <a:pt x="142" y="260"/>
                    </a:cubicBezTo>
                    <a:cubicBezTo>
                      <a:pt x="119" y="283"/>
                      <a:pt x="119" y="283"/>
                      <a:pt x="119" y="283"/>
                    </a:cubicBezTo>
                    <a:cubicBezTo>
                      <a:pt x="96" y="288"/>
                      <a:pt x="96" y="288"/>
                      <a:pt x="96" y="288"/>
                    </a:cubicBezTo>
                    <a:cubicBezTo>
                      <a:pt x="96" y="288"/>
                      <a:pt x="81" y="300"/>
                      <a:pt x="81" y="309"/>
                    </a:cubicBezTo>
                    <a:cubicBezTo>
                      <a:pt x="81" y="318"/>
                      <a:pt x="61" y="318"/>
                      <a:pt x="61" y="318"/>
                    </a:cubicBezTo>
                    <a:cubicBezTo>
                      <a:pt x="45" y="336"/>
                      <a:pt x="45" y="336"/>
                      <a:pt x="45" y="336"/>
                    </a:cubicBezTo>
                    <a:cubicBezTo>
                      <a:pt x="45" y="336"/>
                      <a:pt x="41" y="348"/>
                      <a:pt x="43" y="352"/>
                    </a:cubicBezTo>
                    <a:cubicBezTo>
                      <a:pt x="45" y="356"/>
                      <a:pt x="49" y="364"/>
                      <a:pt x="49" y="364"/>
                    </a:cubicBezTo>
                    <a:cubicBezTo>
                      <a:pt x="47" y="380"/>
                      <a:pt x="47" y="380"/>
                      <a:pt x="47" y="380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2" y="393"/>
                      <a:pt x="52" y="425"/>
                      <a:pt x="56" y="434"/>
                    </a:cubicBezTo>
                    <a:cubicBezTo>
                      <a:pt x="60" y="443"/>
                      <a:pt x="71" y="452"/>
                      <a:pt x="71" y="452"/>
                    </a:cubicBezTo>
                    <a:cubicBezTo>
                      <a:pt x="86" y="463"/>
                      <a:pt x="86" y="463"/>
                      <a:pt x="86" y="463"/>
                    </a:cubicBezTo>
                    <a:cubicBezTo>
                      <a:pt x="114" y="460"/>
                      <a:pt x="114" y="460"/>
                      <a:pt x="114" y="460"/>
                    </a:cubicBezTo>
                    <a:cubicBezTo>
                      <a:pt x="114" y="460"/>
                      <a:pt x="105" y="476"/>
                      <a:pt x="125" y="478"/>
                    </a:cubicBezTo>
                    <a:cubicBezTo>
                      <a:pt x="145" y="480"/>
                      <a:pt x="180" y="475"/>
                      <a:pt x="180" y="475"/>
                    </a:cubicBezTo>
                    <a:cubicBezTo>
                      <a:pt x="199" y="465"/>
                      <a:pt x="199" y="465"/>
                      <a:pt x="199" y="465"/>
                    </a:cubicBezTo>
                    <a:cubicBezTo>
                      <a:pt x="222" y="465"/>
                      <a:pt x="222" y="465"/>
                      <a:pt x="222" y="465"/>
                    </a:cubicBezTo>
                    <a:cubicBezTo>
                      <a:pt x="255" y="448"/>
                      <a:pt x="255" y="448"/>
                      <a:pt x="255" y="448"/>
                    </a:cubicBezTo>
                    <a:cubicBezTo>
                      <a:pt x="304" y="451"/>
                      <a:pt x="304" y="451"/>
                      <a:pt x="304" y="451"/>
                    </a:cubicBezTo>
                    <a:cubicBezTo>
                      <a:pt x="309" y="448"/>
                      <a:pt x="309" y="448"/>
                      <a:pt x="309" y="448"/>
                    </a:cubicBezTo>
                    <a:cubicBezTo>
                      <a:pt x="305" y="441"/>
                      <a:pt x="305" y="441"/>
                      <a:pt x="305" y="441"/>
                    </a:cubicBezTo>
                    <a:cubicBezTo>
                      <a:pt x="305" y="441"/>
                      <a:pt x="346" y="417"/>
                      <a:pt x="350" y="412"/>
                    </a:cubicBezTo>
                    <a:cubicBezTo>
                      <a:pt x="354" y="407"/>
                      <a:pt x="382" y="381"/>
                      <a:pt x="382" y="381"/>
                    </a:cubicBezTo>
                    <a:cubicBezTo>
                      <a:pt x="382" y="381"/>
                      <a:pt x="403" y="369"/>
                      <a:pt x="407" y="362"/>
                    </a:cubicBezTo>
                    <a:cubicBezTo>
                      <a:pt x="411" y="355"/>
                      <a:pt x="420" y="348"/>
                      <a:pt x="421" y="340"/>
                    </a:cubicBezTo>
                    <a:cubicBezTo>
                      <a:pt x="422" y="332"/>
                      <a:pt x="399" y="313"/>
                      <a:pt x="399" y="313"/>
                    </a:cubicBezTo>
                    <a:cubicBezTo>
                      <a:pt x="360" y="295"/>
                      <a:pt x="360" y="295"/>
                      <a:pt x="360" y="295"/>
                    </a:cubicBezTo>
                    <a:cubicBezTo>
                      <a:pt x="360" y="295"/>
                      <a:pt x="381" y="281"/>
                      <a:pt x="380" y="277"/>
                    </a:cubicBezTo>
                    <a:cubicBezTo>
                      <a:pt x="379" y="273"/>
                      <a:pt x="368" y="265"/>
                      <a:pt x="368" y="265"/>
                    </a:cubicBezTo>
                    <a:cubicBezTo>
                      <a:pt x="353" y="262"/>
                      <a:pt x="353" y="262"/>
                      <a:pt x="353" y="262"/>
                    </a:cubicBezTo>
                    <a:cubicBezTo>
                      <a:pt x="353" y="262"/>
                      <a:pt x="360" y="251"/>
                      <a:pt x="359" y="247"/>
                    </a:cubicBezTo>
                    <a:cubicBezTo>
                      <a:pt x="358" y="243"/>
                      <a:pt x="339" y="238"/>
                      <a:pt x="339" y="238"/>
                    </a:cubicBezTo>
                    <a:cubicBezTo>
                      <a:pt x="339" y="228"/>
                      <a:pt x="339" y="228"/>
                      <a:pt x="339" y="228"/>
                    </a:cubicBezTo>
                    <a:cubicBezTo>
                      <a:pt x="332" y="222"/>
                      <a:pt x="332" y="222"/>
                      <a:pt x="332" y="222"/>
                    </a:cubicBezTo>
                    <a:cubicBezTo>
                      <a:pt x="337" y="202"/>
                      <a:pt x="337" y="202"/>
                      <a:pt x="337" y="202"/>
                    </a:cubicBezTo>
                    <a:cubicBezTo>
                      <a:pt x="337" y="202"/>
                      <a:pt x="365" y="208"/>
                      <a:pt x="359" y="198"/>
                    </a:cubicBezTo>
                    <a:cubicBezTo>
                      <a:pt x="353" y="188"/>
                      <a:pt x="312" y="156"/>
                      <a:pt x="312" y="156"/>
                    </a:cubicBezTo>
                    <a:cubicBezTo>
                      <a:pt x="299" y="145"/>
                      <a:pt x="299" y="145"/>
                      <a:pt x="299" y="145"/>
                    </a:cubicBezTo>
                    <a:cubicBezTo>
                      <a:pt x="299" y="145"/>
                      <a:pt x="316" y="138"/>
                      <a:pt x="316" y="133"/>
                    </a:cubicBezTo>
                    <a:cubicBezTo>
                      <a:pt x="316" y="128"/>
                      <a:pt x="340" y="126"/>
                      <a:pt x="331" y="116"/>
                    </a:cubicBezTo>
                    <a:cubicBezTo>
                      <a:pt x="322" y="106"/>
                      <a:pt x="316" y="103"/>
                      <a:pt x="312" y="98"/>
                    </a:cubicBezTo>
                    <a:cubicBezTo>
                      <a:pt x="308" y="93"/>
                      <a:pt x="303" y="86"/>
                      <a:pt x="297" y="86"/>
                    </a:cubicBezTo>
                    <a:cubicBezTo>
                      <a:pt x="291" y="86"/>
                      <a:pt x="277" y="94"/>
                      <a:pt x="275" y="82"/>
                    </a:cubicBezTo>
                    <a:cubicBezTo>
                      <a:pt x="273" y="70"/>
                      <a:pt x="270" y="67"/>
                      <a:pt x="270" y="67"/>
                    </a:cubicBezTo>
                    <a:cubicBezTo>
                      <a:pt x="270" y="67"/>
                      <a:pt x="283" y="65"/>
                      <a:pt x="282" y="62"/>
                    </a:cubicBezTo>
                    <a:cubicBezTo>
                      <a:pt x="281" y="59"/>
                      <a:pt x="277" y="53"/>
                      <a:pt x="277" y="53"/>
                    </a:cubicBezTo>
                    <a:cubicBezTo>
                      <a:pt x="280" y="36"/>
                      <a:pt x="280" y="36"/>
                      <a:pt x="280" y="36"/>
                    </a:cubicBezTo>
                    <a:cubicBezTo>
                      <a:pt x="280" y="36"/>
                      <a:pt x="293" y="48"/>
                      <a:pt x="289" y="31"/>
                    </a:cubicBezTo>
                    <a:cubicBezTo>
                      <a:pt x="285" y="14"/>
                      <a:pt x="271" y="13"/>
                      <a:pt x="271" y="13"/>
                    </a:cubicBezTo>
                    <a:cubicBezTo>
                      <a:pt x="248" y="8"/>
                      <a:pt x="248" y="8"/>
                      <a:pt x="248" y="8"/>
                    </a:cubicBezTo>
                    <a:cubicBezTo>
                      <a:pt x="248" y="8"/>
                      <a:pt x="255" y="2"/>
                      <a:pt x="240" y="1"/>
                    </a:cubicBezTo>
                    <a:cubicBezTo>
                      <a:pt x="225" y="0"/>
                      <a:pt x="214" y="7"/>
                      <a:pt x="214" y="7"/>
                    </a:cubicBezTo>
                    <a:cubicBezTo>
                      <a:pt x="214" y="7"/>
                      <a:pt x="203" y="6"/>
                      <a:pt x="198" y="5"/>
                    </a:cubicBezTo>
                    <a:cubicBezTo>
                      <a:pt x="193" y="4"/>
                      <a:pt x="176" y="13"/>
                      <a:pt x="176" y="13"/>
                    </a:cubicBezTo>
                    <a:cubicBezTo>
                      <a:pt x="176" y="13"/>
                      <a:pt x="172" y="26"/>
                      <a:pt x="173" y="30"/>
                    </a:cubicBezTo>
                    <a:cubicBezTo>
                      <a:pt x="174" y="34"/>
                      <a:pt x="173" y="50"/>
                      <a:pt x="173" y="50"/>
                    </a:cubicBezTo>
                    <a:cubicBezTo>
                      <a:pt x="173" y="50"/>
                      <a:pt x="164" y="45"/>
                      <a:pt x="157" y="50"/>
                    </a:cubicBezTo>
                    <a:cubicBezTo>
                      <a:pt x="150" y="55"/>
                      <a:pt x="156" y="65"/>
                      <a:pt x="148" y="65"/>
                    </a:cubicBezTo>
                    <a:cubicBezTo>
                      <a:pt x="140" y="65"/>
                      <a:pt x="128" y="57"/>
                      <a:pt x="123" y="56"/>
                    </a:cubicBezTo>
                    <a:cubicBezTo>
                      <a:pt x="118" y="55"/>
                      <a:pt x="107" y="59"/>
                      <a:pt x="107" y="5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8" name="MCShape 90">
                <a:extLst>
                  <a:ext uri="{FF2B5EF4-FFF2-40B4-BE49-F238E27FC236}">
                    <a16:creationId xmlns:a16="http://schemas.microsoft.com/office/drawing/2014/main" id="{228C247E-68FE-4EAB-94C3-5A0DE4568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328" y="3183013"/>
                <a:ext cx="20107" cy="41761"/>
              </a:xfrm>
              <a:custGeom>
                <a:avLst/>
                <a:gdLst>
                  <a:gd name="T0" fmla="*/ 21 w 32"/>
                  <a:gd name="T1" fmla="*/ 54 h 70"/>
                  <a:gd name="T2" fmla="*/ 27 w 32"/>
                  <a:gd name="T3" fmla="*/ 56 h 70"/>
                  <a:gd name="T4" fmla="*/ 32 w 32"/>
                  <a:gd name="T5" fmla="*/ 47 h 70"/>
                  <a:gd name="T6" fmla="*/ 31 w 32"/>
                  <a:gd name="T7" fmla="*/ 1 h 70"/>
                  <a:gd name="T8" fmla="*/ 13 w 32"/>
                  <a:gd name="T9" fmla="*/ 2 h 70"/>
                  <a:gd name="T10" fmla="*/ 6 w 32"/>
                  <a:gd name="T11" fmla="*/ 21 h 70"/>
                  <a:gd name="T12" fmla="*/ 6 w 32"/>
                  <a:gd name="T13" fmla="*/ 40 h 70"/>
                  <a:gd name="T14" fmla="*/ 7 w 32"/>
                  <a:gd name="T15" fmla="*/ 62 h 70"/>
                  <a:gd name="T16" fmla="*/ 21 w 32"/>
                  <a:gd name="T17" fmla="*/ 54 h 7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2"/>
                  <a:gd name="T28" fmla="*/ 0 h 70"/>
                  <a:gd name="T29" fmla="*/ 32 w 32"/>
                  <a:gd name="T30" fmla="*/ 70 h 7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2" h="70">
                    <a:moveTo>
                      <a:pt x="21" y="54"/>
                    </a:moveTo>
                    <a:cubicBezTo>
                      <a:pt x="22" y="53"/>
                      <a:pt x="24" y="54"/>
                      <a:pt x="27" y="56"/>
                    </a:cubicBezTo>
                    <a:cubicBezTo>
                      <a:pt x="29" y="51"/>
                      <a:pt x="32" y="47"/>
                      <a:pt x="32" y="47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26" y="0"/>
                      <a:pt x="17" y="0"/>
                      <a:pt x="13" y="2"/>
                    </a:cubicBezTo>
                    <a:cubicBezTo>
                      <a:pt x="7" y="6"/>
                      <a:pt x="6" y="21"/>
                      <a:pt x="6" y="21"/>
                    </a:cubicBezTo>
                    <a:cubicBezTo>
                      <a:pt x="6" y="21"/>
                      <a:pt x="7" y="34"/>
                      <a:pt x="6" y="40"/>
                    </a:cubicBezTo>
                    <a:cubicBezTo>
                      <a:pt x="5" y="46"/>
                      <a:pt x="0" y="54"/>
                      <a:pt x="7" y="62"/>
                    </a:cubicBezTo>
                    <a:cubicBezTo>
                      <a:pt x="13" y="70"/>
                      <a:pt x="18" y="55"/>
                      <a:pt x="21" y="5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299" name="MCShape 91">
                <a:extLst>
                  <a:ext uri="{FF2B5EF4-FFF2-40B4-BE49-F238E27FC236}">
                    <a16:creationId xmlns:a16="http://schemas.microsoft.com/office/drawing/2014/main" id="{DA797618-A532-4D20-B461-3FB903820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9608" y="3156718"/>
                <a:ext cx="109818" cy="137660"/>
              </a:xfrm>
              <a:custGeom>
                <a:avLst/>
                <a:gdLst>
                  <a:gd name="T0" fmla="*/ 169 w 186"/>
                  <a:gd name="T1" fmla="*/ 44 h 236"/>
                  <a:gd name="T2" fmla="*/ 169 w 186"/>
                  <a:gd name="T3" fmla="*/ 30 h 236"/>
                  <a:gd name="T4" fmla="*/ 157 w 186"/>
                  <a:gd name="T5" fmla="*/ 0 h 236"/>
                  <a:gd name="T6" fmla="*/ 73 w 186"/>
                  <a:gd name="T7" fmla="*/ 57 h 236"/>
                  <a:gd name="T8" fmla="*/ 45 w 186"/>
                  <a:gd name="T9" fmla="*/ 45 h 236"/>
                  <a:gd name="T10" fmla="*/ 23 w 186"/>
                  <a:gd name="T11" fmla="*/ 33 h 236"/>
                  <a:gd name="T12" fmla="*/ 19 w 186"/>
                  <a:gd name="T13" fmla="*/ 36 h 236"/>
                  <a:gd name="T14" fmla="*/ 16 w 186"/>
                  <a:gd name="T15" fmla="*/ 45 h 236"/>
                  <a:gd name="T16" fmla="*/ 17 w 186"/>
                  <a:gd name="T17" fmla="*/ 93 h 236"/>
                  <a:gd name="T18" fmla="*/ 10 w 186"/>
                  <a:gd name="T19" fmla="*/ 107 h 236"/>
                  <a:gd name="T20" fmla="*/ 16 w 186"/>
                  <a:gd name="T21" fmla="*/ 115 h 236"/>
                  <a:gd name="T22" fmla="*/ 15 w 186"/>
                  <a:gd name="T23" fmla="*/ 134 h 236"/>
                  <a:gd name="T24" fmla="*/ 4 w 186"/>
                  <a:gd name="T25" fmla="*/ 158 h 236"/>
                  <a:gd name="T26" fmla="*/ 0 w 186"/>
                  <a:gd name="T27" fmla="*/ 211 h 236"/>
                  <a:gd name="T28" fmla="*/ 2 w 186"/>
                  <a:gd name="T29" fmla="*/ 217 h 236"/>
                  <a:gd name="T30" fmla="*/ 3 w 186"/>
                  <a:gd name="T31" fmla="*/ 217 h 236"/>
                  <a:gd name="T32" fmla="*/ 55 w 186"/>
                  <a:gd name="T33" fmla="*/ 225 h 236"/>
                  <a:gd name="T34" fmla="*/ 77 w 186"/>
                  <a:gd name="T35" fmla="*/ 185 h 236"/>
                  <a:gd name="T36" fmla="*/ 108 w 186"/>
                  <a:gd name="T37" fmla="*/ 180 h 236"/>
                  <a:gd name="T38" fmla="*/ 122 w 186"/>
                  <a:gd name="T39" fmla="*/ 147 h 236"/>
                  <a:gd name="T40" fmla="*/ 96 w 186"/>
                  <a:gd name="T41" fmla="*/ 108 h 236"/>
                  <a:gd name="T42" fmla="*/ 64 w 186"/>
                  <a:gd name="T43" fmla="*/ 100 h 236"/>
                  <a:gd name="T44" fmla="*/ 96 w 186"/>
                  <a:gd name="T45" fmla="*/ 94 h 236"/>
                  <a:gd name="T46" fmla="*/ 124 w 186"/>
                  <a:gd name="T47" fmla="*/ 94 h 236"/>
                  <a:gd name="T48" fmla="*/ 132 w 186"/>
                  <a:gd name="T49" fmla="*/ 80 h 236"/>
                  <a:gd name="T50" fmla="*/ 166 w 186"/>
                  <a:gd name="T51" fmla="*/ 76 h 236"/>
                  <a:gd name="T52" fmla="*/ 185 w 186"/>
                  <a:gd name="T53" fmla="*/ 62 h 236"/>
                  <a:gd name="T54" fmla="*/ 186 w 186"/>
                  <a:gd name="T55" fmla="*/ 53 h 236"/>
                  <a:gd name="T56" fmla="*/ 169 w 186"/>
                  <a:gd name="T57" fmla="*/ 44 h 2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86"/>
                  <a:gd name="T88" fmla="*/ 0 h 236"/>
                  <a:gd name="T89" fmla="*/ 186 w 186"/>
                  <a:gd name="T90" fmla="*/ 236 h 2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86" h="236">
                    <a:moveTo>
                      <a:pt x="169" y="44"/>
                    </a:moveTo>
                    <a:cubicBezTo>
                      <a:pt x="169" y="30"/>
                      <a:pt x="169" y="30"/>
                      <a:pt x="169" y="30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54" y="2"/>
                      <a:pt x="94" y="57"/>
                      <a:pt x="73" y="57"/>
                    </a:cubicBezTo>
                    <a:cubicBezTo>
                      <a:pt x="52" y="57"/>
                      <a:pt x="45" y="45"/>
                      <a:pt x="45" y="45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0" y="103"/>
                      <a:pt x="10" y="107"/>
                    </a:cubicBezTo>
                    <a:cubicBezTo>
                      <a:pt x="10" y="111"/>
                      <a:pt x="12" y="111"/>
                      <a:pt x="16" y="115"/>
                    </a:cubicBezTo>
                    <a:cubicBezTo>
                      <a:pt x="20" y="119"/>
                      <a:pt x="18" y="127"/>
                      <a:pt x="15" y="134"/>
                    </a:cubicBezTo>
                    <a:cubicBezTo>
                      <a:pt x="12" y="141"/>
                      <a:pt x="4" y="146"/>
                      <a:pt x="4" y="158"/>
                    </a:cubicBezTo>
                    <a:cubicBezTo>
                      <a:pt x="4" y="170"/>
                      <a:pt x="0" y="211"/>
                      <a:pt x="0" y="211"/>
                    </a:cubicBezTo>
                    <a:cubicBezTo>
                      <a:pt x="2" y="217"/>
                      <a:pt x="2" y="217"/>
                      <a:pt x="2" y="217"/>
                    </a:cubicBezTo>
                    <a:cubicBezTo>
                      <a:pt x="2" y="217"/>
                      <a:pt x="3" y="217"/>
                      <a:pt x="3" y="217"/>
                    </a:cubicBezTo>
                    <a:cubicBezTo>
                      <a:pt x="10" y="216"/>
                      <a:pt x="41" y="236"/>
                      <a:pt x="55" y="225"/>
                    </a:cubicBezTo>
                    <a:cubicBezTo>
                      <a:pt x="69" y="214"/>
                      <a:pt x="71" y="187"/>
                      <a:pt x="77" y="185"/>
                    </a:cubicBezTo>
                    <a:cubicBezTo>
                      <a:pt x="83" y="183"/>
                      <a:pt x="100" y="187"/>
                      <a:pt x="108" y="180"/>
                    </a:cubicBezTo>
                    <a:cubicBezTo>
                      <a:pt x="116" y="173"/>
                      <a:pt x="122" y="147"/>
                      <a:pt x="122" y="147"/>
                    </a:cubicBezTo>
                    <a:cubicBezTo>
                      <a:pt x="122" y="147"/>
                      <a:pt x="103" y="112"/>
                      <a:pt x="96" y="108"/>
                    </a:cubicBezTo>
                    <a:cubicBezTo>
                      <a:pt x="89" y="104"/>
                      <a:pt x="57" y="107"/>
                      <a:pt x="64" y="100"/>
                    </a:cubicBezTo>
                    <a:cubicBezTo>
                      <a:pt x="71" y="93"/>
                      <a:pt x="96" y="94"/>
                      <a:pt x="96" y="94"/>
                    </a:cubicBezTo>
                    <a:cubicBezTo>
                      <a:pt x="124" y="94"/>
                      <a:pt x="124" y="94"/>
                      <a:pt x="124" y="94"/>
                    </a:cubicBezTo>
                    <a:cubicBezTo>
                      <a:pt x="132" y="80"/>
                      <a:pt x="132" y="80"/>
                      <a:pt x="132" y="80"/>
                    </a:cubicBezTo>
                    <a:cubicBezTo>
                      <a:pt x="132" y="80"/>
                      <a:pt x="160" y="82"/>
                      <a:pt x="166" y="76"/>
                    </a:cubicBezTo>
                    <a:cubicBezTo>
                      <a:pt x="172" y="70"/>
                      <a:pt x="185" y="62"/>
                      <a:pt x="185" y="62"/>
                    </a:cubicBezTo>
                    <a:cubicBezTo>
                      <a:pt x="186" y="53"/>
                      <a:pt x="186" y="53"/>
                      <a:pt x="186" y="53"/>
                    </a:cubicBezTo>
                    <a:lnTo>
                      <a:pt x="169" y="4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0" name="MCShape 92">
                <a:extLst>
                  <a:ext uri="{FF2B5EF4-FFF2-40B4-BE49-F238E27FC236}">
                    <a16:creationId xmlns:a16="http://schemas.microsoft.com/office/drawing/2014/main" id="{DF743A39-C943-4CFF-8BF8-BF2B5029F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861" y="3153625"/>
                <a:ext cx="40216" cy="126833"/>
              </a:xfrm>
              <a:custGeom>
                <a:avLst/>
                <a:gdLst>
                  <a:gd name="T0" fmla="*/ 0 w 67"/>
                  <a:gd name="T1" fmla="*/ 113 h 216"/>
                  <a:gd name="T2" fmla="*/ 36 w 67"/>
                  <a:gd name="T3" fmla="*/ 206 h 216"/>
                  <a:gd name="T4" fmla="*/ 41 w 67"/>
                  <a:gd name="T5" fmla="*/ 216 h 216"/>
                  <a:gd name="T6" fmla="*/ 45 w 67"/>
                  <a:gd name="T7" fmla="*/ 163 h 216"/>
                  <a:gd name="T8" fmla="*/ 56 w 67"/>
                  <a:gd name="T9" fmla="*/ 139 h 216"/>
                  <a:gd name="T10" fmla="*/ 57 w 67"/>
                  <a:gd name="T11" fmla="*/ 120 h 216"/>
                  <a:gd name="T12" fmla="*/ 51 w 67"/>
                  <a:gd name="T13" fmla="*/ 112 h 216"/>
                  <a:gd name="T14" fmla="*/ 53 w 67"/>
                  <a:gd name="T15" fmla="*/ 107 h 216"/>
                  <a:gd name="T16" fmla="*/ 47 w 67"/>
                  <a:gd name="T17" fmla="*/ 105 h 216"/>
                  <a:gd name="T18" fmla="*/ 33 w 67"/>
                  <a:gd name="T19" fmla="*/ 113 h 216"/>
                  <a:gd name="T20" fmla="*/ 32 w 67"/>
                  <a:gd name="T21" fmla="*/ 91 h 216"/>
                  <a:gd name="T22" fmla="*/ 32 w 67"/>
                  <a:gd name="T23" fmla="*/ 72 h 216"/>
                  <a:gd name="T24" fmla="*/ 39 w 67"/>
                  <a:gd name="T25" fmla="*/ 53 h 216"/>
                  <a:gd name="T26" fmla="*/ 57 w 67"/>
                  <a:gd name="T27" fmla="*/ 52 h 216"/>
                  <a:gd name="T28" fmla="*/ 57 w 67"/>
                  <a:gd name="T29" fmla="*/ 50 h 216"/>
                  <a:gd name="T30" fmla="*/ 60 w 67"/>
                  <a:gd name="T31" fmla="*/ 41 h 216"/>
                  <a:gd name="T32" fmla="*/ 57 w 67"/>
                  <a:gd name="T33" fmla="*/ 11 h 216"/>
                  <a:gd name="T34" fmla="*/ 67 w 67"/>
                  <a:gd name="T35" fmla="*/ 0 h 216"/>
                  <a:gd name="T36" fmla="*/ 52 w 67"/>
                  <a:gd name="T37" fmla="*/ 3 h 216"/>
                  <a:gd name="T38" fmla="*/ 48 w 67"/>
                  <a:gd name="T39" fmla="*/ 20 h 216"/>
                  <a:gd name="T40" fmla="*/ 34 w 67"/>
                  <a:gd name="T41" fmla="*/ 21 h 216"/>
                  <a:gd name="T42" fmla="*/ 27 w 67"/>
                  <a:gd name="T43" fmla="*/ 34 h 216"/>
                  <a:gd name="T44" fmla="*/ 22 w 67"/>
                  <a:gd name="T45" fmla="*/ 39 h 216"/>
                  <a:gd name="T46" fmla="*/ 27 w 67"/>
                  <a:gd name="T47" fmla="*/ 63 h 216"/>
                  <a:gd name="T48" fmla="*/ 13 w 67"/>
                  <a:gd name="T49" fmla="*/ 89 h 216"/>
                  <a:gd name="T50" fmla="*/ 11 w 67"/>
                  <a:gd name="T51" fmla="*/ 105 h 216"/>
                  <a:gd name="T52" fmla="*/ 0 w 67"/>
                  <a:gd name="T53" fmla="*/ 113 h 21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7"/>
                  <a:gd name="T82" fmla="*/ 0 h 216"/>
                  <a:gd name="T83" fmla="*/ 67 w 67"/>
                  <a:gd name="T84" fmla="*/ 216 h 21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7" h="216">
                    <a:moveTo>
                      <a:pt x="0" y="113"/>
                    </a:moveTo>
                    <a:cubicBezTo>
                      <a:pt x="36" y="206"/>
                      <a:pt x="36" y="206"/>
                      <a:pt x="36" y="206"/>
                    </a:cubicBezTo>
                    <a:cubicBezTo>
                      <a:pt x="41" y="216"/>
                      <a:pt x="41" y="216"/>
                      <a:pt x="41" y="216"/>
                    </a:cubicBezTo>
                    <a:cubicBezTo>
                      <a:pt x="41" y="216"/>
                      <a:pt x="45" y="175"/>
                      <a:pt x="45" y="163"/>
                    </a:cubicBezTo>
                    <a:cubicBezTo>
                      <a:pt x="45" y="151"/>
                      <a:pt x="53" y="146"/>
                      <a:pt x="56" y="139"/>
                    </a:cubicBezTo>
                    <a:cubicBezTo>
                      <a:pt x="59" y="132"/>
                      <a:pt x="61" y="124"/>
                      <a:pt x="57" y="120"/>
                    </a:cubicBezTo>
                    <a:cubicBezTo>
                      <a:pt x="53" y="116"/>
                      <a:pt x="51" y="116"/>
                      <a:pt x="51" y="112"/>
                    </a:cubicBezTo>
                    <a:cubicBezTo>
                      <a:pt x="51" y="111"/>
                      <a:pt x="52" y="109"/>
                      <a:pt x="53" y="107"/>
                    </a:cubicBezTo>
                    <a:cubicBezTo>
                      <a:pt x="50" y="105"/>
                      <a:pt x="48" y="104"/>
                      <a:pt x="47" y="105"/>
                    </a:cubicBezTo>
                    <a:cubicBezTo>
                      <a:pt x="44" y="106"/>
                      <a:pt x="39" y="121"/>
                      <a:pt x="33" y="113"/>
                    </a:cubicBezTo>
                    <a:cubicBezTo>
                      <a:pt x="26" y="105"/>
                      <a:pt x="31" y="97"/>
                      <a:pt x="32" y="91"/>
                    </a:cubicBezTo>
                    <a:cubicBezTo>
                      <a:pt x="33" y="85"/>
                      <a:pt x="32" y="72"/>
                      <a:pt x="32" y="72"/>
                    </a:cubicBezTo>
                    <a:cubicBezTo>
                      <a:pt x="32" y="72"/>
                      <a:pt x="33" y="57"/>
                      <a:pt x="39" y="53"/>
                    </a:cubicBezTo>
                    <a:cubicBezTo>
                      <a:pt x="43" y="51"/>
                      <a:pt x="52" y="51"/>
                      <a:pt x="57" y="52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60" y="41"/>
                      <a:pt x="60" y="41"/>
                      <a:pt x="60" y="41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3"/>
                      <a:pt x="53" y="13"/>
                      <a:pt x="48" y="20"/>
                    </a:cubicBezTo>
                    <a:cubicBezTo>
                      <a:pt x="43" y="27"/>
                      <a:pt x="34" y="21"/>
                      <a:pt x="34" y="21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3" y="52"/>
                      <a:pt x="27" y="63"/>
                      <a:pt x="27" y="63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105"/>
                      <a:pt x="11" y="105"/>
                      <a:pt x="11" y="105"/>
                    </a:cubicBezTo>
                    <a:lnTo>
                      <a:pt x="0" y="11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1" name="MCShape 93">
                <a:extLst>
                  <a:ext uri="{FF2B5EF4-FFF2-40B4-BE49-F238E27FC236}">
                    <a16:creationId xmlns:a16="http://schemas.microsoft.com/office/drawing/2014/main" id="{60683B38-3A2A-4871-B4E6-1A0970CEB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890" y="3337687"/>
                <a:ext cx="236651" cy="202623"/>
              </a:xfrm>
              <a:custGeom>
                <a:avLst/>
                <a:gdLst>
                  <a:gd name="T0" fmla="*/ 364 w 401"/>
                  <a:gd name="T1" fmla="*/ 0 h 343"/>
                  <a:gd name="T2" fmla="*/ 192 w 401"/>
                  <a:gd name="T3" fmla="*/ 0 h 343"/>
                  <a:gd name="T4" fmla="*/ 186 w 401"/>
                  <a:gd name="T5" fmla="*/ 12 h 343"/>
                  <a:gd name="T6" fmla="*/ 176 w 401"/>
                  <a:gd name="T7" fmla="*/ 47 h 343"/>
                  <a:gd name="T8" fmla="*/ 160 w 401"/>
                  <a:gd name="T9" fmla="*/ 61 h 343"/>
                  <a:gd name="T10" fmla="*/ 140 w 401"/>
                  <a:gd name="T11" fmla="*/ 66 h 343"/>
                  <a:gd name="T12" fmla="*/ 125 w 401"/>
                  <a:gd name="T13" fmla="*/ 72 h 343"/>
                  <a:gd name="T14" fmla="*/ 123 w 401"/>
                  <a:gd name="T15" fmla="*/ 97 h 343"/>
                  <a:gd name="T16" fmla="*/ 104 w 401"/>
                  <a:gd name="T17" fmla="*/ 122 h 343"/>
                  <a:gd name="T18" fmla="*/ 108 w 401"/>
                  <a:gd name="T19" fmla="*/ 158 h 343"/>
                  <a:gd name="T20" fmla="*/ 92 w 401"/>
                  <a:gd name="T21" fmla="*/ 171 h 343"/>
                  <a:gd name="T22" fmla="*/ 78 w 401"/>
                  <a:gd name="T23" fmla="*/ 190 h 343"/>
                  <a:gd name="T24" fmla="*/ 58 w 401"/>
                  <a:gd name="T25" fmla="*/ 201 h 343"/>
                  <a:gd name="T26" fmla="*/ 52 w 401"/>
                  <a:gd name="T27" fmla="*/ 212 h 343"/>
                  <a:gd name="T28" fmla="*/ 60 w 401"/>
                  <a:gd name="T29" fmla="*/ 216 h 343"/>
                  <a:gd name="T30" fmla="*/ 45 w 401"/>
                  <a:gd name="T31" fmla="*/ 237 h 343"/>
                  <a:gd name="T32" fmla="*/ 41 w 401"/>
                  <a:gd name="T33" fmla="*/ 259 h 343"/>
                  <a:gd name="T34" fmla="*/ 32 w 401"/>
                  <a:gd name="T35" fmla="*/ 259 h 343"/>
                  <a:gd name="T36" fmla="*/ 31 w 401"/>
                  <a:gd name="T37" fmla="*/ 281 h 343"/>
                  <a:gd name="T38" fmla="*/ 18 w 401"/>
                  <a:gd name="T39" fmla="*/ 286 h 343"/>
                  <a:gd name="T40" fmla="*/ 1 w 401"/>
                  <a:gd name="T41" fmla="*/ 318 h 343"/>
                  <a:gd name="T42" fmla="*/ 0 w 401"/>
                  <a:gd name="T43" fmla="*/ 343 h 343"/>
                  <a:gd name="T44" fmla="*/ 186 w 401"/>
                  <a:gd name="T45" fmla="*/ 341 h 343"/>
                  <a:gd name="T46" fmla="*/ 187 w 401"/>
                  <a:gd name="T47" fmla="*/ 272 h 343"/>
                  <a:gd name="T48" fmla="*/ 189 w 401"/>
                  <a:gd name="T49" fmla="*/ 247 h 343"/>
                  <a:gd name="T50" fmla="*/ 208 w 401"/>
                  <a:gd name="T51" fmla="*/ 236 h 343"/>
                  <a:gd name="T52" fmla="*/ 235 w 401"/>
                  <a:gd name="T53" fmla="*/ 231 h 343"/>
                  <a:gd name="T54" fmla="*/ 238 w 401"/>
                  <a:gd name="T55" fmla="*/ 101 h 343"/>
                  <a:gd name="T56" fmla="*/ 243 w 401"/>
                  <a:gd name="T57" fmla="*/ 98 h 343"/>
                  <a:gd name="T58" fmla="*/ 243 w 401"/>
                  <a:gd name="T59" fmla="*/ 88 h 343"/>
                  <a:gd name="T60" fmla="*/ 391 w 401"/>
                  <a:gd name="T61" fmla="*/ 87 h 343"/>
                  <a:gd name="T62" fmla="*/ 392 w 401"/>
                  <a:gd name="T63" fmla="*/ 62 h 343"/>
                  <a:gd name="T64" fmla="*/ 397 w 401"/>
                  <a:gd name="T65" fmla="*/ 58 h 343"/>
                  <a:gd name="T66" fmla="*/ 401 w 401"/>
                  <a:gd name="T67" fmla="*/ 2 h 343"/>
                  <a:gd name="T68" fmla="*/ 364 w 401"/>
                  <a:gd name="T69" fmla="*/ 0 h 34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01"/>
                  <a:gd name="T106" fmla="*/ 0 h 343"/>
                  <a:gd name="T107" fmla="*/ 401 w 401"/>
                  <a:gd name="T108" fmla="*/ 343 h 34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01" h="343">
                    <a:moveTo>
                      <a:pt x="364" y="0"/>
                    </a:moveTo>
                    <a:cubicBezTo>
                      <a:pt x="192" y="0"/>
                      <a:pt x="192" y="0"/>
                      <a:pt x="192" y="0"/>
                    </a:cubicBezTo>
                    <a:cubicBezTo>
                      <a:pt x="190" y="3"/>
                      <a:pt x="188" y="8"/>
                      <a:pt x="186" y="12"/>
                    </a:cubicBezTo>
                    <a:cubicBezTo>
                      <a:pt x="181" y="25"/>
                      <a:pt x="176" y="47"/>
                      <a:pt x="176" y="47"/>
                    </a:cubicBezTo>
                    <a:cubicBezTo>
                      <a:pt x="176" y="47"/>
                      <a:pt x="164" y="57"/>
                      <a:pt x="160" y="61"/>
                    </a:cubicBezTo>
                    <a:cubicBezTo>
                      <a:pt x="156" y="65"/>
                      <a:pt x="140" y="66"/>
                      <a:pt x="140" y="66"/>
                    </a:cubicBezTo>
                    <a:cubicBezTo>
                      <a:pt x="140" y="66"/>
                      <a:pt x="129" y="63"/>
                      <a:pt x="125" y="72"/>
                    </a:cubicBezTo>
                    <a:cubicBezTo>
                      <a:pt x="121" y="81"/>
                      <a:pt x="123" y="97"/>
                      <a:pt x="123" y="97"/>
                    </a:cubicBezTo>
                    <a:cubicBezTo>
                      <a:pt x="123" y="97"/>
                      <a:pt x="104" y="116"/>
                      <a:pt x="104" y="122"/>
                    </a:cubicBezTo>
                    <a:cubicBezTo>
                      <a:pt x="104" y="128"/>
                      <a:pt x="115" y="145"/>
                      <a:pt x="108" y="158"/>
                    </a:cubicBezTo>
                    <a:cubicBezTo>
                      <a:pt x="101" y="171"/>
                      <a:pt x="92" y="171"/>
                      <a:pt x="92" y="171"/>
                    </a:cubicBezTo>
                    <a:cubicBezTo>
                      <a:pt x="92" y="171"/>
                      <a:pt x="83" y="185"/>
                      <a:pt x="78" y="190"/>
                    </a:cubicBezTo>
                    <a:cubicBezTo>
                      <a:pt x="73" y="195"/>
                      <a:pt x="62" y="197"/>
                      <a:pt x="58" y="201"/>
                    </a:cubicBezTo>
                    <a:cubicBezTo>
                      <a:pt x="54" y="205"/>
                      <a:pt x="52" y="212"/>
                      <a:pt x="52" y="212"/>
                    </a:cubicBezTo>
                    <a:cubicBezTo>
                      <a:pt x="60" y="216"/>
                      <a:pt x="60" y="216"/>
                      <a:pt x="60" y="216"/>
                    </a:cubicBezTo>
                    <a:cubicBezTo>
                      <a:pt x="60" y="216"/>
                      <a:pt x="49" y="227"/>
                      <a:pt x="45" y="237"/>
                    </a:cubicBezTo>
                    <a:cubicBezTo>
                      <a:pt x="41" y="247"/>
                      <a:pt x="41" y="259"/>
                      <a:pt x="41" y="259"/>
                    </a:cubicBezTo>
                    <a:cubicBezTo>
                      <a:pt x="32" y="259"/>
                      <a:pt x="32" y="259"/>
                      <a:pt x="32" y="259"/>
                    </a:cubicBezTo>
                    <a:cubicBezTo>
                      <a:pt x="32" y="259"/>
                      <a:pt x="42" y="271"/>
                      <a:pt x="31" y="281"/>
                    </a:cubicBezTo>
                    <a:cubicBezTo>
                      <a:pt x="20" y="291"/>
                      <a:pt x="18" y="286"/>
                      <a:pt x="18" y="286"/>
                    </a:cubicBezTo>
                    <a:cubicBezTo>
                      <a:pt x="18" y="286"/>
                      <a:pt x="1" y="304"/>
                      <a:pt x="1" y="318"/>
                    </a:cubicBezTo>
                    <a:cubicBezTo>
                      <a:pt x="1" y="325"/>
                      <a:pt x="1" y="335"/>
                      <a:pt x="0" y="343"/>
                    </a:cubicBezTo>
                    <a:cubicBezTo>
                      <a:pt x="186" y="341"/>
                      <a:pt x="186" y="341"/>
                      <a:pt x="186" y="341"/>
                    </a:cubicBezTo>
                    <a:cubicBezTo>
                      <a:pt x="187" y="272"/>
                      <a:pt x="187" y="272"/>
                      <a:pt x="187" y="272"/>
                    </a:cubicBezTo>
                    <a:cubicBezTo>
                      <a:pt x="187" y="272"/>
                      <a:pt x="178" y="257"/>
                      <a:pt x="189" y="247"/>
                    </a:cubicBezTo>
                    <a:cubicBezTo>
                      <a:pt x="200" y="237"/>
                      <a:pt x="208" y="236"/>
                      <a:pt x="208" y="236"/>
                    </a:cubicBezTo>
                    <a:cubicBezTo>
                      <a:pt x="208" y="236"/>
                      <a:pt x="233" y="237"/>
                      <a:pt x="235" y="231"/>
                    </a:cubicBezTo>
                    <a:cubicBezTo>
                      <a:pt x="237" y="225"/>
                      <a:pt x="238" y="101"/>
                      <a:pt x="238" y="101"/>
                    </a:cubicBezTo>
                    <a:cubicBezTo>
                      <a:pt x="243" y="98"/>
                      <a:pt x="243" y="98"/>
                      <a:pt x="243" y="98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391" y="87"/>
                      <a:pt x="391" y="87"/>
                      <a:pt x="391" y="87"/>
                    </a:cubicBezTo>
                    <a:cubicBezTo>
                      <a:pt x="392" y="62"/>
                      <a:pt x="392" y="62"/>
                      <a:pt x="392" y="62"/>
                    </a:cubicBezTo>
                    <a:cubicBezTo>
                      <a:pt x="397" y="58"/>
                      <a:pt x="397" y="58"/>
                      <a:pt x="397" y="58"/>
                    </a:cubicBezTo>
                    <a:cubicBezTo>
                      <a:pt x="401" y="2"/>
                      <a:pt x="401" y="2"/>
                      <a:pt x="401" y="2"/>
                    </a:cubicBezTo>
                    <a:lnTo>
                      <a:pt x="364" y="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2" name="MCShape 94">
                <a:extLst>
                  <a:ext uri="{FF2B5EF4-FFF2-40B4-BE49-F238E27FC236}">
                    <a16:creationId xmlns:a16="http://schemas.microsoft.com/office/drawing/2014/main" id="{5150C41A-A65A-4C1D-B1A1-FED189A6D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5170" y="3810989"/>
                <a:ext cx="72696" cy="60322"/>
              </a:xfrm>
              <a:custGeom>
                <a:avLst/>
                <a:gdLst>
                  <a:gd name="T0" fmla="*/ 85 w 125"/>
                  <a:gd name="T1" fmla="*/ 67 h 103"/>
                  <a:gd name="T2" fmla="*/ 102 w 125"/>
                  <a:gd name="T3" fmla="*/ 60 h 103"/>
                  <a:gd name="T4" fmla="*/ 124 w 125"/>
                  <a:gd name="T5" fmla="*/ 49 h 103"/>
                  <a:gd name="T6" fmla="*/ 108 w 125"/>
                  <a:gd name="T7" fmla="*/ 28 h 103"/>
                  <a:gd name="T8" fmla="*/ 124 w 125"/>
                  <a:gd name="T9" fmla="*/ 19 h 103"/>
                  <a:gd name="T10" fmla="*/ 123 w 125"/>
                  <a:gd name="T11" fmla="*/ 2 h 103"/>
                  <a:gd name="T12" fmla="*/ 56 w 125"/>
                  <a:gd name="T13" fmla="*/ 0 h 103"/>
                  <a:gd name="T14" fmla="*/ 39 w 125"/>
                  <a:gd name="T15" fmla="*/ 15 h 103"/>
                  <a:gd name="T16" fmla="*/ 12 w 125"/>
                  <a:gd name="T17" fmla="*/ 15 h 103"/>
                  <a:gd name="T18" fmla="*/ 4 w 125"/>
                  <a:gd name="T19" fmla="*/ 25 h 103"/>
                  <a:gd name="T20" fmla="*/ 0 w 125"/>
                  <a:gd name="T21" fmla="*/ 48 h 103"/>
                  <a:gd name="T22" fmla="*/ 15 w 125"/>
                  <a:gd name="T23" fmla="*/ 50 h 103"/>
                  <a:gd name="T24" fmla="*/ 46 w 125"/>
                  <a:gd name="T25" fmla="*/ 45 h 103"/>
                  <a:gd name="T26" fmla="*/ 63 w 125"/>
                  <a:gd name="T27" fmla="*/ 39 h 103"/>
                  <a:gd name="T28" fmla="*/ 63 w 125"/>
                  <a:gd name="T29" fmla="*/ 54 h 103"/>
                  <a:gd name="T30" fmla="*/ 37 w 125"/>
                  <a:gd name="T31" fmla="*/ 52 h 103"/>
                  <a:gd name="T32" fmla="*/ 42 w 125"/>
                  <a:gd name="T33" fmla="*/ 68 h 103"/>
                  <a:gd name="T34" fmla="*/ 63 w 125"/>
                  <a:gd name="T35" fmla="*/ 63 h 103"/>
                  <a:gd name="T36" fmla="*/ 39 w 125"/>
                  <a:gd name="T37" fmla="*/ 75 h 103"/>
                  <a:gd name="T38" fmla="*/ 58 w 125"/>
                  <a:gd name="T39" fmla="*/ 103 h 103"/>
                  <a:gd name="T40" fmla="*/ 63 w 125"/>
                  <a:gd name="T41" fmla="*/ 88 h 103"/>
                  <a:gd name="T42" fmla="*/ 72 w 125"/>
                  <a:gd name="T43" fmla="*/ 68 h 103"/>
                  <a:gd name="T44" fmla="*/ 85 w 125"/>
                  <a:gd name="T45" fmla="*/ 67 h 10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25"/>
                  <a:gd name="T70" fmla="*/ 0 h 103"/>
                  <a:gd name="T71" fmla="*/ 125 w 125"/>
                  <a:gd name="T72" fmla="*/ 103 h 10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25" h="103">
                    <a:moveTo>
                      <a:pt x="85" y="67"/>
                    </a:moveTo>
                    <a:cubicBezTo>
                      <a:pt x="85" y="67"/>
                      <a:pt x="92" y="60"/>
                      <a:pt x="102" y="60"/>
                    </a:cubicBezTo>
                    <a:cubicBezTo>
                      <a:pt x="112" y="60"/>
                      <a:pt x="123" y="64"/>
                      <a:pt x="124" y="49"/>
                    </a:cubicBezTo>
                    <a:cubicBezTo>
                      <a:pt x="125" y="34"/>
                      <a:pt x="108" y="39"/>
                      <a:pt x="108" y="28"/>
                    </a:cubicBezTo>
                    <a:cubicBezTo>
                      <a:pt x="108" y="17"/>
                      <a:pt x="124" y="19"/>
                      <a:pt x="124" y="19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8" y="56"/>
                      <a:pt x="15" y="50"/>
                    </a:cubicBezTo>
                    <a:cubicBezTo>
                      <a:pt x="22" y="44"/>
                      <a:pt x="46" y="45"/>
                      <a:pt x="46" y="45"/>
                    </a:cubicBezTo>
                    <a:cubicBezTo>
                      <a:pt x="63" y="39"/>
                      <a:pt x="63" y="39"/>
                      <a:pt x="63" y="39"/>
                    </a:cubicBezTo>
                    <a:cubicBezTo>
                      <a:pt x="63" y="54"/>
                      <a:pt x="63" y="54"/>
                      <a:pt x="63" y="54"/>
                    </a:cubicBezTo>
                    <a:cubicBezTo>
                      <a:pt x="63" y="54"/>
                      <a:pt x="39" y="42"/>
                      <a:pt x="37" y="52"/>
                    </a:cubicBezTo>
                    <a:cubicBezTo>
                      <a:pt x="35" y="62"/>
                      <a:pt x="42" y="68"/>
                      <a:pt x="42" y="68"/>
                    </a:cubicBezTo>
                    <a:cubicBezTo>
                      <a:pt x="63" y="63"/>
                      <a:pt x="63" y="63"/>
                      <a:pt x="63" y="63"/>
                    </a:cubicBezTo>
                    <a:cubicBezTo>
                      <a:pt x="39" y="75"/>
                      <a:pt x="39" y="75"/>
                      <a:pt x="39" y="75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72" y="68"/>
                      <a:pt x="72" y="68"/>
                      <a:pt x="72" y="68"/>
                    </a:cubicBezTo>
                    <a:lnTo>
                      <a:pt x="85" y="6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3" name="MCShape 95">
                <a:extLst>
                  <a:ext uri="{FF2B5EF4-FFF2-40B4-BE49-F238E27FC236}">
                    <a16:creationId xmlns:a16="http://schemas.microsoft.com/office/drawing/2014/main" id="{B31BAE33-83BE-4116-9027-42B070DE2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796" y="3775413"/>
                <a:ext cx="89711" cy="23202"/>
              </a:xfrm>
              <a:custGeom>
                <a:avLst/>
                <a:gdLst>
                  <a:gd name="T0" fmla="*/ 11 w 154"/>
                  <a:gd name="T1" fmla="*/ 15 h 39"/>
                  <a:gd name="T2" fmla="*/ 0 w 154"/>
                  <a:gd name="T3" fmla="*/ 37 h 39"/>
                  <a:gd name="T4" fmla="*/ 0 w 154"/>
                  <a:gd name="T5" fmla="*/ 39 h 39"/>
                  <a:gd name="T6" fmla="*/ 43 w 154"/>
                  <a:gd name="T7" fmla="*/ 39 h 39"/>
                  <a:gd name="T8" fmla="*/ 47 w 154"/>
                  <a:gd name="T9" fmla="*/ 30 h 39"/>
                  <a:gd name="T10" fmla="*/ 72 w 154"/>
                  <a:gd name="T11" fmla="*/ 27 h 39"/>
                  <a:gd name="T12" fmla="*/ 84 w 154"/>
                  <a:gd name="T13" fmla="*/ 15 h 39"/>
                  <a:gd name="T14" fmla="*/ 118 w 154"/>
                  <a:gd name="T15" fmla="*/ 34 h 39"/>
                  <a:gd name="T16" fmla="*/ 137 w 154"/>
                  <a:gd name="T17" fmla="*/ 15 h 39"/>
                  <a:gd name="T18" fmla="*/ 116 w 154"/>
                  <a:gd name="T19" fmla="*/ 20 h 39"/>
                  <a:gd name="T20" fmla="*/ 103 w 154"/>
                  <a:gd name="T21" fmla="*/ 8 h 39"/>
                  <a:gd name="T22" fmla="*/ 95 w 154"/>
                  <a:gd name="T23" fmla="*/ 10 h 39"/>
                  <a:gd name="T24" fmla="*/ 84 w 154"/>
                  <a:gd name="T25" fmla="*/ 2 h 39"/>
                  <a:gd name="T26" fmla="*/ 59 w 154"/>
                  <a:gd name="T27" fmla="*/ 3 h 39"/>
                  <a:gd name="T28" fmla="*/ 59 w 154"/>
                  <a:gd name="T29" fmla="*/ 13 h 39"/>
                  <a:gd name="T30" fmla="*/ 9 w 154"/>
                  <a:gd name="T31" fmla="*/ 13 h 39"/>
                  <a:gd name="T32" fmla="*/ 11 w 154"/>
                  <a:gd name="T33" fmla="*/ 15 h 3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4"/>
                  <a:gd name="T52" fmla="*/ 0 h 39"/>
                  <a:gd name="T53" fmla="*/ 154 w 154"/>
                  <a:gd name="T54" fmla="*/ 39 h 3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4" h="39">
                    <a:moveTo>
                      <a:pt x="11" y="15"/>
                    </a:moveTo>
                    <a:cubicBezTo>
                      <a:pt x="11" y="15"/>
                      <a:pt x="1" y="30"/>
                      <a:pt x="0" y="37"/>
                    </a:cubicBezTo>
                    <a:cubicBezTo>
                      <a:pt x="0" y="38"/>
                      <a:pt x="0" y="38"/>
                      <a:pt x="0" y="39"/>
                    </a:cubicBezTo>
                    <a:cubicBezTo>
                      <a:pt x="11" y="39"/>
                      <a:pt x="41" y="39"/>
                      <a:pt x="43" y="39"/>
                    </a:cubicBezTo>
                    <a:cubicBezTo>
                      <a:pt x="46" y="39"/>
                      <a:pt x="47" y="30"/>
                      <a:pt x="47" y="30"/>
                    </a:cubicBezTo>
                    <a:cubicBezTo>
                      <a:pt x="47" y="30"/>
                      <a:pt x="66" y="28"/>
                      <a:pt x="72" y="27"/>
                    </a:cubicBezTo>
                    <a:cubicBezTo>
                      <a:pt x="78" y="26"/>
                      <a:pt x="84" y="15"/>
                      <a:pt x="84" y="15"/>
                    </a:cubicBezTo>
                    <a:cubicBezTo>
                      <a:pt x="84" y="15"/>
                      <a:pt x="100" y="34"/>
                      <a:pt x="118" y="34"/>
                    </a:cubicBezTo>
                    <a:cubicBezTo>
                      <a:pt x="136" y="34"/>
                      <a:pt x="154" y="19"/>
                      <a:pt x="137" y="15"/>
                    </a:cubicBezTo>
                    <a:cubicBezTo>
                      <a:pt x="120" y="11"/>
                      <a:pt x="121" y="21"/>
                      <a:pt x="116" y="20"/>
                    </a:cubicBezTo>
                    <a:cubicBezTo>
                      <a:pt x="111" y="19"/>
                      <a:pt x="103" y="8"/>
                      <a:pt x="103" y="8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10"/>
                      <a:pt x="97" y="0"/>
                      <a:pt x="84" y="2"/>
                    </a:cubicBezTo>
                    <a:cubicBezTo>
                      <a:pt x="71" y="4"/>
                      <a:pt x="59" y="3"/>
                      <a:pt x="59" y="3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4"/>
                      <a:pt x="11" y="15"/>
                      <a:pt x="11" y="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4" name="MCShape 96">
                <a:extLst>
                  <a:ext uri="{FF2B5EF4-FFF2-40B4-BE49-F238E27FC236}">
                    <a16:creationId xmlns:a16="http://schemas.microsoft.com/office/drawing/2014/main" id="{18E43B3D-C308-468F-A445-08FB78A2B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8909" y="3937822"/>
                <a:ext cx="122191" cy="139206"/>
              </a:xfrm>
              <a:custGeom>
                <a:avLst/>
                <a:gdLst>
                  <a:gd name="T0" fmla="*/ 207 w 207"/>
                  <a:gd name="T1" fmla="*/ 175 h 236"/>
                  <a:gd name="T2" fmla="*/ 186 w 207"/>
                  <a:gd name="T3" fmla="*/ 146 h 236"/>
                  <a:gd name="T4" fmla="*/ 185 w 207"/>
                  <a:gd name="T5" fmla="*/ 129 h 236"/>
                  <a:gd name="T6" fmla="*/ 161 w 207"/>
                  <a:gd name="T7" fmla="*/ 133 h 236"/>
                  <a:gd name="T8" fmla="*/ 161 w 207"/>
                  <a:gd name="T9" fmla="*/ 123 h 236"/>
                  <a:gd name="T10" fmla="*/ 148 w 207"/>
                  <a:gd name="T11" fmla="*/ 121 h 236"/>
                  <a:gd name="T12" fmla="*/ 162 w 207"/>
                  <a:gd name="T13" fmla="*/ 89 h 236"/>
                  <a:gd name="T14" fmla="*/ 149 w 207"/>
                  <a:gd name="T15" fmla="*/ 55 h 236"/>
                  <a:gd name="T16" fmla="*/ 145 w 207"/>
                  <a:gd name="T17" fmla="*/ 56 h 236"/>
                  <a:gd name="T18" fmla="*/ 129 w 207"/>
                  <a:gd name="T19" fmla="*/ 82 h 236"/>
                  <a:gd name="T20" fmla="*/ 117 w 207"/>
                  <a:gd name="T21" fmla="*/ 72 h 236"/>
                  <a:gd name="T22" fmla="*/ 109 w 207"/>
                  <a:gd name="T23" fmla="*/ 72 h 236"/>
                  <a:gd name="T24" fmla="*/ 99 w 207"/>
                  <a:gd name="T25" fmla="*/ 13 h 236"/>
                  <a:gd name="T26" fmla="*/ 83 w 207"/>
                  <a:gd name="T27" fmla="*/ 18 h 236"/>
                  <a:gd name="T28" fmla="*/ 67 w 207"/>
                  <a:gd name="T29" fmla="*/ 14 h 236"/>
                  <a:gd name="T30" fmla="*/ 69 w 207"/>
                  <a:gd name="T31" fmla="*/ 31 h 236"/>
                  <a:gd name="T32" fmla="*/ 55 w 207"/>
                  <a:gd name="T33" fmla="*/ 34 h 236"/>
                  <a:gd name="T34" fmla="*/ 55 w 207"/>
                  <a:gd name="T35" fmla="*/ 48 h 236"/>
                  <a:gd name="T36" fmla="*/ 16 w 207"/>
                  <a:gd name="T37" fmla="*/ 82 h 236"/>
                  <a:gd name="T38" fmla="*/ 14 w 207"/>
                  <a:gd name="T39" fmla="*/ 105 h 236"/>
                  <a:gd name="T40" fmla="*/ 0 w 207"/>
                  <a:gd name="T41" fmla="*/ 89 h 236"/>
                  <a:gd name="T42" fmla="*/ 0 w 207"/>
                  <a:gd name="T43" fmla="*/ 89 h 236"/>
                  <a:gd name="T44" fmla="*/ 23 w 207"/>
                  <a:gd name="T45" fmla="*/ 115 h 236"/>
                  <a:gd name="T46" fmla="*/ 40 w 207"/>
                  <a:gd name="T47" fmla="*/ 117 h 236"/>
                  <a:gd name="T48" fmla="*/ 48 w 207"/>
                  <a:gd name="T49" fmla="*/ 135 h 236"/>
                  <a:gd name="T50" fmla="*/ 70 w 207"/>
                  <a:gd name="T51" fmla="*/ 139 h 236"/>
                  <a:gd name="T52" fmla="*/ 105 w 207"/>
                  <a:gd name="T53" fmla="*/ 187 h 236"/>
                  <a:gd name="T54" fmla="*/ 156 w 207"/>
                  <a:gd name="T55" fmla="*/ 213 h 236"/>
                  <a:gd name="T56" fmla="*/ 195 w 207"/>
                  <a:gd name="T57" fmla="*/ 236 h 236"/>
                  <a:gd name="T58" fmla="*/ 198 w 207"/>
                  <a:gd name="T59" fmla="*/ 236 h 236"/>
                  <a:gd name="T60" fmla="*/ 197 w 207"/>
                  <a:gd name="T61" fmla="*/ 209 h 236"/>
                  <a:gd name="T62" fmla="*/ 207 w 207"/>
                  <a:gd name="T63" fmla="*/ 175 h 2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7"/>
                  <a:gd name="T97" fmla="*/ 0 h 236"/>
                  <a:gd name="T98" fmla="*/ 207 w 207"/>
                  <a:gd name="T99" fmla="*/ 236 h 2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7" h="236">
                    <a:moveTo>
                      <a:pt x="207" y="175"/>
                    </a:moveTo>
                    <a:cubicBezTo>
                      <a:pt x="207" y="162"/>
                      <a:pt x="186" y="146"/>
                      <a:pt x="186" y="146"/>
                    </a:cubicBezTo>
                    <a:cubicBezTo>
                      <a:pt x="185" y="129"/>
                      <a:pt x="185" y="129"/>
                      <a:pt x="185" y="129"/>
                    </a:cubicBezTo>
                    <a:cubicBezTo>
                      <a:pt x="161" y="133"/>
                      <a:pt x="161" y="133"/>
                      <a:pt x="161" y="133"/>
                    </a:cubicBezTo>
                    <a:cubicBezTo>
                      <a:pt x="161" y="123"/>
                      <a:pt x="161" y="123"/>
                      <a:pt x="161" y="123"/>
                    </a:cubicBezTo>
                    <a:cubicBezTo>
                      <a:pt x="161" y="123"/>
                      <a:pt x="149" y="124"/>
                      <a:pt x="148" y="121"/>
                    </a:cubicBezTo>
                    <a:cubicBezTo>
                      <a:pt x="147" y="118"/>
                      <a:pt x="162" y="104"/>
                      <a:pt x="162" y="89"/>
                    </a:cubicBezTo>
                    <a:cubicBezTo>
                      <a:pt x="162" y="79"/>
                      <a:pt x="154" y="65"/>
                      <a:pt x="149" y="55"/>
                    </a:cubicBezTo>
                    <a:cubicBezTo>
                      <a:pt x="147" y="55"/>
                      <a:pt x="146" y="55"/>
                      <a:pt x="145" y="56"/>
                    </a:cubicBezTo>
                    <a:cubicBezTo>
                      <a:pt x="140" y="60"/>
                      <a:pt x="140" y="82"/>
                      <a:pt x="129" y="82"/>
                    </a:cubicBezTo>
                    <a:cubicBezTo>
                      <a:pt x="118" y="82"/>
                      <a:pt x="117" y="72"/>
                      <a:pt x="117" y="72"/>
                    </a:cubicBezTo>
                    <a:cubicBezTo>
                      <a:pt x="109" y="72"/>
                      <a:pt x="109" y="72"/>
                      <a:pt x="109" y="72"/>
                    </a:cubicBezTo>
                    <a:cubicBezTo>
                      <a:pt x="109" y="72"/>
                      <a:pt x="118" y="26"/>
                      <a:pt x="99" y="13"/>
                    </a:cubicBezTo>
                    <a:cubicBezTo>
                      <a:pt x="80" y="0"/>
                      <a:pt x="83" y="18"/>
                      <a:pt x="83" y="18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55" y="34"/>
                      <a:pt x="55" y="34"/>
                      <a:pt x="55" y="34"/>
                    </a:cubicBezTo>
                    <a:cubicBezTo>
                      <a:pt x="55" y="34"/>
                      <a:pt x="59" y="38"/>
                      <a:pt x="55" y="48"/>
                    </a:cubicBezTo>
                    <a:cubicBezTo>
                      <a:pt x="51" y="58"/>
                      <a:pt x="17" y="75"/>
                      <a:pt x="16" y="82"/>
                    </a:cubicBezTo>
                    <a:cubicBezTo>
                      <a:pt x="15" y="86"/>
                      <a:pt x="15" y="97"/>
                      <a:pt x="14" y="105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23" y="115"/>
                      <a:pt x="23" y="115"/>
                      <a:pt x="23" y="115"/>
                    </a:cubicBezTo>
                    <a:cubicBezTo>
                      <a:pt x="40" y="117"/>
                      <a:pt x="40" y="117"/>
                      <a:pt x="40" y="117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5"/>
                      <a:pt x="66" y="131"/>
                      <a:pt x="70" y="139"/>
                    </a:cubicBezTo>
                    <a:cubicBezTo>
                      <a:pt x="74" y="147"/>
                      <a:pt x="89" y="173"/>
                      <a:pt x="105" y="187"/>
                    </a:cubicBezTo>
                    <a:cubicBezTo>
                      <a:pt x="121" y="201"/>
                      <a:pt x="149" y="208"/>
                      <a:pt x="156" y="213"/>
                    </a:cubicBezTo>
                    <a:cubicBezTo>
                      <a:pt x="163" y="218"/>
                      <a:pt x="180" y="236"/>
                      <a:pt x="195" y="236"/>
                    </a:cubicBezTo>
                    <a:cubicBezTo>
                      <a:pt x="196" y="236"/>
                      <a:pt x="197" y="236"/>
                      <a:pt x="198" y="236"/>
                    </a:cubicBezTo>
                    <a:cubicBezTo>
                      <a:pt x="197" y="209"/>
                      <a:pt x="197" y="209"/>
                      <a:pt x="197" y="209"/>
                    </a:cubicBezTo>
                    <a:cubicBezTo>
                      <a:pt x="197" y="209"/>
                      <a:pt x="207" y="188"/>
                      <a:pt x="207" y="17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5" name="MCShape 97">
                <a:extLst>
                  <a:ext uri="{FF2B5EF4-FFF2-40B4-BE49-F238E27FC236}">
                    <a16:creationId xmlns:a16="http://schemas.microsoft.com/office/drawing/2014/main" id="{5A72B824-FFD9-4E2E-BC03-641B2D38B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146" y="3894512"/>
                <a:ext cx="81978" cy="105178"/>
              </a:xfrm>
              <a:custGeom>
                <a:avLst/>
                <a:gdLst>
                  <a:gd name="T0" fmla="*/ 126 w 140"/>
                  <a:gd name="T1" fmla="*/ 122 h 179"/>
                  <a:gd name="T2" fmla="*/ 126 w 140"/>
                  <a:gd name="T3" fmla="*/ 108 h 179"/>
                  <a:gd name="T4" fmla="*/ 140 w 140"/>
                  <a:gd name="T5" fmla="*/ 105 h 179"/>
                  <a:gd name="T6" fmla="*/ 138 w 140"/>
                  <a:gd name="T7" fmla="*/ 88 h 179"/>
                  <a:gd name="T8" fmla="*/ 119 w 140"/>
                  <a:gd name="T9" fmla="*/ 99 h 179"/>
                  <a:gd name="T10" fmla="*/ 120 w 140"/>
                  <a:gd name="T11" fmla="*/ 86 h 179"/>
                  <a:gd name="T12" fmla="*/ 131 w 140"/>
                  <a:gd name="T13" fmla="*/ 70 h 179"/>
                  <a:gd name="T14" fmla="*/ 120 w 140"/>
                  <a:gd name="T15" fmla="*/ 50 h 179"/>
                  <a:gd name="T16" fmla="*/ 123 w 140"/>
                  <a:gd name="T17" fmla="*/ 41 h 179"/>
                  <a:gd name="T18" fmla="*/ 95 w 140"/>
                  <a:gd name="T19" fmla="*/ 0 h 179"/>
                  <a:gd name="T20" fmla="*/ 69 w 140"/>
                  <a:gd name="T21" fmla="*/ 0 h 179"/>
                  <a:gd name="T22" fmla="*/ 65 w 140"/>
                  <a:gd name="T23" fmla="*/ 12 h 179"/>
                  <a:gd name="T24" fmla="*/ 40 w 140"/>
                  <a:gd name="T25" fmla="*/ 12 h 179"/>
                  <a:gd name="T26" fmla="*/ 9 w 140"/>
                  <a:gd name="T27" fmla="*/ 54 h 179"/>
                  <a:gd name="T28" fmla="*/ 0 w 140"/>
                  <a:gd name="T29" fmla="*/ 59 h 179"/>
                  <a:gd name="T30" fmla="*/ 9 w 140"/>
                  <a:gd name="T31" fmla="*/ 66 h 179"/>
                  <a:gd name="T32" fmla="*/ 1 w 140"/>
                  <a:gd name="T33" fmla="*/ 84 h 179"/>
                  <a:gd name="T34" fmla="*/ 16 w 140"/>
                  <a:gd name="T35" fmla="*/ 103 h 179"/>
                  <a:gd name="T36" fmla="*/ 15 w 140"/>
                  <a:gd name="T37" fmla="*/ 121 h 179"/>
                  <a:gd name="T38" fmla="*/ 29 w 140"/>
                  <a:gd name="T39" fmla="*/ 132 h 179"/>
                  <a:gd name="T40" fmla="*/ 37 w 140"/>
                  <a:gd name="T41" fmla="*/ 148 h 179"/>
                  <a:gd name="T42" fmla="*/ 65 w 140"/>
                  <a:gd name="T43" fmla="*/ 157 h 179"/>
                  <a:gd name="T44" fmla="*/ 85 w 140"/>
                  <a:gd name="T45" fmla="*/ 179 h 179"/>
                  <a:gd name="T46" fmla="*/ 87 w 140"/>
                  <a:gd name="T47" fmla="*/ 156 h 179"/>
                  <a:gd name="T48" fmla="*/ 126 w 140"/>
                  <a:gd name="T49" fmla="*/ 122 h 17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40"/>
                  <a:gd name="T76" fmla="*/ 0 h 179"/>
                  <a:gd name="T77" fmla="*/ 140 w 140"/>
                  <a:gd name="T78" fmla="*/ 179 h 17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40" h="179">
                    <a:moveTo>
                      <a:pt x="126" y="122"/>
                    </a:moveTo>
                    <a:cubicBezTo>
                      <a:pt x="130" y="112"/>
                      <a:pt x="126" y="108"/>
                      <a:pt x="126" y="108"/>
                    </a:cubicBezTo>
                    <a:cubicBezTo>
                      <a:pt x="140" y="105"/>
                      <a:pt x="140" y="105"/>
                      <a:pt x="140" y="105"/>
                    </a:cubicBezTo>
                    <a:cubicBezTo>
                      <a:pt x="138" y="88"/>
                      <a:pt x="138" y="88"/>
                      <a:pt x="138" y="88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6"/>
                      <a:pt x="131" y="78"/>
                      <a:pt x="131" y="70"/>
                    </a:cubicBezTo>
                    <a:cubicBezTo>
                      <a:pt x="131" y="62"/>
                      <a:pt x="120" y="50"/>
                      <a:pt x="120" y="50"/>
                    </a:cubicBezTo>
                    <a:cubicBezTo>
                      <a:pt x="123" y="41"/>
                      <a:pt x="123" y="41"/>
                      <a:pt x="123" y="41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5" y="12"/>
                      <a:pt x="65" y="12"/>
                      <a:pt x="65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21" y="54"/>
                      <a:pt x="9" y="5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66"/>
                      <a:pt x="1" y="75"/>
                      <a:pt x="1" y="84"/>
                    </a:cubicBezTo>
                    <a:cubicBezTo>
                      <a:pt x="1" y="93"/>
                      <a:pt x="16" y="103"/>
                      <a:pt x="16" y="103"/>
                    </a:cubicBezTo>
                    <a:cubicBezTo>
                      <a:pt x="15" y="121"/>
                      <a:pt x="15" y="121"/>
                      <a:pt x="15" y="121"/>
                    </a:cubicBezTo>
                    <a:cubicBezTo>
                      <a:pt x="29" y="132"/>
                      <a:pt x="29" y="132"/>
                      <a:pt x="29" y="132"/>
                    </a:cubicBezTo>
                    <a:cubicBezTo>
                      <a:pt x="29" y="132"/>
                      <a:pt x="28" y="139"/>
                      <a:pt x="37" y="148"/>
                    </a:cubicBezTo>
                    <a:cubicBezTo>
                      <a:pt x="46" y="157"/>
                      <a:pt x="65" y="157"/>
                      <a:pt x="65" y="157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6" y="171"/>
                      <a:pt x="86" y="160"/>
                      <a:pt x="87" y="156"/>
                    </a:cubicBezTo>
                    <a:cubicBezTo>
                      <a:pt x="88" y="149"/>
                      <a:pt x="122" y="132"/>
                      <a:pt x="126" y="12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6" name="MCShape 98">
                <a:extLst>
                  <a:ext uri="{FF2B5EF4-FFF2-40B4-BE49-F238E27FC236}">
                    <a16:creationId xmlns:a16="http://schemas.microsoft.com/office/drawing/2014/main" id="{E74313F4-D030-45D6-8972-664FA9149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3065" y="5121076"/>
                <a:ext cx="64963" cy="66510"/>
              </a:xfrm>
              <a:custGeom>
                <a:avLst/>
                <a:gdLst>
                  <a:gd name="T0" fmla="*/ 0 w 111"/>
                  <a:gd name="T1" fmla="*/ 58 h 114"/>
                  <a:gd name="T2" fmla="*/ 17 w 111"/>
                  <a:gd name="T3" fmla="*/ 83 h 114"/>
                  <a:gd name="T4" fmla="*/ 17 w 111"/>
                  <a:gd name="T5" fmla="*/ 94 h 114"/>
                  <a:gd name="T6" fmla="*/ 35 w 111"/>
                  <a:gd name="T7" fmla="*/ 114 h 114"/>
                  <a:gd name="T8" fmla="*/ 50 w 111"/>
                  <a:gd name="T9" fmla="*/ 113 h 114"/>
                  <a:gd name="T10" fmla="*/ 61 w 111"/>
                  <a:gd name="T11" fmla="*/ 89 h 114"/>
                  <a:gd name="T12" fmla="*/ 82 w 111"/>
                  <a:gd name="T13" fmla="*/ 85 h 114"/>
                  <a:gd name="T14" fmla="*/ 99 w 111"/>
                  <a:gd name="T15" fmla="*/ 75 h 114"/>
                  <a:gd name="T16" fmla="*/ 96 w 111"/>
                  <a:gd name="T17" fmla="*/ 63 h 114"/>
                  <a:gd name="T18" fmla="*/ 111 w 111"/>
                  <a:gd name="T19" fmla="*/ 50 h 114"/>
                  <a:gd name="T20" fmla="*/ 110 w 111"/>
                  <a:gd name="T21" fmla="*/ 34 h 114"/>
                  <a:gd name="T22" fmla="*/ 100 w 111"/>
                  <a:gd name="T23" fmla="*/ 31 h 114"/>
                  <a:gd name="T24" fmla="*/ 83 w 111"/>
                  <a:gd name="T25" fmla="*/ 6 h 114"/>
                  <a:gd name="T26" fmla="*/ 62 w 111"/>
                  <a:gd name="T27" fmla="*/ 5 h 114"/>
                  <a:gd name="T28" fmla="*/ 54 w 111"/>
                  <a:gd name="T29" fmla="*/ 8 h 114"/>
                  <a:gd name="T30" fmla="*/ 53 w 111"/>
                  <a:gd name="T31" fmla="*/ 18 h 114"/>
                  <a:gd name="T32" fmla="*/ 38 w 111"/>
                  <a:gd name="T33" fmla="*/ 19 h 114"/>
                  <a:gd name="T34" fmla="*/ 31 w 111"/>
                  <a:gd name="T35" fmla="*/ 33 h 114"/>
                  <a:gd name="T36" fmla="*/ 19 w 111"/>
                  <a:gd name="T37" fmla="*/ 46 h 114"/>
                  <a:gd name="T38" fmla="*/ 17 w 111"/>
                  <a:gd name="T39" fmla="*/ 56 h 114"/>
                  <a:gd name="T40" fmla="*/ 0 w 111"/>
                  <a:gd name="T41" fmla="*/ 58 h 1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1"/>
                  <a:gd name="T64" fmla="*/ 0 h 114"/>
                  <a:gd name="T65" fmla="*/ 111 w 111"/>
                  <a:gd name="T66" fmla="*/ 114 h 1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1" h="114">
                    <a:moveTo>
                      <a:pt x="0" y="58"/>
                    </a:moveTo>
                    <a:cubicBezTo>
                      <a:pt x="17" y="83"/>
                      <a:pt x="17" y="83"/>
                      <a:pt x="17" y="83"/>
                    </a:cubicBezTo>
                    <a:cubicBezTo>
                      <a:pt x="17" y="94"/>
                      <a:pt x="17" y="94"/>
                      <a:pt x="17" y="9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50" y="113"/>
                      <a:pt x="51" y="93"/>
                      <a:pt x="61" y="89"/>
                    </a:cubicBezTo>
                    <a:cubicBezTo>
                      <a:pt x="71" y="85"/>
                      <a:pt x="74" y="87"/>
                      <a:pt x="82" y="85"/>
                    </a:cubicBezTo>
                    <a:cubicBezTo>
                      <a:pt x="90" y="83"/>
                      <a:pt x="99" y="75"/>
                      <a:pt x="99" y="75"/>
                    </a:cubicBezTo>
                    <a:cubicBezTo>
                      <a:pt x="96" y="63"/>
                      <a:pt x="96" y="63"/>
                      <a:pt x="96" y="63"/>
                    </a:cubicBezTo>
                    <a:cubicBezTo>
                      <a:pt x="111" y="50"/>
                      <a:pt x="111" y="50"/>
                      <a:pt x="111" y="50"/>
                    </a:cubicBezTo>
                    <a:cubicBezTo>
                      <a:pt x="110" y="34"/>
                      <a:pt x="110" y="34"/>
                      <a:pt x="110" y="34"/>
                    </a:cubicBezTo>
                    <a:cubicBezTo>
                      <a:pt x="100" y="31"/>
                      <a:pt x="100" y="31"/>
                      <a:pt x="100" y="31"/>
                    </a:cubicBezTo>
                    <a:cubicBezTo>
                      <a:pt x="100" y="31"/>
                      <a:pt x="88" y="12"/>
                      <a:pt x="83" y="6"/>
                    </a:cubicBezTo>
                    <a:cubicBezTo>
                      <a:pt x="78" y="0"/>
                      <a:pt x="62" y="5"/>
                      <a:pt x="62" y="5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8"/>
                      <a:pt x="43" y="15"/>
                      <a:pt x="38" y="19"/>
                    </a:cubicBezTo>
                    <a:cubicBezTo>
                      <a:pt x="33" y="23"/>
                      <a:pt x="31" y="33"/>
                      <a:pt x="31" y="33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7" y="56"/>
                      <a:pt x="17" y="56"/>
                      <a:pt x="17" y="56"/>
                    </a:cubicBez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7" name="MCShape 99">
                <a:extLst>
                  <a:ext uri="{FF2B5EF4-FFF2-40B4-BE49-F238E27FC236}">
                    <a16:creationId xmlns:a16="http://schemas.microsoft.com/office/drawing/2014/main" id="{AB543396-B24B-4CD6-BDFC-FCE9A1B42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9655" y="4138897"/>
                <a:ext cx="165502" cy="201076"/>
              </a:xfrm>
              <a:custGeom>
                <a:avLst/>
                <a:gdLst>
                  <a:gd name="T0" fmla="*/ 261 w 281"/>
                  <a:gd name="T1" fmla="*/ 153 h 339"/>
                  <a:gd name="T2" fmla="*/ 244 w 281"/>
                  <a:gd name="T3" fmla="*/ 140 h 339"/>
                  <a:gd name="T4" fmla="*/ 254 w 281"/>
                  <a:gd name="T5" fmla="*/ 100 h 339"/>
                  <a:gd name="T6" fmla="*/ 273 w 281"/>
                  <a:gd name="T7" fmla="*/ 74 h 339"/>
                  <a:gd name="T8" fmla="*/ 263 w 281"/>
                  <a:gd name="T9" fmla="*/ 56 h 339"/>
                  <a:gd name="T10" fmla="*/ 229 w 281"/>
                  <a:gd name="T11" fmla="*/ 62 h 339"/>
                  <a:gd name="T12" fmla="*/ 210 w 281"/>
                  <a:gd name="T13" fmla="*/ 36 h 339"/>
                  <a:gd name="T14" fmla="*/ 220 w 281"/>
                  <a:gd name="T15" fmla="*/ 4 h 339"/>
                  <a:gd name="T16" fmla="*/ 177 w 281"/>
                  <a:gd name="T17" fmla="*/ 1 h 339"/>
                  <a:gd name="T18" fmla="*/ 147 w 281"/>
                  <a:gd name="T19" fmla="*/ 9 h 339"/>
                  <a:gd name="T20" fmla="*/ 125 w 281"/>
                  <a:gd name="T21" fmla="*/ 10 h 339"/>
                  <a:gd name="T22" fmla="*/ 128 w 281"/>
                  <a:gd name="T23" fmla="*/ 37 h 339"/>
                  <a:gd name="T24" fmla="*/ 56 w 281"/>
                  <a:gd name="T25" fmla="*/ 75 h 339"/>
                  <a:gd name="T26" fmla="*/ 46 w 281"/>
                  <a:gd name="T27" fmla="*/ 71 h 339"/>
                  <a:gd name="T28" fmla="*/ 40 w 281"/>
                  <a:gd name="T29" fmla="*/ 77 h 339"/>
                  <a:gd name="T30" fmla="*/ 30 w 281"/>
                  <a:gd name="T31" fmla="*/ 107 h 339"/>
                  <a:gd name="T32" fmla="*/ 0 w 281"/>
                  <a:gd name="T33" fmla="*/ 166 h 339"/>
                  <a:gd name="T34" fmla="*/ 28 w 281"/>
                  <a:gd name="T35" fmla="*/ 195 h 339"/>
                  <a:gd name="T36" fmla="*/ 27 w 281"/>
                  <a:gd name="T37" fmla="*/ 228 h 339"/>
                  <a:gd name="T38" fmla="*/ 46 w 281"/>
                  <a:gd name="T39" fmla="*/ 259 h 339"/>
                  <a:gd name="T40" fmla="*/ 61 w 281"/>
                  <a:gd name="T41" fmla="*/ 271 h 339"/>
                  <a:gd name="T42" fmla="*/ 91 w 281"/>
                  <a:gd name="T43" fmla="*/ 311 h 339"/>
                  <a:gd name="T44" fmla="*/ 114 w 281"/>
                  <a:gd name="T45" fmla="*/ 339 h 339"/>
                  <a:gd name="T46" fmla="*/ 133 w 281"/>
                  <a:gd name="T47" fmla="*/ 317 h 339"/>
                  <a:gd name="T48" fmla="*/ 152 w 281"/>
                  <a:gd name="T49" fmla="*/ 304 h 339"/>
                  <a:gd name="T50" fmla="*/ 149 w 281"/>
                  <a:gd name="T51" fmla="*/ 287 h 339"/>
                  <a:gd name="T52" fmla="*/ 139 w 281"/>
                  <a:gd name="T53" fmla="*/ 274 h 339"/>
                  <a:gd name="T54" fmla="*/ 172 w 281"/>
                  <a:gd name="T55" fmla="*/ 257 h 339"/>
                  <a:gd name="T56" fmla="*/ 178 w 281"/>
                  <a:gd name="T57" fmla="*/ 225 h 339"/>
                  <a:gd name="T58" fmla="*/ 204 w 281"/>
                  <a:gd name="T59" fmla="*/ 255 h 339"/>
                  <a:gd name="T60" fmla="*/ 241 w 281"/>
                  <a:gd name="T61" fmla="*/ 239 h 339"/>
                  <a:gd name="T62" fmla="*/ 260 w 281"/>
                  <a:gd name="T63" fmla="*/ 244 h 339"/>
                  <a:gd name="T64" fmla="*/ 269 w 281"/>
                  <a:gd name="T65" fmla="*/ 212 h 339"/>
                  <a:gd name="T66" fmla="*/ 272 w 281"/>
                  <a:gd name="T67" fmla="*/ 171 h 33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81"/>
                  <a:gd name="T103" fmla="*/ 0 h 339"/>
                  <a:gd name="T104" fmla="*/ 281 w 281"/>
                  <a:gd name="T105" fmla="*/ 339 h 33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81" h="339">
                    <a:moveTo>
                      <a:pt x="279" y="160"/>
                    </a:moveTo>
                    <a:cubicBezTo>
                      <a:pt x="277" y="154"/>
                      <a:pt x="261" y="153"/>
                      <a:pt x="261" y="153"/>
                    </a:cubicBezTo>
                    <a:cubicBezTo>
                      <a:pt x="256" y="141"/>
                      <a:pt x="256" y="141"/>
                      <a:pt x="256" y="141"/>
                    </a:cubicBezTo>
                    <a:cubicBezTo>
                      <a:pt x="244" y="140"/>
                      <a:pt x="244" y="140"/>
                      <a:pt x="244" y="140"/>
                    </a:cubicBezTo>
                    <a:cubicBezTo>
                      <a:pt x="245" y="116"/>
                      <a:pt x="245" y="116"/>
                      <a:pt x="245" y="116"/>
                    </a:cubicBezTo>
                    <a:cubicBezTo>
                      <a:pt x="254" y="100"/>
                      <a:pt x="254" y="100"/>
                      <a:pt x="254" y="100"/>
                    </a:cubicBezTo>
                    <a:cubicBezTo>
                      <a:pt x="254" y="100"/>
                      <a:pt x="261" y="101"/>
                      <a:pt x="267" y="94"/>
                    </a:cubicBezTo>
                    <a:cubicBezTo>
                      <a:pt x="273" y="87"/>
                      <a:pt x="273" y="74"/>
                      <a:pt x="273" y="74"/>
                    </a:cubicBezTo>
                    <a:cubicBezTo>
                      <a:pt x="267" y="70"/>
                      <a:pt x="267" y="70"/>
                      <a:pt x="267" y="70"/>
                    </a:cubicBezTo>
                    <a:cubicBezTo>
                      <a:pt x="267" y="70"/>
                      <a:pt x="266" y="60"/>
                      <a:pt x="263" y="56"/>
                    </a:cubicBezTo>
                    <a:cubicBezTo>
                      <a:pt x="260" y="52"/>
                      <a:pt x="248" y="47"/>
                      <a:pt x="243" y="47"/>
                    </a:cubicBezTo>
                    <a:cubicBezTo>
                      <a:pt x="238" y="47"/>
                      <a:pt x="238" y="62"/>
                      <a:pt x="229" y="62"/>
                    </a:cubicBezTo>
                    <a:cubicBezTo>
                      <a:pt x="220" y="62"/>
                      <a:pt x="212" y="57"/>
                      <a:pt x="212" y="57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20" y="14"/>
                      <a:pt x="220" y="14"/>
                      <a:pt x="220" y="14"/>
                    </a:cubicBezTo>
                    <a:cubicBezTo>
                      <a:pt x="220" y="4"/>
                      <a:pt x="220" y="4"/>
                      <a:pt x="220" y="4"/>
                    </a:cubicBezTo>
                    <a:cubicBezTo>
                      <a:pt x="188" y="5"/>
                      <a:pt x="188" y="5"/>
                      <a:pt x="188" y="5"/>
                    </a:cubicBezTo>
                    <a:cubicBezTo>
                      <a:pt x="188" y="5"/>
                      <a:pt x="181" y="1"/>
                      <a:pt x="177" y="1"/>
                    </a:cubicBezTo>
                    <a:cubicBezTo>
                      <a:pt x="173" y="1"/>
                      <a:pt x="168" y="9"/>
                      <a:pt x="168" y="9"/>
                    </a:cubicBezTo>
                    <a:cubicBezTo>
                      <a:pt x="147" y="9"/>
                      <a:pt x="147" y="9"/>
                      <a:pt x="147" y="9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8" y="37"/>
                      <a:pt x="128" y="37"/>
                      <a:pt x="128" y="37"/>
                    </a:cubicBezTo>
                    <a:cubicBezTo>
                      <a:pt x="128" y="37"/>
                      <a:pt x="128" y="72"/>
                      <a:pt x="123" y="73"/>
                    </a:cubicBezTo>
                    <a:cubicBezTo>
                      <a:pt x="118" y="74"/>
                      <a:pt x="56" y="75"/>
                      <a:pt x="56" y="75"/>
                    </a:cubicBezTo>
                    <a:cubicBezTo>
                      <a:pt x="54" y="69"/>
                      <a:pt x="54" y="69"/>
                      <a:pt x="54" y="69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47" y="72"/>
                      <a:pt x="48" y="72"/>
                      <a:pt x="48" y="72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40" y="77"/>
                      <a:pt x="49" y="105"/>
                      <a:pt x="45" y="107"/>
                    </a:cubicBezTo>
                    <a:cubicBezTo>
                      <a:pt x="41" y="109"/>
                      <a:pt x="30" y="107"/>
                      <a:pt x="30" y="107"/>
                    </a:cubicBezTo>
                    <a:cubicBezTo>
                      <a:pt x="30" y="107"/>
                      <a:pt x="33" y="148"/>
                      <a:pt x="23" y="159"/>
                    </a:cubicBezTo>
                    <a:cubicBezTo>
                      <a:pt x="13" y="170"/>
                      <a:pt x="0" y="166"/>
                      <a:pt x="0" y="166"/>
                    </a:cubicBezTo>
                    <a:cubicBezTo>
                      <a:pt x="17" y="203"/>
                      <a:pt x="17" y="203"/>
                      <a:pt x="17" y="203"/>
                    </a:cubicBezTo>
                    <a:cubicBezTo>
                      <a:pt x="28" y="195"/>
                      <a:pt x="28" y="195"/>
                      <a:pt x="28" y="195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4" y="208"/>
                      <a:pt x="25" y="221"/>
                      <a:pt x="27" y="228"/>
                    </a:cubicBezTo>
                    <a:cubicBezTo>
                      <a:pt x="29" y="235"/>
                      <a:pt x="42" y="232"/>
                      <a:pt x="42" y="232"/>
                    </a:cubicBezTo>
                    <a:cubicBezTo>
                      <a:pt x="46" y="259"/>
                      <a:pt x="46" y="259"/>
                      <a:pt x="46" y="259"/>
                    </a:cubicBezTo>
                    <a:cubicBezTo>
                      <a:pt x="66" y="263"/>
                      <a:pt x="66" y="263"/>
                      <a:pt x="66" y="263"/>
                    </a:cubicBezTo>
                    <a:cubicBezTo>
                      <a:pt x="61" y="271"/>
                      <a:pt x="61" y="271"/>
                      <a:pt x="61" y="271"/>
                    </a:cubicBezTo>
                    <a:cubicBezTo>
                      <a:pt x="94" y="306"/>
                      <a:pt x="94" y="306"/>
                      <a:pt x="94" y="306"/>
                    </a:cubicBezTo>
                    <a:cubicBezTo>
                      <a:pt x="91" y="311"/>
                      <a:pt x="91" y="311"/>
                      <a:pt x="91" y="311"/>
                    </a:cubicBezTo>
                    <a:cubicBezTo>
                      <a:pt x="113" y="338"/>
                      <a:pt x="113" y="338"/>
                      <a:pt x="113" y="338"/>
                    </a:cubicBezTo>
                    <a:cubicBezTo>
                      <a:pt x="114" y="339"/>
                      <a:pt x="114" y="339"/>
                      <a:pt x="114" y="339"/>
                    </a:cubicBezTo>
                    <a:cubicBezTo>
                      <a:pt x="119" y="326"/>
                      <a:pt x="119" y="326"/>
                      <a:pt x="119" y="326"/>
                    </a:cubicBezTo>
                    <a:cubicBezTo>
                      <a:pt x="133" y="317"/>
                      <a:pt x="133" y="317"/>
                      <a:pt x="133" y="317"/>
                    </a:cubicBezTo>
                    <a:cubicBezTo>
                      <a:pt x="133" y="317"/>
                      <a:pt x="148" y="335"/>
                      <a:pt x="152" y="326"/>
                    </a:cubicBezTo>
                    <a:cubicBezTo>
                      <a:pt x="156" y="317"/>
                      <a:pt x="152" y="304"/>
                      <a:pt x="152" y="304"/>
                    </a:cubicBezTo>
                    <a:cubicBezTo>
                      <a:pt x="140" y="296"/>
                      <a:pt x="140" y="296"/>
                      <a:pt x="140" y="296"/>
                    </a:cubicBezTo>
                    <a:cubicBezTo>
                      <a:pt x="149" y="287"/>
                      <a:pt x="149" y="287"/>
                      <a:pt x="149" y="287"/>
                    </a:cubicBezTo>
                    <a:cubicBezTo>
                      <a:pt x="132" y="274"/>
                      <a:pt x="132" y="274"/>
                      <a:pt x="132" y="274"/>
                    </a:cubicBezTo>
                    <a:cubicBezTo>
                      <a:pt x="139" y="274"/>
                      <a:pt x="139" y="274"/>
                      <a:pt x="139" y="274"/>
                    </a:cubicBezTo>
                    <a:cubicBezTo>
                      <a:pt x="139" y="274"/>
                      <a:pt x="132" y="249"/>
                      <a:pt x="138" y="251"/>
                    </a:cubicBezTo>
                    <a:cubicBezTo>
                      <a:pt x="144" y="253"/>
                      <a:pt x="168" y="262"/>
                      <a:pt x="172" y="257"/>
                    </a:cubicBezTo>
                    <a:cubicBezTo>
                      <a:pt x="176" y="252"/>
                      <a:pt x="185" y="244"/>
                      <a:pt x="185" y="244"/>
                    </a:cubicBezTo>
                    <a:cubicBezTo>
                      <a:pt x="185" y="244"/>
                      <a:pt x="172" y="226"/>
                      <a:pt x="178" y="225"/>
                    </a:cubicBezTo>
                    <a:cubicBezTo>
                      <a:pt x="184" y="224"/>
                      <a:pt x="195" y="226"/>
                      <a:pt x="195" y="226"/>
                    </a:cubicBezTo>
                    <a:cubicBezTo>
                      <a:pt x="204" y="255"/>
                      <a:pt x="204" y="255"/>
                      <a:pt x="204" y="255"/>
                    </a:cubicBezTo>
                    <a:cubicBezTo>
                      <a:pt x="204" y="255"/>
                      <a:pt x="218" y="256"/>
                      <a:pt x="226" y="254"/>
                    </a:cubicBezTo>
                    <a:cubicBezTo>
                      <a:pt x="234" y="252"/>
                      <a:pt x="237" y="236"/>
                      <a:pt x="241" y="239"/>
                    </a:cubicBezTo>
                    <a:cubicBezTo>
                      <a:pt x="245" y="242"/>
                      <a:pt x="238" y="264"/>
                      <a:pt x="248" y="264"/>
                    </a:cubicBezTo>
                    <a:cubicBezTo>
                      <a:pt x="258" y="264"/>
                      <a:pt x="260" y="258"/>
                      <a:pt x="260" y="244"/>
                    </a:cubicBezTo>
                    <a:cubicBezTo>
                      <a:pt x="260" y="230"/>
                      <a:pt x="273" y="226"/>
                      <a:pt x="273" y="226"/>
                    </a:cubicBezTo>
                    <a:cubicBezTo>
                      <a:pt x="269" y="212"/>
                      <a:pt x="269" y="212"/>
                      <a:pt x="269" y="212"/>
                    </a:cubicBezTo>
                    <a:cubicBezTo>
                      <a:pt x="273" y="201"/>
                      <a:pt x="273" y="201"/>
                      <a:pt x="273" y="201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272" y="171"/>
                      <a:pt x="281" y="166"/>
                      <a:pt x="279" y="16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8" name="MCShape 100">
                <a:extLst>
                  <a:ext uri="{FF2B5EF4-FFF2-40B4-BE49-F238E27FC236}">
                    <a16:creationId xmlns:a16="http://schemas.microsoft.com/office/drawing/2014/main" id="{F889B636-830C-42F9-B599-7122AB55FF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789" y="5032911"/>
                <a:ext cx="43309" cy="51042"/>
              </a:xfrm>
              <a:custGeom>
                <a:avLst/>
                <a:gdLst>
                  <a:gd name="T0" fmla="*/ 59 w 73"/>
                  <a:gd name="T1" fmla="*/ 35 h 87"/>
                  <a:gd name="T2" fmla="*/ 62 w 73"/>
                  <a:gd name="T3" fmla="*/ 11 h 87"/>
                  <a:gd name="T4" fmla="*/ 46 w 73"/>
                  <a:gd name="T5" fmla="*/ 14 h 87"/>
                  <a:gd name="T6" fmla="*/ 27 w 73"/>
                  <a:gd name="T7" fmla="*/ 0 h 87"/>
                  <a:gd name="T8" fmla="*/ 11 w 73"/>
                  <a:gd name="T9" fmla="*/ 29 h 87"/>
                  <a:gd name="T10" fmla="*/ 2 w 73"/>
                  <a:gd name="T11" fmla="*/ 58 h 87"/>
                  <a:gd name="T12" fmla="*/ 34 w 73"/>
                  <a:gd name="T13" fmla="*/ 86 h 87"/>
                  <a:gd name="T14" fmla="*/ 56 w 73"/>
                  <a:gd name="T15" fmla="*/ 87 h 87"/>
                  <a:gd name="T16" fmla="*/ 63 w 73"/>
                  <a:gd name="T17" fmla="*/ 62 h 87"/>
                  <a:gd name="T18" fmla="*/ 73 w 73"/>
                  <a:gd name="T19" fmla="*/ 58 h 87"/>
                  <a:gd name="T20" fmla="*/ 69 w 73"/>
                  <a:gd name="T21" fmla="*/ 42 h 87"/>
                  <a:gd name="T22" fmla="*/ 59 w 73"/>
                  <a:gd name="T23" fmla="*/ 35 h 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3"/>
                  <a:gd name="T37" fmla="*/ 0 h 87"/>
                  <a:gd name="T38" fmla="*/ 73 w 73"/>
                  <a:gd name="T39" fmla="*/ 87 h 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3" h="87">
                    <a:moveTo>
                      <a:pt x="59" y="35"/>
                    </a:moveTo>
                    <a:cubicBezTo>
                      <a:pt x="57" y="28"/>
                      <a:pt x="62" y="11"/>
                      <a:pt x="62" y="1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6" y="14"/>
                      <a:pt x="34" y="0"/>
                      <a:pt x="27" y="0"/>
                    </a:cubicBezTo>
                    <a:cubicBezTo>
                      <a:pt x="20" y="0"/>
                      <a:pt x="14" y="25"/>
                      <a:pt x="11" y="29"/>
                    </a:cubicBezTo>
                    <a:cubicBezTo>
                      <a:pt x="8" y="33"/>
                      <a:pt x="0" y="46"/>
                      <a:pt x="2" y="58"/>
                    </a:cubicBezTo>
                    <a:cubicBezTo>
                      <a:pt x="4" y="70"/>
                      <a:pt x="27" y="86"/>
                      <a:pt x="34" y="86"/>
                    </a:cubicBezTo>
                    <a:cubicBezTo>
                      <a:pt x="41" y="86"/>
                      <a:pt x="56" y="87"/>
                      <a:pt x="56" y="87"/>
                    </a:cubicBezTo>
                    <a:cubicBezTo>
                      <a:pt x="63" y="62"/>
                      <a:pt x="63" y="62"/>
                      <a:pt x="63" y="62"/>
                    </a:cubicBezTo>
                    <a:cubicBezTo>
                      <a:pt x="63" y="62"/>
                      <a:pt x="68" y="59"/>
                      <a:pt x="73" y="58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69" y="42"/>
                      <a:pt x="62" y="42"/>
                      <a:pt x="59" y="3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09" name="MCShape 101">
                <a:extLst>
                  <a:ext uri="{FF2B5EF4-FFF2-40B4-BE49-F238E27FC236}">
                    <a16:creationId xmlns:a16="http://schemas.microsoft.com/office/drawing/2014/main" id="{7C83ACF1-8A32-47B0-8456-D03D816C9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632" y="4752951"/>
                <a:ext cx="375857" cy="383591"/>
              </a:xfrm>
              <a:custGeom>
                <a:avLst/>
                <a:gdLst>
                  <a:gd name="T0" fmla="*/ 257 w 635"/>
                  <a:gd name="T1" fmla="*/ 609 h 648"/>
                  <a:gd name="T2" fmla="*/ 281 w 635"/>
                  <a:gd name="T3" fmla="*/ 636 h 648"/>
                  <a:gd name="T4" fmla="*/ 304 w 635"/>
                  <a:gd name="T5" fmla="*/ 648 h 648"/>
                  <a:gd name="T6" fmla="*/ 330 w 635"/>
                  <a:gd name="T7" fmla="*/ 646 h 648"/>
                  <a:gd name="T8" fmla="*/ 345 w 635"/>
                  <a:gd name="T9" fmla="*/ 632 h 648"/>
                  <a:gd name="T10" fmla="*/ 358 w 635"/>
                  <a:gd name="T11" fmla="*/ 622 h 648"/>
                  <a:gd name="T12" fmla="*/ 384 w 635"/>
                  <a:gd name="T13" fmla="*/ 273 h 648"/>
                  <a:gd name="T14" fmla="*/ 431 w 635"/>
                  <a:gd name="T15" fmla="*/ 192 h 648"/>
                  <a:gd name="T16" fmla="*/ 435 w 635"/>
                  <a:gd name="T17" fmla="*/ 71 h 648"/>
                  <a:gd name="T18" fmla="*/ 541 w 635"/>
                  <a:gd name="T19" fmla="*/ 55 h 648"/>
                  <a:gd name="T20" fmla="*/ 554 w 635"/>
                  <a:gd name="T21" fmla="*/ 69 h 648"/>
                  <a:gd name="T22" fmla="*/ 577 w 635"/>
                  <a:gd name="T23" fmla="*/ 63 h 648"/>
                  <a:gd name="T24" fmla="*/ 601 w 635"/>
                  <a:gd name="T25" fmla="*/ 55 h 648"/>
                  <a:gd name="T26" fmla="*/ 635 w 635"/>
                  <a:gd name="T27" fmla="*/ 45 h 648"/>
                  <a:gd name="T28" fmla="*/ 602 w 635"/>
                  <a:gd name="T29" fmla="*/ 34 h 648"/>
                  <a:gd name="T30" fmla="*/ 576 w 635"/>
                  <a:gd name="T31" fmla="*/ 31 h 648"/>
                  <a:gd name="T32" fmla="*/ 548 w 635"/>
                  <a:gd name="T33" fmla="*/ 35 h 648"/>
                  <a:gd name="T34" fmla="*/ 414 w 635"/>
                  <a:gd name="T35" fmla="*/ 55 h 648"/>
                  <a:gd name="T36" fmla="*/ 362 w 635"/>
                  <a:gd name="T37" fmla="*/ 50 h 648"/>
                  <a:gd name="T38" fmla="*/ 335 w 635"/>
                  <a:gd name="T39" fmla="*/ 44 h 648"/>
                  <a:gd name="T40" fmla="*/ 116 w 635"/>
                  <a:gd name="T41" fmla="*/ 25 h 648"/>
                  <a:gd name="T42" fmla="*/ 58 w 635"/>
                  <a:gd name="T43" fmla="*/ 0 h 648"/>
                  <a:gd name="T44" fmla="*/ 28 w 635"/>
                  <a:gd name="T45" fmla="*/ 16 h 648"/>
                  <a:gd name="T46" fmla="*/ 10 w 635"/>
                  <a:gd name="T47" fmla="*/ 15 h 648"/>
                  <a:gd name="T48" fmla="*/ 4 w 635"/>
                  <a:gd name="T49" fmla="*/ 62 h 648"/>
                  <a:gd name="T50" fmla="*/ 65 w 635"/>
                  <a:gd name="T51" fmla="*/ 170 h 648"/>
                  <a:gd name="T52" fmla="*/ 102 w 635"/>
                  <a:gd name="T53" fmla="*/ 245 h 648"/>
                  <a:gd name="T54" fmla="*/ 131 w 635"/>
                  <a:gd name="T55" fmla="*/ 296 h 648"/>
                  <a:gd name="T56" fmla="*/ 146 w 635"/>
                  <a:gd name="T57" fmla="*/ 431 h 648"/>
                  <a:gd name="T58" fmla="*/ 149 w 635"/>
                  <a:gd name="T59" fmla="*/ 484 h 648"/>
                  <a:gd name="T60" fmla="*/ 159 w 635"/>
                  <a:gd name="T61" fmla="*/ 508 h 648"/>
                  <a:gd name="T62" fmla="*/ 168 w 635"/>
                  <a:gd name="T63" fmla="*/ 544 h 648"/>
                  <a:gd name="T64" fmla="*/ 190 w 635"/>
                  <a:gd name="T65" fmla="*/ 606 h 648"/>
                  <a:gd name="T66" fmla="*/ 216 w 635"/>
                  <a:gd name="T67" fmla="*/ 625 h 648"/>
                  <a:gd name="T68" fmla="*/ 243 w 635"/>
                  <a:gd name="T69" fmla="*/ 596 h 6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35"/>
                  <a:gd name="T106" fmla="*/ 0 h 648"/>
                  <a:gd name="T107" fmla="*/ 635 w 635"/>
                  <a:gd name="T108" fmla="*/ 648 h 64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35" h="648">
                    <a:moveTo>
                      <a:pt x="243" y="596"/>
                    </a:moveTo>
                    <a:cubicBezTo>
                      <a:pt x="247" y="597"/>
                      <a:pt x="257" y="609"/>
                      <a:pt x="257" y="609"/>
                    </a:cubicBezTo>
                    <a:cubicBezTo>
                      <a:pt x="257" y="609"/>
                      <a:pt x="256" y="624"/>
                      <a:pt x="261" y="631"/>
                    </a:cubicBezTo>
                    <a:cubicBezTo>
                      <a:pt x="265" y="638"/>
                      <a:pt x="274" y="632"/>
                      <a:pt x="281" y="636"/>
                    </a:cubicBezTo>
                    <a:cubicBezTo>
                      <a:pt x="288" y="640"/>
                      <a:pt x="292" y="648"/>
                      <a:pt x="292" y="648"/>
                    </a:cubicBezTo>
                    <a:cubicBezTo>
                      <a:pt x="304" y="648"/>
                      <a:pt x="304" y="648"/>
                      <a:pt x="304" y="648"/>
                    </a:cubicBezTo>
                    <a:cubicBezTo>
                      <a:pt x="304" y="648"/>
                      <a:pt x="310" y="640"/>
                      <a:pt x="318" y="640"/>
                    </a:cubicBezTo>
                    <a:cubicBezTo>
                      <a:pt x="326" y="640"/>
                      <a:pt x="330" y="646"/>
                      <a:pt x="330" y="646"/>
                    </a:cubicBezTo>
                    <a:cubicBezTo>
                      <a:pt x="330" y="646"/>
                      <a:pt x="337" y="646"/>
                      <a:pt x="342" y="646"/>
                    </a:cubicBezTo>
                    <a:cubicBezTo>
                      <a:pt x="348" y="646"/>
                      <a:pt x="345" y="632"/>
                      <a:pt x="345" y="632"/>
                    </a:cubicBezTo>
                    <a:cubicBezTo>
                      <a:pt x="353" y="630"/>
                      <a:pt x="353" y="630"/>
                      <a:pt x="353" y="630"/>
                    </a:cubicBezTo>
                    <a:cubicBezTo>
                      <a:pt x="353" y="630"/>
                      <a:pt x="351" y="625"/>
                      <a:pt x="358" y="622"/>
                    </a:cubicBezTo>
                    <a:cubicBezTo>
                      <a:pt x="365" y="619"/>
                      <a:pt x="379" y="618"/>
                      <a:pt x="379" y="618"/>
                    </a:cubicBezTo>
                    <a:cubicBezTo>
                      <a:pt x="384" y="273"/>
                      <a:pt x="384" y="273"/>
                      <a:pt x="384" y="273"/>
                    </a:cubicBezTo>
                    <a:cubicBezTo>
                      <a:pt x="432" y="273"/>
                      <a:pt x="432" y="273"/>
                      <a:pt x="432" y="273"/>
                    </a:cubicBezTo>
                    <a:cubicBezTo>
                      <a:pt x="431" y="192"/>
                      <a:pt x="431" y="192"/>
                      <a:pt x="431" y="192"/>
                    </a:cubicBezTo>
                    <a:cubicBezTo>
                      <a:pt x="435" y="188"/>
                      <a:pt x="435" y="188"/>
                      <a:pt x="435" y="188"/>
                    </a:cubicBezTo>
                    <a:cubicBezTo>
                      <a:pt x="435" y="71"/>
                      <a:pt x="435" y="71"/>
                      <a:pt x="435" y="71"/>
                    </a:cubicBezTo>
                    <a:cubicBezTo>
                      <a:pt x="435" y="71"/>
                      <a:pt x="474" y="68"/>
                      <a:pt x="496" y="65"/>
                    </a:cubicBezTo>
                    <a:cubicBezTo>
                      <a:pt x="517" y="63"/>
                      <a:pt x="533" y="55"/>
                      <a:pt x="541" y="55"/>
                    </a:cubicBezTo>
                    <a:cubicBezTo>
                      <a:pt x="550" y="55"/>
                      <a:pt x="548" y="69"/>
                      <a:pt x="548" y="69"/>
                    </a:cubicBezTo>
                    <a:cubicBezTo>
                      <a:pt x="554" y="69"/>
                      <a:pt x="554" y="69"/>
                      <a:pt x="554" y="69"/>
                    </a:cubicBezTo>
                    <a:cubicBezTo>
                      <a:pt x="554" y="69"/>
                      <a:pt x="556" y="83"/>
                      <a:pt x="559" y="82"/>
                    </a:cubicBezTo>
                    <a:cubicBezTo>
                      <a:pt x="562" y="81"/>
                      <a:pt x="572" y="68"/>
                      <a:pt x="577" y="63"/>
                    </a:cubicBezTo>
                    <a:cubicBezTo>
                      <a:pt x="583" y="57"/>
                      <a:pt x="593" y="55"/>
                      <a:pt x="593" y="55"/>
                    </a:cubicBezTo>
                    <a:cubicBezTo>
                      <a:pt x="601" y="55"/>
                      <a:pt x="601" y="55"/>
                      <a:pt x="601" y="55"/>
                    </a:cubicBezTo>
                    <a:cubicBezTo>
                      <a:pt x="612" y="47"/>
                      <a:pt x="612" y="47"/>
                      <a:pt x="612" y="47"/>
                    </a:cubicBezTo>
                    <a:cubicBezTo>
                      <a:pt x="635" y="45"/>
                      <a:pt x="635" y="45"/>
                      <a:pt x="635" y="45"/>
                    </a:cubicBezTo>
                    <a:cubicBezTo>
                      <a:pt x="622" y="32"/>
                      <a:pt x="622" y="32"/>
                      <a:pt x="622" y="32"/>
                    </a:cubicBezTo>
                    <a:cubicBezTo>
                      <a:pt x="602" y="34"/>
                      <a:pt x="602" y="34"/>
                      <a:pt x="602" y="34"/>
                    </a:cubicBezTo>
                    <a:cubicBezTo>
                      <a:pt x="602" y="34"/>
                      <a:pt x="601" y="26"/>
                      <a:pt x="592" y="26"/>
                    </a:cubicBezTo>
                    <a:cubicBezTo>
                      <a:pt x="583" y="26"/>
                      <a:pt x="576" y="31"/>
                      <a:pt x="576" y="31"/>
                    </a:cubicBezTo>
                    <a:cubicBezTo>
                      <a:pt x="563" y="39"/>
                      <a:pt x="563" y="39"/>
                      <a:pt x="563" y="39"/>
                    </a:cubicBezTo>
                    <a:cubicBezTo>
                      <a:pt x="548" y="35"/>
                      <a:pt x="548" y="35"/>
                      <a:pt x="548" y="35"/>
                    </a:cubicBezTo>
                    <a:cubicBezTo>
                      <a:pt x="548" y="35"/>
                      <a:pt x="488" y="55"/>
                      <a:pt x="460" y="55"/>
                    </a:cubicBezTo>
                    <a:cubicBezTo>
                      <a:pt x="432" y="55"/>
                      <a:pt x="414" y="55"/>
                      <a:pt x="414" y="55"/>
                    </a:cubicBezTo>
                    <a:cubicBezTo>
                      <a:pt x="408" y="49"/>
                      <a:pt x="408" y="49"/>
                      <a:pt x="408" y="49"/>
                    </a:cubicBezTo>
                    <a:cubicBezTo>
                      <a:pt x="362" y="50"/>
                      <a:pt x="362" y="50"/>
                      <a:pt x="362" y="50"/>
                    </a:cubicBezTo>
                    <a:cubicBezTo>
                      <a:pt x="358" y="44"/>
                      <a:pt x="358" y="44"/>
                      <a:pt x="358" y="44"/>
                    </a:cubicBezTo>
                    <a:cubicBezTo>
                      <a:pt x="358" y="44"/>
                      <a:pt x="342" y="46"/>
                      <a:pt x="335" y="44"/>
                    </a:cubicBezTo>
                    <a:cubicBezTo>
                      <a:pt x="328" y="42"/>
                      <a:pt x="319" y="23"/>
                      <a:pt x="319" y="23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82" y="12"/>
                      <a:pt x="78" y="1"/>
                    </a:cubicBezTo>
                    <a:cubicBezTo>
                      <a:pt x="79" y="2"/>
                      <a:pt x="58" y="0"/>
                      <a:pt x="58" y="0"/>
                    </a:cubicBezTo>
                    <a:cubicBezTo>
                      <a:pt x="58" y="0"/>
                      <a:pt x="54" y="14"/>
                      <a:pt x="47" y="15"/>
                    </a:cubicBezTo>
                    <a:cubicBezTo>
                      <a:pt x="40" y="16"/>
                      <a:pt x="28" y="16"/>
                      <a:pt x="28" y="16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4" y="62"/>
                      <a:pt x="13" y="79"/>
                      <a:pt x="22" y="92"/>
                    </a:cubicBezTo>
                    <a:cubicBezTo>
                      <a:pt x="31" y="105"/>
                      <a:pt x="64" y="153"/>
                      <a:pt x="65" y="170"/>
                    </a:cubicBezTo>
                    <a:cubicBezTo>
                      <a:pt x="66" y="187"/>
                      <a:pt x="79" y="204"/>
                      <a:pt x="83" y="217"/>
                    </a:cubicBezTo>
                    <a:cubicBezTo>
                      <a:pt x="87" y="230"/>
                      <a:pt x="102" y="245"/>
                      <a:pt x="102" y="245"/>
                    </a:cubicBezTo>
                    <a:cubicBezTo>
                      <a:pt x="102" y="259"/>
                      <a:pt x="102" y="259"/>
                      <a:pt x="102" y="259"/>
                    </a:cubicBezTo>
                    <a:cubicBezTo>
                      <a:pt x="102" y="259"/>
                      <a:pt x="131" y="280"/>
                      <a:pt x="131" y="296"/>
                    </a:cubicBezTo>
                    <a:cubicBezTo>
                      <a:pt x="131" y="312"/>
                      <a:pt x="129" y="386"/>
                      <a:pt x="129" y="386"/>
                    </a:cubicBezTo>
                    <a:cubicBezTo>
                      <a:pt x="129" y="386"/>
                      <a:pt x="144" y="411"/>
                      <a:pt x="146" y="431"/>
                    </a:cubicBezTo>
                    <a:cubicBezTo>
                      <a:pt x="148" y="451"/>
                      <a:pt x="140" y="451"/>
                      <a:pt x="140" y="451"/>
                    </a:cubicBezTo>
                    <a:cubicBezTo>
                      <a:pt x="149" y="484"/>
                      <a:pt x="149" y="484"/>
                      <a:pt x="149" y="484"/>
                    </a:cubicBezTo>
                    <a:cubicBezTo>
                      <a:pt x="151" y="508"/>
                      <a:pt x="151" y="508"/>
                      <a:pt x="151" y="508"/>
                    </a:cubicBezTo>
                    <a:cubicBezTo>
                      <a:pt x="159" y="508"/>
                      <a:pt x="159" y="508"/>
                      <a:pt x="159" y="508"/>
                    </a:cubicBezTo>
                    <a:cubicBezTo>
                      <a:pt x="159" y="508"/>
                      <a:pt x="156" y="528"/>
                      <a:pt x="157" y="532"/>
                    </a:cubicBezTo>
                    <a:cubicBezTo>
                      <a:pt x="158" y="536"/>
                      <a:pt x="168" y="544"/>
                      <a:pt x="168" y="544"/>
                    </a:cubicBezTo>
                    <a:cubicBezTo>
                      <a:pt x="169" y="563"/>
                      <a:pt x="169" y="563"/>
                      <a:pt x="169" y="563"/>
                    </a:cubicBezTo>
                    <a:cubicBezTo>
                      <a:pt x="169" y="563"/>
                      <a:pt x="184" y="595"/>
                      <a:pt x="190" y="606"/>
                    </a:cubicBezTo>
                    <a:cubicBezTo>
                      <a:pt x="196" y="617"/>
                      <a:pt x="216" y="624"/>
                      <a:pt x="216" y="624"/>
                    </a:cubicBezTo>
                    <a:cubicBezTo>
                      <a:pt x="216" y="624"/>
                      <a:pt x="216" y="624"/>
                      <a:pt x="216" y="625"/>
                    </a:cubicBezTo>
                    <a:cubicBezTo>
                      <a:pt x="228" y="619"/>
                      <a:pt x="228" y="619"/>
                      <a:pt x="228" y="619"/>
                    </a:cubicBezTo>
                    <a:cubicBezTo>
                      <a:pt x="228" y="619"/>
                      <a:pt x="239" y="595"/>
                      <a:pt x="243" y="59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0" name="MCShape 102">
                <a:extLst>
                  <a:ext uri="{FF2B5EF4-FFF2-40B4-BE49-F238E27FC236}">
                    <a16:creationId xmlns:a16="http://schemas.microsoft.com/office/drawing/2014/main" id="{BF66B9CB-2E5D-46A1-B782-F08D73759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7490" y="4711190"/>
                <a:ext cx="218091" cy="216544"/>
              </a:xfrm>
              <a:custGeom>
                <a:avLst/>
                <a:gdLst>
                  <a:gd name="T0" fmla="*/ 11 w 372"/>
                  <a:gd name="T1" fmla="*/ 136 h 366"/>
                  <a:gd name="T2" fmla="*/ 11 w 372"/>
                  <a:gd name="T3" fmla="*/ 156 h 366"/>
                  <a:gd name="T4" fmla="*/ 23 w 372"/>
                  <a:gd name="T5" fmla="*/ 160 h 366"/>
                  <a:gd name="T6" fmla="*/ 33 w 372"/>
                  <a:gd name="T7" fmla="*/ 181 h 366"/>
                  <a:gd name="T8" fmla="*/ 42 w 372"/>
                  <a:gd name="T9" fmla="*/ 213 h 366"/>
                  <a:gd name="T10" fmla="*/ 70 w 372"/>
                  <a:gd name="T11" fmla="*/ 234 h 366"/>
                  <a:gd name="T12" fmla="*/ 90 w 372"/>
                  <a:gd name="T13" fmla="*/ 238 h 366"/>
                  <a:gd name="T14" fmla="*/ 91 w 372"/>
                  <a:gd name="T15" fmla="*/ 260 h 366"/>
                  <a:gd name="T16" fmla="*/ 112 w 372"/>
                  <a:gd name="T17" fmla="*/ 261 h 366"/>
                  <a:gd name="T18" fmla="*/ 114 w 372"/>
                  <a:gd name="T19" fmla="*/ 276 h 366"/>
                  <a:gd name="T20" fmla="*/ 110 w 372"/>
                  <a:gd name="T21" fmla="*/ 281 h 366"/>
                  <a:gd name="T22" fmla="*/ 110 w 372"/>
                  <a:gd name="T23" fmla="*/ 299 h 366"/>
                  <a:gd name="T24" fmla="*/ 122 w 372"/>
                  <a:gd name="T25" fmla="*/ 304 h 366"/>
                  <a:gd name="T26" fmla="*/ 122 w 372"/>
                  <a:gd name="T27" fmla="*/ 319 h 366"/>
                  <a:gd name="T28" fmla="*/ 161 w 372"/>
                  <a:gd name="T29" fmla="*/ 327 h 366"/>
                  <a:gd name="T30" fmla="*/ 180 w 372"/>
                  <a:gd name="T31" fmla="*/ 352 h 366"/>
                  <a:gd name="T32" fmla="*/ 167 w 372"/>
                  <a:gd name="T33" fmla="*/ 353 h 366"/>
                  <a:gd name="T34" fmla="*/ 206 w 372"/>
                  <a:gd name="T35" fmla="*/ 351 h 366"/>
                  <a:gd name="T36" fmla="*/ 230 w 372"/>
                  <a:gd name="T37" fmla="*/ 359 h 366"/>
                  <a:gd name="T38" fmla="*/ 265 w 372"/>
                  <a:gd name="T39" fmla="*/ 359 h 366"/>
                  <a:gd name="T40" fmla="*/ 277 w 372"/>
                  <a:gd name="T41" fmla="*/ 366 h 366"/>
                  <a:gd name="T42" fmla="*/ 324 w 372"/>
                  <a:gd name="T43" fmla="*/ 310 h 366"/>
                  <a:gd name="T44" fmla="*/ 334 w 372"/>
                  <a:gd name="T45" fmla="*/ 307 h 366"/>
                  <a:gd name="T46" fmla="*/ 325 w 372"/>
                  <a:gd name="T47" fmla="*/ 294 h 366"/>
                  <a:gd name="T48" fmla="*/ 333 w 372"/>
                  <a:gd name="T49" fmla="*/ 289 h 366"/>
                  <a:gd name="T50" fmla="*/ 334 w 372"/>
                  <a:gd name="T51" fmla="*/ 266 h 366"/>
                  <a:gd name="T52" fmla="*/ 350 w 372"/>
                  <a:gd name="T53" fmla="*/ 257 h 366"/>
                  <a:gd name="T54" fmla="*/ 354 w 372"/>
                  <a:gd name="T55" fmla="*/ 242 h 366"/>
                  <a:gd name="T56" fmla="*/ 364 w 372"/>
                  <a:gd name="T57" fmla="*/ 229 h 366"/>
                  <a:gd name="T58" fmla="*/ 346 w 372"/>
                  <a:gd name="T59" fmla="*/ 206 h 366"/>
                  <a:gd name="T60" fmla="*/ 360 w 372"/>
                  <a:gd name="T61" fmla="*/ 190 h 366"/>
                  <a:gd name="T62" fmla="*/ 346 w 372"/>
                  <a:gd name="T63" fmla="*/ 174 h 366"/>
                  <a:gd name="T64" fmla="*/ 360 w 372"/>
                  <a:gd name="T65" fmla="*/ 167 h 366"/>
                  <a:gd name="T66" fmla="*/ 360 w 372"/>
                  <a:gd name="T67" fmla="*/ 158 h 366"/>
                  <a:gd name="T68" fmla="*/ 366 w 372"/>
                  <a:gd name="T69" fmla="*/ 145 h 366"/>
                  <a:gd name="T70" fmla="*/ 358 w 372"/>
                  <a:gd name="T71" fmla="*/ 119 h 366"/>
                  <a:gd name="T72" fmla="*/ 366 w 372"/>
                  <a:gd name="T73" fmla="*/ 107 h 366"/>
                  <a:gd name="T74" fmla="*/ 360 w 372"/>
                  <a:gd name="T75" fmla="*/ 99 h 366"/>
                  <a:gd name="T76" fmla="*/ 366 w 372"/>
                  <a:gd name="T77" fmla="*/ 90 h 366"/>
                  <a:gd name="T78" fmla="*/ 358 w 372"/>
                  <a:gd name="T79" fmla="*/ 81 h 366"/>
                  <a:gd name="T80" fmla="*/ 368 w 372"/>
                  <a:gd name="T81" fmla="*/ 63 h 366"/>
                  <a:gd name="T82" fmla="*/ 349 w 372"/>
                  <a:gd name="T83" fmla="*/ 55 h 366"/>
                  <a:gd name="T84" fmla="*/ 336 w 372"/>
                  <a:gd name="T85" fmla="*/ 43 h 366"/>
                  <a:gd name="T86" fmla="*/ 318 w 372"/>
                  <a:gd name="T87" fmla="*/ 46 h 366"/>
                  <a:gd name="T88" fmla="*/ 308 w 372"/>
                  <a:gd name="T89" fmla="*/ 30 h 366"/>
                  <a:gd name="T90" fmla="*/ 293 w 372"/>
                  <a:gd name="T91" fmla="*/ 33 h 366"/>
                  <a:gd name="T92" fmla="*/ 285 w 372"/>
                  <a:gd name="T93" fmla="*/ 21 h 366"/>
                  <a:gd name="T94" fmla="*/ 246 w 372"/>
                  <a:gd name="T95" fmla="*/ 21 h 366"/>
                  <a:gd name="T96" fmla="*/ 245 w 372"/>
                  <a:gd name="T97" fmla="*/ 1 h 366"/>
                  <a:gd name="T98" fmla="*/ 205 w 372"/>
                  <a:gd name="T99" fmla="*/ 5 h 366"/>
                  <a:gd name="T100" fmla="*/ 170 w 372"/>
                  <a:gd name="T101" fmla="*/ 25 h 366"/>
                  <a:gd name="T102" fmla="*/ 172 w 372"/>
                  <a:gd name="T103" fmla="*/ 49 h 366"/>
                  <a:gd name="T104" fmla="*/ 125 w 372"/>
                  <a:gd name="T105" fmla="*/ 68 h 366"/>
                  <a:gd name="T106" fmla="*/ 116 w 372"/>
                  <a:gd name="T107" fmla="*/ 91 h 366"/>
                  <a:gd name="T108" fmla="*/ 77 w 372"/>
                  <a:gd name="T109" fmla="*/ 127 h 366"/>
                  <a:gd name="T110" fmla="*/ 51 w 372"/>
                  <a:gd name="T111" fmla="*/ 121 h 366"/>
                  <a:gd name="T112" fmla="*/ 38 w 372"/>
                  <a:gd name="T113" fmla="*/ 127 h 366"/>
                  <a:gd name="T114" fmla="*/ 26 w 372"/>
                  <a:gd name="T115" fmla="*/ 117 h 366"/>
                  <a:gd name="T116" fmla="*/ 0 w 372"/>
                  <a:gd name="T117" fmla="*/ 117 h 366"/>
                  <a:gd name="T118" fmla="*/ 2 w 372"/>
                  <a:gd name="T119" fmla="*/ 127 h 366"/>
                  <a:gd name="T120" fmla="*/ 11 w 372"/>
                  <a:gd name="T121" fmla="*/ 136 h 36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72"/>
                  <a:gd name="T184" fmla="*/ 0 h 366"/>
                  <a:gd name="T185" fmla="*/ 372 w 372"/>
                  <a:gd name="T186" fmla="*/ 366 h 36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72" h="366">
                    <a:moveTo>
                      <a:pt x="11" y="136"/>
                    </a:moveTo>
                    <a:cubicBezTo>
                      <a:pt x="11" y="156"/>
                      <a:pt x="11" y="156"/>
                      <a:pt x="11" y="156"/>
                    </a:cubicBezTo>
                    <a:cubicBezTo>
                      <a:pt x="11" y="156"/>
                      <a:pt x="19" y="150"/>
                      <a:pt x="23" y="160"/>
                    </a:cubicBezTo>
                    <a:cubicBezTo>
                      <a:pt x="27" y="170"/>
                      <a:pt x="33" y="181"/>
                      <a:pt x="33" y="181"/>
                    </a:cubicBezTo>
                    <a:cubicBezTo>
                      <a:pt x="33" y="181"/>
                      <a:pt x="35" y="204"/>
                      <a:pt x="42" y="213"/>
                    </a:cubicBezTo>
                    <a:cubicBezTo>
                      <a:pt x="49" y="222"/>
                      <a:pt x="70" y="234"/>
                      <a:pt x="70" y="234"/>
                    </a:cubicBezTo>
                    <a:cubicBezTo>
                      <a:pt x="70" y="234"/>
                      <a:pt x="88" y="231"/>
                      <a:pt x="90" y="238"/>
                    </a:cubicBezTo>
                    <a:cubicBezTo>
                      <a:pt x="92" y="245"/>
                      <a:pt x="91" y="260"/>
                      <a:pt x="91" y="260"/>
                    </a:cubicBezTo>
                    <a:cubicBezTo>
                      <a:pt x="112" y="261"/>
                      <a:pt x="112" y="261"/>
                      <a:pt x="112" y="261"/>
                    </a:cubicBezTo>
                    <a:cubicBezTo>
                      <a:pt x="114" y="276"/>
                      <a:pt x="114" y="276"/>
                      <a:pt x="114" y="276"/>
                    </a:cubicBezTo>
                    <a:cubicBezTo>
                      <a:pt x="110" y="281"/>
                      <a:pt x="110" y="281"/>
                      <a:pt x="110" y="281"/>
                    </a:cubicBezTo>
                    <a:cubicBezTo>
                      <a:pt x="110" y="299"/>
                      <a:pt x="110" y="299"/>
                      <a:pt x="110" y="299"/>
                    </a:cubicBezTo>
                    <a:cubicBezTo>
                      <a:pt x="110" y="299"/>
                      <a:pt x="122" y="297"/>
                      <a:pt x="122" y="304"/>
                    </a:cubicBezTo>
                    <a:cubicBezTo>
                      <a:pt x="122" y="311"/>
                      <a:pt x="122" y="319"/>
                      <a:pt x="122" y="319"/>
                    </a:cubicBezTo>
                    <a:cubicBezTo>
                      <a:pt x="122" y="319"/>
                      <a:pt x="148" y="322"/>
                      <a:pt x="161" y="327"/>
                    </a:cubicBezTo>
                    <a:cubicBezTo>
                      <a:pt x="171" y="331"/>
                      <a:pt x="177" y="345"/>
                      <a:pt x="180" y="352"/>
                    </a:cubicBezTo>
                    <a:cubicBezTo>
                      <a:pt x="167" y="353"/>
                      <a:pt x="167" y="353"/>
                      <a:pt x="167" y="353"/>
                    </a:cubicBezTo>
                    <a:cubicBezTo>
                      <a:pt x="206" y="351"/>
                      <a:pt x="206" y="351"/>
                      <a:pt x="206" y="351"/>
                    </a:cubicBezTo>
                    <a:cubicBezTo>
                      <a:pt x="206" y="351"/>
                      <a:pt x="222" y="358"/>
                      <a:pt x="230" y="359"/>
                    </a:cubicBezTo>
                    <a:cubicBezTo>
                      <a:pt x="238" y="360"/>
                      <a:pt x="265" y="359"/>
                      <a:pt x="265" y="359"/>
                    </a:cubicBezTo>
                    <a:cubicBezTo>
                      <a:pt x="277" y="366"/>
                      <a:pt x="277" y="366"/>
                      <a:pt x="277" y="366"/>
                    </a:cubicBezTo>
                    <a:cubicBezTo>
                      <a:pt x="324" y="310"/>
                      <a:pt x="324" y="310"/>
                      <a:pt x="324" y="310"/>
                    </a:cubicBezTo>
                    <a:cubicBezTo>
                      <a:pt x="334" y="307"/>
                      <a:pt x="334" y="307"/>
                      <a:pt x="334" y="307"/>
                    </a:cubicBezTo>
                    <a:cubicBezTo>
                      <a:pt x="325" y="294"/>
                      <a:pt x="325" y="294"/>
                      <a:pt x="325" y="294"/>
                    </a:cubicBezTo>
                    <a:cubicBezTo>
                      <a:pt x="333" y="289"/>
                      <a:pt x="333" y="289"/>
                      <a:pt x="333" y="289"/>
                    </a:cubicBezTo>
                    <a:cubicBezTo>
                      <a:pt x="334" y="266"/>
                      <a:pt x="334" y="266"/>
                      <a:pt x="334" y="266"/>
                    </a:cubicBezTo>
                    <a:cubicBezTo>
                      <a:pt x="334" y="266"/>
                      <a:pt x="349" y="265"/>
                      <a:pt x="350" y="257"/>
                    </a:cubicBezTo>
                    <a:cubicBezTo>
                      <a:pt x="352" y="249"/>
                      <a:pt x="354" y="242"/>
                      <a:pt x="354" y="242"/>
                    </a:cubicBezTo>
                    <a:cubicBezTo>
                      <a:pt x="354" y="242"/>
                      <a:pt x="365" y="235"/>
                      <a:pt x="364" y="229"/>
                    </a:cubicBezTo>
                    <a:cubicBezTo>
                      <a:pt x="362" y="222"/>
                      <a:pt x="345" y="211"/>
                      <a:pt x="346" y="206"/>
                    </a:cubicBezTo>
                    <a:cubicBezTo>
                      <a:pt x="348" y="201"/>
                      <a:pt x="360" y="190"/>
                      <a:pt x="360" y="190"/>
                    </a:cubicBezTo>
                    <a:cubicBezTo>
                      <a:pt x="346" y="174"/>
                      <a:pt x="346" y="174"/>
                      <a:pt x="346" y="174"/>
                    </a:cubicBezTo>
                    <a:cubicBezTo>
                      <a:pt x="360" y="167"/>
                      <a:pt x="360" y="167"/>
                      <a:pt x="360" y="167"/>
                    </a:cubicBezTo>
                    <a:cubicBezTo>
                      <a:pt x="360" y="158"/>
                      <a:pt x="360" y="158"/>
                      <a:pt x="360" y="158"/>
                    </a:cubicBezTo>
                    <a:cubicBezTo>
                      <a:pt x="360" y="158"/>
                      <a:pt x="369" y="158"/>
                      <a:pt x="366" y="145"/>
                    </a:cubicBezTo>
                    <a:cubicBezTo>
                      <a:pt x="364" y="131"/>
                      <a:pt x="356" y="125"/>
                      <a:pt x="358" y="119"/>
                    </a:cubicBezTo>
                    <a:cubicBezTo>
                      <a:pt x="361" y="114"/>
                      <a:pt x="366" y="107"/>
                      <a:pt x="366" y="107"/>
                    </a:cubicBezTo>
                    <a:cubicBezTo>
                      <a:pt x="360" y="99"/>
                      <a:pt x="360" y="99"/>
                      <a:pt x="360" y="99"/>
                    </a:cubicBezTo>
                    <a:cubicBezTo>
                      <a:pt x="366" y="90"/>
                      <a:pt x="366" y="90"/>
                      <a:pt x="366" y="90"/>
                    </a:cubicBezTo>
                    <a:cubicBezTo>
                      <a:pt x="358" y="81"/>
                      <a:pt x="358" y="81"/>
                      <a:pt x="358" y="81"/>
                    </a:cubicBezTo>
                    <a:cubicBezTo>
                      <a:pt x="358" y="81"/>
                      <a:pt x="372" y="71"/>
                      <a:pt x="368" y="63"/>
                    </a:cubicBezTo>
                    <a:cubicBezTo>
                      <a:pt x="364" y="55"/>
                      <a:pt x="349" y="55"/>
                      <a:pt x="349" y="55"/>
                    </a:cubicBezTo>
                    <a:cubicBezTo>
                      <a:pt x="349" y="55"/>
                      <a:pt x="344" y="43"/>
                      <a:pt x="336" y="43"/>
                    </a:cubicBezTo>
                    <a:cubicBezTo>
                      <a:pt x="328" y="43"/>
                      <a:pt x="318" y="46"/>
                      <a:pt x="318" y="46"/>
                    </a:cubicBezTo>
                    <a:cubicBezTo>
                      <a:pt x="308" y="30"/>
                      <a:pt x="308" y="30"/>
                      <a:pt x="308" y="30"/>
                    </a:cubicBezTo>
                    <a:cubicBezTo>
                      <a:pt x="293" y="33"/>
                      <a:pt x="293" y="33"/>
                      <a:pt x="293" y="33"/>
                    </a:cubicBezTo>
                    <a:cubicBezTo>
                      <a:pt x="285" y="21"/>
                      <a:pt x="285" y="21"/>
                      <a:pt x="285" y="21"/>
                    </a:cubicBezTo>
                    <a:cubicBezTo>
                      <a:pt x="246" y="21"/>
                      <a:pt x="246" y="21"/>
                      <a:pt x="246" y="2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36" y="0"/>
                      <a:pt x="218" y="0"/>
                      <a:pt x="205" y="5"/>
                    </a:cubicBezTo>
                    <a:cubicBezTo>
                      <a:pt x="188" y="11"/>
                      <a:pt x="170" y="25"/>
                      <a:pt x="170" y="25"/>
                    </a:cubicBezTo>
                    <a:cubicBezTo>
                      <a:pt x="170" y="25"/>
                      <a:pt x="173" y="48"/>
                      <a:pt x="172" y="49"/>
                    </a:cubicBezTo>
                    <a:cubicBezTo>
                      <a:pt x="171" y="50"/>
                      <a:pt x="132" y="61"/>
                      <a:pt x="125" y="68"/>
                    </a:cubicBezTo>
                    <a:cubicBezTo>
                      <a:pt x="118" y="75"/>
                      <a:pt x="116" y="91"/>
                      <a:pt x="116" y="91"/>
                    </a:cubicBezTo>
                    <a:cubicBezTo>
                      <a:pt x="116" y="91"/>
                      <a:pt x="95" y="118"/>
                      <a:pt x="77" y="127"/>
                    </a:cubicBezTo>
                    <a:cubicBezTo>
                      <a:pt x="59" y="136"/>
                      <a:pt x="58" y="127"/>
                      <a:pt x="51" y="121"/>
                    </a:cubicBezTo>
                    <a:cubicBezTo>
                      <a:pt x="44" y="115"/>
                      <a:pt x="42" y="127"/>
                      <a:pt x="38" y="127"/>
                    </a:cubicBezTo>
                    <a:cubicBezTo>
                      <a:pt x="34" y="127"/>
                      <a:pt x="28" y="121"/>
                      <a:pt x="26" y="117"/>
                    </a:cubicBezTo>
                    <a:cubicBezTo>
                      <a:pt x="24" y="113"/>
                      <a:pt x="0" y="117"/>
                      <a:pt x="0" y="117"/>
                    </a:cubicBezTo>
                    <a:cubicBezTo>
                      <a:pt x="2" y="127"/>
                      <a:pt x="2" y="127"/>
                      <a:pt x="2" y="127"/>
                    </a:cubicBezTo>
                    <a:lnTo>
                      <a:pt x="11" y="136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1" name="MCShape 103">
                <a:extLst>
                  <a:ext uri="{FF2B5EF4-FFF2-40B4-BE49-F238E27FC236}">
                    <a16:creationId xmlns:a16="http://schemas.microsoft.com/office/drawing/2014/main" id="{8F40F8F3-B936-4D75-81C3-E93F33B7A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7457" y="4779247"/>
                <a:ext cx="255211" cy="290787"/>
              </a:xfrm>
              <a:custGeom>
                <a:avLst/>
                <a:gdLst>
                  <a:gd name="T0" fmla="*/ 0 w 433"/>
                  <a:gd name="T1" fmla="*/ 377 h 490"/>
                  <a:gd name="T2" fmla="*/ 22 w 433"/>
                  <a:gd name="T3" fmla="*/ 394 h 490"/>
                  <a:gd name="T4" fmla="*/ 30 w 433"/>
                  <a:gd name="T5" fmla="*/ 423 h 490"/>
                  <a:gd name="T6" fmla="*/ 37 w 433"/>
                  <a:gd name="T7" fmla="*/ 443 h 490"/>
                  <a:gd name="T8" fmla="*/ 27 w 433"/>
                  <a:gd name="T9" fmla="*/ 465 h 490"/>
                  <a:gd name="T10" fmla="*/ 27 w 433"/>
                  <a:gd name="T11" fmla="*/ 487 h 490"/>
                  <a:gd name="T12" fmla="*/ 78 w 433"/>
                  <a:gd name="T13" fmla="*/ 485 h 490"/>
                  <a:gd name="T14" fmla="*/ 83 w 433"/>
                  <a:gd name="T15" fmla="*/ 473 h 490"/>
                  <a:gd name="T16" fmla="*/ 97 w 433"/>
                  <a:gd name="T17" fmla="*/ 474 h 490"/>
                  <a:gd name="T18" fmla="*/ 106 w 433"/>
                  <a:gd name="T19" fmla="*/ 454 h 490"/>
                  <a:gd name="T20" fmla="*/ 124 w 433"/>
                  <a:gd name="T21" fmla="*/ 446 h 490"/>
                  <a:gd name="T22" fmla="*/ 142 w 433"/>
                  <a:gd name="T23" fmla="*/ 401 h 490"/>
                  <a:gd name="T24" fmla="*/ 171 w 433"/>
                  <a:gd name="T25" fmla="*/ 413 h 490"/>
                  <a:gd name="T26" fmla="*/ 181 w 433"/>
                  <a:gd name="T27" fmla="*/ 423 h 490"/>
                  <a:gd name="T28" fmla="*/ 198 w 433"/>
                  <a:gd name="T29" fmla="*/ 424 h 490"/>
                  <a:gd name="T30" fmla="*/ 223 w 433"/>
                  <a:gd name="T31" fmla="*/ 433 h 490"/>
                  <a:gd name="T32" fmla="*/ 236 w 433"/>
                  <a:gd name="T33" fmla="*/ 426 h 490"/>
                  <a:gd name="T34" fmla="*/ 255 w 433"/>
                  <a:gd name="T35" fmla="*/ 426 h 490"/>
                  <a:gd name="T36" fmla="*/ 270 w 433"/>
                  <a:gd name="T37" fmla="*/ 386 h 490"/>
                  <a:gd name="T38" fmla="*/ 284 w 433"/>
                  <a:gd name="T39" fmla="*/ 374 h 490"/>
                  <a:gd name="T40" fmla="*/ 295 w 433"/>
                  <a:gd name="T41" fmla="*/ 371 h 490"/>
                  <a:gd name="T42" fmla="*/ 318 w 433"/>
                  <a:gd name="T43" fmla="*/ 347 h 490"/>
                  <a:gd name="T44" fmla="*/ 329 w 433"/>
                  <a:gd name="T45" fmla="*/ 311 h 490"/>
                  <a:gd name="T46" fmla="*/ 353 w 433"/>
                  <a:gd name="T47" fmla="*/ 298 h 490"/>
                  <a:gd name="T48" fmla="*/ 383 w 433"/>
                  <a:gd name="T49" fmla="*/ 259 h 490"/>
                  <a:gd name="T50" fmla="*/ 412 w 433"/>
                  <a:gd name="T51" fmla="*/ 252 h 490"/>
                  <a:gd name="T52" fmla="*/ 420 w 433"/>
                  <a:gd name="T53" fmla="*/ 236 h 490"/>
                  <a:gd name="T54" fmla="*/ 433 w 433"/>
                  <a:gd name="T55" fmla="*/ 235 h 490"/>
                  <a:gd name="T56" fmla="*/ 414 w 433"/>
                  <a:gd name="T57" fmla="*/ 210 h 490"/>
                  <a:gd name="T58" fmla="*/ 375 w 433"/>
                  <a:gd name="T59" fmla="*/ 202 h 490"/>
                  <a:gd name="T60" fmla="*/ 375 w 433"/>
                  <a:gd name="T61" fmla="*/ 187 h 490"/>
                  <a:gd name="T62" fmla="*/ 363 w 433"/>
                  <a:gd name="T63" fmla="*/ 182 h 490"/>
                  <a:gd name="T64" fmla="*/ 363 w 433"/>
                  <a:gd name="T65" fmla="*/ 164 h 490"/>
                  <a:gd name="T66" fmla="*/ 367 w 433"/>
                  <a:gd name="T67" fmla="*/ 159 h 490"/>
                  <a:gd name="T68" fmla="*/ 365 w 433"/>
                  <a:gd name="T69" fmla="*/ 144 h 490"/>
                  <a:gd name="T70" fmla="*/ 344 w 433"/>
                  <a:gd name="T71" fmla="*/ 143 h 490"/>
                  <a:gd name="T72" fmla="*/ 343 w 433"/>
                  <a:gd name="T73" fmla="*/ 121 h 490"/>
                  <a:gd name="T74" fmla="*/ 323 w 433"/>
                  <a:gd name="T75" fmla="*/ 117 h 490"/>
                  <a:gd name="T76" fmla="*/ 295 w 433"/>
                  <a:gd name="T77" fmla="*/ 96 h 490"/>
                  <a:gd name="T78" fmla="*/ 286 w 433"/>
                  <a:gd name="T79" fmla="*/ 64 h 490"/>
                  <a:gd name="T80" fmla="*/ 276 w 433"/>
                  <a:gd name="T81" fmla="*/ 43 h 490"/>
                  <a:gd name="T82" fmla="*/ 264 w 433"/>
                  <a:gd name="T83" fmla="*/ 39 h 490"/>
                  <a:gd name="T84" fmla="*/ 264 w 433"/>
                  <a:gd name="T85" fmla="*/ 19 h 490"/>
                  <a:gd name="T86" fmla="*/ 255 w 433"/>
                  <a:gd name="T87" fmla="*/ 10 h 490"/>
                  <a:gd name="T88" fmla="*/ 253 w 433"/>
                  <a:gd name="T89" fmla="*/ 0 h 490"/>
                  <a:gd name="T90" fmla="*/ 230 w 433"/>
                  <a:gd name="T91" fmla="*/ 2 h 490"/>
                  <a:gd name="T92" fmla="*/ 219 w 433"/>
                  <a:gd name="T93" fmla="*/ 10 h 490"/>
                  <a:gd name="T94" fmla="*/ 211 w 433"/>
                  <a:gd name="T95" fmla="*/ 10 h 490"/>
                  <a:gd name="T96" fmla="*/ 195 w 433"/>
                  <a:gd name="T97" fmla="*/ 18 h 490"/>
                  <a:gd name="T98" fmla="*/ 177 w 433"/>
                  <a:gd name="T99" fmla="*/ 37 h 490"/>
                  <a:gd name="T100" fmla="*/ 172 w 433"/>
                  <a:gd name="T101" fmla="*/ 24 h 490"/>
                  <a:gd name="T102" fmla="*/ 166 w 433"/>
                  <a:gd name="T103" fmla="*/ 24 h 490"/>
                  <a:gd name="T104" fmla="*/ 159 w 433"/>
                  <a:gd name="T105" fmla="*/ 10 h 490"/>
                  <a:gd name="T106" fmla="*/ 114 w 433"/>
                  <a:gd name="T107" fmla="*/ 20 h 490"/>
                  <a:gd name="T108" fmla="*/ 53 w 433"/>
                  <a:gd name="T109" fmla="*/ 26 h 490"/>
                  <a:gd name="T110" fmla="*/ 53 w 433"/>
                  <a:gd name="T111" fmla="*/ 143 h 490"/>
                  <a:gd name="T112" fmla="*/ 49 w 433"/>
                  <a:gd name="T113" fmla="*/ 147 h 490"/>
                  <a:gd name="T114" fmla="*/ 50 w 433"/>
                  <a:gd name="T115" fmla="*/ 228 h 490"/>
                  <a:gd name="T116" fmla="*/ 2 w 433"/>
                  <a:gd name="T117" fmla="*/ 228 h 490"/>
                  <a:gd name="T118" fmla="*/ 0 w 433"/>
                  <a:gd name="T119" fmla="*/ 377 h 4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33"/>
                  <a:gd name="T181" fmla="*/ 0 h 490"/>
                  <a:gd name="T182" fmla="*/ 433 w 433"/>
                  <a:gd name="T183" fmla="*/ 490 h 49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33" h="490">
                    <a:moveTo>
                      <a:pt x="0" y="377"/>
                    </a:moveTo>
                    <a:cubicBezTo>
                      <a:pt x="9" y="381"/>
                      <a:pt x="18" y="386"/>
                      <a:pt x="22" y="394"/>
                    </a:cubicBezTo>
                    <a:cubicBezTo>
                      <a:pt x="31" y="413"/>
                      <a:pt x="30" y="423"/>
                      <a:pt x="30" y="423"/>
                    </a:cubicBezTo>
                    <a:cubicBezTo>
                      <a:pt x="30" y="423"/>
                      <a:pt x="39" y="434"/>
                      <a:pt x="37" y="443"/>
                    </a:cubicBezTo>
                    <a:cubicBezTo>
                      <a:pt x="35" y="452"/>
                      <a:pt x="27" y="465"/>
                      <a:pt x="27" y="465"/>
                    </a:cubicBezTo>
                    <a:cubicBezTo>
                      <a:pt x="27" y="465"/>
                      <a:pt x="22" y="484"/>
                      <a:pt x="27" y="487"/>
                    </a:cubicBezTo>
                    <a:cubicBezTo>
                      <a:pt x="32" y="490"/>
                      <a:pt x="78" y="485"/>
                      <a:pt x="78" y="485"/>
                    </a:cubicBezTo>
                    <a:cubicBezTo>
                      <a:pt x="78" y="485"/>
                      <a:pt x="79" y="474"/>
                      <a:pt x="83" y="473"/>
                    </a:cubicBezTo>
                    <a:cubicBezTo>
                      <a:pt x="87" y="472"/>
                      <a:pt x="97" y="474"/>
                      <a:pt x="97" y="474"/>
                    </a:cubicBezTo>
                    <a:cubicBezTo>
                      <a:pt x="97" y="474"/>
                      <a:pt x="99" y="457"/>
                      <a:pt x="106" y="454"/>
                    </a:cubicBezTo>
                    <a:cubicBezTo>
                      <a:pt x="113" y="451"/>
                      <a:pt x="124" y="453"/>
                      <a:pt x="124" y="446"/>
                    </a:cubicBezTo>
                    <a:cubicBezTo>
                      <a:pt x="124" y="439"/>
                      <a:pt x="129" y="401"/>
                      <a:pt x="142" y="401"/>
                    </a:cubicBezTo>
                    <a:cubicBezTo>
                      <a:pt x="155" y="401"/>
                      <a:pt x="171" y="413"/>
                      <a:pt x="171" y="413"/>
                    </a:cubicBezTo>
                    <a:cubicBezTo>
                      <a:pt x="181" y="423"/>
                      <a:pt x="181" y="423"/>
                      <a:pt x="181" y="423"/>
                    </a:cubicBezTo>
                    <a:cubicBezTo>
                      <a:pt x="198" y="424"/>
                      <a:pt x="198" y="424"/>
                      <a:pt x="198" y="424"/>
                    </a:cubicBezTo>
                    <a:cubicBezTo>
                      <a:pt x="198" y="424"/>
                      <a:pt x="213" y="435"/>
                      <a:pt x="223" y="433"/>
                    </a:cubicBezTo>
                    <a:cubicBezTo>
                      <a:pt x="233" y="431"/>
                      <a:pt x="236" y="426"/>
                      <a:pt x="236" y="426"/>
                    </a:cubicBezTo>
                    <a:cubicBezTo>
                      <a:pt x="236" y="426"/>
                      <a:pt x="244" y="433"/>
                      <a:pt x="255" y="426"/>
                    </a:cubicBezTo>
                    <a:cubicBezTo>
                      <a:pt x="266" y="419"/>
                      <a:pt x="270" y="386"/>
                      <a:pt x="270" y="386"/>
                    </a:cubicBezTo>
                    <a:cubicBezTo>
                      <a:pt x="284" y="374"/>
                      <a:pt x="284" y="374"/>
                      <a:pt x="284" y="374"/>
                    </a:cubicBezTo>
                    <a:cubicBezTo>
                      <a:pt x="295" y="371"/>
                      <a:pt x="295" y="371"/>
                      <a:pt x="295" y="371"/>
                    </a:cubicBezTo>
                    <a:cubicBezTo>
                      <a:pt x="295" y="371"/>
                      <a:pt x="318" y="353"/>
                      <a:pt x="318" y="347"/>
                    </a:cubicBezTo>
                    <a:cubicBezTo>
                      <a:pt x="318" y="341"/>
                      <a:pt x="319" y="318"/>
                      <a:pt x="329" y="311"/>
                    </a:cubicBezTo>
                    <a:cubicBezTo>
                      <a:pt x="339" y="304"/>
                      <a:pt x="342" y="305"/>
                      <a:pt x="353" y="298"/>
                    </a:cubicBezTo>
                    <a:cubicBezTo>
                      <a:pt x="364" y="291"/>
                      <a:pt x="378" y="265"/>
                      <a:pt x="383" y="259"/>
                    </a:cubicBezTo>
                    <a:cubicBezTo>
                      <a:pt x="388" y="253"/>
                      <a:pt x="412" y="252"/>
                      <a:pt x="412" y="252"/>
                    </a:cubicBezTo>
                    <a:cubicBezTo>
                      <a:pt x="420" y="236"/>
                      <a:pt x="420" y="236"/>
                      <a:pt x="420" y="236"/>
                    </a:cubicBezTo>
                    <a:cubicBezTo>
                      <a:pt x="433" y="235"/>
                      <a:pt x="433" y="235"/>
                      <a:pt x="433" y="235"/>
                    </a:cubicBezTo>
                    <a:cubicBezTo>
                      <a:pt x="430" y="228"/>
                      <a:pt x="424" y="214"/>
                      <a:pt x="414" y="210"/>
                    </a:cubicBezTo>
                    <a:cubicBezTo>
                      <a:pt x="401" y="205"/>
                      <a:pt x="375" y="202"/>
                      <a:pt x="375" y="202"/>
                    </a:cubicBezTo>
                    <a:cubicBezTo>
                      <a:pt x="375" y="202"/>
                      <a:pt x="375" y="194"/>
                      <a:pt x="375" y="187"/>
                    </a:cubicBezTo>
                    <a:cubicBezTo>
                      <a:pt x="375" y="180"/>
                      <a:pt x="363" y="182"/>
                      <a:pt x="363" y="182"/>
                    </a:cubicBezTo>
                    <a:cubicBezTo>
                      <a:pt x="363" y="164"/>
                      <a:pt x="363" y="164"/>
                      <a:pt x="363" y="164"/>
                    </a:cubicBez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5" y="144"/>
                      <a:pt x="365" y="144"/>
                      <a:pt x="365" y="144"/>
                    </a:cubicBezTo>
                    <a:cubicBezTo>
                      <a:pt x="344" y="143"/>
                      <a:pt x="344" y="143"/>
                      <a:pt x="344" y="143"/>
                    </a:cubicBezTo>
                    <a:cubicBezTo>
                      <a:pt x="344" y="143"/>
                      <a:pt x="345" y="128"/>
                      <a:pt x="343" y="121"/>
                    </a:cubicBezTo>
                    <a:cubicBezTo>
                      <a:pt x="341" y="114"/>
                      <a:pt x="323" y="117"/>
                      <a:pt x="323" y="117"/>
                    </a:cubicBezTo>
                    <a:cubicBezTo>
                      <a:pt x="323" y="117"/>
                      <a:pt x="302" y="105"/>
                      <a:pt x="295" y="96"/>
                    </a:cubicBezTo>
                    <a:cubicBezTo>
                      <a:pt x="288" y="87"/>
                      <a:pt x="286" y="64"/>
                      <a:pt x="286" y="64"/>
                    </a:cubicBezTo>
                    <a:cubicBezTo>
                      <a:pt x="286" y="64"/>
                      <a:pt x="280" y="53"/>
                      <a:pt x="276" y="43"/>
                    </a:cubicBezTo>
                    <a:cubicBezTo>
                      <a:pt x="272" y="33"/>
                      <a:pt x="264" y="39"/>
                      <a:pt x="264" y="39"/>
                    </a:cubicBezTo>
                    <a:cubicBezTo>
                      <a:pt x="264" y="19"/>
                      <a:pt x="264" y="19"/>
                      <a:pt x="264" y="19"/>
                    </a:cubicBezTo>
                    <a:cubicBezTo>
                      <a:pt x="255" y="10"/>
                      <a:pt x="255" y="10"/>
                      <a:pt x="255" y="10"/>
                    </a:cubicBezTo>
                    <a:cubicBezTo>
                      <a:pt x="253" y="0"/>
                      <a:pt x="253" y="0"/>
                      <a:pt x="253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11" y="10"/>
                      <a:pt x="211" y="10"/>
                      <a:pt x="211" y="10"/>
                    </a:cubicBezTo>
                    <a:cubicBezTo>
                      <a:pt x="211" y="10"/>
                      <a:pt x="201" y="12"/>
                      <a:pt x="195" y="18"/>
                    </a:cubicBezTo>
                    <a:cubicBezTo>
                      <a:pt x="190" y="23"/>
                      <a:pt x="180" y="36"/>
                      <a:pt x="177" y="37"/>
                    </a:cubicBezTo>
                    <a:cubicBezTo>
                      <a:pt x="174" y="38"/>
                      <a:pt x="172" y="24"/>
                      <a:pt x="172" y="24"/>
                    </a:cubicBezTo>
                    <a:cubicBezTo>
                      <a:pt x="166" y="24"/>
                      <a:pt x="166" y="24"/>
                      <a:pt x="166" y="24"/>
                    </a:cubicBezTo>
                    <a:cubicBezTo>
                      <a:pt x="166" y="24"/>
                      <a:pt x="168" y="10"/>
                      <a:pt x="159" y="10"/>
                    </a:cubicBezTo>
                    <a:cubicBezTo>
                      <a:pt x="151" y="10"/>
                      <a:pt x="135" y="18"/>
                      <a:pt x="114" y="20"/>
                    </a:cubicBezTo>
                    <a:cubicBezTo>
                      <a:pt x="92" y="23"/>
                      <a:pt x="53" y="26"/>
                      <a:pt x="53" y="26"/>
                    </a:cubicBezTo>
                    <a:cubicBezTo>
                      <a:pt x="53" y="143"/>
                      <a:pt x="53" y="143"/>
                      <a:pt x="53" y="143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0" y="228"/>
                      <a:pt x="50" y="228"/>
                      <a:pt x="50" y="228"/>
                    </a:cubicBezTo>
                    <a:cubicBezTo>
                      <a:pt x="2" y="228"/>
                      <a:pt x="2" y="228"/>
                      <a:pt x="2" y="228"/>
                    </a:cubicBezTo>
                    <a:lnTo>
                      <a:pt x="0" y="37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2" name="MCShape 104">
                <a:extLst>
                  <a:ext uri="{FF2B5EF4-FFF2-40B4-BE49-F238E27FC236}">
                    <a16:creationId xmlns:a16="http://schemas.microsoft.com/office/drawing/2014/main" id="{25652B3A-1268-46F2-B4CC-D0094B96B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497" y="3832643"/>
                <a:ext cx="283053" cy="436180"/>
              </a:xfrm>
              <a:custGeom>
                <a:avLst/>
                <a:gdLst>
                  <a:gd name="T0" fmla="*/ 70 w 480"/>
                  <a:gd name="T1" fmla="*/ 77 h 739"/>
                  <a:gd name="T2" fmla="*/ 79 w 480"/>
                  <a:gd name="T3" fmla="*/ 85 h 739"/>
                  <a:gd name="T4" fmla="*/ 78 w 480"/>
                  <a:gd name="T5" fmla="*/ 93 h 739"/>
                  <a:gd name="T6" fmla="*/ 97 w 480"/>
                  <a:gd name="T7" fmla="*/ 117 h 739"/>
                  <a:gd name="T8" fmla="*/ 107 w 480"/>
                  <a:gd name="T9" fmla="*/ 142 h 739"/>
                  <a:gd name="T10" fmla="*/ 122 w 480"/>
                  <a:gd name="T11" fmla="*/ 142 h 739"/>
                  <a:gd name="T12" fmla="*/ 143 w 480"/>
                  <a:gd name="T13" fmla="*/ 167 h 739"/>
                  <a:gd name="T14" fmla="*/ 225 w 480"/>
                  <a:gd name="T15" fmla="*/ 194 h 739"/>
                  <a:gd name="T16" fmla="*/ 277 w 480"/>
                  <a:gd name="T17" fmla="*/ 220 h 739"/>
                  <a:gd name="T18" fmla="*/ 325 w 480"/>
                  <a:gd name="T19" fmla="*/ 217 h 739"/>
                  <a:gd name="T20" fmla="*/ 185 w 480"/>
                  <a:gd name="T21" fmla="*/ 382 h 739"/>
                  <a:gd name="T22" fmla="*/ 129 w 480"/>
                  <a:gd name="T23" fmla="*/ 382 h 739"/>
                  <a:gd name="T24" fmla="*/ 96 w 480"/>
                  <a:gd name="T25" fmla="*/ 396 h 739"/>
                  <a:gd name="T26" fmla="*/ 89 w 480"/>
                  <a:gd name="T27" fmla="*/ 414 h 739"/>
                  <a:gd name="T28" fmla="*/ 50 w 480"/>
                  <a:gd name="T29" fmla="*/ 421 h 739"/>
                  <a:gd name="T30" fmla="*/ 42 w 480"/>
                  <a:gd name="T31" fmla="*/ 435 h 739"/>
                  <a:gd name="T32" fmla="*/ 22 w 480"/>
                  <a:gd name="T33" fmla="*/ 471 h 739"/>
                  <a:gd name="T34" fmla="*/ 1 w 480"/>
                  <a:gd name="T35" fmla="*/ 492 h 739"/>
                  <a:gd name="T36" fmla="*/ 0 w 480"/>
                  <a:gd name="T37" fmla="*/ 695 h 739"/>
                  <a:gd name="T38" fmla="*/ 28 w 480"/>
                  <a:gd name="T39" fmla="*/ 735 h 739"/>
                  <a:gd name="T40" fmla="*/ 26 w 480"/>
                  <a:gd name="T41" fmla="*/ 739 h 739"/>
                  <a:gd name="T42" fmla="*/ 26 w 480"/>
                  <a:gd name="T43" fmla="*/ 739 h 739"/>
                  <a:gd name="T44" fmla="*/ 58 w 480"/>
                  <a:gd name="T45" fmla="*/ 680 h 739"/>
                  <a:gd name="T46" fmla="*/ 100 w 480"/>
                  <a:gd name="T47" fmla="*/ 639 h 739"/>
                  <a:gd name="T48" fmla="*/ 157 w 480"/>
                  <a:gd name="T49" fmla="*/ 573 h 739"/>
                  <a:gd name="T50" fmla="*/ 210 w 480"/>
                  <a:gd name="T51" fmla="*/ 536 h 739"/>
                  <a:gd name="T52" fmla="*/ 281 w 480"/>
                  <a:gd name="T53" fmla="*/ 473 h 739"/>
                  <a:gd name="T54" fmla="*/ 335 w 480"/>
                  <a:gd name="T55" fmla="*/ 399 h 739"/>
                  <a:gd name="T56" fmla="*/ 370 w 480"/>
                  <a:gd name="T57" fmla="*/ 334 h 739"/>
                  <a:gd name="T58" fmla="*/ 384 w 480"/>
                  <a:gd name="T59" fmla="*/ 308 h 739"/>
                  <a:gd name="T60" fmla="*/ 397 w 480"/>
                  <a:gd name="T61" fmla="*/ 262 h 739"/>
                  <a:gd name="T62" fmla="*/ 417 w 480"/>
                  <a:gd name="T63" fmla="*/ 228 h 739"/>
                  <a:gd name="T64" fmla="*/ 427 w 480"/>
                  <a:gd name="T65" fmla="*/ 205 h 739"/>
                  <a:gd name="T66" fmla="*/ 440 w 480"/>
                  <a:gd name="T67" fmla="*/ 169 h 739"/>
                  <a:gd name="T68" fmla="*/ 457 w 480"/>
                  <a:gd name="T69" fmla="*/ 147 h 739"/>
                  <a:gd name="T70" fmla="*/ 457 w 480"/>
                  <a:gd name="T71" fmla="*/ 93 h 739"/>
                  <a:gd name="T72" fmla="*/ 471 w 480"/>
                  <a:gd name="T73" fmla="*/ 84 h 739"/>
                  <a:gd name="T74" fmla="*/ 467 w 480"/>
                  <a:gd name="T75" fmla="*/ 38 h 739"/>
                  <a:gd name="T76" fmla="*/ 474 w 480"/>
                  <a:gd name="T77" fmla="*/ 8 h 739"/>
                  <a:gd name="T78" fmla="*/ 447 w 480"/>
                  <a:gd name="T79" fmla="*/ 0 h 739"/>
                  <a:gd name="T80" fmla="*/ 432 w 480"/>
                  <a:gd name="T81" fmla="*/ 21 h 739"/>
                  <a:gd name="T82" fmla="*/ 382 w 480"/>
                  <a:gd name="T83" fmla="*/ 37 h 739"/>
                  <a:gd name="T84" fmla="*/ 345 w 480"/>
                  <a:gd name="T85" fmla="*/ 35 h 739"/>
                  <a:gd name="T86" fmla="*/ 318 w 480"/>
                  <a:gd name="T87" fmla="*/ 54 h 739"/>
                  <a:gd name="T88" fmla="*/ 296 w 480"/>
                  <a:gd name="T89" fmla="*/ 43 h 739"/>
                  <a:gd name="T90" fmla="*/ 252 w 480"/>
                  <a:gd name="T91" fmla="*/ 73 h 739"/>
                  <a:gd name="T92" fmla="*/ 221 w 480"/>
                  <a:gd name="T93" fmla="*/ 62 h 739"/>
                  <a:gd name="T94" fmla="*/ 181 w 480"/>
                  <a:gd name="T95" fmla="*/ 84 h 739"/>
                  <a:gd name="T96" fmla="*/ 141 w 480"/>
                  <a:gd name="T97" fmla="*/ 85 h 739"/>
                  <a:gd name="T98" fmla="*/ 111 w 480"/>
                  <a:gd name="T99" fmla="*/ 48 h 739"/>
                  <a:gd name="T100" fmla="*/ 99 w 480"/>
                  <a:gd name="T101" fmla="*/ 35 h 739"/>
                  <a:gd name="T102" fmla="*/ 84 w 480"/>
                  <a:gd name="T103" fmla="*/ 55 h 739"/>
                  <a:gd name="T104" fmla="*/ 70 w 480"/>
                  <a:gd name="T105" fmla="*/ 77 h 73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80"/>
                  <a:gd name="T160" fmla="*/ 0 h 739"/>
                  <a:gd name="T161" fmla="*/ 480 w 480"/>
                  <a:gd name="T162" fmla="*/ 739 h 73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80" h="739">
                    <a:moveTo>
                      <a:pt x="70" y="77"/>
                    </a:moveTo>
                    <a:cubicBezTo>
                      <a:pt x="79" y="85"/>
                      <a:pt x="79" y="85"/>
                      <a:pt x="79" y="85"/>
                    </a:cubicBezTo>
                    <a:cubicBezTo>
                      <a:pt x="78" y="93"/>
                      <a:pt x="78" y="93"/>
                      <a:pt x="78" y="93"/>
                    </a:cubicBezTo>
                    <a:cubicBezTo>
                      <a:pt x="78" y="93"/>
                      <a:pt x="91" y="109"/>
                      <a:pt x="97" y="117"/>
                    </a:cubicBezTo>
                    <a:cubicBezTo>
                      <a:pt x="103" y="125"/>
                      <a:pt x="107" y="142"/>
                      <a:pt x="107" y="142"/>
                    </a:cubicBezTo>
                    <a:cubicBezTo>
                      <a:pt x="122" y="142"/>
                      <a:pt x="122" y="142"/>
                      <a:pt x="122" y="142"/>
                    </a:cubicBezTo>
                    <a:cubicBezTo>
                      <a:pt x="122" y="142"/>
                      <a:pt x="132" y="159"/>
                      <a:pt x="143" y="167"/>
                    </a:cubicBezTo>
                    <a:cubicBezTo>
                      <a:pt x="154" y="175"/>
                      <a:pt x="206" y="188"/>
                      <a:pt x="225" y="194"/>
                    </a:cubicBezTo>
                    <a:cubicBezTo>
                      <a:pt x="244" y="200"/>
                      <a:pt x="277" y="220"/>
                      <a:pt x="277" y="220"/>
                    </a:cubicBezTo>
                    <a:cubicBezTo>
                      <a:pt x="325" y="217"/>
                      <a:pt x="325" y="217"/>
                      <a:pt x="325" y="217"/>
                    </a:cubicBezTo>
                    <a:cubicBezTo>
                      <a:pt x="185" y="382"/>
                      <a:pt x="185" y="382"/>
                      <a:pt x="185" y="382"/>
                    </a:cubicBezTo>
                    <a:cubicBezTo>
                      <a:pt x="185" y="382"/>
                      <a:pt x="137" y="380"/>
                      <a:pt x="129" y="382"/>
                    </a:cubicBezTo>
                    <a:cubicBezTo>
                      <a:pt x="121" y="384"/>
                      <a:pt x="96" y="396"/>
                      <a:pt x="96" y="396"/>
                    </a:cubicBezTo>
                    <a:cubicBezTo>
                      <a:pt x="96" y="396"/>
                      <a:pt x="95" y="408"/>
                      <a:pt x="89" y="414"/>
                    </a:cubicBezTo>
                    <a:cubicBezTo>
                      <a:pt x="83" y="420"/>
                      <a:pt x="58" y="418"/>
                      <a:pt x="50" y="421"/>
                    </a:cubicBezTo>
                    <a:cubicBezTo>
                      <a:pt x="42" y="424"/>
                      <a:pt x="42" y="435"/>
                      <a:pt x="42" y="435"/>
                    </a:cubicBezTo>
                    <a:cubicBezTo>
                      <a:pt x="42" y="435"/>
                      <a:pt x="29" y="463"/>
                      <a:pt x="22" y="471"/>
                    </a:cubicBezTo>
                    <a:cubicBezTo>
                      <a:pt x="15" y="479"/>
                      <a:pt x="1" y="492"/>
                      <a:pt x="1" y="492"/>
                    </a:cubicBezTo>
                    <a:cubicBezTo>
                      <a:pt x="0" y="695"/>
                      <a:pt x="0" y="695"/>
                      <a:pt x="0" y="695"/>
                    </a:cubicBezTo>
                    <a:cubicBezTo>
                      <a:pt x="28" y="735"/>
                      <a:pt x="28" y="735"/>
                      <a:pt x="28" y="735"/>
                    </a:cubicBezTo>
                    <a:cubicBezTo>
                      <a:pt x="27" y="737"/>
                      <a:pt x="27" y="738"/>
                      <a:pt x="26" y="739"/>
                    </a:cubicBezTo>
                    <a:cubicBezTo>
                      <a:pt x="26" y="739"/>
                      <a:pt x="26" y="739"/>
                      <a:pt x="26" y="739"/>
                    </a:cubicBezTo>
                    <a:cubicBezTo>
                      <a:pt x="35" y="722"/>
                      <a:pt x="52" y="690"/>
                      <a:pt x="58" y="680"/>
                    </a:cubicBezTo>
                    <a:cubicBezTo>
                      <a:pt x="65" y="669"/>
                      <a:pt x="97" y="654"/>
                      <a:pt x="100" y="639"/>
                    </a:cubicBezTo>
                    <a:cubicBezTo>
                      <a:pt x="103" y="624"/>
                      <a:pt x="146" y="586"/>
                      <a:pt x="157" y="573"/>
                    </a:cubicBezTo>
                    <a:cubicBezTo>
                      <a:pt x="168" y="560"/>
                      <a:pt x="202" y="541"/>
                      <a:pt x="210" y="536"/>
                    </a:cubicBezTo>
                    <a:cubicBezTo>
                      <a:pt x="218" y="531"/>
                      <a:pt x="275" y="484"/>
                      <a:pt x="281" y="473"/>
                    </a:cubicBezTo>
                    <a:cubicBezTo>
                      <a:pt x="287" y="462"/>
                      <a:pt x="331" y="413"/>
                      <a:pt x="335" y="399"/>
                    </a:cubicBezTo>
                    <a:cubicBezTo>
                      <a:pt x="339" y="385"/>
                      <a:pt x="364" y="339"/>
                      <a:pt x="370" y="334"/>
                    </a:cubicBezTo>
                    <a:cubicBezTo>
                      <a:pt x="376" y="329"/>
                      <a:pt x="384" y="316"/>
                      <a:pt x="384" y="308"/>
                    </a:cubicBezTo>
                    <a:cubicBezTo>
                      <a:pt x="384" y="300"/>
                      <a:pt x="390" y="271"/>
                      <a:pt x="397" y="262"/>
                    </a:cubicBezTo>
                    <a:cubicBezTo>
                      <a:pt x="404" y="253"/>
                      <a:pt x="417" y="241"/>
                      <a:pt x="417" y="228"/>
                    </a:cubicBezTo>
                    <a:cubicBezTo>
                      <a:pt x="417" y="215"/>
                      <a:pt x="427" y="205"/>
                      <a:pt x="427" y="205"/>
                    </a:cubicBezTo>
                    <a:cubicBezTo>
                      <a:pt x="440" y="169"/>
                      <a:pt x="440" y="169"/>
                      <a:pt x="440" y="169"/>
                    </a:cubicBezTo>
                    <a:cubicBezTo>
                      <a:pt x="440" y="169"/>
                      <a:pt x="457" y="173"/>
                      <a:pt x="457" y="147"/>
                    </a:cubicBezTo>
                    <a:cubicBezTo>
                      <a:pt x="457" y="121"/>
                      <a:pt x="457" y="93"/>
                      <a:pt x="457" y="93"/>
                    </a:cubicBezTo>
                    <a:cubicBezTo>
                      <a:pt x="471" y="84"/>
                      <a:pt x="471" y="84"/>
                      <a:pt x="471" y="84"/>
                    </a:cubicBezTo>
                    <a:cubicBezTo>
                      <a:pt x="467" y="38"/>
                      <a:pt x="467" y="38"/>
                      <a:pt x="467" y="38"/>
                    </a:cubicBezTo>
                    <a:cubicBezTo>
                      <a:pt x="467" y="38"/>
                      <a:pt x="480" y="14"/>
                      <a:pt x="474" y="8"/>
                    </a:cubicBezTo>
                    <a:cubicBezTo>
                      <a:pt x="468" y="2"/>
                      <a:pt x="447" y="0"/>
                      <a:pt x="447" y="0"/>
                    </a:cubicBezTo>
                    <a:cubicBezTo>
                      <a:pt x="447" y="0"/>
                      <a:pt x="439" y="14"/>
                      <a:pt x="432" y="21"/>
                    </a:cubicBezTo>
                    <a:cubicBezTo>
                      <a:pt x="425" y="28"/>
                      <a:pt x="388" y="37"/>
                      <a:pt x="382" y="37"/>
                    </a:cubicBezTo>
                    <a:cubicBezTo>
                      <a:pt x="376" y="37"/>
                      <a:pt x="355" y="31"/>
                      <a:pt x="345" y="35"/>
                    </a:cubicBezTo>
                    <a:cubicBezTo>
                      <a:pt x="335" y="39"/>
                      <a:pt x="322" y="54"/>
                      <a:pt x="318" y="54"/>
                    </a:cubicBezTo>
                    <a:cubicBezTo>
                      <a:pt x="314" y="54"/>
                      <a:pt x="304" y="42"/>
                      <a:pt x="296" y="43"/>
                    </a:cubicBezTo>
                    <a:cubicBezTo>
                      <a:pt x="288" y="44"/>
                      <a:pt x="261" y="72"/>
                      <a:pt x="252" y="73"/>
                    </a:cubicBezTo>
                    <a:cubicBezTo>
                      <a:pt x="243" y="74"/>
                      <a:pt x="235" y="58"/>
                      <a:pt x="221" y="62"/>
                    </a:cubicBezTo>
                    <a:cubicBezTo>
                      <a:pt x="207" y="66"/>
                      <a:pt x="189" y="83"/>
                      <a:pt x="181" y="84"/>
                    </a:cubicBezTo>
                    <a:cubicBezTo>
                      <a:pt x="173" y="85"/>
                      <a:pt x="141" y="85"/>
                      <a:pt x="141" y="85"/>
                    </a:cubicBezTo>
                    <a:cubicBezTo>
                      <a:pt x="141" y="85"/>
                      <a:pt x="111" y="58"/>
                      <a:pt x="111" y="48"/>
                    </a:cubicBezTo>
                    <a:cubicBezTo>
                      <a:pt x="111" y="40"/>
                      <a:pt x="102" y="36"/>
                      <a:pt x="99" y="35"/>
                    </a:cubicBezTo>
                    <a:cubicBezTo>
                      <a:pt x="84" y="55"/>
                      <a:pt x="84" y="55"/>
                      <a:pt x="84" y="55"/>
                    </a:cubicBezTo>
                    <a:lnTo>
                      <a:pt x="70" y="7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3" name="MCShape 105">
                <a:extLst>
                  <a:ext uri="{FF2B5EF4-FFF2-40B4-BE49-F238E27FC236}">
                    <a16:creationId xmlns:a16="http://schemas.microsoft.com/office/drawing/2014/main" id="{A80645E3-2F6F-46F0-A0FD-AD3D63B57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8418" y="3810989"/>
                <a:ext cx="49495" cy="55682"/>
              </a:xfrm>
              <a:custGeom>
                <a:avLst/>
                <a:gdLst>
                  <a:gd name="T0" fmla="*/ 47 w 85"/>
                  <a:gd name="T1" fmla="*/ 18 h 95"/>
                  <a:gd name="T2" fmla="*/ 31 w 85"/>
                  <a:gd name="T3" fmla="*/ 8 h 95"/>
                  <a:gd name="T4" fmla="*/ 13 w 85"/>
                  <a:gd name="T5" fmla="*/ 47 h 95"/>
                  <a:gd name="T6" fmla="*/ 0 w 85"/>
                  <a:gd name="T7" fmla="*/ 56 h 95"/>
                  <a:gd name="T8" fmla="*/ 11 w 85"/>
                  <a:gd name="T9" fmla="*/ 94 h 95"/>
                  <a:gd name="T10" fmla="*/ 36 w 85"/>
                  <a:gd name="T11" fmla="*/ 91 h 95"/>
                  <a:gd name="T12" fmla="*/ 46 w 85"/>
                  <a:gd name="T13" fmla="*/ 84 h 95"/>
                  <a:gd name="T14" fmla="*/ 59 w 85"/>
                  <a:gd name="T15" fmla="*/ 93 h 95"/>
                  <a:gd name="T16" fmla="*/ 60 w 85"/>
                  <a:gd name="T17" fmla="*/ 91 h 95"/>
                  <a:gd name="T18" fmla="*/ 75 w 85"/>
                  <a:gd name="T19" fmla="*/ 71 h 95"/>
                  <a:gd name="T20" fmla="*/ 74 w 85"/>
                  <a:gd name="T21" fmla="*/ 71 h 95"/>
                  <a:gd name="T22" fmla="*/ 67 w 85"/>
                  <a:gd name="T23" fmla="*/ 61 h 95"/>
                  <a:gd name="T24" fmla="*/ 44 w 85"/>
                  <a:gd name="T25" fmla="*/ 63 h 95"/>
                  <a:gd name="T26" fmla="*/ 76 w 85"/>
                  <a:gd name="T27" fmla="*/ 17 h 95"/>
                  <a:gd name="T28" fmla="*/ 63 w 85"/>
                  <a:gd name="T29" fmla="*/ 0 h 95"/>
                  <a:gd name="T30" fmla="*/ 54 w 85"/>
                  <a:gd name="T31" fmla="*/ 6 h 95"/>
                  <a:gd name="T32" fmla="*/ 47 w 85"/>
                  <a:gd name="T33" fmla="*/ 18 h 9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5"/>
                  <a:gd name="T52" fmla="*/ 0 h 95"/>
                  <a:gd name="T53" fmla="*/ 85 w 85"/>
                  <a:gd name="T54" fmla="*/ 95 h 9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5" h="95">
                    <a:moveTo>
                      <a:pt x="47" y="1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3" y="93"/>
                      <a:pt x="11" y="94"/>
                    </a:cubicBezTo>
                    <a:cubicBezTo>
                      <a:pt x="19" y="95"/>
                      <a:pt x="36" y="91"/>
                      <a:pt x="36" y="91"/>
                    </a:cubicBezTo>
                    <a:cubicBezTo>
                      <a:pt x="36" y="91"/>
                      <a:pt x="39" y="83"/>
                      <a:pt x="46" y="84"/>
                    </a:cubicBezTo>
                    <a:cubicBezTo>
                      <a:pt x="50" y="85"/>
                      <a:pt x="55" y="89"/>
                      <a:pt x="59" y="93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67" y="61"/>
                      <a:pt x="67" y="61"/>
                      <a:pt x="67" y="61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3"/>
                      <a:pt x="85" y="30"/>
                      <a:pt x="76" y="17"/>
                    </a:cubicBezTo>
                    <a:cubicBezTo>
                      <a:pt x="73" y="12"/>
                      <a:pt x="68" y="6"/>
                      <a:pt x="63" y="0"/>
                    </a:cubicBezTo>
                    <a:cubicBezTo>
                      <a:pt x="54" y="6"/>
                      <a:pt x="54" y="6"/>
                      <a:pt x="54" y="6"/>
                    </a:cubicBezTo>
                    <a:lnTo>
                      <a:pt x="47" y="1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4" name="MCShape 106">
                <a:extLst>
                  <a:ext uri="{FF2B5EF4-FFF2-40B4-BE49-F238E27FC236}">
                    <a16:creationId xmlns:a16="http://schemas.microsoft.com/office/drawing/2014/main" id="{0E05FFBB-C191-4646-8B9D-4B6E80E01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838" y="3642393"/>
                <a:ext cx="188703" cy="179422"/>
              </a:xfrm>
              <a:custGeom>
                <a:avLst/>
                <a:gdLst>
                  <a:gd name="T0" fmla="*/ 51 w 320"/>
                  <a:gd name="T1" fmla="*/ 35 h 305"/>
                  <a:gd name="T2" fmla="*/ 50 w 320"/>
                  <a:gd name="T3" fmla="*/ 50 h 305"/>
                  <a:gd name="T4" fmla="*/ 31 w 320"/>
                  <a:gd name="T5" fmla="*/ 57 h 305"/>
                  <a:gd name="T6" fmla="*/ 31 w 320"/>
                  <a:gd name="T7" fmla="*/ 67 h 305"/>
                  <a:gd name="T8" fmla="*/ 20 w 320"/>
                  <a:gd name="T9" fmla="*/ 75 h 305"/>
                  <a:gd name="T10" fmla="*/ 26 w 320"/>
                  <a:gd name="T11" fmla="*/ 106 h 305"/>
                  <a:gd name="T12" fmla="*/ 14 w 320"/>
                  <a:gd name="T13" fmla="*/ 126 h 305"/>
                  <a:gd name="T14" fmla="*/ 13 w 320"/>
                  <a:gd name="T15" fmla="*/ 143 h 305"/>
                  <a:gd name="T16" fmla="*/ 1 w 320"/>
                  <a:gd name="T17" fmla="*/ 157 h 305"/>
                  <a:gd name="T18" fmla="*/ 6 w 320"/>
                  <a:gd name="T19" fmla="*/ 167 h 305"/>
                  <a:gd name="T20" fmla="*/ 8 w 320"/>
                  <a:gd name="T21" fmla="*/ 200 h 305"/>
                  <a:gd name="T22" fmla="*/ 31 w 320"/>
                  <a:gd name="T23" fmla="*/ 201 h 305"/>
                  <a:gd name="T24" fmla="*/ 41 w 320"/>
                  <a:gd name="T25" fmla="*/ 191 h 305"/>
                  <a:gd name="T26" fmla="*/ 57 w 320"/>
                  <a:gd name="T27" fmla="*/ 211 h 305"/>
                  <a:gd name="T28" fmla="*/ 73 w 320"/>
                  <a:gd name="T29" fmla="*/ 170 h 305"/>
                  <a:gd name="T30" fmla="*/ 89 w 320"/>
                  <a:gd name="T31" fmla="*/ 179 h 305"/>
                  <a:gd name="T32" fmla="*/ 99 w 320"/>
                  <a:gd name="T33" fmla="*/ 194 h 305"/>
                  <a:gd name="T34" fmla="*/ 116 w 320"/>
                  <a:gd name="T35" fmla="*/ 194 h 305"/>
                  <a:gd name="T36" fmla="*/ 128 w 320"/>
                  <a:gd name="T37" fmla="*/ 181 h 305"/>
                  <a:gd name="T38" fmla="*/ 137 w 320"/>
                  <a:gd name="T39" fmla="*/ 194 h 305"/>
                  <a:gd name="T40" fmla="*/ 155 w 320"/>
                  <a:gd name="T41" fmla="*/ 187 h 305"/>
                  <a:gd name="T42" fmla="*/ 165 w 320"/>
                  <a:gd name="T43" fmla="*/ 192 h 305"/>
                  <a:gd name="T44" fmla="*/ 185 w 320"/>
                  <a:gd name="T45" fmla="*/ 193 h 305"/>
                  <a:gd name="T46" fmla="*/ 196 w 320"/>
                  <a:gd name="T47" fmla="*/ 207 h 305"/>
                  <a:gd name="T48" fmla="*/ 216 w 320"/>
                  <a:gd name="T49" fmla="*/ 216 h 305"/>
                  <a:gd name="T50" fmla="*/ 231 w 320"/>
                  <a:gd name="T51" fmla="*/ 242 h 305"/>
                  <a:gd name="T52" fmla="*/ 257 w 320"/>
                  <a:gd name="T53" fmla="*/ 257 h 305"/>
                  <a:gd name="T54" fmla="*/ 262 w 320"/>
                  <a:gd name="T55" fmla="*/ 277 h 305"/>
                  <a:gd name="T56" fmla="*/ 280 w 320"/>
                  <a:gd name="T57" fmla="*/ 283 h 305"/>
                  <a:gd name="T58" fmla="*/ 288 w 320"/>
                  <a:gd name="T59" fmla="*/ 295 h 305"/>
                  <a:gd name="T60" fmla="*/ 304 w 320"/>
                  <a:gd name="T61" fmla="*/ 305 h 305"/>
                  <a:gd name="T62" fmla="*/ 311 w 320"/>
                  <a:gd name="T63" fmla="*/ 293 h 305"/>
                  <a:gd name="T64" fmla="*/ 320 w 320"/>
                  <a:gd name="T65" fmla="*/ 287 h 305"/>
                  <a:gd name="T66" fmla="*/ 304 w 320"/>
                  <a:gd name="T67" fmla="*/ 268 h 305"/>
                  <a:gd name="T68" fmla="*/ 285 w 320"/>
                  <a:gd name="T69" fmla="*/ 264 h 305"/>
                  <a:gd name="T70" fmla="*/ 283 w 320"/>
                  <a:gd name="T71" fmla="*/ 239 h 305"/>
                  <a:gd name="T72" fmla="*/ 241 w 320"/>
                  <a:gd name="T73" fmla="*/ 216 h 305"/>
                  <a:gd name="T74" fmla="*/ 231 w 320"/>
                  <a:gd name="T75" fmla="*/ 181 h 305"/>
                  <a:gd name="T76" fmla="*/ 204 w 320"/>
                  <a:gd name="T77" fmla="*/ 177 h 305"/>
                  <a:gd name="T78" fmla="*/ 190 w 320"/>
                  <a:gd name="T79" fmla="*/ 159 h 305"/>
                  <a:gd name="T80" fmla="*/ 177 w 320"/>
                  <a:gd name="T81" fmla="*/ 165 h 305"/>
                  <a:gd name="T82" fmla="*/ 169 w 320"/>
                  <a:gd name="T83" fmla="*/ 152 h 305"/>
                  <a:gd name="T84" fmla="*/ 157 w 320"/>
                  <a:gd name="T85" fmla="*/ 149 h 305"/>
                  <a:gd name="T86" fmla="*/ 134 w 320"/>
                  <a:gd name="T87" fmla="*/ 117 h 305"/>
                  <a:gd name="T88" fmla="*/ 128 w 320"/>
                  <a:gd name="T89" fmla="*/ 62 h 305"/>
                  <a:gd name="T90" fmla="*/ 100 w 320"/>
                  <a:gd name="T91" fmla="*/ 1 h 305"/>
                  <a:gd name="T92" fmla="*/ 98 w 320"/>
                  <a:gd name="T93" fmla="*/ 0 h 305"/>
                  <a:gd name="T94" fmla="*/ 87 w 320"/>
                  <a:gd name="T95" fmla="*/ 25 h 305"/>
                  <a:gd name="T96" fmla="*/ 51 w 320"/>
                  <a:gd name="T97" fmla="*/ 35 h 30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20"/>
                  <a:gd name="T148" fmla="*/ 0 h 305"/>
                  <a:gd name="T149" fmla="*/ 320 w 320"/>
                  <a:gd name="T150" fmla="*/ 305 h 30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20" h="305">
                    <a:moveTo>
                      <a:pt x="51" y="35"/>
                    </a:moveTo>
                    <a:cubicBezTo>
                      <a:pt x="51" y="35"/>
                      <a:pt x="51" y="43"/>
                      <a:pt x="50" y="50"/>
                    </a:cubicBezTo>
                    <a:cubicBezTo>
                      <a:pt x="49" y="57"/>
                      <a:pt x="31" y="57"/>
                      <a:pt x="31" y="57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20" y="72"/>
                      <a:pt x="20" y="75"/>
                    </a:cubicBezTo>
                    <a:cubicBezTo>
                      <a:pt x="20" y="78"/>
                      <a:pt x="26" y="88"/>
                      <a:pt x="26" y="106"/>
                    </a:cubicBezTo>
                    <a:cubicBezTo>
                      <a:pt x="26" y="124"/>
                      <a:pt x="14" y="126"/>
                      <a:pt x="14" y="126"/>
                    </a:cubicBezTo>
                    <a:cubicBezTo>
                      <a:pt x="14" y="126"/>
                      <a:pt x="13" y="136"/>
                      <a:pt x="13" y="143"/>
                    </a:cubicBezTo>
                    <a:cubicBezTo>
                      <a:pt x="13" y="150"/>
                      <a:pt x="2" y="149"/>
                      <a:pt x="1" y="157"/>
                    </a:cubicBezTo>
                    <a:cubicBezTo>
                      <a:pt x="0" y="165"/>
                      <a:pt x="6" y="167"/>
                      <a:pt x="6" y="167"/>
                    </a:cubicBezTo>
                    <a:cubicBezTo>
                      <a:pt x="8" y="200"/>
                      <a:pt x="8" y="200"/>
                      <a:pt x="8" y="200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31" y="201"/>
                      <a:pt x="36" y="191"/>
                      <a:pt x="41" y="191"/>
                    </a:cubicBezTo>
                    <a:cubicBezTo>
                      <a:pt x="46" y="191"/>
                      <a:pt x="49" y="211"/>
                      <a:pt x="57" y="211"/>
                    </a:cubicBezTo>
                    <a:cubicBezTo>
                      <a:pt x="65" y="211"/>
                      <a:pt x="73" y="170"/>
                      <a:pt x="73" y="170"/>
                    </a:cubicBezTo>
                    <a:cubicBezTo>
                      <a:pt x="73" y="170"/>
                      <a:pt x="85" y="177"/>
                      <a:pt x="89" y="179"/>
                    </a:cubicBezTo>
                    <a:cubicBezTo>
                      <a:pt x="93" y="181"/>
                      <a:pt x="99" y="194"/>
                      <a:pt x="99" y="194"/>
                    </a:cubicBezTo>
                    <a:cubicBezTo>
                      <a:pt x="99" y="194"/>
                      <a:pt x="113" y="194"/>
                      <a:pt x="116" y="194"/>
                    </a:cubicBezTo>
                    <a:cubicBezTo>
                      <a:pt x="119" y="194"/>
                      <a:pt x="128" y="181"/>
                      <a:pt x="128" y="181"/>
                    </a:cubicBezTo>
                    <a:cubicBezTo>
                      <a:pt x="128" y="181"/>
                      <a:pt x="134" y="194"/>
                      <a:pt x="137" y="194"/>
                    </a:cubicBezTo>
                    <a:cubicBezTo>
                      <a:pt x="140" y="194"/>
                      <a:pt x="151" y="187"/>
                      <a:pt x="155" y="187"/>
                    </a:cubicBezTo>
                    <a:cubicBezTo>
                      <a:pt x="159" y="187"/>
                      <a:pt x="165" y="192"/>
                      <a:pt x="165" y="192"/>
                    </a:cubicBezTo>
                    <a:cubicBezTo>
                      <a:pt x="185" y="193"/>
                      <a:pt x="185" y="193"/>
                      <a:pt x="185" y="193"/>
                    </a:cubicBezTo>
                    <a:cubicBezTo>
                      <a:pt x="196" y="207"/>
                      <a:pt x="196" y="207"/>
                      <a:pt x="196" y="207"/>
                    </a:cubicBezTo>
                    <a:cubicBezTo>
                      <a:pt x="196" y="207"/>
                      <a:pt x="208" y="208"/>
                      <a:pt x="216" y="216"/>
                    </a:cubicBezTo>
                    <a:cubicBezTo>
                      <a:pt x="224" y="224"/>
                      <a:pt x="227" y="234"/>
                      <a:pt x="231" y="242"/>
                    </a:cubicBezTo>
                    <a:cubicBezTo>
                      <a:pt x="235" y="250"/>
                      <a:pt x="253" y="252"/>
                      <a:pt x="257" y="257"/>
                    </a:cubicBezTo>
                    <a:cubicBezTo>
                      <a:pt x="261" y="262"/>
                      <a:pt x="261" y="271"/>
                      <a:pt x="262" y="277"/>
                    </a:cubicBezTo>
                    <a:cubicBezTo>
                      <a:pt x="263" y="283"/>
                      <a:pt x="280" y="283"/>
                      <a:pt x="280" y="283"/>
                    </a:cubicBezTo>
                    <a:cubicBezTo>
                      <a:pt x="288" y="295"/>
                      <a:pt x="288" y="295"/>
                      <a:pt x="288" y="295"/>
                    </a:cubicBezTo>
                    <a:cubicBezTo>
                      <a:pt x="304" y="305"/>
                      <a:pt x="304" y="305"/>
                      <a:pt x="304" y="305"/>
                    </a:cubicBezTo>
                    <a:cubicBezTo>
                      <a:pt x="311" y="293"/>
                      <a:pt x="311" y="293"/>
                      <a:pt x="311" y="293"/>
                    </a:cubicBezTo>
                    <a:cubicBezTo>
                      <a:pt x="320" y="287"/>
                      <a:pt x="320" y="287"/>
                      <a:pt x="320" y="287"/>
                    </a:cubicBezTo>
                    <a:cubicBezTo>
                      <a:pt x="312" y="277"/>
                      <a:pt x="304" y="268"/>
                      <a:pt x="304" y="268"/>
                    </a:cubicBezTo>
                    <a:cubicBezTo>
                      <a:pt x="304" y="268"/>
                      <a:pt x="287" y="271"/>
                      <a:pt x="285" y="264"/>
                    </a:cubicBezTo>
                    <a:cubicBezTo>
                      <a:pt x="283" y="257"/>
                      <a:pt x="283" y="239"/>
                      <a:pt x="283" y="239"/>
                    </a:cubicBezTo>
                    <a:cubicBezTo>
                      <a:pt x="283" y="239"/>
                      <a:pt x="244" y="225"/>
                      <a:pt x="241" y="216"/>
                    </a:cubicBezTo>
                    <a:cubicBezTo>
                      <a:pt x="238" y="207"/>
                      <a:pt x="238" y="185"/>
                      <a:pt x="231" y="181"/>
                    </a:cubicBezTo>
                    <a:cubicBezTo>
                      <a:pt x="224" y="177"/>
                      <a:pt x="207" y="181"/>
                      <a:pt x="204" y="177"/>
                    </a:cubicBezTo>
                    <a:cubicBezTo>
                      <a:pt x="201" y="173"/>
                      <a:pt x="190" y="159"/>
                      <a:pt x="190" y="159"/>
                    </a:cubicBez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69" y="152"/>
                      <a:pt x="169" y="152"/>
                      <a:pt x="169" y="152"/>
                    </a:cubicBezTo>
                    <a:cubicBezTo>
                      <a:pt x="157" y="149"/>
                      <a:pt x="157" y="149"/>
                      <a:pt x="157" y="149"/>
                    </a:cubicBezTo>
                    <a:cubicBezTo>
                      <a:pt x="157" y="149"/>
                      <a:pt x="137" y="129"/>
                      <a:pt x="134" y="117"/>
                    </a:cubicBezTo>
                    <a:cubicBezTo>
                      <a:pt x="131" y="105"/>
                      <a:pt x="135" y="85"/>
                      <a:pt x="128" y="62"/>
                    </a:cubicBezTo>
                    <a:cubicBezTo>
                      <a:pt x="121" y="39"/>
                      <a:pt x="100" y="1"/>
                      <a:pt x="100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6" y="9"/>
                      <a:pt x="92" y="21"/>
                      <a:pt x="87" y="25"/>
                    </a:cubicBezTo>
                    <a:cubicBezTo>
                      <a:pt x="78" y="33"/>
                      <a:pt x="51" y="35"/>
                      <a:pt x="51" y="3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5" name="MCShape 107">
                <a:extLst>
                  <a:ext uri="{FF2B5EF4-FFF2-40B4-BE49-F238E27FC236}">
                    <a16:creationId xmlns:a16="http://schemas.microsoft.com/office/drawing/2014/main" id="{29A17184-B14F-4855-8F81-DC7FD8BA9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127" y="3741385"/>
                <a:ext cx="419166" cy="363484"/>
              </a:xfrm>
              <a:custGeom>
                <a:avLst/>
                <a:gdLst>
                  <a:gd name="T0" fmla="*/ 75 w 709"/>
                  <a:gd name="T1" fmla="*/ 428 h 615"/>
                  <a:gd name="T2" fmla="*/ 87 w 709"/>
                  <a:gd name="T3" fmla="*/ 442 h 615"/>
                  <a:gd name="T4" fmla="*/ 96 w 709"/>
                  <a:gd name="T5" fmla="*/ 471 h 615"/>
                  <a:gd name="T6" fmla="*/ 133 w 709"/>
                  <a:gd name="T7" fmla="*/ 513 h 615"/>
                  <a:gd name="T8" fmla="*/ 138 w 709"/>
                  <a:gd name="T9" fmla="*/ 545 h 615"/>
                  <a:gd name="T10" fmla="*/ 191 w 709"/>
                  <a:gd name="T11" fmla="*/ 562 h 615"/>
                  <a:gd name="T12" fmla="*/ 282 w 709"/>
                  <a:gd name="T13" fmla="*/ 606 h 615"/>
                  <a:gd name="T14" fmla="*/ 326 w 709"/>
                  <a:gd name="T15" fmla="*/ 601 h 615"/>
                  <a:gd name="T16" fmla="*/ 360 w 709"/>
                  <a:gd name="T17" fmla="*/ 577 h 615"/>
                  <a:gd name="T18" fmla="*/ 388 w 709"/>
                  <a:gd name="T19" fmla="*/ 585 h 615"/>
                  <a:gd name="T20" fmla="*/ 410 w 709"/>
                  <a:gd name="T21" fmla="*/ 582 h 615"/>
                  <a:gd name="T22" fmla="*/ 434 w 709"/>
                  <a:gd name="T23" fmla="*/ 574 h 615"/>
                  <a:gd name="T24" fmla="*/ 480 w 709"/>
                  <a:gd name="T25" fmla="*/ 549 h 615"/>
                  <a:gd name="T26" fmla="*/ 569 w 709"/>
                  <a:gd name="T27" fmla="*/ 535 h 615"/>
                  <a:gd name="T28" fmla="*/ 661 w 709"/>
                  <a:gd name="T29" fmla="*/ 373 h 615"/>
                  <a:gd name="T30" fmla="*/ 527 w 709"/>
                  <a:gd name="T31" fmla="*/ 320 h 615"/>
                  <a:gd name="T32" fmla="*/ 491 w 709"/>
                  <a:gd name="T33" fmla="*/ 295 h 615"/>
                  <a:gd name="T34" fmla="*/ 462 w 709"/>
                  <a:gd name="T35" fmla="*/ 246 h 615"/>
                  <a:gd name="T36" fmla="*/ 454 w 709"/>
                  <a:gd name="T37" fmla="*/ 230 h 615"/>
                  <a:gd name="T38" fmla="*/ 454 w 709"/>
                  <a:gd name="T39" fmla="*/ 201 h 615"/>
                  <a:gd name="T40" fmla="*/ 419 w 709"/>
                  <a:gd name="T41" fmla="*/ 211 h 615"/>
                  <a:gd name="T42" fmla="*/ 421 w 709"/>
                  <a:gd name="T43" fmla="*/ 164 h 615"/>
                  <a:gd name="T44" fmla="*/ 431 w 709"/>
                  <a:gd name="T45" fmla="*/ 113 h 615"/>
                  <a:gd name="T46" fmla="*/ 408 w 709"/>
                  <a:gd name="T47" fmla="*/ 87 h 615"/>
                  <a:gd name="T48" fmla="*/ 367 w 709"/>
                  <a:gd name="T49" fmla="*/ 46 h 615"/>
                  <a:gd name="T50" fmla="*/ 336 w 709"/>
                  <a:gd name="T51" fmla="*/ 23 h 615"/>
                  <a:gd name="T52" fmla="*/ 306 w 709"/>
                  <a:gd name="T53" fmla="*/ 17 h 615"/>
                  <a:gd name="T54" fmla="*/ 279 w 709"/>
                  <a:gd name="T55" fmla="*/ 11 h 615"/>
                  <a:gd name="T56" fmla="*/ 250 w 709"/>
                  <a:gd name="T57" fmla="*/ 24 h 615"/>
                  <a:gd name="T58" fmla="*/ 224 w 709"/>
                  <a:gd name="T59" fmla="*/ 0 h 615"/>
                  <a:gd name="T60" fmla="*/ 192 w 709"/>
                  <a:gd name="T61" fmla="*/ 21 h 615"/>
                  <a:gd name="T62" fmla="*/ 159 w 709"/>
                  <a:gd name="T63" fmla="*/ 30 h 615"/>
                  <a:gd name="T64" fmla="*/ 143 w 709"/>
                  <a:gd name="T65" fmla="*/ 88 h 615"/>
                  <a:gd name="T66" fmla="*/ 123 w 709"/>
                  <a:gd name="T67" fmla="*/ 116 h 615"/>
                  <a:gd name="T68" fmla="*/ 110 w 709"/>
                  <a:gd name="T69" fmla="*/ 155 h 615"/>
                  <a:gd name="T70" fmla="*/ 96 w 709"/>
                  <a:gd name="T71" fmla="*/ 179 h 615"/>
                  <a:gd name="T72" fmla="*/ 90 w 709"/>
                  <a:gd name="T73" fmla="*/ 221 h 615"/>
                  <a:gd name="T74" fmla="*/ 71 w 709"/>
                  <a:gd name="T75" fmla="*/ 215 h 615"/>
                  <a:gd name="T76" fmla="*/ 65 w 709"/>
                  <a:gd name="T77" fmla="*/ 256 h 615"/>
                  <a:gd name="T78" fmla="*/ 54 w 709"/>
                  <a:gd name="T79" fmla="*/ 305 h 615"/>
                  <a:gd name="T80" fmla="*/ 36 w 709"/>
                  <a:gd name="T81" fmla="*/ 351 h 615"/>
                  <a:gd name="T82" fmla="*/ 8 w 709"/>
                  <a:gd name="T83" fmla="*/ 345 h 615"/>
                  <a:gd name="T84" fmla="*/ 3 w 709"/>
                  <a:gd name="T85" fmla="*/ 383 h 615"/>
                  <a:gd name="T86" fmla="*/ 55 w 709"/>
                  <a:gd name="T87" fmla="*/ 405 h 615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09"/>
                  <a:gd name="T133" fmla="*/ 0 h 615"/>
                  <a:gd name="T134" fmla="*/ 709 w 709"/>
                  <a:gd name="T135" fmla="*/ 615 h 615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09" h="615">
                    <a:moveTo>
                      <a:pt x="60" y="425"/>
                    </a:moveTo>
                    <a:cubicBezTo>
                      <a:pt x="64" y="430"/>
                      <a:pt x="75" y="428"/>
                      <a:pt x="75" y="428"/>
                    </a:cubicBezTo>
                    <a:cubicBezTo>
                      <a:pt x="78" y="441"/>
                      <a:pt x="78" y="441"/>
                      <a:pt x="78" y="441"/>
                    </a:cubicBezTo>
                    <a:cubicBezTo>
                      <a:pt x="87" y="442"/>
                      <a:pt x="87" y="442"/>
                      <a:pt x="87" y="442"/>
                    </a:cubicBezTo>
                    <a:cubicBezTo>
                      <a:pt x="89" y="467"/>
                      <a:pt x="89" y="467"/>
                      <a:pt x="89" y="467"/>
                    </a:cubicBezTo>
                    <a:cubicBezTo>
                      <a:pt x="96" y="471"/>
                      <a:pt x="96" y="471"/>
                      <a:pt x="96" y="471"/>
                    </a:cubicBezTo>
                    <a:cubicBezTo>
                      <a:pt x="96" y="471"/>
                      <a:pt x="98" y="498"/>
                      <a:pt x="108" y="506"/>
                    </a:cubicBezTo>
                    <a:cubicBezTo>
                      <a:pt x="118" y="514"/>
                      <a:pt x="128" y="505"/>
                      <a:pt x="133" y="513"/>
                    </a:cubicBezTo>
                    <a:cubicBezTo>
                      <a:pt x="138" y="521"/>
                      <a:pt x="137" y="535"/>
                      <a:pt x="137" y="535"/>
                    </a:cubicBezTo>
                    <a:cubicBezTo>
                      <a:pt x="138" y="545"/>
                      <a:pt x="138" y="545"/>
                      <a:pt x="138" y="545"/>
                    </a:cubicBezTo>
                    <a:cubicBezTo>
                      <a:pt x="144" y="560"/>
                      <a:pt x="144" y="560"/>
                      <a:pt x="144" y="560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242" y="602"/>
                      <a:pt x="242" y="602"/>
                      <a:pt x="242" y="602"/>
                    </a:cubicBezTo>
                    <a:cubicBezTo>
                      <a:pt x="242" y="602"/>
                      <a:pt x="269" y="604"/>
                      <a:pt x="282" y="606"/>
                    </a:cubicBezTo>
                    <a:cubicBezTo>
                      <a:pt x="295" y="608"/>
                      <a:pt x="313" y="615"/>
                      <a:pt x="313" y="615"/>
                    </a:cubicBezTo>
                    <a:cubicBezTo>
                      <a:pt x="326" y="601"/>
                      <a:pt x="326" y="601"/>
                      <a:pt x="326" y="601"/>
                    </a:cubicBezTo>
                    <a:cubicBezTo>
                      <a:pt x="326" y="601"/>
                      <a:pt x="324" y="597"/>
                      <a:pt x="331" y="591"/>
                    </a:cubicBezTo>
                    <a:cubicBezTo>
                      <a:pt x="338" y="585"/>
                      <a:pt x="360" y="577"/>
                      <a:pt x="360" y="577"/>
                    </a:cubicBezTo>
                    <a:cubicBezTo>
                      <a:pt x="372" y="568"/>
                      <a:pt x="372" y="568"/>
                      <a:pt x="372" y="568"/>
                    </a:cubicBezTo>
                    <a:cubicBezTo>
                      <a:pt x="388" y="585"/>
                      <a:pt x="388" y="585"/>
                      <a:pt x="388" y="585"/>
                    </a:cubicBezTo>
                    <a:cubicBezTo>
                      <a:pt x="406" y="586"/>
                      <a:pt x="406" y="586"/>
                      <a:pt x="406" y="586"/>
                    </a:cubicBezTo>
                    <a:cubicBezTo>
                      <a:pt x="410" y="582"/>
                      <a:pt x="410" y="582"/>
                      <a:pt x="410" y="582"/>
                    </a:cubicBezTo>
                    <a:cubicBezTo>
                      <a:pt x="426" y="588"/>
                      <a:pt x="426" y="588"/>
                      <a:pt x="426" y="588"/>
                    </a:cubicBezTo>
                    <a:cubicBezTo>
                      <a:pt x="426" y="588"/>
                      <a:pt x="426" y="577"/>
                      <a:pt x="434" y="574"/>
                    </a:cubicBezTo>
                    <a:cubicBezTo>
                      <a:pt x="442" y="571"/>
                      <a:pt x="467" y="573"/>
                      <a:pt x="473" y="567"/>
                    </a:cubicBezTo>
                    <a:cubicBezTo>
                      <a:pt x="479" y="561"/>
                      <a:pt x="480" y="549"/>
                      <a:pt x="480" y="549"/>
                    </a:cubicBezTo>
                    <a:cubicBezTo>
                      <a:pt x="480" y="549"/>
                      <a:pt x="505" y="537"/>
                      <a:pt x="513" y="535"/>
                    </a:cubicBezTo>
                    <a:cubicBezTo>
                      <a:pt x="521" y="533"/>
                      <a:pt x="569" y="535"/>
                      <a:pt x="569" y="535"/>
                    </a:cubicBezTo>
                    <a:cubicBezTo>
                      <a:pt x="709" y="370"/>
                      <a:pt x="709" y="370"/>
                      <a:pt x="709" y="370"/>
                    </a:cubicBezTo>
                    <a:cubicBezTo>
                      <a:pt x="661" y="373"/>
                      <a:pt x="661" y="373"/>
                      <a:pt x="661" y="373"/>
                    </a:cubicBezTo>
                    <a:cubicBezTo>
                      <a:pt x="661" y="373"/>
                      <a:pt x="628" y="353"/>
                      <a:pt x="609" y="347"/>
                    </a:cubicBezTo>
                    <a:cubicBezTo>
                      <a:pt x="590" y="341"/>
                      <a:pt x="538" y="328"/>
                      <a:pt x="527" y="320"/>
                    </a:cubicBezTo>
                    <a:cubicBezTo>
                      <a:pt x="516" y="312"/>
                      <a:pt x="506" y="295"/>
                      <a:pt x="506" y="295"/>
                    </a:cubicBezTo>
                    <a:cubicBezTo>
                      <a:pt x="491" y="295"/>
                      <a:pt x="491" y="295"/>
                      <a:pt x="491" y="295"/>
                    </a:cubicBezTo>
                    <a:cubicBezTo>
                      <a:pt x="491" y="295"/>
                      <a:pt x="487" y="278"/>
                      <a:pt x="481" y="270"/>
                    </a:cubicBezTo>
                    <a:cubicBezTo>
                      <a:pt x="475" y="262"/>
                      <a:pt x="462" y="246"/>
                      <a:pt x="462" y="246"/>
                    </a:cubicBezTo>
                    <a:cubicBezTo>
                      <a:pt x="463" y="238"/>
                      <a:pt x="463" y="238"/>
                      <a:pt x="463" y="238"/>
                    </a:cubicBezTo>
                    <a:cubicBezTo>
                      <a:pt x="454" y="230"/>
                      <a:pt x="454" y="230"/>
                      <a:pt x="454" y="230"/>
                    </a:cubicBezTo>
                    <a:cubicBezTo>
                      <a:pt x="467" y="210"/>
                      <a:pt x="467" y="210"/>
                      <a:pt x="467" y="210"/>
                    </a:cubicBezTo>
                    <a:cubicBezTo>
                      <a:pt x="463" y="206"/>
                      <a:pt x="458" y="202"/>
                      <a:pt x="454" y="201"/>
                    </a:cubicBezTo>
                    <a:cubicBezTo>
                      <a:pt x="447" y="200"/>
                      <a:pt x="444" y="208"/>
                      <a:pt x="444" y="208"/>
                    </a:cubicBezTo>
                    <a:cubicBezTo>
                      <a:pt x="444" y="208"/>
                      <a:pt x="427" y="212"/>
                      <a:pt x="419" y="211"/>
                    </a:cubicBezTo>
                    <a:cubicBezTo>
                      <a:pt x="411" y="210"/>
                      <a:pt x="408" y="173"/>
                      <a:pt x="408" y="173"/>
                    </a:cubicBezTo>
                    <a:cubicBezTo>
                      <a:pt x="421" y="164"/>
                      <a:pt x="421" y="164"/>
                      <a:pt x="421" y="164"/>
                    </a:cubicBezTo>
                    <a:cubicBezTo>
                      <a:pt x="439" y="125"/>
                      <a:pt x="439" y="125"/>
                      <a:pt x="439" y="125"/>
                    </a:cubicBezTo>
                    <a:cubicBezTo>
                      <a:pt x="431" y="113"/>
                      <a:pt x="431" y="113"/>
                      <a:pt x="431" y="113"/>
                    </a:cubicBezTo>
                    <a:cubicBezTo>
                      <a:pt x="431" y="113"/>
                      <a:pt x="414" y="113"/>
                      <a:pt x="413" y="107"/>
                    </a:cubicBezTo>
                    <a:cubicBezTo>
                      <a:pt x="412" y="101"/>
                      <a:pt x="412" y="92"/>
                      <a:pt x="408" y="87"/>
                    </a:cubicBezTo>
                    <a:cubicBezTo>
                      <a:pt x="404" y="82"/>
                      <a:pt x="386" y="80"/>
                      <a:pt x="382" y="72"/>
                    </a:cubicBezTo>
                    <a:cubicBezTo>
                      <a:pt x="378" y="64"/>
                      <a:pt x="375" y="54"/>
                      <a:pt x="367" y="46"/>
                    </a:cubicBezTo>
                    <a:cubicBezTo>
                      <a:pt x="359" y="38"/>
                      <a:pt x="347" y="37"/>
                      <a:pt x="347" y="37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16" y="22"/>
                      <a:pt x="316" y="22"/>
                      <a:pt x="316" y="22"/>
                    </a:cubicBezTo>
                    <a:cubicBezTo>
                      <a:pt x="316" y="22"/>
                      <a:pt x="310" y="17"/>
                      <a:pt x="306" y="17"/>
                    </a:cubicBezTo>
                    <a:cubicBezTo>
                      <a:pt x="302" y="17"/>
                      <a:pt x="291" y="24"/>
                      <a:pt x="288" y="24"/>
                    </a:cubicBezTo>
                    <a:cubicBezTo>
                      <a:pt x="285" y="24"/>
                      <a:pt x="279" y="11"/>
                      <a:pt x="279" y="11"/>
                    </a:cubicBezTo>
                    <a:cubicBezTo>
                      <a:pt x="279" y="11"/>
                      <a:pt x="270" y="24"/>
                      <a:pt x="267" y="24"/>
                    </a:cubicBezTo>
                    <a:cubicBezTo>
                      <a:pt x="264" y="24"/>
                      <a:pt x="250" y="24"/>
                      <a:pt x="250" y="24"/>
                    </a:cubicBezTo>
                    <a:cubicBezTo>
                      <a:pt x="250" y="24"/>
                      <a:pt x="244" y="11"/>
                      <a:pt x="240" y="9"/>
                    </a:cubicBezTo>
                    <a:cubicBezTo>
                      <a:pt x="236" y="7"/>
                      <a:pt x="224" y="0"/>
                      <a:pt x="224" y="0"/>
                    </a:cubicBezTo>
                    <a:cubicBezTo>
                      <a:pt x="224" y="0"/>
                      <a:pt x="216" y="41"/>
                      <a:pt x="208" y="41"/>
                    </a:cubicBezTo>
                    <a:cubicBezTo>
                      <a:pt x="200" y="41"/>
                      <a:pt x="197" y="21"/>
                      <a:pt x="192" y="21"/>
                    </a:cubicBezTo>
                    <a:cubicBezTo>
                      <a:pt x="187" y="21"/>
                      <a:pt x="182" y="31"/>
                      <a:pt x="182" y="31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60"/>
                      <a:pt x="159" y="60"/>
                      <a:pt x="159" y="60"/>
                    </a:cubicBezTo>
                    <a:cubicBezTo>
                      <a:pt x="159" y="60"/>
                      <a:pt x="143" y="80"/>
                      <a:pt x="143" y="88"/>
                    </a:cubicBezTo>
                    <a:cubicBezTo>
                      <a:pt x="143" y="96"/>
                      <a:pt x="145" y="114"/>
                      <a:pt x="145" y="114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3" y="116"/>
                      <a:pt x="112" y="130"/>
                      <a:pt x="111" y="135"/>
                    </a:cubicBezTo>
                    <a:cubicBezTo>
                      <a:pt x="110" y="140"/>
                      <a:pt x="115" y="150"/>
                      <a:pt x="110" y="155"/>
                    </a:cubicBezTo>
                    <a:cubicBezTo>
                      <a:pt x="105" y="160"/>
                      <a:pt x="94" y="164"/>
                      <a:pt x="94" y="164"/>
                    </a:cubicBezTo>
                    <a:cubicBezTo>
                      <a:pt x="96" y="179"/>
                      <a:pt x="96" y="179"/>
                      <a:pt x="96" y="179"/>
                    </a:cubicBezTo>
                    <a:cubicBezTo>
                      <a:pt x="89" y="190"/>
                      <a:pt x="89" y="190"/>
                      <a:pt x="89" y="190"/>
                    </a:cubicBezTo>
                    <a:cubicBezTo>
                      <a:pt x="89" y="190"/>
                      <a:pt x="96" y="213"/>
                      <a:pt x="90" y="221"/>
                    </a:cubicBezTo>
                    <a:cubicBezTo>
                      <a:pt x="84" y="229"/>
                      <a:pt x="78" y="226"/>
                      <a:pt x="78" y="226"/>
                    </a:cubicBezTo>
                    <a:cubicBezTo>
                      <a:pt x="78" y="226"/>
                      <a:pt x="76" y="215"/>
                      <a:pt x="71" y="215"/>
                    </a:cubicBezTo>
                    <a:cubicBezTo>
                      <a:pt x="66" y="215"/>
                      <a:pt x="60" y="228"/>
                      <a:pt x="60" y="235"/>
                    </a:cubicBezTo>
                    <a:cubicBezTo>
                      <a:pt x="60" y="242"/>
                      <a:pt x="66" y="253"/>
                      <a:pt x="65" y="256"/>
                    </a:cubicBezTo>
                    <a:cubicBezTo>
                      <a:pt x="64" y="259"/>
                      <a:pt x="49" y="270"/>
                      <a:pt x="48" y="278"/>
                    </a:cubicBezTo>
                    <a:cubicBezTo>
                      <a:pt x="47" y="286"/>
                      <a:pt x="54" y="305"/>
                      <a:pt x="54" y="305"/>
                    </a:cubicBezTo>
                    <a:cubicBezTo>
                      <a:pt x="54" y="305"/>
                      <a:pt x="57" y="336"/>
                      <a:pt x="50" y="341"/>
                    </a:cubicBezTo>
                    <a:cubicBezTo>
                      <a:pt x="43" y="346"/>
                      <a:pt x="36" y="351"/>
                      <a:pt x="36" y="351"/>
                    </a:cubicBezTo>
                    <a:cubicBezTo>
                      <a:pt x="31" y="346"/>
                      <a:pt x="31" y="346"/>
                      <a:pt x="31" y="346"/>
                    </a:cubicBezTo>
                    <a:cubicBezTo>
                      <a:pt x="8" y="345"/>
                      <a:pt x="8" y="345"/>
                      <a:pt x="8" y="345"/>
                    </a:cubicBezTo>
                    <a:cubicBezTo>
                      <a:pt x="10" y="361"/>
                      <a:pt x="10" y="361"/>
                      <a:pt x="10" y="361"/>
                    </a:cubicBezTo>
                    <a:cubicBezTo>
                      <a:pt x="10" y="361"/>
                      <a:pt x="0" y="378"/>
                      <a:pt x="3" y="383"/>
                    </a:cubicBezTo>
                    <a:cubicBezTo>
                      <a:pt x="6" y="388"/>
                      <a:pt x="22" y="382"/>
                      <a:pt x="30" y="386"/>
                    </a:cubicBezTo>
                    <a:cubicBezTo>
                      <a:pt x="38" y="390"/>
                      <a:pt x="55" y="405"/>
                      <a:pt x="55" y="405"/>
                    </a:cubicBezTo>
                    <a:cubicBezTo>
                      <a:pt x="55" y="405"/>
                      <a:pt x="56" y="420"/>
                      <a:pt x="60" y="42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6" name="MCShape 108">
                <a:extLst>
                  <a:ext uri="{FF2B5EF4-FFF2-40B4-BE49-F238E27FC236}">
                    <a16:creationId xmlns:a16="http://schemas.microsoft.com/office/drawing/2014/main" id="{DA514AFA-3AFC-43E9-AF7A-35D22CC41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9648" y="3209307"/>
                <a:ext cx="312441" cy="321722"/>
              </a:xfrm>
              <a:custGeom>
                <a:avLst/>
                <a:gdLst>
                  <a:gd name="T0" fmla="*/ 11 w 530"/>
                  <a:gd name="T1" fmla="*/ 13 h 546"/>
                  <a:gd name="T2" fmla="*/ 7 w 530"/>
                  <a:gd name="T3" fmla="*/ 34 h 546"/>
                  <a:gd name="T4" fmla="*/ 17 w 530"/>
                  <a:gd name="T5" fmla="*/ 54 h 546"/>
                  <a:gd name="T6" fmla="*/ 3 w 530"/>
                  <a:gd name="T7" fmla="*/ 82 h 546"/>
                  <a:gd name="T8" fmla="*/ 21 w 530"/>
                  <a:gd name="T9" fmla="*/ 120 h 546"/>
                  <a:gd name="T10" fmla="*/ 34 w 530"/>
                  <a:gd name="T11" fmla="*/ 518 h 546"/>
                  <a:gd name="T12" fmla="*/ 320 w 530"/>
                  <a:gd name="T13" fmla="*/ 522 h 546"/>
                  <a:gd name="T14" fmla="*/ 329 w 530"/>
                  <a:gd name="T15" fmla="*/ 510 h 546"/>
                  <a:gd name="T16" fmla="*/ 334 w 530"/>
                  <a:gd name="T17" fmla="*/ 518 h 546"/>
                  <a:gd name="T18" fmla="*/ 413 w 530"/>
                  <a:gd name="T19" fmla="*/ 521 h 546"/>
                  <a:gd name="T20" fmla="*/ 438 w 530"/>
                  <a:gd name="T21" fmla="*/ 539 h 546"/>
                  <a:gd name="T22" fmla="*/ 460 w 530"/>
                  <a:gd name="T23" fmla="*/ 508 h 546"/>
                  <a:gd name="T24" fmla="*/ 482 w 530"/>
                  <a:gd name="T25" fmla="*/ 505 h 546"/>
                  <a:gd name="T26" fmla="*/ 492 w 530"/>
                  <a:gd name="T27" fmla="*/ 478 h 546"/>
                  <a:gd name="T28" fmla="*/ 509 w 530"/>
                  <a:gd name="T29" fmla="*/ 477 h 546"/>
                  <a:gd name="T30" fmla="*/ 525 w 530"/>
                  <a:gd name="T31" fmla="*/ 462 h 546"/>
                  <a:gd name="T32" fmla="*/ 520 w 530"/>
                  <a:gd name="T33" fmla="*/ 445 h 546"/>
                  <a:gd name="T34" fmla="*/ 518 w 530"/>
                  <a:gd name="T35" fmla="*/ 416 h 546"/>
                  <a:gd name="T36" fmla="*/ 530 w 530"/>
                  <a:gd name="T37" fmla="*/ 415 h 546"/>
                  <a:gd name="T38" fmla="*/ 490 w 530"/>
                  <a:gd name="T39" fmla="*/ 369 h 546"/>
                  <a:gd name="T40" fmla="*/ 469 w 530"/>
                  <a:gd name="T41" fmla="*/ 315 h 546"/>
                  <a:gd name="T42" fmla="*/ 448 w 530"/>
                  <a:gd name="T43" fmla="*/ 288 h 546"/>
                  <a:gd name="T44" fmla="*/ 440 w 530"/>
                  <a:gd name="T45" fmla="*/ 252 h 546"/>
                  <a:gd name="T46" fmla="*/ 415 w 530"/>
                  <a:gd name="T47" fmla="*/ 225 h 546"/>
                  <a:gd name="T48" fmla="*/ 412 w 530"/>
                  <a:gd name="T49" fmla="*/ 204 h 546"/>
                  <a:gd name="T50" fmla="*/ 378 w 530"/>
                  <a:gd name="T51" fmla="*/ 161 h 546"/>
                  <a:gd name="T52" fmla="*/ 368 w 530"/>
                  <a:gd name="T53" fmla="*/ 147 h 546"/>
                  <a:gd name="T54" fmla="*/ 368 w 530"/>
                  <a:gd name="T55" fmla="*/ 126 h 546"/>
                  <a:gd name="T56" fmla="*/ 350 w 530"/>
                  <a:gd name="T57" fmla="*/ 112 h 546"/>
                  <a:gd name="T58" fmla="*/ 361 w 530"/>
                  <a:gd name="T59" fmla="*/ 99 h 546"/>
                  <a:gd name="T60" fmla="*/ 373 w 530"/>
                  <a:gd name="T61" fmla="*/ 107 h 546"/>
                  <a:gd name="T62" fmla="*/ 381 w 530"/>
                  <a:gd name="T63" fmla="*/ 130 h 546"/>
                  <a:gd name="T64" fmla="*/ 395 w 530"/>
                  <a:gd name="T65" fmla="*/ 145 h 546"/>
                  <a:gd name="T66" fmla="*/ 394 w 530"/>
                  <a:gd name="T67" fmla="*/ 162 h 546"/>
                  <a:gd name="T68" fmla="*/ 438 w 530"/>
                  <a:gd name="T69" fmla="*/ 207 h 546"/>
                  <a:gd name="T70" fmla="*/ 456 w 530"/>
                  <a:gd name="T71" fmla="*/ 195 h 546"/>
                  <a:gd name="T72" fmla="*/ 449 w 530"/>
                  <a:gd name="T73" fmla="*/ 183 h 546"/>
                  <a:gd name="T74" fmla="*/ 462 w 530"/>
                  <a:gd name="T75" fmla="*/ 143 h 546"/>
                  <a:gd name="T76" fmla="*/ 471 w 530"/>
                  <a:gd name="T77" fmla="*/ 112 h 546"/>
                  <a:gd name="T78" fmla="*/ 435 w 530"/>
                  <a:gd name="T79" fmla="*/ 19 h 546"/>
                  <a:gd name="T80" fmla="*/ 388 w 530"/>
                  <a:gd name="T81" fmla="*/ 30 h 546"/>
                  <a:gd name="T82" fmla="*/ 373 w 530"/>
                  <a:gd name="T83" fmla="*/ 22 h 546"/>
                  <a:gd name="T84" fmla="*/ 350 w 530"/>
                  <a:gd name="T85" fmla="*/ 26 h 546"/>
                  <a:gd name="T86" fmla="*/ 325 w 530"/>
                  <a:gd name="T87" fmla="*/ 7 h 546"/>
                  <a:gd name="T88" fmla="*/ 288 w 530"/>
                  <a:gd name="T89" fmla="*/ 14 h 546"/>
                  <a:gd name="T90" fmla="*/ 262 w 530"/>
                  <a:gd name="T91" fmla="*/ 11 h 546"/>
                  <a:gd name="T92" fmla="*/ 243 w 530"/>
                  <a:gd name="T93" fmla="*/ 30 h 546"/>
                  <a:gd name="T94" fmla="*/ 227 w 530"/>
                  <a:gd name="T95" fmla="*/ 30 h 546"/>
                  <a:gd name="T96" fmla="*/ 210 w 530"/>
                  <a:gd name="T97" fmla="*/ 43 h 546"/>
                  <a:gd name="T98" fmla="*/ 170 w 530"/>
                  <a:gd name="T99" fmla="*/ 29 h 546"/>
                  <a:gd name="T100" fmla="*/ 140 w 530"/>
                  <a:gd name="T101" fmla="*/ 29 h 546"/>
                  <a:gd name="T102" fmla="*/ 112 w 530"/>
                  <a:gd name="T103" fmla="*/ 13 h 546"/>
                  <a:gd name="T104" fmla="*/ 89 w 530"/>
                  <a:gd name="T105" fmla="*/ 12 h 546"/>
                  <a:gd name="T106" fmla="*/ 60 w 530"/>
                  <a:gd name="T107" fmla="*/ 1 h 546"/>
                  <a:gd name="T108" fmla="*/ 31 w 530"/>
                  <a:gd name="T109" fmla="*/ 6 h 546"/>
                  <a:gd name="T110" fmla="*/ 24 w 530"/>
                  <a:gd name="T111" fmla="*/ 0 h 546"/>
                  <a:gd name="T112" fmla="*/ 11 w 530"/>
                  <a:gd name="T113" fmla="*/ 13 h 54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30"/>
                  <a:gd name="T172" fmla="*/ 0 h 546"/>
                  <a:gd name="T173" fmla="*/ 530 w 530"/>
                  <a:gd name="T174" fmla="*/ 546 h 54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30" h="546">
                    <a:moveTo>
                      <a:pt x="11" y="13"/>
                    </a:moveTo>
                    <a:cubicBezTo>
                      <a:pt x="6" y="16"/>
                      <a:pt x="6" y="30"/>
                      <a:pt x="7" y="34"/>
                    </a:cubicBezTo>
                    <a:cubicBezTo>
                      <a:pt x="8" y="38"/>
                      <a:pt x="20" y="45"/>
                      <a:pt x="17" y="54"/>
                    </a:cubicBezTo>
                    <a:cubicBezTo>
                      <a:pt x="14" y="63"/>
                      <a:pt x="0" y="75"/>
                      <a:pt x="3" y="82"/>
                    </a:cubicBezTo>
                    <a:cubicBezTo>
                      <a:pt x="6" y="89"/>
                      <a:pt x="21" y="107"/>
                      <a:pt x="21" y="120"/>
                    </a:cubicBezTo>
                    <a:cubicBezTo>
                      <a:pt x="21" y="133"/>
                      <a:pt x="34" y="518"/>
                      <a:pt x="34" y="518"/>
                    </a:cubicBezTo>
                    <a:cubicBezTo>
                      <a:pt x="320" y="522"/>
                      <a:pt x="320" y="522"/>
                      <a:pt x="320" y="522"/>
                    </a:cubicBezTo>
                    <a:cubicBezTo>
                      <a:pt x="320" y="522"/>
                      <a:pt x="322" y="512"/>
                      <a:pt x="329" y="510"/>
                    </a:cubicBezTo>
                    <a:cubicBezTo>
                      <a:pt x="336" y="508"/>
                      <a:pt x="334" y="518"/>
                      <a:pt x="334" y="518"/>
                    </a:cubicBezTo>
                    <a:cubicBezTo>
                      <a:pt x="413" y="521"/>
                      <a:pt x="413" y="521"/>
                      <a:pt x="413" y="521"/>
                    </a:cubicBezTo>
                    <a:cubicBezTo>
                      <a:pt x="413" y="521"/>
                      <a:pt x="425" y="546"/>
                      <a:pt x="438" y="539"/>
                    </a:cubicBezTo>
                    <a:cubicBezTo>
                      <a:pt x="451" y="532"/>
                      <a:pt x="450" y="511"/>
                      <a:pt x="460" y="508"/>
                    </a:cubicBezTo>
                    <a:cubicBezTo>
                      <a:pt x="470" y="505"/>
                      <a:pt x="472" y="509"/>
                      <a:pt x="482" y="505"/>
                    </a:cubicBezTo>
                    <a:cubicBezTo>
                      <a:pt x="492" y="501"/>
                      <a:pt x="492" y="478"/>
                      <a:pt x="492" y="478"/>
                    </a:cubicBezTo>
                    <a:cubicBezTo>
                      <a:pt x="509" y="477"/>
                      <a:pt x="509" y="477"/>
                      <a:pt x="509" y="477"/>
                    </a:cubicBezTo>
                    <a:cubicBezTo>
                      <a:pt x="525" y="462"/>
                      <a:pt x="525" y="462"/>
                      <a:pt x="525" y="462"/>
                    </a:cubicBezTo>
                    <a:cubicBezTo>
                      <a:pt x="522" y="456"/>
                      <a:pt x="520" y="450"/>
                      <a:pt x="520" y="445"/>
                    </a:cubicBezTo>
                    <a:cubicBezTo>
                      <a:pt x="519" y="430"/>
                      <a:pt x="518" y="416"/>
                      <a:pt x="518" y="416"/>
                    </a:cubicBezTo>
                    <a:cubicBezTo>
                      <a:pt x="530" y="415"/>
                      <a:pt x="530" y="415"/>
                      <a:pt x="530" y="415"/>
                    </a:cubicBezTo>
                    <a:cubicBezTo>
                      <a:pt x="530" y="415"/>
                      <a:pt x="503" y="397"/>
                      <a:pt x="490" y="369"/>
                    </a:cubicBezTo>
                    <a:cubicBezTo>
                      <a:pt x="477" y="341"/>
                      <a:pt x="478" y="326"/>
                      <a:pt x="469" y="315"/>
                    </a:cubicBezTo>
                    <a:cubicBezTo>
                      <a:pt x="460" y="304"/>
                      <a:pt x="456" y="302"/>
                      <a:pt x="448" y="288"/>
                    </a:cubicBezTo>
                    <a:cubicBezTo>
                      <a:pt x="440" y="274"/>
                      <a:pt x="440" y="252"/>
                      <a:pt x="440" y="252"/>
                    </a:cubicBezTo>
                    <a:cubicBezTo>
                      <a:pt x="415" y="225"/>
                      <a:pt x="415" y="225"/>
                      <a:pt x="415" y="225"/>
                    </a:cubicBezTo>
                    <a:cubicBezTo>
                      <a:pt x="415" y="225"/>
                      <a:pt x="418" y="216"/>
                      <a:pt x="412" y="204"/>
                    </a:cubicBezTo>
                    <a:cubicBezTo>
                      <a:pt x="406" y="192"/>
                      <a:pt x="380" y="170"/>
                      <a:pt x="378" y="161"/>
                    </a:cubicBezTo>
                    <a:cubicBezTo>
                      <a:pt x="376" y="152"/>
                      <a:pt x="368" y="147"/>
                      <a:pt x="368" y="147"/>
                    </a:cubicBezTo>
                    <a:cubicBezTo>
                      <a:pt x="368" y="147"/>
                      <a:pt x="376" y="137"/>
                      <a:pt x="368" y="126"/>
                    </a:cubicBezTo>
                    <a:cubicBezTo>
                      <a:pt x="360" y="115"/>
                      <a:pt x="350" y="112"/>
                      <a:pt x="350" y="112"/>
                    </a:cubicBezTo>
                    <a:cubicBezTo>
                      <a:pt x="361" y="99"/>
                      <a:pt x="361" y="99"/>
                      <a:pt x="361" y="99"/>
                    </a:cubicBezTo>
                    <a:cubicBezTo>
                      <a:pt x="373" y="107"/>
                      <a:pt x="373" y="107"/>
                      <a:pt x="373" y="107"/>
                    </a:cubicBezTo>
                    <a:cubicBezTo>
                      <a:pt x="373" y="107"/>
                      <a:pt x="372" y="124"/>
                      <a:pt x="381" y="130"/>
                    </a:cubicBezTo>
                    <a:cubicBezTo>
                      <a:pt x="390" y="136"/>
                      <a:pt x="395" y="145"/>
                      <a:pt x="395" y="145"/>
                    </a:cubicBezTo>
                    <a:cubicBezTo>
                      <a:pt x="394" y="162"/>
                      <a:pt x="394" y="162"/>
                      <a:pt x="394" y="162"/>
                    </a:cubicBezTo>
                    <a:cubicBezTo>
                      <a:pt x="394" y="162"/>
                      <a:pt x="426" y="214"/>
                      <a:pt x="438" y="207"/>
                    </a:cubicBezTo>
                    <a:cubicBezTo>
                      <a:pt x="450" y="200"/>
                      <a:pt x="456" y="195"/>
                      <a:pt x="456" y="195"/>
                    </a:cubicBezTo>
                    <a:cubicBezTo>
                      <a:pt x="449" y="183"/>
                      <a:pt x="449" y="183"/>
                      <a:pt x="449" y="183"/>
                    </a:cubicBezTo>
                    <a:cubicBezTo>
                      <a:pt x="449" y="183"/>
                      <a:pt x="462" y="157"/>
                      <a:pt x="462" y="143"/>
                    </a:cubicBezTo>
                    <a:cubicBezTo>
                      <a:pt x="462" y="129"/>
                      <a:pt x="471" y="112"/>
                      <a:pt x="471" y="112"/>
                    </a:cubicBezTo>
                    <a:cubicBezTo>
                      <a:pt x="435" y="19"/>
                      <a:pt x="435" y="19"/>
                      <a:pt x="435" y="19"/>
                    </a:cubicBezTo>
                    <a:cubicBezTo>
                      <a:pt x="435" y="19"/>
                      <a:pt x="397" y="34"/>
                      <a:pt x="388" y="30"/>
                    </a:cubicBezTo>
                    <a:cubicBezTo>
                      <a:pt x="379" y="26"/>
                      <a:pt x="373" y="22"/>
                      <a:pt x="373" y="22"/>
                    </a:cubicBezTo>
                    <a:cubicBezTo>
                      <a:pt x="373" y="22"/>
                      <a:pt x="364" y="33"/>
                      <a:pt x="350" y="26"/>
                    </a:cubicBezTo>
                    <a:cubicBezTo>
                      <a:pt x="336" y="19"/>
                      <a:pt x="341" y="10"/>
                      <a:pt x="325" y="7"/>
                    </a:cubicBezTo>
                    <a:cubicBezTo>
                      <a:pt x="309" y="4"/>
                      <a:pt x="288" y="14"/>
                      <a:pt x="288" y="14"/>
                    </a:cubicBezTo>
                    <a:cubicBezTo>
                      <a:pt x="288" y="14"/>
                      <a:pt x="273" y="7"/>
                      <a:pt x="262" y="11"/>
                    </a:cubicBezTo>
                    <a:cubicBezTo>
                      <a:pt x="251" y="15"/>
                      <a:pt x="243" y="30"/>
                      <a:pt x="243" y="30"/>
                    </a:cubicBezTo>
                    <a:cubicBezTo>
                      <a:pt x="243" y="30"/>
                      <a:pt x="231" y="28"/>
                      <a:pt x="227" y="30"/>
                    </a:cubicBezTo>
                    <a:cubicBezTo>
                      <a:pt x="223" y="32"/>
                      <a:pt x="210" y="43"/>
                      <a:pt x="210" y="43"/>
                    </a:cubicBezTo>
                    <a:cubicBezTo>
                      <a:pt x="210" y="43"/>
                      <a:pt x="176" y="29"/>
                      <a:pt x="170" y="29"/>
                    </a:cubicBezTo>
                    <a:cubicBezTo>
                      <a:pt x="164" y="29"/>
                      <a:pt x="153" y="32"/>
                      <a:pt x="140" y="29"/>
                    </a:cubicBezTo>
                    <a:cubicBezTo>
                      <a:pt x="127" y="26"/>
                      <a:pt x="125" y="14"/>
                      <a:pt x="112" y="13"/>
                    </a:cubicBezTo>
                    <a:cubicBezTo>
                      <a:pt x="99" y="12"/>
                      <a:pt x="89" y="12"/>
                      <a:pt x="89" y="12"/>
                    </a:cubicBezTo>
                    <a:cubicBezTo>
                      <a:pt x="89" y="12"/>
                      <a:pt x="69" y="1"/>
                      <a:pt x="60" y="1"/>
                    </a:cubicBezTo>
                    <a:cubicBezTo>
                      <a:pt x="51" y="1"/>
                      <a:pt x="46" y="15"/>
                      <a:pt x="31" y="6"/>
                    </a:cubicBezTo>
                    <a:cubicBezTo>
                      <a:pt x="28" y="4"/>
                      <a:pt x="26" y="2"/>
                      <a:pt x="24" y="0"/>
                    </a:cubicBezTo>
                    <a:cubicBezTo>
                      <a:pt x="21" y="4"/>
                      <a:pt x="15" y="11"/>
                      <a:pt x="11" y="1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7" name="MCShape 109">
                <a:extLst>
                  <a:ext uri="{FF2B5EF4-FFF2-40B4-BE49-F238E27FC236}">
                    <a16:creationId xmlns:a16="http://schemas.microsoft.com/office/drawing/2014/main" id="{A0B42652-5E04-4F8D-9E30-AE74D7A55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5015" y="3798614"/>
                <a:ext cx="214996" cy="361937"/>
              </a:xfrm>
              <a:custGeom>
                <a:avLst/>
                <a:gdLst>
                  <a:gd name="T0" fmla="*/ 275 w 363"/>
                  <a:gd name="T1" fmla="*/ 0 h 614"/>
                  <a:gd name="T2" fmla="*/ 263 w 363"/>
                  <a:gd name="T3" fmla="*/ 43 h 614"/>
                  <a:gd name="T4" fmla="*/ 282 w 363"/>
                  <a:gd name="T5" fmla="*/ 70 h 614"/>
                  <a:gd name="T6" fmla="*/ 256 w 363"/>
                  <a:gd name="T7" fmla="*/ 100 h 614"/>
                  <a:gd name="T8" fmla="*/ 236 w 363"/>
                  <a:gd name="T9" fmla="*/ 136 h 614"/>
                  <a:gd name="T10" fmla="*/ 227 w 363"/>
                  <a:gd name="T11" fmla="*/ 159 h 614"/>
                  <a:gd name="T12" fmla="*/ 207 w 363"/>
                  <a:gd name="T13" fmla="*/ 198 h 614"/>
                  <a:gd name="T14" fmla="*/ 181 w 363"/>
                  <a:gd name="T15" fmla="*/ 250 h 614"/>
                  <a:gd name="T16" fmla="*/ 157 w 363"/>
                  <a:gd name="T17" fmla="*/ 302 h 614"/>
                  <a:gd name="T18" fmla="*/ 140 w 363"/>
                  <a:gd name="T19" fmla="*/ 337 h 614"/>
                  <a:gd name="T20" fmla="*/ 119 w 363"/>
                  <a:gd name="T21" fmla="*/ 342 h 614"/>
                  <a:gd name="T22" fmla="*/ 95 w 363"/>
                  <a:gd name="T23" fmla="*/ 334 h 614"/>
                  <a:gd name="T24" fmla="*/ 56 w 363"/>
                  <a:gd name="T25" fmla="*/ 353 h 614"/>
                  <a:gd name="T26" fmla="*/ 13 w 363"/>
                  <a:gd name="T27" fmla="*/ 428 h 614"/>
                  <a:gd name="T28" fmla="*/ 4 w 363"/>
                  <a:gd name="T29" fmla="*/ 449 h 614"/>
                  <a:gd name="T30" fmla="*/ 18 w 363"/>
                  <a:gd name="T31" fmla="*/ 455 h 614"/>
                  <a:gd name="T32" fmla="*/ 44 w 363"/>
                  <a:gd name="T33" fmla="*/ 497 h 614"/>
                  <a:gd name="T34" fmla="*/ 45 w 363"/>
                  <a:gd name="T35" fmla="*/ 504 h 614"/>
                  <a:gd name="T36" fmla="*/ 70 w 363"/>
                  <a:gd name="T37" fmla="*/ 527 h 614"/>
                  <a:gd name="T38" fmla="*/ 61 w 363"/>
                  <a:gd name="T39" fmla="*/ 559 h 614"/>
                  <a:gd name="T40" fmla="*/ 68 w 363"/>
                  <a:gd name="T41" fmla="*/ 586 h 614"/>
                  <a:gd name="T42" fmla="*/ 144 w 363"/>
                  <a:gd name="T43" fmla="*/ 576 h 614"/>
                  <a:gd name="T44" fmla="*/ 175 w 363"/>
                  <a:gd name="T45" fmla="*/ 585 h 614"/>
                  <a:gd name="T46" fmla="*/ 195 w 363"/>
                  <a:gd name="T47" fmla="*/ 581 h 614"/>
                  <a:gd name="T48" fmla="*/ 227 w 363"/>
                  <a:gd name="T49" fmla="*/ 590 h 614"/>
                  <a:gd name="T50" fmla="*/ 320 w 363"/>
                  <a:gd name="T51" fmla="*/ 600 h 614"/>
                  <a:gd name="T52" fmla="*/ 358 w 363"/>
                  <a:gd name="T53" fmla="*/ 614 h 614"/>
                  <a:gd name="T54" fmla="*/ 363 w 363"/>
                  <a:gd name="T55" fmla="*/ 581 h 614"/>
                  <a:gd name="T56" fmla="*/ 358 w 363"/>
                  <a:gd name="T57" fmla="*/ 556 h 614"/>
                  <a:gd name="T58" fmla="*/ 332 w 363"/>
                  <a:gd name="T59" fmla="*/ 526 h 614"/>
                  <a:gd name="T60" fmla="*/ 313 w 363"/>
                  <a:gd name="T61" fmla="*/ 472 h 614"/>
                  <a:gd name="T62" fmla="*/ 294 w 363"/>
                  <a:gd name="T63" fmla="*/ 427 h 614"/>
                  <a:gd name="T64" fmla="*/ 289 w 363"/>
                  <a:gd name="T65" fmla="*/ 412 h 614"/>
                  <a:gd name="T66" fmla="*/ 276 w 363"/>
                  <a:gd name="T67" fmla="*/ 378 h 614"/>
                  <a:gd name="T68" fmla="*/ 304 w 363"/>
                  <a:gd name="T69" fmla="*/ 338 h 614"/>
                  <a:gd name="T70" fmla="*/ 312 w 363"/>
                  <a:gd name="T71" fmla="*/ 318 h 614"/>
                  <a:gd name="T72" fmla="*/ 317 w 363"/>
                  <a:gd name="T73" fmla="*/ 243 h 614"/>
                  <a:gd name="T74" fmla="*/ 261 w 363"/>
                  <a:gd name="T75" fmla="*/ 174 h 614"/>
                  <a:gd name="T76" fmla="*/ 336 w 363"/>
                  <a:gd name="T77" fmla="*/ 165 h 614"/>
                  <a:gd name="T78" fmla="*/ 304 w 363"/>
                  <a:gd name="T79" fmla="*/ 91 h 614"/>
                  <a:gd name="T80" fmla="*/ 296 w 363"/>
                  <a:gd name="T81" fmla="*/ 52 h 614"/>
                  <a:gd name="T82" fmla="*/ 280 w 363"/>
                  <a:gd name="T83" fmla="*/ 17 h 6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63"/>
                  <a:gd name="T127" fmla="*/ 0 h 614"/>
                  <a:gd name="T128" fmla="*/ 363 w 363"/>
                  <a:gd name="T129" fmla="*/ 614 h 6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63" h="614">
                    <a:moveTo>
                      <a:pt x="280" y="17"/>
                    </a:moveTo>
                    <a:cubicBezTo>
                      <a:pt x="276" y="12"/>
                      <a:pt x="275" y="0"/>
                      <a:pt x="275" y="0"/>
                    </a:cubicBezTo>
                    <a:cubicBezTo>
                      <a:pt x="259" y="2"/>
                      <a:pt x="259" y="2"/>
                      <a:pt x="259" y="2"/>
                    </a:cubicBezTo>
                    <a:cubicBezTo>
                      <a:pt x="260" y="11"/>
                      <a:pt x="261" y="40"/>
                      <a:pt x="263" y="43"/>
                    </a:cubicBezTo>
                    <a:cubicBezTo>
                      <a:pt x="265" y="46"/>
                      <a:pt x="284" y="35"/>
                      <a:pt x="285" y="46"/>
                    </a:cubicBezTo>
                    <a:cubicBezTo>
                      <a:pt x="286" y="57"/>
                      <a:pt x="282" y="70"/>
                      <a:pt x="282" y="70"/>
                    </a:cubicBezTo>
                    <a:cubicBezTo>
                      <a:pt x="282" y="70"/>
                      <a:pt x="290" y="79"/>
                      <a:pt x="280" y="88"/>
                    </a:cubicBezTo>
                    <a:cubicBezTo>
                      <a:pt x="270" y="97"/>
                      <a:pt x="256" y="100"/>
                      <a:pt x="256" y="100"/>
                    </a:cubicBezTo>
                    <a:cubicBezTo>
                      <a:pt x="256" y="100"/>
                      <a:pt x="248" y="117"/>
                      <a:pt x="247" y="120"/>
                    </a:cubicBezTo>
                    <a:cubicBezTo>
                      <a:pt x="246" y="123"/>
                      <a:pt x="236" y="136"/>
                      <a:pt x="236" y="136"/>
                    </a:cubicBezTo>
                    <a:cubicBezTo>
                      <a:pt x="234" y="155"/>
                      <a:pt x="234" y="155"/>
                      <a:pt x="234" y="155"/>
                    </a:cubicBezTo>
                    <a:cubicBezTo>
                      <a:pt x="227" y="159"/>
                      <a:pt x="227" y="159"/>
                      <a:pt x="227" y="159"/>
                    </a:cubicBezTo>
                    <a:cubicBezTo>
                      <a:pt x="227" y="159"/>
                      <a:pt x="229" y="180"/>
                      <a:pt x="224" y="189"/>
                    </a:cubicBezTo>
                    <a:cubicBezTo>
                      <a:pt x="219" y="198"/>
                      <a:pt x="209" y="191"/>
                      <a:pt x="207" y="198"/>
                    </a:cubicBezTo>
                    <a:cubicBezTo>
                      <a:pt x="205" y="205"/>
                      <a:pt x="210" y="223"/>
                      <a:pt x="205" y="233"/>
                    </a:cubicBezTo>
                    <a:cubicBezTo>
                      <a:pt x="200" y="243"/>
                      <a:pt x="181" y="250"/>
                      <a:pt x="181" y="250"/>
                    </a:cubicBezTo>
                    <a:cubicBezTo>
                      <a:pt x="173" y="282"/>
                      <a:pt x="173" y="282"/>
                      <a:pt x="173" y="282"/>
                    </a:cubicBezTo>
                    <a:cubicBezTo>
                      <a:pt x="157" y="302"/>
                      <a:pt x="157" y="302"/>
                      <a:pt x="157" y="302"/>
                    </a:cubicBezTo>
                    <a:cubicBezTo>
                      <a:pt x="157" y="302"/>
                      <a:pt x="161" y="316"/>
                      <a:pt x="156" y="322"/>
                    </a:cubicBezTo>
                    <a:cubicBezTo>
                      <a:pt x="151" y="328"/>
                      <a:pt x="140" y="337"/>
                      <a:pt x="140" y="337"/>
                    </a:cubicBezTo>
                    <a:cubicBezTo>
                      <a:pt x="140" y="337"/>
                      <a:pt x="140" y="358"/>
                      <a:pt x="128" y="358"/>
                    </a:cubicBezTo>
                    <a:cubicBezTo>
                      <a:pt x="116" y="358"/>
                      <a:pt x="119" y="342"/>
                      <a:pt x="119" y="342"/>
                    </a:cubicBezTo>
                    <a:cubicBezTo>
                      <a:pt x="119" y="342"/>
                      <a:pt x="105" y="318"/>
                      <a:pt x="98" y="318"/>
                    </a:cubicBezTo>
                    <a:cubicBezTo>
                      <a:pt x="91" y="318"/>
                      <a:pt x="104" y="332"/>
                      <a:pt x="95" y="334"/>
                    </a:cubicBezTo>
                    <a:cubicBezTo>
                      <a:pt x="86" y="336"/>
                      <a:pt x="78" y="323"/>
                      <a:pt x="72" y="328"/>
                    </a:cubicBezTo>
                    <a:cubicBezTo>
                      <a:pt x="66" y="333"/>
                      <a:pt x="56" y="353"/>
                      <a:pt x="56" y="353"/>
                    </a:cubicBezTo>
                    <a:cubicBezTo>
                      <a:pt x="13" y="390"/>
                      <a:pt x="13" y="390"/>
                      <a:pt x="13" y="390"/>
                    </a:cubicBezTo>
                    <a:cubicBezTo>
                      <a:pt x="13" y="390"/>
                      <a:pt x="15" y="422"/>
                      <a:pt x="13" y="428"/>
                    </a:cubicBezTo>
                    <a:cubicBezTo>
                      <a:pt x="11" y="434"/>
                      <a:pt x="4" y="449"/>
                      <a:pt x="4" y="449"/>
                    </a:cubicBezTo>
                    <a:cubicBezTo>
                      <a:pt x="4" y="449"/>
                      <a:pt x="4" y="449"/>
                      <a:pt x="4" y="449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18" y="455"/>
                      <a:pt x="18" y="455"/>
                      <a:pt x="18" y="455"/>
                    </a:cubicBezTo>
                    <a:cubicBezTo>
                      <a:pt x="18" y="455"/>
                      <a:pt x="17" y="477"/>
                      <a:pt x="27" y="486"/>
                    </a:cubicBezTo>
                    <a:cubicBezTo>
                      <a:pt x="37" y="495"/>
                      <a:pt x="44" y="497"/>
                      <a:pt x="44" y="497"/>
                    </a:cubicBezTo>
                    <a:cubicBezTo>
                      <a:pt x="58" y="484"/>
                      <a:pt x="58" y="484"/>
                      <a:pt x="58" y="484"/>
                    </a:cubicBezTo>
                    <a:cubicBezTo>
                      <a:pt x="45" y="504"/>
                      <a:pt x="45" y="504"/>
                      <a:pt x="45" y="504"/>
                    </a:cubicBezTo>
                    <a:cubicBezTo>
                      <a:pt x="57" y="522"/>
                      <a:pt x="57" y="522"/>
                      <a:pt x="57" y="522"/>
                    </a:cubicBezTo>
                    <a:cubicBezTo>
                      <a:pt x="70" y="527"/>
                      <a:pt x="70" y="527"/>
                      <a:pt x="70" y="527"/>
                    </a:cubicBezTo>
                    <a:cubicBezTo>
                      <a:pt x="68" y="557"/>
                      <a:pt x="68" y="557"/>
                      <a:pt x="68" y="557"/>
                    </a:cubicBezTo>
                    <a:cubicBezTo>
                      <a:pt x="61" y="559"/>
                      <a:pt x="61" y="559"/>
                      <a:pt x="61" y="559"/>
                    </a:cubicBezTo>
                    <a:cubicBezTo>
                      <a:pt x="62" y="580"/>
                      <a:pt x="62" y="580"/>
                      <a:pt x="62" y="580"/>
                    </a:cubicBezTo>
                    <a:cubicBezTo>
                      <a:pt x="68" y="586"/>
                      <a:pt x="68" y="586"/>
                      <a:pt x="68" y="586"/>
                    </a:cubicBezTo>
                    <a:cubicBezTo>
                      <a:pt x="132" y="586"/>
                      <a:pt x="132" y="586"/>
                      <a:pt x="132" y="586"/>
                    </a:cubicBezTo>
                    <a:cubicBezTo>
                      <a:pt x="144" y="576"/>
                      <a:pt x="144" y="576"/>
                      <a:pt x="144" y="576"/>
                    </a:cubicBezTo>
                    <a:cubicBezTo>
                      <a:pt x="154" y="585"/>
                      <a:pt x="154" y="585"/>
                      <a:pt x="154" y="585"/>
                    </a:cubicBezTo>
                    <a:cubicBezTo>
                      <a:pt x="175" y="585"/>
                      <a:pt x="175" y="585"/>
                      <a:pt x="175" y="585"/>
                    </a:cubicBezTo>
                    <a:cubicBezTo>
                      <a:pt x="175" y="585"/>
                      <a:pt x="180" y="577"/>
                      <a:pt x="184" y="577"/>
                    </a:cubicBezTo>
                    <a:cubicBezTo>
                      <a:pt x="188" y="577"/>
                      <a:pt x="195" y="581"/>
                      <a:pt x="195" y="581"/>
                    </a:cubicBezTo>
                    <a:cubicBezTo>
                      <a:pt x="227" y="580"/>
                      <a:pt x="227" y="580"/>
                      <a:pt x="227" y="580"/>
                    </a:cubicBezTo>
                    <a:cubicBezTo>
                      <a:pt x="227" y="590"/>
                      <a:pt x="227" y="590"/>
                      <a:pt x="227" y="590"/>
                    </a:cubicBezTo>
                    <a:cubicBezTo>
                      <a:pt x="227" y="590"/>
                      <a:pt x="282" y="587"/>
                      <a:pt x="287" y="587"/>
                    </a:cubicBezTo>
                    <a:cubicBezTo>
                      <a:pt x="292" y="587"/>
                      <a:pt x="320" y="600"/>
                      <a:pt x="320" y="600"/>
                    </a:cubicBezTo>
                    <a:cubicBezTo>
                      <a:pt x="340" y="599"/>
                      <a:pt x="340" y="599"/>
                      <a:pt x="340" y="599"/>
                    </a:cubicBezTo>
                    <a:cubicBezTo>
                      <a:pt x="358" y="614"/>
                      <a:pt x="358" y="614"/>
                      <a:pt x="358" y="614"/>
                    </a:cubicBezTo>
                    <a:cubicBezTo>
                      <a:pt x="359" y="587"/>
                      <a:pt x="359" y="587"/>
                      <a:pt x="359" y="587"/>
                    </a:cubicBezTo>
                    <a:cubicBezTo>
                      <a:pt x="363" y="581"/>
                      <a:pt x="363" y="581"/>
                      <a:pt x="363" y="581"/>
                    </a:cubicBezTo>
                    <a:cubicBezTo>
                      <a:pt x="358" y="575"/>
                      <a:pt x="358" y="575"/>
                      <a:pt x="358" y="575"/>
                    </a:cubicBezTo>
                    <a:cubicBezTo>
                      <a:pt x="358" y="556"/>
                      <a:pt x="358" y="556"/>
                      <a:pt x="358" y="556"/>
                    </a:cubicBezTo>
                    <a:cubicBezTo>
                      <a:pt x="354" y="542"/>
                      <a:pt x="354" y="542"/>
                      <a:pt x="354" y="542"/>
                    </a:cubicBezTo>
                    <a:cubicBezTo>
                      <a:pt x="354" y="542"/>
                      <a:pt x="342" y="534"/>
                      <a:pt x="332" y="526"/>
                    </a:cubicBezTo>
                    <a:cubicBezTo>
                      <a:pt x="322" y="518"/>
                      <a:pt x="311" y="495"/>
                      <a:pt x="311" y="495"/>
                    </a:cubicBezTo>
                    <a:cubicBezTo>
                      <a:pt x="311" y="495"/>
                      <a:pt x="315" y="475"/>
                      <a:pt x="313" y="472"/>
                    </a:cubicBezTo>
                    <a:cubicBezTo>
                      <a:pt x="311" y="469"/>
                      <a:pt x="294" y="458"/>
                      <a:pt x="294" y="458"/>
                    </a:cubicBezTo>
                    <a:cubicBezTo>
                      <a:pt x="294" y="427"/>
                      <a:pt x="294" y="427"/>
                      <a:pt x="294" y="427"/>
                    </a:cubicBezTo>
                    <a:cubicBezTo>
                      <a:pt x="282" y="420"/>
                      <a:pt x="282" y="420"/>
                      <a:pt x="282" y="420"/>
                    </a:cubicBezTo>
                    <a:cubicBezTo>
                      <a:pt x="289" y="412"/>
                      <a:pt x="289" y="412"/>
                      <a:pt x="289" y="412"/>
                    </a:cubicBezTo>
                    <a:cubicBezTo>
                      <a:pt x="290" y="387"/>
                      <a:pt x="290" y="387"/>
                      <a:pt x="290" y="387"/>
                    </a:cubicBezTo>
                    <a:cubicBezTo>
                      <a:pt x="290" y="387"/>
                      <a:pt x="275" y="386"/>
                      <a:pt x="276" y="378"/>
                    </a:cubicBezTo>
                    <a:cubicBezTo>
                      <a:pt x="277" y="370"/>
                      <a:pt x="299" y="363"/>
                      <a:pt x="299" y="363"/>
                    </a:cubicBezTo>
                    <a:cubicBezTo>
                      <a:pt x="304" y="338"/>
                      <a:pt x="304" y="338"/>
                      <a:pt x="304" y="338"/>
                    </a:cubicBezTo>
                    <a:cubicBezTo>
                      <a:pt x="310" y="338"/>
                      <a:pt x="310" y="338"/>
                      <a:pt x="310" y="338"/>
                    </a:cubicBezTo>
                    <a:cubicBezTo>
                      <a:pt x="310" y="338"/>
                      <a:pt x="311" y="326"/>
                      <a:pt x="312" y="318"/>
                    </a:cubicBezTo>
                    <a:cubicBezTo>
                      <a:pt x="313" y="310"/>
                      <a:pt x="331" y="300"/>
                      <a:pt x="331" y="300"/>
                    </a:cubicBezTo>
                    <a:cubicBezTo>
                      <a:pt x="331" y="300"/>
                      <a:pt x="326" y="253"/>
                      <a:pt x="317" y="243"/>
                    </a:cubicBezTo>
                    <a:cubicBezTo>
                      <a:pt x="308" y="233"/>
                      <a:pt x="287" y="224"/>
                      <a:pt x="279" y="216"/>
                    </a:cubicBezTo>
                    <a:cubicBezTo>
                      <a:pt x="271" y="208"/>
                      <a:pt x="256" y="187"/>
                      <a:pt x="261" y="174"/>
                    </a:cubicBezTo>
                    <a:cubicBezTo>
                      <a:pt x="266" y="161"/>
                      <a:pt x="306" y="168"/>
                      <a:pt x="314" y="167"/>
                    </a:cubicBezTo>
                    <a:cubicBezTo>
                      <a:pt x="322" y="166"/>
                      <a:pt x="336" y="165"/>
                      <a:pt x="336" y="165"/>
                    </a:cubicBezTo>
                    <a:cubicBezTo>
                      <a:pt x="336" y="165"/>
                      <a:pt x="315" y="147"/>
                      <a:pt x="310" y="133"/>
                    </a:cubicBezTo>
                    <a:cubicBezTo>
                      <a:pt x="305" y="119"/>
                      <a:pt x="304" y="91"/>
                      <a:pt x="304" y="91"/>
                    </a:cubicBezTo>
                    <a:cubicBezTo>
                      <a:pt x="304" y="91"/>
                      <a:pt x="310" y="81"/>
                      <a:pt x="310" y="70"/>
                    </a:cubicBezTo>
                    <a:cubicBezTo>
                      <a:pt x="310" y="59"/>
                      <a:pt x="296" y="52"/>
                      <a:pt x="296" y="52"/>
                    </a:cubicBezTo>
                    <a:cubicBezTo>
                      <a:pt x="300" y="25"/>
                      <a:pt x="300" y="25"/>
                      <a:pt x="300" y="25"/>
                    </a:cubicBezTo>
                    <a:cubicBezTo>
                      <a:pt x="300" y="25"/>
                      <a:pt x="284" y="22"/>
                      <a:pt x="280" y="1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8" name="MCShape 110">
                <a:extLst>
                  <a:ext uri="{FF2B5EF4-FFF2-40B4-BE49-F238E27FC236}">
                    <a16:creationId xmlns:a16="http://schemas.microsoft.com/office/drawing/2014/main" id="{851D2969-4891-4C67-901E-873A1B6AE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801" y="3076287"/>
                <a:ext cx="332549" cy="261400"/>
              </a:xfrm>
              <a:custGeom>
                <a:avLst/>
                <a:gdLst>
                  <a:gd name="T0" fmla="*/ 547 w 565"/>
                  <a:gd name="T1" fmla="*/ 165 h 438"/>
                  <a:gd name="T2" fmla="*/ 550 w 565"/>
                  <a:gd name="T3" fmla="*/ 145 h 438"/>
                  <a:gd name="T4" fmla="*/ 536 w 565"/>
                  <a:gd name="T5" fmla="*/ 145 h 438"/>
                  <a:gd name="T6" fmla="*/ 543 w 565"/>
                  <a:gd name="T7" fmla="*/ 124 h 438"/>
                  <a:gd name="T8" fmla="*/ 537 w 565"/>
                  <a:gd name="T9" fmla="*/ 113 h 438"/>
                  <a:gd name="T10" fmla="*/ 540 w 565"/>
                  <a:gd name="T11" fmla="*/ 68 h 438"/>
                  <a:gd name="T12" fmla="*/ 532 w 565"/>
                  <a:gd name="T13" fmla="*/ 68 h 438"/>
                  <a:gd name="T14" fmla="*/ 536 w 565"/>
                  <a:gd name="T15" fmla="*/ 56 h 438"/>
                  <a:gd name="T16" fmla="*/ 521 w 565"/>
                  <a:gd name="T17" fmla="*/ 39 h 438"/>
                  <a:gd name="T18" fmla="*/ 487 w 565"/>
                  <a:gd name="T19" fmla="*/ 26 h 438"/>
                  <a:gd name="T20" fmla="*/ 470 w 565"/>
                  <a:gd name="T21" fmla="*/ 34 h 438"/>
                  <a:gd name="T22" fmla="*/ 439 w 565"/>
                  <a:gd name="T23" fmla="*/ 29 h 438"/>
                  <a:gd name="T24" fmla="*/ 408 w 565"/>
                  <a:gd name="T25" fmla="*/ 33 h 438"/>
                  <a:gd name="T26" fmla="*/ 374 w 565"/>
                  <a:gd name="T27" fmla="*/ 2 h 438"/>
                  <a:gd name="T28" fmla="*/ 354 w 565"/>
                  <a:gd name="T29" fmla="*/ 0 h 438"/>
                  <a:gd name="T30" fmla="*/ 337 w 565"/>
                  <a:gd name="T31" fmla="*/ 48 h 438"/>
                  <a:gd name="T32" fmla="*/ 300 w 565"/>
                  <a:gd name="T33" fmla="*/ 107 h 438"/>
                  <a:gd name="T34" fmla="*/ 267 w 565"/>
                  <a:gd name="T35" fmla="*/ 116 h 438"/>
                  <a:gd name="T36" fmla="*/ 251 w 565"/>
                  <a:gd name="T37" fmla="*/ 131 h 438"/>
                  <a:gd name="T38" fmla="*/ 239 w 565"/>
                  <a:gd name="T39" fmla="*/ 128 h 438"/>
                  <a:gd name="T40" fmla="*/ 222 w 565"/>
                  <a:gd name="T41" fmla="*/ 137 h 438"/>
                  <a:gd name="T42" fmla="*/ 211 w 565"/>
                  <a:gd name="T43" fmla="*/ 158 h 438"/>
                  <a:gd name="T44" fmla="*/ 191 w 565"/>
                  <a:gd name="T45" fmla="*/ 174 h 438"/>
                  <a:gd name="T46" fmla="*/ 188 w 565"/>
                  <a:gd name="T47" fmla="*/ 199 h 438"/>
                  <a:gd name="T48" fmla="*/ 165 w 565"/>
                  <a:gd name="T49" fmla="*/ 244 h 438"/>
                  <a:gd name="T50" fmla="*/ 166 w 565"/>
                  <a:gd name="T51" fmla="*/ 269 h 438"/>
                  <a:gd name="T52" fmla="*/ 158 w 565"/>
                  <a:gd name="T53" fmla="*/ 276 h 438"/>
                  <a:gd name="T54" fmla="*/ 170 w 565"/>
                  <a:gd name="T55" fmla="*/ 292 h 438"/>
                  <a:gd name="T56" fmla="*/ 169 w 565"/>
                  <a:gd name="T57" fmla="*/ 316 h 438"/>
                  <a:gd name="T58" fmla="*/ 154 w 565"/>
                  <a:gd name="T59" fmla="*/ 321 h 438"/>
                  <a:gd name="T60" fmla="*/ 130 w 565"/>
                  <a:gd name="T61" fmla="*/ 359 h 438"/>
                  <a:gd name="T62" fmla="*/ 101 w 565"/>
                  <a:gd name="T63" fmla="*/ 376 h 438"/>
                  <a:gd name="T64" fmla="*/ 80 w 565"/>
                  <a:gd name="T65" fmla="*/ 404 h 438"/>
                  <a:gd name="T66" fmla="*/ 32 w 565"/>
                  <a:gd name="T67" fmla="*/ 421 h 438"/>
                  <a:gd name="T68" fmla="*/ 9 w 565"/>
                  <a:gd name="T69" fmla="*/ 423 h 438"/>
                  <a:gd name="T70" fmla="*/ 0 w 565"/>
                  <a:gd name="T71" fmla="*/ 438 h 438"/>
                  <a:gd name="T72" fmla="*/ 207 w 565"/>
                  <a:gd name="T73" fmla="*/ 438 h 438"/>
                  <a:gd name="T74" fmla="*/ 209 w 565"/>
                  <a:gd name="T75" fmla="*/ 399 h 438"/>
                  <a:gd name="T76" fmla="*/ 212 w 565"/>
                  <a:gd name="T77" fmla="*/ 381 h 438"/>
                  <a:gd name="T78" fmla="*/ 232 w 565"/>
                  <a:gd name="T79" fmla="*/ 369 h 438"/>
                  <a:gd name="T80" fmla="*/ 253 w 565"/>
                  <a:gd name="T81" fmla="*/ 344 h 438"/>
                  <a:gd name="T82" fmla="*/ 265 w 565"/>
                  <a:gd name="T83" fmla="*/ 345 h 438"/>
                  <a:gd name="T84" fmla="*/ 283 w 565"/>
                  <a:gd name="T85" fmla="*/ 331 h 438"/>
                  <a:gd name="T86" fmla="*/ 302 w 565"/>
                  <a:gd name="T87" fmla="*/ 339 h 438"/>
                  <a:gd name="T88" fmla="*/ 308 w 565"/>
                  <a:gd name="T89" fmla="*/ 326 h 438"/>
                  <a:gd name="T90" fmla="*/ 326 w 565"/>
                  <a:gd name="T91" fmla="*/ 325 h 438"/>
                  <a:gd name="T92" fmla="*/ 327 w 565"/>
                  <a:gd name="T93" fmla="*/ 317 h 438"/>
                  <a:gd name="T94" fmla="*/ 361 w 565"/>
                  <a:gd name="T95" fmla="*/ 318 h 438"/>
                  <a:gd name="T96" fmla="*/ 384 w 565"/>
                  <a:gd name="T97" fmla="*/ 284 h 438"/>
                  <a:gd name="T98" fmla="*/ 414 w 565"/>
                  <a:gd name="T99" fmla="*/ 283 h 438"/>
                  <a:gd name="T100" fmla="*/ 432 w 565"/>
                  <a:gd name="T101" fmla="*/ 264 h 438"/>
                  <a:gd name="T102" fmla="*/ 449 w 565"/>
                  <a:gd name="T103" fmla="*/ 257 h 438"/>
                  <a:gd name="T104" fmla="*/ 439 w 565"/>
                  <a:gd name="T105" fmla="*/ 245 h 438"/>
                  <a:gd name="T106" fmla="*/ 438 w 565"/>
                  <a:gd name="T107" fmla="*/ 221 h 438"/>
                  <a:gd name="T108" fmla="*/ 475 w 565"/>
                  <a:gd name="T109" fmla="*/ 215 h 438"/>
                  <a:gd name="T110" fmla="*/ 480 w 565"/>
                  <a:gd name="T111" fmla="*/ 200 h 438"/>
                  <a:gd name="T112" fmla="*/ 493 w 565"/>
                  <a:gd name="T113" fmla="*/ 202 h 438"/>
                  <a:gd name="T114" fmla="*/ 501 w 565"/>
                  <a:gd name="T115" fmla="*/ 195 h 438"/>
                  <a:gd name="T116" fmla="*/ 515 w 565"/>
                  <a:gd name="T117" fmla="*/ 201 h 438"/>
                  <a:gd name="T118" fmla="*/ 553 w 565"/>
                  <a:gd name="T119" fmla="*/ 196 h 438"/>
                  <a:gd name="T120" fmla="*/ 554 w 565"/>
                  <a:gd name="T121" fmla="*/ 186 h 438"/>
                  <a:gd name="T122" fmla="*/ 565 w 565"/>
                  <a:gd name="T123" fmla="*/ 177 h 438"/>
                  <a:gd name="T124" fmla="*/ 547 w 565"/>
                  <a:gd name="T125" fmla="*/ 165 h 43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5"/>
                  <a:gd name="T190" fmla="*/ 0 h 438"/>
                  <a:gd name="T191" fmla="*/ 565 w 565"/>
                  <a:gd name="T192" fmla="*/ 438 h 43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5" h="438">
                    <a:moveTo>
                      <a:pt x="547" y="165"/>
                    </a:moveTo>
                    <a:cubicBezTo>
                      <a:pt x="550" y="145"/>
                      <a:pt x="550" y="145"/>
                      <a:pt x="550" y="145"/>
                    </a:cubicBezTo>
                    <a:cubicBezTo>
                      <a:pt x="536" y="145"/>
                      <a:pt x="536" y="145"/>
                      <a:pt x="536" y="145"/>
                    </a:cubicBezTo>
                    <a:cubicBezTo>
                      <a:pt x="543" y="124"/>
                      <a:pt x="543" y="124"/>
                      <a:pt x="543" y="124"/>
                    </a:cubicBezTo>
                    <a:cubicBezTo>
                      <a:pt x="537" y="113"/>
                      <a:pt x="537" y="113"/>
                      <a:pt x="537" y="113"/>
                    </a:cubicBezTo>
                    <a:cubicBezTo>
                      <a:pt x="540" y="68"/>
                      <a:pt x="540" y="68"/>
                      <a:pt x="540" y="68"/>
                    </a:cubicBezTo>
                    <a:cubicBezTo>
                      <a:pt x="532" y="68"/>
                      <a:pt x="532" y="68"/>
                      <a:pt x="532" y="68"/>
                    </a:cubicBezTo>
                    <a:cubicBezTo>
                      <a:pt x="532" y="68"/>
                      <a:pt x="536" y="57"/>
                      <a:pt x="536" y="56"/>
                    </a:cubicBezTo>
                    <a:cubicBezTo>
                      <a:pt x="526" y="52"/>
                      <a:pt x="522" y="43"/>
                      <a:pt x="521" y="39"/>
                    </a:cubicBezTo>
                    <a:cubicBezTo>
                      <a:pt x="508" y="36"/>
                      <a:pt x="496" y="26"/>
                      <a:pt x="487" y="26"/>
                    </a:cubicBezTo>
                    <a:cubicBezTo>
                      <a:pt x="477" y="26"/>
                      <a:pt x="470" y="34"/>
                      <a:pt x="470" y="34"/>
                    </a:cubicBezTo>
                    <a:cubicBezTo>
                      <a:pt x="470" y="34"/>
                      <a:pt x="447" y="29"/>
                      <a:pt x="439" y="29"/>
                    </a:cubicBezTo>
                    <a:cubicBezTo>
                      <a:pt x="431" y="29"/>
                      <a:pt x="423" y="38"/>
                      <a:pt x="408" y="33"/>
                    </a:cubicBezTo>
                    <a:cubicBezTo>
                      <a:pt x="393" y="28"/>
                      <a:pt x="378" y="4"/>
                      <a:pt x="374" y="2"/>
                    </a:cubicBezTo>
                    <a:cubicBezTo>
                      <a:pt x="370" y="0"/>
                      <a:pt x="354" y="0"/>
                      <a:pt x="354" y="0"/>
                    </a:cubicBezTo>
                    <a:cubicBezTo>
                      <a:pt x="354" y="0"/>
                      <a:pt x="343" y="35"/>
                      <a:pt x="337" y="48"/>
                    </a:cubicBezTo>
                    <a:cubicBezTo>
                      <a:pt x="331" y="61"/>
                      <a:pt x="312" y="98"/>
                      <a:pt x="300" y="107"/>
                    </a:cubicBezTo>
                    <a:cubicBezTo>
                      <a:pt x="288" y="116"/>
                      <a:pt x="272" y="112"/>
                      <a:pt x="267" y="116"/>
                    </a:cubicBezTo>
                    <a:cubicBezTo>
                      <a:pt x="262" y="120"/>
                      <a:pt x="251" y="131"/>
                      <a:pt x="251" y="131"/>
                    </a:cubicBezTo>
                    <a:cubicBezTo>
                      <a:pt x="239" y="128"/>
                      <a:pt x="239" y="128"/>
                      <a:pt x="239" y="128"/>
                    </a:cubicBezTo>
                    <a:cubicBezTo>
                      <a:pt x="222" y="137"/>
                      <a:pt x="222" y="137"/>
                      <a:pt x="222" y="137"/>
                    </a:cubicBezTo>
                    <a:cubicBezTo>
                      <a:pt x="222" y="137"/>
                      <a:pt x="217" y="150"/>
                      <a:pt x="211" y="158"/>
                    </a:cubicBezTo>
                    <a:cubicBezTo>
                      <a:pt x="211" y="158"/>
                      <a:pt x="191" y="170"/>
                      <a:pt x="191" y="174"/>
                    </a:cubicBezTo>
                    <a:cubicBezTo>
                      <a:pt x="191" y="178"/>
                      <a:pt x="195" y="192"/>
                      <a:pt x="188" y="199"/>
                    </a:cubicBezTo>
                    <a:cubicBezTo>
                      <a:pt x="181" y="206"/>
                      <a:pt x="164" y="230"/>
                      <a:pt x="165" y="244"/>
                    </a:cubicBezTo>
                    <a:cubicBezTo>
                      <a:pt x="166" y="258"/>
                      <a:pt x="166" y="269"/>
                      <a:pt x="166" y="269"/>
                    </a:cubicBezTo>
                    <a:cubicBezTo>
                      <a:pt x="166" y="269"/>
                      <a:pt x="158" y="273"/>
                      <a:pt x="158" y="276"/>
                    </a:cubicBezTo>
                    <a:cubicBezTo>
                      <a:pt x="158" y="279"/>
                      <a:pt x="173" y="277"/>
                      <a:pt x="170" y="292"/>
                    </a:cubicBezTo>
                    <a:cubicBezTo>
                      <a:pt x="167" y="307"/>
                      <a:pt x="169" y="316"/>
                      <a:pt x="169" y="316"/>
                    </a:cubicBezTo>
                    <a:cubicBezTo>
                      <a:pt x="169" y="316"/>
                      <a:pt x="163" y="310"/>
                      <a:pt x="154" y="321"/>
                    </a:cubicBezTo>
                    <a:cubicBezTo>
                      <a:pt x="145" y="332"/>
                      <a:pt x="138" y="348"/>
                      <a:pt x="130" y="359"/>
                    </a:cubicBezTo>
                    <a:cubicBezTo>
                      <a:pt x="122" y="370"/>
                      <a:pt x="108" y="366"/>
                      <a:pt x="101" y="376"/>
                    </a:cubicBezTo>
                    <a:cubicBezTo>
                      <a:pt x="94" y="386"/>
                      <a:pt x="86" y="398"/>
                      <a:pt x="80" y="404"/>
                    </a:cubicBezTo>
                    <a:cubicBezTo>
                      <a:pt x="74" y="410"/>
                      <a:pt x="36" y="420"/>
                      <a:pt x="32" y="421"/>
                    </a:cubicBezTo>
                    <a:cubicBezTo>
                      <a:pt x="28" y="422"/>
                      <a:pt x="9" y="423"/>
                      <a:pt x="9" y="423"/>
                    </a:cubicBezTo>
                    <a:cubicBezTo>
                      <a:pt x="9" y="423"/>
                      <a:pt x="4" y="429"/>
                      <a:pt x="0" y="438"/>
                    </a:cubicBezTo>
                    <a:cubicBezTo>
                      <a:pt x="207" y="438"/>
                      <a:pt x="207" y="438"/>
                      <a:pt x="207" y="438"/>
                    </a:cubicBezTo>
                    <a:cubicBezTo>
                      <a:pt x="209" y="399"/>
                      <a:pt x="209" y="399"/>
                      <a:pt x="209" y="399"/>
                    </a:cubicBezTo>
                    <a:cubicBezTo>
                      <a:pt x="212" y="381"/>
                      <a:pt x="212" y="381"/>
                      <a:pt x="212" y="381"/>
                    </a:cubicBezTo>
                    <a:cubicBezTo>
                      <a:pt x="212" y="381"/>
                      <a:pt x="225" y="374"/>
                      <a:pt x="232" y="369"/>
                    </a:cubicBezTo>
                    <a:cubicBezTo>
                      <a:pt x="239" y="364"/>
                      <a:pt x="253" y="344"/>
                      <a:pt x="253" y="344"/>
                    </a:cubicBezTo>
                    <a:cubicBezTo>
                      <a:pt x="265" y="345"/>
                      <a:pt x="265" y="345"/>
                      <a:pt x="265" y="345"/>
                    </a:cubicBezTo>
                    <a:cubicBezTo>
                      <a:pt x="283" y="331"/>
                      <a:pt x="283" y="331"/>
                      <a:pt x="283" y="331"/>
                    </a:cubicBezTo>
                    <a:cubicBezTo>
                      <a:pt x="283" y="331"/>
                      <a:pt x="296" y="340"/>
                      <a:pt x="302" y="339"/>
                    </a:cubicBezTo>
                    <a:cubicBezTo>
                      <a:pt x="308" y="338"/>
                      <a:pt x="308" y="326"/>
                      <a:pt x="308" y="326"/>
                    </a:cubicBezTo>
                    <a:cubicBezTo>
                      <a:pt x="326" y="325"/>
                      <a:pt x="326" y="325"/>
                      <a:pt x="326" y="325"/>
                    </a:cubicBezTo>
                    <a:cubicBezTo>
                      <a:pt x="327" y="317"/>
                      <a:pt x="327" y="317"/>
                      <a:pt x="327" y="317"/>
                    </a:cubicBezTo>
                    <a:cubicBezTo>
                      <a:pt x="327" y="317"/>
                      <a:pt x="353" y="321"/>
                      <a:pt x="361" y="318"/>
                    </a:cubicBezTo>
                    <a:cubicBezTo>
                      <a:pt x="369" y="315"/>
                      <a:pt x="384" y="284"/>
                      <a:pt x="384" y="284"/>
                    </a:cubicBezTo>
                    <a:cubicBezTo>
                      <a:pt x="384" y="284"/>
                      <a:pt x="408" y="283"/>
                      <a:pt x="414" y="283"/>
                    </a:cubicBezTo>
                    <a:cubicBezTo>
                      <a:pt x="420" y="283"/>
                      <a:pt x="432" y="264"/>
                      <a:pt x="432" y="264"/>
                    </a:cubicBezTo>
                    <a:cubicBezTo>
                      <a:pt x="449" y="257"/>
                      <a:pt x="449" y="257"/>
                      <a:pt x="449" y="257"/>
                    </a:cubicBezTo>
                    <a:cubicBezTo>
                      <a:pt x="439" y="245"/>
                      <a:pt x="439" y="245"/>
                      <a:pt x="439" y="245"/>
                    </a:cubicBezTo>
                    <a:cubicBezTo>
                      <a:pt x="439" y="245"/>
                      <a:pt x="430" y="228"/>
                      <a:pt x="438" y="221"/>
                    </a:cubicBezTo>
                    <a:cubicBezTo>
                      <a:pt x="446" y="214"/>
                      <a:pt x="468" y="220"/>
                      <a:pt x="475" y="215"/>
                    </a:cubicBezTo>
                    <a:cubicBezTo>
                      <a:pt x="482" y="210"/>
                      <a:pt x="475" y="203"/>
                      <a:pt x="480" y="200"/>
                    </a:cubicBezTo>
                    <a:cubicBezTo>
                      <a:pt x="485" y="197"/>
                      <a:pt x="493" y="202"/>
                      <a:pt x="493" y="202"/>
                    </a:cubicBezTo>
                    <a:cubicBezTo>
                      <a:pt x="493" y="202"/>
                      <a:pt x="497" y="195"/>
                      <a:pt x="501" y="195"/>
                    </a:cubicBezTo>
                    <a:cubicBezTo>
                      <a:pt x="505" y="195"/>
                      <a:pt x="515" y="201"/>
                      <a:pt x="515" y="201"/>
                    </a:cubicBezTo>
                    <a:cubicBezTo>
                      <a:pt x="553" y="196"/>
                      <a:pt x="553" y="196"/>
                      <a:pt x="553" y="196"/>
                    </a:cubicBezTo>
                    <a:cubicBezTo>
                      <a:pt x="553" y="196"/>
                      <a:pt x="552" y="189"/>
                      <a:pt x="554" y="186"/>
                    </a:cubicBezTo>
                    <a:cubicBezTo>
                      <a:pt x="556" y="183"/>
                      <a:pt x="565" y="177"/>
                      <a:pt x="565" y="177"/>
                    </a:cubicBezTo>
                    <a:lnTo>
                      <a:pt x="547" y="165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19" name="MCShape 111">
                <a:extLst>
                  <a:ext uri="{FF2B5EF4-FFF2-40B4-BE49-F238E27FC236}">
                    <a16:creationId xmlns:a16="http://schemas.microsoft.com/office/drawing/2014/main" id="{67672FAB-4C55-459F-8876-7F58C629D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1814" y="3025246"/>
                <a:ext cx="109819" cy="228917"/>
              </a:xfrm>
              <a:custGeom>
                <a:avLst/>
                <a:gdLst>
                  <a:gd name="T0" fmla="*/ 25 w 187"/>
                  <a:gd name="T1" fmla="*/ 48 h 387"/>
                  <a:gd name="T2" fmla="*/ 38 w 187"/>
                  <a:gd name="T3" fmla="*/ 52 h 387"/>
                  <a:gd name="T4" fmla="*/ 33 w 187"/>
                  <a:gd name="T5" fmla="*/ 90 h 387"/>
                  <a:gd name="T6" fmla="*/ 38 w 187"/>
                  <a:gd name="T7" fmla="*/ 119 h 387"/>
                  <a:gd name="T8" fmla="*/ 30 w 187"/>
                  <a:gd name="T9" fmla="*/ 151 h 387"/>
                  <a:gd name="T10" fmla="*/ 16 w 187"/>
                  <a:gd name="T11" fmla="*/ 162 h 387"/>
                  <a:gd name="T12" fmla="*/ 0 w 187"/>
                  <a:gd name="T13" fmla="*/ 185 h 387"/>
                  <a:gd name="T14" fmla="*/ 0 w 187"/>
                  <a:gd name="T15" fmla="*/ 208 h 387"/>
                  <a:gd name="T16" fmla="*/ 7 w 187"/>
                  <a:gd name="T17" fmla="*/ 208 h 387"/>
                  <a:gd name="T18" fmla="*/ 7 w 187"/>
                  <a:gd name="T19" fmla="*/ 227 h 387"/>
                  <a:gd name="T20" fmla="*/ 34 w 187"/>
                  <a:gd name="T21" fmla="*/ 240 h 387"/>
                  <a:gd name="T22" fmla="*/ 35 w 187"/>
                  <a:gd name="T23" fmla="*/ 266 h 387"/>
                  <a:gd name="T24" fmla="*/ 67 w 187"/>
                  <a:gd name="T25" fmla="*/ 291 h 387"/>
                  <a:gd name="T26" fmla="*/ 88 w 187"/>
                  <a:gd name="T27" fmla="*/ 387 h 387"/>
                  <a:gd name="T28" fmla="*/ 104 w 187"/>
                  <a:gd name="T29" fmla="*/ 381 h 387"/>
                  <a:gd name="T30" fmla="*/ 123 w 187"/>
                  <a:gd name="T31" fmla="*/ 355 h 387"/>
                  <a:gd name="T32" fmla="*/ 114 w 187"/>
                  <a:gd name="T33" fmla="*/ 317 h 387"/>
                  <a:gd name="T34" fmla="*/ 129 w 187"/>
                  <a:gd name="T35" fmla="*/ 306 h 387"/>
                  <a:gd name="T36" fmla="*/ 148 w 187"/>
                  <a:gd name="T37" fmla="*/ 283 h 387"/>
                  <a:gd name="T38" fmla="*/ 183 w 187"/>
                  <a:gd name="T39" fmla="*/ 265 h 387"/>
                  <a:gd name="T40" fmla="*/ 172 w 187"/>
                  <a:gd name="T41" fmla="*/ 255 h 387"/>
                  <a:gd name="T42" fmla="*/ 175 w 187"/>
                  <a:gd name="T43" fmla="*/ 228 h 387"/>
                  <a:gd name="T44" fmla="*/ 167 w 187"/>
                  <a:gd name="T45" fmla="*/ 226 h 387"/>
                  <a:gd name="T46" fmla="*/ 160 w 187"/>
                  <a:gd name="T47" fmla="*/ 207 h 387"/>
                  <a:gd name="T48" fmla="*/ 150 w 187"/>
                  <a:gd name="T49" fmla="*/ 201 h 387"/>
                  <a:gd name="T50" fmla="*/ 148 w 187"/>
                  <a:gd name="T51" fmla="*/ 212 h 387"/>
                  <a:gd name="T52" fmla="*/ 142 w 187"/>
                  <a:gd name="T53" fmla="*/ 203 h 387"/>
                  <a:gd name="T54" fmla="*/ 111 w 187"/>
                  <a:gd name="T55" fmla="*/ 183 h 387"/>
                  <a:gd name="T56" fmla="*/ 132 w 187"/>
                  <a:gd name="T57" fmla="*/ 154 h 387"/>
                  <a:gd name="T58" fmla="*/ 156 w 187"/>
                  <a:gd name="T59" fmla="*/ 102 h 387"/>
                  <a:gd name="T60" fmla="*/ 132 w 187"/>
                  <a:gd name="T61" fmla="*/ 73 h 387"/>
                  <a:gd name="T62" fmla="*/ 145 w 187"/>
                  <a:gd name="T63" fmla="*/ 50 h 387"/>
                  <a:gd name="T64" fmla="*/ 156 w 187"/>
                  <a:gd name="T65" fmla="*/ 18 h 387"/>
                  <a:gd name="T66" fmla="*/ 125 w 187"/>
                  <a:gd name="T67" fmla="*/ 45 h 387"/>
                  <a:gd name="T68" fmla="*/ 108 w 187"/>
                  <a:gd name="T69" fmla="*/ 33 h 387"/>
                  <a:gd name="T70" fmla="*/ 110 w 187"/>
                  <a:gd name="T71" fmla="*/ 8 h 387"/>
                  <a:gd name="T72" fmla="*/ 60 w 187"/>
                  <a:gd name="T73" fmla="*/ 23 h 387"/>
                  <a:gd name="T74" fmla="*/ 53 w 187"/>
                  <a:gd name="T75" fmla="*/ 25 h 387"/>
                  <a:gd name="T76" fmla="*/ 53 w 187"/>
                  <a:gd name="T77" fmla="*/ 35 h 387"/>
                  <a:gd name="T78" fmla="*/ 25 w 187"/>
                  <a:gd name="T79" fmla="*/ 48 h 38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87"/>
                  <a:gd name="T121" fmla="*/ 0 h 387"/>
                  <a:gd name="T122" fmla="*/ 187 w 187"/>
                  <a:gd name="T123" fmla="*/ 387 h 387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87" h="387">
                    <a:moveTo>
                      <a:pt x="25" y="48"/>
                    </a:move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52"/>
                      <a:pt x="29" y="83"/>
                      <a:pt x="33" y="90"/>
                    </a:cubicBezTo>
                    <a:cubicBezTo>
                      <a:pt x="37" y="97"/>
                      <a:pt x="39" y="109"/>
                      <a:pt x="38" y="119"/>
                    </a:cubicBezTo>
                    <a:cubicBezTo>
                      <a:pt x="37" y="129"/>
                      <a:pt x="30" y="151"/>
                      <a:pt x="30" y="151"/>
                    </a:cubicBezTo>
                    <a:cubicBezTo>
                      <a:pt x="16" y="162"/>
                      <a:pt x="16" y="162"/>
                      <a:pt x="16" y="162"/>
                    </a:cubicBezTo>
                    <a:cubicBezTo>
                      <a:pt x="16" y="162"/>
                      <a:pt x="0" y="175"/>
                      <a:pt x="0" y="185"/>
                    </a:cubicBezTo>
                    <a:cubicBezTo>
                      <a:pt x="0" y="195"/>
                      <a:pt x="0" y="208"/>
                      <a:pt x="0" y="208"/>
                    </a:cubicBezTo>
                    <a:cubicBezTo>
                      <a:pt x="7" y="208"/>
                      <a:pt x="7" y="208"/>
                      <a:pt x="7" y="208"/>
                    </a:cubicBezTo>
                    <a:cubicBezTo>
                      <a:pt x="7" y="227"/>
                      <a:pt x="7" y="227"/>
                      <a:pt x="7" y="227"/>
                    </a:cubicBezTo>
                    <a:cubicBezTo>
                      <a:pt x="7" y="227"/>
                      <a:pt x="33" y="232"/>
                      <a:pt x="34" y="240"/>
                    </a:cubicBezTo>
                    <a:cubicBezTo>
                      <a:pt x="35" y="248"/>
                      <a:pt x="35" y="266"/>
                      <a:pt x="35" y="266"/>
                    </a:cubicBezTo>
                    <a:cubicBezTo>
                      <a:pt x="35" y="266"/>
                      <a:pt x="67" y="278"/>
                      <a:pt x="67" y="291"/>
                    </a:cubicBezTo>
                    <a:cubicBezTo>
                      <a:pt x="67" y="302"/>
                      <a:pt x="82" y="364"/>
                      <a:pt x="88" y="387"/>
                    </a:cubicBezTo>
                    <a:cubicBezTo>
                      <a:pt x="95" y="384"/>
                      <a:pt x="104" y="381"/>
                      <a:pt x="104" y="381"/>
                    </a:cubicBezTo>
                    <a:cubicBezTo>
                      <a:pt x="104" y="381"/>
                      <a:pt x="124" y="367"/>
                      <a:pt x="123" y="355"/>
                    </a:cubicBezTo>
                    <a:cubicBezTo>
                      <a:pt x="122" y="343"/>
                      <a:pt x="112" y="323"/>
                      <a:pt x="114" y="317"/>
                    </a:cubicBezTo>
                    <a:cubicBezTo>
                      <a:pt x="116" y="311"/>
                      <a:pt x="129" y="306"/>
                      <a:pt x="129" y="306"/>
                    </a:cubicBezTo>
                    <a:cubicBezTo>
                      <a:pt x="129" y="306"/>
                      <a:pt x="142" y="289"/>
                      <a:pt x="148" y="283"/>
                    </a:cubicBezTo>
                    <a:cubicBezTo>
                      <a:pt x="154" y="277"/>
                      <a:pt x="179" y="273"/>
                      <a:pt x="183" y="265"/>
                    </a:cubicBezTo>
                    <a:cubicBezTo>
                      <a:pt x="187" y="257"/>
                      <a:pt x="172" y="255"/>
                      <a:pt x="172" y="255"/>
                    </a:cubicBezTo>
                    <a:cubicBezTo>
                      <a:pt x="175" y="228"/>
                      <a:pt x="175" y="228"/>
                      <a:pt x="175" y="228"/>
                    </a:cubicBezTo>
                    <a:cubicBezTo>
                      <a:pt x="170" y="227"/>
                      <a:pt x="167" y="226"/>
                      <a:pt x="167" y="226"/>
                    </a:cubicBezTo>
                    <a:cubicBezTo>
                      <a:pt x="160" y="207"/>
                      <a:pt x="160" y="207"/>
                      <a:pt x="160" y="207"/>
                    </a:cubicBezTo>
                    <a:cubicBezTo>
                      <a:pt x="150" y="201"/>
                      <a:pt x="150" y="201"/>
                      <a:pt x="150" y="201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42" y="203"/>
                      <a:pt x="142" y="203"/>
                      <a:pt x="142" y="203"/>
                    </a:cubicBezTo>
                    <a:cubicBezTo>
                      <a:pt x="142" y="203"/>
                      <a:pt x="111" y="202"/>
                      <a:pt x="111" y="183"/>
                    </a:cubicBezTo>
                    <a:cubicBezTo>
                      <a:pt x="111" y="164"/>
                      <a:pt x="109" y="174"/>
                      <a:pt x="132" y="154"/>
                    </a:cubicBezTo>
                    <a:cubicBezTo>
                      <a:pt x="155" y="134"/>
                      <a:pt x="169" y="118"/>
                      <a:pt x="156" y="102"/>
                    </a:cubicBezTo>
                    <a:cubicBezTo>
                      <a:pt x="143" y="86"/>
                      <a:pt x="128" y="89"/>
                      <a:pt x="132" y="73"/>
                    </a:cubicBezTo>
                    <a:cubicBezTo>
                      <a:pt x="136" y="57"/>
                      <a:pt x="135" y="59"/>
                      <a:pt x="145" y="50"/>
                    </a:cubicBezTo>
                    <a:cubicBezTo>
                      <a:pt x="155" y="41"/>
                      <a:pt x="163" y="19"/>
                      <a:pt x="156" y="18"/>
                    </a:cubicBezTo>
                    <a:cubicBezTo>
                      <a:pt x="149" y="17"/>
                      <a:pt x="130" y="43"/>
                      <a:pt x="125" y="45"/>
                    </a:cubicBezTo>
                    <a:cubicBezTo>
                      <a:pt x="120" y="47"/>
                      <a:pt x="108" y="33"/>
                      <a:pt x="108" y="33"/>
                    </a:cubicBezTo>
                    <a:cubicBezTo>
                      <a:pt x="108" y="33"/>
                      <a:pt x="127" y="16"/>
                      <a:pt x="110" y="8"/>
                    </a:cubicBezTo>
                    <a:cubicBezTo>
                      <a:pt x="93" y="0"/>
                      <a:pt x="66" y="19"/>
                      <a:pt x="60" y="23"/>
                    </a:cubicBezTo>
                    <a:cubicBezTo>
                      <a:pt x="58" y="24"/>
                      <a:pt x="56" y="25"/>
                      <a:pt x="53" y="25"/>
                    </a:cubicBezTo>
                    <a:cubicBezTo>
                      <a:pt x="53" y="35"/>
                      <a:pt x="53" y="35"/>
                      <a:pt x="53" y="35"/>
                    </a:cubicBezTo>
                    <a:lnTo>
                      <a:pt x="25" y="4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0" name="MCShape 112">
                <a:extLst>
                  <a:ext uri="{FF2B5EF4-FFF2-40B4-BE49-F238E27FC236}">
                    <a16:creationId xmlns:a16="http://schemas.microsoft.com/office/drawing/2014/main" id="{92568A4F-60BB-4E66-B989-AA58B80A0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4013" y="3862031"/>
                <a:ext cx="125285" cy="205716"/>
              </a:xfrm>
              <a:custGeom>
                <a:avLst/>
                <a:gdLst>
                  <a:gd name="T0" fmla="*/ 185 w 213"/>
                  <a:gd name="T1" fmla="*/ 228 h 349"/>
                  <a:gd name="T2" fmla="*/ 190 w 213"/>
                  <a:gd name="T3" fmla="*/ 205 h 349"/>
                  <a:gd name="T4" fmla="*/ 182 w 213"/>
                  <a:gd name="T5" fmla="*/ 198 h 349"/>
                  <a:gd name="T6" fmla="*/ 185 w 213"/>
                  <a:gd name="T7" fmla="*/ 186 h 349"/>
                  <a:gd name="T8" fmla="*/ 187 w 213"/>
                  <a:gd name="T9" fmla="*/ 157 h 349"/>
                  <a:gd name="T10" fmla="*/ 191 w 213"/>
                  <a:gd name="T11" fmla="*/ 148 h 349"/>
                  <a:gd name="T12" fmla="*/ 173 w 213"/>
                  <a:gd name="T13" fmla="*/ 134 h 349"/>
                  <a:gd name="T14" fmla="*/ 185 w 213"/>
                  <a:gd name="T15" fmla="*/ 123 h 349"/>
                  <a:gd name="T16" fmla="*/ 178 w 213"/>
                  <a:gd name="T17" fmla="*/ 113 h 349"/>
                  <a:gd name="T18" fmla="*/ 182 w 213"/>
                  <a:gd name="T19" fmla="*/ 88 h 349"/>
                  <a:gd name="T20" fmla="*/ 166 w 213"/>
                  <a:gd name="T21" fmla="*/ 91 h 349"/>
                  <a:gd name="T22" fmla="*/ 174 w 213"/>
                  <a:gd name="T23" fmla="*/ 42 h 349"/>
                  <a:gd name="T24" fmla="*/ 152 w 213"/>
                  <a:gd name="T25" fmla="*/ 24 h 349"/>
                  <a:gd name="T26" fmla="*/ 159 w 213"/>
                  <a:gd name="T27" fmla="*/ 15 h 349"/>
                  <a:gd name="T28" fmla="*/ 159 w 213"/>
                  <a:gd name="T29" fmla="*/ 4 h 349"/>
                  <a:gd name="T30" fmla="*/ 145 w 213"/>
                  <a:gd name="T31" fmla="*/ 0 h 349"/>
                  <a:gd name="T32" fmla="*/ 129 w 213"/>
                  <a:gd name="T33" fmla="*/ 10 h 349"/>
                  <a:gd name="T34" fmla="*/ 109 w 213"/>
                  <a:gd name="T35" fmla="*/ 7 h 349"/>
                  <a:gd name="T36" fmla="*/ 98 w 213"/>
                  <a:gd name="T37" fmla="*/ 10 h 349"/>
                  <a:gd name="T38" fmla="*/ 86 w 213"/>
                  <a:gd name="T39" fmla="*/ 7 h 349"/>
                  <a:gd name="T40" fmla="*/ 81 w 213"/>
                  <a:gd name="T41" fmla="*/ 10 h 349"/>
                  <a:gd name="T42" fmla="*/ 26 w 213"/>
                  <a:gd name="T43" fmla="*/ 7 h 349"/>
                  <a:gd name="T44" fmla="*/ 18 w 213"/>
                  <a:gd name="T45" fmla="*/ 24 h 349"/>
                  <a:gd name="T46" fmla="*/ 24 w 213"/>
                  <a:gd name="T47" fmla="*/ 33 h 349"/>
                  <a:gd name="T48" fmla="*/ 25 w 213"/>
                  <a:gd name="T49" fmla="*/ 51 h 349"/>
                  <a:gd name="T50" fmla="*/ 26 w 213"/>
                  <a:gd name="T51" fmla="*/ 87 h 349"/>
                  <a:gd name="T52" fmla="*/ 30 w 213"/>
                  <a:gd name="T53" fmla="*/ 86 h 349"/>
                  <a:gd name="T54" fmla="*/ 34 w 213"/>
                  <a:gd name="T55" fmla="*/ 105 h 349"/>
                  <a:gd name="T56" fmla="*/ 26 w 213"/>
                  <a:gd name="T57" fmla="*/ 106 h 349"/>
                  <a:gd name="T58" fmla="*/ 38 w 213"/>
                  <a:gd name="T59" fmla="*/ 152 h 349"/>
                  <a:gd name="T60" fmla="*/ 21 w 213"/>
                  <a:gd name="T61" fmla="*/ 179 h 349"/>
                  <a:gd name="T62" fmla="*/ 20 w 213"/>
                  <a:gd name="T63" fmla="*/ 209 h 349"/>
                  <a:gd name="T64" fmla="*/ 0 w 213"/>
                  <a:gd name="T65" fmla="*/ 241 h 349"/>
                  <a:gd name="T66" fmla="*/ 13 w 213"/>
                  <a:gd name="T67" fmla="*/ 291 h 349"/>
                  <a:gd name="T68" fmla="*/ 31 w 213"/>
                  <a:gd name="T69" fmla="*/ 297 h 349"/>
                  <a:gd name="T70" fmla="*/ 32 w 213"/>
                  <a:gd name="T71" fmla="*/ 332 h 349"/>
                  <a:gd name="T72" fmla="*/ 47 w 213"/>
                  <a:gd name="T73" fmla="*/ 334 h 349"/>
                  <a:gd name="T74" fmla="*/ 61 w 213"/>
                  <a:gd name="T75" fmla="*/ 345 h 349"/>
                  <a:gd name="T76" fmla="*/ 99 w 213"/>
                  <a:gd name="T77" fmla="*/ 321 h 349"/>
                  <a:gd name="T78" fmla="*/ 117 w 213"/>
                  <a:gd name="T79" fmla="*/ 321 h 349"/>
                  <a:gd name="T80" fmla="*/ 141 w 213"/>
                  <a:gd name="T81" fmla="*/ 302 h 349"/>
                  <a:gd name="T82" fmla="*/ 159 w 213"/>
                  <a:gd name="T83" fmla="*/ 298 h 349"/>
                  <a:gd name="T84" fmla="*/ 173 w 213"/>
                  <a:gd name="T85" fmla="*/ 283 h 349"/>
                  <a:gd name="T86" fmla="*/ 196 w 213"/>
                  <a:gd name="T87" fmla="*/ 287 h 349"/>
                  <a:gd name="T88" fmla="*/ 213 w 213"/>
                  <a:gd name="T89" fmla="*/ 273 h 349"/>
                  <a:gd name="T90" fmla="*/ 193 w 213"/>
                  <a:gd name="T91" fmla="*/ 256 h 349"/>
                  <a:gd name="T92" fmla="*/ 185 w 213"/>
                  <a:gd name="T93" fmla="*/ 228 h 34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13"/>
                  <a:gd name="T142" fmla="*/ 0 h 349"/>
                  <a:gd name="T143" fmla="*/ 213 w 213"/>
                  <a:gd name="T144" fmla="*/ 349 h 34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13" h="349">
                    <a:moveTo>
                      <a:pt x="185" y="228"/>
                    </a:moveTo>
                    <a:cubicBezTo>
                      <a:pt x="185" y="228"/>
                      <a:pt x="191" y="211"/>
                      <a:pt x="190" y="205"/>
                    </a:cubicBezTo>
                    <a:cubicBezTo>
                      <a:pt x="189" y="199"/>
                      <a:pt x="182" y="203"/>
                      <a:pt x="182" y="198"/>
                    </a:cubicBezTo>
                    <a:cubicBezTo>
                      <a:pt x="182" y="193"/>
                      <a:pt x="185" y="186"/>
                      <a:pt x="185" y="186"/>
                    </a:cubicBezTo>
                    <a:cubicBezTo>
                      <a:pt x="187" y="157"/>
                      <a:pt x="187" y="157"/>
                      <a:pt x="187" y="157"/>
                    </a:cubicBezTo>
                    <a:cubicBezTo>
                      <a:pt x="187" y="157"/>
                      <a:pt x="192" y="154"/>
                      <a:pt x="191" y="148"/>
                    </a:cubicBezTo>
                    <a:cubicBezTo>
                      <a:pt x="190" y="142"/>
                      <a:pt x="173" y="134"/>
                      <a:pt x="173" y="134"/>
                    </a:cubicBezTo>
                    <a:cubicBezTo>
                      <a:pt x="173" y="134"/>
                      <a:pt x="184" y="126"/>
                      <a:pt x="185" y="123"/>
                    </a:cubicBezTo>
                    <a:cubicBezTo>
                      <a:pt x="186" y="120"/>
                      <a:pt x="178" y="113"/>
                      <a:pt x="178" y="113"/>
                    </a:cubicBezTo>
                    <a:cubicBezTo>
                      <a:pt x="178" y="113"/>
                      <a:pt x="186" y="95"/>
                      <a:pt x="182" y="88"/>
                    </a:cubicBezTo>
                    <a:cubicBezTo>
                      <a:pt x="178" y="81"/>
                      <a:pt x="166" y="91"/>
                      <a:pt x="166" y="91"/>
                    </a:cubicBezTo>
                    <a:cubicBezTo>
                      <a:pt x="174" y="42"/>
                      <a:pt x="174" y="42"/>
                      <a:pt x="174" y="42"/>
                    </a:cubicBezTo>
                    <a:cubicBezTo>
                      <a:pt x="152" y="24"/>
                      <a:pt x="152" y="24"/>
                      <a:pt x="152" y="24"/>
                    </a:cubicBezTo>
                    <a:cubicBezTo>
                      <a:pt x="159" y="15"/>
                      <a:pt x="159" y="15"/>
                      <a:pt x="159" y="15"/>
                    </a:cubicBezTo>
                    <a:cubicBezTo>
                      <a:pt x="159" y="4"/>
                      <a:pt x="159" y="4"/>
                      <a:pt x="159" y="4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09" y="7"/>
                      <a:pt x="109" y="7"/>
                      <a:pt x="109" y="7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18" y="16"/>
                      <a:pt x="18" y="24"/>
                    </a:cubicBezTo>
                    <a:cubicBezTo>
                      <a:pt x="18" y="32"/>
                      <a:pt x="24" y="33"/>
                      <a:pt x="24" y="33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4" y="105"/>
                      <a:pt x="34" y="105"/>
                      <a:pt x="34" y="105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6"/>
                      <a:pt x="38" y="140"/>
                      <a:pt x="38" y="152"/>
                    </a:cubicBezTo>
                    <a:cubicBezTo>
                      <a:pt x="38" y="164"/>
                      <a:pt x="21" y="171"/>
                      <a:pt x="21" y="179"/>
                    </a:cubicBezTo>
                    <a:cubicBezTo>
                      <a:pt x="21" y="187"/>
                      <a:pt x="20" y="209"/>
                      <a:pt x="20" y="209"/>
                    </a:cubicBezTo>
                    <a:cubicBezTo>
                      <a:pt x="20" y="209"/>
                      <a:pt x="0" y="227"/>
                      <a:pt x="0" y="241"/>
                    </a:cubicBezTo>
                    <a:cubicBezTo>
                      <a:pt x="0" y="255"/>
                      <a:pt x="13" y="291"/>
                      <a:pt x="13" y="291"/>
                    </a:cubicBezTo>
                    <a:cubicBezTo>
                      <a:pt x="31" y="297"/>
                      <a:pt x="31" y="297"/>
                      <a:pt x="31" y="297"/>
                    </a:cubicBezTo>
                    <a:cubicBezTo>
                      <a:pt x="32" y="332"/>
                      <a:pt x="32" y="332"/>
                      <a:pt x="32" y="332"/>
                    </a:cubicBezTo>
                    <a:cubicBezTo>
                      <a:pt x="41" y="334"/>
                      <a:pt x="47" y="334"/>
                      <a:pt x="47" y="334"/>
                    </a:cubicBezTo>
                    <a:cubicBezTo>
                      <a:pt x="47" y="334"/>
                      <a:pt x="51" y="349"/>
                      <a:pt x="61" y="345"/>
                    </a:cubicBezTo>
                    <a:cubicBezTo>
                      <a:pt x="71" y="341"/>
                      <a:pt x="92" y="323"/>
                      <a:pt x="99" y="321"/>
                    </a:cubicBezTo>
                    <a:cubicBezTo>
                      <a:pt x="106" y="319"/>
                      <a:pt x="117" y="321"/>
                      <a:pt x="117" y="321"/>
                    </a:cubicBezTo>
                    <a:cubicBezTo>
                      <a:pt x="117" y="321"/>
                      <a:pt x="138" y="303"/>
                      <a:pt x="141" y="302"/>
                    </a:cubicBezTo>
                    <a:cubicBezTo>
                      <a:pt x="144" y="301"/>
                      <a:pt x="159" y="298"/>
                      <a:pt x="159" y="298"/>
                    </a:cubicBezTo>
                    <a:cubicBezTo>
                      <a:pt x="159" y="298"/>
                      <a:pt x="165" y="282"/>
                      <a:pt x="173" y="283"/>
                    </a:cubicBezTo>
                    <a:cubicBezTo>
                      <a:pt x="181" y="284"/>
                      <a:pt x="187" y="292"/>
                      <a:pt x="196" y="287"/>
                    </a:cubicBezTo>
                    <a:cubicBezTo>
                      <a:pt x="201" y="284"/>
                      <a:pt x="207" y="278"/>
                      <a:pt x="213" y="273"/>
                    </a:cubicBezTo>
                    <a:cubicBezTo>
                      <a:pt x="193" y="256"/>
                      <a:pt x="193" y="256"/>
                      <a:pt x="193" y="256"/>
                    </a:cubicBezTo>
                    <a:lnTo>
                      <a:pt x="185" y="22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1" name="MCShape 113">
                <a:extLst>
                  <a:ext uri="{FF2B5EF4-FFF2-40B4-BE49-F238E27FC236}">
                    <a16:creationId xmlns:a16="http://schemas.microsoft.com/office/drawing/2014/main" id="{17BAD602-3D40-4534-8F4D-F71F875F0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3724" y="3863578"/>
                <a:ext cx="55682" cy="159313"/>
              </a:xfrm>
              <a:custGeom>
                <a:avLst/>
                <a:gdLst>
                  <a:gd name="T0" fmla="*/ 82 w 91"/>
                  <a:gd name="T1" fmla="*/ 239 h 270"/>
                  <a:gd name="T2" fmla="*/ 80 w 91"/>
                  <a:gd name="T3" fmla="*/ 195 h 270"/>
                  <a:gd name="T4" fmla="*/ 85 w 91"/>
                  <a:gd name="T5" fmla="*/ 188 h 270"/>
                  <a:gd name="T6" fmla="*/ 79 w 91"/>
                  <a:gd name="T7" fmla="*/ 182 h 270"/>
                  <a:gd name="T8" fmla="*/ 80 w 91"/>
                  <a:gd name="T9" fmla="*/ 143 h 270"/>
                  <a:gd name="T10" fmla="*/ 85 w 91"/>
                  <a:gd name="T11" fmla="*/ 135 h 270"/>
                  <a:gd name="T12" fmla="*/ 81 w 91"/>
                  <a:gd name="T13" fmla="*/ 108 h 270"/>
                  <a:gd name="T14" fmla="*/ 69 w 91"/>
                  <a:gd name="T15" fmla="*/ 91 h 270"/>
                  <a:gd name="T16" fmla="*/ 69 w 91"/>
                  <a:gd name="T17" fmla="*/ 60 h 270"/>
                  <a:gd name="T18" fmla="*/ 42 w 91"/>
                  <a:gd name="T19" fmla="*/ 37 h 270"/>
                  <a:gd name="T20" fmla="*/ 41 w 91"/>
                  <a:gd name="T21" fmla="*/ 18 h 270"/>
                  <a:gd name="T22" fmla="*/ 47 w 91"/>
                  <a:gd name="T23" fmla="*/ 6 h 270"/>
                  <a:gd name="T24" fmla="*/ 33 w 91"/>
                  <a:gd name="T25" fmla="*/ 7 h 270"/>
                  <a:gd name="T26" fmla="*/ 18 w 91"/>
                  <a:gd name="T27" fmla="*/ 0 h 270"/>
                  <a:gd name="T28" fmla="*/ 7 w 91"/>
                  <a:gd name="T29" fmla="*/ 1 h 270"/>
                  <a:gd name="T30" fmla="*/ 7 w 91"/>
                  <a:gd name="T31" fmla="*/ 12 h 270"/>
                  <a:gd name="T32" fmla="*/ 0 w 91"/>
                  <a:gd name="T33" fmla="*/ 21 h 270"/>
                  <a:gd name="T34" fmla="*/ 22 w 91"/>
                  <a:gd name="T35" fmla="*/ 39 h 270"/>
                  <a:gd name="T36" fmla="*/ 14 w 91"/>
                  <a:gd name="T37" fmla="*/ 88 h 270"/>
                  <a:gd name="T38" fmla="*/ 30 w 91"/>
                  <a:gd name="T39" fmla="*/ 85 h 270"/>
                  <a:gd name="T40" fmla="*/ 26 w 91"/>
                  <a:gd name="T41" fmla="*/ 110 h 270"/>
                  <a:gd name="T42" fmla="*/ 33 w 91"/>
                  <a:gd name="T43" fmla="*/ 120 h 270"/>
                  <a:gd name="T44" fmla="*/ 21 w 91"/>
                  <a:gd name="T45" fmla="*/ 131 h 270"/>
                  <a:gd name="T46" fmla="*/ 39 w 91"/>
                  <a:gd name="T47" fmla="*/ 145 h 270"/>
                  <a:gd name="T48" fmla="*/ 35 w 91"/>
                  <a:gd name="T49" fmla="*/ 154 h 270"/>
                  <a:gd name="T50" fmla="*/ 33 w 91"/>
                  <a:gd name="T51" fmla="*/ 183 h 270"/>
                  <a:gd name="T52" fmla="*/ 30 w 91"/>
                  <a:gd name="T53" fmla="*/ 195 h 270"/>
                  <a:gd name="T54" fmla="*/ 38 w 91"/>
                  <a:gd name="T55" fmla="*/ 202 h 270"/>
                  <a:gd name="T56" fmla="*/ 33 w 91"/>
                  <a:gd name="T57" fmla="*/ 225 h 270"/>
                  <a:gd name="T58" fmla="*/ 41 w 91"/>
                  <a:gd name="T59" fmla="*/ 253 h 270"/>
                  <a:gd name="T60" fmla="*/ 61 w 91"/>
                  <a:gd name="T61" fmla="*/ 270 h 270"/>
                  <a:gd name="T62" fmla="*/ 78 w 91"/>
                  <a:gd name="T63" fmla="*/ 259 h 270"/>
                  <a:gd name="T64" fmla="*/ 91 w 91"/>
                  <a:gd name="T65" fmla="*/ 258 h 270"/>
                  <a:gd name="T66" fmla="*/ 82 w 91"/>
                  <a:gd name="T67" fmla="*/ 239 h 27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91"/>
                  <a:gd name="T103" fmla="*/ 0 h 270"/>
                  <a:gd name="T104" fmla="*/ 91 w 91"/>
                  <a:gd name="T105" fmla="*/ 270 h 27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91" h="270">
                    <a:moveTo>
                      <a:pt x="82" y="239"/>
                    </a:moveTo>
                    <a:cubicBezTo>
                      <a:pt x="80" y="195"/>
                      <a:pt x="80" y="195"/>
                      <a:pt x="80" y="195"/>
                    </a:cubicBezTo>
                    <a:cubicBezTo>
                      <a:pt x="85" y="188"/>
                      <a:pt x="85" y="188"/>
                      <a:pt x="85" y="188"/>
                    </a:cubicBezTo>
                    <a:cubicBezTo>
                      <a:pt x="79" y="182"/>
                      <a:pt x="79" y="182"/>
                      <a:pt x="79" y="182"/>
                    </a:cubicBezTo>
                    <a:cubicBezTo>
                      <a:pt x="80" y="143"/>
                      <a:pt x="80" y="143"/>
                      <a:pt x="80" y="143"/>
                    </a:cubicBezTo>
                    <a:cubicBezTo>
                      <a:pt x="85" y="135"/>
                      <a:pt x="85" y="135"/>
                      <a:pt x="85" y="135"/>
                    </a:cubicBezTo>
                    <a:cubicBezTo>
                      <a:pt x="85" y="135"/>
                      <a:pt x="80" y="116"/>
                      <a:pt x="81" y="108"/>
                    </a:cubicBezTo>
                    <a:cubicBezTo>
                      <a:pt x="82" y="100"/>
                      <a:pt x="69" y="91"/>
                      <a:pt x="69" y="91"/>
                    </a:cubicBezTo>
                    <a:cubicBezTo>
                      <a:pt x="69" y="91"/>
                      <a:pt x="71" y="68"/>
                      <a:pt x="69" y="60"/>
                    </a:cubicBezTo>
                    <a:cubicBezTo>
                      <a:pt x="67" y="52"/>
                      <a:pt x="42" y="37"/>
                      <a:pt x="42" y="37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88"/>
                      <a:pt x="26" y="78"/>
                      <a:pt x="30" y="85"/>
                    </a:cubicBezTo>
                    <a:cubicBezTo>
                      <a:pt x="34" y="92"/>
                      <a:pt x="26" y="110"/>
                      <a:pt x="26" y="110"/>
                    </a:cubicBezTo>
                    <a:cubicBezTo>
                      <a:pt x="26" y="110"/>
                      <a:pt x="34" y="117"/>
                      <a:pt x="33" y="120"/>
                    </a:cubicBezTo>
                    <a:cubicBezTo>
                      <a:pt x="32" y="123"/>
                      <a:pt x="21" y="131"/>
                      <a:pt x="21" y="131"/>
                    </a:cubicBezTo>
                    <a:cubicBezTo>
                      <a:pt x="21" y="131"/>
                      <a:pt x="38" y="139"/>
                      <a:pt x="39" y="145"/>
                    </a:cubicBezTo>
                    <a:cubicBezTo>
                      <a:pt x="40" y="151"/>
                      <a:pt x="35" y="154"/>
                      <a:pt x="35" y="154"/>
                    </a:cubicBezTo>
                    <a:cubicBezTo>
                      <a:pt x="33" y="183"/>
                      <a:pt x="33" y="183"/>
                      <a:pt x="33" y="183"/>
                    </a:cubicBezTo>
                    <a:cubicBezTo>
                      <a:pt x="33" y="183"/>
                      <a:pt x="30" y="190"/>
                      <a:pt x="30" y="195"/>
                    </a:cubicBezTo>
                    <a:cubicBezTo>
                      <a:pt x="30" y="200"/>
                      <a:pt x="37" y="196"/>
                      <a:pt x="38" y="202"/>
                    </a:cubicBezTo>
                    <a:cubicBezTo>
                      <a:pt x="39" y="208"/>
                      <a:pt x="33" y="225"/>
                      <a:pt x="33" y="225"/>
                    </a:cubicBezTo>
                    <a:cubicBezTo>
                      <a:pt x="41" y="253"/>
                      <a:pt x="41" y="253"/>
                      <a:pt x="41" y="253"/>
                    </a:cubicBezTo>
                    <a:cubicBezTo>
                      <a:pt x="61" y="270"/>
                      <a:pt x="61" y="270"/>
                      <a:pt x="61" y="270"/>
                    </a:cubicBezTo>
                    <a:cubicBezTo>
                      <a:pt x="66" y="264"/>
                      <a:pt x="72" y="260"/>
                      <a:pt x="78" y="259"/>
                    </a:cubicBezTo>
                    <a:cubicBezTo>
                      <a:pt x="82" y="258"/>
                      <a:pt x="86" y="258"/>
                      <a:pt x="91" y="258"/>
                    </a:cubicBezTo>
                    <a:cubicBezTo>
                      <a:pt x="91" y="248"/>
                      <a:pt x="82" y="239"/>
                      <a:pt x="82" y="23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2" name="MCShape 114">
                <a:extLst>
                  <a:ext uri="{FF2B5EF4-FFF2-40B4-BE49-F238E27FC236}">
                    <a16:creationId xmlns:a16="http://schemas.microsoft.com/office/drawing/2014/main" id="{37DA7123-B70A-46B5-8188-70B98275F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8472" y="3821815"/>
                <a:ext cx="89711" cy="196436"/>
              </a:xfrm>
              <a:custGeom>
                <a:avLst/>
                <a:gdLst>
                  <a:gd name="T0" fmla="*/ 94 w 150"/>
                  <a:gd name="T1" fmla="*/ 247 h 332"/>
                  <a:gd name="T2" fmla="*/ 97 w 150"/>
                  <a:gd name="T3" fmla="*/ 228 h 332"/>
                  <a:gd name="T4" fmla="*/ 94 w 150"/>
                  <a:gd name="T5" fmla="*/ 206 h 332"/>
                  <a:gd name="T6" fmla="*/ 96 w 150"/>
                  <a:gd name="T7" fmla="*/ 183 h 332"/>
                  <a:gd name="T8" fmla="*/ 112 w 150"/>
                  <a:gd name="T9" fmla="*/ 177 h 332"/>
                  <a:gd name="T10" fmla="*/ 118 w 150"/>
                  <a:gd name="T11" fmla="*/ 148 h 332"/>
                  <a:gd name="T12" fmla="*/ 133 w 150"/>
                  <a:gd name="T13" fmla="*/ 132 h 332"/>
                  <a:gd name="T14" fmla="*/ 135 w 150"/>
                  <a:gd name="T15" fmla="*/ 105 h 332"/>
                  <a:gd name="T16" fmla="*/ 148 w 150"/>
                  <a:gd name="T17" fmla="*/ 95 h 332"/>
                  <a:gd name="T18" fmla="*/ 144 w 150"/>
                  <a:gd name="T19" fmla="*/ 85 h 332"/>
                  <a:gd name="T20" fmla="*/ 145 w 150"/>
                  <a:gd name="T21" fmla="*/ 76 h 332"/>
                  <a:gd name="T22" fmla="*/ 131 w 150"/>
                  <a:gd name="T23" fmla="*/ 51 h 332"/>
                  <a:gd name="T24" fmla="*/ 139 w 150"/>
                  <a:gd name="T25" fmla="*/ 31 h 332"/>
                  <a:gd name="T26" fmla="*/ 118 w 150"/>
                  <a:gd name="T27" fmla="*/ 22 h 332"/>
                  <a:gd name="T28" fmla="*/ 96 w 150"/>
                  <a:gd name="T29" fmla="*/ 0 h 332"/>
                  <a:gd name="T30" fmla="*/ 79 w 150"/>
                  <a:gd name="T31" fmla="*/ 7 h 332"/>
                  <a:gd name="T32" fmla="*/ 76 w 150"/>
                  <a:gd name="T33" fmla="*/ 23 h 332"/>
                  <a:gd name="T34" fmla="*/ 83 w 150"/>
                  <a:gd name="T35" fmla="*/ 26 h 332"/>
                  <a:gd name="T36" fmla="*/ 77 w 150"/>
                  <a:gd name="T37" fmla="*/ 28 h 332"/>
                  <a:gd name="T38" fmla="*/ 74 w 150"/>
                  <a:gd name="T39" fmla="*/ 39 h 332"/>
                  <a:gd name="T40" fmla="*/ 63 w 150"/>
                  <a:gd name="T41" fmla="*/ 43 h 332"/>
                  <a:gd name="T42" fmla="*/ 58 w 150"/>
                  <a:gd name="T43" fmla="*/ 53 h 332"/>
                  <a:gd name="T44" fmla="*/ 32 w 150"/>
                  <a:gd name="T45" fmla="*/ 51 h 332"/>
                  <a:gd name="T46" fmla="*/ 19 w 150"/>
                  <a:gd name="T47" fmla="*/ 70 h 332"/>
                  <a:gd name="T48" fmla="*/ 11 w 150"/>
                  <a:gd name="T49" fmla="*/ 70 h 332"/>
                  <a:gd name="T50" fmla="*/ 6 w 150"/>
                  <a:gd name="T51" fmla="*/ 77 h 332"/>
                  <a:gd name="T52" fmla="*/ 0 w 150"/>
                  <a:gd name="T53" fmla="*/ 89 h 332"/>
                  <a:gd name="T54" fmla="*/ 1 w 150"/>
                  <a:gd name="T55" fmla="*/ 108 h 332"/>
                  <a:gd name="T56" fmla="*/ 28 w 150"/>
                  <a:gd name="T57" fmla="*/ 131 h 332"/>
                  <a:gd name="T58" fmla="*/ 28 w 150"/>
                  <a:gd name="T59" fmla="*/ 162 h 332"/>
                  <a:gd name="T60" fmla="*/ 40 w 150"/>
                  <a:gd name="T61" fmla="*/ 179 h 332"/>
                  <a:gd name="T62" fmla="*/ 44 w 150"/>
                  <a:gd name="T63" fmla="*/ 206 h 332"/>
                  <a:gd name="T64" fmla="*/ 39 w 150"/>
                  <a:gd name="T65" fmla="*/ 214 h 332"/>
                  <a:gd name="T66" fmla="*/ 38 w 150"/>
                  <a:gd name="T67" fmla="*/ 253 h 332"/>
                  <a:gd name="T68" fmla="*/ 44 w 150"/>
                  <a:gd name="T69" fmla="*/ 259 h 332"/>
                  <a:gd name="T70" fmla="*/ 39 w 150"/>
                  <a:gd name="T71" fmla="*/ 266 h 332"/>
                  <a:gd name="T72" fmla="*/ 41 w 150"/>
                  <a:gd name="T73" fmla="*/ 310 h 332"/>
                  <a:gd name="T74" fmla="*/ 50 w 150"/>
                  <a:gd name="T75" fmla="*/ 329 h 332"/>
                  <a:gd name="T76" fmla="*/ 50 w 150"/>
                  <a:gd name="T77" fmla="*/ 329 h 332"/>
                  <a:gd name="T78" fmla="*/ 73 w 150"/>
                  <a:gd name="T79" fmla="*/ 332 h 332"/>
                  <a:gd name="T80" fmla="*/ 81 w 150"/>
                  <a:gd name="T81" fmla="*/ 318 h 332"/>
                  <a:gd name="T82" fmla="*/ 91 w 150"/>
                  <a:gd name="T83" fmla="*/ 323 h 332"/>
                  <a:gd name="T84" fmla="*/ 95 w 150"/>
                  <a:gd name="T85" fmla="*/ 306 h 332"/>
                  <a:gd name="T86" fmla="*/ 94 w 150"/>
                  <a:gd name="T87" fmla="*/ 247 h 33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0"/>
                  <a:gd name="T133" fmla="*/ 0 h 332"/>
                  <a:gd name="T134" fmla="*/ 150 w 150"/>
                  <a:gd name="T135" fmla="*/ 332 h 33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0" h="332">
                    <a:moveTo>
                      <a:pt x="94" y="247"/>
                    </a:moveTo>
                    <a:cubicBezTo>
                      <a:pt x="97" y="228"/>
                      <a:pt x="97" y="228"/>
                      <a:pt x="97" y="228"/>
                    </a:cubicBezTo>
                    <a:cubicBezTo>
                      <a:pt x="94" y="206"/>
                      <a:pt x="94" y="206"/>
                      <a:pt x="94" y="206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6" y="183"/>
                      <a:pt x="104" y="187"/>
                      <a:pt x="112" y="177"/>
                    </a:cubicBezTo>
                    <a:cubicBezTo>
                      <a:pt x="120" y="167"/>
                      <a:pt x="115" y="155"/>
                      <a:pt x="118" y="148"/>
                    </a:cubicBezTo>
                    <a:cubicBezTo>
                      <a:pt x="121" y="141"/>
                      <a:pt x="133" y="132"/>
                      <a:pt x="133" y="132"/>
                    </a:cubicBezTo>
                    <a:cubicBezTo>
                      <a:pt x="135" y="105"/>
                      <a:pt x="135" y="105"/>
                      <a:pt x="135" y="105"/>
                    </a:cubicBezTo>
                    <a:cubicBezTo>
                      <a:pt x="135" y="105"/>
                      <a:pt x="146" y="102"/>
                      <a:pt x="148" y="95"/>
                    </a:cubicBezTo>
                    <a:cubicBezTo>
                      <a:pt x="150" y="88"/>
                      <a:pt x="144" y="85"/>
                      <a:pt x="144" y="85"/>
                    </a:cubicBezTo>
                    <a:cubicBezTo>
                      <a:pt x="144" y="85"/>
                      <a:pt x="145" y="82"/>
                      <a:pt x="145" y="76"/>
                    </a:cubicBezTo>
                    <a:cubicBezTo>
                      <a:pt x="145" y="70"/>
                      <a:pt x="130" y="58"/>
                      <a:pt x="131" y="51"/>
                    </a:cubicBezTo>
                    <a:cubicBezTo>
                      <a:pt x="132" y="44"/>
                      <a:pt x="139" y="31"/>
                      <a:pt x="139" y="31"/>
                    </a:cubicBezTo>
                    <a:cubicBezTo>
                      <a:pt x="139" y="31"/>
                      <a:pt x="123" y="25"/>
                      <a:pt x="118" y="22"/>
                    </a:cubicBezTo>
                    <a:cubicBezTo>
                      <a:pt x="113" y="19"/>
                      <a:pt x="96" y="0"/>
                      <a:pt x="96" y="0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4" y="39"/>
                      <a:pt x="74" y="39"/>
                      <a:pt x="74" y="39"/>
                    </a:cubicBezTo>
                    <a:cubicBezTo>
                      <a:pt x="74" y="39"/>
                      <a:pt x="67" y="40"/>
                      <a:pt x="63" y="43"/>
                    </a:cubicBezTo>
                    <a:cubicBezTo>
                      <a:pt x="59" y="46"/>
                      <a:pt x="58" y="53"/>
                      <a:pt x="58" y="53"/>
                    </a:cubicBezTo>
                    <a:cubicBezTo>
                      <a:pt x="58" y="53"/>
                      <a:pt x="32" y="52"/>
                      <a:pt x="32" y="51"/>
                    </a:cubicBezTo>
                    <a:cubicBezTo>
                      <a:pt x="21" y="56"/>
                      <a:pt x="19" y="70"/>
                      <a:pt x="19" y="70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1" y="108"/>
                      <a:pt x="1" y="108"/>
                      <a:pt x="1" y="108"/>
                    </a:cubicBezTo>
                    <a:cubicBezTo>
                      <a:pt x="1" y="108"/>
                      <a:pt x="26" y="123"/>
                      <a:pt x="28" y="131"/>
                    </a:cubicBezTo>
                    <a:cubicBezTo>
                      <a:pt x="30" y="139"/>
                      <a:pt x="28" y="162"/>
                      <a:pt x="28" y="162"/>
                    </a:cubicBezTo>
                    <a:cubicBezTo>
                      <a:pt x="28" y="162"/>
                      <a:pt x="41" y="171"/>
                      <a:pt x="40" y="179"/>
                    </a:cubicBezTo>
                    <a:cubicBezTo>
                      <a:pt x="39" y="187"/>
                      <a:pt x="44" y="206"/>
                      <a:pt x="44" y="206"/>
                    </a:cubicBezTo>
                    <a:cubicBezTo>
                      <a:pt x="39" y="214"/>
                      <a:pt x="39" y="214"/>
                      <a:pt x="39" y="214"/>
                    </a:cubicBezTo>
                    <a:cubicBezTo>
                      <a:pt x="38" y="253"/>
                      <a:pt x="38" y="253"/>
                      <a:pt x="38" y="253"/>
                    </a:cubicBezTo>
                    <a:cubicBezTo>
                      <a:pt x="44" y="259"/>
                      <a:pt x="44" y="259"/>
                      <a:pt x="44" y="259"/>
                    </a:cubicBezTo>
                    <a:cubicBezTo>
                      <a:pt x="39" y="266"/>
                      <a:pt x="39" y="266"/>
                      <a:pt x="39" y="266"/>
                    </a:cubicBezTo>
                    <a:cubicBezTo>
                      <a:pt x="41" y="310"/>
                      <a:pt x="41" y="310"/>
                      <a:pt x="41" y="310"/>
                    </a:cubicBezTo>
                    <a:cubicBezTo>
                      <a:pt x="41" y="310"/>
                      <a:pt x="50" y="319"/>
                      <a:pt x="50" y="329"/>
                    </a:cubicBezTo>
                    <a:cubicBezTo>
                      <a:pt x="50" y="329"/>
                      <a:pt x="50" y="329"/>
                      <a:pt x="50" y="329"/>
                    </a:cubicBezTo>
                    <a:cubicBezTo>
                      <a:pt x="61" y="330"/>
                      <a:pt x="73" y="332"/>
                      <a:pt x="73" y="332"/>
                    </a:cubicBezTo>
                    <a:cubicBezTo>
                      <a:pt x="81" y="318"/>
                      <a:pt x="81" y="318"/>
                      <a:pt x="81" y="318"/>
                    </a:cubicBezTo>
                    <a:cubicBezTo>
                      <a:pt x="81" y="318"/>
                      <a:pt x="85" y="320"/>
                      <a:pt x="91" y="323"/>
                    </a:cubicBezTo>
                    <a:cubicBezTo>
                      <a:pt x="95" y="306"/>
                      <a:pt x="95" y="306"/>
                      <a:pt x="95" y="306"/>
                    </a:cubicBezTo>
                    <a:lnTo>
                      <a:pt x="94" y="24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3" name="MCShape 115">
                <a:extLst>
                  <a:ext uri="{FF2B5EF4-FFF2-40B4-BE49-F238E27FC236}">
                    <a16:creationId xmlns:a16="http://schemas.microsoft.com/office/drawing/2014/main" id="{D8A301F5-6A0A-4C4E-B00D-D87420584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2607" y="3775413"/>
                <a:ext cx="334096" cy="301614"/>
              </a:xfrm>
              <a:custGeom>
                <a:avLst/>
                <a:gdLst>
                  <a:gd name="T0" fmla="*/ 290 w 567"/>
                  <a:gd name="T1" fmla="*/ 469 h 511"/>
                  <a:gd name="T2" fmla="*/ 333 w 567"/>
                  <a:gd name="T3" fmla="*/ 394 h 511"/>
                  <a:gd name="T4" fmla="*/ 372 w 567"/>
                  <a:gd name="T5" fmla="*/ 375 h 511"/>
                  <a:gd name="T6" fmla="*/ 396 w 567"/>
                  <a:gd name="T7" fmla="*/ 383 h 511"/>
                  <a:gd name="T8" fmla="*/ 417 w 567"/>
                  <a:gd name="T9" fmla="*/ 378 h 511"/>
                  <a:gd name="T10" fmla="*/ 434 w 567"/>
                  <a:gd name="T11" fmla="*/ 343 h 511"/>
                  <a:gd name="T12" fmla="*/ 458 w 567"/>
                  <a:gd name="T13" fmla="*/ 291 h 511"/>
                  <a:gd name="T14" fmla="*/ 484 w 567"/>
                  <a:gd name="T15" fmla="*/ 239 h 511"/>
                  <a:gd name="T16" fmla="*/ 504 w 567"/>
                  <a:gd name="T17" fmla="*/ 200 h 511"/>
                  <a:gd name="T18" fmla="*/ 513 w 567"/>
                  <a:gd name="T19" fmla="*/ 177 h 511"/>
                  <a:gd name="T20" fmla="*/ 533 w 567"/>
                  <a:gd name="T21" fmla="*/ 141 h 511"/>
                  <a:gd name="T22" fmla="*/ 559 w 567"/>
                  <a:gd name="T23" fmla="*/ 111 h 511"/>
                  <a:gd name="T24" fmla="*/ 540 w 567"/>
                  <a:gd name="T25" fmla="*/ 84 h 511"/>
                  <a:gd name="T26" fmla="*/ 517 w 567"/>
                  <a:gd name="T27" fmla="*/ 8 h 511"/>
                  <a:gd name="T28" fmla="*/ 499 w 567"/>
                  <a:gd name="T29" fmla="*/ 22 h 511"/>
                  <a:gd name="T30" fmla="*/ 458 w 567"/>
                  <a:gd name="T31" fmla="*/ 40 h 511"/>
                  <a:gd name="T32" fmla="*/ 382 w 567"/>
                  <a:gd name="T33" fmla="*/ 25 h 511"/>
                  <a:gd name="T34" fmla="*/ 293 w 567"/>
                  <a:gd name="T35" fmla="*/ 55 h 511"/>
                  <a:gd name="T36" fmla="*/ 205 w 567"/>
                  <a:gd name="T37" fmla="*/ 47 h 511"/>
                  <a:gd name="T38" fmla="*/ 174 w 567"/>
                  <a:gd name="T39" fmla="*/ 12 h 511"/>
                  <a:gd name="T40" fmla="*/ 135 w 567"/>
                  <a:gd name="T41" fmla="*/ 1 h 511"/>
                  <a:gd name="T42" fmla="*/ 88 w 567"/>
                  <a:gd name="T43" fmla="*/ 7 h 511"/>
                  <a:gd name="T44" fmla="*/ 68 w 567"/>
                  <a:gd name="T45" fmla="*/ 50 h 511"/>
                  <a:gd name="T46" fmla="*/ 48 w 567"/>
                  <a:gd name="T47" fmla="*/ 110 h 511"/>
                  <a:gd name="T48" fmla="*/ 54 w 567"/>
                  <a:gd name="T49" fmla="*/ 155 h 511"/>
                  <a:gd name="T50" fmla="*/ 57 w 567"/>
                  <a:gd name="T51" fmla="*/ 174 h 511"/>
                  <a:gd name="T52" fmla="*/ 42 w 567"/>
                  <a:gd name="T53" fmla="*/ 211 h 511"/>
                  <a:gd name="T54" fmla="*/ 21 w 567"/>
                  <a:gd name="T55" fmla="*/ 256 h 511"/>
                  <a:gd name="T56" fmla="*/ 3 w 567"/>
                  <a:gd name="T57" fmla="*/ 285 h 511"/>
                  <a:gd name="T58" fmla="*/ 3 w 567"/>
                  <a:gd name="T59" fmla="*/ 326 h 511"/>
                  <a:gd name="T60" fmla="*/ 0 w 567"/>
                  <a:gd name="T61" fmla="*/ 402 h 511"/>
                  <a:gd name="T62" fmla="*/ 44 w 567"/>
                  <a:gd name="T63" fmla="*/ 394 h 511"/>
                  <a:gd name="T64" fmla="*/ 96 w 567"/>
                  <a:gd name="T65" fmla="*/ 413 h 511"/>
                  <a:gd name="T66" fmla="*/ 127 w 567"/>
                  <a:gd name="T67" fmla="*/ 440 h 511"/>
                  <a:gd name="T68" fmla="*/ 133 w 567"/>
                  <a:gd name="T69" fmla="*/ 453 h 511"/>
                  <a:gd name="T70" fmla="*/ 157 w 567"/>
                  <a:gd name="T71" fmla="*/ 510 h 511"/>
                  <a:gd name="T72" fmla="*/ 194 w 567"/>
                  <a:gd name="T73" fmla="*/ 491 h 511"/>
                  <a:gd name="T74" fmla="*/ 228 w 567"/>
                  <a:gd name="T75" fmla="*/ 496 h 511"/>
                  <a:gd name="T76" fmla="*/ 265 w 567"/>
                  <a:gd name="T77" fmla="*/ 504 h 511"/>
                  <a:gd name="T78" fmla="*/ 282 w 567"/>
                  <a:gd name="T79" fmla="*/ 487 h 51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67"/>
                  <a:gd name="T121" fmla="*/ 0 h 511"/>
                  <a:gd name="T122" fmla="*/ 567 w 567"/>
                  <a:gd name="T123" fmla="*/ 511 h 51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67" h="511">
                    <a:moveTo>
                      <a:pt x="281" y="490"/>
                    </a:moveTo>
                    <a:cubicBezTo>
                      <a:pt x="281" y="490"/>
                      <a:pt x="288" y="475"/>
                      <a:pt x="290" y="469"/>
                    </a:cubicBezTo>
                    <a:cubicBezTo>
                      <a:pt x="292" y="463"/>
                      <a:pt x="290" y="431"/>
                      <a:pt x="290" y="431"/>
                    </a:cubicBezTo>
                    <a:cubicBezTo>
                      <a:pt x="333" y="394"/>
                      <a:pt x="333" y="394"/>
                      <a:pt x="333" y="394"/>
                    </a:cubicBezTo>
                    <a:cubicBezTo>
                      <a:pt x="333" y="394"/>
                      <a:pt x="343" y="374"/>
                      <a:pt x="349" y="369"/>
                    </a:cubicBezTo>
                    <a:cubicBezTo>
                      <a:pt x="355" y="364"/>
                      <a:pt x="363" y="377"/>
                      <a:pt x="372" y="375"/>
                    </a:cubicBezTo>
                    <a:cubicBezTo>
                      <a:pt x="381" y="373"/>
                      <a:pt x="368" y="359"/>
                      <a:pt x="375" y="359"/>
                    </a:cubicBezTo>
                    <a:cubicBezTo>
                      <a:pt x="382" y="359"/>
                      <a:pt x="396" y="383"/>
                      <a:pt x="396" y="383"/>
                    </a:cubicBezTo>
                    <a:cubicBezTo>
                      <a:pt x="396" y="383"/>
                      <a:pt x="393" y="399"/>
                      <a:pt x="405" y="399"/>
                    </a:cubicBezTo>
                    <a:cubicBezTo>
                      <a:pt x="417" y="399"/>
                      <a:pt x="417" y="378"/>
                      <a:pt x="417" y="378"/>
                    </a:cubicBezTo>
                    <a:cubicBezTo>
                      <a:pt x="417" y="378"/>
                      <a:pt x="428" y="369"/>
                      <a:pt x="433" y="363"/>
                    </a:cubicBezTo>
                    <a:cubicBezTo>
                      <a:pt x="438" y="357"/>
                      <a:pt x="434" y="343"/>
                      <a:pt x="434" y="343"/>
                    </a:cubicBezTo>
                    <a:cubicBezTo>
                      <a:pt x="450" y="323"/>
                      <a:pt x="450" y="323"/>
                      <a:pt x="450" y="323"/>
                    </a:cubicBezTo>
                    <a:cubicBezTo>
                      <a:pt x="458" y="291"/>
                      <a:pt x="458" y="291"/>
                      <a:pt x="458" y="291"/>
                    </a:cubicBezTo>
                    <a:cubicBezTo>
                      <a:pt x="458" y="291"/>
                      <a:pt x="477" y="284"/>
                      <a:pt x="482" y="274"/>
                    </a:cubicBezTo>
                    <a:cubicBezTo>
                      <a:pt x="487" y="264"/>
                      <a:pt x="482" y="246"/>
                      <a:pt x="484" y="239"/>
                    </a:cubicBezTo>
                    <a:cubicBezTo>
                      <a:pt x="486" y="232"/>
                      <a:pt x="496" y="239"/>
                      <a:pt x="501" y="230"/>
                    </a:cubicBezTo>
                    <a:cubicBezTo>
                      <a:pt x="506" y="221"/>
                      <a:pt x="504" y="200"/>
                      <a:pt x="504" y="200"/>
                    </a:cubicBezTo>
                    <a:cubicBezTo>
                      <a:pt x="511" y="196"/>
                      <a:pt x="511" y="196"/>
                      <a:pt x="511" y="196"/>
                    </a:cubicBezTo>
                    <a:cubicBezTo>
                      <a:pt x="513" y="177"/>
                      <a:pt x="513" y="177"/>
                      <a:pt x="513" y="177"/>
                    </a:cubicBezTo>
                    <a:cubicBezTo>
                      <a:pt x="513" y="177"/>
                      <a:pt x="523" y="164"/>
                      <a:pt x="524" y="161"/>
                    </a:cubicBezTo>
                    <a:cubicBezTo>
                      <a:pt x="525" y="158"/>
                      <a:pt x="533" y="141"/>
                      <a:pt x="533" y="141"/>
                    </a:cubicBezTo>
                    <a:cubicBezTo>
                      <a:pt x="533" y="141"/>
                      <a:pt x="547" y="138"/>
                      <a:pt x="557" y="129"/>
                    </a:cubicBezTo>
                    <a:cubicBezTo>
                      <a:pt x="567" y="120"/>
                      <a:pt x="559" y="111"/>
                      <a:pt x="559" y="111"/>
                    </a:cubicBezTo>
                    <a:cubicBezTo>
                      <a:pt x="559" y="111"/>
                      <a:pt x="563" y="98"/>
                      <a:pt x="562" y="87"/>
                    </a:cubicBezTo>
                    <a:cubicBezTo>
                      <a:pt x="561" y="76"/>
                      <a:pt x="542" y="87"/>
                      <a:pt x="540" y="84"/>
                    </a:cubicBezTo>
                    <a:cubicBezTo>
                      <a:pt x="538" y="81"/>
                      <a:pt x="536" y="40"/>
                      <a:pt x="536" y="40"/>
                    </a:cubicBezTo>
                    <a:cubicBezTo>
                      <a:pt x="517" y="8"/>
                      <a:pt x="517" y="8"/>
                      <a:pt x="517" y="8"/>
                    </a:cubicBezTo>
                    <a:cubicBezTo>
                      <a:pt x="517" y="8"/>
                      <a:pt x="511" y="8"/>
                      <a:pt x="507" y="8"/>
                    </a:cubicBezTo>
                    <a:cubicBezTo>
                      <a:pt x="503" y="8"/>
                      <a:pt x="499" y="22"/>
                      <a:pt x="499" y="22"/>
                    </a:cubicBezTo>
                    <a:cubicBezTo>
                      <a:pt x="499" y="22"/>
                      <a:pt x="490" y="19"/>
                      <a:pt x="483" y="23"/>
                    </a:cubicBezTo>
                    <a:cubicBezTo>
                      <a:pt x="476" y="27"/>
                      <a:pt x="458" y="40"/>
                      <a:pt x="458" y="40"/>
                    </a:cubicBezTo>
                    <a:cubicBezTo>
                      <a:pt x="440" y="39"/>
                      <a:pt x="440" y="39"/>
                      <a:pt x="440" y="39"/>
                    </a:cubicBezTo>
                    <a:cubicBezTo>
                      <a:pt x="440" y="39"/>
                      <a:pt x="424" y="25"/>
                      <a:pt x="382" y="25"/>
                    </a:cubicBezTo>
                    <a:cubicBezTo>
                      <a:pt x="340" y="25"/>
                      <a:pt x="328" y="60"/>
                      <a:pt x="328" y="60"/>
                    </a:cubicBezTo>
                    <a:cubicBezTo>
                      <a:pt x="328" y="60"/>
                      <a:pt x="312" y="56"/>
                      <a:pt x="293" y="55"/>
                    </a:cubicBezTo>
                    <a:cubicBezTo>
                      <a:pt x="274" y="54"/>
                      <a:pt x="262" y="26"/>
                      <a:pt x="250" y="26"/>
                    </a:cubicBezTo>
                    <a:cubicBezTo>
                      <a:pt x="238" y="26"/>
                      <a:pt x="214" y="46"/>
                      <a:pt x="205" y="47"/>
                    </a:cubicBezTo>
                    <a:cubicBezTo>
                      <a:pt x="196" y="48"/>
                      <a:pt x="191" y="26"/>
                      <a:pt x="191" y="26"/>
                    </a:cubicBezTo>
                    <a:cubicBezTo>
                      <a:pt x="174" y="12"/>
                      <a:pt x="174" y="12"/>
                      <a:pt x="174" y="12"/>
                    </a:cubicBezTo>
                    <a:cubicBezTo>
                      <a:pt x="174" y="12"/>
                      <a:pt x="162" y="12"/>
                      <a:pt x="155" y="11"/>
                    </a:cubicBezTo>
                    <a:cubicBezTo>
                      <a:pt x="148" y="10"/>
                      <a:pt x="149" y="0"/>
                      <a:pt x="135" y="1"/>
                    </a:cubicBezTo>
                    <a:cubicBezTo>
                      <a:pt x="121" y="2"/>
                      <a:pt x="122" y="8"/>
                      <a:pt x="122" y="8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69" y="24"/>
                      <a:pt x="69" y="24"/>
                      <a:pt x="69" y="24"/>
                    </a:cubicBezTo>
                    <a:cubicBezTo>
                      <a:pt x="69" y="24"/>
                      <a:pt x="69" y="35"/>
                      <a:pt x="68" y="50"/>
                    </a:cubicBezTo>
                    <a:cubicBezTo>
                      <a:pt x="67" y="65"/>
                      <a:pt x="45" y="76"/>
                      <a:pt x="45" y="76"/>
                    </a:cubicBezTo>
                    <a:cubicBezTo>
                      <a:pt x="48" y="110"/>
                      <a:pt x="48" y="110"/>
                      <a:pt x="48" y="110"/>
                    </a:cubicBezTo>
                    <a:cubicBezTo>
                      <a:pt x="48" y="110"/>
                      <a:pt x="41" y="123"/>
                      <a:pt x="40" y="130"/>
                    </a:cubicBezTo>
                    <a:cubicBezTo>
                      <a:pt x="39" y="137"/>
                      <a:pt x="54" y="149"/>
                      <a:pt x="54" y="155"/>
                    </a:cubicBezTo>
                    <a:cubicBezTo>
                      <a:pt x="54" y="161"/>
                      <a:pt x="53" y="164"/>
                      <a:pt x="53" y="164"/>
                    </a:cubicBezTo>
                    <a:cubicBezTo>
                      <a:pt x="53" y="164"/>
                      <a:pt x="59" y="167"/>
                      <a:pt x="57" y="174"/>
                    </a:cubicBezTo>
                    <a:cubicBezTo>
                      <a:pt x="55" y="181"/>
                      <a:pt x="44" y="184"/>
                      <a:pt x="44" y="184"/>
                    </a:cubicBezTo>
                    <a:cubicBezTo>
                      <a:pt x="42" y="211"/>
                      <a:pt x="42" y="211"/>
                      <a:pt x="42" y="211"/>
                    </a:cubicBezTo>
                    <a:cubicBezTo>
                      <a:pt x="42" y="211"/>
                      <a:pt x="30" y="220"/>
                      <a:pt x="27" y="227"/>
                    </a:cubicBezTo>
                    <a:cubicBezTo>
                      <a:pt x="24" y="234"/>
                      <a:pt x="29" y="246"/>
                      <a:pt x="21" y="256"/>
                    </a:cubicBezTo>
                    <a:cubicBezTo>
                      <a:pt x="13" y="266"/>
                      <a:pt x="5" y="262"/>
                      <a:pt x="5" y="262"/>
                    </a:cubicBezTo>
                    <a:cubicBezTo>
                      <a:pt x="3" y="285"/>
                      <a:pt x="3" y="285"/>
                      <a:pt x="3" y="285"/>
                    </a:cubicBezTo>
                    <a:cubicBezTo>
                      <a:pt x="6" y="307"/>
                      <a:pt x="6" y="307"/>
                      <a:pt x="6" y="307"/>
                    </a:cubicBezTo>
                    <a:cubicBezTo>
                      <a:pt x="3" y="326"/>
                      <a:pt x="3" y="326"/>
                      <a:pt x="3" y="326"/>
                    </a:cubicBezTo>
                    <a:cubicBezTo>
                      <a:pt x="4" y="385"/>
                      <a:pt x="4" y="385"/>
                      <a:pt x="4" y="385"/>
                    </a:cubicBezTo>
                    <a:cubicBezTo>
                      <a:pt x="0" y="402"/>
                      <a:pt x="0" y="402"/>
                      <a:pt x="0" y="402"/>
                    </a:cubicBezTo>
                    <a:cubicBezTo>
                      <a:pt x="7" y="405"/>
                      <a:pt x="17" y="408"/>
                      <a:pt x="23" y="406"/>
                    </a:cubicBezTo>
                    <a:cubicBezTo>
                      <a:pt x="34" y="402"/>
                      <a:pt x="44" y="394"/>
                      <a:pt x="44" y="394"/>
                    </a:cubicBezTo>
                    <a:cubicBezTo>
                      <a:pt x="47" y="401"/>
                      <a:pt x="47" y="401"/>
                      <a:pt x="47" y="401"/>
                    </a:cubicBezTo>
                    <a:cubicBezTo>
                      <a:pt x="47" y="401"/>
                      <a:pt x="80" y="394"/>
                      <a:pt x="96" y="413"/>
                    </a:cubicBezTo>
                    <a:cubicBezTo>
                      <a:pt x="112" y="432"/>
                      <a:pt x="113" y="441"/>
                      <a:pt x="113" y="441"/>
                    </a:cubicBezTo>
                    <a:cubicBezTo>
                      <a:pt x="127" y="440"/>
                      <a:pt x="127" y="440"/>
                      <a:pt x="127" y="440"/>
                    </a:cubicBezTo>
                    <a:cubicBezTo>
                      <a:pt x="127" y="440"/>
                      <a:pt x="117" y="455"/>
                      <a:pt x="120" y="456"/>
                    </a:cubicBezTo>
                    <a:cubicBezTo>
                      <a:pt x="123" y="457"/>
                      <a:pt x="133" y="450"/>
                      <a:pt x="133" y="453"/>
                    </a:cubicBezTo>
                    <a:cubicBezTo>
                      <a:pt x="133" y="456"/>
                      <a:pt x="128" y="464"/>
                      <a:pt x="128" y="472"/>
                    </a:cubicBezTo>
                    <a:cubicBezTo>
                      <a:pt x="128" y="480"/>
                      <a:pt x="136" y="509"/>
                      <a:pt x="157" y="510"/>
                    </a:cubicBezTo>
                    <a:cubicBezTo>
                      <a:pt x="178" y="511"/>
                      <a:pt x="191" y="509"/>
                      <a:pt x="191" y="509"/>
                    </a:cubicBezTo>
                    <a:cubicBezTo>
                      <a:pt x="194" y="491"/>
                      <a:pt x="194" y="491"/>
                      <a:pt x="194" y="491"/>
                    </a:cubicBezTo>
                    <a:cubicBezTo>
                      <a:pt x="212" y="501"/>
                      <a:pt x="212" y="501"/>
                      <a:pt x="212" y="501"/>
                    </a:cubicBezTo>
                    <a:cubicBezTo>
                      <a:pt x="228" y="496"/>
                      <a:pt x="228" y="496"/>
                      <a:pt x="228" y="496"/>
                    </a:cubicBezTo>
                    <a:cubicBezTo>
                      <a:pt x="237" y="505"/>
                      <a:pt x="237" y="505"/>
                      <a:pt x="237" y="505"/>
                    </a:cubicBezTo>
                    <a:cubicBezTo>
                      <a:pt x="265" y="504"/>
                      <a:pt x="265" y="504"/>
                      <a:pt x="265" y="504"/>
                    </a:cubicBezTo>
                    <a:cubicBezTo>
                      <a:pt x="265" y="488"/>
                      <a:pt x="265" y="488"/>
                      <a:pt x="265" y="488"/>
                    </a:cubicBezTo>
                    <a:cubicBezTo>
                      <a:pt x="282" y="487"/>
                      <a:pt x="282" y="487"/>
                      <a:pt x="282" y="487"/>
                    </a:cubicBezTo>
                    <a:cubicBezTo>
                      <a:pt x="281" y="490"/>
                      <a:pt x="281" y="490"/>
                      <a:pt x="281" y="49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4" name="MCShape 116">
                <a:extLst>
                  <a:ext uri="{FF2B5EF4-FFF2-40B4-BE49-F238E27FC236}">
                    <a16:creationId xmlns:a16="http://schemas.microsoft.com/office/drawing/2014/main" id="{8CB7B15F-9B36-4955-BDBB-A03C728AC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1129" y="3467613"/>
                <a:ext cx="293880" cy="513518"/>
              </a:xfrm>
              <a:custGeom>
                <a:avLst/>
                <a:gdLst>
                  <a:gd name="T0" fmla="*/ 496 w 496"/>
                  <a:gd name="T1" fmla="*/ 420 h 866"/>
                  <a:gd name="T2" fmla="*/ 119 w 496"/>
                  <a:gd name="T3" fmla="*/ 0 h 866"/>
                  <a:gd name="T4" fmla="*/ 83 w 496"/>
                  <a:gd name="T5" fmla="*/ 72 h 866"/>
                  <a:gd name="T6" fmla="*/ 95 w 496"/>
                  <a:gd name="T7" fmla="*/ 129 h 866"/>
                  <a:gd name="T8" fmla="*/ 120 w 496"/>
                  <a:gd name="T9" fmla="*/ 169 h 866"/>
                  <a:gd name="T10" fmla="*/ 96 w 496"/>
                  <a:gd name="T11" fmla="*/ 356 h 866"/>
                  <a:gd name="T12" fmla="*/ 13 w 496"/>
                  <a:gd name="T13" fmla="*/ 479 h 866"/>
                  <a:gd name="T14" fmla="*/ 3 w 496"/>
                  <a:gd name="T15" fmla="*/ 526 h 866"/>
                  <a:gd name="T16" fmla="*/ 29 w 496"/>
                  <a:gd name="T17" fmla="*/ 558 h 866"/>
                  <a:gd name="T18" fmla="*/ 29 w 496"/>
                  <a:gd name="T19" fmla="*/ 561 h 866"/>
                  <a:gd name="T20" fmla="*/ 50 w 496"/>
                  <a:gd name="T21" fmla="*/ 576 h 866"/>
                  <a:gd name="T22" fmla="*/ 66 w 496"/>
                  <a:gd name="T23" fmla="*/ 611 h 866"/>
                  <a:gd name="T24" fmla="*/ 74 w 496"/>
                  <a:gd name="T25" fmla="*/ 650 h 866"/>
                  <a:gd name="T26" fmla="*/ 106 w 496"/>
                  <a:gd name="T27" fmla="*/ 724 h 866"/>
                  <a:gd name="T28" fmla="*/ 31 w 496"/>
                  <a:gd name="T29" fmla="*/ 733 h 866"/>
                  <a:gd name="T30" fmla="*/ 87 w 496"/>
                  <a:gd name="T31" fmla="*/ 802 h 866"/>
                  <a:gd name="T32" fmla="*/ 123 w 496"/>
                  <a:gd name="T33" fmla="*/ 860 h 866"/>
                  <a:gd name="T34" fmla="*/ 165 w 496"/>
                  <a:gd name="T35" fmla="*/ 858 h 866"/>
                  <a:gd name="T36" fmla="*/ 248 w 496"/>
                  <a:gd name="T37" fmla="*/ 833 h 866"/>
                  <a:gd name="T38" fmla="*/ 253 w 496"/>
                  <a:gd name="T39" fmla="*/ 788 h 866"/>
                  <a:gd name="T40" fmla="*/ 338 w 496"/>
                  <a:gd name="T41" fmla="*/ 765 h 866"/>
                  <a:gd name="T42" fmla="*/ 378 w 496"/>
                  <a:gd name="T43" fmla="*/ 723 h 866"/>
                  <a:gd name="T44" fmla="*/ 393 w 496"/>
                  <a:gd name="T45" fmla="*/ 691 h 866"/>
                  <a:gd name="T46" fmla="*/ 446 w 496"/>
                  <a:gd name="T47" fmla="*/ 674 h 866"/>
                  <a:gd name="T48" fmla="*/ 451 w 496"/>
                  <a:gd name="T49" fmla="*/ 656 h 866"/>
                  <a:gd name="T50" fmla="*/ 426 w 496"/>
                  <a:gd name="T51" fmla="*/ 625 h 866"/>
                  <a:gd name="T52" fmla="*/ 428 w 496"/>
                  <a:gd name="T53" fmla="*/ 612 h 866"/>
                  <a:gd name="T54" fmla="*/ 406 w 496"/>
                  <a:gd name="T55" fmla="*/ 587 h 866"/>
                  <a:gd name="T56" fmla="*/ 417 w 496"/>
                  <a:gd name="T57" fmla="*/ 549 h 866"/>
                  <a:gd name="T58" fmla="*/ 419 w 496"/>
                  <a:gd name="T59" fmla="*/ 508 h 866"/>
                  <a:gd name="T60" fmla="*/ 425 w 496"/>
                  <a:gd name="T61" fmla="*/ 490 h 866"/>
                  <a:gd name="T62" fmla="*/ 432 w 496"/>
                  <a:gd name="T63" fmla="*/ 474 h 866"/>
                  <a:gd name="T64" fmla="*/ 449 w 496"/>
                  <a:gd name="T65" fmla="*/ 442 h 86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96"/>
                  <a:gd name="T100" fmla="*/ 0 h 866"/>
                  <a:gd name="T101" fmla="*/ 496 w 496"/>
                  <a:gd name="T102" fmla="*/ 866 h 86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96" h="866">
                    <a:moveTo>
                      <a:pt x="451" y="419"/>
                    </a:moveTo>
                    <a:cubicBezTo>
                      <a:pt x="464" y="415"/>
                      <a:pt x="496" y="420"/>
                      <a:pt x="496" y="420"/>
                    </a:cubicBezTo>
                    <a:cubicBezTo>
                      <a:pt x="492" y="216"/>
                      <a:pt x="492" y="216"/>
                      <a:pt x="492" y="216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94" y="15"/>
                      <a:pt x="71" y="28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76" y="105"/>
                      <a:pt x="76" y="105"/>
                      <a:pt x="76" y="105"/>
                    </a:cubicBezTo>
                    <a:cubicBezTo>
                      <a:pt x="95" y="129"/>
                      <a:pt x="95" y="129"/>
                      <a:pt x="95" y="129"/>
                    </a:cubicBezTo>
                    <a:cubicBezTo>
                      <a:pt x="100" y="145"/>
                      <a:pt x="100" y="145"/>
                      <a:pt x="100" y="145"/>
                    </a:cubicBezTo>
                    <a:cubicBezTo>
                      <a:pt x="120" y="169"/>
                      <a:pt x="120" y="169"/>
                      <a:pt x="120" y="169"/>
                    </a:cubicBezTo>
                    <a:cubicBezTo>
                      <a:pt x="106" y="194"/>
                      <a:pt x="106" y="194"/>
                      <a:pt x="106" y="194"/>
                    </a:cubicBezTo>
                    <a:cubicBezTo>
                      <a:pt x="96" y="356"/>
                      <a:pt x="96" y="356"/>
                      <a:pt x="96" y="356"/>
                    </a:cubicBezTo>
                    <a:cubicBezTo>
                      <a:pt x="96" y="356"/>
                      <a:pt x="46" y="409"/>
                      <a:pt x="35" y="426"/>
                    </a:cubicBezTo>
                    <a:cubicBezTo>
                      <a:pt x="23" y="442"/>
                      <a:pt x="13" y="479"/>
                      <a:pt x="13" y="479"/>
                    </a:cubicBezTo>
                    <a:cubicBezTo>
                      <a:pt x="0" y="484"/>
                      <a:pt x="0" y="484"/>
                      <a:pt x="0" y="484"/>
                    </a:cubicBezTo>
                    <a:cubicBezTo>
                      <a:pt x="3" y="526"/>
                      <a:pt x="3" y="526"/>
                      <a:pt x="3" y="526"/>
                    </a:cubicBezTo>
                    <a:cubicBezTo>
                      <a:pt x="7" y="526"/>
                      <a:pt x="10" y="526"/>
                      <a:pt x="10" y="526"/>
                    </a:cubicBezTo>
                    <a:cubicBezTo>
                      <a:pt x="29" y="558"/>
                      <a:pt x="29" y="558"/>
                      <a:pt x="29" y="558"/>
                    </a:cubicBezTo>
                    <a:cubicBezTo>
                      <a:pt x="29" y="558"/>
                      <a:pt x="29" y="560"/>
                      <a:pt x="29" y="563"/>
                    </a:cubicBezTo>
                    <a:cubicBezTo>
                      <a:pt x="29" y="562"/>
                      <a:pt x="29" y="561"/>
                      <a:pt x="29" y="561"/>
                    </a:cubicBezTo>
                    <a:cubicBezTo>
                      <a:pt x="45" y="559"/>
                      <a:pt x="45" y="559"/>
                      <a:pt x="45" y="559"/>
                    </a:cubicBezTo>
                    <a:cubicBezTo>
                      <a:pt x="45" y="559"/>
                      <a:pt x="46" y="571"/>
                      <a:pt x="50" y="576"/>
                    </a:cubicBezTo>
                    <a:cubicBezTo>
                      <a:pt x="54" y="581"/>
                      <a:pt x="70" y="584"/>
                      <a:pt x="70" y="584"/>
                    </a:cubicBezTo>
                    <a:cubicBezTo>
                      <a:pt x="66" y="611"/>
                      <a:pt x="66" y="611"/>
                      <a:pt x="66" y="611"/>
                    </a:cubicBezTo>
                    <a:cubicBezTo>
                      <a:pt x="66" y="611"/>
                      <a:pt x="80" y="618"/>
                      <a:pt x="80" y="629"/>
                    </a:cubicBezTo>
                    <a:cubicBezTo>
                      <a:pt x="80" y="640"/>
                      <a:pt x="74" y="650"/>
                      <a:pt x="74" y="650"/>
                    </a:cubicBezTo>
                    <a:cubicBezTo>
                      <a:pt x="74" y="650"/>
                      <a:pt x="75" y="678"/>
                      <a:pt x="80" y="692"/>
                    </a:cubicBezTo>
                    <a:cubicBezTo>
                      <a:pt x="85" y="706"/>
                      <a:pt x="106" y="724"/>
                      <a:pt x="106" y="724"/>
                    </a:cubicBezTo>
                    <a:cubicBezTo>
                      <a:pt x="106" y="724"/>
                      <a:pt x="92" y="725"/>
                      <a:pt x="84" y="726"/>
                    </a:cubicBezTo>
                    <a:cubicBezTo>
                      <a:pt x="76" y="727"/>
                      <a:pt x="36" y="720"/>
                      <a:pt x="31" y="733"/>
                    </a:cubicBezTo>
                    <a:cubicBezTo>
                      <a:pt x="26" y="746"/>
                      <a:pt x="41" y="767"/>
                      <a:pt x="49" y="775"/>
                    </a:cubicBezTo>
                    <a:cubicBezTo>
                      <a:pt x="57" y="783"/>
                      <a:pt x="78" y="792"/>
                      <a:pt x="87" y="802"/>
                    </a:cubicBezTo>
                    <a:cubicBezTo>
                      <a:pt x="96" y="812"/>
                      <a:pt x="101" y="859"/>
                      <a:pt x="101" y="859"/>
                    </a:cubicBezTo>
                    <a:cubicBezTo>
                      <a:pt x="101" y="859"/>
                      <a:pt x="113" y="866"/>
                      <a:pt x="123" y="860"/>
                    </a:cubicBezTo>
                    <a:cubicBezTo>
                      <a:pt x="133" y="853"/>
                      <a:pt x="153" y="838"/>
                      <a:pt x="153" y="838"/>
                    </a:cubicBezTo>
                    <a:cubicBezTo>
                      <a:pt x="153" y="838"/>
                      <a:pt x="146" y="863"/>
                      <a:pt x="165" y="858"/>
                    </a:cubicBezTo>
                    <a:cubicBezTo>
                      <a:pt x="183" y="853"/>
                      <a:pt x="178" y="833"/>
                      <a:pt x="196" y="833"/>
                    </a:cubicBezTo>
                    <a:cubicBezTo>
                      <a:pt x="215" y="833"/>
                      <a:pt x="248" y="833"/>
                      <a:pt x="248" y="833"/>
                    </a:cubicBezTo>
                    <a:cubicBezTo>
                      <a:pt x="248" y="833"/>
                      <a:pt x="263" y="811"/>
                      <a:pt x="268" y="805"/>
                    </a:cubicBezTo>
                    <a:cubicBezTo>
                      <a:pt x="273" y="798"/>
                      <a:pt x="253" y="788"/>
                      <a:pt x="253" y="788"/>
                    </a:cubicBezTo>
                    <a:cubicBezTo>
                      <a:pt x="267" y="780"/>
                      <a:pt x="267" y="780"/>
                      <a:pt x="267" y="780"/>
                    </a:cubicBezTo>
                    <a:cubicBezTo>
                      <a:pt x="267" y="780"/>
                      <a:pt x="307" y="780"/>
                      <a:pt x="338" y="765"/>
                    </a:cubicBezTo>
                    <a:cubicBezTo>
                      <a:pt x="370" y="750"/>
                      <a:pt x="365" y="728"/>
                      <a:pt x="365" y="728"/>
                    </a:cubicBezTo>
                    <a:cubicBezTo>
                      <a:pt x="378" y="723"/>
                      <a:pt x="378" y="723"/>
                      <a:pt x="378" y="723"/>
                    </a:cubicBezTo>
                    <a:cubicBezTo>
                      <a:pt x="390" y="711"/>
                      <a:pt x="390" y="711"/>
                      <a:pt x="390" y="711"/>
                    </a:cubicBezTo>
                    <a:cubicBezTo>
                      <a:pt x="393" y="691"/>
                      <a:pt x="393" y="691"/>
                      <a:pt x="393" y="691"/>
                    </a:cubicBezTo>
                    <a:cubicBezTo>
                      <a:pt x="430" y="673"/>
                      <a:pt x="430" y="673"/>
                      <a:pt x="430" y="673"/>
                    </a:cubicBezTo>
                    <a:cubicBezTo>
                      <a:pt x="446" y="674"/>
                      <a:pt x="446" y="674"/>
                      <a:pt x="446" y="674"/>
                    </a:cubicBezTo>
                    <a:cubicBezTo>
                      <a:pt x="445" y="665"/>
                      <a:pt x="445" y="665"/>
                      <a:pt x="445" y="665"/>
                    </a:cubicBezTo>
                    <a:cubicBezTo>
                      <a:pt x="445" y="665"/>
                      <a:pt x="463" y="669"/>
                      <a:pt x="451" y="656"/>
                    </a:cubicBezTo>
                    <a:cubicBezTo>
                      <a:pt x="439" y="643"/>
                      <a:pt x="430" y="642"/>
                      <a:pt x="430" y="642"/>
                    </a:cubicBezTo>
                    <a:cubicBezTo>
                      <a:pt x="426" y="625"/>
                      <a:pt x="426" y="625"/>
                      <a:pt x="426" y="625"/>
                    </a:cubicBezTo>
                    <a:cubicBezTo>
                      <a:pt x="437" y="620"/>
                      <a:pt x="437" y="620"/>
                      <a:pt x="437" y="620"/>
                    </a:cubicBezTo>
                    <a:cubicBezTo>
                      <a:pt x="428" y="612"/>
                      <a:pt x="428" y="612"/>
                      <a:pt x="428" y="612"/>
                    </a:cubicBezTo>
                    <a:cubicBezTo>
                      <a:pt x="428" y="612"/>
                      <a:pt x="430" y="585"/>
                      <a:pt x="423" y="582"/>
                    </a:cubicBezTo>
                    <a:cubicBezTo>
                      <a:pt x="416" y="579"/>
                      <a:pt x="411" y="589"/>
                      <a:pt x="406" y="587"/>
                    </a:cubicBezTo>
                    <a:cubicBezTo>
                      <a:pt x="401" y="585"/>
                      <a:pt x="395" y="580"/>
                      <a:pt x="398" y="569"/>
                    </a:cubicBezTo>
                    <a:cubicBezTo>
                      <a:pt x="401" y="558"/>
                      <a:pt x="415" y="558"/>
                      <a:pt x="417" y="549"/>
                    </a:cubicBezTo>
                    <a:cubicBezTo>
                      <a:pt x="419" y="540"/>
                      <a:pt x="416" y="536"/>
                      <a:pt x="410" y="526"/>
                    </a:cubicBezTo>
                    <a:cubicBezTo>
                      <a:pt x="404" y="516"/>
                      <a:pt x="419" y="508"/>
                      <a:pt x="419" y="508"/>
                    </a:cubicBezTo>
                    <a:cubicBezTo>
                      <a:pt x="430" y="501"/>
                      <a:pt x="430" y="501"/>
                      <a:pt x="430" y="501"/>
                    </a:cubicBezTo>
                    <a:cubicBezTo>
                      <a:pt x="425" y="490"/>
                      <a:pt x="425" y="490"/>
                      <a:pt x="425" y="490"/>
                    </a:cubicBezTo>
                    <a:cubicBezTo>
                      <a:pt x="422" y="474"/>
                      <a:pt x="422" y="474"/>
                      <a:pt x="422" y="474"/>
                    </a:cubicBezTo>
                    <a:cubicBezTo>
                      <a:pt x="432" y="474"/>
                      <a:pt x="432" y="474"/>
                      <a:pt x="432" y="474"/>
                    </a:cubicBezTo>
                    <a:cubicBezTo>
                      <a:pt x="432" y="474"/>
                      <a:pt x="430" y="462"/>
                      <a:pt x="436" y="456"/>
                    </a:cubicBezTo>
                    <a:cubicBezTo>
                      <a:pt x="442" y="450"/>
                      <a:pt x="451" y="450"/>
                      <a:pt x="449" y="442"/>
                    </a:cubicBezTo>
                    <a:cubicBezTo>
                      <a:pt x="447" y="434"/>
                      <a:pt x="438" y="423"/>
                      <a:pt x="451" y="41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5" name="MCShape 117">
                <a:extLst>
                  <a:ext uri="{FF2B5EF4-FFF2-40B4-BE49-F238E27FC236}">
                    <a16:creationId xmlns:a16="http://schemas.microsoft.com/office/drawing/2014/main" id="{EE18DF4D-4B5E-4049-A578-9DB4C7957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081" y="3419664"/>
                <a:ext cx="459382" cy="473302"/>
              </a:xfrm>
              <a:custGeom>
                <a:avLst/>
                <a:gdLst>
                  <a:gd name="T0" fmla="*/ 424 w 778"/>
                  <a:gd name="T1" fmla="*/ 631 h 800"/>
                  <a:gd name="T2" fmla="*/ 437 w 778"/>
                  <a:gd name="T3" fmla="*/ 607 h 800"/>
                  <a:gd name="T4" fmla="*/ 481 w 778"/>
                  <a:gd name="T5" fmla="*/ 585 h 800"/>
                  <a:gd name="T6" fmla="*/ 502 w 778"/>
                  <a:gd name="T7" fmla="*/ 563 h 800"/>
                  <a:gd name="T8" fmla="*/ 527 w 778"/>
                  <a:gd name="T9" fmla="*/ 547 h 800"/>
                  <a:gd name="T10" fmla="*/ 572 w 778"/>
                  <a:gd name="T11" fmla="*/ 537 h 800"/>
                  <a:gd name="T12" fmla="*/ 620 w 778"/>
                  <a:gd name="T13" fmla="*/ 537 h 800"/>
                  <a:gd name="T14" fmla="*/ 680 w 778"/>
                  <a:gd name="T15" fmla="*/ 526 h 800"/>
                  <a:gd name="T16" fmla="*/ 712 w 778"/>
                  <a:gd name="T17" fmla="*/ 519 h 800"/>
                  <a:gd name="T18" fmla="*/ 748 w 778"/>
                  <a:gd name="T19" fmla="*/ 509 h 800"/>
                  <a:gd name="T20" fmla="*/ 778 w 778"/>
                  <a:gd name="T21" fmla="*/ 454 h 800"/>
                  <a:gd name="T22" fmla="*/ 766 w 778"/>
                  <a:gd name="T23" fmla="*/ 320 h 800"/>
                  <a:gd name="T24" fmla="*/ 738 w 778"/>
                  <a:gd name="T25" fmla="*/ 300 h 800"/>
                  <a:gd name="T26" fmla="*/ 694 w 778"/>
                  <a:gd name="T27" fmla="*/ 270 h 800"/>
                  <a:gd name="T28" fmla="*/ 666 w 778"/>
                  <a:gd name="T29" fmla="*/ 251 h 800"/>
                  <a:gd name="T30" fmla="*/ 637 w 778"/>
                  <a:gd name="T31" fmla="*/ 229 h 800"/>
                  <a:gd name="T32" fmla="*/ 364 w 778"/>
                  <a:gd name="T33" fmla="*/ 3 h 800"/>
                  <a:gd name="T34" fmla="*/ 314 w 778"/>
                  <a:gd name="T35" fmla="*/ 459 h 800"/>
                  <a:gd name="T36" fmla="*/ 323 w 778"/>
                  <a:gd name="T37" fmla="*/ 483 h 800"/>
                  <a:gd name="T38" fmla="*/ 141 w 778"/>
                  <a:gd name="T39" fmla="*/ 513 h 800"/>
                  <a:gd name="T40" fmla="*/ 127 w 778"/>
                  <a:gd name="T41" fmla="*/ 517 h 800"/>
                  <a:gd name="T42" fmla="*/ 96 w 778"/>
                  <a:gd name="T43" fmla="*/ 515 h 800"/>
                  <a:gd name="T44" fmla="*/ 64 w 778"/>
                  <a:gd name="T45" fmla="*/ 532 h 800"/>
                  <a:gd name="T46" fmla="*/ 24 w 778"/>
                  <a:gd name="T47" fmla="*/ 535 h 800"/>
                  <a:gd name="T48" fmla="*/ 0 w 778"/>
                  <a:gd name="T49" fmla="*/ 550 h 800"/>
                  <a:gd name="T50" fmla="*/ 9 w 778"/>
                  <a:gd name="T51" fmla="*/ 578 h 800"/>
                  <a:gd name="T52" fmla="*/ 14 w 778"/>
                  <a:gd name="T53" fmla="*/ 623 h 800"/>
                  <a:gd name="T54" fmla="*/ 37 w 778"/>
                  <a:gd name="T55" fmla="*/ 644 h 800"/>
                  <a:gd name="T56" fmla="*/ 44 w 778"/>
                  <a:gd name="T57" fmla="*/ 703 h 800"/>
                  <a:gd name="T58" fmla="*/ 73 w 778"/>
                  <a:gd name="T59" fmla="*/ 706 h 800"/>
                  <a:gd name="T60" fmla="*/ 119 w 778"/>
                  <a:gd name="T61" fmla="*/ 698 h 800"/>
                  <a:gd name="T62" fmla="*/ 145 w 778"/>
                  <a:gd name="T63" fmla="*/ 673 h 800"/>
                  <a:gd name="T64" fmla="*/ 163 w 778"/>
                  <a:gd name="T65" fmla="*/ 697 h 800"/>
                  <a:gd name="T66" fmla="*/ 180 w 778"/>
                  <a:gd name="T67" fmla="*/ 730 h 800"/>
                  <a:gd name="T68" fmla="*/ 182 w 778"/>
                  <a:gd name="T69" fmla="*/ 752 h 800"/>
                  <a:gd name="T70" fmla="*/ 201 w 778"/>
                  <a:gd name="T71" fmla="*/ 796 h 800"/>
                  <a:gd name="T72" fmla="*/ 220 w 778"/>
                  <a:gd name="T73" fmla="*/ 784 h 800"/>
                  <a:gd name="T74" fmla="*/ 250 w 778"/>
                  <a:gd name="T75" fmla="*/ 788 h 800"/>
                  <a:gd name="T76" fmla="*/ 264 w 778"/>
                  <a:gd name="T77" fmla="*/ 770 h 800"/>
                  <a:gd name="T78" fmla="*/ 281 w 778"/>
                  <a:gd name="T79" fmla="*/ 769 h 800"/>
                  <a:gd name="T80" fmla="*/ 296 w 778"/>
                  <a:gd name="T81" fmla="*/ 795 h 800"/>
                  <a:gd name="T82" fmla="*/ 312 w 778"/>
                  <a:gd name="T83" fmla="*/ 744 h 800"/>
                  <a:gd name="T84" fmla="*/ 335 w 778"/>
                  <a:gd name="T85" fmla="*/ 729 h 800"/>
                  <a:gd name="T86" fmla="*/ 333 w 778"/>
                  <a:gd name="T87" fmla="*/ 700 h 800"/>
                  <a:gd name="T88" fmla="*/ 359 w 778"/>
                  <a:gd name="T89" fmla="*/ 685 h 800"/>
                  <a:gd name="T90" fmla="*/ 367 w 778"/>
                  <a:gd name="T91" fmla="*/ 659 h 800"/>
                  <a:gd name="T92" fmla="*/ 375 w 778"/>
                  <a:gd name="T93" fmla="*/ 637 h 800"/>
                  <a:gd name="T94" fmla="*/ 409 w 778"/>
                  <a:gd name="T95" fmla="*/ 636 h 80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78"/>
                  <a:gd name="T145" fmla="*/ 0 h 800"/>
                  <a:gd name="T146" fmla="*/ 778 w 778"/>
                  <a:gd name="T147" fmla="*/ 800 h 80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78" h="800">
                    <a:moveTo>
                      <a:pt x="409" y="636"/>
                    </a:moveTo>
                    <a:cubicBezTo>
                      <a:pt x="424" y="631"/>
                      <a:pt x="424" y="631"/>
                      <a:pt x="424" y="631"/>
                    </a:cubicBezTo>
                    <a:cubicBezTo>
                      <a:pt x="424" y="607"/>
                      <a:pt x="424" y="607"/>
                      <a:pt x="424" y="607"/>
                    </a:cubicBezTo>
                    <a:cubicBezTo>
                      <a:pt x="437" y="607"/>
                      <a:pt x="437" y="607"/>
                      <a:pt x="437" y="607"/>
                    </a:cubicBezTo>
                    <a:cubicBezTo>
                      <a:pt x="437" y="607"/>
                      <a:pt x="454" y="578"/>
                      <a:pt x="460" y="576"/>
                    </a:cubicBezTo>
                    <a:cubicBezTo>
                      <a:pt x="466" y="574"/>
                      <a:pt x="478" y="586"/>
                      <a:pt x="481" y="585"/>
                    </a:cubicBezTo>
                    <a:cubicBezTo>
                      <a:pt x="484" y="584"/>
                      <a:pt x="485" y="563"/>
                      <a:pt x="485" y="563"/>
                    </a:cubicBezTo>
                    <a:cubicBezTo>
                      <a:pt x="502" y="563"/>
                      <a:pt x="502" y="563"/>
                      <a:pt x="502" y="563"/>
                    </a:cubicBezTo>
                    <a:cubicBezTo>
                      <a:pt x="513" y="549"/>
                      <a:pt x="513" y="549"/>
                      <a:pt x="513" y="549"/>
                    </a:cubicBezTo>
                    <a:cubicBezTo>
                      <a:pt x="513" y="549"/>
                      <a:pt x="517" y="551"/>
                      <a:pt x="527" y="547"/>
                    </a:cubicBezTo>
                    <a:cubicBezTo>
                      <a:pt x="537" y="543"/>
                      <a:pt x="539" y="535"/>
                      <a:pt x="539" y="535"/>
                    </a:cubicBezTo>
                    <a:cubicBezTo>
                      <a:pt x="572" y="537"/>
                      <a:pt x="572" y="537"/>
                      <a:pt x="572" y="537"/>
                    </a:cubicBezTo>
                    <a:cubicBezTo>
                      <a:pt x="588" y="544"/>
                      <a:pt x="588" y="544"/>
                      <a:pt x="588" y="544"/>
                    </a:cubicBezTo>
                    <a:cubicBezTo>
                      <a:pt x="620" y="537"/>
                      <a:pt x="620" y="537"/>
                      <a:pt x="620" y="537"/>
                    </a:cubicBezTo>
                    <a:cubicBezTo>
                      <a:pt x="638" y="525"/>
                      <a:pt x="638" y="525"/>
                      <a:pt x="638" y="525"/>
                    </a:cubicBezTo>
                    <a:cubicBezTo>
                      <a:pt x="680" y="526"/>
                      <a:pt x="680" y="526"/>
                      <a:pt x="680" y="526"/>
                    </a:cubicBezTo>
                    <a:cubicBezTo>
                      <a:pt x="681" y="517"/>
                      <a:pt x="681" y="517"/>
                      <a:pt x="681" y="517"/>
                    </a:cubicBezTo>
                    <a:cubicBezTo>
                      <a:pt x="712" y="519"/>
                      <a:pt x="712" y="519"/>
                      <a:pt x="712" y="519"/>
                    </a:cubicBezTo>
                    <a:cubicBezTo>
                      <a:pt x="719" y="514"/>
                      <a:pt x="719" y="514"/>
                      <a:pt x="719" y="514"/>
                    </a:cubicBezTo>
                    <a:cubicBezTo>
                      <a:pt x="719" y="514"/>
                      <a:pt x="726" y="520"/>
                      <a:pt x="748" y="509"/>
                    </a:cubicBezTo>
                    <a:cubicBezTo>
                      <a:pt x="763" y="502"/>
                      <a:pt x="763" y="469"/>
                      <a:pt x="763" y="469"/>
                    </a:cubicBezTo>
                    <a:cubicBezTo>
                      <a:pt x="778" y="454"/>
                      <a:pt x="778" y="454"/>
                      <a:pt x="778" y="454"/>
                    </a:cubicBezTo>
                    <a:cubicBezTo>
                      <a:pt x="778" y="317"/>
                      <a:pt x="778" y="317"/>
                      <a:pt x="778" y="317"/>
                    </a:cubicBezTo>
                    <a:cubicBezTo>
                      <a:pt x="771" y="319"/>
                      <a:pt x="766" y="320"/>
                      <a:pt x="766" y="320"/>
                    </a:cubicBezTo>
                    <a:cubicBezTo>
                      <a:pt x="766" y="320"/>
                      <a:pt x="744" y="328"/>
                      <a:pt x="729" y="321"/>
                    </a:cubicBezTo>
                    <a:cubicBezTo>
                      <a:pt x="714" y="314"/>
                      <a:pt x="738" y="300"/>
                      <a:pt x="738" y="300"/>
                    </a:cubicBezTo>
                    <a:cubicBezTo>
                      <a:pt x="738" y="300"/>
                      <a:pt x="737" y="280"/>
                      <a:pt x="727" y="272"/>
                    </a:cubicBezTo>
                    <a:cubicBezTo>
                      <a:pt x="717" y="264"/>
                      <a:pt x="694" y="270"/>
                      <a:pt x="694" y="270"/>
                    </a:cubicBezTo>
                    <a:cubicBezTo>
                      <a:pt x="689" y="252"/>
                      <a:pt x="689" y="252"/>
                      <a:pt x="689" y="252"/>
                    </a:cubicBezTo>
                    <a:cubicBezTo>
                      <a:pt x="689" y="252"/>
                      <a:pt x="676" y="254"/>
                      <a:pt x="666" y="251"/>
                    </a:cubicBezTo>
                    <a:cubicBezTo>
                      <a:pt x="656" y="248"/>
                      <a:pt x="658" y="241"/>
                      <a:pt x="656" y="233"/>
                    </a:cubicBezTo>
                    <a:cubicBezTo>
                      <a:pt x="654" y="225"/>
                      <a:pt x="637" y="229"/>
                      <a:pt x="637" y="229"/>
                    </a:cubicBezTo>
                    <a:cubicBezTo>
                      <a:pt x="638" y="212"/>
                      <a:pt x="638" y="212"/>
                      <a:pt x="638" y="212"/>
                    </a:cubicBezTo>
                    <a:cubicBezTo>
                      <a:pt x="364" y="3"/>
                      <a:pt x="364" y="3"/>
                      <a:pt x="364" y="3"/>
                    </a:cubicBezTo>
                    <a:cubicBezTo>
                      <a:pt x="283" y="0"/>
                      <a:pt x="283" y="0"/>
                      <a:pt x="283" y="0"/>
                    </a:cubicBezTo>
                    <a:cubicBezTo>
                      <a:pt x="314" y="459"/>
                      <a:pt x="314" y="459"/>
                      <a:pt x="314" y="459"/>
                    </a:cubicBezTo>
                    <a:cubicBezTo>
                      <a:pt x="314" y="459"/>
                      <a:pt x="327" y="465"/>
                      <a:pt x="328" y="472"/>
                    </a:cubicBezTo>
                    <a:cubicBezTo>
                      <a:pt x="329" y="479"/>
                      <a:pt x="323" y="483"/>
                      <a:pt x="323" y="483"/>
                    </a:cubicBezTo>
                    <a:cubicBezTo>
                      <a:pt x="318" y="510"/>
                      <a:pt x="318" y="510"/>
                      <a:pt x="318" y="510"/>
                    </a:cubicBezTo>
                    <a:cubicBezTo>
                      <a:pt x="141" y="513"/>
                      <a:pt x="141" y="513"/>
                      <a:pt x="141" y="513"/>
                    </a:cubicBezTo>
                    <a:cubicBezTo>
                      <a:pt x="141" y="513"/>
                      <a:pt x="141" y="502"/>
                      <a:pt x="137" y="503"/>
                    </a:cubicBezTo>
                    <a:cubicBezTo>
                      <a:pt x="133" y="504"/>
                      <a:pt x="135" y="516"/>
                      <a:pt x="127" y="517"/>
                    </a:cubicBezTo>
                    <a:cubicBezTo>
                      <a:pt x="119" y="518"/>
                      <a:pt x="102" y="521"/>
                      <a:pt x="102" y="521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74" y="515"/>
                      <a:pt x="74" y="515"/>
                      <a:pt x="74" y="515"/>
                    </a:cubicBezTo>
                    <a:cubicBezTo>
                      <a:pt x="64" y="532"/>
                      <a:pt x="64" y="532"/>
                      <a:pt x="64" y="532"/>
                    </a:cubicBezTo>
                    <a:cubicBezTo>
                      <a:pt x="64" y="532"/>
                      <a:pt x="52" y="507"/>
                      <a:pt x="39" y="507"/>
                    </a:cubicBezTo>
                    <a:cubicBezTo>
                      <a:pt x="26" y="507"/>
                      <a:pt x="24" y="516"/>
                      <a:pt x="24" y="535"/>
                    </a:cubicBezTo>
                    <a:cubicBezTo>
                      <a:pt x="25" y="536"/>
                      <a:pt x="28" y="546"/>
                      <a:pt x="20" y="549"/>
                    </a:cubicBezTo>
                    <a:cubicBezTo>
                      <a:pt x="12" y="552"/>
                      <a:pt x="0" y="550"/>
                      <a:pt x="0" y="550"/>
                    </a:cubicBezTo>
                    <a:cubicBezTo>
                      <a:pt x="1" y="568"/>
                      <a:pt x="1" y="568"/>
                      <a:pt x="1" y="568"/>
                    </a:cubicBezTo>
                    <a:cubicBezTo>
                      <a:pt x="9" y="578"/>
                      <a:pt x="9" y="578"/>
                      <a:pt x="9" y="578"/>
                    </a:cubicBezTo>
                    <a:cubicBezTo>
                      <a:pt x="9" y="578"/>
                      <a:pt x="21" y="600"/>
                      <a:pt x="16" y="604"/>
                    </a:cubicBezTo>
                    <a:cubicBezTo>
                      <a:pt x="11" y="608"/>
                      <a:pt x="7" y="612"/>
                      <a:pt x="14" y="623"/>
                    </a:cubicBezTo>
                    <a:cubicBezTo>
                      <a:pt x="21" y="634"/>
                      <a:pt x="25" y="622"/>
                      <a:pt x="30" y="625"/>
                    </a:cubicBezTo>
                    <a:cubicBezTo>
                      <a:pt x="35" y="628"/>
                      <a:pt x="37" y="644"/>
                      <a:pt x="37" y="644"/>
                    </a:cubicBezTo>
                    <a:cubicBezTo>
                      <a:pt x="36" y="678"/>
                      <a:pt x="36" y="678"/>
                      <a:pt x="36" y="678"/>
                    </a:cubicBezTo>
                    <a:cubicBezTo>
                      <a:pt x="36" y="678"/>
                      <a:pt x="40" y="705"/>
                      <a:pt x="44" y="703"/>
                    </a:cubicBezTo>
                    <a:cubicBezTo>
                      <a:pt x="48" y="701"/>
                      <a:pt x="52" y="685"/>
                      <a:pt x="61" y="685"/>
                    </a:cubicBezTo>
                    <a:cubicBezTo>
                      <a:pt x="70" y="685"/>
                      <a:pt x="73" y="706"/>
                      <a:pt x="73" y="706"/>
                    </a:cubicBezTo>
                    <a:cubicBezTo>
                      <a:pt x="73" y="706"/>
                      <a:pt x="87" y="683"/>
                      <a:pt x="92" y="685"/>
                    </a:cubicBezTo>
                    <a:cubicBezTo>
                      <a:pt x="97" y="687"/>
                      <a:pt x="119" y="698"/>
                      <a:pt x="119" y="698"/>
                    </a:cubicBezTo>
                    <a:cubicBezTo>
                      <a:pt x="131" y="689"/>
                      <a:pt x="131" y="689"/>
                      <a:pt x="131" y="689"/>
                    </a:cubicBezTo>
                    <a:cubicBezTo>
                      <a:pt x="131" y="689"/>
                      <a:pt x="129" y="665"/>
                      <a:pt x="145" y="673"/>
                    </a:cubicBezTo>
                    <a:cubicBezTo>
                      <a:pt x="161" y="681"/>
                      <a:pt x="154" y="688"/>
                      <a:pt x="154" y="688"/>
                    </a:cubicBezTo>
                    <a:cubicBezTo>
                      <a:pt x="163" y="697"/>
                      <a:pt x="163" y="697"/>
                      <a:pt x="163" y="697"/>
                    </a:cubicBezTo>
                    <a:cubicBezTo>
                      <a:pt x="157" y="714"/>
                      <a:pt x="157" y="714"/>
                      <a:pt x="157" y="714"/>
                    </a:cubicBezTo>
                    <a:cubicBezTo>
                      <a:pt x="180" y="730"/>
                      <a:pt x="180" y="730"/>
                      <a:pt x="180" y="730"/>
                    </a:cubicBezTo>
                    <a:cubicBezTo>
                      <a:pt x="163" y="753"/>
                      <a:pt x="163" y="753"/>
                      <a:pt x="163" y="753"/>
                    </a:cubicBezTo>
                    <a:cubicBezTo>
                      <a:pt x="182" y="752"/>
                      <a:pt x="182" y="752"/>
                      <a:pt x="182" y="752"/>
                    </a:cubicBezTo>
                    <a:cubicBezTo>
                      <a:pt x="182" y="777"/>
                      <a:pt x="182" y="777"/>
                      <a:pt x="182" y="777"/>
                    </a:cubicBezTo>
                    <a:cubicBezTo>
                      <a:pt x="201" y="796"/>
                      <a:pt x="201" y="796"/>
                      <a:pt x="201" y="796"/>
                    </a:cubicBezTo>
                    <a:cubicBezTo>
                      <a:pt x="207" y="799"/>
                      <a:pt x="207" y="799"/>
                      <a:pt x="207" y="799"/>
                    </a:cubicBezTo>
                    <a:cubicBezTo>
                      <a:pt x="207" y="799"/>
                      <a:pt x="204" y="782"/>
                      <a:pt x="220" y="784"/>
                    </a:cubicBezTo>
                    <a:cubicBezTo>
                      <a:pt x="236" y="786"/>
                      <a:pt x="246" y="800"/>
                      <a:pt x="246" y="800"/>
                    </a:cubicBezTo>
                    <a:cubicBezTo>
                      <a:pt x="250" y="788"/>
                      <a:pt x="250" y="788"/>
                      <a:pt x="250" y="788"/>
                    </a:cubicBezTo>
                    <a:cubicBezTo>
                      <a:pt x="260" y="788"/>
                      <a:pt x="260" y="788"/>
                      <a:pt x="260" y="788"/>
                    </a:cubicBezTo>
                    <a:cubicBezTo>
                      <a:pt x="264" y="770"/>
                      <a:pt x="264" y="770"/>
                      <a:pt x="264" y="770"/>
                    </a:cubicBezTo>
                    <a:cubicBezTo>
                      <a:pt x="273" y="782"/>
                      <a:pt x="273" y="782"/>
                      <a:pt x="273" y="782"/>
                    </a:cubicBezTo>
                    <a:cubicBezTo>
                      <a:pt x="281" y="769"/>
                      <a:pt x="281" y="769"/>
                      <a:pt x="281" y="769"/>
                    </a:cubicBezTo>
                    <a:cubicBezTo>
                      <a:pt x="281" y="793"/>
                      <a:pt x="281" y="793"/>
                      <a:pt x="281" y="793"/>
                    </a:cubicBezTo>
                    <a:cubicBezTo>
                      <a:pt x="296" y="795"/>
                      <a:pt x="296" y="795"/>
                      <a:pt x="296" y="795"/>
                    </a:cubicBezTo>
                    <a:cubicBezTo>
                      <a:pt x="296" y="795"/>
                      <a:pt x="300" y="781"/>
                      <a:pt x="315" y="781"/>
                    </a:cubicBezTo>
                    <a:cubicBezTo>
                      <a:pt x="312" y="744"/>
                      <a:pt x="312" y="744"/>
                      <a:pt x="312" y="744"/>
                    </a:cubicBezTo>
                    <a:cubicBezTo>
                      <a:pt x="327" y="744"/>
                      <a:pt x="327" y="744"/>
                      <a:pt x="327" y="744"/>
                    </a:cubicBezTo>
                    <a:cubicBezTo>
                      <a:pt x="335" y="729"/>
                      <a:pt x="335" y="729"/>
                      <a:pt x="335" y="729"/>
                    </a:cubicBezTo>
                    <a:cubicBezTo>
                      <a:pt x="320" y="708"/>
                      <a:pt x="320" y="708"/>
                      <a:pt x="320" y="708"/>
                    </a:cubicBezTo>
                    <a:cubicBezTo>
                      <a:pt x="333" y="700"/>
                      <a:pt x="333" y="700"/>
                      <a:pt x="333" y="700"/>
                    </a:cubicBezTo>
                    <a:cubicBezTo>
                      <a:pt x="333" y="700"/>
                      <a:pt x="348" y="697"/>
                      <a:pt x="360" y="696"/>
                    </a:cubicBezTo>
                    <a:cubicBezTo>
                      <a:pt x="372" y="695"/>
                      <a:pt x="359" y="685"/>
                      <a:pt x="359" y="685"/>
                    </a:cubicBezTo>
                    <a:cubicBezTo>
                      <a:pt x="359" y="685"/>
                      <a:pt x="366" y="684"/>
                      <a:pt x="369" y="680"/>
                    </a:cubicBezTo>
                    <a:cubicBezTo>
                      <a:pt x="372" y="676"/>
                      <a:pt x="367" y="659"/>
                      <a:pt x="367" y="659"/>
                    </a:cubicBezTo>
                    <a:cubicBezTo>
                      <a:pt x="367" y="659"/>
                      <a:pt x="379" y="661"/>
                      <a:pt x="381" y="656"/>
                    </a:cubicBezTo>
                    <a:cubicBezTo>
                      <a:pt x="383" y="651"/>
                      <a:pt x="375" y="637"/>
                      <a:pt x="375" y="637"/>
                    </a:cubicBezTo>
                    <a:cubicBezTo>
                      <a:pt x="388" y="617"/>
                      <a:pt x="388" y="617"/>
                      <a:pt x="388" y="617"/>
                    </a:cubicBezTo>
                    <a:lnTo>
                      <a:pt x="409" y="636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6" name="MCShape 118">
                <a:extLst>
                  <a:ext uri="{FF2B5EF4-FFF2-40B4-BE49-F238E27FC236}">
                    <a16:creationId xmlns:a16="http://schemas.microsoft.com/office/drawing/2014/main" id="{CC2F3749-3D43-4821-9C11-04634C04F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329" y="3682609"/>
                <a:ext cx="162407" cy="145393"/>
              </a:xfrm>
              <a:custGeom>
                <a:avLst/>
                <a:gdLst>
                  <a:gd name="T0" fmla="*/ 269 w 276"/>
                  <a:gd name="T1" fmla="*/ 181 h 246"/>
                  <a:gd name="T2" fmla="*/ 253 w 276"/>
                  <a:gd name="T3" fmla="*/ 179 h 246"/>
                  <a:gd name="T4" fmla="*/ 255 w 276"/>
                  <a:gd name="T5" fmla="*/ 160 h 246"/>
                  <a:gd name="T6" fmla="*/ 248 w 276"/>
                  <a:gd name="T7" fmla="*/ 134 h 246"/>
                  <a:gd name="T8" fmla="*/ 240 w 276"/>
                  <a:gd name="T9" fmla="*/ 124 h 246"/>
                  <a:gd name="T10" fmla="*/ 239 w 276"/>
                  <a:gd name="T11" fmla="*/ 106 h 246"/>
                  <a:gd name="T12" fmla="*/ 230 w 276"/>
                  <a:gd name="T13" fmla="*/ 92 h 246"/>
                  <a:gd name="T14" fmla="*/ 213 w 276"/>
                  <a:gd name="T15" fmla="*/ 86 h 246"/>
                  <a:gd name="T16" fmla="*/ 210 w 276"/>
                  <a:gd name="T17" fmla="*/ 70 h 246"/>
                  <a:gd name="T18" fmla="*/ 196 w 276"/>
                  <a:gd name="T19" fmla="*/ 68 h 246"/>
                  <a:gd name="T20" fmla="*/ 188 w 276"/>
                  <a:gd name="T21" fmla="*/ 31 h 246"/>
                  <a:gd name="T22" fmla="*/ 167 w 276"/>
                  <a:gd name="T23" fmla="*/ 34 h 246"/>
                  <a:gd name="T24" fmla="*/ 146 w 276"/>
                  <a:gd name="T25" fmla="*/ 10 h 246"/>
                  <a:gd name="T26" fmla="*/ 122 w 276"/>
                  <a:gd name="T27" fmla="*/ 7 h 246"/>
                  <a:gd name="T28" fmla="*/ 109 w 276"/>
                  <a:gd name="T29" fmla="*/ 0 h 246"/>
                  <a:gd name="T30" fmla="*/ 109 w 276"/>
                  <a:gd name="T31" fmla="*/ 10 h 246"/>
                  <a:gd name="T32" fmla="*/ 86 w 276"/>
                  <a:gd name="T33" fmla="*/ 9 h 246"/>
                  <a:gd name="T34" fmla="*/ 78 w 276"/>
                  <a:gd name="T35" fmla="*/ 13 h 246"/>
                  <a:gd name="T36" fmla="*/ 59 w 276"/>
                  <a:gd name="T37" fmla="*/ 11 h 246"/>
                  <a:gd name="T38" fmla="*/ 41 w 276"/>
                  <a:gd name="T39" fmla="*/ 43 h 246"/>
                  <a:gd name="T40" fmla="*/ 40 w 276"/>
                  <a:gd name="T41" fmla="*/ 57 h 246"/>
                  <a:gd name="T42" fmla="*/ 22 w 276"/>
                  <a:gd name="T43" fmla="*/ 80 h 246"/>
                  <a:gd name="T44" fmla="*/ 0 w 276"/>
                  <a:gd name="T45" fmla="*/ 106 h 246"/>
                  <a:gd name="T46" fmla="*/ 2 w 276"/>
                  <a:gd name="T47" fmla="*/ 113 h 246"/>
                  <a:gd name="T48" fmla="*/ 8 w 276"/>
                  <a:gd name="T49" fmla="*/ 112 h 246"/>
                  <a:gd name="T50" fmla="*/ 17 w 276"/>
                  <a:gd name="T51" fmla="*/ 128 h 246"/>
                  <a:gd name="T52" fmla="*/ 20 w 276"/>
                  <a:gd name="T53" fmla="*/ 141 h 246"/>
                  <a:gd name="T54" fmla="*/ 29 w 276"/>
                  <a:gd name="T55" fmla="*/ 149 h 246"/>
                  <a:gd name="T56" fmla="*/ 28 w 276"/>
                  <a:gd name="T57" fmla="*/ 157 h 246"/>
                  <a:gd name="T58" fmla="*/ 34 w 276"/>
                  <a:gd name="T59" fmla="*/ 169 h 246"/>
                  <a:gd name="T60" fmla="*/ 84 w 276"/>
                  <a:gd name="T61" fmla="*/ 169 h 246"/>
                  <a:gd name="T62" fmla="*/ 84 w 276"/>
                  <a:gd name="T63" fmla="*/ 159 h 246"/>
                  <a:gd name="T64" fmla="*/ 109 w 276"/>
                  <a:gd name="T65" fmla="*/ 158 h 246"/>
                  <a:gd name="T66" fmla="*/ 120 w 276"/>
                  <a:gd name="T67" fmla="*/ 166 h 246"/>
                  <a:gd name="T68" fmla="*/ 128 w 276"/>
                  <a:gd name="T69" fmla="*/ 164 h 246"/>
                  <a:gd name="T70" fmla="*/ 141 w 276"/>
                  <a:gd name="T71" fmla="*/ 176 h 246"/>
                  <a:gd name="T72" fmla="*/ 162 w 276"/>
                  <a:gd name="T73" fmla="*/ 171 h 246"/>
                  <a:gd name="T74" fmla="*/ 143 w 276"/>
                  <a:gd name="T75" fmla="*/ 190 h 246"/>
                  <a:gd name="T76" fmla="*/ 109 w 276"/>
                  <a:gd name="T77" fmla="*/ 171 h 246"/>
                  <a:gd name="T78" fmla="*/ 97 w 276"/>
                  <a:gd name="T79" fmla="*/ 183 h 246"/>
                  <a:gd name="T80" fmla="*/ 72 w 276"/>
                  <a:gd name="T81" fmla="*/ 186 h 246"/>
                  <a:gd name="T82" fmla="*/ 68 w 276"/>
                  <a:gd name="T83" fmla="*/ 195 h 246"/>
                  <a:gd name="T84" fmla="*/ 25 w 276"/>
                  <a:gd name="T85" fmla="*/ 195 h 246"/>
                  <a:gd name="T86" fmla="*/ 24 w 276"/>
                  <a:gd name="T87" fmla="*/ 212 h 246"/>
                  <a:gd name="T88" fmla="*/ 18 w 276"/>
                  <a:gd name="T89" fmla="*/ 215 h 246"/>
                  <a:gd name="T90" fmla="*/ 31 w 276"/>
                  <a:gd name="T91" fmla="*/ 241 h 246"/>
                  <a:gd name="T92" fmla="*/ 50 w 276"/>
                  <a:gd name="T93" fmla="*/ 241 h 246"/>
                  <a:gd name="T94" fmla="*/ 58 w 276"/>
                  <a:gd name="T95" fmla="*/ 231 h 246"/>
                  <a:gd name="T96" fmla="*/ 85 w 276"/>
                  <a:gd name="T97" fmla="*/ 231 h 246"/>
                  <a:gd name="T98" fmla="*/ 102 w 276"/>
                  <a:gd name="T99" fmla="*/ 216 h 246"/>
                  <a:gd name="T100" fmla="*/ 196 w 276"/>
                  <a:gd name="T101" fmla="*/ 219 h 246"/>
                  <a:gd name="T102" fmla="*/ 204 w 276"/>
                  <a:gd name="T103" fmla="*/ 232 h 246"/>
                  <a:gd name="T104" fmla="*/ 215 w 276"/>
                  <a:gd name="T105" fmla="*/ 226 h 246"/>
                  <a:gd name="T106" fmla="*/ 231 w 276"/>
                  <a:gd name="T107" fmla="*/ 242 h 246"/>
                  <a:gd name="T108" fmla="*/ 247 w 276"/>
                  <a:gd name="T109" fmla="*/ 235 h 246"/>
                  <a:gd name="T110" fmla="*/ 275 w 276"/>
                  <a:gd name="T111" fmla="*/ 234 h 246"/>
                  <a:gd name="T112" fmla="*/ 276 w 276"/>
                  <a:gd name="T113" fmla="*/ 200 h 246"/>
                  <a:gd name="T114" fmla="*/ 269 w 276"/>
                  <a:gd name="T115" fmla="*/ 181 h 24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76"/>
                  <a:gd name="T175" fmla="*/ 0 h 246"/>
                  <a:gd name="T176" fmla="*/ 276 w 276"/>
                  <a:gd name="T177" fmla="*/ 246 h 24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76" h="246">
                    <a:moveTo>
                      <a:pt x="269" y="181"/>
                    </a:moveTo>
                    <a:cubicBezTo>
                      <a:pt x="264" y="178"/>
                      <a:pt x="260" y="190"/>
                      <a:pt x="253" y="179"/>
                    </a:cubicBezTo>
                    <a:cubicBezTo>
                      <a:pt x="246" y="168"/>
                      <a:pt x="250" y="164"/>
                      <a:pt x="255" y="160"/>
                    </a:cubicBezTo>
                    <a:cubicBezTo>
                      <a:pt x="260" y="156"/>
                      <a:pt x="248" y="134"/>
                      <a:pt x="248" y="134"/>
                    </a:cubicBezTo>
                    <a:cubicBezTo>
                      <a:pt x="240" y="124"/>
                      <a:pt x="240" y="124"/>
                      <a:pt x="240" y="124"/>
                    </a:cubicBezTo>
                    <a:cubicBezTo>
                      <a:pt x="239" y="106"/>
                      <a:pt x="239" y="106"/>
                      <a:pt x="239" y="106"/>
                    </a:cubicBezTo>
                    <a:cubicBezTo>
                      <a:pt x="230" y="92"/>
                      <a:pt x="230" y="92"/>
                      <a:pt x="230" y="92"/>
                    </a:cubicBezTo>
                    <a:cubicBezTo>
                      <a:pt x="213" y="86"/>
                      <a:pt x="213" y="86"/>
                      <a:pt x="213" y="86"/>
                    </a:cubicBezTo>
                    <a:cubicBezTo>
                      <a:pt x="213" y="86"/>
                      <a:pt x="213" y="71"/>
                      <a:pt x="210" y="70"/>
                    </a:cubicBezTo>
                    <a:cubicBezTo>
                      <a:pt x="207" y="69"/>
                      <a:pt x="196" y="68"/>
                      <a:pt x="196" y="68"/>
                    </a:cubicBezTo>
                    <a:cubicBezTo>
                      <a:pt x="196" y="68"/>
                      <a:pt x="195" y="32"/>
                      <a:pt x="188" y="31"/>
                    </a:cubicBezTo>
                    <a:cubicBezTo>
                      <a:pt x="181" y="30"/>
                      <a:pt x="167" y="34"/>
                      <a:pt x="167" y="34"/>
                    </a:cubicBezTo>
                    <a:cubicBezTo>
                      <a:pt x="167" y="34"/>
                      <a:pt x="156" y="12"/>
                      <a:pt x="146" y="10"/>
                    </a:cubicBezTo>
                    <a:cubicBezTo>
                      <a:pt x="136" y="8"/>
                      <a:pt x="122" y="7"/>
                      <a:pt x="122" y="7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68" y="5"/>
                      <a:pt x="59" y="11"/>
                    </a:cubicBezTo>
                    <a:cubicBezTo>
                      <a:pt x="50" y="17"/>
                      <a:pt x="53" y="41"/>
                      <a:pt x="41" y="43"/>
                    </a:cubicBezTo>
                    <a:cubicBezTo>
                      <a:pt x="40" y="50"/>
                      <a:pt x="40" y="56"/>
                      <a:pt x="40" y="57"/>
                    </a:cubicBezTo>
                    <a:cubicBezTo>
                      <a:pt x="39" y="60"/>
                      <a:pt x="29" y="67"/>
                      <a:pt x="22" y="80"/>
                    </a:cubicBezTo>
                    <a:cubicBezTo>
                      <a:pt x="15" y="93"/>
                      <a:pt x="0" y="106"/>
                      <a:pt x="0" y="106"/>
                    </a:cubicBezTo>
                    <a:cubicBezTo>
                      <a:pt x="2" y="113"/>
                      <a:pt x="2" y="113"/>
                      <a:pt x="2" y="113"/>
                    </a:cubicBezTo>
                    <a:cubicBezTo>
                      <a:pt x="8" y="112"/>
                      <a:pt x="8" y="112"/>
                      <a:pt x="8" y="112"/>
                    </a:cubicBezTo>
                    <a:cubicBezTo>
                      <a:pt x="8" y="112"/>
                      <a:pt x="17" y="121"/>
                      <a:pt x="17" y="128"/>
                    </a:cubicBezTo>
                    <a:cubicBezTo>
                      <a:pt x="17" y="135"/>
                      <a:pt x="20" y="141"/>
                      <a:pt x="20" y="141"/>
                    </a:cubicBezTo>
                    <a:cubicBezTo>
                      <a:pt x="29" y="149"/>
                      <a:pt x="29" y="149"/>
                      <a:pt x="29" y="149"/>
                    </a:cubicBezTo>
                    <a:cubicBezTo>
                      <a:pt x="29" y="149"/>
                      <a:pt x="28" y="150"/>
                      <a:pt x="28" y="157"/>
                    </a:cubicBezTo>
                    <a:cubicBezTo>
                      <a:pt x="28" y="162"/>
                      <a:pt x="32" y="166"/>
                      <a:pt x="34" y="169"/>
                    </a:cubicBezTo>
                    <a:cubicBezTo>
                      <a:pt x="84" y="169"/>
                      <a:pt x="84" y="169"/>
                      <a:pt x="84" y="169"/>
                    </a:cubicBezTo>
                    <a:cubicBezTo>
                      <a:pt x="84" y="159"/>
                      <a:pt x="84" y="159"/>
                      <a:pt x="84" y="159"/>
                    </a:cubicBezTo>
                    <a:cubicBezTo>
                      <a:pt x="84" y="159"/>
                      <a:pt x="96" y="160"/>
                      <a:pt x="109" y="158"/>
                    </a:cubicBezTo>
                    <a:cubicBezTo>
                      <a:pt x="122" y="156"/>
                      <a:pt x="120" y="166"/>
                      <a:pt x="120" y="166"/>
                    </a:cubicBezTo>
                    <a:cubicBezTo>
                      <a:pt x="128" y="164"/>
                      <a:pt x="128" y="164"/>
                      <a:pt x="128" y="164"/>
                    </a:cubicBezTo>
                    <a:cubicBezTo>
                      <a:pt x="128" y="164"/>
                      <a:pt x="136" y="175"/>
                      <a:pt x="141" y="176"/>
                    </a:cubicBezTo>
                    <a:cubicBezTo>
                      <a:pt x="146" y="177"/>
                      <a:pt x="145" y="167"/>
                      <a:pt x="162" y="171"/>
                    </a:cubicBezTo>
                    <a:cubicBezTo>
                      <a:pt x="179" y="175"/>
                      <a:pt x="161" y="190"/>
                      <a:pt x="143" y="190"/>
                    </a:cubicBezTo>
                    <a:cubicBezTo>
                      <a:pt x="125" y="190"/>
                      <a:pt x="109" y="171"/>
                      <a:pt x="109" y="171"/>
                    </a:cubicBezTo>
                    <a:cubicBezTo>
                      <a:pt x="109" y="171"/>
                      <a:pt x="103" y="182"/>
                      <a:pt x="97" y="183"/>
                    </a:cubicBezTo>
                    <a:cubicBezTo>
                      <a:pt x="91" y="184"/>
                      <a:pt x="72" y="186"/>
                      <a:pt x="72" y="186"/>
                    </a:cubicBezTo>
                    <a:cubicBezTo>
                      <a:pt x="72" y="186"/>
                      <a:pt x="71" y="195"/>
                      <a:pt x="68" y="195"/>
                    </a:cubicBezTo>
                    <a:cubicBezTo>
                      <a:pt x="66" y="195"/>
                      <a:pt x="36" y="195"/>
                      <a:pt x="25" y="195"/>
                    </a:cubicBezTo>
                    <a:cubicBezTo>
                      <a:pt x="24" y="202"/>
                      <a:pt x="24" y="212"/>
                      <a:pt x="24" y="212"/>
                    </a:cubicBezTo>
                    <a:cubicBezTo>
                      <a:pt x="18" y="215"/>
                      <a:pt x="18" y="215"/>
                      <a:pt x="18" y="215"/>
                    </a:cubicBezTo>
                    <a:cubicBezTo>
                      <a:pt x="18" y="215"/>
                      <a:pt x="22" y="236"/>
                      <a:pt x="31" y="241"/>
                    </a:cubicBezTo>
                    <a:cubicBezTo>
                      <a:pt x="40" y="246"/>
                      <a:pt x="50" y="241"/>
                      <a:pt x="50" y="241"/>
                    </a:cubicBezTo>
                    <a:cubicBezTo>
                      <a:pt x="58" y="231"/>
                      <a:pt x="58" y="231"/>
                      <a:pt x="58" y="231"/>
                    </a:cubicBezTo>
                    <a:cubicBezTo>
                      <a:pt x="85" y="231"/>
                      <a:pt x="85" y="231"/>
                      <a:pt x="85" y="231"/>
                    </a:cubicBezTo>
                    <a:cubicBezTo>
                      <a:pt x="102" y="216"/>
                      <a:pt x="102" y="216"/>
                      <a:pt x="102" y="216"/>
                    </a:cubicBezTo>
                    <a:cubicBezTo>
                      <a:pt x="196" y="219"/>
                      <a:pt x="196" y="219"/>
                      <a:pt x="196" y="219"/>
                    </a:cubicBezTo>
                    <a:cubicBezTo>
                      <a:pt x="196" y="219"/>
                      <a:pt x="196" y="230"/>
                      <a:pt x="204" y="232"/>
                    </a:cubicBezTo>
                    <a:cubicBezTo>
                      <a:pt x="212" y="234"/>
                      <a:pt x="215" y="226"/>
                      <a:pt x="215" y="226"/>
                    </a:cubicBezTo>
                    <a:cubicBezTo>
                      <a:pt x="215" y="226"/>
                      <a:pt x="224" y="242"/>
                      <a:pt x="231" y="242"/>
                    </a:cubicBezTo>
                    <a:cubicBezTo>
                      <a:pt x="238" y="242"/>
                      <a:pt x="247" y="235"/>
                      <a:pt x="247" y="235"/>
                    </a:cubicBezTo>
                    <a:cubicBezTo>
                      <a:pt x="275" y="234"/>
                      <a:pt x="275" y="234"/>
                      <a:pt x="275" y="234"/>
                    </a:cubicBezTo>
                    <a:cubicBezTo>
                      <a:pt x="276" y="200"/>
                      <a:pt x="276" y="200"/>
                      <a:pt x="276" y="200"/>
                    </a:cubicBezTo>
                    <a:cubicBezTo>
                      <a:pt x="276" y="200"/>
                      <a:pt x="274" y="184"/>
                      <a:pt x="269" y="18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7" name="MCShape 119">
                <a:extLst>
                  <a:ext uri="{FF2B5EF4-FFF2-40B4-BE49-F238E27FC236}">
                    <a16:creationId xmlns:a16="http://schemas.microsoft.com/office/drawing/2014/main" id="{4052C45C-84FB-4415-B7C0-DECBD2A9A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291" y="3810989"/>
                <a:ext cx="202623" cy="176328"/>
              </a:xfrm>
              <a:custGeom>
                <a:avLst/>
                <a:gdLst>
                  <a:gd name="T0" fmla="*/ 61 w 345"/>
                  <a:gd name="T1" fmla="*/ 17 h 296"/>
                  <a:gd name="T2" fmla="*/ 61 w 345"/>
                  <a:gd name="T3" fmla="*/ 47 h 296"/>
                  <a:gd name="T4" fmla="*/ 22 w 345"/>
                  <a:gd name="T5" fmla="*/ 65 h 296"/>
                  <a:gd name="T6" fmla="*/ 0 w 345"/>
                  <a:gd name="T7" fmla="*/ 86 h 296"/>
                  <a:gd name="T8" fmla="*/ 19 w 345"/>
                  <a:gd name="T9" fmla="*/ 103 h 296"/>
                  <a:gd name="T10" fmla="*/ 45 w 345"/>
                  <a:gd name="T11" fmla="*/ 138 h 296"/>
                  <a:gd name="T12" fmla="*/ 59 w 345"/>
                  <a:gd name="T13" fmla="*/ 149 h 296"/>
                  <a:gd name="T14" fmla="*/ 86 w 345"/>
                  <a:gd name="T15" fmla="*/ 194 h 296"/>
                  <a:gd name="T16" fmla="*/ 142 w 345"/>
                  <a:gd name="T17" fmla="*/ 152 h 296"/>
                  <a:gd name="T18" fmla="*/ 172 w 345"/>
                  <a:gd name="T19" fmla="*/ 140 h 296"/>
                  <a:gd name="T20" fmla="*/ 197 w 345"/>
                  <a:gd name="T21" fmla="*/ 190 h 296"/>
                  <a:gd name="T22" fmla="*/ 197 w 345"/>
                  <a:gd name="T23" fmla="*/ 226 h 296"/>
                  <a:gd name="T24" fmla="*/ 215 w 345"/>
                  <a:gd name="T25" fmla="*/ 228 h 296"/>
                  <a:gd name="T26" fmla="*/ 247 w 345"/>
                  <a:gd name="T27" fmla="*/ 227 h 296"/>
                  <a:gd name="T28" fmla="*/ 265 w 345"/>
                  <a:gd name="T29" fmla="*/ 286 h 296"/>
                  <a:gd name="T30" fmla="*/ 293 w 345"/>
                  <a:gd name="T31" fmla="*/ 270 h 296"/>
                  <a:gd name="T32" fmla="*/ 320 w 345"/>
                  <a:gd name="T33" fmla="*/ 255 h 296"/>
                  <a:gd name="T34" fmla="*/ 314 w 345"/>
                  <a:gd name="T35" fmla="*/ 229 h 296"/>
                  <a:gd name="T36" fmla="*/ 345 w 345"/>
                  <a:gd name="T37" fmla="*/ 220 h 296"/>
                  <a:gd name="T38" fmla="*/ 338 w 345"/>
                  <a:gd name="T39" fmla="*/ 193 h 296"/>
                  <a:gd name="T40" fmla="*/ 335 w 345"/>
                  <a:gd name="T41" fmla="*/ 176 h 296"/>
                  <a:gd name="T42" fmla="*/ 318 w 345"/>
                  <a:gd name="T43" fmla="*/ 148 h 296"/>
                  <a:gd name="T44" fmla="*/ 312 w 345"/>
                  <a:gd name="T45" fmla="*/ 115 h 296"/>
                  <a:gd name="T46" fmla="*/ 293 w 345"/>
                  <a:gd name="T47" fmla="*/ 91 h 296"/>
                  <a:gd name="T48" fmla="*/ 287 w 345"/>
                  <a:gd name="T49" fmla="*/ 52 h 296"/>
                  <a:gd name="T50" fmla="*/ 284 w 345"/>
                  <a:gd name="T51" fmla="*/ 26 h 296"/>
                  <a:gd name="T52" fmla="*/ 261 w 345"/>
                  <a:gd name="T53" fmla="*/ 27 h 296"/>
                  <a:gd name="T54" fmla="*/ 222 w 345"/>
                  <a:gd name="T55" fmla="*/ 23 h 296"/>
                  <a:gd name="T56" fmla="*/ 191 w 345"/>
                  <a:gd name="T57" fmla="*/ 23 h 296"/>
                  <a:gd name="T58" fmla="*/ 166 w 345"/>
                  <a:gd name="T59" fmla="*/ 16 h 296"/>
                  <a:gd name="T60" fmla="*/ 122 w 345"/>
                  <a:gd name="T61" fmla="*/ 24 h 296"/>
                  <a:gd name="T62" fmla="*/ 95 w 345"/>
                  <a:gd name="T63" fmla="*/ 14 h 296"/>
                  <a:gd name="T64" fmla="*/ 60 w 345"/>
                  <a:gd name="T65" fmla="*/ 0 h 2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45"/>
                  <a:gd name="T100" fmla="*/ 0 h 296"/>
                  <a:gd name="T101" fmla="*/ 345 w 345"/>
                  <a:gd name="T102" fmla="*/ 296 h 2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45" h="296">
                    <a:moveTo>
                      <a:pt x="60" y="0"/>
                    </a:moveTo>
                    <a:cubicBezTo>
                      <a:pt x="61" y="17"/>
                      <a:pt x="61" y="17"/>
                      <a:pt x="61" y="17"/>
                    </a:cubicBezTo>
                    <a:cubicBezTo>
                      <a:pt x="61" y="17"/>
                      <a:pt x="45" y="15"/>
                      <a:pt x="45" y="26"/>
                    </a:cubicBezTo>
                    <a:cubicBezTo>
                      <a:pt x="45" y="37"/>
                      <a:pt x="62" y="32"/>
                      <a:pt x="61" y="47"/>
                    </a:cubicBezTo>
                    <a:cubicBezTo>
                      <a:pt x="60" y="62"/>
                      <a:pt x="49" y="58"/>
                      <a:pt x="39" y="58"/>
                    </a:cubicBezTo>
                    <a:cubicBezTo>
                      <a:pt x="29" y="58"/>
                      <a:pt x="22" y="65"/>
                      <a:pt x="22" y="65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6"/>
                      <a:pt x="4" y="100"/>
                      <a:pt x="9" y="102"/>
                    </a:cubicBezTo>
                    <a:cubicBezTo>
                      <a:pt x="14" y="104"/>
                      <a:pt x="19" y="103"/>
                      <a:pt x="19" y="103"/>
                    </a:cubicBezTo>
                    <a:cubicBezTo>
                      <a:pt x="19" y="103"/>
                      <a:pt x="10" y="127"/>
                      <a:pt x="25" y="134"/>
                    </a:cubicBezTo>
                    <a:cubicBezTo>
                      <a:pt x="40" y="141"/>
                      <a:pt x="45" y="138"/>
                      <a:pt x="45" y="138"/>
                    </a:cubicBezTo>
                    <a:cubicBezTo>
                      <a:pt x="45" y="138"/>
                      <a:pt x="42" y="150"/>
                      <a:pt x="46" y="154"/>
                    </a:cubicBezTo>
                    <a:cubicBezTo>
                      <a:pt x="50" y="158"/>
                      <a:pt x="59" y="149"/>
                      <a:pt x="59" y="149"/>
                    </a:cubicBezTo>
                    <a:cubicBezTo>
                      <a:pt x="59" y="149"/>
                      <a:pt x="63" y="169"/>
                      <a:pt x="67" y="176"/>
                    </a:cubicBezTo>
                    <a:cubicBezTo>
                      <a:pt x="71" y="183"/>
                      <a:pt x="86" y="194"/>
                      <a:pt x="86" y="194"/>
                    </a:cubicBezTo>
                    <a:cubicBezTo>
                      <a:pt x="98" y="194"/>
                      <a:pt x="117" y="152"/>
                      <a:pt x="117" y="152"/>
                    </a:cubicBezTo>
                    <a:cubicBezTo>
                      <a:pt x="142" y="152"/>
                      <a:pt x="142" y="152"/>
                      <a:pt x="142" y="152"/>
                    </a:cubicBezTo>
                    <a:cubicBezTo>
                      <a:pt x="146" y="140"/>
                      <a:pt x="146" y="140"/>
                      <a:pt x="146" y="140"/>
                    </a:cubicBezTo>
                    <a:cubicBezTo>
                      <a:pt x="172" y="140"/>
                      <a:pt x="172" y="140"/>
                      <a:pt x="172" y="140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7" y="190"/>
                      <a:pt x="197" y="190"/>
                      <a:pt x="197" y="190"/>
                    </a:cubicBezTo>
                    <a:cubicBezTo>
                      <a:pt x="197" y="190"/>
                      <a:pt x="208" y="202"/>
                      <a:pt x="208" y="210"/>
                    </a:cubicBezTo>
                    <a:cubicBezTo>
                      <a:pt x="208" y="218"/>
                      <a:pt x="197" y="226"/>
                      <a:pt x="197" y="226"/>
                    </a:cubicBezTo>
                    <a:cubicBezTo>
                      <a:pt x="196" y="239"/>
                      <a:pt x="196" y="239"/>
                      <a:pt x="196" y="239"/>
                    </a:cubicBezTo>
                    <a:cubicBezTo>
                      <a:pt x="215" y="228"/>
                      <a:pt x="215" y="228"/>
                      <a:pt x="215" y="228"/>
                    </a:cubicBezTo>
                    <a:cubicBezTo>
                      <a:pt x="231" y="232"/>
                      <a:pt x="231" y="232"/>
                      <a:pt x="231" y="232"/>
                    </a:cubicBezTo>
                    <a:cubicBezTo>
                      <a:pt x="231" y="232"/>
                      <a:pt x="228" y="214"/>
                      <a:pt x="247" y="227"/>
                    </a:cubicBezTo>
                    <a:cubicBezTo>
                      <a:pt x="266" y="240"/>
                      <a:pt x="257" y="286"/>
                      <a:pt x="257" y="286"/>
                    </a:cubicBezTo>
                    <a:cubicBezTo>
                      <a:pt x="265" y="286"/>
                      <a:pt x="265" y="286"/>
                      <a:pt x="265" y="286"/>
                    </a:cubicBezTo>
                    <a:cubicBezTo>
                      <a:pt x="265" y="286"/>
                      <a:pt x="266" y="296"/>
                      <a:pt x="277" y="296"/>
                    </a:cubicBezTo>
                    <a:cubicBezTo>
                      <a:pt x="288" y="296"/>
                      <a:pt x="288" y="274"/>
                      <a:pt x="293" y="270"/>
                    </a:cubicBezTo>
                    <a:cubicBezTo>
                      <a:pt x="298" y="266"/>
                      <a:pt x="313" y="279"/>
                      <a:pt x="320" y="276"/>
                    </a:cubicBezTo>
                    <a:cubicBezTo>
                      <a:pt x="327" y="273"/>
                      <a:pt x="320" y="255"/>
                      <a:pt x="320" y="255"/>
                    </a:cubicBezTo>
                    <a:cubicBezTo>
                      <a:pt x="332" y="252"/>
                      <a:pt x="332" y="252"/>
                      <a:pt x="332" y="252"/>
                    </a:cubicBezTo>
                    <a:cubicBezTo>
                      <a:pt x="332" y="252"/>
                      <a:pt x="314" y="239"/>
                      <a:pt x="314" y="229"/>
                    </a:cubicBezTo>
                    <a:cubicBezTo>
                      <a:pt x="314" y="219"/>
                      <a:pt x="344" y="233"/>
                      <a:pt x="344" y="233"/>
                    </a:cubicBezTo>
                    <a:cubicBezTo>
                      <a:pt x="344" y="233"/>
                      <a:pt x="345" y="227"/>
                      <a:pt x="345" y="220"/>
                    </a:cubicBezTo>
                    <a:cubicBezTo>
                      <a:pt x="345" y="213"/>
                      <a:pt x="330" y="218"/>
                      <a:pt x="329" y="210"/>
                    </a:cubicBezTo>
                    <a:cubicBezTo>
                      <a:pt x="328" y="202"/>
                      <a:pt x="338" y="193"/>
                      <a:pt x="338" y="193"/>
                    </a:cubicBezTo>
                    <a:cubicBezTo>
                      <a:pt x="328" y="189"/>
                      <a:pt x="328" y="189"/>
                      <a:pt x="328" y="189"/>
                    </a:cubicBezTo>
                    <a:cubicBezTo>
                      <a:pt x="335" y="176"/>
                      <a:pt x="335" y="176"/>
                      <a:pt x="335" y="176"/>
                    </a:cubicBezTo>
                    <a:cubicBezTo>
                      <a:pt x="323" y="175"/>
                      <a:pt x="323" y="175"/>
                      <a:pt x="323" y="175"/>
                    </a:cubicBezTo>
                    <a:cubicBezTo>
                      <a:pt x="318" y="148"/>
                      <a:pt x="318" y="148"/>
                      <a:pt x="318" y="148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12" y="115"/>
                      <a:pt x="312" y="115"/>
                      <a:pt x="312" y="115"/>
                    </a:cubicBezTo>
                    <a:cubicBezTo>
                      <a:pt x="312" y="90"/>
                      <a:pt x="312" y="90"/>
                      <a:pt x="312" y="90"/>
                    </a:cubicBezTo>
                    <a:cubicBezTo>
                      <a:pt x="293" y="91"/>
                      <a:pt x="293" y="91"/>
                      <a:pt x="293" y="91"/>
                    </a:cubicBezTo>
                    <a:cubicBezTo>
                      <a:pt x="310" y="68"/>
                      <a:pt x="310" y="68"/>
                      <a:pt x="310" y="68"/>
                    </a:cubicBezTo>
                    <a:cubicBezTo>
                      <a:pt x="287" y="52"/>
                      <a:pt x="287" y="52"/>
                      <a:pt x="287" y="52"/>
                    </a:cubicBezTo>
                    <a:cubicBezTo>
                      <a:pt x="293" y="35"/>
                      <a:pt x="293" y="35"/>
                      <a:pt x="293" y="35"/>
                    </a:cubicBezTo>
                    <a:cubicBezTo>
                      <a:pt x="284" y="26"/>
                      <a:pt x="284" y="26"/>
                      <a:pt x="284" y="26"/>
                    </a:cubicBezTo>
                    <a:cubicBezTo>
                      <a:pt x="284" y="26"/>
                      <a:pt x="291" y="19"/>
                      <a:pt x="275" y="11"/>
                    </a:cubicBezTo>
                    <a:cubicBezTo>
                      <a:pt x="259" y="3"/>
                      <a:pt x="261" y="27"/>
                      <a:pt x="261" y="27"/>
                    </a:cubicBezTo>
                    <a:cubicBezTo>
                      <a:pt x="249" y="36"/>
                      <a:pt x="249" y="36"/>
                      <a:pt x="249" y="36"/>
                    </a:cubicBezTo>
                    <a:cubicBezTo>
                      <a:pt x="249" y="36"/>
                      <a:pt x="227" y="25"/>
                      <a:pt x="222" y="23"/>
                    </a:cubicBezTo>
                    <a:cubicBezTo>
                      <a:pt x="217" y="21"/>
                      <a:pt x="203" y="44"/>
                      <a:pt x="203" y="44"/>
                    </a:cubicBezTo>
                    <a:cubicBezTo>
                      <a:pt x="203" y="44"/>
                      <a:pt x="200" y="23"/>
                      <a:pt x="191" y="23"/>
                    </a:cubicBezTo>
                    <a:cubicBezTo>
                      <a:pt x="182" y="23"/>
                      <a:pt x="178" y="39"/>
                      <a:pt x="174" y="41"/>
                    </a:cubicBezTo>
                    <a:cubicBezTo>
                      <a:pt x="170" y="43"/>
                      <a:pt x="166" y="16"/>
                      <a:pt x="166" y="16"/>
                    </a:cubicBezTo>
                    <a:cubicBezTo>
                      <a:pt x="138" y="17"/>
                      <a:pt x="138" y="17"/>
                      <a:pt x="138" y="17"/>
                    </a:cubicBezTo>
                    <a:cubicBezTo>
                      <a:pt x="138" y="17"/>
                      <a:pt x="129" y="24"/>
                      <a:pt x="122" y="24"/>
                    </a:cubicBezTo>
                    <a:cubicBezTo>
                      <a:pt x="115" y="24"/>
                      <a:pt x="106" y="8"/>
                      <a:pt x="106" y="8"/>
                    </a:cubicBezTo>
                    <a:cubicBezTo>
                      <a:pt x="106" y="8"/>
                      <a:pt x="103" y="16"/>
                      <a:pt x="95" y="14"/>
                    </a:cubicBezTo>
                    <a:cubicBezTo>
                      <a:pt x="87" y="12"/>
                      <a:pt x="87" y="1"/>
                      <a:pt x="87" y="1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8" name="MCShape 120">
                <a:extLst>
                  <a:ext uri="{FF2B5EF4-FFF2-40B4-BE49-F238E27FC236}">
                    <a16:creationId xmlns:a16="http://schemas.microsoft.com/office/drawing/2014/main" id="{45C3FB19-D959-4F4F-BAE6-3EF791B44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890" y="3351607"/>
                <a:ext cx="337189" cy="394419"/>
              </a:xfrm>
              <a:custGeom>
                <a:avLst/>
                <a:gdLst>
                  <a:gd name="T0" fmla="*/ 0 w 572"/>
                  <a:gd name="T1" fmla="*/ 332 h 670"/>
                  <a:gd name="T2" fmla="*/ 11 w 572"/>
                  <a:gd name="T3" fmla="*/ 336 h 670"/>
                  <a:gd name="T4" fmla="*/ 15 w 572"/>
                  <a:gd name="T5" fmla="*/ 357 h 670"/>
                  <a:gd name="T6" fmla="*/ 24 w 572"/>
                  <a:gd name="T7" fmla="*/ 349 h 670"/>
                  <a:gd name="T8" fmla="*/ 32 w 572"/>
                  <a:gd name="T9" fmla="*/ 372 h 670"/>
                  <a:gd name="T10" fmla="*/ 30 w 572"/>
                  <a:gd name="T11" fmla="*/ 403 h 670"/>
                  <a:gd name="T12" fmla="*/ 21 w 572"/>
                  <a:gd name="T13" fmla="*/ 403 h 670"/>
                  <a:gd name="T14" fmla="*/ 24 w 572"/>
                  <a:gd name="T15" fmla="*/ 417 h 670"/>
                  <a:gd name="T16" fmla="*/ 16 w 572"/>
                  <a:gd name="T17" fmla="*/ 423 h 670"/>
                  <a:gd name="T18" fmla="*/ 39 w 572"/>
                  <a:gd name="T19" fmla="*/ 470 h 670"/>
                  <a:gd name="T20" fmla="*/ 33 w 572"/>
                  <a:gd name="T21" fmla="*/ 509 h 670"/>
                  <a:gd name="T22" fmla="*/ 31 w 572"/>
                  <a:gd name="T23" fmla="*/ 538 h 670"/>
                  <a:gd name="T24" fmla="*/ 12 w 572"/>
                  <a:gd name="T25" fmla="*/ 570 h 670"/>
                  <a:gd name="T26" fmla="*/ 10 w 572"/>
                  <a:gd name="T27" fmla="*/ 605 h 670"/>
                  <a:gd name="T28" fmla="*/ 28 w 572"/>
                  <a:gd name="T29" fmla="*/ 573 h 670"/>
                  <a:gd name="T30" fmla="*/ 47 w 572"/>
                  <a:gd name="T31" fmla="*/ 575 h 670"/>
                  <a:gd name="T32" fmla="*/ 55 w 572"/>
                  <a:gd name="T33" fmla="*/ 571 h 670"/>
                  <a:gd name="T34" fmla="*/ 78 w 572"/>
                  <a:gd name="T35" fmla="*/ 572 h 670"/>
                  <a:gd name="T36" fmla="*/ 78 w 572"/>
                  <a:gd name="T37" fmla="*/ 562 h 670"/>
                  <a:gd name="T38" fmla="*/ 91 w 572"/>
                  <a:gd name="T39" fmla="*/ 569 h 670"/>
                  <a:gd name="T40" fmla="*/ 115 w 572"/>
                  <a:gd name="T41" fmla="*/ 572 h 670"/>
                  <a:gd name="T42" fmla="*/ 136 w 572"/>
                  <a:gd name="T43" fmla="*/ 596 h 670"/>
                  <a:gd name="T44" fmla="*/ 157 w 572"/>
                  <a:gd name="T45" fmla="*/ 593 h 670"/>
                  <a:gd name="T46" fmla="*/ 165 w 572"/>
                  <a:gd name="T47" fmla="*/ 630 h 670"/>
                  <a:gd name="T48" fmla="*/ 179 w 572"/>
                  <a:gd name="T49" fmla="*/ 632 h 670"/>
                  <a:gd name="T50" fmla="*/ 182 w 572"/>
                  <a:gd name="T51" fmla="*/ 648 h 670"/>
                  <a:gd name="T52" fmla="*/ 199 w 572"/>
                  <a:gd name="T53" fmla="*/ 654 h 670"/>
                  <a:gd name="T54" fmla="*/ 208 w 572"/>
                  <a:gd name="T55" fmla="*/ 668 h 670"/>
                  <a:gd name="T56" fmla="*/ 228 w 572"/>
                  <a:gd name="T57" fmla="*/ 667 h 670"/>
                  <a:gd name="T58" fmla="*/ 232 w 572"/>
                  <a:gd name="T59" fmla="*/ 653 h 670"/>
                  <a:gd name="T60" fmla="*/ 247 w 572"/>
                  <a:gd name="T61" fmla="*/ 625 h 670"/>
                  <a:gd name="T62" fmla="*/ 272 w 572"/>
                  <a:gd name="T63" fmla="*/ 650 h 670"/>
                  <a:gd name="T64" fmla="*/ 282 w 572"/>
                  <a:gd name="T65" fmla="*/ 633 h 670"/>
                  <a:gd name="T66" fmla="*/ 304 w 572"/>
                  <a:gd name="T67" fmla="*/ 633 h 670"/>
                  <a:gd name="T68" fmla="*/ 310 w 572"/>
                  <a:gd name="T69" fmla="*/ 639 h 670"/>
                  <a:gd name="T70" fmla="*/ 335 w 572"/>
                  <a:gd name="T71" fmla="*/ 635 h 670"/>
                  <a:gd name="T72" fmla="*/ 345 w 572"/>
                  <a:gd name="T73" fmla="*/ 621 h 670"/>
                  <a:gd name="T74" fmla="*/ 349 w 572"/>
                  <a:gd name="T75" fmla="*/ 631 h 670"/>
                  <a:gd name="T76" fmla="*/ 526 w 572"/>
                  <a:gd name="T77" fmla="*/ 628 h 670"/>
                  <a:gd name="T78" fmla="*/ 531 w 572"/>
                  <a:gd name="T79" fmla="*/ 601 h 670"/>
                  <a:gd name="T80" fmla="*/ 536 w 572"/>
                  <a:gd name="T81" fmla="*/ 590 h 670"/>
                  <a:gd name="T82" fmla="*/ 522 w 572"/>
                  <a:gd name="T83" fmla="*/ 577 h 670"/>
                  <a:gd name="T84" fmla="*/ 491 w 572"/>
                  <a:gd name="T85" fmla="*/ 118 h 670"/>
                  <a:gd name="T86" fmla="*/ 572 w 572"/>
                  <a:gd name="T87" fmla="*/ 121 h 670"/>
                  <a:gd name="T88" fmla="*/ 399 w 572"/>
                  <a:gd name="T89" fmla="*/ 0 h 670"/>
                  <a:gd name="T90" fmla="*/ 397 w 572"/>
                  <a:gd name="T91" fmla="*/ 34 h 670"/>
                  <a:gd name="T92" fmla="*/ 392 w 572"/>
                  <a:gd name="T93" fmla="*/ 38 h 670"/>
                  <a:gd name="T94" fmla="*/ 391 w 572"/>
                  <a:gd name="T95" fmla="*/ 63 h 670"/>
                  <a:gd name="T96" fmla="*/ 243 w 572"/>
                  <a:gd name="T97" fmla="*/ 64 h 670"/>
                  <a:gd name="T98" fmla="*/ 243 w 572"/>
                  <a:gd name="T99" fmla="*/ 74 h 670"/>
                  <a:gd name="T100" fmla="*/ 238 w 572"/>
                  <a:gd name="T101" fmla="*/ 77 h 670"/>
                  <a:gd name="T102" fmla="*/ 235 w 572"/>
                  <a:gd name="T103" fmla="*/ 207 h 670"/>
                  <a:gd name="T104" fmla="*/ 208 w 572"/>
                  <a:gd name="T105" fmla="*/ 212 h 670"/>
                  <a:gd name="T106" fmla="*/ 189 w 572"/>
                  <a:gd name="T107" fmla="*/ 223 h 670"/>
                  <a:gd name="T108" fmla="*/ 187 w 572"/>
                  <a:gd name="T109" fmla="*/ 248 h 670"/>
                  <a:gd name="T110" fmla="*/ 186 w 572"/>
                  <a:gd name="T111" fmla="*/ 317 h 670"/>
                  <a:gd name="T112" fmla="*/ 0 w 572"/>
                  <a:gd name="T113" fmla="*/ 319 h 670"/>
                  <a:gd name="T114" fmla="*/ 0 w 572"/>
                  <a:gd name="T115" fmla="*/ 319 h 670"/>
                  <a:gd name="T116" fmla="*/ 0 w 572"/>
                  <a:gd name="T117" fmla="*/ 332 h 67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72"/>
                  <a:gd name="T178" fmla="*/ 0 h 670"/>
                  <a:gd name="T179" fmla="*/ 572 w 572"/>
                  <a:gd name="T180" fmla="*/ 670 h 67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72" h="670">
                    <a:moveTo>
                      <a:pt x="0" y="332"/>
                    </a:moveTo>
                    <a:cubicBezTo>
                      <a:pt x="0" y="332"/>
                      <a:pt x="11" y="331"/>
                      <a:pt x="11" y="336"/>
                    </a:cubicBezTo>
                    <a:cubicBezTo>
                      <a:pt x="11" y="341"/>
                      <a:pt x="11" y="354"/>
                      <a:pt x="15" y="357"/>
                    </a:cubicBezTo>
                    <a:cubicBezTo>
                      <a:pt x="19" y="360"/>
                      <a:pt x="24" y="349"/>
                      <a:pt x="24" y="349"/>
                    </a:cubicBezTo>
                    <a:cubicBezTo>
                      <a:pt x="32" y="372"/>
                      <a:pt x="32" y="372"/>
                      <a:pt x="32" y="372"/>
                    </a:cubicBezTo>
                    <a:cubicBezTo>
                      <a:pt x="30" y="403"/>
                      <a:pt x="30" y="403"/>
                      <a:pt x="30" y="403"/>
                    </a:cubicBezTo>
                    <a:cubicBezTo>
                      <a:pt x="21" y="403"/>
                      <a:pt x="21" y="403"/>
                      <a:pt x="21" y="403"/>
                    </a:cubicBezTo>
                    <a:cubicBezTo>
                      <a:pt x="24" y="417"/>
                      <a:pt x="24" y="417"/>
                      <a:pt x="24" y="417"/>
                    </a:cubicBezTo>
                    <a:cubicBezTo>
                      <a:pt x="16" y="423"/>
                      <a:pt x="16" y="423"/>
                      <a:pt x="16" y="423"/>
                    </a:cubicBezTo>
                    <a:cubicBezTo>
                      <a:pt x="16" y="423"/>
                      <a:pt x="39" y="452"/>
                      <a:pt x="39" y="470"/>
                    </a:cubicBezTo>
                    <a:cubicBezTo>
                      <a:pt x="39" y="488"/>
                      <a:pt x="33" y="509"/>
                      <a:pt x="33" y="509"/>
                    </a:cubicBezTo>
                    <a:cubicBezTo>
                      <a:pt x="31" y="538"/>
                      <a:pt x="31" y="538"/>
                      <a:pt x="31" y="538"/>
                    </a:cubicBezTo>
                    <a:cubicBezTo>
                      <a:pt x="31" y="538"/>
                      <a:pt x="15" y="555"/>
                      <a:pt x="12" y="570"/>
                    </a:cubicBezTo>
                    <a:cubicBezTo>
                      <a:pt x="10" y="579"/>
                      <a:pt x="10" y="594"/>
                      <a:pt x="10" y="605"/>
                    </a:cubicBezTo>
                    <a:cubicBezTo>
                      <a:pt x="22" y="603"/>
                      <a:pt x="19" y="579"/>
                      <a:pt x="28" y="573"/>
                    </a:cubicBezTo>
                    <a:cubicBezTo>
                      <a:pt x="37" y="567"/>
                      <a:pt x="47" y="575"/>
                      <a:pt x="47" y="575"/>
                    </a:cubicBezTo>
                    <a:cubicBezTo>
                      <a:pt x="55" y="571"/>
                      <a:pt x="55" y="571"/>
                      <a:pt x="55" y="571"/>
                    </a:cubicBezTo>
                    <a:cubicBezTo>
                      <a:pt x="78" y="572"/>
                      <a:pt x="78" y="572"/>
                      <a:pt x="78" y="572"/>
                    </a:cubicBezTo>
                    <a:cubicBezTo>
                      <a:pt x="78" y="562"/>
                      <a:pt x="78" y="562"/>
                      <a:pt x="78" y="562"/>
                    </a:cubicBezTo>
                    <a:cubicBezTo>
                      <a:pt x="91" y="569"/>
                      <a:pt x="91" y="569"/>
                      <a:pt x="91" y="569"/>
                    </a:cubicBezTo>
                    <a:cubicBezTo>
                      <a:pt x="91" y="569"/>
                      <a:pt x="105" y="570"/>
                      <a:pt x="115" y="572"/>
                    </a:cubicBezTo>
                    <a:cubicBezTo>
                      <a:pt x="125" y="574"/>
                      <a:pt x="136" y="596"/>
                      <a:pt x="136" y="596"/>
                    </a:cubicBezTo>
                    <a:cubicBezTo>
                      <a:pt x="136" y="596"/>
                      <a:pt x="150" y="592"/>
                      <a:pt x="157" y="593"/>
                    </a:cubicBezTo>
                    <a:cubicBezTo>
                      <a:pt x="164" y="594"/>
                      <a:pt x="165" y="630"/>
                      <a:pt x="165" y="630"/>
                    </a:cubicBezTo>
                    <a:cubicBezTo>
                      <a:pt x="165" y="630"/>
                      <a:pt x="176" y="631"/>
                      <a:pt x="179" y="632"/>
                    </a:cubicBezTo>
                    <a:cubicBezTo>
                      <a:pt x="182" y="633"/>
                      <a:pt x="182" y="648"/>
                      <a:pt x="182" y="648"/>
                    </a:cubicBezTo>
                    <a:cubicBezTo>
                      <a:pt x="199" y="654"/>
                      <a:pt x="199" y="654"/>
                      <a:pt x="199" y="654"/>
                    </a:cubicBezTo>
                    <a:cubicBezTo>
                      <a:pt x="208" y="668"/>
                      <a:pt x="208" y="668"/>
                      <a:pt x="208" y="668"/>
                    </a:cubicBezTo>
                    <a:cubicBezTo>
                      <a:pt x="208" y="668"/>
                      <a:pt x="220" y="670"/>
                      <a:pt x="228" y="667"/>
                    </a:cubicBezTo>
                    <a:cubicBezTo>
                      <a:pt x="236" y="664"/>
                      <a:pt x="233" y="654"/>
                      <a:pt x="232" y="653"/>
                    </a:cubicBezTo>
                    <a:cubicBezTo>
                      <a:pt x="232" y="634"/>
                      <a:pt x="234" y="625"/>
                      <a:pt x="247" y="625"/>
                    </a:cubicBezTo>
                    <a:cubicBezTo>
                      <a:pt x="260" y="625"/>
                      <a:pt x="272" y="650"/>
                      <a:pt x="272" y="650"/>
                    </a:cubicBezTo>
                    <a:cubicBezTo>
                      <a:pt x="282" y="633"/>
                      <a:pt x="282" y="633"/>
                      <a:pt x="282" y="633"/>
                    </a:cubicBezTo>
                    <a:cubicBezTo>
                      <a:pt x="304" y="633"/>
                      <a:pt x="304" y="633"/>
                      <a:pt x="304" y="633"/>
                    </a:cubicBezTo>
                    <a:cubicBezTo>
                      <a:pt x="310" y="639"/>
                      <a:pt x="310" y="639"/>
                      <a:pt x="310" y="639"/>
                    </a:cubicBezTo>
                    <a:cubicBezTo>
                      <a:pt x="310" y="639"/>
                      <a:pt x="327" y="636"/>
                      <a:pt x="335" y="635"/>
                    </a:cubicBezTo>
                    <a:cubicBezTo>
                      <a:pt x="343" y="634"/>
                      <a:pt x="341" y="622"/>
                      <a:pt x="345" y="621"/>
                    </a:cubicBezTo>
                    <a:cubicBezTo>
                      <a:pt x="349" y="620"/>
                      <a:pt x="349" y="631"/>
                      <a:pt x="349" y="631"/>
                    </a:cubicBezTo>
                    <a:cubicBezTo>
                      <a:pt x="526" y="628"/>
                      <a:pt x="526" y="628"/>
                      <a:pt x="526" y="628"/>
                    </a:cubicBezTo>
                    <a:cubicBezTo>
                      <a:pt x="531" y="601"/>
                      <a:pt x="531" y="601"/>
                      <a:pt x="531" y="601"/>
                    </a:cubicBezTo>
                    <a:cubicBezTo>
                      <a:pt x="531" y="601"/>
                      <a:pt x="537" y="597"/>
                      <a:pt x="536" y="590"/>
                    </a:cubicBezTo>
                    <a:cubicBezTo>
                      <a:pt x="535" y="583"/>
                      <a:pt x="522" y="577"/>
                      <a:pt x="522" y="577"/>
                    </a:cubicBezTo>
                    <a:cubicBezTo>
                      <a:pt x="491" y="118"/>
                      <a:pt x="491" y="118"/>
                      <a:pt x="491" y="118"/>
                    </a:cubicBezTo>
                    <a:cubicBezTo>
                      <a:pt x="572" y="121"/>
                      <a:pt x="572" y="121"/>
                      <a:pt x="572" y="121"/>
                    </a:cubicBezTo>
                    <a:cubicBezTo>
                      <a:pt x="399" y="0"/>
                      <a:pt x="399" y="0"/>
                      <a:pt x="399" y="0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2" y="38"/>
                      <a:pt x="392" y="38"/>
                      <a:pt x="392" y="38"/>
                    </a:cubicBezTo>
                    <a:cubicBezTo>
                      <a:pt x="391" y="63"/>
                      <a:pt x="391" y="63"/>
                      <a:pt x="391" y="63"/>
                    </a:cubicBezTo>
                    <a:cubicBezTo>
                      <a:pt x="243" y="64"/>
                      <a:pt x="243" y="64"/>
                      <a:pt x="243" y="64"/>
                    </a:cubicBezTo>
                    <a:cubicBezTo>
                      <a:pt x="243" y="74"/>
                      <a:pt x="243" y="74"/>
                      <a:pt x="243" y="74"/>
                    </a:cubicBezTo>
                    <a:cubicBezTo>
                      <a:pt x="238" y="77"/>
                      <a:pt x="238" y="77"/>
                      <a:pt x="238" y="77"/>
                    </a:cubicBezTo>
                    <a:cubicBezTo>
                      <a:pt x="238" y="77"/>
                      <a:pt x="237" y="201"/>
                      <a:pt x="235" y="207"/>
                    </a:cubicBezTo>
                    <a:cubicBezTo>
                      <a:pt x="233" y="213"/>
                      <a:pt x="208" y="212"/>
                      <a:pt x="208" y="212"/>
                    </a:cubicBezTo>
                    <a:cubicBezTo>
                      <a:pt x="208" y="212"/>
                      <a:pt x="200" y="213"/>
                      <a:pt x="189" y="223"/>
                    </a:cubicBezTo>
                    <a:cubicBezTo>
                      <a:pt x="178" y="233"/>
                      <a:pt x="187" y="248"/>
                      <a:pt x="187" y="248"/>
                    </a:cubicBezTo>
                    <a:cubicBezTo>
                      <a:pt x="186" y="317"/>
                      <a:pt x="186" y="317"/>
                      <a:pt x="186" y="317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26"/>
                      <a:pt x="0" y="332"/>
                      <a:pt x="0" y="33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29" name="MCShape 121">
                <a:extLst>
                  <a:ext uri="{FF2B5EF4-FFF2-40B4-BE49-F238E27FC236}">
                    <a16:creationId xmlns:a16="http://schemas.microsoft.com/office/drawing/2014/main" id="{71A74D2B-BA96-4607-BA25-27399961C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2144" y="3735198"/>
                <a:ext cx="225823" cy="177875"/>
              </a:xfrm>
              <a:custGeom>
                <a:avLst/>
                <a:gdLst>
                  <a:gd name="T0" fmla="*/ 3 w 382"/>
                  <a:gd name="T1" fmla="*/ 246 h 300"/>
                  <a:gd name="T2" fmla="*/ 19 w 382"/>
                  <a:gd name="T3" fmla="*/ 256 h 300"/>
                  <a:gd name="T4" fmla="*/ 59 w 382"/>
                  <a:gd name="T5" fmla="*/ 293 h 300"/>
                  <a:gd name="T6" fmla="*/ 124 w 382"/>
                  <a:gd name="T7" fmla="*/ 300 h 300"/>
                  <a:gd name="T8" fmla="*/ 132 w 382"/>
                  <a:gd name="T9" fmla="*/ 299 h 300"/>
                  <a:gd name="T10" fmla="*/ 130 w 382"/>
                  <a:gd name="T11" fmla="*/ 245 h 300"/>
                  <a:gd name="T12" fmla="*/ 132 w 382"/>
                  <a:gd name="T13" fmla="*/ 219 h 300"/>
                  <a:gd name="T14" fmla="*/ 192 w 382"/>
                  <a:gd name="T15" fmla="*/ 219 h 300"/>
                  <a:gd name="T16" fmla="*/ 215 w 382"/>
                  <a:gd name="T17" fmla="*/ 219 h 300"/>
                  <a:gd name="T18" fmla="*/ 251 w 382"/>
                  <a:gd name="T19" fmla="*/ 212 h 300"/>
                  <a:gd name="T20" fmla="*/ 276 w 382"/>
                  <a:gd name="T21" fmla="*/ 215 h 300"/>
                  <a:gd name="T22" fmla="*/ 305 w 382"/>
                  <a:gd name="T23" fmla="*/ 221 h 300"/>
                  <a:gd name="T24" fmla="*/ 318 w 382"/>
                  <a:gd name="T25" fmla="*/ 214 h 300"/>
                  <a:gd name="T26" fmla="*/ 357 w 382"/>
                  <a:gd name="T27" fmla="*/ 197 h 300"/>
                  <a:gd name="T28" fmla="*/ 373 w 382"/>
                  <a:gd name="T29" fmla="*/ 183 h 300"/>
                  <a:gd name="T30" fmla="*/ 382 w 382"/>
                  <a:gd name="T31" fmla="*/ 170 h 300"/>
                  <a:gd name="T32" fmla="*/ 360 w 382"/>
                  <a:gd name="T33" fmla="*/ 145 h 300"/>
                  <a:gd name="T34" fmla="*/ 364 w 382"/>
                  <a:gd name="T35" fmla="*/ 126 h 300"/>
                  <a:gd name="T36" fmla="*/ 310 w 382"/>
                  <a:gd name="T37" fmla="*/ 104 h 300"/>
                  <a:gd name="T38" fmla="*/ 312 w 382"/>
                  <a:gd name="T39" fmla="*/ 87 h 300"/>
                  <a:gd name="T40" fmla="*/ 289 w 382"/>
                  <a:gd name="T41" fmla="*/ 72 h 300"/>
                  <a:gd name="T42" fmla="*/ 277 w 382"/>
                  <a:gd name="T43" fmla="*/ 32 h 300"/>
                  <a:gd name="T44" fmla="*/ 260 w 382"/>
                  <a:gd name="T45" fmla="*/ 2 h 300"/>
                  <a:gd name="T46" fmla="*/ 215 w 382"/>
                  <a:gd name="T47" fmla="*/ 12 h 300"/>
                  <a:gd name="T48" fmla="*/ 190 w 382"/>
                  <a:gd name="T49" fmla="*/ 28 h 300"/>
                  <a:gd name="T50" fmla="*/ 169 w 382"/>
                  <a:gd name="T51" fmla="*/ 50 h 300"/>
                  <a:gd name="T52" fmla="*/ 125 w 382"/>
                  <a:gd name="T53" fmla="*/ 72 h 300"/>
                  <a:gd name="T54" fmla="*/ 112 w 382"/>
                  <a:gd name="T55" fmla="*/ 96 h 300"/>
                  <a:gd name="T56" fmla="*/ 76 w 382"/>
                  <a:gd name="T57" fmla="*/ 82 h 300"/>
                  <a:gd name="T58" fmla="*/ 69 w 382"/>
                  <a:gd name="T59" fmla="*/ 121 h 300"/>
                  <a:gd name="T60" fmla="*/ 57 w 382"/>
                  <a:gd name="T61" fmla="*/ 145 h 300"/>
                  <a:gd name="T62" fmla="*/ 48 w 382"/>
                  <a:gd name="T63" fmla="*/ 161 h 300"/>
                  <a:gd name="T64" fmla="*/ 8 w 382"/>
                  <a:gd name="T65" fmla="*/ 173 h 300"/>
                  <a:gd name="T66" fmla="*/ 15 w 382"/>
                  <a:gd name="T67" fmla="*/ 209 h 30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82"/>
                  <a:gd name="T103" fmla="*/ 0 h 300"/>
                  <a:gd name="T104" fmla="*/ 382 w 382"/>
                  <a:gd name="T105" fmla="*/ 300 h 30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82" h="300">
                    <a:moveTo>
                      <a:pt x="0" y="209"/>
                    </a:moveTo>
                    <a:cubicBezTo>
                      <a:pt x="3" y="246"/>
                      <a:pt x="3" y="246"/>
                      <a:pt x="3" y="246"/>
                    </a:cubicBezTo>
                    <a:cubicBezTo>
                      <a:pt x="6" y="260"/>
                      <a:pt x="6" y="260"/>
                      <a:pt x="6" y="260"/>
                    </a:cubicBezTo>
                    <a:cubicBezTo>
                      <a:pt x="19" y="256"/>
                      <a:pt x="19" y="256"/>
                      <a:pt x="19" y="256"/>
                    </a:cubicBezTo>
                    <a:cubicBezTo>
                      <a:pt x="19" y="256"/>
                      <a:pt x="29" y="287"/>
                      <a:pt x="39" y="288"/>
                    </a:cubicBezTo>
                    <a:cubicBezTo>
                      <a:pt x="49" y="289"/>
                      <a:pt x="59" y="293"/>
                      <a:pt x="59" y="293"/>
                    </a:cubicBezTo>
                    <a:cubicBezTo>
                      <a:pt x="59" y="293"/>
                      <a:pt x="70" y="271"/>
                      <a:pt x="100" y="275"/>
                    </a:cubicBezTo>
                    <a:cubicBezTo>
                      <a:pt x="130" y="279"/>
                      <a:pt x="124" y="300"/>
                      <a:pt x="124" y="300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2" y="299"/>
                      <a:pt x="132" y="299"/>
                      <a:pt x="132" y="299"/>
                    </a:cubicBezTo>
                    <a:cubicBezTo>
                      <a:pt x="131" y="263"/>
                      <a:pt x="131" y="263"/>
                      <a:pt x="131" y="263"/>
                    </a:cubicBezTo>
                    <a:cubicBezTo>
                      <a:pt x="130" y="245"/>
                      <a:pt x="130" y="245"/>
                      <a:pt x="130" y="245"/>
                    </a:cubicBezTo>
                    <a:cubicBezTo>
                      <a:pt x="130" y="245"/>
                      <a:pt x="124" y="244"/>
                      <a:pt x="124" y="236"/>
                    </a:cubicBezTo>
                    <a:cubicBezTo>
                      <a:pt x="124" y="228"/>
                      <a:pt x="132" y="219"/>
                      <a:pt x="132" y="219"/>
                    </a:cubicBezTo>
                    <a:cubicBezTo>
                      <a:pt x="187" y="222"/>
                      <a:pt x="187" y="222"/>
                      <a:pt x="187" y="222"/>
                    </a:cubicBezTo>
                    <a:cubicBezTo>
                      <a:pt x="192" y="219"/>
                      <a:pt x="192" y="219"/>
                      <a:pt x="192" y="219"/>
                    </a:cubicBezTo>
                    <a:cubicBezTo>
                      <a:pt x="204" y="222"/>
                      <a:pt x="204" y="222"/>
                      <a:pt x="204" y="222"/>
                    </a:cubicBezTo>
                    <a:cubicBezTo>
                      <a:pt x="215" y="219"/>
                      <a:pt x="215" y="219"/>
                      <a:pt x="215" y="219"/>
                    </a:cubicBezTo>
                    <a:cubicBezTo>
                      <a:pt x="235" y="222"/>
                      <a:pt x="235" y="222"/>
                      <a:pt x="235" y="222"/>
                    </a:cubicBezTo>
                    <a:cubicBezTo>
                      <a:pt x="251" y="212"/>
                      <a:pt x="251" y="212"/>
                      <a:pt x="251" y="212"/>
                    </a:cubicBezTo>
                    <a:cubicBezTo>
                      <a:pt x="265" y="216"/>
                      <a:pt x="265" y="216"/>
                      <a:pt x="265" y="216"/>
                    </a:cubicBezTo>
                    <a:cubicBezTo>
                      <a:pt x="276" y="215"/>
                      <a:pt x="276" y="215"/>
                      <a:pt x="276" y="215"/>
                    </a:cubicBezTo>
                    <a:cubicBezTo>
                      <a:pt x="291" y="222"/>
                      <a:pt x="291" y="222"/>
                      <a:pt x="291" y="222"/>
                    </a:cubicBezTo>
                    <a:cubicBezTo>
                      <a:pt x="305" y="221"/>
                      <a:pt x="305" y="221"/>
                      <a:pt x="305" y="221"/>
                    </a:cubicBezTo>
                    <a:cubicBezTo>
                      <a:pt x="310" y="214"/>
                      <a:pt x="310" y="214"/>
                      <a:pt x="310" y="214"/>
                    </a:cubicBezTo>
                    <a:cubicBezTo>
                      <a:pt x="318" y="214"/>
                      <a:pt x="318" y="214"/>
                      <a:pt x="318" y="214"/>
                    </a:cubicBezTo>
                    <a:cubicBezTo>
                      <a:pt x="318" y="214"/>
                      <a:pt x="320" y="200"/>
                      <a:pt x="331" y="195"/>
                    </a:cubicBezTo>
                    <a:cubicBezTo>
                      <a:pt x="331" y="196"/>
                      <a:pt x="357" y="197"/>
                      <a:pt x="357" y="197"/>
                    </a:cubicBezTo>
                    <a:cubicBezTo>
                      <a:pt x="357" y="197"/>
                      <a:pt x="358" y="190"/>
                      <a:pt x="362" y="187"/>
                    </a:cubicBezTo>
                    <a:cubicBezTo>
                      <a:pt x="366" y="184"/>
                      <a:pt x="373" y="183"/>
                      <a:pt x="373" y="183"/>
                    </a:cubicBezTo>
                    <a:cubicBezTo>
                      <a:pt x="376" y="172"/>
                      <a:pt x="376" y="172"/>
                      <a:pt x="376" y="172"/>
                    </a:cubicBezTo>
                    <a:cubicBezTo>
                      <a:pt x="382" y="170"/>
                      <a:pt x="382" y="170"/>
                      <a:pt x="382" y="170"/>
                    </a:cubicBezTo>
                    <a:cubicBezTo>
                      <a:pt x="375" y="167"/>
                      <a:pt x="375" y="167"/>
                      <a:pt x="375" y="167"/>
                    </a:cubicBezTo>
                    <a:cubicBezTo>
                      <a:pt x="360" y="145"/>
                      <a:pt x="360" y="145"/>
                      <a:pt x="360" y="145"/>
                    </a:cubicBezTo>
                    <a:cubicBezTo>
                      <a:pt x="375" y="140"/>
                      <a:pt x="375" y="140"/>
                      <a:pt x="375" y="140"/>
                    </a:cubicBezTo>
                    <a:cubicBezTo>
                      <a:pt x="375" y="140"/>
                      <a:pt x="373" y="130"/>
                      <a:pt x="364" y="126"/>
                    </a:cubicBezTo>
                    <a:cubicBezTo>
                      <a:pt x="355" y="122"/>
                      <a:pt x="356" y="131"/>
                      <a:pt x="344" y="131"/>
                    </a:cubicBezTo>
                    <a:cubicBezTo>
                      <a:pt x="332" y="131"/>
                      <a:pt x="313" y="109"/>
                      <a:pt x="310" y="104"/>
                    </a:cubicBezTo>
                    <a:cubicBezTo>
                      <a:pt x="307" y="99"/>
                      <a:pt x="322" y="88"/>
                      <a:pt x="322" y="88"/>
                    </a:cubicBezTo>
                    <a:cubicBezTo>
                      <a:pt x="312" y="87"/>
                      <a:pt x="312" y="87"/>
                      <a:pt x="312" y="87"/>
                    </a:cubicBezTo>
                    <a:cubicBezTo>
                      <a:pt x="311" y="78"/>
                      <a:pt x="311" y="78"/>
                      <a:pt x="311" y="78"/>
                    </a:cubicBezTo>
                    <a:cubicBezTo>
                      <a:pt x="311" y="78"/>
                      <a:pt x="299" y="79"/>
                      <a:pt x="289" y="72"/>
                    </a:cubicBezTo>
                    <a:cubicBezTo>
                      <a:pt x="279" y="65"/>
                      <a:pt x="280" y="41"/>
                      <a:pt x="280" y="41"/>
                    </a:cubicBezTo>
                    <a:cubicBezTo>
                      <a:pt x="277" y="32"/>
                      <a:pt x="277" y="32"/>
                      <a:pt x="277" y="32"/>
                    </a:cubicBezTo>
                    <a:cubicBezTo>
                      <a:pt x="276" y="9"/>
                      <a:pt x="276" y="9"/>
                      <a:pt x="276" y="9"/>
                    </a:cubicBezTo>
                    <a:cubicBezTo>
                      <a:pt x="260" y="2"/>
                      <a:pt x="260" y="2"/>
                      <a:pt x="260" y="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227" y="0"/>
                      <a:pt x="225" y="8"/>
                      <a:pt x="215" y="12"/>
                    </a:cubicBezTo>
                    <a:cubicBezTo>
                      <a:pt x="205" y="16"/>
                      <a:pt x="201" y="14"/>
                      <a:pt x="201" y="14"/>
                    </a:cubicBezTo>
                    <a:cubicBezTo>
                      <a:pt x="190" y="28"/>
                      <a:pt x="190" y="28"/>
                      <a:pt x="190" y="28"/>
                    </a:cubicBezTo>
                    <a:cubicBezTo>
                      <a:pt x="173" y="28"/>
                      <a:pt x="173" y="28"/>
                      <a:pt x="173" y="28"/>
                    </a:cubicBezTo>
                    <a:cubicBezTo>
                      <a:pt x="173" y="28"/>
                      <a:pt x="172" y="49"/>
                      <a:pt x="169" y="50"/>
                    </a:cubicBezTo>
                    <a:cubicBezTo>
                      <a:pt x="166" y="51"/>
                      <a:pt x="154" y="39"/>
                      <a:pt x="148" y="41"/>
                    </a:cubicBezTo>
                    <a:cubicBezTo>
                      <a:pt x="142" y="43"/>
                      <a:pt x="125" y="72"/>
                      <a:pt x="125" y="72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96"/>
                      <a:pt x="112" y="96"/>
                      <a:pt x="112" y="96"/>
                    </a:cubicBezTo>
                    <a:cubicBezTo>
                      <a:pt x="97" y="101"/>
                      <a:pt x="97" y="101"/>
                      <a:pt x="97" y="101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63" y="102"/>
                      <a:pt x="63" y="102"/>
                      <a:pt x="63" y="102"/>
                    </a:cubicBezTo>
                    <a:cubicBezTo>
                      <a:pt x="63" y="102"/>
                      <a:pt x="71" y="116"/>
                      <a:pt x="69" y="121"/>
                    </a:cubicBezTo>
                    <a:cubicBezTo>
                      <a:pt x="67" y="126"/>
                      <a:pt x="55" y="124"/>
                      <a:pt x="55" y="124"/>
                    </a:cubicBezTo>
                    <a:cubicBezTo>
                      <a:pt x="55" y="124"/>
                      <a:pt x="60" y="141"/>
                      <a:pt x="57" y="145"/>
                    </a:cubicBezTo>
                    <a:cubicBezTo>
                      <a:pt x="54" y="149"/>
                      <a:pt x="47" y="150"/>
                      <a:pt x="47" y="150"/>
                    </a:cubicBezTo>
                    <a:cubicBezTo>
                      <a:pt x="47" y="150"/>
                      <a:pt x="60" y="160"/>
                      <a:pt x="48" y="161"/>
                    </a:cubicBezTo>
                    <a:cubicBezTo>
                      <a:pt x="36" y="162"/>
                      <a:pt x="21" y="165"/>
                      <a:pt x="21" y="165"/>
                    </a:cubicBezTo>
                    <a:cubicBezTo>
                      <a:pt x="8" y="173"/>
                      <a:pt x="8" y="173"/>
                      <a:pt x="8" y="173"/>
                    </a:cubicBezTo>
                    <a:cubicBezTo>
                      <a:pt x="23" y="194"/>
                      <a:pt x="23" y="194"/>
                      <a:pt x="23" y="194"/>
                    </a:cubicBezTo>
                    <a:cubicBezTo>
                      <a:pt x="15" y="209"/>
                      <a:pt x="15" y="209"/>
                      <a:pt x="15" y="209"/>
                    </a:cubicBezTo>
                    <a:lnTo>
                      <a:pt x="0" y="20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0" name="MCShape 122">
                <a:extLst>
                  <a:ext uri="{FF2B5EF4-FFF2-40B4-BE49-F238E27FC236}">
                    <a16:creationId xmlns:a16="http://schemas.microsoft.com/office/drawing/2014/main" id="{8785A919-EC35-4E22-9F64-DAE656105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5527" y="3874404"/>
                <a:ext cx="171688" cy="202624"/>
              </a:xfrm>
              <a:custGeom>
                <a:avLst/>
                <a:gdLst>
                  <a:gd name="T0" fmla="*/ 266 w 291"/>
                  <a:gd name="T1" fmla="*/ 269 h 343"/>
                  <a:gd name="T2" fmla="*/ 253 w 291"/>
                  <a:gd name="T3" fmla="*/ 219 h 343"/>
                  <a:gd name="T4" fmla="*/ 273 w 291"/>
                  <a:gd name="T5" fmla="*/ 187 h 343"/>
                  <a:gd name="T6" fmla="*/ 274 w 291"/>
                  <a:gd name="T7" fmla="*/ 157 h 343"/>
                  <a:gd name="T8" fmla="*/ 291 w 291"/>
                  <a:gd name="T9" fmla="*/ 130 h 343"/>
                  <a:gd name="T10" fmla="*/ 279 w 291"/>
                  <a:gd name="T11" fmla="*/ 84 h 343"/>
                  <a:gd name="T12" fmla="*/ 287 w 291"/>
                  <a:gd name="T13" fmla="*/ 83 h 343"/>
                  <a:gd name="T14" fmla="*/ 283 w 291"/>
                  <a:gd name="T15" fmla="*/ 64 h 343"/>
                  <a:gd name="T16" fmla="*/ 271 w 291"/>
                  <a:gd name="T17" fmla="*/ 66 h 343"/>
                  <a:gd name="T18" fmla="*/ 247 w 291"/>
                  <a:gd name="T19" fmla="*/ 41 h 343"/>
                  <a:gd name="T20" fmla="*/ 206 w 291"/>
                  <a:gd name="T21" fmla="*/ 59 h 343"/>
                  <a:gd name="T22" fmla="*/ 186 w 291"/>
                  <a:gd name="T23" fmla="*/ 54 h 343"/>
                  <a:gd name="T24" fmla="*/ 166 w 291"/>
                  <a:gd name="T25" fmla="*/ 22 h 343"/>
                  <a:gd name="T26" fmla="*/ 153 w 291"/>
                  <a:gd name="T27" fmla="*/ 26 h 343"/>
                  <a:gd name="T28" fmla="*/ 150 w 291"/>
                  <a:gd name="T29" fmla="*/ 12 h 343"/>
                  <a:gd name="T30" fmla="*/ 131 w 291"/>
                  <a:gd name="T31" fmla="*/ 26 h 343"/>
                  <a:gd name="T32" fmla="*/ 116 w 291"/>
                  <a:gd name="T33" fmla="*/ 24 h 343"/>
                  <a:gd name="T34" fmla="*/ 116 w 291"/>
                  <a:gd name="T35" fmla="*/ 0 h 343"/>
                  <a:gd name="T36" fmla="*/ 108 w 291"/>
                  <a:gd name="T37" fmla="*/ 13 h 343"/>
                  <a:gd name="T38" fmla="*/ 99 w 291"/>
                  <a:gd name="T39" fmla="*/ 1 h 343"/>
                  <a:gd name="T40" fmla="*/ 95 w 291"/>
                  <a:gd name="T41" fmla="*/ 19 h 343"/>
                  <a:gd name="T42" fmla="*/ 85 w 291"/>
                  <a:gd name="T43" fmla="*/ 19 h 343"/>
                  <a:gd name="T44" fmla="*/ 81 w 291"/>
                  <a:gd name="T45" fmla="*/ 31 h 343"/>
                  <a:gd name="T46" fmla="*/ 55 w 291"/>
                  <a:gd name="T47" fmla="*/ 15 h 343"/>
                  <a:gd name="T48" fmla="*/ 42 w 291"/>
                  <a:gd name="T49" fmla="*/ 30 h 343"/>
                  <a:gd name="T50" fmla="*/ 36 w 291"/>
                  <a:gd name="T51" fmla="*/ 27 h 343"/>
                  <a:gd name="T52" fmla="*/ 23 w 291"/>
                  <a:gd name="T53" fmla="*/ 41 h 343"/>
                  <a:gd name="T54" fmla="*/ 28 w 291"/>
                  <a:gd name="T55" fmla="*/ 68 h 343"/>
                  <a:gd name="T56" fmla="*/ 40 w 291"/>
                  <a:gd name="T57" fmla="*/ 69 h 343"/>
                  <a:gd name="T58" fmla="*/ 33 w 291"/>
                  <a:gd name="T59" fmla="*/ 82 h 343"/>
                  <a:gd name="T60" fmla="*/ 43 w 291"/>
                  <a:gd name="T61" fmla="*/ 86 h 343"/>
                  <a:gd name="T62" fmla="*/ 34 w 291"/>
                  <a:gd name="T63" fmla="*/ 103 h 343"/>
                  <a:gd name="T64" fmla="*/ 50 w 291"/>
                  <a:gd name="T65" fmla="*/ 113 h 343"/>
                  <a:gd name="T66" fmla="*/ 49 w 291"/>
                  <a:gd name="T67" fmla="*/ 126 h 343"/>
                  <a:gd name="T68" fmla="*/ 19 w 291"/>
                  <a:gd name="T69" fmla="*/ 122 h 343"/>
                  <a:gd name="T70" fmla="*/ 37 w 291"/>
                  <a:gd name="T71" fmla="*/ 145 h 343"/>
                  <a:gd name="T72" fmla="*/ 25 w 291"/>
                  <a:gd name="T73" fmla="*/ 148 h 343"/>
                  <a:gd name="T74" fmla="*/ 25 w 291"/>
                  <a:gd name="T75" fmla="*/ 169 h 343"/>
                  <a:gd name="T76" fmla="*/ 2 w 291"/>
                  <a:gd name="T77" fmla="*/ 162 h 343"/>
                  <a:gd name="T78" fmla="*/ 15 w 291"/>
                  <a:gd name="T79" fmla="*/ 196 h 343"/>
                  <a:gd name="T80" fmla="*/ 1 w 291"/>
                  <a:gd name="T81" fmla="*/ 228 h 343"/>
                  <a:gd name="T82" fmla="*/ 14 w 291"/>
                  <a:gd name="T83" fmla="*/ 230 h 343"/>
                  <a:gd name="T84" fmla="*/ 14 w 291"/>
                  <a:gd name="T85" fmla="*/ 240 h 343"/>
                  <a:gd name="T86" fmla="*/ 38 w 291"/>
                  <a:gd name="T87" fmla="*/ 236 h 343"/>
                  <a:gd name="T88" fmla="*/ 39 w 291"/>
                  <a:gd name="T89" fmla="*/ 253 h 343"/>
                  <a:gd name="T90" fmla="*/ 60 w 291"/>
                  <a:gd name="T91" fmla="*/ 282 h 343"/>
                  <a:gd name="T92" fmla="*/ 50 w 291"/>
                  <a:gd name="T93" fmla="*/ 316 h 343"/>
                  <a:gd name="T94" fmla="*/ 51 w 291"/>
                  <a:gd name="T95" fmla="*/ 343 h 343"/>
                  <a:gd name="T96" fmla="*/ 66 w 291"/>
                  <a:gd name="T97" fmla="*/ 331 h 343"/>
                  <a:gd name="T98" fmla="*/ 75 w 291"/>
                  <a:gd name="T99" fmla="*/ 331 h 343"/>
                  <a:gd name="T100" fmla="*/ 85 w 291"/>
                  <a:gd name="T101" fmla="*/ 323 h 343"/>
                  <a:gd name="T102" fmla="*/ 151 w 291"/>
                  <a:gd name="T103" fmla="*/ 300 h 343"/>
                  <a:gd name="T104" fmla="*/ 178 w 291"/>
                  <a:gd name="T105" fmla="*/ 296 h 343"/>
                  <a:gd name="T106" fmla="*/ 218 w 291"/>
                  <a:gd name="T107" fmla="*/ 290 h 343"/>
                  <a:gd name="T108" fmla="*/ 236 w 291"/>
                  <a:gd name="T109" fmla="*/ 299 h 343"/>
                  <a:gd name="T110" fmla="*/ 256 w 291"/>
                  <a:gd name="T111" fmla="*/ 289 h 343"/>
                  <a:gd name="T112" fmla="*/ 273 w 291"/>
                  <a:gd name="T113" fmla="*/ 306 h 343"/>
                  <a:gd name="T114" fmla="*/ 285 w 291"/>
                  <a:gd name="T115" fmla="*/ 310 h 343"/>
                  <a:gd name="T116" fmla="*/ 284 w 291"/>
                  <a:gd name="T117" fmla="*/ 275 h 343"/>
                  <a:gd name="T118" fmla="*/ 266 w 291"/>
                  <a:gd name="T119" fmla="*/ 269 h 34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91"/>
                  <a:gd name="T181" fmla="*/ 0 h 343"/>
                  <a:gd name="T182" fmla="*/ 291 w 291"/>
                  <a:gd name="T183" fmla="*/ 343 h 34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91" h="343">
                    <a:moveTo>
                      <a:pt x="266" y="269"/>
                    </a:moveTo>
                    <a:cubicBezTo>
                      <a:pt x="266" y="269"/>
                      <a:pt x="253" y="233"/>
                      <a:pt x="253" y="219"/>
                    </a:cubicBezTo>
                    <a:cubicBezTo>
                      <a:pt x="253" y="205"/>
                      <a:pt x="273" y="187"/>
                      <a:pt x="273" y="187"/>
                    </a:cubicBezTo>
                    <a:cubicBezTo>
                      <a:pt x="273" y="187"/>
                      <a:pt x="274" y="165"/>
                      <a:pt x="274" y="157"/>
                    </a:cubicBezTo>
                    <a:cubicBezTo>
                      <a:pt x="274" y="149"/>
                      <a:pt x="291" y="142"/>
                      <a:pt x="291" y="130"/>
                    </a:cubicBezTo>
                    <a:cubicBezTo>
                      <a:pt x="291" y="118"/>
                      <a:pt x="279" y="84"/>
                      <a:pt x="279" y="84"/>
                    </a:cubicBezTo>
                    <a:cubicBezTo>
                      <a:pt x="287" y="83"/>
                      <a:pt x="287" y="83"/>
                      <a:pt x="287" y="83"/>
                    </a:cubicBezTo>
                    <a:cubicBezTo>
                      <a:pt x="283" y="64"/>
                      <a:pt x="283" y="64"/>
                      <a:pt x="283" y="64"/>
                    </a:cubicBezTo>
                    <a:cubicBezTo>
                      <a:pt x="271" y="66"/>
                      <a:pt x="271" y="66"/>
                      <a:pt x="271" y="66"/>
                    </a:cubicBezTo>
                    <a:cubicBezTo>
                      <a:pt x="271" y="66"/>
                      <a:pt x="277" y="45"/>
                      <a:pt x="247" y="41"/>
                    </a:cubicBezTo>
                    <a:cubicBezTo>
                      <a:pt x="217" y="37"/>
                      <a:pt x="206" y="59"/>
                      <a:pt x="206" y="59"/>
                    </a:cubicBezTo>
                    <a:cubicBezTo>
                      <a:pt x="206" y="59"/>
                      <a:pt x="196" y="55"/>
                      <a:pt x="186" y="54"/>
                    </a:cubicBezTo>
                    <a:cubicBezTo>
                      <a:pt x="176" y="53"/>
                      <a:pt x="166" y="22"/>
                      <a:pt x="166" y="22"/>
                    </a:cubicBezTo>
                    <a:cubicBezTo>
                      <a:pt x="153" y="26"/>
                      <a:pt x="153" y="26"/>
                      <a:pt x="153" y="26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35" y="12"/>
                      <a:pt x="131" y="26"/>
                      <a:pt x="131" y="26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5" y="19"/>
                      <a:pt x="95" y="19"/>
                      <a:pt x="95" y="19"/>
                    </a:cubicBezTo>
                    <a:cubicBezTo>
                      <a:pt x="85" y="19"/>
                      <a:pt x="85" y="19"/>
                      <a:pt x="85" y="19"/>
                    </a:cubicBezTo>
                    <a:cubicBezTo>
                      <a:pt x="81" y="31"/>
                      <a:pt x="81" y="31"/>
                      <a:pt x="81" y="31"/>
                    </a:cubicBezTo>
                    <a:cubicBezTo>
                      <a:pt x="81" y="31"/>
                      <a:pt x="71" y="17"/>
                      <a:pt x="55" y="15"/>
                    </a:cubicBezTo>
                    <a:cubicBezTo>
                      <a:pt x="39" y="13"/>
                      <a:pt x="42" y="30"/>
                      <a:pt x="42" y="3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33" y="82"/>
                      <a:pt x="33" y="82"/>
                      <a:pt x="33" y="82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6"/>
                      <a:pt x="33" y="95"/>
                      <a:pt x="34" y="103"/>
                    </a:cubicBezTo>
                    <a:cubicBezTo>
                      <a:pt x="35" y="111"/>
                      <a:pt x="50" y="106"/>
                      <a:pt x="50" y="113"/>
                    </a:cubicBezTo>
                    <a:cubicBezTo>
                      <a:pt x="50" y="120"/>
                      <a:pt x="49" y="126"/>
                      <a:pt x="49" y="126"/>
                    </a:cubicBezTo>
                    <a:cubicBezTo>
                      <a:pt x="49" y="126"/>
                      <a:pt x="19" y="112"/>
                      <a:pt x="19" y="122"/>
                    </a:cubicBezTo>
                    <a:cubicBezTo>
                      <a:pt x="19" y="132"/>
                      <a:pt x="37" y="145"/>
                      <a:pt x="37" y="145"/>
                    </a:cubicBezTo>
                    <a:cubicBezTo>
                      <a:pt x="25" y="148"/>
                      <a:pt x="25" y="148"/>
                      <a:pt x="25" y="148"/>
                    </a:cubicBezTo>
                    <a:cubicBezTo>
                      <a:pt x="25" y="148"/>
                      <a:pt x="32" y="166"/>
                      <a:pt x="25" y="169"/>
                    </a:cubicBezTo>
                    <a:cubicBezTo>
                      <a:pt x="19" y="171"/>
                      <a:pt x="9" y="164"/>
                      <a:pt x="2" y="162"/>
                    </a:cubicBezTo>
                    <a:cubicBezTo>
                      <a:pt x="7" y="172"/>
                      <a:pt x="15" y="186"/>
                      <a:pt x="15" y="196"/>
                    </a:cubicBezTo>
                    <a:cubicBezTo>
                      <a:pt x="15" y="211"/>
                      <a:pt x="0" y="225"/>
                      <a:pt x="1" y="228"/>
                    </a:cubicBezTo>
                    <a:cubicBezTo>
                      <a:pt x="2" y="231"/>
                      <a:pt x="14" y="230"/>
                      <a:pt x="14" y="230"/>
                    </a:cubicBezTo>
                    <a:cubicBezTo>
                      <a:pt x="14" y="240"/>
                      <a:pt x="14" y="240"/>
                      <a:pt x="14" y="240"/>
                    </a:cubicBezTo>
                    <a:cubicBezTo>
                      <a:pt x="38" y="236"/>
                      <a:pt x="38" y="236"/>
                      <a:pt x="38" y="236"/>
                    </a:cubicBezTo>
                    <a:cubicBezTo>
                      <a:pt x="39" y="253"/>
                      <a:pt x="39" y="253"/>
                      <a:pt x="39" y="253"/>
                    </a:cubicBezTo>
                    <a:cubicBezTo>
                      <a:pt x="39" y="253"/>
                      <a:pt x="60" y="269"/>
                      <a:pt x="60" y="282"/>
                    </a:cubicBezTo>
                    <a:cubicBezTo>
                      <a:pt x="60" y="295"/>
                      <a:pt x="50" y="316"/>
                      <a:pt x="50" y="316"/>
                    </a:cubicBezTo>
                    <a:cubicBezTo>
                      <a:pt x="51" y="343"/>
                      <a:pt x="51" y="343"/>
                      <a:pt x="51" y="343"/>
                    </a:cubicBezTo>
                    <a:cubicBezTo>
                      <a:pt x="63" y="341"/>
                      <a:pt x="66" y="331"/>
                      <a:pt x="66" y="331"/>
                    </a:cubicBezTo>
                    <a:cubicBezTo>
                      <a:pt x="75" y="331"/>
                      <a:pt x="75" y="331"/>
                      <a:pt x="75" y="331"/>
                    </a:cubicBezTo>
                    <a:cubicBezTo>
                      <a:pt x="85" y="323"/>
                      <a:pt x="85" y="323"/>
                      <a:pt x="85" y="323"/>
                    </a:cubicBezTo>
                    <a:cubicBezTo>
                      <a:pt x="85" y="323"/>
                      <a:pt x="131" y="298"/>
                      <a:pt x="151" y="300"/>
                    </a:cubicBezTo>
                    <a:cubicBezTo>
                      <a:pt x="171" y="302"/>
                      <a:pt x="178" y="296"/>
                      <a:pt x="178" y="296"/>
                    </a:cubicBezTo>
                    <a:cubicBezTo>
                      <a:pt x="178" y="296"/>
                      <a:pt x="209" y="285"/>
                      <a:pt x="218" y="290"/>
                    </a:cubicBezTo>
                    <a:cubicBezTo>
                      <a:pt x="227" y="295"/>
                      <a:pt x="229" y="300"/>
                      <a:pt x="236" y="299"/>
                    </a:cubicBezTo>
                    <a:cubicBezTo>
                      <a:pt x="243" y="298"/>
                      <a:pt x="256" y="289"/>
                      <a:pt x="256" y="289"/>
                    </a:cubicBezTo>
                    <a:cubicBezTo>
                      <a:pt x="256" y="289"/>
                      <a:pt x="257" y="299"/>
                      <a:pt x="273" y="306"/>
                    </a:cubicBezTo>
                    <a:cubicBezTo>
                      <a:pt x="277" y="308"/>
                      <a:pt x="281" y="309"/>
                      <a:pt x="285" y="310"/>
                    </a:cubicBezTo>
                    <a:cubicBezTo>
                      <a:pt x="284" y="275"/>
                      <a:pt x="284" y="275"/>
                      <a:pt x="284" y="275"/>
                    </a:cubicBezTo>
                    <a:lnTo>
                      <a:pt x="266" y="26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1" name="MCShape 123">
                <a:extLst>
                  <a:ext uri="{FF2B5EF4-FFF2-40B4-BE49-F238E27FC236}">
                    <a16:creationId xmlns:a16="http://schemas.microsoft.com/office/drawing/2014/main" id="{9DFB429E-9E9D-46B0-A9EC-A941B79A9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4551" y="3467613"/>
                <a:ext cx="437728" cy="372764"/>
              </a:xfrm>
              <a:custGeom>
                <a:avLst/>
                <a:gdLst>
                  <a:gd name="T0" fmla="*/ 36 w 741"/>
                  <a:gd name="T1" fmla="*/ 540 h 628"/>
                  <a:gd name="T2" fmla="*/ 34 w 741"/>
                  <a:gd name="T3" fmla="*/ 557 h 628"/>
                  <a:gd name="T4" fmla="*/ 88 w 741"/>
                  <a:gd name="T5" fmla="*/ 579 h 628"/>
                  <a:gd name="T6" fmla="*/ 84 w 741"/>
                  <a:gd name="T7" fmla="*/ 598 h 628"/>
                  <a:gd name="T8" fmla="*/ 102 w 741"/>
                  <a:gd name="T9" fmla="*/ 604 h 628"/>
                  <a:gd name="T10" fmla="*/ 141 w 741"/>
                  <a:gd name="T11" fmla="*/ 619 h 628"/>
                  <a:gd name="T12" fmla="*/ 159 w 741"/>
                  <a:gd name="T13" fmla="*/ 594 h 628"/>
                  <a:gd name="T14" fmla="*/ 183 w 741"/>
                  <a:gd name="T15" fmla="*/ 542 h 628"/>
                  <a:gd name="T16" fmla="*/ 236 w 741"/>
                  <a:gd name="T17" fmla="*/ 526 h 628"/>
                  <a:gd name="T18" fmla="*/ 269 w 741"/>
                  <a:gd name="T19" fmla="*/ 529 h 628"/>
                  <a:gd name="T20" fmla="*/ 305 w 741"/>
                  <a:gd name="T21" fmla="*/ 544 h 628"/>
                  <a:gd name="T22" fmla="*/ 364 w 741"/>
                  <a:gd name="T23" fmla="*/ 544 h 628"/>
                  <a:gd name="T24" fmla="*/ 442 w 741"/>
                  <a:gd name="T25" fmla="*/ 578 h 628"/>
                  <a:gd name="T26" fmla="*/ 554 w 741"/>
                  <a:gd name="T27" fmla="*/ 557 h 628"/>
                  <a:gd name="T28" fmla="*/ 597 w 741"/>
                  <a:gd name="T29" fmla="*/ 541 h 628"/>
                  <a:gd name="T30" fmla="*/ 621 w 741"/>
                  <a:gd name="T31" fmla="*/ 526 h 628"/>
                  <a:gd name="T32" fmla="*/ 621 w 741"/>
                  <a:gd name="T33" fmla="*/ 484 h 628"/>
                  <a:gd name="T34" fmla="*/ 656 w 741"/>
                  <a:gd name="T35" fmla="*/ 426 h 628"/>
                  <a:gd name="T36" fmla="*/ 727 w 741"/>
                  <a:gd name="T37" fmla="*/ 194 h 628"/>
                  <a:gd name="T38" fmla="*/ 721 w 741"/>
                  <a:gd name="T39" fmla="*/ 145 h 628"/>
                  <a:gd name="T40" fmla="*/ 697 w 741"/>
                  <a:gd name="T41" fmla="*/ 105 h 628"/>
                  <a:gd name="T42" fmla="*/ 692 w 741"/>
                  <a:gd name="T43" fmla="*/ 28 h 628"/>
                  <a:gd name="T44" fmla="*/ 623 w 741"/>
                  <a:gd name="T45" fmla="*/ 16 h 628"/>
                  <a:gd name="T46" fmla="*/ 551 w 741"/>
                  <a:gd name="T47" fmla="*/ 0 h 628"/>
                  <a:gd name="T48" fmla="*/ 261 w 741"/>
                  <a:gd name="T49" fmla="*/ 221 h 628"/>
                  <a:gd name="T50" fmla="*/ 190 w 741"/>
                  <a:gd name="T51" fmla="*/ 372 h 628"/>
                  <a:gd name="T52" fmla="*/ 160 w 741"/>
                  <a:gd name="T53" fmla="*/ 427 h 628"/>
                  <a:gd name="T54" fmla="*/ 124 w 741"/>
                  <a:gd name="T55" fmla="*/ 437 h 628"/>
                  <a:gd name="T56" fmla="*/ 92 w 741"/>
                  <a:gd name="T57" fmla="*/ 444 h 628"/>
                  <a:gd name="T58" fmla="*/ 32 w 741"/>
                  <a:gd name="T59" fmla="*/ 455 h 628"/>
                  <a:gd name="T60" fmla="*/ 1 w 741"/>
                  <a:gd name="T61" fmla="*/ 485 h 628"/>
                  <a:gd name="T62" fmla="*/ 13 w 741"/>
                  <a:gd name="T63" fmla="*/ 525 h 62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741"/>
                  <a:gd name="T97" fmla="*/ 0 h 628"/>
                  <a:gd name="T98" fmla="*/ 741 w 741"/>
                  <a:gd name="T99" fmla="*/ 628 h 62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741" h="628">
                    <a:moveTo>
                      <a:pt x="35" y="531"/>
                    </a:moveTo>
                    <a:cubicBezTo>
                      <a:pt x="36" y="540"/>
                      <a:pt x="36" y="540"/>
                      <a:pt x="36" y="540"/>
                    </a:cubicBezTo>
                    <a:cubicBezTo>
                      <a:pt x="46" y="541"/>
                      <a:pt x="46" y="541"/>
                      <a:pt x="46" y="541"/>
                    </a:cubicBezTo>
                    <a:cubicBezTo>
                      <a:pt x="46" y="541"/>
                      <a:pt x="31" y="552"/>
                      <a:pt x="34" y="557"/>
                    </a:cubicBezTo>
                    <a:cubicBezTo>
                      <a:pt x="37" y="562"/>
                      <a:pt x="56" y="584"/>
                      <a:pt x="68" y="584"/>
                    </a:cubicBezTo>
                    <a:cubicBezTo>
                      <a:pt x="80" y="584"/>
                      <a:pt x="79" y="575"/>
                      <a:pt x="88" y="579"/>
                    </a:cubicBezTo>
                    <a:cubicBezTo>
                      <a:pt x="97" y="583"/>
                      <a:pt x="99" y="593"/>
                      <a:pt x="99" y="593"/>
                    </a:cubicBezTo>
                    <a:cubicBezTo>
                      <a:pt x="84" y="598"/>
                      <a:pt x="84" y="598"/>
                      <a:pt x="84" y="598"/>
                    </a:cubicBezTo>
                    <a:cubicBezTo>
                      <a:pt x="99" y="620"/>
                      <a:pt x="99" y="620"/>
                      <a:pt x="99" y="620"/>
                    </a:cubicBezTo>
                    <a:cubicBezTo>
                      <a:pt x="102" y="604"/>
                      <a:pt x="102" y="604"/>
                      <a:pt x="102" y="604"/>
                    </a:cubicBezTo>
                    <a:cubicBezTo>
                      <a:pt x="119" y="597"/>
                      <a:pt x="119" y="597"/>
                      <a:pt x="119" y="597"/>
                    </a:cubicBezTo>
                    <a:cubicBezTo>
                      <a:pt x="119" y="597"/>
                      <a:pt x="136" y="616"/>
                      <a:pt x="141" y="619"/>
                    </a:cubicBezTo>
                    <a:cubicBezTo>
                      <a:pt x="146" y="622"/>
                      <a:pt x="162" y="628"/>
                      <a:pt x="162" y="628"/>
                    </a:cubicBezTo>
                    <a:cubicBezTo>
                      <a:pt x="159" y="594"/>
                      <a:pt x="159" y="594"/>
                      <a:pt x="159" y="594"/>
                    </a:cubicBezTo>
                    <a:cubicBezTo>
                      <a:pt x="159" y="594"/>
                      <a:pt x="181" y="583"/>
                      <a:pt x="182" y="568"/>
                    </a:cubicBezTo>
                    <a:cubicBezTo>
                      <a:pt x="183" y="553"/>
                      <a:pt x="183" y="542"/>
                      <a:pt x="183" y="542"/>
                    </a:cubicBezTo>
                    <a:cubicBezTo>
                      <a:pt x="202" y="525"/>
                      <a:pt x="202" y="525"/>
                      <a:pt x="202" y="525"/>
                    </a:cubicBezTo>
                    <a:cubicBezTo>
                      <a:pt x="236" y="526"/>
                      <a:pt x="236" y="526"/>
                      <a:pt x="236" y="526"/>
                    </a:cubicBezTo>
                    <a:cubicBezTo>
                      <a:pt x="236" y="526"/>
                      <a:pt x="235" y="520"/>
                      <a:pt x="249" y="519"/>
                    </a:cubicBezTo>
                    <a:cubicBezTo>
                      <a:pt x="263" y="518"/>
                      <a:pt x="262" y="528"/>
                      <a:pt x="269" y="529"/>
                    </a:cubicBezTo>
                    <a:cubicBezTo>
                      <a:pt x="276" y="530"/>
                      <a:pt x="288" y="530"/>
                      <a:pt x="288" y="530"/>
                    </a:cubicBezTo>
                    <a:cubicBezTo>
                      <a:pt x="305" y="544"/>
                      <a:pt x="305" y="544"/>
                      <a:pt x="305" y="544"/>
                    </a:cubicBezTo>
                    <a:cubicBezTo>
                      <a:pt x="305" y="544"/>
                      <a:pt x="310" y="566"/>
                      <a:pt x="319" y="565"/>
                    </a:cubicBezTo>
                    <a:cubicBezTo>
                      <a:pt x="328" y="564"/>
                      <a:pt x="352" y="544"/>
                      <a:pt x="364" y="544"/>
                    </a:cubicBezTo>
                    <a:cubicBezTo>
                      <a:pt x="376" y="544"/>
                      <a:pt x="388" y="572"/>
                      <a:pt x="407" y="573"/>
                    </a:cubicBezTo>
                    <a:cubicBezTo>
                      <a:pt x="426" y="574"/>
                      <a:pt x="442" y="578"/>
                      <a:pt x="442" y="578"/>
                    </a:cubicBezTo>
                    <a:cubicBezTo>
                      <a:pt x="442" y="578"/>
                      <a:pt x="454" y="543"/>
                      <a:pt x="496" y="543"/>
                    </a:cubicBezTo>
                    <a:cubicBezTo>
                      <a:pt x="538" y="543"/>
                      <a:pt x="554" y="557"/>
                      <a:pt x="554" y="557"/>
                    </a:cubicBezTo>
                    <a:cubicBezTo>
                      <a:pt x="572" y="558"/>
                      <a:pt x="572" y="558"/>
                      <a:pt x="572" y="558"/>
                    </a:cubicBezTo>
                    <a:cubicBezTo>
                      <a:pt x="572" y="558"/>
                      <a:pt x="590" y="545"/>
                      <a:pt x="597" y="541"/>
                    </a:cubicBezTo>
                    <a:cubicBezTo>
                      <a:pt x="604" y="537"/>
                      <a:pt x="613" y="540"/>
                      <a:pt x="613" y="540"/>
                    </a:cubicBezTo>
                    <a:cubicBezTo>
                      <a:pt x="613" y="540"/>
                      <a:pt x="617" y="526"/>
                      <a:pt x="621" y="526"/>
                    </a:cubicBezTo>
                    <a:cubicBezTo>
                      <a:pt x="622" y="526"/>
                      <a:pt x="623" y="526"/>
                      <a:pt x="624" y="526"/>
                    </a:cubicBezTo>
                    <a:cubicBezTo>
                      <a:pt x="621" y="484"/>
                      <a:pt x="621" y="484"/>
                      <a:pt x="621" y="484"/>
                    </a:cubicBezTo>
                    <a:cubicBezTo>
                      <a:pt x="634" y="479"/>
                      <a:pt x="634" y="479"/>
                      <a:pt x="634" y="479"/>
                    </a:cubicBezTo>
                    <a:cubicBezTo>
                      <a:pt x="634" y="479"/>
                      <a:pt x="644" y="442"/>
                      <a:pt x="656" y="426"/>
                    </a:cubicBezTo>
                    <a:cubicBezTo>
                      <a:pt x="667" y="409"/>
                      <a:pt x="717" y="356"/>
                      <a:pt x="717" y="356"/>
                    </a:cubicBezTo>
                    <a:cubicBezTo>
                      <a:pt x="727" y="194"/>
                      <a:pt x="727" y="194"/>
                      <a:pt x="727" y="194"/>
                    </a:cubicBezTo>
                    <a:cubicBezTo>
                      <a:pt x="741" y="169"/>
                      <a:pt x="741" y="169"/>
                      <a:pt x="741" y="169"/>
                    </a:cubicBezTo>
                    <a:cubicBezTo>
                      <a:pt x="721" y="145"/>
                      <a:pt x="721" y="145"/>
                      <a:pt x="721" y="145"/>
                    </a:cubicBezTo>
                    <a:cubicBezTo>
                      <a:pt x="716" y="129"/>
                      <a:pt x="716" y="129"/>
                      <a:pt x="716" y="129"/>
                    </a:cubicBezTo>
                    <a:cubicBezTo>
                      <a:pt x="697" y="105"/>
                      <a:pt x="697" y="105"/>
                      <a:pt x="697" y="105"/>
                    </a:cubicBezTo>
                    <a:cubicBezTo>
                      <a:pt x="704" y="72"/>
                      <a:pt x="704" y="72"/>
                      <a:pt x="704" y="72"/>
                    </a:cubicBezTo>
                    <a:cubicBezTo>
                      <a:pt x="692" y="28"/>
                      <a:pt x="692" y="28"/>
                      <a:pt x="692" y="28"/>
                    </a:cubicBezTo>
                    <a:cubicBezTo>
                      <a:pt x="676" y="37"/>
                      <a:pt x="661" y="44"/>
                      <a:pt x="657" y="45"/>
                    </a:cubicBezTo>
                    <a:cubicBezTo>
                      <a:pt x="646" y="46"/>
                      <a:pt x="630" y="18"/>
                      <a:pt x="623" y="16"/>
                    </a:cubicBezTo>
                    <a:cubicBezTo>
                      <a:pt x="616" y="14"/>
                      <a:pt x="576" y="6"/>
                      <a:pt x="576" y="6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364" y="136"/>
                      <a:pt x="342" y="151"/>
                    </a:cubicBezTo>
                    <a:cubicBezTo>
                      <a:pt x="320" y="166"/>
                      <a:pt x="275" y="219"/>
                      <a:pt x="261" y="221"/>
                    </a:cubicBezTo>
                    <a:cubicBezTo>
                      <a:pt x="251" y="222"/>
                      <a:pt x="210" y="231"/>
                      <a:pt x="190" y="235"/>
                    </a:cubicBezTo>
                    <a:cubicBezTo>
                      <a:pt x="190" y="372"/>
                      <a:pt x="190" y="372"/>
                      <a:pt x="190" y="372"/>
                    </a:cubicBezTo>
                    <a:cubicBezTo>
                      <a:pt x="175" y="387"/>
                      <a:pt x="175" y="387"/>
                      <a:pt x="175" y="387"/>
                    </a:cubicBezTo>
                    <a:cubicBezTo>
                      <a:pt x="175" y="387"/>
                      <a:pt x="175" y="420"/>
                      <a:pt x="160" y="427"/>
                    </a:cubicBezTo>
                    <a:cubicBezTo>
                      <a:pt x="138" y="438"/>
                      <a:pt x="131" y="432"/>
                      <a:pt x="131" y="432"/>
                    </a:cubicBezTo>
                    <a:cubicBezTo>
                      <a:pt x="124" y="437"/>
                      <a:pt x="124" y="437"/>
                      <a:pt x="124" y="437"/>
                    </a:cubicBezTo>
                    <a:cubicBezTo>
                      <a:pt x="93" y="435"/>
                      <a:pt x="93" y="435"/>
                      <a:pt x="93" y="435"/>
                    </a:cubicBezTo>
                    <a:cubicBezTo>
                      <a:pt x="92" y="444"/>
                      <a:pt x="92" y="444"/>
                      <a:pt x="92" y="444"/>
                    </a:cubicBezTo>
                    <a:cubicBezTo>
                      <a:pt x="50" y="443"/>
                      <a:pt x="50" y="443"/>
                      <a:pt x="50" y="443"/>
                    </a:cubicBezTo>
                    <a:cubicBezTo>
                      <a:pt x="32" y="455"/>
                      <a:pt x="32" y="455"/>
                      <a:pt x="32" y="455"/>
                    </a:cubicBezTo>
                    <a:cubicBezTo>
                      <a:pt x="0" y="462"/>
                      <a:pt x="0" y="462"/>
                      <a:pt x="0" y="462"/>
                    </a:cubicBezTo>
                    <a:cubicBezTo>
                      <a:pt x="1" y="485"/>
                      <a:pt x="1" y="485"/>
                      <a:pt x="1" y="485"/>
                    </a:cubicBezTo>
                    <a:cubicBezTo>
                      <a:pt x="4" y="494"/>
                      <a:pt x="4" y="494"/>
                      <a:pt x="4" y="494"/>
                    </a:cubicBezTo>
                    <a:cubicBezTo>
                      <a:pt x="4" y="494"/>
                      <a:pt x="3" y="518"/>
                      <a:pt x="13" y="525"/>
                    </a:cubicBezTo>
                    <a:cubicBezTo>
                      <a:pt x="23" y="532"/>
                      <a:pt x="35" y="531"/>
                      <a:pt x="35" y="53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2" name="MCShape 124">
                <a:extLst>
                  <a:ext uri="{FF2B5EF4-FFF2-40B4-BE49-F238E27FC236}">
                    <a16:creationId xmlns:a16="http://schemas.microsoft.com/office/drawing/2014/main" id="{0C751980-421A-4E80-8359-2B1D782B1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885" y="3034526"/>
                <a:ext cx="578480" cy="580027"/>
              </a:xfrm>
              <a:custGeom>
                <a:avLst/>
                <a:gdLst>
                  <a:gd name="T0" fmla="*/ 212 w 983"/>
                  <a:gd name="T1" fmla="*/ 357 h 981"/>
                  <a:gd name="T2" fmla="*/ 155 w 983"/>
                  <a:gd name="T3" fmla="*/ 390 h 981"/>
                  <a:gd name="T4" fmla="*/ 136 w 983"/>
                  <a:gd name="T5" fmla="*/ 399 h 981"/>
                  <a:gd name="T6" fmla="*/ 111 w 983"/>
                  <a:gd name="T7" fmla="*/ 404 h 981"/>
                  <a:gd name="T8" fmla="*/ 81 w 983"/>
                  <a:gd name="T9" fmla="*/ 417 h 981"/>
                  <a:gd name="T10" fmla="*/ 40 w 983"/>
                  <a:gd name="T11" fmla="*/ 454 h 981"/>
                  <a:gd name="T12" fmla="*/ 35 w 983"/>
                  <a:gd name="T13" fmla="*/ 511 h 981"/>
                  <a:gd name="T14" fmla="*/ 37 w 983"/>
                  <a:gd name="T15" fmla="*/ 513 h 981"/>
                  <a:gd name="T16" fmla="*/ 208 w 983"/>
                  <a:gd name="T17" fmla="*/ 656 h 981"/>
                  <a:gd name="T18" fmla="*/ 481 w 983"/>
                  <a:gd name="T19" fmla="*/ 882 h 981"/>
                  <a:gd name="T20" fmla="*/ 510 w 983"/>
                  <a:gd name="T21" fmla="*/ 904 h 981"/>
                  <a:gd name="T22" fmla="*/ 538 w 983"/>
                  <a:gd name="T23" fmla="*/ 923 h 981"/>
                  <a:gd name="T24" fmla="*/ 582 w 983"/>
                  <a:gd name="T25" fmla="*/ 953 h 981"/>
                  <a:gd name="T26" fmla="*/ 610 w 983"/>
                  <a:gd name="T27" fmla="*/ 973 h 981"/>
                  <a:gd name="T28" fmla="*/ 774 w 983"/>
                  <a:gd name="T29" fmla="*/ 886 h 981"/>
                  <a:gd name="T30" fmla="*/ 963 w 983"/>
                  <a:gd name="T31" fmla="*/ 691 h 981"/>
                  <a:gd name="T32" fmla="*/ 909 w 983"/>
                  <a:gd name="T33" fmla="*/ 684 h 981"/>
                  <a:gd name="T34" fmla="*/ 893 w 983"/>
                  <a:gd name="T35" fmla="*/ 639 h 981"/>
                  <a:gd name="T36" fmla="*/ 889 w 983"/>
                  <a:gd name="T37" fmla="*/ 569 h 981"/>
                  <a:gd name="T38" fmla="*/ 880 w 983"/>
                  <a:gd name="T39" fmla="*/ 515 h 981"/>
                  <a:gd name="T40" fmla="*/ 883 w 983"/>
                  <a:gd name="T41" fmla="*/ 488 h 981"/>
                  <a:gd name="T42" fmla="*/ 862 w 983"/>
                  <a:gd name="T43" fmla="*/ 381 h 981"/>
                  <a:gd name="T44" fmla="*/ 870 w 983"/>
                  <a:gd name="T45" fmla="*/ 373 h 981"/>
                  <a:gd name="T46" fmla="*/ 817 w 983"/>
                  <a:gd name="T47" fmla="*/ 252 h 981"/>
                  <a:gd name="T48" fmla="*/ 789 w 983"/>
                  <a:gd name="T49" fmla="*/ 213 h 981"/>
                  <a:gd name="T50" fmla="*/ 782 w 983"/>
                  <a:gd name="T51" fmla="*/ 194 h 981"/>
                  <a:gd name="T52" fmla="*/ 798 w 983"/>
                  <a:gd name="T53" fmla="*/ 148 h 981"/>
                  <a:gd name="T54" fmla="*/ 820 w 983"/>
                  <a:gd name="T55" fmla="*/ 105 h 981"/>
                  <a:gd name="T56" fmla="*/ 820 w 983"/>
                  <a:gd name="T57" fmla="*/ 38 h 981"/>
                  <a:gd name="T58" fmla="*/ 835 w 983"/>
                  <a:gd name="T59" fmla="*/ 21 h 981"/>
                  <a:gd name="T60" fmla="*/ 815 w 983"/>
                  <a:gd name="T61" fmla="*/ 10 h 981"/>
                  <a:gd name="T62" fmla="*/ 779 w 983"/>
                  <a:gd name="T63" fmla="*/ 3 h 981"/>
                  <a:gd name="T64" fmla="*/ 769 w 983"/>
                  <a:gd name="T65" fmla="*/ 14 h 981"/>
                  <a:gd name="T66" fmla="*/ 728 w 983"/>
                  <a:gd name="T67" fmla="*/ 0 h 981"/>
                  <a:gd name="T68" fmla="*/ 704 w 983"/>
                  <a:gd name="T69" fmla="*/ 14 h 981"/>
                  <a:gd name="T70" fmla="*/ 631 w 983"/>
                  <a:gd name="T71" fmla="*/ 18 h 981"/>
                  <a:gd name="T72" fmla="*/ 545 w 983"/>
                  <a:gd name="T73" fmla="*/ 27 h 981"/>
                  <a:gd name="T74" fmla="*/ 503 w 983"/>
                  <a:gd name="T75" fmla="*/ 33 h 981"/>
                  <a:gd name="T76" fmla="*/ 446 w 983"/>
                  <a:gd name="T77" fmla="*/ 72 h 981"/>
                  <a:gd name="T78" fmla="*/ 355 w 983"/>
                  <a:gd name="T79" fmla="*/ 113 h 981"/>
                  <a:gd name="T80" fmla="*/ 349 w 983"/>
                  <a:gd name="T81" fmla="*/ 112 h 981"/>
                  <a:gd name="T82" fmla="*/ 360 w 983"/>
                  <a:gd name="T83" fmla="*/ 141 h 981"/>
                  <a:gd name="T84" fmla="*/ 365 w 983"/>
                  <a:gd name="T85" fmla="*/ 186 h 981"/>
                  <a:gd name="T86" fmla="*/ 364 w 983"/>
                  <a:gd name="T87" fmla="*/ 218 h 981"/>
                  <a:gd name="T88" fmla="*/ 375 w 983"/>
                  <a:gd name="T89" fmla="*/ 238 h 981"/>
                  <a:gd name="T90" fmla="*/ 382 w 983"/>
                  <a:gd name="T91" fmla="*/ 259 h 981"/>
                  <a:gd name="T92" fmla="*/ 343 w 983"/>
                  <a:gd name="T93" fmla="*/ 274 h 981"/>
                  <a:gd name="T94" fmla="*/ 321 w 983"/>
                  <a:gd name="T95" fmla="*/ 275 h 981"/>
                  <a:gd name="T96" fmla="*/ 303 w 983"/>
                  <a:gd name="T97" fmla="*/ 288 h 981"/>
                  <a:gd name="T98" fmla="*/ 267 w 983"/>
                  <a:gd name="T99" fmla="*/ 318 h 981"/>
                  <a:gd name="T100" fmla="*/ 260 w 983"/>
                  <a:gd name="T101" fmla="*/ 337 h 98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83"/>
                  <a:gd name="T154" fmla="*/ 0 h 981"/>
                  <a:gd name="T155" fmla="*/ 983 w 983"/>
                  <a:gd name="T156" fmla="*/ 981 h 98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83" h="981">
                    <a:moveTo>
                      <a:pt x="242" y="356"/>
                    </a:moveTo>
                    <a:cubicBezTo>
                      <a:pt x="236" y="356"/>
                      <a:pt x="212" y="357"/>
                      <a:pt x="212" y="357"/>
                    </a:cubicBezTo>
                    <a:cubicBezTo>
                      <a:pt x="212" y="357"/>
                      <a:pt x="197" y="388"/>
                      <a:pt x="189" y="391"/>
                    </a:cubicBezTo>
                    <a:cubicBezTo>
                      <a:pt x="181" y="394"/>
                      <a:pt x="155" y="390"/>
                      <a:pt x="155" y="390"/>
                    </a:cubicBezTo>
                    <a:cubicBezTo>
                      <a:pt x="154" y="398"/>
                      <a:pt x="154" y="398"/>
                      <a:pt x="154" y="398"/>
                    </a:cubicBezTo>
                    <a:cubicBezTo>
                      <a:pt x="136" y="399"/>
                      <a:pt x="136" y="399"/>
                      <a:pt x="136" y="399"/>
                    </a:cubicBezTo>
                    <a:cubicBezTo>
                      <a:pt x="136" y="399"/>
                      <a:pt x="136" y="411"/>
                      <a:pt x="130" y="412"/>
                    </a:cubicBezTo>
                    <a:cubicBezTo>
                      <a:pt x="124" y="413"/>
                      <a:pt x="111" y="404"/>
                      <a:pt x="111" y="404"/>
                    </a:cubicBezTo>
                    <a:cubicBezTo>
                      <a:pt x="93" y="418"/>
                      <a:pt x="93" y="418"/>
                      <a:pt x="93" y="418"/>
                    </a:cubicBezTo>
                    <a:cubicBezTo>
                      <a:pt x="81" y="417"/>
                      <a:pt x="81" y="417"/>
                      <a:pt x="81" y="417"/>
                    </a:cubicBezTo>
                    <a:cubicBezTo>
                      <a:pt x="81" y="417"/>
                      <a:pt x="67" y="437"/>
                      <a:pt x="60" y="442"/>
                    </a:cubicBezTo>
                    <a:cubicBezTo>
                      <a:pt x="53" y="447"/>
                      <a:pt x="40" y="454"/>
                      <a:pt x="40" y="454"/>
                    </a:cubicBezTo>
                    <a:cubicBezTo>
                      <a:pt x="37" y="472"/>
                      <a:pt x="37" y="472"/>
                      <a:pt x="37" y="472"/>
                    </a:cubicBezTo>
                    <a:cubicBezTo>
                      <a:pt x="35" y="511"/>
                      <a:pt x="35" y="511"/>
                      <a:pt x="35" y="511"/>
                    </a:cubicBezTo>
                    <a:cubicBezTo>
                      <a:pt x="0" y="511"/>
                      <a:pt x="0" y="511"/>
                      <a:pt x="0" y="511"/>
                    </a:cubicBezTo>
                    <a:cubicBezTo>
                      <a:pt x="37" y="513"/>
                      <a:pt x="37" y="513"/>
                      <a:pt x="37" y="513"/>
                    </a:cubicBezTo>
                    <a:cubicBezTo>
                      <a:pt x="35" y="535"/>
                      <a:pt x="35" y="535"/>
                      <a:pt x="35" y="535"/>
                    </a:cubicBezTo>
                    <a:cubicBezTo>
                      <a:pt x="208" y="656"/>
                      <a:pt x="208" y="656"/>
                      <a:pt x="208" y="656"/>
                    </a:cubicBezTo>
                    <a:cubicBezTo>
                      <a:pt x="482" y="865"/>
                      <a:pt x="482" y="865"/>
                      <a:pt x="482" y="865"/>
                    </a:cubicBezTo>
                    <a:cubicBezTo>
                      <a:pt x="481" y="882"/>
                      <a:pt x="481" y="882"/>
                      <a:pt x="481" y="882"/>
                    </a:cubicBezTo>
                    <a:cubicBezTo>
                      <a:pt x="481" y="882"/>
                      <a:pt x="498" y="878"/>
                      <a:pt x="500" y="886"/>
                    </a:cubicBezTo>
                    <a:cubicBezTo>
                      <a:pt x="502" y="894"/>
                      <a:pt x="500" y="901"/>
                      <a:pt x="510" y="904"/>
                    </a:cubicBezTo>
                    <a:cubicBezTo>
                      <a:pt x="520" y="907"/>
                      <a:pt x="533" y="905"/>
                      <a:pt x="533" y="905"/>
                    </a:cubicBezTo>
                    <a:cubicBezTo>
                      <a:pt x="538" y="923"/>
                      <a:pt x="538" y="923"/>
                      <a:pt x="538" y="923"/>
                    </a:cubicBezTo>
                    <a:cubicBezTo>
                      <a:pt x="538" y="923"/>
                      <a:pt x="561" y="917"/>
                      <a:pt x="571" y="925"/>
                    </a:cubicBezTo>
                    <a:cubicBezTo>
                      <a:pt x="581" y="933"/>
                      <a:pt x="582" y="953"/>
                      <a:pt x="582" y="953"/>
                    </a:cubicBezTo>
                    <a:cubicBezTo>
                      <a:pt x="582" y="953"/>
                      <a:pt x="558" y="967"/>
                      <a:pt x="573" y="974"/>
                    </a:cubicBezTo>
                    <a:cubicBezTo>
                      <a:pt x="588" y="981"/>
                      <a:pt x="610" y="973"/>
                      <a:pt x="610" y="973"/>
                    </a:cubicBezTo>
                    <a:cubicBezTo>
                      <a:pt x="610" y="973"/>
                      <a:pt x="679" y="958"/>
                      <a:pt x="693" y="956"/>
                    </a:cubicBezTo>
                    <a:cubicBezTo>
                      <a:pt x="707" y="954"/>
                      <a:pt x="752" y="901"/>
                      <a:pt x="774" y="886"/>
                    </a:cubicBezTo>
                    <a:cubicBezTo>
                      <a:pt x="796" y="871"/>
                      <a:pt x="983" y="735"/>
                      <a:pt x="983" y="735"/>
                    </a:cubicBezTo>
                    <a:cubicBezTo>
                      <a:pt x="983" y="735"/>
                      <a:pt x="968" y="694"/>
                      <a:pt x="963" y="691"/>
                    </a:cubicBezTo>
                    <a:cubicBezTo>
                      <a:pt x="958" y="688"/>
                      <a:pt x="930" y="675"/>
                      <a:pt x="924" y="678"/>
                    </a:cubicBezTo>
                    <a:cubicBezTo>
                      <a:pt x="918" y="681"/>
                      <a:pt x="913" y="686"/>
                      <a:pt x="909" y="684"/>
                    </a:cubicBezTo>
                    <a:cubicBezTo>
                      <a:pt x="905" y="682"/>
                      <a:pt x="893" y="671"/>
                      <a:pt x="893" y="664"/>
                    </a:cubicBezTo>
                    <a:cubicBezTo>
                      <a:pt x="893" y="657"/>
                      <a:pt x="898" y="647"/>
                      <a:pt x="893" y="639"/>
                    </a:cubicBezTo>
                    <a:cubicBezTo>
                      <a:pt x="888" y="631"/>
                      <a:pt x="861" y="595"/>
                      <a:pt x="862" y="589"/>
                    </a:cubicBezTo>
                    <a:cubicBezTo>
                      <a:pt x="863" y="583"/>
                      <a:pt x="889" y="581"/>
                      <a:pt x="889" y="569"/>
                    </a:cubicBezTo>
                    <a:cubicBezTo>
                      <a:pt x="889" y="557"/>
                      <a:pt x="885" y="551"/>
                      <a:pt x="885" y="551"/>
                    </a:cubicBezTo>
                    <a:cubicBezTo>
                      <a:pt x="880" y="515"/>
                      <a:pt x="880" y="515"/>
                      <a:pt x="880" y="515"/>
                    </a:cubicBezTo>
                    <a:cubicBezTo>
                      <a:pt x="889" y="502"/>
                      <a:pt x="889" y="502"/>
                      <a:pt x="889" y="502"/>
                    </a:cubicBezTo>
                    <a:cubicBezTo>
                      <a:pt x="883" y="488"/>
                      <a:pt x="883" y="488"/>
                      <a:pt x="883" y="488"/>
                    </a:cubicBezTo>
                    <a:cubicBezTo>
                      <a:pt x="883" y="488"/>
                      <a:pt x="892" y="458"/>
                      <a:pt x="891" y="448"/>
                    </a:cubicBezTo>
                    <a:cubicBezTo>
                      <a:pt x="890" y="438"/>
                      <a:pt x="863" y="387"/>
                      <a:pt x="862" y="381"/>
                    </a:cubicBezTo>
                    <a:cubicBezTo>
                      <a:pt x="862" y="378"/>
                      <a:pt x="866" y="376"/>
                      <a:pt x="870" y="373"/>
                    </a:cubicBezTo>
                    <a:cubicBezTo>
                      <a:pt x="870" y="373"/>
                      <a:pt x="870" y="373"/>
                      <a:pt x="870" y="373"/>
                    </a:cubicBezTo>
                    <a:cubicBezTo>
                      <a:pt x="864" y="350"/>
                      <a:pt x="849" y="288"/>
                      <a:pt x="849" y="277"/>
                    </a:cubicBezTo>
                    <a:cubicBezTo>
                      <a:pt x="849" y="264"/>
                      <a:pt x="817" y="252"/>
                      <a:pt x="817" y="252"/>
                    </a:cubicBezTo>
                    <a:cubicBezTo>
                      <a:pt x="817" y="252"/>
                      <a:pt x="817" y="234"/>
                      <a:pt x="816" y="226"/>
                    </a:cubicBezTo>
                    <a:cubicBezTo>
                      <a:pt x="815" y="218"/>
                      <a:pt x="789" y="213"/>
                      <a:pt x="789" y="213"/>
                    </a:cubicBezTo>
                    <a:cubicBezTo>
                      <a:pt x="789" y="194"/>
                      <a:pt x="789" y="194"/>
                      <a:pt x="789" y="194"/>
                    </a:cubicBezTo>
                    <a:cubicBezTo>
                      <a:pt x="782" y="194"/>
                      <a:pt x="782" y="194"/>
                      <a:pt x="782" y="194"/>
                    </a:cubicBezTo>
                    <a:cubicBezTo>
                      <a:pt x="782" y="194"/>
                      <a:pt x="782" y="181"/>
                      <a:pt x="782" y="171"/>
                    </a:cubicBezTo>
                    <a:cubicBezTo>
                      <a:pt x="782" y="161"/>
                      <a:pt x="798" y="148"/>
                      <a:pt x="798" y="148"/>
                    </a:cubicBezTo>
                    <a:cubicBezTo>
                      <a:pt x="812" y="137"/>
                      <a:pt x="812" y="137"/>
                      <a:pt x="812" y="137"/>
                    </a:cubicBezTo>
                    <a:cubicBezTo>
                      <a:pt x="812" y="137"/>
                      <a:pt x="819" y="115"/>
                      <a:pt x="820" y="105"/>
                    </a:cubicBezTo>
                    <a:cubicBezTo>
                      <a:pt x="821" y="95"/>
                      <a:pt x="819" y="83"/>
                      <a:pt x="815" y="76"/>
                    </a:cubicBezTo>
                    <a:cubicBezTo>
                      <a:pt x="811" y="69"/>
                      <a:pt x="820" y="38"/>
                      <a:pt x="820" y="38"/>
                    </a:cubicBezTo>
                    <a:cubicBezTo>
                      <a:pt x="807" y="34"/>
                      <a:pt x="807" y="34"/>
                      <a:pt x="807" y="34"/>
                    </a:cubicBezTo>
                    <a:cubicBezTo>
                      <a:pt x="835" y="21"/>
                      <a:pt x="835" y="21"/>
                      <a:pt x="835" y="21"/>
                    </a:cubicBezTo>
                    <a:cubicBezTo>
                      <a:pt x="835" y="11"/>
                      <a:pt x="835" y="11"/>
                      <a:pt x="835" y="11"/>
                    </a:cubicBezTo>
                    <a:cubicBezTo>
                      <a:pt x="826" y="11"/>
                      <a:pt x="815" y="10"/>
                      <a:pt x="815" y="10"/>
                    </a:cubicBezTo>
                    <a:cubicBezTo>
                      <a:pt x="806" y="15"/>
                      <a:pt x="806" y="15"/>
                      <a:pt x="806" y="15"/>
                    </a:cubicBezTo>
                    <a:cubicBezTo>
                      <a:pt x="779" y="3"/>
                      <a:pt x="779" y="3"/>
                      <a:pt x="779" y="3"/>
                    </a:cubicBezTo>
                    <a:cubicBezTo>
                      <a:pt x="769" y="5"/>
                      <a:pt x="769" y="5"/>
                      <a:pt x="769" y="5"/>
                    </a:cubicBezTo>
                    <a:cubicBezTo>
                      <a:pt x="769" y="14"/>
                      <a:pt x="769" y="14"/>
                      <a:pt x="769" y="14"/>
                    </a:cubicBezTo>
                    <a:cubicBezTo>
                      <a:pt x="744" y="12"/>
                      <a:pt x="744" y="12"/>
                      <a:pt x="744" y="12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724" y="19"/>
                      <a:pt x="724" y="19"/>
                      <a:pt x="724" y="19"/>
                    </a:cubicBezTo>
                    <a:cubicBezTo>
                      <a:pt x="704" y="14"/>
                      <a:pt x="704" y="14"/>
                      <a:pt x="704" y="14"/>
                    </a:cubicBezTo>
                    <a:cubicBezTo>
                      <a:pt x="686" y="29"/>
                      <a:pt x="686" y="29"/>
                      <a:pt x="686" y="29"/>
                    </a:cubicBezTo>
                    <a:cubicBezTo>
                      <a:pt x="686" y="29"/>
                      <a:pt x="662" y="17"/>
                      <a:pt x="631" y="18"/>
                    </a:cubicBezTo>
                    <a:cubicBezTo>
                      <a:pt x="600" y="19"/>
                      <a:pt x="599" y="26"/>
                      <a:pt x="585" y="27"/>
                    </a:cubicBezTo>
                    <a:cubicBezTo>
                      <a:pt x="571" y="28"/>
                      <a:pt x="545" y="27"/>
                      <a:pt x="545" y="27"/>
                    </a:cubicBezTo>
                    <a:cubicBezTo>
                      <a:pt x="542" y="34"/>
                      <a:pt x="542" y="34"/>
                      <a:pt x="542" y="34"/>
                    </a:cubicBezTo>
                    <a:cubicBezTo>
                      <a:pt x="503" y="33"/>
                      <a:pt x="503" y="33"/>
                      <a:pt x="503" y="33"/>
                    </a:cubicBezTo>
                    <a:cubicBezTo>
                      <a:pt x="503" y="33"/>
                      <a:pt x="456" y="43"/>
                      <a:pt x="455" y="51"/>
                    </a:cubicBezTo>
                    <a:cubicBezTo>
                      <a:pt x="454" y="59"/>
                      <a:pt x="446" y="72"/>
                      <a:pt x="446" y="72"/>
                    </a:cubicBezTo>
                    <a:cubicBezTo>
                      <a:pt x="446" y="72"/>
                      <a:pt x="396" y="74"/>
                      <a:pt x="394" y="83"/>
                    </a:cubicBezTo>
                    <a:cubicBezTo>
                      <a:pt x="392" y="92"/>
                      <a:pt x="370" y="113"/>
                      <a:pt x="355" y="113"/>
                    </a:cubicBezTo>
                    <a:cubicBezTo>
                      <a:pt x="353" y="113"/>
                      <a:pt x="351" y="113"/>
                      <a:pt x="349" y="112"/>
                    </a:cubicBezTo>
                    <a:cubicBezTo>
                      <a:pt x="349" y="112"/>
                      <a:pt x="349" y="112"/>
                      <a:pt x="349" y="112"/>
                    </a:cubicBezTo>
                    <a:cubicBezTo>
                      <a:pt x="350" y="116"/>
                      <a:pt x="354" y="125"/>
                      <a:pt x="364" y="129"/>
                    </a:cubicBezTo>
                    <a:cubicBezTo>
                      <a:pt x="364" y="130"/>
                      <a:pt x="360" y="141"/>
                      <a:pt x="360" y="141"/>
                    </a:cubicBezTo>
                    <a:cubicBezTo>
                      <a:pt x="368" y="141"/>
                      <a:pt x="368" y="141"/>
                      <a:pt x="368" y="141"/>
                    </a:cubicBezTo>
                    <a:cubicBezTo>
                      <a:pt x="365" y="186"/>
                      <a:pt x="365" y="186"/>
                      <a:pt x="365" y="186"/>
                    </a:cubicBezTo>
                    <a:cubicBezTo>
                      <a:pt x="371" y="197"/>
                      <a:pt x="371" y="197"/>
                      <a:pt x="371" y="197"/>
                    </a:cubicBezTo>
                    <a:cubicBezTo>
                      <a:pt x="364" y="218"/>
                      <a:pt x="364" y="218"/>
                      <a:pt x="364" y="218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5" y="238"/>
                      <a:pt x="375" y="238"/>
                      <a:pt x="375" y="238"/>
                    </a:cubicBezTo>
                    <a:cubicBezTo>
                      <a:pt x="393" y="250"/>
                      <a:pt x="393" y="250"/>
                      <a:pt x="393" y="250"/>
                    </a:cubicBezTo>
                    <a:cubicBezTo>
                      <a:pt x="393" y="250"/>
                      <a:pt x="384" y="256"/>
                      <a:pt x="382" y="259"/>
                    </a:cubicBezTo>
                    <a:cubicBezTo>
                      <a:pt x="380" y="262"/>
                      <a:pt x="381" y="269"/>
                      <a:pt x="381" y="269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3" y="274"/>
                      <a:pt x="333" y="268"/>
                      <a:pt x="329" y="268"/>
                    </a:cubicBezTo>
                    <a:cubicBezTo>
                      <a:pt x="325" y="268"/>
                      <a:pt x="321" y="275"/>
                      <a:pt x="321" y="275"/>
                    </a:cubicBezTo>
                    <a:cubicBezTo>
                      <a:pt x="321" y="275"/>
                      <a:pt x="313" y="270"/>
                      <a:pt x="308" y="273"/>
                    </a:cubicBezTo>
                    <a:cubicBezTo>
                      <a:pt x="303" y="276"/>
                      <a:pt x="310" y="283"/>
                      <a:pt x="303" y="288"/>
                    </a:cubicBezTo>
                    <a:cubicBezTo>
                      <a:pt x="296" y="293"/>
                      <a:pt x="274" y="287"/>
                      <a:pt x="266" y="294"/>
                    </a:cubicBezTo>
                    <a:cubicBezTo>
                      <a:pt x="258" y="301"/>
                      <a:pt x="267" y="318"/>
                      <a:pt x="267" y="318"/>
                    </a:cubicBezTo>
                    <a:cubicBezTo>
                      <a:pt x="277" y="330"/>
                      <a:pt x="277" y="330"/>
                      <a:pt x="277" y="330"/>
                    </a:cubicBezTo>
                    <a:cubicBezTo>
                      <a:pt x="260" y="337"/>
                      <a:pt x="260" y="337"/>
                      <a:pt x="260" y="337"/>
                    </a:cubicBezTo>
                    <a:cubicBezTo>
                      <a:pt x="260" y="337"/>
                      <a:pt x="248" y="356"/>
                      <a:pt x="242" y="356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3" name="MCShape 125">
                <a:extLst>
                  <a:ext uri="{FF2B5EF4-FFF2-40B4-BE49-F238E27FC236}">
                    <a16:creationId xmlns:a16="http://schemas.microsoft.com/office/drawing/2014/main" id="{87AD664D-25E4-402F-AA3F-6A68672A9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8216" y="3161358"/>
                <a:ext cx="431541" cy="434633"/>
              </a:xfrm>
              <a:custGeom>
                <a:avLst/>
                <a:gdLst>
                  <a:gd name="T0" fmla="*/ 104 w 731"/>
                  <a:gd name="T1" fmla="*/ 37 h 737"/>
                  <a:gd name="T2" fmla="*/ 69 w 731"/>
                  <a:gd name="T3" fmla="*/ 55 h 737"/>
                  <a:gd name="T4" fmla="*/ 50 w 731"/>
                  <a:gd name="T5" fmla="*/ 78 h 737"/>
                  <a:gd name="T6" fmla="*/ 35 w 731"/>
                  <a:gd name="T7" fmla="*/ 89 h 737"/>
                  <a:gd name="T8" fmla="*/ 44 w 731"/>
                  <a:gd name="T9" fmla="*/ 127 h 737"/>
                  <a:gd name="T10" fmla="*/ 25 w 731"/>
                  <a:gd name="T11" fmla="*/ 153 h 737"/>
                  <a:gd name="T12" fmla="*/ 1 w 731"/>
                  <a:gd name="T13" fmla="*/ 167 h 737"/>
                  <a:gd name="T14" fmla="*/ 30 w 731"/>
                  <a:gd name="T15" fmla="*/ 234 h 737"/>
                  <a:gd name="T16" fmla="*/ 22 w 731"/>
                  <a:gd name="T17" fmla="*/ 274 h 737"/>
                  <a:gd name="T18" fmla="*/ 28 w 731"/>
                  <a:gd name="T19" fmla="*/ 288 h 737"/>
                  <a:gd name="T20" fmla="*/ 19 w 731"/>
                  <a:gd name="T21" fmla="*/ 301 h 737"/>
                  <a:gd name="T22" fmla="*/ 24 w 731"/>
                  <a:gd name="T23" fmla="*/ 337 h 737"/>
                  <a:gd name="T24" fmla="*/ 28 w 731"/>
                  <a:gd name="T25" fmla="*/ 355 h 737"/>
                  <a:gd name="T26" fmla="*/ 1 w 731"/>
                  <a:gd name="T27" fmla="*/ 375 h 737"/>
                  <a:gd name="T28" fmla="*/ 32 w 731"/>
                  <a:gd name="T29" fmla="*/ 425 h 737"/>
                  <a:gd name="T30" fmla="*/ 32 w 731"/>
                  <a:gd name="T31" fmla="*/ 450 h 737"/>
                  <a:gd name="T32" fmla="*/ 48 w 731"/>
                  <a:gd name="T33" fmla="*/ 470 h 737"/>
                  <a:gd name="T34" fmla="*/ 63 w 731"/>
                  <a:gd name="T35" fmla="*/ 464 h 737"/>
                  <a:gd name="T36" fmla="*/ 102 w 731"/>
                  <a:gd name="T37" fmla="*/ 477 h 737"/>
                  <a:gd name="T38" fmla="*/ 122 w 731"/>
                  <a:gd name="T39" fmla="*/ 521 h 737"/>
                  <a:gd name="T40" fmla="*/ 147 w 731"/>
                  <a:gd name="T41" fmla="*/ 527 h 737"/>
                  <a:gd name="T42" fmla="*/ 194 w 731"/>
                  <a:gd name="T43" fmla="*/ 537 h 737"/>
                  <a:gd name="T44" fmla="*/ 228 w 731"/>
                  <a:gd name="T45" fmla="*/ 566 h 737"/>
                  <a:gd name="T46" fmla="*/ 311 w 731"/>
                  <a:gd name="T47" fmla="*/ 521 h 737"/>
                  <a:gd name="T48" fmla="*/ 684 w 731"/>
                  <a:gd name="T49" fmla="*/ 737 h 737"/>
                  <a:gd name="T50" fmla="*/ 683 w 731"/>
                  <a:gd name="T51" fmla="*/ 708 h 737"/>
                  <a:gd name="T52" fmla="*/ 731 w 731"/>
                  <a:gd name="T53" fmla="*/ 707 h 737"/>
                  <a:gd name="T54" fmla="*/ 730 w 731"/>
                  <a:gd name="T55" fmla="*/ 599 h 737"/>
                  <a:gd name="T56" fmla="*/ 717 w 731"/>
                  <a:gd name="T57" fmla="*/ 201 h 737"/>
                  <a:gd name="T58" fmla="*/ 699 w 731"/>
                  <a:gd name="T59" fmla="*/ 163 h 737"/>
                  <a:gd name="T60" fmla="*/ 713 w 731"/>
                  <a:gd name="T61" fmla="*/ 135 h 737"/>
                  <a:gd name="T62" fmla="*/ 703 w 731"/>
                  <a:gd name="T63" fmla="*/ 115 h 737"/>
                  <a:gd name="T64" fmla="*/ 707 w 731"/>
                  <a:gd name="T65" fmla="*/ 94 h 737"/>
                  <a:gd name="T66" fmla="*/ 720 w 731"/>
                  <a:gd name="T67" fmla="*/ 81 h 737"/>
                  <a:gd name="T68" fmla="*/ 716 w 731"/>
                  <a:gd name="T69" fmla="*/ 63 h 737"/>
                  <a:gd name="T70" fmla="*/ 701 w 731"/>
                  <a:gd name="T71" fmla="*/ 68 h 737"/>
                  <a:gd name="T72" fmla="*/ 694 w 731"/>
                  <a:gd name="T73" fmla="*/ 59 h 737"/>
                  <a:gd name="T74" fmla="*/ 682 w 731"/>
                  <a:gd name="T75" fmla="*/ 67 h 737"/>
                  <a:gd name="T76" fmla="*/ 658 w 731"/>
                  <a:gd name="T77" fmla="*/ 50 h 737"/>
                  <a:gd name="T78" fmla="*/ 628 w 731"/>
                  <a:gd name="T79" fmla="*/ 49 h 737"/>
                  <a:gd name="T80" fmla="*/ 617 w 731"/>
                  <a:gd name="T81" fmla="*/ 28 h 737"/>
                  <a:gd name="T82" fmla="*/ 590 w 731"/>
                  <a:gd name="T83" fmla="*/ 23 h 737"/>
                  <a:gd name="T84" fmla="*/ 561 w 731"/>
                  <a:gd name="T85" fmla="*/ 15 h 737"/>
                  <a:gd name="T86" fmla="*/ 553 w 731"/>
                  <a:gd name="T87" fmla="*/ 23 h 737"/>
                  <a:gd name="T88" fmla="*/ 510 w 731"/>
                  <a:gd name="T89" fmla="*/ 31 h 737"/>
                  <a:gd name="T90" fmla="*/ 480 w 731"/>
                  <a:gd name="T91" fmla="*/ 70 h 737"/>
                  <a:gd name="T92" fmla="*/ 496 w 731"/>
                  <a:gd name="T93" fmla="*/ 114 h 737"/>
                  <a:gd name="T94" fmla="*/ 463 w 731"/>
                  <a:gd name="T95" fmla="*/ 154 h 737"/>
                  <a:gd name="T96" fmla="*/ 419 w 731"/>
                  <a:gd name="T97" fmla="*/ 144 h 737"/>
                  <a:gd name="T98" fmla="*/ 351 w 731"/>
                  <a:gd name="T99" fmla="*/ 105 h 737"/>
                  <a:gd name="T100" fmla="*/ 289 w 731"/>
                  <a:gd name="T101" fmla="*/ 97 h 737"/>
                  <a:gd name="T102" fmla="*/ 271 w 731"/>
                  <a:gd name="T103" fmla="*/ 53 h 737"/>
                  <a:gd name="T104" fmla="*/ 244 w 731"/>
                  <a:gd name="T105" fmla="*/ 40 h 737"/>
                  <a:gd name="T106" fmla="*/ 212 w 731"/>
                  <a:gd name="T107" fmla="*/ 21 h 737"/>
                  <a:gd name="T108" fmla="*/ 173 w 731"/>
                  <a:gd name="T109" fmla="*/ 20 h 737"/>
                  <a:gd name="T110" fmla="*/ 143 w 731"/>
                  <a:gd name="T111" fmla="*/ 24 h 737"/>
                  <a:gd name="T112" fmla="*/ 107 w 731"/>
                  <a:gd name="T113" fmla="*/ 3 h 737"/>
                  <a:gd name="T114" fmla="*/ 96 w 731"/>
                  <a:gd name="T115" fmla="*/ 0 h 737"/>
                  <a:gd name="T116" fmla="*/ 93 w 731"/>
                  <a:gd name="T117" fmla="*/ 27 h 737"/>
                  <a:gd name="T118" fmla="*/ 104 w 731"/>
                  <a:gd name="T119" fmla="*/ 37 h 73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31"/>
                  <a:gd name="T181" fmla="*/ 0 h 737"/>
                  <a:gd name="T182" fmla="*/ 731 w 731"/>
                  <a:gd name="T183" fmla="*/ 737 h 73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31" h="737">
                    <a:moveTo>
                      <a:pt x="104" y="37"/>
                    </a:moveTo>
                    <a:cubicBezTo>
                      <a:pt x="100" y="45"/>
                      <a:pt x="75" y="49"/>
                      <a:pt x="69" y="55"/>
                    </a:cubicBezTo>
                    <a:cubicBezTo>
                      <a:pt x="63" y="61"/>
                      <a:pt x="50" y="78"/>
                      <a:pt x="50" y="78"/>
                    </a:cubicBezTo>
                    <a:cubicBezTo>
                      <a:pt x="50" y="78"/>
                      <a:pt x="37" y="83"/>
                      <a:pt x="35" y="89"/>
                    </a:cubicBezTo>
                    <a:cubicBezTo>
                      <a:pt x="33" y="95"/>
                      <a:pt x="43" y="115"/>
                      <a:pt x="44" y="127"/>
                    </a:cubicBezTo>
                    <a:cubicBezTo>
                      <a:pt x="45" y="139"/>
                      <a:pt x="25" y="153"/>
                      <a:pt x="25" y="153"/>
                    </a:cubicBezTo>
                    <a:cubicBezTo>
                      <a:pt x="25" y="153"/>
                      <a:pt x="0" y="161"/>
                      <a:pt x="1" y="167"/>
                    </a:cubicBezTo>
                    <a:cubicBezTo>
                      <a:pt x="2" y="173"/>
                      <a:pt x="29" y="224"/>
                      <a:pt x="30" y="234"/>
                    </a:cubicBezTo>
                    <a:cubicBezTo>
                      <a:pt x="31" y="244"/>
                      <a:pt x="22" y="274"/>
                      <a:pt x="22" y="274"/>
                    </a:cubicBezTo>
                    <a:cubicBezTo>
                      <a:pt x="28" y="288"/>
                      <a:pt x="28" y="288"/>
                      <a:pt x="28" y="288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24" y="337"/>
                      <a:pt x="24" y="337"/>
                      <a:pt x="24" y="337"/>
                    </a:cubicBezTo>
                    <a:cubicBezTo>
                      <a:pt x="24" y="337"/>
                      <a:pt x="28" y="343"/>
                      <a:pt x="28" y="355"/>
                    </a:cubicBezTo>
                    <a:cubicBezTo>
                      <a:pt x="28" y="367"/>
                      <a:pt x="2" y="369"/>
                      <a:pt x="1" y="375"/>
                    </a:cubicBezTo>
                    <a:cubicBezTo>
                      <a:pt x="0" y="381"/>
                      <a:pt x="27" y="417"/>
                      <a:pt x="32" y="425"/>
                    </a:cubicBezTo>
                    <a:cubicBezTo>
                      <a:pt x="37" y="433"/>
                      <a:pt x="32" y="443"/>
                      <a:pt x="32" y="450"/>
                    </a:cubicBezTo>
                    <a:cubicBezTo>
                      <a:pt x="32" y="457"/>
                      <a:pt x="44" y="468"/>
                      <a:pt x="48" y="470"/>
                    </a:cubicBezTo>
                    <a:cubicBezTo>
                      <a:pt x="52" y="472"/>
                      <a:pt x="57" y="467"/>
                      <a:pt x="63" y="464"/>
                    </a:cubicBezTo>
                    <a:cubicBezTo>
                      <a:pt x="69" y="461"/>
                      <a:pt x="97" y="474"/>
                      <a:pt x="102" y="477"/>
                    </a:cubicBezTo>
                    <a:cubicBezTo>
                      <a:pt x="107" y="480"/>
                      <a:pt x="122" y="521"/>
                      <a:pt x="122" y="521"/>
                    </a:cubicBezTo>
                    <a:cubicBezTo>
                      <a:pt x="147" y="527"/>
                      <a:pt x="147" y="527"/>
                      <a:pt x="147" y="527"/>
                    </a:cubicBezTo>
                    <a:cubicBezTo>
                      <a:pt x="147" y="527"/>
                      <a:pt x="187" y="535"/>
                      <a:pt x="194" y="537"/>
                    </a:cubicBezTo>
                    <a:cubicBezTo>
                      <a:pt x="201" y="539"/>
                      <a:pt x="217" y="567"/>
                      <a:pt x="228" y="566"/>
                    </a:cubicBezTo>
                    <a:cubicBezTo>
                      <a:pt x="239" y="565"/>
                      <a:pt x="311" y="521"/>
                      <a:pt x="311" y="521"/>
                    </a:cubicBezTo>
                    <a:cubicBezTo>
                      <a:pt x="684" y="737"/>
                      <a:pt x="684" y="737"/>
                      <a:pt x="684" y="737"/>
                    </a:cubicBezTo>
                    <a:cubicBezTo>
                      <a:pt x="683" y="708"/>
                      <a:pt x="683" y="708"/>
                      <a:pt x="683" y="708"/>
                    </a:cubicBezTo>
                    <a:cubicBezTo>
                      <a:pt x="731" y="707"/>
                      <a:pt x="731" y="707"/>
                      <a:pt x="731" y="707"/>
                    </a:cubicBezTo>
                    <a:cubicBezTo>
                      <a:pt x="730" y="599"/>
                      <a:pt x="730" y="599"/>
                      <a:pt x="730" y="599"/>
                    </a:cubicBezTo>
                    <a:cubicBezTo>
                      <a:pt x="730" y="599"/>
                      <a:pt x="717" y="214"/>
                      <a:pt x="717" y="201"/>
                    </a:cubicBezTo>
                    <a:cubicBezTo>
                      <a:pt x="717" y="188"/>
                      <a:pt x="702" y="170"/>
                      <a:pt x="699" y="163"/>
                    </a:cubicBezTo>
                    <a:cubicBezTo>
                      <a:pt x="696" y="156"/>
                      <a:pt x="710" y="144"/>
                      <a:pt x="713" y="135"/>
                    </a:cubicBezTo>
                    <a:cubicBezTo>
                      <a:pt x="716" y="126"/>
                      <a:pt x="704" y="119"/>
                      <a:pt x="703" y="115"/>
                    </a:cubicBezTo>
                    <a:cubicBezTo>
                      <a:pt x="702" y="111"/>
                      <a:pt x="702" y="97"/>
                      <a:pt x="707" y="94"/>
                    </a:cubicBezTo>
                    <a:cubicBezTo>
                      <a:pt x="711" y="92"/>
                      <a:pt x="717" y="85"/>
                      <a:pt x="720" y="81"/>
                    </a:cubicBezTo>
                    <a:cubicBezTo>
                      <a:pt x="714" y="72"/>
                      <a:pt x="716" y="63"/>
                      <a:pt x="716" y="63"/>
                    </a:cubicBezTo>
                    <a:cubicBezTo>
                      <a:pt x="701" y="68"/>
                      <a:pt x="701" y="68"/>
                      <a:pt x="701" y="68"/>
                    </a:cubicBezTo>
                    <a:cubicBezTo>
                      <a:pt x="694" y="59"/>
                      <a:pt x="694" y="59"/>
                      <a:pt x="694" y="59"/>
                    </a:cubicBezTo>
                    <a:cubicBezTo>
                      <a:pt x="694" y="59"/>
                      <a:pt x="689" y="67"/>
                      <a:pt x="682" y="67"/>
                    </a:cubicBezTo>
                    <a:cubicBezTo>
                      <a:pt x="675" y="67"/>
                      <a:pt x="667" y="50"/>
                      <a:pt x="658" y="50"/>
                    </a:cubicBezTo>
                    <a:cubicBezTo>
                      <a:pt x="649" y="50"/>
                      <a:pt x="639" y="57"/>
                      <a:pt x="628" y="49"/>
                    </a:cubicBezTo>
                    <a:cubicBezTo>
                      <a:pt x="617" y="41"/>
                      <a:pt x="626" y="32"/>
                      <a:pt x="617" y="28"/>
                    </a:cubicBezTo>
                    <a:cubicBezTo>
                      <a:pt x="608" y="24"/>
                      <a:pt x="590" y="23"/>
                      <a:pt x="590" y="23"/>
                    </a:cubicBezTo>
                    <a:cubicBezTo>
                      <a:pt x="590" y="23"/>
                      <a:pt x="569" y="15"/>
                      <a:pt x="561" y="15"/>
                    </a:cubicBezTo>
                    <a:cubicBezTo>
                      <a:pt x="553" y="15"/>
                      <a:pt x="553" y="23"/>
                      <a:pt x="553" y="23"/>
                    </a:cubicBezTo>
                    <a:cubicBezTo>
                      <a:pt x="553" y="23"/>
                      <a:pt x="523" y="21"/>
                      <a:pt x="510" y="31"/>
                    </a:cubicBezTo>
                    <a:cubicBezTo>
                      <a:pt x="497" y="41"/>
                      <a:pt x="480" y="54"/>
                      <a:pt x="480" y="70"/>
                    </a:cubicBezTo>
                    <a:cubicBezTo>
                      <a:pt x="480" y="86"/>
                      <a:pt x="496" y="105"/>
                      <a:pt x="496" y="114"/>
                    </a:cubicBezTo>
                    <a:cubicBezTo>
                      <a:pt x="496" y="123"/>
                      <a:pt x="475" y="152"/>
                      <a:pt x="463" y="154"/>
                    </a:cubicBezTo>
                    <a:cubicBezTo>
                      <a:pt x="451" y="156"/>
                      <a:pt x="433" y="159"/>
                      <a:pt x="419" y="144"/>
                    </a:cubicBezTo>
                    <a:cubicBezTo>
                      <a:pt x="405" y="129"/>
                      <a:pt x="366" y="106"/>
                      <a:pt x="351" y="105"/>
                    </a:cubicBezTo>
                    <a:cubicBezTo>
                      <a:pt x="336" y="104"/>
                      <a:pt x="302" y="113"/>
                      <a:pt x="289" y="97"/>
                    </a:cubicBezTo>
                    <a:cubicBezTo>
                      <a:pt x="276" y="81"/>
                      <a:pt x="280" y="69"/>
                      <a:pt x="271" y="53"/>
                    </a:cubicBezTo>
                    <a:cubicBezTo>
                      <a:pt x="262" y="37"/>
                      <a:pt x="244" y="40"/>
                      <a:pt x="244" y="40"/>
                    </a:cubicBezTo>
                    <a:cubicBezTo>
                      <a:pt x="244" y="40"/>
                      <a:pt x="220" y="22"/>
                      <a:pt x="212" y="21"/>
                    </a:cubicBezTo>
                    <a:cubicBezTo>
                      <a:pt x="204" y="20"/>
                      <a:pt x="180" y="19"/>
                      <a:pt x="173" y="20"/>
                    </a:cubicBezTo>
                    <a:cubicBezTo>
                      <a:pt x="166" y="21"/>
                      <a:pt x="154" y="28"/>
                      <a:pt x="143" y="24"/>
                    </a:cubicBezTo>
                    <a:cubicBezTo>
                      <a:pt x="132" y="20"/>
                      <a:pt x="112" y="4"/>
                      <a:pt x="107" y="3"/>
                    </a:cubicBezTo>
                    <a:cubicBezTo>
                      <a:pt x="104" y="2"/>
                      <a:pt x="100" y="1"/>
                      <a:pt x="96" y="0"/>
                    </a:cubicBezTo>
                    <a:cubicBezTo>
                      <a:pt x="93" y="27"/>
                      <a:pt x="93" y="27"/>
                      <a:pt x="93" y="27"/>
                    </a:cubicBezTo>
                    <a:cubicBezTo>
                      <a:pt x="93" y="27"/>
                      <a:pt x="108" y="29"/>
                      <a:pt x="104" y="3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4" name="MCShape 126">
                <a:extLst>
                  <a:ext uri="{FF2B5EF4-FFF2-40B4-BE49-F238E27FC236}">
                    <a16:creationId xmlns:a16="http://schemas.microsoft.com/office/drawing/2014/main" id="{15110DE4-8C29-4F12-B9D5-2D81735E2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0086" y="4350800"/>
                <a:ext cx="352656" cy="434634"/>
              </a:xfrm>
              <a:custGeom>
                <a:avLst/>
                <a:gdLst>
                  <a:gd name="T0" fmla="*/ 32 w 597"/>
                  <a:gd name="T1" fmla="*/ 79 h 735"/>
                  <a:gd name="T2" fmla="*/ 41 w 597"/>
                  <a:gd name="T3" fmla="*/ 42 h 735"/>
                  <a:gd name="T4" fmla="*/ 68 w 597"/>
                  <a:gd name="T5" fmla="*/ 17 h 735"/>
                  <a:gd name="T6" fmla="*/ 38 w 597"/>
                  <a:gd name="T7" fmla="*/ 15 h 735"/>
                  <a:gd name="T8" fmla="*/ 27 w 597"/>
                  <a:gd name="T9" fmla="*/ 29 h 735"/>
                  <a:gd name="T10" fmla="*/ 26 w 597"/>
                  <a:gd name="T11" fmla="*/ 39 h 735"/>
                  <a:gd name="T12" fmla="*/ 583 w 597"/>
                  <a:gd name="T13" fmla="*/ 362 h 735"/>
                  <a:gd name="T14" fmla="*/ 558 w 597"/>
                  <a:gd name="T15" fmla="*/ 357 h 735"/>
                  <a:gd name="T16" fmla="*/ 535 w 597"/>
                  <a:gd name="T17" fmla="*/ 367 h 735"/>
                  <a:gd name="T18" fmla="*/ 511 w 597"/>
                  <a:gd name="T19" fmla="*/ 375 h 735"/>
                  <a:gd name="T20" fmla="*/ 503 w 597"/>
                  <a:gd name="T21" fmla="*/ 346 h 735"/>
                  <a:gd name="T22" fmla="*/ 496 w 597"/>
                  <a:gd name="T23" fmla="*/ 299 h 735"/>
                  <a:gd name="T24" fmla="*/ 488 w 597"/>
                  <a:gd name="T25" fmla="*/ 256 h 735"/>
                  <a:gd name="T26" fmla="*/ 493 w 597"/>
                  <a:gd name="T27" fmla="*/ 224 h 735"/>
                  <a:gd name="T28" fmla="*/ 477 w 597"/>
                  <a:gd name="T29" fmla="*/ 190 h 735"/>
                  <a:gd name="T30" fmla="*/ 484 w 597"/>
                  <a:gd name="T31" fmla="*/ 162 h 735"/>
                  <a:gd name="T32" fmla="*/ 423 w 597"/>
                  <a:gd name="T33" fmla="*/ 155 h 735"/>
                  <a:gd name="T34" fmla="*/ 409 w 597"/>
                  <a:gd name="T35" fmla="*/ 148 h 735"/>
                  <a:gd name="T36" fmla="*/ 381 w 597"/>
                  <a:gd name="T37" fmla="*/ 170 h 735"/>
                  <a:gd name="T38" fmla="*/ 369 w 597"/>
                  <a:gd name="T39" fmla="*/ 197 h 735"/>
                  <a:gd name="T40" fmla="*/ 335 w 597"/>
                  <a:gd name="T41" fmla="*/ 195 h 735"/>
                  <a:gd name="T42" fmla="*/ 313 w 597"/>
                  <a:gd name="T43" fmla="*/ 201 h 735"/>
                  <a:gd name="T44" fmla="*/ 302 w 597"/>
                  <a:gd name="T45" fmla="*/ 203 h 735"/>
                  <a:gd name="T46" fmla="*/ 278 w 597"/>
                  <a:gd name="T47" fmla="*/ 194 h 735"/>
                  <a:gd name="T48" fmla="*/ 265 w 597"/>
                  <a:gd name="T49" fmla="*/ 172 h 735"/>
                  <a:gd name="T50" fmla="*/ 255 w 597"/>
                  <a:gd name="T51" fmla="*/ 141 h 735"/>
                  <a:gd name="T52" fmla="*/ 243 w 597"/>
                  <a:gd name="T53" fmla="*/ 98 h 735"/>
                  <a:gd name="T54" fmla="*/ 209 w 597"/>
                  <a:gd name="T55" fmla="*/ 84 h 735"/>
                  <a:gd name="T56" fmla="*/ 185 w 597"/>
                  <a:gd name="T57" fmla="*/ 86 h 735"/>
                  <a:gd name="T58" fmla="*/ 155 w 597"/>
                  <a:gd name="T59" fmla="*/ 84 h 735"/>
                  <a:gd name="T60" fmla="*/ 112 w 597"/>
                  <a:gd name="T61" fmla="*/ 82 h 735"/>
                  <a:gd name="T62" fmla="*/ 89 w 597"/>
                  <a:gd name="T63" fmla="*/ 84 h 735"/>
                  <a:gd name="T64" fmla="*/ 67 w 597"/>
                  <a:gd name="T65" fmla="*/ 84 h 735"/>
                  <a:gd name="T66" fmla="*/ 43 w 597"/>
                  <a:gd name="T67" fmla="*/ 97 h 735"/>
                  <a:gd name="T68" fmla="*/ 48 w 597"/>
                  <a:gd name="T69" fmla="*/ 128 h 735"/>
                  <a:gd name="T70" fmla="*/ 56 w 597"/>
                  <a:gd name="T71" fmla="*/ 157 h 735"/>
                  <a:gd name="T72" fmla="*/ 69 w 597"/>
                  <a:gd name="T73" fmla="*/ 254 h 735"/>
                  <a:gd name="T74" fmla="*/ 75 w 597"/>
                  <a:gd name="T75" fmla="*/ 270 h 735"/>
                  <a:gd name="T76" fmla="*/ 108 w 597"/>
                  <a:gd name="T77" fmla="*/ 388 h 735"/>
                  <a:gd name="T78" fmla="*/ 93 w 597"/>
                  <a:gd name="T79" fmla="*/ 442 h 735"/>
                  <a:gd name="T80" fmla="*/ 66 w 597"/>
                  <a:gd name="T81" fmla="*/ 460 h 735"/>
                  <a:gd name="T82" fmla="*/ 44 w 597"/>
                  <a:gd name="T83" fmla="*/ 484 h 735"/>
                  <a:gd name="T84" fmla="*/ 34 w 597"/>
                  <a:gd name="T85" fmla="*/ 524 h 735"/>
                  <a:gd name="T86" fmla="*/ 21 w 597"/>
                  <a:gd name="T87" fmla="*/ 579 h 735"/>
                  <a:gd name="T88" fmla="*/ 6 w 597"/>
                  <a:gd name="T89" fmla="*/ 618 h 735"/>
                  <a:gd name="T90" fmla="*/ 13 w 597"/>
                  <a:gd name="T91" fmla="*/ 654 h 735"/>
                  <a:gd name="T92" fmla="*/ 3 w 597"/>
                  <a:gd name="T93" fmla="*/ 696 h 735"/>
                  <a:gd name="T94" fmla="*/ 24 w 597"/>
                  <a:gd name="T95" fmla="*/ 691 h 735"/>
                  <a:gd name="T96" fmla="*/ 50 w 597"/>
                  <a:gd name="T97" fmla="*/ 695 h 735"/>
                  <a:gd name="T98" fmla="*/ 81 w 597"/>
                  <a:gd name="T99" fmla="*/ 681 h 735"/>
                  <a:gd name="T100" fmla="*/ 322 w 597"/>
                  <a:gd name="T101" fmla="*/ 703 h 735"/>
                  <a:gd name="T102" fmla="*/ 361 w 597"/>
                  <a:gd name="T103" fmla="*/ 724 h 735"/>
                  <a:gd name="T104" fmla="*/ 411 w 597"/>
                  <a:gd name="T105" fmla="*/ 729 h 735"/>
                  <a:gd name="T106" fmla="*/ 463 w 597"/>
                  <a:gd name="T107" fmla="*/ 735 h 735"/>
                  <a:gd name="T108" fmla="*/ 493 w 597"/>
                  <a:gd name="T109" fmla="*/ 657 h 735"/>
                  <a:gd name="T110" fmla="*/ 487 w 597"/>
                  <a:gd name="T111" fmla="*/ 635 h 735"/>
                  <a:gd name="T112" fmla="*/ 571 w 597"/>
                  <a:gd name="T113" fmla="*/ 470 h 735"/>
                  <a:gd name="T114" fmla="*/ 580 w 597"/>
                  <a:gd name="T115" fmla="*/ 440 h 735"/>
                  <a:gd name="T116" fmla="*/ 585 w 597"/>
                  <a:gd name="T117" fmla="*/ 426 h 735"/>
                  <a:gd name="T118" fmla="*/ 594 w 597"/>
                  <a:gd name="T119" fmla="*/ 386 h 73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97"/>
                  <a:gd name="T181" fmla="*/ 0 h 735"/>
                  <a:gd name="T182" fmla="*/ 597 w 597"/>
                  <a:gd name="T183" fmla="*/ 735 h 73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97" h="735">
                    <a:moveTo>
                      <a:pt x="30" y="77"/>
                    </a:moveTo>
                    <a:cubicBezTo>
                      <a:pt x="30" y="77"/>
                      <a:pt x="31" y="78"/>
                      <a:pt x="32" y="79"/>
                    </a:cubicBezTo>
                    <a:cubicBezTo>
                      <a:pt x="37" y="76"/>
                      <a:pt x="42" y="74"/>
                      <a:pt x="45" y="72"/>
                    </a:cubicBezTo>
                    <a:cubicBezTo>
                      <a:pt x="53" y="68"/>
                      <a:pt x="41" y="42"/>
                      <a:pt x="41" y="42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8" y="17"/>
                      <a:pt x="66" y="0"/>
                      <a:pt x="59" y="1"/>
                    </a:cubicBezTo>
                    <a:cubicBezTo>
                      <a:pt x="52" y="2"/>
                      <a:pt x="38" y="15"/>
                      <a:pt x="38" y="15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30" y="77"/>
                    </a:lnTo>
                    <a:close/>
                    <a:moveTo>
                      <a:pt x="583" y="362"/>
                    </a:moveTo>
                    <a:cubicBezTo>
                      <a:pt x="569" y="364"/>
                      <a:pt x="569" y="364"/>
                      <a:pt x="569" y="364"/>
                    </a:cubicBezTo>
                    <a:cubicBezTo>
                      <a:pt x="569" y="364"/>
                      <a:pt x="565" y="357"/>
                      <a:pt x="558" y="357"/>
                    </a:cubicBezTo>
                    <a:cubicBezTo>
                      <a:pt x="551" y="357"/>
                      <a:pt x="551" y="362"/>
                      <a:pt x="551" y="362"/>
                    </a:cubicBezTo>
                    <a:cubicBezTo>
                      <a:pt x="535" y="367"/>
                      <a:pt x="535" y="367"/>
                      <a:pt x="535" y="367"/>
                    </a:cubicBezTo>
                    <a:cubicBezTo>
                      <a:pt x="517" y="363"/>
                      <a:pt x="517" y="363"/>
                      <a:pt x="517" y="363"/>
                    </a:cubicBezTo>
                    <a:cubicBezTo>
                      <a:pt x="511" y="375"/>
                      <a:pt x="511" y="375"/>
                      <a:pt x="511" y="375"/>
                    </a:cubicBezTo>
                    <a:cubicBezTo>
                      <a:pt x="511" y="375"/>
                      <a:pt x="503" y="373"/>
                      <a:pt x="500" y="369"/>
                    </a:cubicBezTo>
                    <a:cubicBezTo>
                      <a:pt x="497" y="365"/>
                      <a:pt x="500" y="353"/>
                      <a:pt x="503" y="346"/>
                    </a:cubicBezTo>
                    <a:cubicBezTo>
                      <a:pt x="506" y="339"/>
                      <a:pt x="507" y="324"/>
                      <a:pt x="507" y="324"/>
                    </a:cubicBezTo>
                    <a:cubicBezTo>
                      <a:pt x="507" y="324"/>
                      <a:pt x="503" y="306"/>
                      <a:pt x="496" y="299"/>
                    </a:cubicBezTo>
                    <a:cubicBezTo>
                      <a:pt x="489" y="292"/>
                      <a:pt x="483" y="284"/>
                      <a:pt x="483" y="276"/>
                    </a:cubicBezTo>
                    <a:cubicBezTo>
                      <a:pt x="483" y="268"/>
                      <a:pt x="488" y="256"/>
                      <a:pt x="488" y="256"/>
                    </a:cubicBezTo>
                    <a:cubicBezTo>
                      <a:pt x="485" y="240"/>
                      <a:pt x="485" y="240"/>
                      <a:pt x="485" y="240"/>
                    </a:cubicBezTo>
                    <a:cubicBezTo>
                      <a:pt x="485" y="240"/>
                      <a:pt x="493" y="231"/>
                      <a:pt x="493" y="224"/>
                    </a:cubicBezTo>
                    <a:cubicBezTo>
                      <a:pt x="493" y="217"/>
                      <a:pt x="480" y="204"/>
                      <a:pt x="480" y="204"/>
                    </a:cubicBezTo>
                    <a:cubicBezTo>
                      <a:pt x="477" y="190"/>
                      <a:pt x="477" y="190"/>
                      <a:pt x="477" y="190"/>
                    </a:cubicBezTo>
                    <a:cubicBezTo>
                      <a:pt x="484" y="180"/>
                      <a:pt x="484" y="180"/>
                      <a:pt x="484" y="180"/>
                    </a:cubicBezTo>
                    <a:cubicBezTo>
                      <a:pt x="484" y="162"/>
                      <a:pt x="484" y="162"/>
                      <a:pt x="484" y="162"/>
                    </a:cubicBezTo>
                    <a:cubicBezTo>
                      <a:pt x="424" y="163"/>
                      <a:pt x="424" y="163"/>
                      <a:pt x="424" y="163"/>
                    </a:cubicBezTo>
                    <a:cubicBezTo>
                      <a:pt x="423" y="155"/>
                      <a:pt x="423" y="155"/>
                      <a:pt x="423" y="155"/>
                    </a:cubicBezTo>
                    <a:cubicBezTo>
                      <a:pt x="423" y="155"/>
                      <a:pt x="427" y="146"/>
                      <a:pt x="418" y="143"/>
                    </a:cubicBezTo>
                    <a:cubicBezTo>
                      <a:pt x="409" y="140"/>
                      <a:pt x="409" y="148"/>
                      <a:pt x="409" y="148"/>
                    </a:cubicBezTo>
                    <a:cubicBezTo>
                      <a:pt x="409" y="148"/>
                      <a:pt x="380" y="145"/>
                      <a:pt x="375" y="149"/>
                    </a:cubicBezTo>
                    <a:cubicBezTo>
                      <a:pt x="370" y="153"/>
                      <a:pt x="381" y="165"/>
                      <a:pt x="381" y="170"/>
                    </a:cubicBezTo>
                    <a:cubicBezTo>
                      <a:pt x="381" y="175"/>
                      <a:pt x="374" y="175"/>
                      <a:pt x="371" y="179"/>
                    </a:cubicBezTo>
                    <a:cubicBezTo>
                      <a:pt x="368" y="183"/>
                      <a:pt x="369" y="197"/>
                      <a:pt x="369" y="197"/>
                    </a:cubicBezTo>
                    <a:cubicBezTo>
                      <a:pt x="339" y="200"/>
                      <a:pt x="339" y="200"/>
                      <a:pt x="339" y="200"/>
                    </a:cubicBezTo>
                    <a:cubicBezTo>
                      <a:pt x="335" y="195"/>
                      <a:pt x="335" y="195"/>
                      <a:pt x="335" y="195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13" y="201"/>
                      <a:pt x="313" y="201"/>
                      <a:pt x="313" y="201"/>
                    </a:cubicBezTo>
                    <a:cubicBezTo>
                      <a:pt x="309" y="208"/>
                      <a:pt x="309" y="208"/>
                      <a:pt x="309" y="208"/>
                    </a:cubicBezTo>
                    <a:cubicBezTo>
                      <a:pt x="302" y="203"/>
                      <a:pt x="302" y="203"/>
                      <a:pt x="302" y="203"/>
                    </a:cubicBezTo>
                    <a:cubicBezTo>
                      <a:pt x="281" y="204"/>
                      <a:pt x="281" y="204"/>
                      <a:pt x="281" y="204"/>
                    </a:cubicBezTo>
                    <a:cubicBezTo>
                      <a:pt x="278" y="194"/>
                      <a:pt x="278" y="194"/>
                      <a:pt x="278" y="194"/>
                    </a:cubicBezTo>
                    <a:cubicBezTo>
                      <a:pt x="272" y="186"/>
                      <a:pt x="272" y="186"/>
                      <a:pt x="272" y="186"/>
                    </a:cubicBezTo>
                    <a:cubicBezTo>
                      <a:pt x="272" y="186"/>
                      <a:pt x="270" y="178"/>
                      <a:pt x="265" y="172"/>
                    </a:cubicBezTo>
                    <a:cubicBezTo>
                      <a:pt x="260" y="166"/>
                      <a:pt x="254" y="163"/>
                      <a:pt x="254" y="163"/>
                    </a:cubicBezTo>
                    <a:cubicBezTo>
                      <a:pt x="254" y="163"/>
                      <a:pt x="256" y="147"/>
                      <a:pt x="255" y="141"/>
                    </a:cubicBezTo>
                    <a:cubicBezTo>
                      <a:pt x="254" y="135"/>
                      <a:pt x="244" y="128"/>
                      <a:pt x="244" y="128"/>
                    </a:cubicBezTo>
                    <a:cubicBezTo>
                      <a:pt x="243" y="98"/>
                      <a:pt x="243" y="98"/>
                      <a:pt x="243" y="98"/>
                    </a:cubicBezTo>
                    <a:cubicBezTo>
                      <a:pt x="243" y="98"/>
                      <a:pt x="237" y="94"/>
                      <a:pt x="232" y="85"/>
                    </a:cubicBezTo>
                    <a:cubicBezTo>
                      <a:pt x="227" y="76"/>
                      <a:pt x="209" y="84"/>
                      <a:pt x="209" y="84"/>
                    </a:cubicBezTo>
                    <a:cubicBezTo>
                      <a:pt x="195" y="83"/>
                      <a:pt x="195" y="83"/>
                      <a:pt x="195" y="83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78" y="86"/>
                      <a:pt x="173" y="86"/>
                    </a:cubicBezTo>
                    <a:cubicBezTo>
                      <a:pt x="168" y="86"/>
                      <a:pt x="155" y="84"/>
                      <a:pt x="155" y="84"/>
                    </a:cubicBezTo>
                    <a:cubicBezTo>
                      <a:pt x="155" y="84"/>
                      <a:pt x="137" y="87"/>
                      <a:pt x="130" y="88"/>
                    </a:cubicBezTo>
                    <a:cubicBezTo>
                      <a:pt x="123" y="89"/>
                      <a:pt x="112" y="82"/>
                      <a:pt x="112" y="82"/>
                    </a:cubicBezTo>
                    <a:cubicBezTo>
                      <a:pt x="97" y="86"/>
                      <a:pt x="97" y="86"/>
                      <a:pt x="97" y="86"/>
                    </a:cubicBezTo>
                    <a:cubicBezTo>
                      <a:pt x="89" y="84"/>
                      <a:pt x="89" y="84"/>
                      <a:pt x="89" y="84"/>
                    </a:cubicBezTo>
                    <a:cubicBezTo>
                      <a:pt x="84" y="86"/>
                      <a:pt x="84" y="86"/>
                      <a:pt x="84" y="86"/>
                    </a:cubicBezTo>
                    <a:cubicBezTo>
                      <a:pt x="67" y="84"/>
                      <a:pt x="67" y="84"/>
                      <a:pt x="67" y="84"/>
                    </a:cubicBezTo>
                    <a:cubicBezTo>
                      <a:pt x="44" y="94"/>
                      <a:pt x="44" y="94"/>
                      <a:pt x="44" y="94"/>
                    </a:cubicBezTo>
                    <a:cubicBezTo>
                      <a:pt x="44" y="95"/>
                      <a:pt x="44" y="96"/>
                      <a:pt x="43" y="97"/>
                    </a:cubicBezTo>
                    <a:cubicBezTo>
                      <a:pt x="37" y="101"/>
                      <a:pt x="32" y="102"/>
                      <a:pt x="32" y="102"/>
                    </a:cubicBezTo>
                    <a:cubicBezTo>
                      <a:pt x="32" y="102"/>
                      <a:pt x="45" y="121"/>
                      <a:pt x="48" y="128"/>
                    </a:cubicBezTo>
                    <a:cubicBezTo>
                      <a:pt x="51" y="135"/>
                      <a:pt x="60" y="138"/>
                      <a:pt x="60" y="138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157"/>
                      <a:pt x="88" y="194"/>
                      <a:pt x="85" y="221"/>
                    </a:cubicBezTo>
                    <a:cubicBezTo>
                      <a:pt x="82" y="248"/>
                      <a:pt x="69" y="254"/>
                      <a:pt x="69" y="254"/>
                    </a:cubicBezTo>
                    <a:cubicBezTo>
                      <a:pt x="68" y="271"/>
                      <a:pt x="68" y="271"/>
                      <a:pt x="68" y="271"/>
                    </a:cubicBezTo>
                    <a:cubicBezTo>
                      <a:pt x="75" y="270"/>
                      <a:pt x="75" y="270"/>
                      <a:pt x="75" y="270"/>
                    </a:cubicBezTo>
                    <a:cubicBezTo>
                      <a:pt x="75" y="270"/>
                      <a:pt x="71" y="293"/>
                      <a:pt x="85" y="314"/>
                    </a:cubicBezTo>
                    <a:cubicBezTo>
                      <a:pt x="99" y="335"/>
                      <a:pt x="111" y="373"/>
                      <a:pt x="108" y="388"/>
                    </a:cubicBezTo>
                    <a:cubicBezTo>
                      <a:pt x="105" y="403"/>
                      <a:pt x="94" y="420"/>
                      <a:pt x="94" y="420"/>
                    </a:cubicBezTo>
                    <a:cubicBezTo>
                      <a:pt x="94" y="420"/>
                      <a:pt x="101" y="436"/>
                      <a:pt x="93" y="442"/>
                    </a:cubicBezTo>
                    <a:cubicBezTo>
                      <a:pt x="85" y="448"/>
                      <a:pt x="72" y="446"/>
                      <a:pt x="72" y="446"/>
                    </a:cubicBezTo>
                    <a:cubicBezTo>
                      <a:pt x="66" y="460"/>
                      <a:pt x="66" y="460"/>
                      <a:pt x="66" y="460"/>
                    </a:cubicBezTo>
                    <a:cubicBezTo>
                      <a:pt x="68" y="475"/>
                      <a:pt x="68" y="475"/>
                      <a:pt x="68" y="475"/>
                    </a:cubicBezTo>
                    <a:cubicBezTo>
                      <a:pt x="68" y="475"/>
                      <a:pt x="43" y="472"/>
                      <a:pt x="44" y="484"/>
                    </a:cubicBezTo>
                    <a:cubicBezTo>
                      <a:pt x="45" y="496"/>
                      <a:pt x="41" y="514"/>
                      <a:pt x="41" y="514"/>
                    </a:cubicBezTo>
                    <a:cubicBezTo>
                      <a:pt x="34" y="524"/>
                      <a:pt x="34" y="524"/>
                      <a:pt x="34" y="524"/>
                    </a:cubicBezTo>
                    <a:cubicBezTo>
                      <a:pt x="34" y="524"/>
                      <a:pt x="38" y="556"/>
                      <a:pt x="35" y="566"/>
                    </a:cubicBezTo>
                    <a:cubicBezTo>
                      <a:pt x="32" y="576"/>
                      <a:pt x="21" y="579"/>
                      <a:pt x="21" y="579"/>
                    </a:cubicBezTo>
                    <a:cubicBezTo>
                      <a:pt x="21" y="606"/>
                      <a:pt x="21" y="606"/>
                      <a:pt x="21" y="606"/>
                    </a:cubicBezTo>
                    <a:cubicBezTo>
                      <a:pt x="6" y="618"/>
                      <a:pt x="6" y="618"/>
                      <a:pt x="6" y="618"/>
                    </a:cubicBezTo>
                    <a:cubicBezTo>
                      <a:pt x="6" y="645"/>
                      <a:pt x="6" y="645"/>
                      <a:pt x="6" y="645"/>
                    </a:cubicBezTo>
                    <a:cubicBezTo>
                      <a:pt x="13" y="654"/>
                      <a:pt x="13" y="654"/>
                      <a:pt x="13" y="654"/>
                    </a:cubicBezTo>
                    <a:cubicBezTo>
                      <a:pt x="0" y="669"/>
                      <a:pt x="0" y="669"/>
                      <a:pt x="0" y="669"/>
                    </a:cubicBezTo>
                    <a:cubicBezTo>
                      <a:pt x="3" y="696"/>
                      <a:pt x="3" y="696"/>
                      <a:pt x="3" y="696"/>
                    </a:cubicBezTo>
                    <a:cubicBezTo>
                      <a:pt x="13" y="695"/>
                      <a:pt x="13" y="695"/>
                      <a:pt x="13" y="695"/>
                    </a:cubicBezTo>
                    <a:cubicBezTo>
                      <a:pt x="24" y="691"/>
                      <a:pt x="24" y="691"/>
                      <a:pt x="24" y="691"/>
                    </a:cubicBezTo>
                    <a:cubicBezTo>
                      <a:pt x="31" y="696"/>
                      <a:pt x="31" y="696"/>
                      <a:pt x="31" y="696"/>
                    </a:cubicBezTo>
                    <a:cubicBezTo>
                      <a:pt x="31" y="696"/>
                      <a:pt x="43" y="696"/>
                      <a:pt x="50" y="695"/>
                    </a:cubicBezTo>
                    <a:cubicBezTo>
                      <a:pt x="57" y="694"/>
                      <a:pt x="61" y="680"/>
                      <a:pt x="61" y="680"/>
                    </a:cubicBezTo>
                    <a:cubicBezTo>
                      <a:pt x="61" y="680"/>
                      <a:pt x="82" y="682"/>
                      <a:pt x="81" y="681"/>
                    </a:cubicBezTo>
                    <a:cubicBezTo>
                      <a:pt x="85" y="692"/>
                      <a:pt x="119" y="705"/>
                      <a:pt x="119" y="705"/>
                    </a:cubicBezTo>
                    <a:cubicBezTo>
                      <a:pt x="322" y="703"/>
                      <a:pt x="322" y="703"/>
                      <a:pt x="322" y="703"/>
                    </a:cubicBezTo>
                    <a:cubicBezTo>
                      <a:pt x="322" y="703"/>
                      <a:pt x="331" y="722"/>
                      <a:pt x="338" y="724"/>
                    </a:cubicBezTo>
                    <a:cubicBezTo>
                      <a:pt x="345" y="726"/>
                      <a:pt x="361" y="724"/>
                      <a:pt x="361" y="724"/>
                    </a:cubicBezTo>
                    <a:cubicBezTo>
                      <a:pt x="365" y="730"/>
                      <a:pt x="365" y="730"/>
                      <a:pt x="365" y="730"/>
                    </a:cubicBezTo>
                    <a:cubicBezTo>
                      <a:pt x="411" y="729"/>
                      <a:pt x="411" y="729"/>
                      <a:pt x="411" y="729"/>
                    </a:cubicBezTo>
                    <a:cubicBezTo>
                      <a:pt x="417" y="735"/>
                      <a:pt x="417" y="735"/>
                      <a:pt x="417" y="735"/>
                    </a:cubicBezTo>
                    <a:cubicBezTo>
                      <a:pt x="417" y="735"/>
                      <a:pt x="435" y="735"/>
                      <a:pt x="463" y="735"/>
                    </a:cubicBezTo>
                    <a:cubicBezTo>
                      <a:pt x="491" y="735"/>
                      <a:pt x="551" y="715"/>
                      <a:pt x="551" y="715"/>
                    </a:cubicBezTo>
                    <a:cubicBezTo>
                      <a:pt x="493" y="657"/>
                      <a:pt x="493" y="657"/>
                      <a:pt x="493" y="657"/>
                    </a:cubicBezTo>
                    <a:cubicBezTo>
                      <a:pt x="493" y="645"/>
                      <a:pt x="493" y="645"/>
                      <a:pt x="493" y="645"/>
                    </a:cubicBezTo>
                    <a:cubicBezTo>
                      <a:pt x="487" y="635"/>
                      <a:pt x="487" y="635"/>
                      <a:pt x="487" y="635"/>
                    </a:cubicBezTo>
                    <a:cubicBezTo>
                      <a:pt x="488" y="468"/>
                      <a:pt x="488" y="468"/>
                      <a:pt x="488" y="468"/>
                    </a:cubicBezTo>
                    <a:cubicBezTo>
                      <a:pt x="571" y="470"/>
                      <a:pt x="571" y="470"/>
                      <a:pt x="571" y="470"/>
                    </a:cubicBezTo>
                    <a:cubicBezTo>
                      <a:pt x="571" y="470"/>
                      <a:pt x="582" y="470"/>
                      <a:pt x="584" y="463"/>
                    </a:cubicBezTo>
                    <a:cubicBezTo>
                      <a:pt x="586" y="456"/>
                      <a:pt x="580" y="440"/>
                      <a:pt x="580" y="440"/>
                    </a:cubicBezTo>
                    <a:cubicBezTo>
                      <a:pt x="593" y="437"/>
                      <a:pt x="593" y="437"/>
                      <a:pt x="593" y="437"/>
                    </a:cubicBezTo>
                    <a:cubicBezTo>
                      <a:pt x="585" y="426"/>
                      <a:pt x="585" y="426"/>
                      <a:pt x="585" y="426"/>
                    </a:cubicBezTo>
                    <a:cubicBezTo>
                      <a:pt x="583" y="391"/>
                      <a:pt x="583" y="391"/>
                      <a:pt x="583" y="391"/>
                    </a:cubicBezTo>
                    <a:cubicBezTo>
                      <a:pt x="583" y="391"/>
                      <a:pt x="591" y="389"/>
                      <a:pt x="594" y="386"/>
                    </a:cubicBezTo>
                    <a:cubicBezTo>
                      <a:pt x="597" y="383"/>
                      <a:pt x="583" y="362"/>
                      <a:pt x="583" y="36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5" name="MCShape 127">
                <a:extLst>
                  <a:ext uri="{FF2B5EF4-FFF2-40B4-BE49-F238E27FC236}">
                    <a16:creationId xmlns:a16="http://schemas.microsoft.com/office/drawing/2014/main" id="{0679F4AC-D8E7-4567-AFA5-5F422DE3D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1122" y="4248715"/>
                <a:ext cx="60322" cy="57230"/>
              </a:xfrm>
              <a:custGeom>
                <a:avLst/>
                <a:gdLst>
                  <a:gd name="T0" fmla="*/ 35 w 104"/>
                  <a:gd name="T1" fmla="*/ 98 h 98"/>
                  <a:gd name="T2" fmla="*/ 52 w 104"/>
                  <a:gd name="T3" fmla="*/ 91 h 98"/>
                  <a:gd name="T4" fmla="*/ 57 w 104"/>
                  <a:gd name="T5" fmla="*/ 74 h 98"/>
                  <a:gd name="T6" fmla="*/ 87 w 104"/>
                  <a:gd name="T7" fmla="*/ 74 h 98"/>
                  <a:gd name="T8" fmla="*/ 90 w 104"/>
                  <a:gd name="T9" fmla="*/ 74 h 98"/>
                  <a:gd name="T10" fmla="*/ 104 w 104"/>
                  <a:gd name="T11" fmla="*/ 64 h 98"/>
                  <a:gd name="T12" fmla="*/ 98 w 104"/>
                  <a:gd name="T13" fmla="*/ 44 h 98"/>
                  <a:gd name="T14" fmla="*/ 100 w 104"/>
                  <a:gd name="T15" fmla="*/ 31 h 98"/>
                  <a:gd name="T16" fmla="*/ 86 w 104"/>
                  <a:gd name="T17" fmla="*/ 13 h 98"/>
                  <a:gd name="T18" fmla="*/ 91 w 104"/>
                  <a:gd name="T19" fmla="*/ 0 h 98"/>
                  <a:gd name="T20" fmla="*/ 75 w 104"/>
                  <a:gd name="T21" fmla="*/ 1 h 98"/>
                  <a:gd name="T22" fmla="*/ 64 w 104"/>
                  <a:gd name="T23" fmla="*/ 25 h 98"/>
                  <a:gd name="T24" fmla="*/ 52 w 104"/>
                  <a:gd name="T25" fmla="*/ 17 h 98"/>
                  <a:gd name="T26" fmla="*/ 42 w 104"/>
                  <a:gd name="T27" fmla="*/ 17 h 98"/>
                  <a:gd name="T28" fmla="*/ 17 w 104"/>
                  <a:gd name="T29" fmla="*/ 36 h 98"/>
                  <a:gd name="T30" fmla="*/ 24 w 104"/>
                  <a:gd name="T31" fmla="*/ 58 h 98"/>
                  <a:gd name="T32" fmla="*/ 4 w 104"/>
                  <a:gd name="T33" fmla="*/ 80 h 98"/>
                  <a:gd name="T34" fmla="*/ 22 w 104"/>
                  <a:gd name="T35" fmla="*/ 85 h 98"/>
                  <a:gd name="T36" fmla="*/ 35 w 104"/>
                  <a:gd name="T37" fmla="*/ 98 h 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04"/>
                  <a:gd name="T58" fmla="*/ 0 h 98"/>
                  <a:gd name="T59" fmla="*/ 104 w 104"/>
                  <a:gd name="T60" fmla="*/ 98 h 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04" h="98">
                    <a:moveTo>
                      <a:pt x="35" y="98"/>
                    </a:moveTo>
                    <a:cubicBezTo>
                      <a:pt x="39" y="98"/>
                      <a:pt x="52" y="91"/>
                      <a:pt x="52" y="91"/>
                    </a:cubicBezTo>
                    <a:cubicBezTo>
                      <a:pt x="57" y="74"/>
                      <a:pt x="57" y="74"/>
                      <a:pt x="57" y="74"/>
                    </a:cubicBezTo>
                    <a:cubicBezTo>
                      <a:pt x="87" y="74"/>
                      <a:pt x="87" y="74"/>
                      <a:pt x="87" y="74"/>
                    </a:cubicBezTo>
                    <a:cubicBezTo>
                      <a:pt x="90" y="74"/>
                      <a:pt x="90" y="74"/>
                      <a:pt x="90" y="74"/>
                    </a:cubicBezTo>
                    <a:cubicBezTo>
                      <a:pt x="96" y="73"/>
                      <a:pt x="104" y="71"/>
                      <a:pt x="104" y="64"/>
                    </a:cubicBezTo>
                    <a:cubicBezTo>
                      <a:pt x="104" y="52"/>
                      <a:pt x="98" y="44"/>
                      <a:pt x="98" y="44"/>
                    </a:cubicBezTo>
                    <a:cubicBezTo>
                      <a:pt x="98" y="44"/>
                      <a:pt x="104" y="39"/>
                      <a:pt x="100" y="31"/>
                    </a:cubicBezTo>
                    <a:cubicBezTo>
                      <a:pt x="96" y="23"/>
                      <a:pt x="86" y="13"/>
                      <a:pt x="86" y="1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5" y="1"/>
                      <a:pt x="71" y="17"/>
                      <a:pt x="64" y="25"/>
                    </a:cubicBezTo>
                    <a:cubicBezTo>
                      <a:pt x="58" y="32"/>
                      <a:pt x="52" y="17"/>
                      <a:pt x="52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2" y="17"/>
                      <a:pt x="18" y="28"/>
                      <a:pt x="17" y="36"/>
                    </a:cubicBezTo>
                    <a:cubicBezTo>
                      <a:pt x="15" y="44"/>
                      <a:pt x="25" y="55"/>
                      <a:pt x="24" y="58"/>
                    </a:cubicBezTo>
                    <a:cubicBezTo>
                      <a:pt x="22" y="62"/>
                      <a:pt x="0" y="72"/>
                      <a:pt x="4" y="80"/>
                    </a:cubicBezTo>
                    <a:cubicBezTo>
                      <a:pt x="8" y="88"/>
                      <a:pt x="22" y="85"/>
                      <a:pt x="22" y="85"/>
                    </a:cubicBezTo>
                    <a:cubicBezTo>
                      <a:pt x="22" y="85"/>
                      <a:pt x="31" y="98"/>
                      <a:pt x="35" y="9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6" name="MCShape 128">
                <a:extLst>
                  <a:ext uri="{FF2B5EF4-FFF2-40B4-BE49-F238E27FC236}">
                    <a16:creationId xmlns:a16="http://schemas.microsoft.com/office/drawing/2014/main" id="{3768199D-D5EF-4602-AC21-38EA710721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8970" y="3866671"/>
                <a:ext cx="360389" cy="275320"/>
              </a:xfrm>
              <a:custGeom>
                <a:avLst/>
                <a:gdLst>
                  <a:gd name="T0" fmla="*/ 589 w 614"/>
                  <a:gd name="T1" fmla="*/ 267 h 467"/>
                  <a:gd name="T2" fmla="*/ 575 w 614"/>
                  <a:gd name="T3" fmla="*/ 253 h 467"/>
                  <a:gd name="T4" fmla="*/ 573 w 614"/>
                  <a:gd name="T5" fmla="*/ 236 h 467"/>
                  <a:gd name="T6" fmla="*/ 542 w 614"/>
                  <a:gd name="T7" fmla="*/ 203 h 467"/>
                  <a:gd name="T8" fmla="*/ 521 w 614"/>
                  <a:gd name="T9" fmla="*/ 175 h 467"/>
                  <a:gd name="T10" fmla="*/ 502 w 614"/>
                  <a:gd name="T11" fmla="*/ 152 h 467"/>
                  <a:gd name="T12" fmla="*/ 467 w 614"/>
                  <a:gd name="T13" fmla="*/ 130 h 467"/>
                  <a:gd name="T14" fmla="*/ 433 w 614"/>
                  <a:gd name="T15" fmla="*/ 120 h 467"/>
                  <a:gd name="T16" fmla="*/ 431 w 614"/>
                  <a:gd name="T17" fmla="*/ 102 h 467"/>
                  <a:gd name="T18" fmla="*/ 402 w 614"/>
                  <a:gd name="T19" fmla="*/ 8 h 467"/>
                  <a:gd name="T20" fmla="*/ 385 w 614"/>
                  <a:gd name="T21" fmla="*/ 0 h 467"/>
                  <a:gd name="T22" fmla="*/ 345 w 614"/>
                  <a:gd name="T23" fmla="*/ 38 h 467"/>
                  <a:gd name="T24" fmla="*/ 320 w 614"/>
                  <a:gd name="T25" fmla="*/ 55 h 467"/>
                  <a:gd name="T26" fmla="*/ 222 w 614"/>
                  <a:gd name="T27" fmla="*/ 107 h 467"/>
                  <a:gd name="T28" fmla="*/ 223 w 614"/>
                  <a:gd name="T29" fmla="*/ 132 h 467"/>
                  <a:gd name="T30" fmla="*/ 151 w 614"/>
                  <a:gd name="T31" fmla="*/ 160 h 467"/>
                  <a:gd name="T32" fmla="*/ 108 w 614"/>
                  <a:gd name="T33" fmla="*/ 165 h 467"/>
                  <a:gd name="T34" fmla="*/ 56 w 614"/>
                  <a:gd name="T35" fmla="*/ 186 h 467"/>
                  <a:gd name="T36" fmla="*/ 35 w 614"/>
                  <a:gd name="T37" fmla="*/ 224 h 467"/>
                  <a:gd name="T38" fmla="*/ 24 w 614"/>
                  <a:gd name="T39" fmla="*/ 249 h 467"/>
                  <a:gd name="T40" fmla="*/ 15 w 614"/>
                  <a:gd name="T41" fmla="*/ 273 h 467"/>
                  <a:gd name="T42" fmla="*/ 7 w 614"/>
                  <a:gd name="T43" fmla="*/ 306 h 467"/>
                  <a:gd name="T44" fmla="*/ 19 w 614"/>
                  <a:gd name="T45" fmla="*/ 344 h 467"/>
                  <a:gd name="T46" fmla="*/ 36 w 614"/>
                  <a:gd name="T47" fmla="*/ 381 h 467"/>
                  <a:gd name="T48" fmla="*/ 79 w 614"/>
                  <a:gd name="T49" fmla="*/ 428 h 467"/>
                  <a:gd name="T50" fmla="*/ 83 w 614"/>
                  <a:gd name="T51" fmla="*/ 461 h 467"/>
                  <a:gd name="T52" fmla="*/ 106 w 614"/>
                  <a:gd name="T53" fmla="*/ 441 h 467"/>
                  <a:gd name="T54" fmla="*/ 108 w 614"/>
                  <a:gd name="T55" fmla="*/ 400 h 467"/>
                  <a:gd name="T56" fmla="*/ 147 w 614"/>
                  <a:gd name="T57" fmla="*/ 390 h 467"/>
                  <a:gd name="T58" fmla="*/ 193 w 614"/>
                  <a:gd name="T59" fmla="*/ 394 h 467"/>
                  <a:gd name="T60" fmla="*/ 203 w 614"/>
                  <a:gd name="T61" fmla="*/ 370 h 467"/>
                  <a:gd name="T62" fmla="*/ 218 w 614"/>
                  <a:gd name="T63" fmla="*/ 344 h 467"/>
                  <a:gd name="T64" fmla="*/ 273 w 614"/>
                  <a:gd name="T65" fmla="*/ 330 h 467"/>
                  <a:gd name="T66" fmla="*/ 295 w 614"/>
                  <a:gd name="T67" fmla="*/ 351 h 467"/>
                  <a:gd name="T68" fmla="*/ 335 w 614"/>
                  <a:gd name="T69" fmla="*/ 362 h 467"/>
                  <a:gd name="T70" fmla="*/ 385 w 614"/>
                  <a:gd name="T71" fmla="*/ 368 h 467"/>
                  <a:gd name="T72" fmla="*/ 410 w 614"/>
                  <a:gd name="T73" fmla="*/ 328 h 467"/>
                  <a:gd name="T74" fmla="*/ 449 w 614"/>
                  <a:gd name="T75" fmla="*/ 330 h 467"/>
                  <a:gd name="T76" fmla="*/ 477 w 614"/>
                  <a:gd name="T77" fmla="*/ 316 h 467"/>
                  <a:gd name="T78" fmla="*/ 512 w 614"/>
                  <a:gd name="T79" fmla="*/ 321 h 467"/>
                  <a:gd name="T80" fmla="*/ 539 w 614"/>
                  <a:gd name="T81" fmla="*/ 311 h 467"/>
                  <a:gd name="T82" fmla="*/ 586 w 614"/>
                  <a:gd name="T83" fmla="*/ 319 h 467"/>
                  <a:gd name="T84" fmla="*/ 606 w 614"/>
                  <a:gd name="T85" fmla="*/ 281 h 4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4"/>
                  <a:gd name="T130" fmla="*/ 0 h 467"/>
                  <a:gd name="T131" fmla="*/ 614 w 614"/>
                  <a:gd name="T132" fmla="*/ 467 h 4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4" h="467">
                    <a:moveTo>
                      <a:pt x="606" y="281"/>
                    </a:moveTo>
                    <a:cubicBezTo>
                      <a:pt x="598" y="273"/>
                      <a:pt x="589" y="267"/>
                      <a:pt x="589" y="267"/>
                    </a:cubicBezTo>
                    <a:cubicBezTo>
                      <a:pt x="574" y="266"/>
                      <a:pt x="574" y="266"/>
                      <a:pt x="574" y="266"/>
                    </a:cubicBezTo>
                    <a:cubicBezTo>
                      <a:pt x="575" y="253"/>
                      <a:pt x="575" y="253"/>
                      <a:pt x="575" y="253"/>
                    </a:cubicBezTo>
                    <a:cubicBezTo>
                      <a:pt x="575" y="253"/>
                      <a:pt x="568" y="250"/>
                      <a:pt x="567" y="244"/>
                    </a:cubicBezTo>
                    <a:cubicBezTo>
                      <a:pt x="566" y="238"/>
                      <a:pt x="573" y="244"/>
                      <a:pt x="573" y="236"/>
                    </a:cubicBezTo>
                    <a:cubicBezTo>
                      <a:pt x="573" y="228"/>
                      <a:pt x="558" y="227"/>
                      <a:pt x="558" y="227"/>
                    </a:cubicBezTo>
                    <a:cubicBezTo>
                      <a:pt x="558" y="227"/>
                      <a:pt x="549" y="204"/>
                      <a:pt x="542" y="203"/>
                    </a:cubicBezTo>
                    <a:cubicBezTo>
                      <a:pt x="535" y="202"/>
                      <a:pt x="521" y="200"/>
                      <a:pt x="515" y="190"/>
                    </a:cubicBezTo>
                    <a:cubicBezTo>
                      <a:pt x="509" y="180"/>
                      <a:pt x="524" y="186"/>
                      <a:pt x="521" y="175"/>
                    </a:cubicBezTo>
                    <a:cubicBezTo>
                      <a:pt x="518" y="164"/>
                      <a:pt x="502" y="165"/>
                      <a:pt x="502" y="165"/>
                    </a:cubicBezTo>
                    <a:cubicBezTo>
                      <a:pt x="502" y="152"/>
                      <a:pt x="502" y="152"/>
                      <a:pt x="502" y="152"/>
                    </a:cubicBezTo>
                    <a:cubicBezTo>
                      <a:pt x="502" y="152"/>
                      <a:pt x="472" y="154"/>
                      <a:pt x="466" y="146"/>
                    </a:cubicBezTo>
                    <a:cubicBezTo>
                      <a:pt x="460" y="138"/>
                      <a:pt x="467" y="130"/>
                      <a:pt x="467" y="130"/>
                    </a:cubicBezTo>
                    <a:cubicBezTo>
                      <a:pt x="467" y="123"/>
                      <a:pt x="467" y="123"/>
                      <a:pt x="467" y="123"/>
                    </a:cubicBezTo>
                    <a:cubicBezTo>
                      <a:pt x="433" y="120"/>
                      <a:pt x="433" y="120"/>
                      <a:pt x="433" y="120"/>
                    </a:cubicBezTo>
                    <a:cubicBezTo>
                      <a:pt x="439" y="109"/>
                      <a:pt x="439" y="109"/>
                      <a:pt x="439" y="109"/>
                    </a:cubicBezTo>
                    <a:cubicBezTo>
                      <a:pt x="439" y="109"/>
                      <a:pt x="430" y="112"/>
                      <a:pt x="431" y="102"/>
                    </a:cubicBezTo>
                    <a:cubicBezTo>
                      <a:pt x="432" y="92"/>
                      <a:pt x="447" y="85"/>
                      <a:pt x="443" y="63"/>
                    </a:cubicBezTo>
                    <a:cubicBezTo>
                      <a:pt x="439" y="41"/>
                      <a:pt x="402" y="8"/>
                      <a:pt x="402" y="8"/>
                    </a:cubicBezTo>
                    <a:cubicBezTo>
                      <a:pt x="401" y="1"/>
                      <a:pt x="401" y="1"/>
                      <a:pt x="401" y="1"/>
                    </a:cubicBezTo>
                    <a:cubicBezTo>
                      <a:pt x="385" y="0"/>
                      <a:pt x="385" y="0"/>
                      <a:pt x="385" y="0"/>
                    </a:cubicBezTo>
                    <a:cubicBezTo>
                      <a:pt x="348" y="18"/>
                      <a:pt x="348" y="18"/>
                      <a:pt x="348" y="18"/>
                    </a:cubicBezTo>
                    <a:cubicBezTo>
                      <a:pt x="345" y="38"/>
                      <a:pt x="345" y="38"/>
                      <a:pt x="345" y="38"/>
                    </a:cubicBezTo>
                    <a:cubicBezTo>
                      <a:pt x="333" y="50"/>
                      <a:pt x="333" y="50"/>
                      <a:pt x="333" y="50"/>
                    </a:cubicBezTo>
                    <a:cubicBezTo>
                      <a:pt x="320" y="55"/>
                      <a:pt x="320" y="55"/>
                      <a:pt x="320" y="55"/>
                    </a:cubicBezTo>
                    <a:cubicBezTo>
                      <a:pt x="320" y="55"/>
                      <a:pt x="325" y="77"/>
                      <a:pt x="293" y="92"/>
                    </a:cubicBezTo>
                    <a:cubicBezTo>
                      <a:pt x="262" y="107"/>
                      <a:pt x="222" y="107"/>
                      <a:pt x="222" y="107"/>
                    </a:cubicBezTo>
                    <a:cubicBezTo>
                      <a:pt x="208" y="115"/>
                      <a:pt x="208" y="115"/>
                      <a:pt x="208" y="115"/>
                    </a:cubicBezTo>
                    <a:cubicBezTo>
                      <a:pt x="208" y="115"/>
                      <a:pt x="228" y="125"/>
                      <a:pt x="223" y="132"/>
                    </a:cubicBezTo>
                    <a:cubicBezTo>
                      <a:pt x="218" y="138"/>
                      <a:pt x="203" y="160"/>
                      <a:pt x="203" y="160"/>
                    </a:cubicBezTo>
                    <a:cubicBezTo>
                      <a:pt x="203" y="160"/>
                      <a:pt x="170" y="160"/>
                      <a:pt x="151" y="160"/>
                    </a:cubicBezTo>
                    <a:cubicBezTo>
                      <a:pt x="133" y="160"/>
                      <a:pt x="138" y="180"/>
                      <a:pt x="120" y="185"/>
                    </a:cubicBezTo>
                    <a:cubicBezTo>
                      <a:pt x="101" y="190"/>
                      <a:pt x="108" y="165"/>
                      <a:pt x="108" y="165"/>
                    </a:cubicBezTo>
                    <a:cubicBezTo>
                      <a:pt x="108" y="165"/>
                      <a:pt x="88" y="180"/>
                      <a:pt x="78" y="187"/>
                    </a:cubicBezTo>
                    <a:cubicBezTo>
                      <a:pt x="68" y="193"/>
                      <a:pt x="56" y="186"/>
                      <a:pt x="56" y="186"/>
                    </a:cubicBezTo>
                    <a:cubicBezTo>
                      <a:pt x="56" y="186"/>
                      <a:pt x="38" y="196"/>
                      <a:pt x="37" y="204"/>
                    </a:cubicBezTo>
                    <a:cubicBezTo>
                      <a:pt x="36" y="212"/>
                      <a:pt x="35" y="224"/>
                      <a:pt x="35" y="224"/>
                    </a:cubicBezTo>
                    <a:cubicBezTo>
                      <a:pt x="29" y="224"/>
                      <a:pt x="29" y="224"/>
                      <a:pt x="29" y="224"/>
                    </a:cubicBezTo>
                    <a:cubicBezTo>
                      <a:pt x="24" y="249"/>
                      <a:pt x="24" y="249"/>
                      <a:pt x="24" y="249"/>
                    </a:cubicBezTo>
                    <a:cubicBezTo>
                      <a:pt x="24" y="249"/>
                      <a:pt x="2" y="256"/>
                      <a:pt x="1" y="264"/>
                    </a:cubicBezTo>
                    <a:cubicBezTo>
                      <a:pt x="0" y="272"/>
                      <a:pt x="15" y="273"/>
                      <a:pt x="15" y="273"/>
                    </a:cubicBezTo>
                    <a:cubicBezTo>
                      <a:pt x="14" y="298"/>
                      <a:pt x="14" y="298"/>
                      <a:pt x="14" y="298"/>
                    </a:cubicBezTo>
                    <a:cubicBezTo>
                      <a:pt x="7" y="306"/>
                      <a:pt x="7" y="306"/>
                      <a:pt x="7" y="306"/>
                    </a:cubicBezTo>
                    <a:cubicBezTo>
                      <a:pt x="19" y="313"/>
                      <a:pt x="19" y="313"/>
                      <a:pt x="19" y="313"/>
                    </a:cubicBezTo>
                    <a:cubicBezTo>
                      <a:pt x="19" y="344"/>
                      <a:pt x="19" y="344"/>
                      <a:pt x="19" y="344"/>
                    </a:cubicBezTo>
                    <a:cubicBezTo>
                      <a:pt x="19" y="344"/>
                      <a:pt x="36" y="355"/>
                      <a:pt x="38" y="358"/>
                    </a:cubicBezTo>
                    <a:cubicBezTo>
                      <a:pt x="40" y="361"/>
                      <a:pt x="36" y="381"/>
                      <a:pt x="36" y="381"/>
                    </a:cubicBezTo>
                    <a:cubicBezTo>
                      <a:pt x="36" y="381"/>
                      <a:pt x="47" y="404"/>
                      <a:pt x="57" y="412"/>
                    </a:cubicBezTo>
                    <a:cubicBezTo>
                      <a:pt x="67" y="420"/>
                      <a:pt x="79" y="428"/>
                      <a:pt x="79" y="428"/>
                    </a:cubicBezTo>
                    <a:cubicBezTo>
                      <a:pt x="83" y="442"/>
                      <a:pt x="83" y="442"/>
                      <a:pt x="83" y="442"/>
                    </a:cubicBezTo>
                    <a:cubicBezTo>
                      <a:pt x="83" y="461"/>
                      <a:pt x="83" y="461"/>
                      <a:pt x="83" y="461"/>
                    </a:cubicBezTo>
                    <a:cubicBezTo>
                      <a:pt x="88" y="467"/>
                      <a:pt x="88" y="467"/>
                      <a:pt x="88" y="467"/>
                    </a:cubicBezTo>
                    <a:cubicBezTo>
                      <a:pt x="88" y="467"/>
                      <a:pt x="104" y="448"/>
                      <a:pt x="106" y="441"/>
                    </a:cubicBezTo>
                    <a:cubicBezTo>
                      <a:pt x="108" y="434"/>
                      <a:pt x="98" y="421"/>
                      <a:pt x="98" y="421"/>
                    </a:cubicBezTo>
                    <a:cubicBezTo>
                      <a:pt x="108" y="400"/>
                      <a:pt x="108" y="400"/>
                      <a:pt x="108" y="400"/>
                    </a:cubicBezTo>
                    <a:cubicBezTo>
                      <a:pt x="128" y="401"/>
                      <a:pt x="128" y="401"/>
                      <a:pt x="128" y="401"/>
                    </a:cubicBezTo>
                    <a:cubicBezTo>
                      <a:pt x="128" y="401"/>
                      <a:pt x="141" y="390"/>
                      <a:pt x="147" y="390"/>
                    </a:cubicBezTo>
                    <a:cubicBezTo>
                      <a:pt x="153" y="390"/>
                      <a:pt x="167" y="398"/>
                      <a:pt x="178" y="399"/>
                    </a:cubicBezTo>
                    <a:cubicBezTo>
                      <a:pt x="189" y="400"/>
                      <a:pt x="193" y="394"/>
                      <a:pt x="193" y="394"/>
                    </a:cubicBezTo>
                    <a:cubicBezTo>
                      <a:pt x="203" y="380"/>
                      <a:pt x="203" y="380"/>
                      <a:pt x="203" y="380"/>
                    </a:cubicBezTo>
                    <a:cubicBezTo>
                      <a:pt x="203" y="370"/>
                      <a:pt x="203" y="370"/>
                      <a:pt x="203" y="370"/>
                    </a:cubicBezTo>
                    <a:cubicBezTo>
                      <a:pt x="203" y="370"/>
                      <a:pt x="193" y="367"/>
                      <a:pt x="201" y="357"/>
                    </a:cubicBezTo>
                    <a:cubicBezTo>
                      <a:pt x="209" y="347"/>
                      <a:pt x="208" y="358"/>
                      <a:pt x="218" y="344"/>
                    </a:cubicBezTo>
                    <a:cubicBezTo>
                      <a:pt x="228" y="330"/>
                      <a:pt x="218" y="311"/>
                      <a:pt x="247" y="313"/>
                    </a:cubicBezTo>
                    <a:cubicBezTo>
                      <a:pt x="276" y="315"/>
                      <a:pt x="273" y="330"/>
                      <a:pt x="273" y="330"/>
                    </a:cubicBezTo>
                    <a:cubicBezTo>
                      <a:pt x="273" y="330"/>
                      <a:pt x="286" y="328"/>
                      <a:pt x="289" y="332"/>
                    </a:cubicBezTo>
                    <a:cubicBezTo>
                      <a:pt x="292" y="336"/>
                      <a:pt x="280" y="351"/>
                      <a:pt x="295" y="351"/>
                    </a:cubicBezTo>
                    <a:cubicBezTo>
                      <a:pt x="310" y="351"/>
                      <a:pt x="319" y="351"/>
                      <a:pt x="319" y="351"/>
                    </a:cubicBezTo>
                    <a:cubicBezTo>
                      <a:pt x="319" y="351"/>
                      <a:pt x="325" y="363"/>
                      <a:pt x="335" y="362"/>
                    </a:cubicBezTo>
                    <a:cubicBezTo>
                      <a:pt x="345" y="361"/>
                      <a:pt x="363" y="361"/>
                      <a:pt x="363" y="361"/>
                    </a:cubicBezTo>
                    <a:cubicBezTo>
                      <a:pt x="363" y="361"/>
                      <a:pt x="376" y="375"/>
                      <a:pt x="385" y="368"/>
                    </a:cubicBezTo>
                    <a:cubicBezTo>
                      <a:pt x="394" y="361"/>
                      <a:pt x="389" y="347"/>
                      <a:pt x="396" y="344"/>
                    </a:cubicBezTo>
                    <a:cubicBezTo>
                      <a:pt x="403" y="341"/>
                      <a:pt x="410" y="328"/>
                      <a:pt x="410" y="328"/>
                    </a:cubicBezTo>
                    <a:cubicBezTo>
                      <a:pt x="410" y="328"/>
                      <a:pt x="424" y="349"/>
                      <a:pt x="430" y="344"/>
                    </a:cubicBezTo>
                    <a:cubicBezTo>
                      <a:pt x="436" y="339"/>
                      <a:pt x="449" y="330"/>
                      <a:pt x="449" y="330"/>
                    </a:cubicBezTo>
                    <a:cubicBezTo>
                      <a:pt x="461" y="330"/>
                      <a:pt x="461" y="330"/>
                      <a:pt x="461" y="330"/>
                    </a:cubicBezTo>
                    <a:cubicBezTo>
                      <a:pt x="477" y="316"/>
                      <a:pt x="477" y="316"/>
                      <a:pt x="477" y="316"/>
                    </a:cubicBezTo>
                    <a:cubicBezTo>
                      <a:pt x="477" y="316"/>
                      <a:pt x="486" y="326"/>
                      <a:pt x="490" y="326"/>
                    </a:cubicBezTo>
                    <a:cubicBezTo>
                      <a:pt x="494" y="326"/>
                      <a:pt x="512" y="321"/>
                      <a:pt x="512" y="321"/>
                    </a:cubicBezTo>
                    <a:cubicBezTo>
                      <a:pt x="512" y="321"/>
                      <a:pt x="517" y="300"/>
                      <a:pt x="524" y="299"/>
                    </a:cubicBezTo>
                    <a:cubicBezTo>
                      <a:pt x="531" y="298"/>
                      <a:pt x="539" y="311"/>
                      <a:pt x="539" y="311"/>
                    </a:cubicBezTo>
                    <a:cubicBezTo>
                      <a:pt x="560" y="308"/>
                      <a:pt x="560" y="308"/>
                      <a:pt x="560" y="308"/>
                    </a:cubicBezTo>
                    <a:cubicBezTo>
                      <a:pt x="560" y="308"/>
                      <a:pt x="566" y="324"/>
                      <a:pt x="586" y="319"/>
                    </a:cubicBezTo>
                    <a:cubicBezTo>
                      <a:pt x="606" y="314"/>
                      <a:pt x="610" y="303"/>
                      <a:pt x="610" y="303"/>
                    </a:cubicBezTo>
                    <a:cubicBezTo>
                      <a:pt x="610" y="303"/>
                      <a:pt x="614" y="289"/>
                      <a:pt x="606" y="28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7" name="MCShape 129">
                <a:extLst>
                  <a:ext uri="{FF2B5EF4-FFF2-40B4-BE49-F238E27FC236}">
                    <a16:creationId xmlns:a16="http://schemas.microsoft.com/office/drawing/2014/main" id="{FEBA3BF9-791C-40F0-BA23-48CA75C9B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6165" y="4097135"/>
                <a:ext cx="210357" cy="273773"/>
              </a:xfrm>
              <a:custGeom>
                <a:avLst/>
                <a:gdLst>
                  <a:gd name="T0" fmla="*/ 238 w 356"/>
                  <a:gd name="T1" fmla="*/ 83 h 466"/>
                  <a:gd name="T2" fmla="*/ 219 w 356"/>
                  <a:gd name="T3" fmla="*/ 95 h 466"/>
                  <a:gd name="T4" fmla="*/ 166 w 356"/>
                  <a:gd name="T5" fmla="*/ 83 h 466"/>
                  <a:gd name="T6" fmla="*/ 96 w 356"/>
                  <a:gd name="T7" fmla="*/ 108 h 466"/>
                  <a:gd name="T8" fmla="*/ 115 w 356"/>
                  <a:gd name="T9" fmla="*/ 134 h 466"/>
                  <a:gd name="T10" fmla="*/ 149 w 356"/>
                  <a:gd name="T11" fmla="*/ 128 h 466"/>
                  <a:gd name="T12" fmla="*/ 159 w 356"/>
                  <a:gd name="T13" fmla="*/ 146 h 466"/>
                  <a:gd name="T14" fmla="*/ 140 w 356"/>
                  <a:gd name="T15" fmla="*/ 172 h 466"/>
                  <a:gd name="T16" fmla="*/ 130 w 356"/>
                  <a:gd name="T17" fmla="*/ 212 h 466"/>
                  <a:gd name="T18" fmla="*/ 147 w 356"/>
                  <a:gd name="T19" fmla="*/ 225 h 466"/>
                  <a:gd name="T20" fmla="*/ 158 w 356"/>
                  <a:gd name="T21" fmla="*/ 243 h 466"/>
                  <a:gd name="T22" fmla="*/ 155 w 356"/>
                  <a:gd name="T23" fmla="*/ 284 h 466"/>
                  <a:gd name="T24" fmla="*/ 146 w 356"/>
                  <a:gd name="T25" fmla="*/ 316 h 466"/>
                  <a:gd name="T26" fmla="*/ 127 w 356"/>
                  <a:gd name="T27" fmla="*/ 311 h 466"/>
                  <a:gd name="T28" fmla="*/ 90 w 356"/>
                  <a:gd name="T29" fmla="*/ 327 h 466"/>
                  <a:gd name="T30" fmla="*/ 64 w 356"/>
                  <a:gd name="T31" fmla="*/ 297 h 466"/>
                  <a:gd name="T32" fmla="*/ 58 w 356"/>
                  <a:gd name="T33" fmla="*/ 329 h 466"/>
                  <a:gd name="T34" fmla="*/ 25 w 356"/>
                  <a:gd name="T35" fmla="*/ 346 h 466"/>
                  <a:gd name="T36" fmla="*/ 35 w 356"/>
                  <a:gd name="T37" fmla="*/ 359 h 466"/>
                  <a:gd name="T38" fmla="*/ 38 w 356"/>
                  <a:gd name="T39" fmla="*/ 376 h 466"/>
                  <a:gd name="T40" fmla="*/ 19 w 356"/>
                  <a:gd name="T41" fmla="*/ 389 h 466"/>
                  <a:gd name="T42" fmla="*/ 0 w 356"/>
                  <a:gd name="T43" fmla="*/ 411 h 466"/>
                  <a:gd name="T44" fmla="*/ 37 w 356"/>
                  <a:gd name="T45" fmla="*/ 454 h 466"/>
                  <a:gd name="T46" fmla="*/ 50 w 356"/>
                  <a:gd name="T47" fmla="*/ 460 h 466"/>
                  <a:gd name="T48" fmla="*/ 61 w 356"/>
                  <a:gd name="T49" fmla="*/ 446 h 466"/>
                  <a:gd name="T50" fmla="*/ 91 w 356"/>
                  <a:gd name="T51" fmla="*/ 448 h 466"/>
                  <a:gd name="T52" fmla="*/ 114 w 356"/>
                  <a:gd name="T53" fmla="*/ 461 h 466"/>
                  <a:gd name="T54" fmla="*/ 138 w 356"/>
                  <a:gd name="T55" fmla="*/ 441 h 466"/>
                  <a:gd name="T56" fmla="*/ 159 w 356"/>
                  <a:gd name="T57" fmla="*/ 462 h 466"/>
                  <a:gd name="T58" fmla="*/ 209 w 356"/>
                  <a:gd name="T59" fmla="*/ 418 h 466"/>
                  <a:gd name="T60" fmla="*/ 242 w 356"/>
                  <a:gd name="T61" fmla="*/ 385 h 466"/>
                  <a:gd name="T62" fmla="*/ 260 w 356"/>
                  <a:gd name="T63" fmla="*/ 302 h 466"/>
                  <a:gd name="T64" fmla="*/ 298 w 356"/>
                  <a:gd name="T65" fmla="*/ 251 h 466"/>
                  <a:gd name="T66" fmla="*/ 317 w 356"/>
                  <a:gd name="T67" fmla="*/ 197 h 466"/>
                  <a:gd name="T68" fmla="*/ 320 w 356"/>
                  <a:gd name="T69" fmla="*/ 152 h 466"/>
                  <a:gd name="T70" fmla="*/ 332 w 356"/>
                  <a:gd name="T71" fmla="*/ 77 h 466"/>
                  <a:gd name="T72" fmla="*/ 356 w 356"/>
                  <a:gd name="T73" fmla="*/ 11 h 466"/>
                  <a:gd name="T74" fmla="*/ 332 w 356"/>
                  <a:gd name="T75" fmla="*/ 9 h 466"/>
                  <a:gd name="T76" fmla="*/ 282 w 356"/>
                  <a:gd name="T77" fmla="*/ 11 h 466"/>
                  <a:gd name="T78" fmla="*/ 252 w 356"/>
                  <a:gd name="T79" fmla="*/ 31 h 466"/>
                  <a:gd name="T80" fmla="*/ 242 w 356"/>
                  <a:gd name="T81" fmla="*/ 77 h 4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56"/>
                  <a:gd name="T124" fmla="*/ 0 h 466"/>
                  <a:gd name="T125" fmla="*/ 356 w 356"/>
                  <a:gd name="T126" fmla="*/ 466 h 4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56" h="466">
                    <a:moveTo>
                      <a:pt x="242" y="77"/>
                    </a:moveTo>
                    <a:cubicBezTo>
                      <a:pt x="238" y="83"/>
                      <a:pt x="238" y="83"/>
                      <a:pt x="238" y="83"/>
                    </a:cubicBezTo>
                    <a:cubicBezTo>
                      <a:pt x="237" y="110"/>
                      <a:pt x="237" y="110"/>
                      <a:pt x="237" y="110"/>
                    </a:cubicBezTo>
                    <a:cubicBezTo>
                      <a:pt x="219" y="95"/>
                      <a:pt x="219" y="95"/>
                      <a:pt x="219" y="95"/>
                    </a:cubicBezTo>
                    <a:cubicBezTo>
                      <a:pt x="199" y="96"/>
                      <a:pt x="199" y="96"/>
                      <a:pt x="199" y="96"/>
                    </a:cubicBezTo>
                    <a:cubicBezTo>
                      <a:pt x="199" y="96"/>
                      <a:pt x="171" y="83"/>
                      <a:pt x="166" y="83"/>
                    </a:cubicBezTo>
                    <a:cubicBezTo>
                      <a:pt x="161" y="83"/>
                      <a:pt x="106" y="86"/>
                      <a:pt x="106" y="86"/>
                    </a:cubicBezTo>
                    <a:cubicBezTo>
                      <a:pt x="96" y="108"/>
                      <a:pt x="96" y="108"/>
                      <a:pt x="96" y="108"/>
                    </a:cubicBezTo>
                    <a:cubicBezTo>
                      <a:pt x="98" y="129"/>
                      <a:pt x="98" y="129"/>
                      <a:pt x="98" y="129"/>
                    </a:cubicBezTo>
                    <a:cubicBezTo>
                      <a:pt x="98" y="129"/>
                      <a:pt x="106" y="134"/>
                      <a:pt x="115" y="134"/>
                    </a:cubicBezTo>
                    <a:cubicBezTo>
                      <a:pt x="124" y="134"/>
                      <a:pt x="124" y="119"/>
                      <a:pt x="129" y="119"/>
                    </a:cubicBezTo>
                    <a:cubicBezTo>
                      <a:pt x="134" y="119"/>
                      <a:pt x="146" y="124"/>
                      <a:pt x="149" y="128"/>
                    </a:cubicBezTo>
                    <a:cubicBezTo>
                      <a:pt x="152" y="132"/>
                      <a:pt x="153" y="142"/>
                      <a:pt x="153" y="142"/>
                    </a:cubicBezTo>
                    <a:cubicBezTo>
                      <a:pt x="159" y="146"/>
                      <a:pt x="159" y="146"/>
                      <a:pt x="159" y="146"/>
                    </a:cubicBezTo>
                    <a:cubicBezTo>
                      <a:pt x="159" y="146"/>
                      <a:pt x="159" y="159"/>
                      <a:pt x="153" y="166"/>
                    </a:cubicBezTo>
                    <a:cubicBezTo>
                      <a:pt x="147" y="173"/>
                      <a:pt x="140" y="172"/>
                      <a:pt x="140" y="172"/>
                    </a:cubicBezTo>
                    <a:cubicBezTo>
                      <a:pt x="131" y="188"/>
                      <a:pt x="131" y="188"/>
                      <a:pt x="131" y="188"/>
                    </a:cubicBezTo>
                    <a:cubicBezTo>
                      <a:pt x="130" y="212"/>
                      <a:pt x="130" y="212"/>
                      <a:pt x="130" y="212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47" y="225"/>
                      <a:pt x="147" y="225"/>
                      <a:pt x="147" y="225"/>
                    </a:cubicBezTo>
                    <a:cubicBezTo>
                      <a:pt x="147" y="225"/>
                      <a:pt x="163" y="226"/>
                      <a:pt x="165" y="232"/>
                    </a:cubicBezTo>
                    <a:cubicBezTo>
                      <a:pt x="167" y="238"/>
                      <a:pt x="158" y="243"/>
                      <a:pt x="158" y="243"/>
                    </a:cubicBezTo>
                    <a:cubicBezTo>
                      <a:pt x="159" y="273"/>
                      <a:pt x="159" y="273"/>
                      <a:pt x="159" y="273"/>
                    </a:cubicBezTo>
                    <a:cubicBezTo>
                      <a:pt x="155" y="284"/>
                      <a:pt x="155" y="284"/>
                      <a:pt x="155" y="284"/>
                    </a:cubicBezTo>
                    <a:cubicBezTo>
                      <a:pt x="159" y="298"/>
                      <a:pt x="159" y="298"/>
                      <a:pt x="159" y="298"/>
                    </a:cubicBezTo>
                    <a:cubicBezTo>
                      <a:pt x="159" y="298"/>
                      <a:pt x="146" y="302"/>
                      <a:pt x="146" y="316"/>
                    </a:cubicBezTo>
                    <a:cubicBezTo>
                      <a:pt x="146" y="330"/>
                      <a:pt x="144" y="336"/>
                      <a:pt x="134" y="336"/>
                    </a:cubicBezTo>
                    <a:cubicBezTo>
                      <a:pt x="124" y="336"/>
                      <a:pt x="131" y="314"/>
                      <a:pt x="127" y="311"/>
                    </a:cubicBezTo>
                    <a:cubicBezTo>
                      <a:pt x="123" y="308"/>
                      <a:pt x="120" y="324"/>
                      <a:pt x="112" y="326"/>
                    </a:cubicBezTo>
                    <a:cubicBezTo>
                      <a:pt x="104" y="328"/>
                      <a:pt x="90" y="327"/>
                      <a:pt x="90" y="327"/>
                    </a:cubicBezTo>
                    <a:cubicBezTo>
                      <a:pt x="81" y="298"/>
                      <a:pt x="81" y="298"/>
                      <a:pt x="81" y="298"/>
                    </a:cubicBezTo>
                    <a:cubicBezTo>
                      <a:pt x="81" y="298"/>
                      <a:pt x="70" y="296"/>
                      <a:pt x="64" y="297"/>
                    </a:cubicBezTo>
                    <a:cubicBezTo>
                      <a:pt x="58" y="298"/>
                      <a:pt x="71" y="316"/>
                      <a:pt x="71" y="316"/>
                    </a:cubicBezTo>
                    <a:cubicBezTo>
                      <a:pt x="71" y="316"/>
                      <a:pt x="62" y="324"/>
                      <a:pt x="58" y="329"/>
                    </a:cubicBezTo>
                    <a:cubicBezTo>
                      <a:pt x="54" y="334"/>
                      <a:pt x="30" y="325"/>
                      <a:pt x="24" y="323"/>
                    </a:cubicBezTo>
                    <a:cubicBezTo>
                      <a:pt x="18" y="321"/>
                      <a:pt x="25" y="346"/>
                      <a:pt x="25" y="346"/>
                    </a:cubicBezTo>
                    <a:cubicBezTo>
                      <a:pt x="18" y="346"/>
                      <a:pt x="18" y="346"/>
                      <a:pt x="18" y="346"/>
                    </a:cubicBezTo>
                    <a:cubicBezTo>
                      <a:pt x="35" y="359"/>
                      <a:pt x="35" y="359"/>
                      <a:pt x="35" y="359"/>
                    </a:cubicBezTo>
                    <a:cubicBezTo>
                      <a:pt x="26" y="368"/>
                      <a:pt x="26" y="368"/>
                      <a:pt x="26" y="368"/>
                    </a:cubicBezTo>
                    <a:cubicBezTo>
                      <a:pt x="38" y="376"/>
                      <a:pt x="38" y="376"/>
                      <a:pt x="38" y="376"/>
                    </a:cubicBezTo>
                    <a:cubicBezTo>
                      <a:pt x="38" y="376"/>
                      <a:pt x="42" y="389"/>
                      <a:pt x="38" y="398"/>
                    </a:cubicBezTo>
                    <a:cubicBezTo>
                      <a:pt x="34" y="407"/>
                      <a:pt x="19" y="389"/>
                      <a:pt x="19" y="389"/>
                    </a:cubicBezTo>
                    <a:cubicBezTo>
                      <a:pt x="5" y="398"/>
                      <a:pt x="5" y="398"/>
                      <a:pt x="5" y="398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36" y="442"/>
                      <a:pt x="36" y="442"/>
                      <a:pt x="36" y="442"/>
                    </a:cubicBezTo>
                    <a:cubicBezTo>
                      <a:pt x="37" y="454"/>
                      <a:pt x="37" y="454"/>
                      <a:pt x="37" y="454"/>
                    </a:cubicBezTo>
                    <a:cubicBezTo>
                      <a:pt x="46" y="466"/>
                      <a:pt x="46" y="466"/>
                      <a:pt x="46" y="466"/>
                    </a:cubicBezTo>
                    <a:cubicBezTo>
                      <a:pt x="50" y="460"/>
                      <a:pt x="50" y="460"/>
                      <a:pt x="50" y="460"/>
                    </a:cubicBezTo>
                    <a:cubicBezTo>
                      <a:pt x="61" y="460"/>
                      <a:pt x="61" y="460"/>
                      <a:pt x="61" y="460"/>
                    </a:cubicBezTo>
                    <a:cubicBezTo>
                      <a:pt x="61" y="446"/>
                      <a:pt x="61" y="446"/>
                      <a:pt x="61" y="446"/>
                    </a:cubicBezTo>
                    <a:cubicBezTo>
                      <a:pt x="61" y="446"/>
                      <a:pt x="75" y="433"/>
                      <a:pt x="82" y="432"/>
                    </a:cubicBezTo>
                    <a:cubicBezTo>
                      <a:pt x="89" y="431"/>
                      <a:pt x="91" y="448"/>
                      <a:pt x="91" y="448"/>
                    </a:cubicBezTo>
                    <a:cubicBezTo>
                      <a:pt x="98" y="445"/>
                      <a:pt x="98" y="445"/>
                      <a:pt x="98" y="445"/>
                    </a:cubicBezTo>
                    <a:cubicBezTo>
                      <a:pt x="98" y="445"/>
                      <a:pt x="102" y="466"/>
                      <a:pt x="114" y="461"/>
                    </a:cubicBezTo>
                    <a:cubicBezTo>
                      <a:pt x="126" y="456"/>
                      <a:pt x="125" y="440"/>
                      <a:pt x="125" y="440"/>
                    </a:cubicBezTo>
                    <a:cubicBezTo>
                      <a:pt x="138" y="441"/>
                      <a:pt x="138" y="441"/>
                      <a:pt x="138" y="441"/>
                    </a:cubicBezTo>
                    <a:cubicBezTo>
                      <a:pt x="138" y="441"/>
                      <a:pt x="148" y="425"/>
                      <a:pt x="155" y="432"/>
                    </a:cubicBezTo>
                    <a:cubicBezTo>
                      <a:pt x="162" y="439"/>
                      <a:pt x="144" y="462"/>
                      <a:pt x="159" y="462"/>
                    </a:cubicBezTo>
                    <a:cubicBezTo>
                      <a:pt x="174" y="462"/>
                      <a:pt x="177" y="457"/>
                      <a:pt x="184" y="448"/>
                    </a:cubicBezTo>
                    <a:cubicBezTo>
                      <a:pt x="191" y="439"/>
                      <a:pt x="203" y="418"/>
                      <a:pt x="209" y="418"/>
                    </a:cubicBezTo>
                    <a:cubicBezTo>
                      <a:pt x="215" y="418"/>
                      <a:pt x="225" y="415"/>
                      <a:pt x="225" y="415"/>
                    </a:cubicBezTo>
                    <a:cubicBezTo>
                      <a:pt x="242" y="385"/>
                      <a:pt x="242" y="385"/>
                      <a:pt x="242" y="385"/>
                    </a:cubicBezTo>
                    <a:cubicBezTo>
                      <a:pt x="241" y="318"/>
                      <a:pt x="241" y="318"/>
                      <a:pt x="241" y="318"/>
                    </a:cubicBezTo>
                    <a:cubicBezTo>
                      <a:pt x="241" y="318"/>
                      <a:pt x="259" y="311"/>
                      <a:pt x="260" y="302"/>
                    </a:cubicBezTo>
                    <a:cubicBezTo>
                      <a:pt x="261" y="293"/>
                      <a:pt x="261" y="270"/>
                      <a:pt x="268" y="267"/>
                    </a:cubicBezTo>
                    <a:cubicBezTo>
                      <a:pt x="275" y="264"/>
                      <a:pt x="288" y="258"/>
                      <a:pt x="298" y="251"/>
                    </a:cubicBezTo>
                    <a:cubicBezTo>
                      <a:pt x="308" y="244"/>
                      <a:pt x="314" y="229"/>
                      <a:pt x="314" y="229"/>
                    </a:cubicBezTo>
                    <a:cubicBezTo>
                      <a:pt x="317" y="197"/>
                      <a:pt x="317" y="197"/>
                      <a:pt x="317" y="197"/>
                    </a:cubicBezTo>
                    <a:cubicBezTo>
                      <a:pt x="317" y="197"/>
                      <a:pt x="327" y="189"/>
                      <a:pt x="327" y="178"/>
                    </a:cubicBezTo>
                    <a:cubicBezTo>
                      <a:pt x="327" y="167"/>
                      <a:pt x="318" y="160"/>
                      <a:pt x="320" y="152"/>
                    </a:cubicBezTo>
                    <a:cubicBezTo>
                      <a:pt x="322" y="144"/>
                      <a:pt x="332" y="136"/>
                      <a:pt x="331" y="125"/>
                    </a:cubicBezTo>
                    <a:cubicBezTo>
                      <a:pt x="330" y="114"/>
                      <a:pt x="323" y="87"/>
                      <a:pt x="332" y="77"/>
                    </a:cubicBezTo>
                    <a:cubicBezTo>
                      <a:pt x="341" y="67"/>
                      <a:pt x="356" y="38"/>
                      <a:pt x="356" y="30"/>
                    </a:cubicBezTo>
                    <a:cubicBezTo>
                      <a:pt x="356" y="22"/>
                      <a:pt x="356" y="11"/>
                      <a:pt x="356" y="11"/>
                    </a:cubicBezTo>
                    <a:cubicBezTo>
                      <a:pt x="347" y="4"/>
                      <a:pt x="347" y="4"/>
                      <a:pt x="347" y="4"/>
                    </a:cubicBezTo>
                    <a:cubicBezTo>
                      <a:pt x="347" y="4"/>
                      <a:pt x="343" y="10"/>
                      <a:pt x="332" y="9"/>
                    </a:cubicBezTo>
                    <a:cubicBezTo>
                      <a:pt x="321" y="8"/>
                      <a:pt x="307" y="0"/>
                      <a:pt x="301" y="0"/>
                    </a:cubicBezTo>
                    <a:cubicBezTo>
                      <a:pt x="295" y="0"/>
                      <a:pt x="282" y="11"/>
                      <a:pt x="282" y="11"/>
                    </a:cubicBezTo>
                    <a:cubicBezTo>
                      <a:pt x="262" y="10"/>
                      <a:pt x="262" y="10"/>
                      <a:pt x="262" y="10"/>
                    </a:cubicBezTo>
                    <a:cubicBezTo>
                      <a:pt x="252" y="31"/>
                      <a:pt x="252" y="31"/>
                      <a:pt x="252" y="31"/>
                    </a:cubicBezTo>
                    <a:cubicBezTo>
                      <a:pt x="252" y="31"/>
                      <a:pt x="262" y="44"/>
                      <a:pt x="260" y="51"/>
                    </a:cubicBezTo>
                    <a:cubicBezTo>
                      <a:pt x="258" y="58"/>
                      <a:pt x="242" y="77"/>
                      <a:pt x="242" y="7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8" name="MCShape 130">
                <a:extLst>
                  <a:ext uri="{FF2B5EF4-FFF2-40B4-BE49-F238E27FC236}">
                    <a16:creationId xmlns:a16="http://schemas.microsoft.com/office/drawing/2014/main" id="{1F153CAF-FFC6-46F7-81F3-BA17E4DD0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3139" y="3481533"/>
                <a:ext cx="462474" cy="623336"/>
              </a:xfrm>
              <a:custGeom>
                <a:avLst/>
                <a:gdLst>
                  <a:gd name="T0" fmla="*/ 569 w 781"/>
                  <a:gd name="T1" fmla="*/ 46 h 1054"/>
                  <a:gd name="T2" fmla="*/ 443 w 781"/>
                  <a:gd name="T3" fmla="*/ 56 h 1054"/>
                  <a:gd name="T4" fmla="*/ 143 w 781"/>
                  <a:gd name="T5" fmla="*/ 56 h 1054"/>
                  <a:gd name="T6" fmla="*/ 101 w 781"/>
                  <a:gd name="T7" fmla="*/ 398 h 1054"/>
                  <a:gd name="T8" fmla="*/ 41 w 781"/>
                  <a:gd name="T9" fmla="*/ 434 h 1054"/>
                  <a:gd name="T10" fmla="*/ 30 w 781"/>
                  <a:gd name="T11" fmla="*/ 468 h 1054"/>
                  <a:gd name="T12" fmla="*/ 15 w 781"/>
                  <a:gd name="T13" fmla="*/ 504 h 1054"/>
                  <a:gd name="T14" fmla="*/ 11 w 781"/>
                  <a:gd name="T15" fmla="*/ 565 h 1054"/>
                  <a:gd name="T16" fmla="*/ 42 w 781"/>
                  <a:gd name="T17" fmla="*/ 598 h 1054"/>
                  <a:gd name="T18" fmla="*/ 56 w 781"/>
                  <a:gd name="T19" fmla="*/ 634 h 1054"/>
                  <a:gd name="T20" fmla="*/ 93 w 781"/>
                  <a:gd name="T21" fmla="*/ 714 h 1054"/>
                  <a:gd name="T22" fmla="*/ 83 w 781"/>
                  <a:gd name="T23" fmla="*/ 771 h 1054"/>
                  <a:gd name="T24" fmla="*/ 116 w 781"/>
                  <a:gd name="T25" fmla="*/ 797 h 1054"/>
                  <a:gd name="T26" fmla="*/ 171 w 781"/>
                  <a:gd name="T27" fmla="*/ 826 h 1054"/>
                  <a:gd name="T28" fmla="*/ 208 w 781"/>
                  <a:gd name="T29" fmla="*/ 878 h 1054"/>
                  <a:gd name="T30" fmla="*/ 225 w 781"/>
                  <a:gd name="T31" fmla="*/ 904 h 1054"/>
                  <a:gd name="T32" fmla="*/ 256 w 781"/>
                  <a:gd name="T33" fmla="*/ 932 h 1054"/>
                  <a:gd name="T34" fmla="*/ 285 w 781"/>
                  <a:gd name="T35" fmla="*/ 981 h 1054"/>
                  <a:gd name="T36" fmla="*/ 333 w 781"/>
                  <a:gd name="T37" fmla="*/ 994 h 1054"/>
                  <a:gd name="T38" fmla="*/ 390 w 781"/>
                  <a:gd name="T39" fmla="*/ 1017 h 1054"/>
                  <a:gd name="T40" fmla="*/ 431 w 781"/>
                  <a:gd name="T41" fmla="*/ 1049 h 1054"/>
                  <a:gd name="T42" fmla="*/ 474 w 781"/>
                  <a:gd name="T43" fmla="*/ 1037 h 1054"/>
                  <a:gd name="T44" fmla="*/ 508 w 781"/>
                  <a:gd name="T45" fmla="*/ 1039 h 1054"/>
                  <a:gd name="T46" fmla="*/ 553 w 781"/>
                  <a:gd name="T47" fmla="*/ 1040 h 1054"/>
                  <a:gd name="T48" fmla="*/ 597 w 781"/>
                  <a:gd name="T49" fmla="*/ 995 h 1054"/>
                  <a:gd name="T50" fmla="*/ 669 w 781"/>
                  <a:gd name="T51" fmla="*/ 976 h 1054"/>
                  <a:gd name="T52" fmla="*/ 628 w 781"/>
                  <a:gd name="T53" fmla="*/ 912 h 1054"/>
                  <a:gd name="T54" fmla="*/ 610 w 781"/>
                  <a:gd name="T55" fmla="*/ 882 h 1054"/>
                  <a:gd name="T56" fmla="*/ 587 w 781"/>
                  <a:gd name="T57" fmla="*/ 846 h 1054"/>
                  <a:gd name="T58" fmla="*/ 542 w 781"/>
                  <a:gd name="T59" fmla="*/ 802 h 1054"/>
                  <a:gd name="T60" fmla="*/ 568 w 781"/>
                  <a:gd name="T61" fmla="*/ 792 h 1054"/>
                  <a:gd name="T62" fmla="*/ 580 w 781"/>
                  <a:gd name="T63" fmla="*/ 719 h 1054"/>
                  <a:gd name="T64" fmla="*/ 603 w 781"/>
                  <a:gd name="T65" fmla="*/ 656 h 1054"/>
                  <a:gd name="T66" fmla="*/ 621 w 781"/>
                  <a:gd name="T67" fmla="*/ 631 h 1054"/>
                  <a:gd name="T68" fmla="*/ 642 w 781"/>
                  <a:gd name="T69" fmla="*/ 596 h 1054"/>
                  <a:gd name="T70" fmla="*/ 677 w 781"/>
                  <a:gd name="T71" fmla="*/ 555 h 1054"/>
                  <a:gd name="T72" fmla="*/ 691 w 781"/>
                  <a:gd name="T73" fmla="*/ 471 h 1054"/>
                  <a:gd name="T74" fmla="*/ 696 w 781"/>
                  <a:gd name="T75" fmla="*/ 414 h 1054"/>
                  <a:gd name="T76" fmla="*/ 703 w 781"/>
                  <a:gd name="T77" fmla="*/ 346 h 1054"/>
                  <a:gd name="T78" fmla="*/ 733 w 781"/>
                  <a:gd name="T79" fmla="*/ 321 h 1054"/>
                  <a:gd name="T80" fmla="*/ 781 w 781"/>
                  <a:gd name="T81" fmla="*/ 271 h 1054"/>
                  <a:gd name="T82" fmla="*/ 722 w 781"/>
                  <a:gd name="T83" fmla="*/ 228 h 1054"/>
                  <a:gd name="T84" fmla="*/ 708 w 781"/>
                  <a:gd name="T85" fmla="*/ 127 h 1054"/>
                  <a:gd name="T86" fmla="*/ 696 w 781"/>
                  <a:gd name="T87" fmla="*/ 84 h 1054"/>
                  <a:gd name="T88" fmla="*/ 661 w 781"/>
                  <a:gd name="T89" fmla="*/ 23 h 1054"/>
                  <a:gd name="T90" fmla="*/ 618 w 781"/>
                  <a:gd name="T91" fmla="*/ 15 h 105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81"/>
                  <a:gd name="T139" fmla="*/ 0 h 1054"/>
                  <a:gd name="T140" fmla="*/ 781 w 781"/>
                  <a:gd name="T141" fmla="*/ 1054 h 105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81" h="1054">
                    <a:moveTo>
                      <a:pt x="601" y="16"/>
                    </a:moveTo>
                    <a:cubicBezTo>
                      <a:pt x="601" y="16"/>
                      <a:pt x="601" y="39"/>
                      <a:pt x="591" y="43"/>
                    </a:cubicBezTo>
                    <a:cubicBezTo>
                      <a:pt x="581" y="47"/>
                      <a:pt x="579" y="43"/>
                      <a:pt x="569" y="46"/>
                    </a:cubicBezTo>
                    <a:cubicBezTo>
                      <a:pt x="559" y="49"/>
                      <a:pt x="560" y="70"/>
                      <a:pt x="547" y="77"/>
                    </a:cubicBezTo>
                    <a:cubicBezTo>
                      <a:pt x="534" y="84"/>
                      <a:pt x="522" y="59"/>
                      <a:pt x="522" y="59"/>
                    </a:cubicBezTo>
                    <a:cubicBezTo>
                      <a:pt x="443" y="56"/>
                      <a:pt x="443" y="56"/>
                      <a:pt x="443" y="56"/>
                    </a:cubicBezTo>
                    <a:cubicBezTo>
                      <a:pt x="443" y="56"/>
                      <a:pt x="445" y="46"/>
                      <a:pt x="438" y="48"/>
                    </a:cubicBezTo>
                    <a:cubicBezTo>
                      <a:pt x="431" y="50"/>
                      <a:pt x="429" y="60"/>
                      <a:pt x="429" y="60"/>
                    </a:cubicBezTo>
                    <a:cubicBezTo>
                      <a:pt x="143" y="56"/>
                      <a:pt x="143" y="56"/>
                      <a:pt x="143" y="56"/>
                    </a:cubicBezTo>
                    <a:cubicBezTo>
                      <a:pt x="144" y="164"/>
                      <a:pt x="144" y="164"/>
                      <a:pt x="144" y="164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101" y="398"/>
                      <a:pt x="101" y="398"/>
                      <a:pt x="101" y="398"/>
                    </a:cubicBezTo>
                    <a:cubicBezTo>
                      <a:pt x="101" y="398"/>
                      <a:pt x="69" y="393"/>
                      <a:pt x="56" y="397"/>
                    </a:cubicBezTo>
                    <a:cubicBezTo>
                      <a:pt x="43" y="401"/>
                      <a:pt x="52" y="412"/>
                      <a:pt x="54" y="420"/>
                    </a:cubicBezTo>
                    <a:cubicBezTo>
                      <a:pt x="56" y="428"/>
                      <a:pt x="47" y="428"/>
                      <a:pt x="41" y="434"/>
                    </a:cubicBezTo>
                    <a:cubicBezTo>
                      <a:pt x="35" y="440"/>
                      <a:pt x="37" y="452"/>
                      <a:pt x="37" y="452"/>
                    </a:cubicBezTo>
                    <a:cubicBezTo>
                      <a:pt x="27" y="452"/>
                      <a:pt x="27" y="452"/>
                      <a:pt x="27" y="452"/>
                    </a:cubicBezTo>
                    <a:cubicBezTo>
                      <a:pt x="30" y="468"/>
                      <a:pt x="30" y="468"/>
                      <a:pt x="30" y="468"/>
                    </a:cubicBezTo>
                    <a:cubicBezTo>
                      <a:pt x="35" y="479"/>
                      <a:pt x="35" y="479"/>
                      <a:pt x="35" y="479"/>
                    </a:cubicBezTo>
                    <a:cubicBezTo>
                      <a:pt x="24" y="486"/>
                      <a:pt x="24" y="486"/>
                      <a:pt x="24" y="486"/>
                    </a:cubicBezTo>
                    <a:cubicBezTo>
                      <a:pt x="24" y="486"/>
                      <a:pt x="9" y="494"/>
                      <a:pt x="15" y="504"/>
                    </a:cubicBezTo>
                    <a:cubicBezTo>
                      <a:pt x="21" y="514"/>
                      <a:pt x="24" y="518"/>
                      <a:pt x="22" y="527"/>
                    </a:cubicBezTo>
                    <a:cubicBezTo>
                      <a:pt x="20" y="536"/>
                      <a:pt x="6" y="536"/>
                      <a:pt x="3" y="547"/>
                    </a:cubicBezTo>
                    <a:cubicBezTo>
                      <a:pt x="0" y="558"/>
                      <a:pt x="6" y="563"/>
                      <a:pt x="11" y="565"/>
                    </a:cubicBezTo>
                    <a:cubicBezTo>
                      <a:pt x="16" y="567"/>
                      <a:pt x="21" y="557"/>
                      <a:pt x="28" y="560"/>
                    </a:cubicBezTo>
                    <a:cubicBezTo>
                      <a:pt x="35" y="563"/>
                      <a:pt x="33" y="590"/>
                      <a:pt x="33" y="590"/>
                    </a:cubicBezTo>
                    <a:cubicBezTo>
                      <a:pt x="42" y="598"/>
                      <a:pt x="42" y="598"/>
                      <a:pt x="42" y="598"/>
                    </a:cubicBezTo>
                    <a:cubicBezTo>
                      <a:pt x="31" y="603"/>
                      <a:pt x="31" y="603"/>
                      <a:pt x="31" y="603"/>
                    </a:cubicBezTo>
                    <a:cubicBezTo>
                      <a:pt x="35" y="620"/>
                      <a:pt x="35" y="620"/>
                      <a:pt x="35" y="620"/>
                    </a:cubicBezTo>
                    <a:cubicBezTo>
                      <a:pt x="35" y="620"/>
                      <a:pt x="44" y="621"/>
                      <a:pt x="56" y="634"/>
                    </a:cubicBezTo>
                    <a:cubicBezTo>
                      <a:pt x="68" y="647"/>
                      <a:pt x="50" y="643"/>
                      <a:pt x="50" y="643"/>
                    </a:cubicBezTo>
                    <a:cubicBezTo>
                      <a:pt x="52" y="659"/>
                      <a:pt x="52" y="659"/>
                      <a:pt x="52" y="659"/>
                    </a:cubicBezTo>
                    <a:cubicBezTo>
                      <a:pt x="52" y="659"/>
                      <a:pt x="89" y="692"/>
                      <a:pt x="93" y="714"/>
                    </a:cubicBezTo>
                    <a:cubicBezTo>
                      <a:pt x="97" y="736"/>
                      <a:pt x="82" y="743"/>
                      <a:pt x="81" y="753"/>
                    </a:cubicBezTo>
                    <a:cubicBezTo>
                      <a:pt x="80" y="763"/>
                      <a:pt x="89" y="760"/>
                      <a:pt x="89" y="760"/>
                    </a:cubicBezTo>
                    <a:cubicBezTo>
                      <a:pt x="83" y="771"/>
                      <a:pt x="83" y="771"/>
                      <a:pt x="83" y="771"/>
                    </a:cubicBezTo>
                    <a:cubicBezTo>
                      <a:pt x="117" y="774"/>
                      <a:pt x="117" y="774"/>
                      <a:pt x="117" y="774"/>
                    </a:cubicBezTo>
                    <a:cubicBezTo>
                      <a:pt x="117" y="781"/>
                      <a:pt x="117" y="781"/>
                      <a:pt x="117" y="781"/>
                    </a:cubicBezTo>
                    <a:cubicBezTo>
                      <a:pt x="117" y="781"/>
                      <a:pt x="110" y="789"/>
                      <a:pt x="116" y="797"/>
                    </a:cubicBezTo>
                    <a:cubicBezTo>
                      <a:pt x="122" y="805"/>
                      <a:pt x="152" y="803"/>
                      <a:pt x="152" y="803"/>
                    </a:cubicBezTo>
                    <a:cubicBezTo>
                      <a:pt x="152" y="816"/>
                      <a:pt x="152" y="816"/>
                      <a:pt x="152" y="816"/>
                    </a:cubicBezTo>
                    <a:cubicBezTo>
                      <a:pt x="152" y="816"/>
                      <a:pt x="168" y="815"/>
                      <a:pt x="171" y="826"/>
                    </a:cubicBezTo>
                    <a:cubicBezTo>
                      <a:pt x="174" y="837"/>
                      <a:pt x="159" y="831"/>
                      <a:pt x="165" y="841"/>
                    </a:cubicBezTo>
                    <a:cubicBezTo>
                      <a:pt x="171" y="851"/>
                      <a:pt x="185" y="853"/>
                      <a:pt x="192" y="854"/>
                    </a:cubicBezTo>
                    <a:cubicBezTo>
                      <a:pt x="199" y="855"/>
                      <a:pt x="208" y="878"/>
                      <a:pt x="208" y="878"/>
                    </a:cubicBezTo>
                    <a:cubicBezTo>
                      <a:pt x="208" y="878"/>
                      <a:pt x="223" y="879"/>
                      <a:pt x="223" y="887"/>
                    </a:cubicBezTo>
                    <a:cubicBezTo>
                      <a:pt x="223" y="895"/>
                      <a:pt x="216" y="889"/>
                      <a:pt x="217" y="895"/>
                    </a:cubicBezTo>
                    <a:cubicBezTo>
                      <a:pt x="218" y="901"/>
                      <a:pt x="225" y="904"/>
                      <a:pt x="225" y="904"/>
                    </a:cubicBezTo>
                    <a:cubicBezTo>
                      <a:pt x="224" y="917"/>
                      <a:pt x="224" y="917"/>
                      <a:pt x="224" y="917"/>
                    </a:cubicBezTo>
                    <a:cubicBezTo>
                      <a:pt x="239" y="918"/>
                      <a:pt x="239" y="918"/>
                      <a:pt x="239" y="918"/>
                    </a:cubicBezTo>
                    <a:cubicBezTo>
                      <a:pt x="239" y="918"/>
                      <a:pt x="248" y="924"/>
                      <a:pt x="256" y="932"/>
                    </a:cubicBezTo>
                    <a:cubicBezTo>
                      <a:pt x="264" y="940"/>
                      <a:pt x="260" y="954"/>
                      <a:pt x="260" y="954"/>
                    </a:cubicBezTo>
                    <a:cubicBezTo>
                      <a:pt x="264" y="962"/>
                      <a:pt x="264" y="962"/>
                      <a:pt x="264" y="962"/>
                    </a:cubicBezTo>
                    <a:cubicBezTo>
                      <a:pt x="285" y="981"/>
                      <a:pt x="285" y="981"/>
                      <a:pt x="285" y="981"/>
                    </a:cubicBezTo>
                    <a:cubicBezTo>
                      <a:pt x="285" y="995"/>
                      <a:pt x="285" y="995"/>
                      <a:pt x="285" y="995"/>
                    </a:cubicBezTo>
                    <a:cubicBezTo>
                      <a:pt x="316" y="1010"/>
                      <a:pt x="316" y="1010"/>
                      <a:pt x="316" y="1010"/>
                    </a:cubicBezTo>
                    <a:cubicBezTo>
                      <a:pt x="316" y="1010"/>
                      <a:pt x="324" y="994"/>
                      <a:pt x="333" y="994"/>
                    </a:cubicBezTo>
                    <a:cubicBezTo>
                      <a:pt x="342" y="994"/>
                      <a:pt x="343" y="1006"/>
                      <a:pt x="354" y="1006"/>
                    </a:cubicBezTo>
                    <a:cubicBezTo>
                      <a:pt x="365" y="1006"/>
                      <a:pt x="364" y="988"/>
                      <a:pt x="371" y="988"/>
                    </a:cubicBezTo>
                    <a:cubicBezTo>
                      <a:pt x="378" y="988"/>
                      <a:pt x="382" y="1005"/>
                      <a:pt x="390" y="1017"/>
                    </a:cubicBezTo>
                    <a:cubicBezTo>
                      <a:pt x="398" y="1029"/>
                      <a:pt x="417" y="1033"/>
                      <a:pt x="417" y="1033"/>
                    </a:cubicBezTo>
                    <a:cubicBezTo>
                      <a:pt x="420" y="1047"/>
                      <a:pt x="420" y="1047"/>
                      <a:pt x="420" y="1047"/>
                    </a:cubicBezTo>
                    <a:cubicBezTo>
                      <a:pt x="431" y="1049"/>
                      <a:pt x="431" y="1049"/>
                      <a:pt x="431" y="1049"/>
                    </a:cubicBezTo>
                    <a:cubicBezTo>
                      <a:pt x="431" y="1049"/>
                      <a:pt x="442" y="1036"/>
                      <a:pt x="447" y="1036"/>
                    </a:cubicBezTo>
                    <a:cubicBezTo>
                      <a:pt x="452" y="1036"/>
                      <a:pt x="461" y="1043"/>
                      <a:pt x="467" y="1044"/>
                    </a:cubicBezTo>
                    <a:cubicBezTo>
                      <a:pt x="473" y="1045"/>
                      <a:pt x="474" y="1037"/>
                      <a:pt x="474" y="1037"/>
                    </a:cubicBezTo>
                    <a:cubicBezTo>
                      <a:pt x="481" y="1036"/>
                      <a:pt x="481" y="1036"/>
                      <a:pt x="481" y="1036"/>
                    </a:cubicBezTo>
                    <a:cubicBezTo>
                      <a:pt x="495" y="1054"/>
                      <a:pt x="495" y="1054"/>
                      <a:pt x="495" y="1054"/>
                    </a:cubicBezTo>
                    <a:cubicBezTo>
                      <a:pt x="508" y="1039"/>
                      <a:pt x="508" y="1039"/>
                      <a:pt x="508" y="1039"/>
                    </a:cubicBezTo>
                    <a:cubicBezTo>
                      <a:pt x="524" y="1040"/>
                      <a:pt x="524" y="1040"/>
                      <a:pt x="524" y="1040"/>
                    </a:cubicBezTo>
                    <a:cubicBezTo>
                      <a:pt x="524" y="1040"/>
                      <a:pt x="531" y="1032"/>
                      <a:pt x="536" y="1032"/>
                    </a:cubicBezTo>
                    <a:cubicBezTo>
                      <a:pt x="541" y="1032"/>
                      <a:pt x="540" y="1038"/>
                      <a:pt x="553" y="1040"/>
                    </a:cubicBezTo>
                    <a:cubicBezTo>
                      <a:pt x="566" y="1042"/>
                      <a:pt x="575" y="1015"/>
                      <a:pt x="575" y="1015"/>
                    </a:cubicBezTo>
                    <a:cubicBezTo>
                      <a:pt x="583" y="1015"/>
                      <a:pt x="583" y="1015"/>
                      <a:pt x="583" y="1015"/>
                    </a:cubicBezTo>
                    <a:cubicBezTo>
                      <a:pt x="597" y="995"/>
                      <a:pt x="597" y="995"/>
                      <a:pt x="597" y="995"/>
                    </a:cubicBezTo>
                    <a:cubicBezTo>
                      <a:pt x="657" y="994"/>
                      <a:pt x="657" y="994"/>
                      <a:pt x="657" y="994"/>
                    </a:cubicBezTo>
                    <a:cubicBezTo>
                      <a:pt x="670" y="986"/>
                      <a:pt x="670" y="986"/>
                      <a:pt x="670" y="986"/>
                    </a:cubicBezTo>
                    <a:cubicBezTo>
                      <a:pt x="669" y="976"/>
                      <a:pt x="669" y="976"/>
                      <a:pt x="669" y="976"/>
                    </a:cubicBezTo>
                    <a:cubicBezTo>
                      <a:pt x="669" y="976"/>
                      <a:pt x="670" y="962"/>
                      <a:pt x="665" y="954"/>
                    </a:cubicBezTo>
                    <a:cubicBezTo>
                      <a:pt x="660" y="946"/>
                      <a:pt x="650" y="955"/>
                      <a:pt x="640" y="947"/>
                    </a:cubicBezTo>
                    <a:cubicBezTo>
                      <a:pt x="630" y="939"/>
                      <a:pt x="628" y="912"/>
                      <a:pt x="628" y="912"/>
                    </a:cubicBezTo>
                    <a:cubicBezTo>
                      <a:pt x="621" y="908"/>
                      <a:pt x="621" y="908"/>
                      <a:pt x="621" y="908"/>
                    </a:cubicBezTo>
                    <a:cubicBezTo>
                      <a:pt x="619" y="883"/>
                      <a:pt x="619" y="883"/>
                      <a:pt x="619" y="883"/>
                    </a:cubicBezTo>
                    <a:cubicBezTo>
                      <a:pt x="610" y="882"/>
                      <a:pt x="610" y="882"/>
                      <a:pt x="610" y="882"/>
                    </a:cubicBezTo>
                    <a:cubicBezTo>
                      <a:pt x="607" y="869"/>
                      <a:pt x="607" y="869"/>
                      <a:pt x="607" y="869"/>
                    </a:cubicBezTo>
                    <a:cubicBezTo>
                      <a:pt x="607" y="869"/>
                      <a:pt x="596" y="871"/>
                      <a:pt x="592" y="866"/>
                    </a:cubicBezTo>
                    <a:cubicBezTo>
                      <a:pt x="588" y="861"/>
                      <a:pt x="587" y="846"/>
                      <a:pt x="587" y="846"/>
                    </a:cubicBezTo>
                    <a:cubicBezTo>
                      <a:pt x="587" y="846"/>
                      <a:pt x="570" y="831"/>
                      <a:pt x="562" y="827"/>
                    </a:cubicBezTo>
                    <a:cubicBezTo>
                      <a:pt x="554" y="823"/>
                      <a:pt x="538" y="829"/>
                      <a:pt x="535" y="824"/>
                    </a:cubicBezTo>
                    <a:cubicBezTo>
                      <a:pt x="532" y="819"/>
                      <a:pt x="542" y="802"/>
                      <a:pt x="542" y="802"/>
                    </a:cubicBezTo>
                    <a:cubicBezTo>
                      <a:pt x="540" y="786"/>
                      <a:pt x="540" y="786"/>
                      <a:pt x="540" y="786"/>
                    </a:cubicBezTo>
                    <a:cubicBezTo>
                      <a:pt x="563" y="787"/>
                      <a:pt x="563" y="787"/>
                      <a:pt x="563" y="787"/>
                    </a:cubicBezTo>
                    <a:cubicBezTo>
                      <a:pt x="568" y="792"/>
                      <a:pt x="568" y="792"/>
                      <a:pt x="568" y="792"/>
                    </a:cubicBezTo>
                    <a:cubicBezTo>
                      <a:pt x="568" y="792"/>
                      <a:pt x="575" y="787"/>
                      <a:pt x="582" y="782"/>
                    </a:cubicBezTo>
                    <a:cubicBezTo>
                      <a:pt x="589" y="777"/>
                      <a:pt x="586" y="746"/>
                      <a:pt x="586" y="746"/>
                    </a:cubicBezTo>
                    <a:cubicBezTo>
                      <a:pt x="586" y="746"/>
                      <a:pt x="579" y="727"/>
                      <a:pt x="580" y="719"/>
                    </a:cubicBezTo>
                    <a:cubicBezTo>
                      <a:pt x="581" y="711"/>
                      <a:pt x="596" y="700"/>
                      <a:pt x="597" y="697"/>
                    </a:cubicBezTo>
                    <a:cubicBezTo>
                      <a:pt x="598" y="694"/>
                      <a:pt x="592" y="683"/>
                      <a:pt x="592" y="676"/>
                    </a:cubicBezTo>
                    <a:cubicBezTo>
                      <a:pt x="592" y="669"/>
                      <a:pt x="598" y="656"/>
                      <a:pt x="603" y="656"/>
                    </a:cubicBezTo>
                    <a:cubicBezTo>
                      <a:pt x="608" y="656"/>
                      <a:pt x="610" y="667"/>
                      <a:pt x="610" y="667"/>
                    </a:cubicBezTo>
                    <a:cubicBezTo>
                      <a:pt x="610" y="667"/>
                      <a:pt x="616" y="670"/>
                      <a:pt x="622" y="662"/>
                    </a:cubicBezTo>
                    <a:cubicBezTo>
                      <a:pt x="628" y="654"/>
                      <a:pt x="621" y="631"/>
                      <a:pt x="621" y="631"/>
                    </a:cubicBezTo>
                    <a:cubicBezTo>
                      <a:pt x="628" y="620"/>
                      <a:pt x="628" y="620"/>
                      <a:pt x="628" y="620"/>
                    </a:cubicBezTo>
                    <a:cubicBezTo>
                      <a:pt x="626" y="605"/>
                      <a:pt x="626" y="605"/>
                      <a:pt x="626" y="605"/>
                    </a:cubicBezTo>
                    <a:cubicBezTo>
                      <a:pt x="626" y="605"/>
                      <a:pt x="637" y="601"/>
                      <a:pt x="642" y="596"/>
                    </a:cubicBezTo>
                    <a:cubicBezTo>
                      <a:pt x="647" y="591"/>
                      <a:pt x="642" y="581"/>
                      <a:pt x="643" y="576"/>
                    </a:cubicBezTo>
                    <a:cubicBezTo>
                      <a:pt x="644" y="571"/>
                      <a:pt x="655" y="557"/>
                      <a:pt x="655" y="557"/>
                    </a:cubicBezTo>
                    <a:cubicBezTo>
                      <a:pt x="677" y="555"/>
                      <a:pt x="677" y="555"/>
                      <a:pt x="677" y="555"/>
                    </a:cubicBezTo>
                    <a:cubicBezTo>
                      <a:pt x="677" y="555"/>
                      <a:pt x="675" y="537"/>
                      <a:pt x="675" y="529"/>
                    </a:cubicBezTo>
                    <a:cubicBezTo>
                      <a:pt x="675" y="521"/>
                      <a:pt x="691" y="501"/>
                      <a:pt x="691" y="501"/>
                    </a:cubicBezTo>
                    <a:cubicBezTo>
                      <a:pt x="691" y="471"/>
                      <a:pt x="691" y="471"/>
                      <a:pt x="691" y="471"/>
                    </a:cubicBezTo>
                    <a:cubicBezTo>
                      <a:pt x="689" y="438"/>
                      <a:pt x="689" y="438"/>
                      <a:pt x="689" y="438"/>
                    </a:cubicBezTo>
                    <a:cubicBezTo>
                      <a:pt x="689" y="438"/>
                      <a:pt x="683" y="436"/>
                      <a:pt x="684" y="428"/>
                    </a:cubicBezTo>
                    <a:cubicBezTo>
                      <a:pt x="685" y="420"/>
                      <a:pt x="696" y="421"/>
                      <a:pt x="696" y="414"/>
                    </a:cubicBezTo>
                    <a:cubicBezTo>
                      <a:pt x="696" y="407"/>
                      <a:pt x="697" y="397"/>
                      <a:pt x="697" y="397"/>
                    </a:cubicBezTo>
                    <a:cubicBezTo>
                      <a:pt x="697" y="397"/>
                      <a:pt x="709" y="395"/>
                      <a:pt x="709" y="377"/>
                    </a:cubicBezTo>
                    <a:cubicBezTo>
                      <a:pt x="709" y="359"/>
                      <a:pt x="703" y="349"/>
                      <a:pt x="703" y="346"/>
                    </a:cubicBezTo>
                    <a:cubicBezTo>
                      <a:pt x="703" y="343"/>
                      <a:pt x="714" y="338"/>
                      <a:pt x="714" y="338"/>
                    </a:cubicBezTo>
                    <a:cubicBezTo>
                      <a:pt x="714" y="328"/>
                      <a:pt x="714" y="328"/>
                      <a:pt x="714" y="328"/>
                    </a:cubicBezTo>
                    <a:cubicBezTo>
                      <a:pt x="714" y="328"/>
                      <a:pt x="732" y="328"/>
                      <a:pt x="733" y="321"/>
                    </a:cubicBezTo>
                    <a:cubicBezTo>
                      <a:pt x="734" y="314"/>
                      <a:pt x="734" y="306"/>
                      <a:pt x="734" y="306"/>
                    </a:cubicBezTo>
                    <a:cubicBezTo>
                      <a:pt x="734" y="306"/>
                      <a:pt x="761" y="304"/>
                      <a:pt x="770" y="296"/>
                    </a:cubicBezTo>
                    <a:cubicBezTo>
                      <a:pt x="775" y="292"/>
                      <a:pt x="779" y="280"/>
                      <a:pt x="781" y="271"/>
                    </a:cubicBezTo>
                    <a:cubicBezTo>
                      <a:pt x="756" y="256"/>
                      <a:pt x="756" y="256"/>
                      <a:pt x="756" y="256"/>
                    </a:cubicBezTo>
                    <a:cubicBezTo>
                      <a:pt x="756" y="256"/>
                      <a:pt x="753" y="240"/>
                      <a:pt x="747" y="236"/>
                    </a:cubicBezTo>
                    <a:cubicBezTo>
                      <a:pt x="741" y="232"/>
                      <a:pt x="726" y="242"/>
                      <a:pt x="722" y="228"/>
                    </a:cubicBezTo>
                    <a:cubicBezTo>
                      <a:pt x="718" y="214"/>
                      <a:pt x="717" y="176"/>
                      <a:pt x="717" y="176"/>
                    </a:cubicBezTo>
                    <a:cubicBezTo>
                      <a:pt x="710" y="174"/>
                      <a:pt x="710" y="174"/>
                      <a:pt x="710" y="174"/>
                    </a:cubicBezTo>
                    <a:cubicBezTo>
                      <a:pt x="710" y="174"/>
                      <a:pt x="708" y="132"/>
                      <a:pt x="708" y="127"/>
                    </a:cubicBezTo>
                    <a:cubicBezTo>
                      <a:pt x="708" y="122"/>
                      <a:pt x="703" y="111"/>
                      <a:pt x="703" y="111"/>
                    </a:cubicBezTo>
                    <a:cubicBezTo>
                      <a:pt x="715" y="108"/>
                      <a:pt x="715" y="108"/>
                      <a:pt x="715" y="108"/>
                    </a:cubicBezTo>
                    <a:cubicBezTo>
                      <a:pt x="715" y="108"/>
                      <a:pt x="697" y="93"/>
                      <a:pt x="696" y="84"/>
                    </a:cubicBezTo>
                    <a:cubicBezTo>
                      <a:pt x="695" y="75"/>
                      <a:pt x="701" y="59"/>
                      <a:pt x="693" y="53"/>
                    </a:cubicBezTo>
                    <a:cubicBezTo>
                      <a:pt x="685" y="47"/>
                      <a:pt x="674" y="39"/>
                      <a:pt x="674" y="39"/>
                    </a:cubicBezTo>
                    <a:cubicBezTo>
                      <a:pt x="674" y="39"/>
                      <a:pt x="665" y="27"/>
                      <a:pt x="661" y="23"/>
                    </a:cubicBezTo>
                    <a:cubicBezTo>
                      <a:pt x="657" y="19"/>
                      <a:pt x="656" y="26"/>
                      <a:pt x="650" y="22"/>
                    </a:cubicBezTo>
                    <a:cubicBezTo>
                      <a:pt x="646" y="19"/>
                      <a:pt x="639" y="10"/>
                      <a:pt x="634" y="0"/>
                    </a:cubicBezTo>
                    <a:cubicBezTo>
                      <a:pt x="618" y="15"/>
                      <a:pt x="618" y="15"/>
                      <a:pt x="618" y="15"/>
                    </a:cubicBezTo>
                    <a:lnTo>
                      <a:pt x="601" y="16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39" name="MCShape 131">
                <a:extLst>
                  <a:ext uri="{FF2B5EF4-FFF2-40B4-BE49-F238E27FC236}">
                    <a16:creationId xmlns:a16="http://schemas.microsoft.com/office/drawing/2014/main" id="{B28616D6-66FD-44C1-AA72-5AFCF4C00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49710" y="2357054"/>
                <a:ext cx="117552" cy="468662"/>
              </a:xfrm>
              <a:custGeom>
                <a:avLst/>
                <a:gdLst>
                  <a:gd name="T0" fmla="*/ 0 w 199"/>
                  <a:gd name="T1" fmla="*/ 794 h 794"/>
                  <a:gd name="T2" fmla="*/ 9 w 199"/>
                  <a:gd name="T3" fmla="*/ 791 h 794"/>
                  <a:gd name="T4" fmla="*/ 25 w 199"/>
                  <a:gd name="T5" fmla="*/ 764 h 794"/>
                  <a:gd name="T6" fmla="*/ 12 w 199"/>
                  <a:gd name="T7" fmla="*/ 755 h 794"/>
                  <a:gd name="T8" fmla="*/ 0 w 199"/>
                  <a:gd name="T9" fmla="*/ 794 h 794"/>
                  <a:gd name="T10" fmla="*/ 76 w 199"/>
                  <a:gd name="T11" fmla="*/ 712 h 794"/>
                  <a:gd name="T12" fmla="*/ 49 w 199"/>
                  <a:gd name="T13" fmla="*/ 708 h 794"/>
                  <a:gd name="T14" fmla="*/ 36 w 199"/>
                  <a:gd name="T15" fmla="*/ 755 h 794"/>
                  <a:gd name="T16" fmla="*/ 43 w 199"/>
                  <a:gd name="T17" fmla="*/ 757 h 794"/>
                  <a:gd name="T18" fmla="*/ 55 w 199"/>
                  <a:gd name="T19" fmla="*/ 733 h 794"/>
                  <a:gd name="T20" fmla="*/ 88 w 199"/>
                  <a:gd name="T21" fmla="*/ 715 h 794"/>
                  <a:gd name="T22" fmla="*/ 79 w 199"/>
                  <a:gd name="T23" fmla="*/ 699 h 794"/>
                  <a:gd name="T24" fmla="*/ 76 w 199"/>
                  <a:gd name="T25" fmla="*/ 712 h 794"/>
                  <a:gd name="T26" fmla="*/ 128 w 199"/>
                  <a:gd name="T27" fmla="*/ 672 h 794"/>
                  <a:gd name="T28" fmla="*/ 117 w 199"/>
                  <a:gd name="T29" fmla="*/ 697 h 794"/>
                  <a:gd name="T30" fmla="*/ 128 w 199"/>
                  <a:gd name="T31" fmla="*/ 672 h 794"/>
                  <a:gd name="T32" fmla="*/ 189 w 199"/>
                  <a:gd name="T33" fmla="*/ 423 h 794"/>
                  <a:gd name="T34" fmla="*/ 177 w 199"/>
                  <a:gd name="T35" fmla="*/ 434 h 794"/>
                  <a:gd name="T36" fmla="*/ 185 w 199"/>
                  <a:gd name="T37" fmla="*/ 449 h 794"/>
                  <a:gd name="T38" fmla="*/ 173 w 199"/>
                  <a:gd name="T39" fmla="*/ 449 h 794"/>
                  <a:gd name="T40" fmla="*/ 173 w 199"/>
                  <a:gd name="T41" fmla="*/ 469 h 794"/>
                  <a:gd name="T42" fmla="*/ 189 w 199"/>
                  <a:gd name="T43" fmla="*/ 467 h 794"/>
                  <a:gd name="T44" fmla="*/ 198 w 199"/>
                  <a:gd name="T45" fmla="*/ 456 h 794"/>
                  <a:gd name="T46" fmla="*/ 189 w 199"/>
                  <a:gd name="T47" fmla="*/ 437 h 794"/>
                  <a:gd name="T48" fmla="*/ 199 w 199"/>
                  <a:gd name="T49" fmla="*/ 435 h 794"/>
                  <a:gd name="T50" fmla="*/ 189 w 199"/>
                  <a:gd name="T51" fmla="*/ 423 h 794"/>
                  <a:gd name="T52" fmla="*/ 184 w 199"/>
                  <a:gd name="T53" fmla="*/ 513 h 794"/>
                  <a:gd name="T54" fmla="*/ 195 w 199"/>
                  <a:gd name="T55" fmla="*/ 499 h 794"/>
                  <a:gd name="T56" fmla="*/ 178 w 199"/>
                  <a:gd name="T57" fmla="*/ 485 h 794"/>
                  <a:gd name="T58" fmla="*/ 184 w 199"/>
                  <a:gd name="T59" fmla="*/ 513 h 794"/>
                  <a:gd name="T60" fmla="*/ 170 w 199"/>
                  <a:gd name="T61" fmla="*/ 636 h 794"/>
                  <a:gd name="T62" fmla="*/ 171 w 199"/>
                  <a:gd name="T63" fmla="*/ 615 h 794"/>
                  <a:gd name="T64" fmla="*/ 162 w 199"/>
                  <a:gd name="T65" fmla="*/ 632 h 794"/>
                  <a:gd name="T66" fmla="*/ 170 w 199"/>
                  <a:gd name="T67" fmla="*/ 636 h 794"/>
                  <a:gd name="T68" fmla="*/ 169 w 199"/>
                  <a:gd name="T69" fmla="*/ 573 h 794"/>
                  <a:gd name="T70" fmla="*/ 181 w 199"/>
                  <a:gd name="T71" fmla="*/ 571 h 794"/>
                  <a:gd name="T72" fmla="*/ 169 w 199"/>
                  <a:gd name="T73" fmla="*/ 559 h 794"/>
                  <a:gd name="T74" fmla="*/ 169 w 199"/>
                  <a:gd name="T75" fmla="*/ 573 h 794"/>
                  <a:gd name="T76" fmla="*/ 82 w 199"/>
                  <a:gd name="T77" fmla="*/ 14 h 794"/>
                  <a:gd name="T78" fmla="*/ 94 w 199"/>
                  <a:gd name="T79" fmla="*/ 38 h 794"/>
                  <a:gd name="T80" fmla="*/ 114 w 199"/>
                  <a:gd name="T81" fmla="*/ 14 h 794"/>
                  <a:gd name="T82" fmla="*/ 106 w 199"/>
                  <a:gd name="T83" fmla="*/ 0 h 794"/>
                  <a:gd name="T84" fmla="*/ 82 w 199"/>
                  <a:gd name="T85" fmla="*/ 14 h 79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99"/>
                  <a:gd name="T130" fmla="*/ 0 h 794"/>
                  <a:gd name="T131" fmla="*/ 199 w 199"/>
                  <a:gd name="T132" fmla="*/ 794 h 79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99" h="794">
                    <a:moveTo>
                      <a:pt x="0" y="794"/>
                    </a:moveTo>
                    <a:cubicBezTo>
                      <a:pt x="9" y="791"/>
                      <a:pt x="9" y="791"/>
                      <a:pt x="9" y="791"/>
                    </a:cubicBezTo>
                    <a:cubicBezTo>
                      <a:pt x="25" y="764"/>
                      <a:pt x="25" y="764"/>
                      <a:pt x="25" y="764"/>
                    </a:cubicBezTo>
                    <a:cubicBezTo>
                      <a:pt x="12" y="755"/>
                      <a:pt x="12" y="755"/>
                      <a:pt x="12" y="755"/>
                    </a:cubicBezTo>
                    <a:lnTo>
                      <a:pt x="0" y="794"/>
                    </a:lnTo>
                    <a:close/>
                    <a:moveTo>
                      <a:pt x="76" y="712"/>
                    </a:moveTo>
                    <a:cubicBezTo>
                      <a:pt x="49" y="708"/>
                      <a:pt x="49" y="708"/>
                      <a:pt x="49" y="708"/>
                    </a:cubicBezTo>
                    <a:cubicBezTo>
                      <a:pt x="36" y="755"/>
                      <a:pt x="36" y="755"/>
                      <a:pt x="36" y="755"/>
                    </a:cubicBezTo>
                    <a:cubicBezTo>
                      <a:pt x="43" y="757"/>
                      <a:pt x="43" y="757"/>
                      <a:pt x="43" y="757"/>
                    </a:cubicBezTo>
                    <a:cubicBezTo>
                      <a:pt x="55" y="733"/>
                      <a:pt x="55" y="733"/>
                      <a:pt x="55" y="733"/>
                    </a:cubicBezTo>
                    <a:cubicBezTo>
                      <a:pt x="88" y="715"/>
                      <a:pt x="88" y="715"/>
                      <a:pt x="88" y="715"/>
                    </a:cubicBezTo>
                    <a:cubicBezTo>
                      <a:pt x="79" y="699"/>
                      <a:pt x="79" y="699"/>
                      <a:pt x="79" y="699"/>
                    </a:cubicBezTo>
                    <a:lnTo>
                      <a:pt x="76" y="712"/>
                    </a:lnTo>
                    <a:close/>
                    <a:moveTo>
                      <a:pt x="128" y="672"/>
                    </a:moveTo>
                    <a:cubicBezTo>
                      <a:pt x="119" y="670"/>
                      <a:pt x="109" y="694"/>
                      <a:pt x="117" y="697"/>
                    </a:cubicBezTo>
                    <a:cubicBezTo>
                      <a:pt x="128" y="701"/>
                      <a:pt x="138" y="675"/>
                      <a:pt x="128" y="672"/>
                    </a:cubicBezTo>
                    <a:close/>
                    <a:moveTo>
                      <a:pt x="189" y="423"/>
                    </a:moveTo>
                    <a:cubicBezTo>
                      <a:pt x="177" y="434"/>
                      <a:pt x="177" y="434"/>
                      <a:pt x="177" y="434"/>
                    </a:cubicBezTo>
                    <a:cubicBezTo>
                      <a:pt x="185" y="449"/>
                      <a:pt x="185" y="449"/>
                      <a:pt x="185" y="449"/>
                    </a:cubicBezTo>
                    <a:cubicBezTo>
                      <a:pt x="173" y="449"/>
                      <a:pt x="173" y="449"/>
                      <a:pt x="173" y="449"/>
                    </a:cubicBezTo>
                    <a:cubicBezTo>
                      <a:pt x="173" y="469"/>
                      <a:pt x="173" y="469"/>
                      <a:pt x="173" y="469"/>
                    </a:cubicBezTo>
                    <a:cubicBezTo>
                      <a:pt x="189" y="467"/>
                      <a:pt x="189" y="467"/>
                      <a:pt x="189" y="467"/>
                    </a:cubicBezTo>
                    <a:cubicBezTo>
                      <a:pt x="198" y="456"/>
                      <a:pt x="198" y="456"/>
                      <a:pt x="198" y="456"/>
                    </a:cubicBezTo>
                    <a:cubicBezTo>
                      <a:pt x="189" y="437"/>
                      <a:pt x="189" y="437"/>
                      <a:pt x="189" y="437"/>
                    </a:cubicBezTo>
                    <a:cubicBezTo>
                      <a:pt x="199" y="435"/>
                      <a:pt x="199" y="435"/>
                      <a:pt x="199" y="435"/>
                    </a:cubicBezTo>
                    <a:lnTo>
                      <a:pt x="189" y="423"/>
                    </a:lnTo>
                    <a:close/>
                    <a:moveTo>
                      <a:pt x="184" y="513"/>
                    </a:moveTo>
                    <a:cubicBezTo>
                      <a:pt x="195" y="499"/>
                      <a:pt x="195" y="499"/>
                      <a:pt x="195" y="499"/>
                    </a:cubicBezTo>
                    <a:cubicBezTo>
                      <a:pt x="178" y="485"/>
                      <a:pt x="178" y="485"/>
                      <a:pt x="178" y="485"/>
                    </a:cubicBezTo>
                    <a:lnTo>
                      <a:pt x="184" y="513"/>
                    </a:lnTo>
                    <a:close/>
                    <a:moveTo>
                      <a:pt x="170" y="636"/>
                    </a:moveTo>
                    <a:cubicBezTo>
                      <a:pt x="171" y="615"/>
                      <a:pt x="171" y="615"/>
                      <a:pt x="171" y="615"/>
                    </a:cubicBezTo>
                    <a:cubicBezTo>
                      <a:pt x="162" y="632"/>
                      <a:pt x="162" y="632"/>
                      <a:pt x="162" y="632"/>
                    </a:cubicBezTo>
                    <a:lnTo>
                      <a:pt x="170" y="636"/>
                    </a:lnTo>
                    <a:close/>
                    <a:moveTo>
                      <a:pt x="169" y="573"/>
                    </a:moveTo>
                    <a:cubicBezTo>
                      <a:pt x="181" y="571"/>
                      <a:pt x="181" y="571"/>
                      <a:pt x="181" y="571"/>
                    </a:cubicBezTo>
                    <a:cubicBezTo>
                      <a:pt x="169" y="559"/>
                      <a:pt x="169" y="559"/>
                      <a:pt x="169" y="559"/>
                    </a:cubicBezTo>
                    <a:lnTo>
                      <a:pt x="169" y="573"/>
                    </a:lnTo>
                    <a:close/>
                    <a:moveTo>
                      <a:pt x="82" y="14"/>
                    </a:moveTo>
                    <a:cubicBezTo>
                      <a:pt x="94" y="38"/>
                      <a:pt x="94" y="38"/>
                      <a:pt x="94" y="3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06" y="0"/>
                      <a:pt x="106" y="0"/>
                      <a:pt x="106" y="0"/>
                    </a:cubicBezTo>
                    <a:lnTo>
                      <a:pt x="82" y="1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0" name="MCShape 132">
                <a:extLst>
                  <a:ext uri="{FF2B5EF4-FFF2-40B4-BE49-F238E27FC236}">
                    <a16:creationId xmlns:a16="http://schemas.microsoft.com/office/drawing/2014/main" id="{6796281F-AB39-4B8D-A524-2316AD49EF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1734" y="3662502"/>
                <a:ext cx="44855" cy="29388"/>
              </a:xfrm>
              <a:custGeom>
                <a:avLst/>
                <a:gdLst>
                  <a:gd name="T0" fmla="*/ 16 w 76"/>
                  <a:gd name="T1" fmla="*/ 34 h 52"/>
                  <a:gd name="T2" fmla="*/ 11 w 76"/>
                  <a:gd name="T3" fmla="*/ 52 h 52"/>
                  <a:gd name="T4" fmla="*/ 16 w 76"/>
                  <a:gd name="T5" fmla="*/ 34 h 52"/>
                  <a:gd name="T6" fmla="*/ 35 w 76"/>
                  <a:gd name="T7" fmla="*/ 8 h 52"/>
                  <a:gd name="T8" fmla="*/ 47 w 76"/>
                  <a:gd name="T9" fmla="*/ 26 h 52"/>
                  <a:gd name="T10" fmla="*/ 58 w 76"/>
                  <a:gd name="T11" fmla="*/ 21 h 52"/>
                  <a:gd name="T12" fmla="*/ 35 w 76"/>
                  <a:gd name="T13" fmla="*/ 8 h 52"/>
                  <a:gd name="T14" fmla="*/ 71 w 76"/>
                  <a:gd name="T15" fmla="*/ 32 h 52"/>
                  <a:gd name="T16" fmla="*/ 58 w 76"/>
                  <a:gd name="T17" fmla="*/ 42 h 52"/>
                  <a:gd name="T18" fmla="*/ 71 w 76"/>
                  <a:gd name="T19" fmla="*/ 32 h 5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6"/>
                  <a:gd name="T31" fmla="*/ 0 h 52"/>
                  <a:gd name="T32" fmla="*/ 76 w 76"/>
                  <a:gd name="T33" fmla="*/ 52 h 5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6" h="52">
                    <a:moveTo>
                      <a:pt x="16" y="34"/>
                    </a:moveTo>
                    <a:cubicBezTo>
                      <a:pt x="0" y="34"/>
                      <a:pt x="11" y="52"/>
                      <a:pt x="11" y="52"/>
                    </a:cubicBezTo>
                    <a:cubicBezTo>
                      <a:pt x="23" y="52"/>
                      <a:pt x="32" y="34"/>
                      <a:pt x="16" y="34"/>
                    </a:cubicBezTo>
                    <a:close/>
                    <a:moveTo>
                      <a:pt x="35" y="8"/>
                    </a:moveTo>
                    <a:cubicBezTo>
                      <a:pt x="28" y="16"/>
                      <a:pt x="47" y="26"/>
                      <a:pt x="47" y="26"/>
                    </a:cubicBezTo>
                    <a:cubicBezTo>
                      <a:pt x="58" y="21"/>
                      <a:pt x="58" y="21"/>
                      <a:pt x="58" y="21"/>
                    </a:cubicBezTo>
                    <a:cubicBezTo>
                      <a:pt x="58" y="21"/>
                      <a:pt x="41" y="0"/>
                      <a:pt x="35" y="8"/>
                    </a:cubicBezTo>
                    <a:close/>
                    <a:moveTo>
                      <a:pt x="71" y="32"/>
                    </a:moveTo>
                    <a:cubicBezTo>
                      <a:pt x="66" y="26"/>
                      <a:pt x="51" y="38"/>
                      <a:pt x="58" y="42"/>
                    </a:cubicBezTo>
                    <a:cubicBezTo>
                      <a:pt x="68" y="48"/>
                      <a:pt x="76" y="37"/>
                      <a:pt x="71" y="3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1" name="MCShape 133">
                <a:extLst>
                  <a:ext uri="{FF2B5EF4-FFF2-40B4-BE49-F238E27FC236}">
                    <a16:creationId xmlns:a16="http://schemas.microsoft.com/office/drawing/2014/main" id="{0F82D055-6FA2-460F-8B5E-6D9B9A0603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23348" y="2765393"/>
                <a:ext cx="348017" cy="682111"/>
              </a:xfrm>
              <a:custGeom>
                <a:avLst/>
                <a:gdLst>
                  <a:gd name="T0" fmla="*/ 529 w 591"/>
                  <a:gd name="T1" fmla="*/ 401 h 1153"/>
                  <a:gd name="T2" fmla="*/ 547 w 591"/>
                  <a:gd name="T3" fmla="*/ 349 h 1153"/>
                  <a:gd name="T4" fmla="*/ 492 w 591"/>
                  <a:gd name="T5" fmla="*/ 276 h 1153"/>
                  <a:gd name="T6" fmla="*/ 448 w 591"/>
                  <a:gd name="T7" fmla="*/ 241 h 1153"/>
                  <a:gd name="T8" fmla="*/ 441 w 591"/>
                  <a:gd name="T9" fmla="*/ 258 h 1153"/>
                  <a:gd name="T10" fmla="*/ 418 w 591"/>
                  <a:gd name="T11" fmla="*/ 264 h 1153"/>
                  <a:gd name="T12" fmla="*/ 456 w 591"/>
                  <a:gd name="T13" fmla="*/ 373 h 1153"/>
                  <a:gd name="T14" fmla="*/ 443 w 591"/>
                  <a:gd name="T15" fmla="*/ 450 h 1153"/>
                  <a:gd name="T16" fmla="*/ 383 w 591"/>
                  <a:gd name="T17" fmla="*/ 448 h 1153"/>
                  <a:gd name="T18" fmla="*/ 367 w 591"/>
                  <a:gd name="T19" fmla="*/ 514 h 1153"/>
                  <a:gd name="T20" fmla="*/ 259 w 591"/>
                  <a:gd name="T21" fmla="*/ 546 h 1153"/>
                  <a:gd name="T22" fmla="*/ 179 w 591"/>
                  <a:gd name="T23" fmla="*/ 601 h 1153"/>
                  <a:gd name="T24" fmla="*/ 241 w 591"/>
                  <a:gd name="T25" fmla="*/ 607 h 1153"/>
                  <a:gd name="T26" fmla="*/ 331 w 591"/>
                  <a:gd name="T27" fmla="*/ 584 h 1153"/>
                  <a:gd name="T28" fmla="*/ 407 w 591"/>
                  <a:gd name="T29" fmla="*/ 654 h 1153"/>
                  <a:gd name="T30" fmla="*/ 415 w 591"/>
                  <a:gd name="T31" fmla="*/ 583 h 1153"/>
                  <a:gd name="T32" fmla="*/ 464 w 591"/>
                  <a:gd name="T33" fmla="*/ 585 h 1153"/>
                  <a:gd name="T34" fmla="*/ 528 w 591"/>
                  <a:gd name="T35" fmla="*/ 556 h 1153"/>
                  <a:gd name="T36" fmla="*/ 578 w 591"/>
                  <a:gd name="T37" fmla="*/ 538 h 1153"/>
                  <a:gd name="T38" fmla="*/ 299 w 591"/>
                  <a:gd name="T39" fmla="*/ 628 h 1153"/>
                  <a:gd name="T40" fmla="*/ 276 w 591"/>
                  <a:gd name="T41" fmla="*/ 674 h 1153"/>
                  <a:gd name="T42" fmla="*/ 358 w 591"/>
                  <a:gd name="T43" fmla="*/ 638 h 1153"/>
                  <a:gd name="T44" fmla="*/ 256 w 591"/>
                  <a:gd name="T45" fmla="*/ 689 h 1153"/>
                  <a:gd name="T46" fmla="*/ 184 w 591"/>
                  <a:gd name="T47" fmla="*/ 634 h 1153"/>
                  <a:gd name="T48" fmla="*/ 174 w 591"/>
                  <a:gd name="T49" fmla="*/ 687 h 1153"/>
                  <a:gd name="T50" fmla="*/ 182 w 591"/>
                  <a:gd name="T51" fmla="*/ 727 h 1153"/>
                  <a:gd name="T52" fmla="*/ 233 w 591"/>
                  <a:gd name="T53" fmla="*/ 780 h 1153"/>
                  <a:gd name="T54" fmla="*/ 172 w 591"/>
                  <a:gd name="T55" fmla="*/ 718 h 1153"/>
                  <a:gd name="T56" fmla="*/ 432 w 591"/>
                  <a:gd name="T57" fmla="*/ 423 h 1153"/>
                  <a:gd name="T58" fmla="*/ 411 w 591"/>
                  <a:gd name="T59" fmla="*/ 400 h 1153"/>
                  <a:gd name="T60" fmla="*/ 374 w 591"/>
                  <a:gd name="T61" fmla="*/ 72 h 1153"/>
                  <a:gd name="T62" fmla="*/ 354 w 591"/>
                  <a:gd name="T63" fmla="*/ 123 h 1153"/>
                  <a:gd name="T64" fmla="*/ 390 w 591"/>
                  <a:gd name="T65" fmla="*/ 198 h 1153"/>
                  <a:gd name="T66" fmla="*/ 437 w 591"/>
                  <a:gd name="T67" fmla="*/ 205 h 1153"/>
                  <a:gd name="T68" fmla="*/ 409 w 591"/>
                  <a:gd name="T69" fmla="*/ 179 h 1153"/>
                  <a:gd name="T70" fmla="*/ 557 w 591"/>
                  <a:gd name="T71" fmla="*/ 147 h 1153"/>
                  <a:gd name="T72" fmla="*/ 523 w 591"/>
                  <a:gd name="T73" fmla="*/ 96 h 1153"/>
                  <a:gd name="T74" fmla="*/ 194 w 591"/>
                  <a:gd name="T75" fmla="*/ 984 h 1153"/>
                  <a:gd name="T76" fmla="*/ 208 w 591"/>
                  <a:gd name="T77" fmla="*/ 933 h 1153"/>
                  <a:gd name="T78" fmla="*/ 208 w 591"/>
                  <a:gd name="T79" fmla="*/ 933 h 1153"/>
                  <a:gd name="T80" fmla="*/ 230 w 591"/>
                  <a:gd name="T81" fmla="*/ 810 h 1153"/>
                  <a:gd name="T82" fmla="*/ 252 w 591"/>
                  <a:gd name="T83" fmla="*/ 792 h 1153"/>
                  <a:gd name="T84" fmla="*/ 252 w 591"/>
                  <a:gd name="T85" fmla="*/ 792 h 1153"/>
                  <a:gd name="T86" fmla="*/ 32 w 591"/>
                  <a:gd name="T87" fmla="*/ 1144 h 1153"/>
                  <a:gd name="T88" fmla="*/ 90 w 591"/>
                  <a:gd name="T89" fmla="*/ 1125 h 1153"/>
                  <a:gd name="T90" fmla="*/ 16 w 591"/>
                  <a:gd name="T91" fmla="*/ 1134 h 1153"/>
                  <a:gd name="T92" fmla="*/ 184 w 591"/>
                  <a:gd name="T93" fmla="*/ 1008 h 1153"/>
                  <a:gd name="T94" fmla="*/ 198 w 591"/>
                  <a:gd name="T95" fmla="*/ 1014 h 115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91"/>
                  <a:gd name="T145" fmla="*/ 0 h 1153"/>
                  <a:gd name="T146" fmla="*/ 591 w 591"/>
                  <a:gd name="T147" fmla="*/ 1153 h 115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91" h="1153">
                    <a:moveTo>
                      <a:pt x="591" y="531"/>
                    </a:moveTo>
                    <a:cubicBezTo>
                      <a:pt x="591" y="531"/>
                      <a:pt x="559" y="513"/>
                      <a:pt x="560" y="499"/>
                    </a:cubicBezTo>
                    <a:cubicBezTo>
                      <a:pt x="561" y="485"/>
                      <a:pt x="562" y="459"/>
                      <a:pt x="556" y="447"/>
                    </a:cubicBezTo>
                    <a:cubicBezTo>
                      <a:pt x="550" y="435"/>
                      <a:pt x="526" y="418"/>
                      <a:pt x="529" y="401"/>
                    </a:cubicBezTo>
                    <a:cubicBezTo>
                      <a:pt x="532" y="384"/>
                      <a:pt x="548" y="389"/>
                      <a:pt x="548" y="389"/>
                    </a:cubicBezTo>
                    <a:cubicBezTo>
                      <a:pt x="545" y="362"/>
                      <a:pt x="545" y="362"/>
                      <a:pt x="545" y="362"/>
                    </a:cubicBezTo>
                    <a:cubicBezTo>
                      <a:pt x="537" y="356"/>
                      <a:pt x="537" y="356"/>
                      <a:pt x="537" y="356"/>
                    </a:cubicBezTo>
                    <a:cubicBezTo>
                      <a:pt x="547" y="349"/>
                      <a:pt x="547" y="349"/>
                      <a:pt x="547" y="349"/>
                    </a:cubicBezTo>
                    <a:cubicBezTo>
                      <a:pt x="547" y="349"/>
                      <a:pt x="542" y="331"/>
                      <a:pt x="538" y="321"/>
                    </a:cubicBezTo>
                    <a:cubicBezTo>
                      <a:pt x="534" y="311"/>
                      <a:pt x="520" y="303"/>
                      <a:pt x="520" y="303"/>
                    </a:cubicBezTo>
                    <a:cubicBezTo>
                      <a:pt x="516" y="290"/>
                      <a:pt x="516" y="290"/>
                      <a:pt x="516" y="290"/>
                    </a:cubicBezTo>
                    <a:cubicBezTo>
                      <a:pt x="516" y="290"/>
                      <a:pt x="501" y="283"/>
                      <a:pt x="492" y="276"/>
                    </a:cubicBezTo>
                    <a:cubicBezTo>
                      <a:pt x="483" y="269"/>
                      <a:pt x="468" y="253"/>
                      <a:pt x="468" y="244"/>
                    </a:cubicBezTo>
                    <a:cubicBezTo>
                      <a:pt x="468" y="235"/>
                      <a:pt x="465" y="231"/>
                      <a:pt x="465" y="231"/>
                    </a:cubicBezTo>
                    <a:cubicBezTo>
                      <a:pt x="465" y="231"/>
                      <a:pt x="442" y="214"/>
                      <a:pt x="439" y="226"/>
                    </a:cubicBezTo>
                    <a:cubicBezTo>
                      <a:pt x="436" y="238"/>
                      <a:pt x="448" y="241"/>
                      <a:pt x="448" y="241"/>
                    </a:cubicBezTo>
                    <a:cubicBezTo>
                      <a:pt x="455" y="237"/>
                      <a:pt x="455" y="237"/>
                      <a:pt x="455" y="237"/>
                    </a:cubicBezTo>
                    <a:cubicBezTo>
                      <a:pt x="455" y="237"/>
                      <a:pt x="463" y="256"/>
                      <a:pt x="459" y="256"/>
                    </a:cubicBezTo>
                    <a:cubicBezTo>
                      <a:pt x="455" y="256"/>
                      <a:pt x="450" y="249"/>
                      <a:pt x="450" y="249"/>
                    </a:cubicBezTo>
                    <a:cubicBezTo>
                      <a:pt x="441" y="258"/>
                      <a:pt x="441" y="258"/>
                      <a:pt x="441" y="258"/>
                    </a:cubicBezTo>
                    <a:cubicBezTo>
                      <a:pt x="428" y="237"/>
                      <a:pt x="428" y="237"/>
                      <a:pt x="428" y="237"/>
                    </a:cubicBezTo>
                    <a:cubicBezTo>
                      <a:pt x="416" y="237"/>
                      <a:pt x="416" y="237"/>
                      <a:pt x="416" y="237"/>
                    </a:cubicBezTo>
                    <a:cubicBezTo>
                      <a:pt x="430" y="261"/>
                      <a:pt x="430" y="261"/>
                      <a:pt x="430" y="261"/>
                    </a:cubicBezTo>
                    <a:cubicBezTo>
                      <a:pt x="418" y="264"/>
                      <a:pt x="418" y="264"/>
                      <a:pt x="418" y="264"/>
                    </a:cubicBezTo>
                    <a:cubicBezTo>
                      <a:pt x="437" y="296"/>
                      <a:pt x="437" y="296"/>
                      <a:pt x="437" y="296"/>
                    </a:cubicBezTo>
                    <a:cubicBezTo>
                      <a:pt x="430" y="304"/>
                      <a:pt x="430" y="304"/>
                      <a:pt x="430" y="304"/>
                    </a:cubicBezTo>
                    <a:cubicBezTo>
                      <a:pt x="430" y="304"/>
                      <a:pt x="466" y="322"/>
                      <a:pt x="464" y="337"/>
                    </a:cubicBezTo>
                    <a:cubicBezTo>
                      <a:pt x="462" y="352"/>
                      <a:pt x="456" y="373"/>
                      <a:pt x="456" y="373"/>
                    </a:cubicBezTo>
                    <a:cubicBezTo>
                      <a:pt x="454" y="391"/>
                      <a:pt x="454" y="391"/>
                      <a:pt x="454" y="391"/>
                    </a:cubicBezTo>
                    <a:cubicBezTo>
                      <a:pt x="454" y="391"/>
                      <a:pt x="475" y="404"/>
                      <a:pt x="465" y="411"/>
                    </a:cubicBezTo>
                    <a:cubicBezTo>
                      <a:pt x="455" y="418"/>
                      <a:pt x="447" y="414"/>
                      <a:pt x="447" y="414"/>
                    </a:cubicBezTo>
                    <a:cubicBezTo>
                      <a:pt x="447" y="414"/>
                      <a:pt x="454" y="444"/>
                      <a:pt x="443" y="450"/>
                    </a:cubicBezTo>
                    <a:cubicBezTo>
                      <a:pt x="432" y="456"/>
                      <a:pt x="409" y="464"/>
                      <a:pt x="409" y="464"/>
                    </a:cubicBezTo>
                    <a:cubicBezTo>
                      <a:pt x="409" y="473"/>
                      <a:pt x="409" y="473"/>
                      <a:pt x="409" y="473"/>
                    </a:cubicBezTo>
                    <a:cubicBezTo>
                      <a:pt x="409" y="473"/>
                      <a:pt x="398" y="477"/>
                      <a:pt x="389" y="467"/>
                    </a:cubicBezTo>
                    <a:cubicBezTo>
                      <a:pt x="380" y="457"/>
                      <a:pt x="383" y="448"/>
                      <a:pt x="383" y="448"/>
                    </a:cubicBezTo>
                    <a:cubicBezTo>
                      <a:pt x="386" y="435"/>
                      <a:pt x="386" y="435"/>
                      <a:pt x="386" y="435"/>
                    </a:cubicBezTo>
                    <a:cubicBezTo>
                      <a:pt x="386" y="435"/>
                      <a:pt x="360" y="440"/>
                      <a:pt x="364" y="450"/>
                    </a:cubicBezTo>
                    <a:cubicBezTo>
                      <a:pt x="368" y="460"/>
                      <a:pt x="381" y="474"/>
                      <a:pt x="379" y="481"/>
                    </a:cubicBezTo>
                    <a:cubicBezTo>
                      <a:pt x="377" y="488"/>
                      <a:pt x="363" y="504"/>
                      <a:pt x="367" y="514"/>
                    </a:cubicBezTo>
                    <a:cubicBezTo>
                      <a:pt x="371" y="524"/>
                      <a:pt x="384" y="539"/>
                      <a:pt x="374" y="540"/>
                    </a:cubicBezTo>
                    <a:cubicBezTo>
                      <a:pt x="364" y="541"/>
                      <a:pt x="338" y="529"/>
                      <a:pt x="329" y="530"/>
                    </a:cubicBezTo>
                    <a:cubicBezTo>
                      <a:pt x="320" y="531"/>
                      <a:pt x="281" y="546"/>
                      <a:pt x="278" y="546"/>
                    </a:cubicBezTo>
                    <a:cubicBezTo>
                      <a:pt x="275" y="546"/>
                      <a:pt x="259" y="546"/>
                      <a:pt x="259" y="546"/>
                    </a:cubicBezTo>
                    <a:cubicBezTo>
                      <a:pt x="251" y="538"/>
                      <a:pt x="251" y="538"/>
                      <a:pt x="251" y="538"/>
                    </a:cubicBezTo>
                    <a:cubicBezTo>
                      <a:pt x="229" y="555"/>
                      <a:pt x="229" y="555"/>
                      <a:pt x="229" y="555"/>
                    </a:cubicBezTo>
                    <a:cubicBezTo>
                      <a:pt x="229" y="555"/>
                      <a:pt x="202" y="600"/>
                      <a:pt x="198" y="600"/>
                    </a:cubicBezTo>
                    <a:cubicBezTo>
                      <a:pt x="194" y="600"/>
                      <a:pt x="179" y="601"/>
                      <a:pt x="179" y="601"/>
                    </a:cubicBezTo>
                    <a:cubicBezTo>
                      <a:pt x="179" y="601"/>
                      <a:pt x="184" y="625"/>
                      <a:pt x="191" y="625"/>
                    </a:cubicBezTo>
                    <a:cubicBezTo>
                      <a:pt x="198" y="625"/>
                      <a:pt x="210" y="621"/>
                      <a:pt x="210" y="621"/>
                    </a:cubicBezTo>
                    <a:cubicBezTo>
                      <a:pt x="210" y="621"/>
                      <a:pt x="229" y="632"/>
                      <a:pt x="234" y="630"/>
                    </a:cubicBezTo>
                    <a:cubicBezTo>
                      <a:pt x="239" y="628"/>
                      <a:pt x="241" y="607"/>
                      <a:pt x="241" y="607"/>
                    </a:cubicBezTo>
                    <a:cubicBezTo>
                      <a:pt x="256" y="615"/>
                      <a:pt x="256" y="615"/>
                      <a:pt x="256" y="615"/>
                    </a:cubicBezTo>
                    <a:cubicBezTo>
                      <a:pt x="256" y="615"/>
                      <a:pt x="290" y="598"/>
                      <a:pt x="295" y="595"/>
                    </a:cubicBezTo>
                    <a:cubicBezTo>
                      <a:pt x="300" y="592"/>
                      <a:pt x="313" y="601"/>
                      <a:pt x="321" y="600"/>
                    </a:cubicBezTo>
                    <a:cubicBezTo>
                      <a:pt x="329" y="599"/>
                      <a:pt x="314" y="584"/>
                      <a:pt x="331" y="584"/>
                    </a:cubicBezTo>
                    <a:cubicBezTo>
                      <a:pt x="348" y="584"/>
                      <a:pt x="352" y="593"/>
                      <a:pt x="352" y="593"/>
                    </a:cubicBezTo>
                    <a:cubicBezTo>
                      <a:pt x="352" y="593"/>
                      <a:pt x="372" y="580"/>
                      <a:pt x="376" y="588"/>
                    </a:cubicBezTo>
                    <a:cubicBezTo>
                      <a:pt x="380" y="596"/>
                      <a:pt x="367" y="615"/>
                      <a:pt x="367" y="615"/>
                    </a:cubicBezTo>
                    <a:cubicBezTo>
                      <a:pt x="367" y="615"/>
                      <a:pt x="387" y="654"/>
                      <a:pt x="407" y="654"/>
                    </a:cubicBezTo>
                    <a:cubicBezTo>
                      <a:pt x="427" y="654"/>
                      <a:pt x="425" y="616"/>
                      <a:pt x="425" y="616"/>
                    </a:cubicBezTo>
                    <a:cubicBezTo>
                      <a:pt x="447" y="612"/>
                      <a:pt x="447" y="612"/>
                      <a:pt x="447" y="612"/>
                    </a:cubicBezTo>
                    <a:cubicBezTo>
                      <a:pt x="447" y="612"/>
                      <a:pt x="430" y="592"/>
                      <a:pt x="427" y="591"/>
                    </a:cubicBezTo>
                    <a:cubicBezTo>
                      <a:pt x="424" y="590"/>
                      <a:pt x="415" y="583"/>
                      <a:pt x="415" y="583"/>
                    </a:cubicBezTo>
                    <a:cubicBezTo>
                      <a:pt x="426" y="568"/>
                      <a:pt x="426" y="568"/>
                      <a:pt x="426" y="568"/>
                    </a:cubicBezTo>
                    <a:cubicBezTo>
                      <a:pt x="435" y="567"/>
                      <a:pt x="429" y="581"/>
                      <a:pt x="439" y="581"/>
                    </a:cubicBezTo>
                    <a:cubicBezTo>
                      <a:pt x="449" y="581"/>
                      <a:pt x="452" y="594"/>
                      <a:pt x="452" y="594"/>
                    </a:cubicBezTo>
                    <a:cubicBezTo>
                      <a:pt x="464" y="585"/>
                      <a:pt x="464" y="585"/>
                      <a:pt x="464" y="585"/>
                    </a:cubicBezTo>
                    <a:cubicBezTo>
                      <a:pt x="464" y="585"/>
                      <a:pt x="479" y="593"/>
                      <a:pt x="494" y="589"/>
                    </a:cubicBezTo>
                    <a:cubicBezTo>
                      <a:pt x="509" y="585"/>
                      <a:pt x="491" y="564"/>
                      <a:pt x="508" y="566"/>
                    </a:cubicBezTo>
                    <a:cubicBezTo>
                      <a:pt x="525" y="568"/>
                      <a:pt x="516" y="596"/>
                      <a:pt x="527" y="590"/>
                    </a:cubicBezTo>
                    <a:cubicBezTo>
                      <a:pt x="538" y="584"/>
                      <a:pt x="520" y="561"/>
                      <a:pt x="528" y="556"/>
                    </a:cubicBezTo>
                    <a:cubicBezTo>
                      <a:pt x="536" y="551"/>
                      <a:pt x="541" y="553"/>
                      <a:pt x="541" y="553"/>
                    </a:cubicBezTo>
                    <a:cubicBezTo>
                      <a:pt x="541" y="553"/>
                      <a:pt x="543" y="522"/>
                      <a:pt x="555" y="534"/>
                    </a:cubicBezTo>
                    <a:cubicBezTo>
                      <a:pt x="567" y="546"/>
                      <a:pt x="548" y="571"/>
                      <a:pt x="568" y="570"/>
                    </a:cubicBezTo>
                    <a:cubicBezTo>
                      <a:pt x="588" y="569"/>
                      <a:pt x="578" y="538"/>
                      <a:pt x="578" y="538"/>
                    </a:cubicBezTo>
                    <a:lnTo>
                      <a:pt x="591" y="531"/>
                    </a:lnTo>
                    <a:close/>
                    <a:moveTo>
                      <a:pt x="338" y="618"/>
                    </a:moveTo>
                    <a:cubicBezTo>
                      <a:pt x="338" y="618"/>
                      <a:pt x="321" y="605"/>
                      <a:pt x="312" y="606"/>
                    </a:cubicBezTo>
                    <a:cubicBezTo>
                      <a:pt x="292" y="608"/>
                      <a:pt x="299" y="628"/>
                      <a:pt x="299" y="628"/>
                    </a:cubicBezTo>
                    <a:cubicBezTo>
                      <a:pt x="299" y="628"/>
                      <a:pt x="282" y="622"/>
                      <a:pt x="272" y="624"/>
                    </a:cubicBezTo>
                    <a:cubicBezTo>
                      <a:pt x="262" y="626"/>
                      <a:pt x="269" y="648"/>
                      <a:pt x="269" y="648"/>
                    </a:cubicBezTo>
                    <a:cubicBezTo>
                      <a:pt x="257" y="659"/>
                      <a:pt x="257" y="659"/>
                      <a:pt x="257" y="659"/>
                    </a:cubicBezTo>
                    <a:cubicBezTo>
                      <a:pt x="257" y="659"/>
                      <a:pt x="270" y="667"/>
                      <a:pt x="276" y="674"/>
                    </a:cubicBezTo>
                    <a:cubicBezTo>
                      <a:pt x="282" y="681"/>
                      <a:pt x="305" y="695"/>
                      <a:pt x="305" y="695"/>
                    </a:cubicBezTo>
                    <a:cubicBezTo>
                      <a:pt x="305" y="695"/>
                      <a:pt x="299" y="664"/>
                      <a:pt x="314" y="654"/>
                    </a:cubicBezTo>
                    <a:cubicBezTo>
                      <a:pt x="329" y="644"/>
                      <a:pt x="351" y="672"/>
                      <a:pt x="351" y="672"/>
                    </a:cubicBezTo>
                    <a:cubicBezTo>
                      <a:pt x="351" y="672"/>
                      <a:pt x="356" y="650"/>
                      <a:pt x="358" y="638"/>
                    </a:cubicBezTo>
                    <a:cubicBezTo>
                      <a:pt x="360" y="626"/>
                      <a:pt x="351" y="615"/>
                      <a:pt x="351" y="615"/>
                    </a:cubicBezTo>
                    <a:lnTo>
                      <a:pt x="338" y="618"/>
                    </a:lnTo>
                    <a:close/>
                    <a:moveTo>
                      <a:pt x="241" y="709"/>
                    </a:moveTo>
                    <a:cubicBezTo>
                      <a:pt x="241" y="698"/>
                      <a:pt x="256" y="689"/>
                      <a:pt x="256" y="689"/>
                    </a:cubicBezTo>
                    <a:cubicBezTo>
                      <a:pt x="255" y="677"/>
                      <a:pt x="232" y="662"/>
                      <a:pt x="232" y="662"/>
                    </a:cubicBezTo>
                    <a:cubicBezTo>
                      <a:pt x="232" y="662"/>
                      <a:pt x="231" y="652"/>
                      <a:pt x="224" y="649"/>
                    </a:cubicBezTo>
                    <a:cubicBezTo>
                      <a:pt x="217" y="646"/>
                      <a:pt x="212" y="648"/>
                      <a:pt x="212" y="648"/>
                    </a:cubicBezTo>
                    <a:cubicBezTo>
                      <a:pt x="212" y="648"/>
                      <a:pt x="191" y="634"/>
                      <a:pt x="184" y="634"/>
                    </a:cubicBezTo>
                    <a:cubicBezTo>
                      <a:pt x="177" y="634"/>
                      <a:pt x="168" y="646"/>
                      <a:pt x="168" y="646"/>
                    </a:cubicBezTo>
                    <a:cubicBezTo>
                      <a:pt x="143" y="660"/>
                      <a:pt x="143" y="660"/>
                      <a:pt x="143" y="660"/>
                    </a:cubicBezTo>
                    <a:cubicBezTo>
                      <a:pt x="162" y="693"/>
                      <a:pt x="162" y="693"/>
                      <a:pt x="162" y="693"/>
                    </a:cubicBezTo>
                    <a:cubicBezTo>
                      <a:pt x="174" y="687"/>
                      <a:pt x="174" y="687"/>
                      <a:pt x="174" y="687"/>
                    </a:cubicBezTo>
                    <a:cubicBezTo>
                      <a:pt x="174" y="687"/>
                      <a:pt x="167" y="668"/>
                      <a:pt x="175" y="672"/>
                    </a:cubicBezTo>
                    <a:cubicBezTo>
                      <a:pt x="183" y="676"/>
                      <a:pt x="195" y="697"/>
                      <a:pt x="195" y="697"/>
                    </a:cubicBezTo>
                    <a:cubicBezTo>
                      <a:pt x="194" y="722"/>
                      <a:pt x="194" y="722"/>
                      <a:pt x="194" y="722"/>
                    </a:cubicBezTo>
                    <a:cubicBezTo>
                      <a:pt x="182" y="727"/>
                      <a:pt x="182" y="727"/>
                      <a:pt x="182" y="727"/>
                    </a:cubicBezTo>
                    <a:cubicBezTo>
                      <a:pt x="182" y="727"/>
                      <a:pt x="193" y="774"/>
                      <a:pt x="203" y="776"/>
                    </a:cubicBezTo>
                    <a:cubicBezTo>
                      <a:pt x="213" y="778"/>
                      <a:pt x="211" y="746"/>
                      <a:pt x="211" y="746"/>
                    </a:cubicBezTo>
                    <a:cubicBezTo>
                      <a:pt x="232" y="753"/>
                      <a:pt x="232" y="753"/>
                      <a:pt x="232" y="753"/>
                    </a:cubicBezTo>
                    <a:cubicBezTo>
                      <a:pt x="232" y="753"/>
                      <a:pt x="229" y="780"/>
                      <a:pt x="233" y="780"/>
                    </a:cubicBezTo>
                    <a:cubicBezTo>
                      <a:pt x="237" y="780"/>
                      <a:pt x="251" y="756"/>
                      <a:pt x="251" y="756"/>
                    </a:cubicBezTo>
                    <a:cubicBezTo>
                      <a:pt x="251" y="756"/>
                      <a:pt x="241" y="720"/>
                      <a:pt x="241" y="709"/>
                    </a:cubicBezTo>
                    <a:close/>
                    <a:moveTo>
                      <a:pt x="183" y="693"/>
                    </a:moveTo>
                    <a:cubicBezTo>
                      <a:pt x="172" y="718"/>
                      <a:pt x="172" y="718"/>
                      <a:pt x="172" y="718"/>
                    </a:cubicBezTo>
                    <a:cubicBezTo>
                      <a:pt x="184" y="715"/>
                      <a:pt x="184" y="715"/>
                      <a:pt x="184" y="715"/>
                    </a:cubicBezTo>
                    <a:lnTo>
                      <a:pt x="183" y="693"/>
                    </a:lnTo>
                    <a:close/>
                    <a:moveTo>
                      <a:pt x="424" y="424"/>
                    </a:moveTo>
                    <a:cubicBezTo>
                      <a:pt x="432" y="423"/>
                      <a:pt x="432" y="423"/>
                      <a:pt x="432" y="423"/>
                    </a:cubicBezTo>
                    <a:cubicBezTo>
                      <a:pt x="431" y="407"/>
                      <a:pt x="431" y="407"/>
                      <a:pt x="431" y="407"/>
                    </a:cubicBezTo>
                    <a:cubicBezTo>
                      <a:pt x="425" y="405"/>
                      <a:pt x="425" y="405"/>
                      <a:pt x="425" y="405"/>
                    </a:cubicBezTo>
                    <a:cubicBezTo>
                      <a:pt x="415" y="392"/>
                      <a:pt x="415" y="392"/>
                      <a:pt x="415" y="392"/>
                    </a:cubicBezTo>
                    <a:cubicBezTo>
                      <a:pt x="411" y="400"/>
                      <a:pt x="411" y="400"/>
                      <a:pt x="411" y="400"/>
                    </a:cubicBezTo>
                    <a:cubicBezTo>
                      <a:pt x="419" y="409"/>
                      <a:pt x="419" y="409"/>
                      <a:pt x="419" y="409"/>
                    </a:cubicBezTo>
                    <a:lnTo>
                      <a:pt x="424" y="424"/>
                    </a:lnTo>
                    <a:close/>
                    <a:moveTo>
                      <a:pt x="372" y="57"/>
                    </a:moveTo>
                    <a:cubicBezTo>
                      <a:pt x="374" y="72"/>
                      <a:pt x="374" y="72"/>
                      <a:pt x="374" y="72"/>
                    </a:cubicBezTo>
                    <a:cubicBezTo>
                      <a:pt x="374" y="72"/>
                      <a:pt x="391" y="83"/>
                      <a:pt x="391" y="90"/>
                    </a:cubicBezTo>
                    <a:cubicBezTo>
                      <a:pt x="391" y="97"/>
                      <a:pt x="384" y="110"/>
                      <a:pt x="384" y="110"/>
                    </a:cubicBezTo>
                    <a:cubicBezTo>
                      <a:pt x="384" y="110"/>
                      <a:pt x="402" y="132"/>
                      <a:pt x="397" y="133"/>
                    </a:cubicBezTo>
                    <a:cubicBezTo>
                      <a:pt x="391" y="134"/>
                      <a:pt x="359" y="125"/>
                      <a:pt x="354" y="123"/>
                    </a:cubicBezTo>
                    <a:cubicBezTo>
                      <a:pt x="348" y="122"/>
                      <a:pt x="369" y="143"/>
                      <a:pt x="369" y="143"/>
                    </a:cubicBezTo>
                    <a:cubicBezTo>
                      <a:pt x="352" y="161"/>
                      <a:pt x="352" y="161"/>
                      <a:pt x="352" y="161"/>
                    </a:cubicBezTo>
                    <a:cubicBezTo>
                      <a:pt x="352" y="161"/>
                      <a:pt x="358" y="173"/>
                      <a:pt x="361" y="179"/>
                    </a:cubicBezTo>
                    <a:cubicBezTo>
                      <a:pt x="363" y="184"/>
                      <a:pt x="390" y="198"/>
                      <a:pt x="390" y="198"/>
                    </a:cubicBezTo>
                    <a:cubicBezTo>
                      <a:pt x="390" y="198"/>
                      <a:pt x="381" y="231"/>
                      <a:pt x="404" y="230"/>
                    </a:cubicBezTo>
                    <a:cubicBezTo>
                      <a:pt x="414" y="229"/>
                      <a:pt x="398" y="211"/>
                      <a:pt x="410" y="211"/>
                    </a:cubicBezTo>
                    <a:cubicBezTo>
                      <a:pt x="423" y="211"/>
                      <a:pt x="433" y="211"/>
                      <a:pt x="433" y="211"/>
                    </a:cubicBezTo>
                    <a:cubicBezTo>
                      <a:pt x="437" y="205"/>
                      <a:pt x="437" y="205"/>
                      <a:pt x="437" y="205"/>
                    </a:cubicBezTo>
                    <a:cubicBezTo>
                      <a:pt x="412" y="189"/>
                      <a:pt x="412" y="189"/>
                      <a:pt x="412" y="189"/>
                    </a:cubicBezTo>
                    <a:cubicBezTo>
                      <a:pt x="399" y="189"/>
                      <a:pt x="399" y="189"/>
                      <a:pt x="399" y="189"/>
                    </a:cubicBezTo>
                    <a:cubicBezTo>
                      <a:pt x="399" y="189"/>
                      <a:pt x="365" y="176"/>
                      <a:pt x="381" y="169"/>
                    </a:cubicBezTo>
                    <a:cubicBezTo>
                      <a:pt x="398" y="162"/>
                      <a:pt x="409" y="179"/>
                      <a:pt x="409" y="179"/>
                    </a:cubicBezTo>
                    <a:cubicBezTo>
                      <a:pt x="409" y="179"/>
                      <a:pt x="423" y="168"/>
                      <a:pt x="433" y="166"/>
                    </a:cubicBezTo>
                    <a:cubicBezTo>
                      <a:pt x="442" y="165"/>
                      <a:pt x="513" y="202"/>
                      <a:pt x="519" y="198"/>
                    </a:cubicBezTo>
                    <a:cubicBezTo>
                      <a:pt x="524" y="194"/>
                      <a:pt x="505" y="155"/>
                      <a:pt x="523" y="148"/>
                    </a:cubicBezTo>
                    <a:cubicBezTo>
                      <a:pt x="541" y="141"/>
                      <a:pt x="539" y="157"/>
                      <a:pt x="557" y="147"/>
                    </a:cubicBezTo>
                    <a:cubicBezTo>
                      <a:pt x="575" y="137"/>
                      <a:pt x="578" y="130"/>
                      <a:pt x="578" y="130"/>
                    </a:cubicBezTo>
                    <a:cubicBezTo>
                      <a:pt x="542" y="107"/>
                      <a:pt x="542" y="107"/>
                      <a:pt x="542" y="107"/>
                    </a:cubicBezTo>
                    <a:cubicBezTo>
                      <a:pt x="542" y="107"/>
                      <a:pt x="542" y="83"/>
                      <a:pt x="535" y="78"/>
                    </a:cubicBezTo>
                    <a:cubicBezTo>
                      <a:pt x="528" y="72"/>
                      <a:pt x="523" y="96"/>
                      <a:pt x="523" y="96"/>
                    </a:cubicBezTo>
                    <a:cubicBezTo>
                      <a:pt x="523" y="96"/>
                      <a:pt x="455" y="80"/>
                      <a:pt x="440" y="69"/>
                    </a:cubicBezTo>
                    <a:cubicBezTo>
                      <a:pt x="424" y="58"/>
                      <a:pt x="350" y="0"/>
                      <a:pt x="340" y="11"/>
                    </a:cubicBezTo>
                    <a:cubicBezTo>
                      <a:pt x="330" y="22"/>
                      <a:pt x="372" y="57"/>
                      <a:pt x="372" y="57"/>
                    </a:cubicBezTo>
                    <a:close/>
                    <a:moveTo>
                      <a:pt x="194" y="984"/>
                    </a:moveTo>
                    <a:cubicBezTo>
                      <a:pt x="209" y="984"/>
                      <a:pt x="209" y="984"/>
                      <a:pt x="209" y="984"/>
                    </a:cubicBezTo>
                    <a:cubicBezTo>
                      <a:pt x="192" y="972"/>
                      <a:pt x="192" y="972"/>
                      <a:pt x="192" y="972"/>
                    </a:cubicBezTo>
                    <a:lnTo>
                      <a:pt x="194" y="984"/>
                    </a:lnTo>
                    <a:close/>
                    <a:moveTo>
                      <a:pt x="208" y="933"/>
                    </a:moveTo>
                    <a:cubicBezTo>
                      <a:pt x="210" y="942"/>
                      <a:pt x="214" y="942"/>
                      <a:pt x="214" y="942"/>
                    </a:cubicBezTo>
                    <a:cubicBezTo>
                      <a:pt x="224" y="944"/>
                      <a:pt x="225" y="934"/>
                      <a:pt x="225" y="934"/>
                    </a:cubicBezTo>
                    <a:cubicBezTo>
                      <a:pt x="225" y="934"/>
                      <a:pt x="240" y="933"/>
                      <a:pt x="233" y="922"/>
                    </a:cubicBezTo>
                    <a:cubicBezTo>
                      <a:pt x="226" y="912"/>
                      <a:pt x="205" y="924"/>
                      <a:pt x="208" y="933"/>
                    </a:cubicBezTo>
                    <a:close/>
                    <a:moveTo>
                      <a:pt x="214" y="956"/>
                    </a:moveTo>
                    <a:cubicBezTo>
                      <a:pt x="204" y="952"/>
                      <a:pt x="205" y="961"/>
                      <a:pt x="205" y="961"/>
                    </a:cubicBezTo>
                    <a:cubicBezTo>
                      <a:pt x="220" y="968"/>
                      <a:pt x="225" y="960"/>
                      <a:pt x="214" y="956"/>
                    </a:cubicBezTo>
                    <a:close/>
                    <a:moveTo>
                      <a:pt x="230" y="810"/>
                    </a:moveTo>
                    <a:cubicBezTo>
                      <a:pt x="230" y="814"/>
                      <a:pt x="217" y="820"/>
                      <a:pt x="217" y="820"/>
                    </a:cubicBezTo>
                    <a:cubicBezTo>
                      <a:pt x="234" y="829"/>
                      <a:pt x="234" y="829"/>
                      <a:pt x="234" y="829"/>
                    </a:cubicBezTo>
                    <a:cubicBezTo>
                      <a:pt x="234" y="829"/>
                      <a:pt x="230" y="806"/>
                      <a:pt x="230" y="810"/>
                    </a:cubicBezTo>
                    <a:close/>
                    <a:moveTo>
                      <a:pt x="252" y="792"/>
                    </a:moveTo>
                    <a:cubicBezTo>
                      <a:pt x="252" y="796"/>
                      <a:pt x="248" y="805"/>
                      <a:pt x="248" y="805"/>
                    </a:cubicBezTo>
                    <a:cubicBezTo>
                      <a:pt x="257" y="825"/>
                      <a:pt x="257" y="825"/>
                      <a:pt x="257" y="825"/>
                    </a:cubicBezTo>
                    <a:cubicBezTo>
                      <a:pt x="258" y="814"/>
                      <a:pt x="258" y="814"/>
                      <a:pt x="258" y="814"/>
                    </a:cubicBezTo>
                    <a:cubicBezTo>
                      <a:pt x="258" y="814"/>
                      <a:pt x="252" y="788"/>
                      <a:pt x="252" y="792"/>
                    </a:cubicBezTo>
                    <a:close/>
                    <a:moveTo>
                      <a:pt x="32" y="1144"/>
                    </a:moveTo>
                    <a:cubicBezTo>
                      <a:pt x="36" y="1144"/>
                      <a:pt x="54" y="1138"/>
                      <a:pt x="54" y="1138"/>
                    </a:cubicBezTo>
                    <a:cubicBezTo>
                      <a:pt x="36" y="1129"/>
                      <a:pt x="36" y="1129"/>
                      <a:pt x="36" y="1129"/>
                    </a:cubicBezTo>
                    <a:cubicBezTo>
                      <a:pt x="36" y="1129"/>
                      <a:pt x="28" y="1144"/>
                      <a:pt x="32" y="1144"/>
                    </a:cubicBezTo>
                    <a:close/>
                    <a:moveTo>
                      <a:pt x="81" y="1117"/>
                    </a:moveTo>
                    <a:cubicBezTo>
                      <a:pt x="72" y="1100"/>
                      <a:pt x="72" y="1100"/>
                      <a:pt x="72" y="1100"/>
                    </a:cubicBezTo>
                    <a:cubicBezTo>
                      <a:pt x="72" y="1110"/>
                      <a:pt x="72" y="1110"/>
                      <a:pt x="72" y="1110"/>
                    </a:cubicBezTo>
                    <a:cubicBezTo>
                      <a:pt x="70" y="1126"/>
                      <a:pt x="85" y="1133"/>
                      <a:pt x="90" y="1125"/>
                    </a:cubicBezTo>
                    <a:cubicBezTo>
                      <a:pt x="96" y="1117"/>
                      <a:pt x="81" y="1117"/>
                      <a:pt x="81" y="1117"/>
                    </a:cubicBezTo>
                    <a:close/>
                    <a:moveTo>
                      <a:pt x="16" y="1134"/>
                    </a:moveTo>
                    <a:cubicBezTo>
                      <a:pt x="0" y="1133"/>
                      <a:pt x="9" y="1150"/>
                      <a:pt x="9" y="1150"/>
                    </a:cubicBezTo>
                    <a:cubicBezTo>
                      <a:pt x="21" y="1153"/>
                      <a:pt x="32" y="1136"/>
                      <a:pt x="16" y="1134"/>
                    </a:cubicBezTo>
                    <a:close/>
                    <a:moveTo>
                      <a:pt x="118" y="1033"/>
                    </a:moveTo>
                    <a:cubicBezTo>
                      <a:pt x="118" y="1041"/>
                      <a:pt x="129" y="1041"/>
                      <a:pt x="129" y="1041"/>
                    </a:cubicBezTo>
                    <a:cubicBezTo>
                      <a:pt x="136" y="1029"/>
                      <a:pt x="118" y="1025"/>
                      <a:pt x="118" y="1033"/>
                    </a:cubicBezTo>
                    <a:close/>
                    <a:moveTo>
                      <a:pt x="184" y="1008"/>
                    </a:moveTo>
                    <a:cubicBezTo>
                      <a:pt x="174" y="1018"/>
                      <a:pt x="165" y="1050"/>
                      <a:pt x="165" y="1050"/>
                    </a:cubicBezTo>
                    <a:cubicBezTo>
                      <a:pt x="178" y="1053"/>
                      <a:pt x="178" y="1053"/>
                      <a:pt x="178" y="1053"/>
                    </a:cubicBezTo>
                    <a:cubicBezTo>
                      <a:pt x="178" y="1053"/>
                      <a:pt x="190" y="1032"/>
                      <a:pt x="186" y="1032"/>
                    </a:cubicBezTo>
                    <a:cubicBezTo>
                      <a:pt x="182" y="1032"/>
                      <a:pt x="198" y="1014"/>
                      <a:pt x="198" y="1014"/>
                    </a:cubicBezTo>
                    <a:cubicBezTo>
                      <a:pt x="198" y="1014"/>
                      <a:pt x="193" y="997"/>
                      <a:pt x="184" y="100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2" name="MCShape 134">
                <a:extLst>
                  <a:ext uri="{FF2B5EF4-FFF2-40B4-BE49-F238E27FC236}">
                    <a16:creationId xmlns:a16="http://schemas.microsoft.com/office/drawing/2014/main" id="{86319ACE-F766-44C9-B714-D30266D998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5694" y="1770840"/>
                <a:ext cx="3565233" cy="1138399"/>
              </a:xfrm>
              <a:custGeom>
                <a:avLst/>
                <a:gdLst>
                  <a:gd name="T0" fmla="*/ 1604 w 6045"/>
                  <a:gd name="T1" fmla="*/ 319 h 1923"/>
                  <a:gd name="T2" fmla="*/ 1125 w 6045"/>
                  <a:gd name="T3" fmla="*/ 38 h 1923"/>
                  <a:gd name="T4" fmla="*/ 1119 w 6045"/>
                  <a:gd name="T5" fmla="*/ 335 h 1923"/>
                  <a:gd name="T6" fmla="*/ 1136 w 6045"/>
                  <a:gd name="T7" fmla="*/ 227 h 1923"/>
                  <a:gd name="T8" fmla="*/ 1032 w 6045"/>
                  <a:gd name="T9" fmla="*/ 349 h 1923"/>
                  <a:gd name="T10" fmla="*/ 4026 w 6045"/>
                  <a:gd name="T11" fmla="*/ 259 h 1923"/>
                  <a:gd name="T12" fmla="*/ 2394 w 6045"/>
                  <a:gd name="T13" fmla="*/ 103 h 1923"/>
                  <a:gd name="T14" fmla="*/ 3618 w 6045"/>
                  <a:gd name="T15" fmla="*/ 235 h 1923"/>
                  <a:gd name="T16" fmla="*/ 113 w 6045"/>
                  <a:gd name="T17" fmla="*/ 1236 h 1923"/>
                  <a:gd name="T18" fmla="*/ 755 w 6045"/>
                  <a:gd name="T19" fmla="*/ 45 h 1923"/>
                  <a:gd name="T20" fmla="*/ 5033 w 6045"/>
                  <a:gd name="T21" fmla="*/ 1361 h 1923"/>
                  <a:gd name="T22" fmla="*/ 5193 w 6045"/>
                  <a:gd name="T23" fmla="*/ 1629 h 1923"/>
                  <a:gd name="T24" fmla="*/ 5935 w 6045"/>
                  <a:gd name="T25" fmla="*/ 632 h 1923"/>
                  <a:gd name="T26" fmla="*/ 5061 w 6045"/>
                  <a:gd name="T27" fmla="*/ 515 h 1923"/>
                  <a:gd name="T28" fmla="*/ 4321 w 6045"/>
                  <a:gd name="T29" fmla="*/ 409 h 1923"/>
                  <a:gd name="T30" fmla="*/ 3936 w 6045"/>
                  <a:gd name="T31" fmla="*/ 365 h 1923"/>
                  <a:gd name="T32" fmla="*/ 3577 w 6045"/>
                  <a:gd name="T33" fmla="*/ 386 h 1923"/>
                  <a:gd name="T34" fmla="*/ 3251 w 6045"/>
                  <a:gd name="T35" fmla="*/ 351 h 1923"/>
                  <a:gd name="T36" fmla="*/ 2915 w 6045"/>
                  <a:gd name="T37" fmla="*/ 313 h 1923"/>
                  <a:gd name="T38" fmla="*/ 2906 w 6045"/>
                  <a:gd name="T39" fmla="*/ 254 h 1923"/>
                  <a:gd name="T40" fmla="*/ 2423 w 6045"/>
                  <a:gd name="T41" fmla="*/ 210 h 1923"/>
                  <a:gd name="T42" fmla="*/ 2038 w 6045"/>
                  <a:gd name="T43" fmla="*/ 402 h 1923"/>
                  <a:gd name="T44" fmla="*/ 1740 w 6045"/>
                  <a:gd name="T45" fmla="*/ 389 h 1923"/>
                  <a:gd name="T46" fmla="*/ 1845 w 6045"/>
                  <a:gd name="T47" fmla="*/ 542 h 1923"/>
                  <a:gd name="T48" fmla="*/ 1684 w 6045"/>
                  <a:gd name="T49" fmla="*/ 417 h 1923"/>
                  <a:gd name="T50" fmla="*/ 1499 w 6045"/>
                  <a:gd name="T51" fmla="*/ 522 h 1923"/>
                  <a:gd name="T52" fmla="*/ 1060 w 6045"/>
                  <a:gd name="T53" fmla="*/ 545 h 1923"/>
                  <a:gd name="T54" fmla="*/ 795 w 6045"/>
                  <a:gd name="T55" fmla="*/ 644 h 1923"/>
                  <a:gd name="T56" fmla="*/ 508 w 6045"/>
                  <a:gd name="T57" fmla="*/ 670 h 1923"/>
                  <a:gd name="T58" fmla="*/ 357 w 6045"/>
                  <a:gd name="T59" fmla="*/ 475 h 1923"/>
                  <a:gd name="T60" fmla="*/ 323 w 6045"/>
                  <a:gd name="T61" fmla="*/ 703 h 1923"/>
                  <a:gd name="T62" fmla="*/ 303 w 6045"/>
                  <a:gd name="T63" fmla="*/ 980 h 1923"/>
                  <a:gd name="T64" fmla="*/ 382 w 6045"/>
                  <a:gd name="T65" fmla="*/ 1163 h 1923"/>
                  <a:gd name="T66" fmla="*/ 538 w 6045"/>
                  <a:gd name="T67" fmla="*/ 1342 h 1923"/>
                  <a:gd name="T68" fmla="*/ 827 w 6045"/>
                  <a:gd name="T69" fmla="*/ 1472 h 1923"/>
                  <a:gd name="T70" fmla="*/ 752 w 6045"/>
                  <a:gd name="T71" fmla="*/ 1694 h 1923"/>
                  <a:gd name="T72" fmla="*/ 1214 w 6045"/>
                  <a:gd name="T73" fmla="*/ 1892 h 1923"/>
                  <a:gd name="T74" fmla="*/ 1231 w 6045"/>
                  <a:gd name="T75" fmla="*/ 1631 h 1923"/>
                  <a:gd name="T76" fmla="*/ 1419 w 6045"/>
                  <a:gd name="T77" fmla="*/ 1396 h 1923"/>
                  <a:gd name="T78" fmla="*/ 1765 w 6045"/>
                  <a:gd name="T79" fmla="*/ 1244 h 1923"/>
                  <a:gd name="T80" fmla="*/ 2222 w 6045"/>
                  <a:gd name="T81" fmla="*/ 1256 h 1923"/>
                  <a:gd name="T82" fmla="*/ 2847 w 6045"/>
                  <a:gd name="T83" fmla="*/ 1496 h 1923"/>
                  <a:gd name="T84" fmla="*/ 3152 w 6045"/>
                  <a:gd name="T85" fmla="*/ 1456 h 1923"/>
                  <a:gd name="T86" fmla="*/ 3428 w 6045"/>
                  <a:gd name="T87" fmla="*/ 1441 h 1923"/>
                  <a:gd name="T88" fmla="*/ 3929 w 6045"/>
                  <a:gd name="T89" fmla="*/ 1447 h 1923"/>
                  <a:gd name="T90" fmla="*/ 4174 w 6045"/>
                  <a:gd name="T91" fmla="*/ 1268 h 1923"/>
                  <a:gd name="T92" fmla="*/ 4630 w 6045"/>
                  <a:gd name="T93" fmla="*/ 1533 h 1923"/>
                  <a:gd name="T94" fmla="*/ 4843 w 6045"/>
                  <a:gd name="T95" fmla="*/ 1667 h 1923"/>
                  <a:gd name="T96" fmla="*/ 4985 w 6045"/>
                  <a:gd name="T97" fmla="*/ 1754 h 1923"/>
                  <a:gd name="T98" fmla="*/ 4903 w 6045"/>
                  <a:gd name="T99" fmla="*/ 1298 h 1923"/>
                  <a:gd name="T100" fmla="*/ 4580 w 6045"/>
                  <a:gd name="T101" fmla="*/ 1205 h 1923"/>
                  <a:gd name="T102" fmla="*/ 4885 w 6045"/>
                  <a:gd name="T103" fmla="*/ 977 h 1923"/>
                  <a:gd name="T104" fmla="*/ 5110 w 6045"/>
                  <a:gd name="T105" fmla="*/ 890 h 1923"/>
                  <a:gd name="T106" fmla="*/ 5374 w 6045"/>
                  <a:gd name="T107" fmla="*/ 897 h 1923"/>
                  <a:gd name="T108" fmla="*/ 5630 w 6045"/>
                  <a:gd name="T109" fmla="*/ 1386 h 1923"/>
                  <a:gd name="T110" fmla="*/ 5463 w 6045"/>
                  <a:gd name="T111" fmla="*/ 992 h 1923"/>
                  <a:gd name="T112" fmla="*/ 5791 w 6045"/>
                  <a:gd name="T113" fmla="*/ 813 h 1923"/>
                  <a:gd name="T114" fmla="*/ 5719 w 6045"/>
                  <a:gd name="T115" fmla="*/ 660 h 1923"/>
                  <a:gd name="T116" fmla="*/ 3494 w 6045"/>
                  <a:gd name="T117" fmla="*/ 1368 h 1923"/>
                  <a:gd name="T118" fmla="*/ 3579 w 6045"/>
                  <a:gd name="T119" fmla="*/ 1259 h 1923"/>
                  <a:gd name="T120" fmla="*/ 943 w 6045"/>
                  <a:gd name="T121" fmla="*/ 537 h 1923"/>
                  <a:gd name="T122" fmla="*/ 924 w 6045"/>
                  <a:gd name="T123" fmla="*/ 25 h 192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045"/>
                  <a:gd name="T187" fmla="*/ 0 h 1923"/>
                  <a:gd name="T188" fmla="*/ 6045 w 6045"/>
                  <a:gd name="T189" fmla="*/ 1923 h 192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045" h="1923">
                    <a:moveTo>
                      <a:pt x="1866" y="364"/>
                    </a:moveTo>
                    <a:cubicBezTo>
                      <a:pt x="1845" y="359"/>
                      <a:pt x="1845" y="359"/>
                      <a:pt x="1845" y="359"/>
                    </a:cubicBezTo>
                    <a:cubicBezTo>
                      <a:pt x="1828" y="373"/>
                      <a:pt x="1828" y="373"/>
                      <a:pt x="1828" y="373"/>
                    </a:cubicBezTo>
                    <a:cubicBezTo>
                      <a:pt x="1854" y="380"/>
                      <a:pt x="1854" y="380"/>
                      <a:pt x="1854" y="380"/>
                    </a:cubicBezTo>
                    <a:lnTo>
                      <a:pt x="1866" y="364"/>
                    </a:lnTo>
                    <a:close/>
                    <a:moveTo>
                      <a:pt x="1894" y="346"/>
                    </a:moveTo>
                    <a:cubicBezTo>
                      <a:pt x="1869" y="329"/>
                      <a:pt x="1876" y="352"/>
                      <a:pt x="1876" y="352"/>
                    </a:cubicBezTo>
                    <a:cubicBezTo>
                      <a:pt x="1901" y="362"/>
                      <a:pt x="1919" y="363"/>
                      <a:pt x="1894" y="346"/>
                    </a:cubicBezTo>
                    <a:close/>
                    <a:moveTo>
                      <a:pt x="1138" y="13"/>
                    </a:moveTo>
                    <a:cubicBezTo>
                      <a:pt x="1148" y="11"/>
                      <a:pt x="1162" y="1"/>
                      <a:pt x="1155" y="1"/>
                    </a:cubicBezTo>
                    <a:cubicBezTo>
                      <a:pt x="1148" y="1"/>
                      <a:pt x="1100" y="1"/>
                      <a:pt x="1100" y="1"/>
                    </a:cubicBezTo>
                    <a:cubicBezTo>
                      <a:pt x="1097" y="10"/>
                      <a:pt x="1097" y="10"/>
                      <a:pt x="1097" y="10"/>
                    </a:cubicBezTo>
                    <a:cubicBezTo>
                      <a:pt x="1124" y="7"/>
                      <a:pt x="1124" y="7"/>
                      <a:pt x="1124" y="7"/>
                    </a:cubicBezTo>
                    <a:cubicBezTo>
                      <a:pt x="1124" y="7"/>
                      <a:pt x="1128" y="14"/>
                      <a:pt x="1138" y="13"/>
                    </a:cubicBezTo>
                    <a:close/>
                    <a:moveTo>
                      <a:pt x="1163" y="39"/>
                    </a:moveTo>
                    <a:cubicBezTo>
                      <a:pt x="1168" y="39"/>
                      <a:pt x="1176" y="34"/>
                      <a:pt x="1176" y="34"/>
                    </a:cubicBezTo>
                    <a:cubicBezTo>
                      <a:pt x="1176" y="34"/>
                      <a:pt x="1203" y="42"/>
                      <a:pt x="1210" y="35"/>
                    </a:cubicBezTo>
                    <a:cubicBezTo>
                      <a:pt x="1217" y="28"/>
                      <a:pt x="1211" y="17"/>
                      <a:pt x="1189" y="17"/>
                    </a:cubicBezTo>
                    <a:cubicBezTo>
                      <a:pt x="1166" y="17"/>
                      <a:pt x="1145" y="34"/>
                      <a:pt x="1145" y="34"/>
                    </a:cubicBezTo>
                    <a:cubicBezTo>
                      <a:pt x="1149" y="39"/>
                      <a:pt x="1159" y="39"/>
                      <a:pt x="1163" y="39"/>
                    </a:cubicBezTo>
                    <a:close/>
                    <a:moveTo>
                      <a:pt x="1590" y="341"/>
                    </a:moveTo>
                    <a:cubicBezTo>
                      <a:pt x="1623" y="333"/>
                      <a:pt x="1612" y="323"/>
                      <a:pt x="1604" y="319"/>
                    </a:cubicBezTo>
                    <a:cubicBezTo>
                      <a:pt x="1596" y="315"/>
                      <a:pt x="1566" y="319"/>
                      <a:pt x="1566" y="319"/>
                    </a:cubicBezTo>
                    <a:cubicBezTo>
                      <a:pt x="1566" y="319"/>
                      <a:pt x="1572" y="345"/>
                      <a:pt x="1590" y="341"/>
                    </a:cubicBezTo>
                    <a:close/>
                    <a:moveTo>
                      <a:pt x="1062" y="20"/>
                    </a:moveTo>
                    <a:cubicBezTo>
                      <a:pt x="1034" y="17"/>
                      <a:pt x="1034" y="17"/>
                      <a:pt x="1034" y="17"/>
                    </a:cubicBezTo>
                    <a:cubicBezTo>
                      <a:pt x="1041" y="25"/>
                      <a:pt x="1041" y="25"/>
                      <a:pt x="1041" y="25"/>
                    </a:cubicBezTo>
                    <a:lnTo>
                      <a:pt x="1062" y="20"/>
                    </a:lnTo>
                    <a:close/>
                    <a:moveTo>
                      <a:pt x="1264" y="465"/>
                    </a:moveTo>
                    <a:cubicBezTo>
                      <a:pt x="1259" y="473"/>
                      <a:pt x="1324" y="507"/>
                      <a:pt x="1330" y="491"/>
                    </a:cubicBezTo>
                    <a:cubicBezTo>
                      <a:pt x="1336" y="475"/>
                      <a:pt x="1270" y="455"/>
                      <a:pt x="1264" y="465"/>
                    </a:cubicBezTo>
                    <a:close/>
                    <a:moveTo>
                      <a:pt x="2074" y="83"/>
                    </a:moveTo>
                    <a:cubicBezTo>
                      <a:pt x="2084" y="73"/>
                      <a:pt x="2084" y="73"/>
                      <a:pt x="2084" y="73"/>
                    </a:cubicBezTo>
                    <a:cubicBezTo>
                      <a:pt x="2024" y="73"/>
                      <a:pt x="2024" y="73"/>
                      <a:pt x="2024" y="73"/>
                    </a:cubicBezTo>
                    <a:lnTo>
                      <a:pt x="2074" y="83"/>
                    </a:lnTo>
                    <a:close/>
                    <a:moveTo>
                      <a:pt x="1044" y="68"/>
                    </a:moveTo>
                    <a:cubicBezTo>
                      <a:pt x="1090" y="66"/>
                      <a:pt x="1090" y="66"/>
                      <a:pt x="1090" y="66"/>
                    </a:cubicBezTo>
                    <a:cubicBezTo>
                      <a:pt x="1075" y="56"/>
                      <a:pt x="1075" y="56"/>
                      <a:pt x="1075" y="56"/>
                    </a:cubicBezTo>
                    <a:lnTo>
                      <a:pt x="1044" y="68"/>
                    </a:lnTo>
                    <a:close/>
                    <a:moveTo>
                      <a:pt x="1051" y="39"/>
                    </a:moveTo>
                    <a:cubicBezTo>
                      <a:pt x="1064" y="48"/>
                      <a:pt x="1066" y="52"/>
                      <a:pt x="1066" y="52"/>
                    </a:cubicBezTo>
                    <a:cubicBezTo>
                      <a:pt x="1083" y="44"/>
                      <a:pt x="1083" y="44"/>
                      <a:pt x="1083" y="44"/>
                    </a:cubicBezTo>
                    <a:cubicBezTo>
                      <a:pt x="1083" y="44"/>
                      <a:pt x="1076" y="49"/>
                      <a:pt x="1090" y="49"/>
                    </a:cubicBezTo>
                    <a:cubicBezTo>
                      <a:pt x="1104" y="49"/>
                      <a:pt x="1125" y="38"/>
                      <a:pt x="1125" y="38"/>
                    </a:cubicBezTo>
                    <a:cubicBezTo>
                      <a:pt x="1089" y="32"/>
                      <a:pt x="1089" y="32"/>
                      <a:pt x="1089" y="32"/>
                    </a:cubicBezTo>
                    <a:cubicBezTo>
                      <a:pt x="1079" y="38"/>
                      <a:pt x="1079" y="38"/>
                      <a:pt x="1079" y="38"/>
                    </a:cubicBezTo>
                    <a:cubicBezTo>
                      <a:pt x="1079" y="38"/>
                      <a:pt x="1065" y="32"/>
                      <a:pt x="1061" y="34"/>
                    </a:cubicBezTo>
                    <a:cubicBezTo>
                      <a:pt x="1057" y="35"/>
                      <a:pt x="1051" y="39"/>
                      <a:pt x="1051" y="39"/>
                    </a:cubicBezTo>
                    <a:close/>
                    <a:moveTo>
                      <a:pt x="1113" y="23"/>
                    </a:moveTo>
                    <a:cubicBezTo>
                      <a:pt x="1071" y="23"/>
                      <a:pt x="1071" y="23"/>
                      <a:pt x="1071" y="23"/>
                    </a:cubicBezTo>
                    <a:cubicBezTo>
                      <a:pt x="1106" y="31"/>
                      <a:pt x="1106" y="31"/>
                      <a:pt x="1106" y="31"/>
                    </a:cubicBezTo>
                    <a:lnTo>
                      <a:pt x="1113" y="23"/>
                    </a:lnTo>
                    <a:close/>
                    <a:moveTo>
                      <a:pt x="1032" y="349"/>
                    </a:moveTo>
                    <a:cubicBezTo>
                      <a:pt x="1002" y="354"/>
                      <a:pt x="1002" y="354"/>
                      <a:pt x="1002" y="354"/>
                    </a:cubicBezTo>
                    <a:cubicBezTo>
                      <a:pt x="1011" y="366"/>
                      <a:pt x="1011" y="366"/>
                      <a:pt x="1011" y="366"/>
                    </a:cubicBezTo>
                    <a:cubicBezTo>
                      <a:pt x="1030" y="357"/>
                      <a:pt x="1030" y="357"/>
                      <a:pt x="1030" y="357"/>
                    </a:cubicBezTo>
                    <a:cubicBezTo>
                      <a:pt x="1020" y="373"/>
                      <a:pt x="1020" y="373"/>
                      <a:pt x="1020" y="373"/>
                    </a:cubicBezTo>
                    <a:cubicBezTo>
                      <a:pt x="1020" y="373"/>
                      <a:pt x="992" y="379"/>
                      <a:pt x="994" y="390"/>
                    </a:cubicBezTo>
                    <a:cubicBezTo>
                      <a:pt x="996" y="401"/>
                      <a:pt x="1023" y="405"/>
                      <a:pt x="1035" y="405"/>
                    </a:cubicBezTo>
                    <a:cubicBezTo>
                      <a:pt x="1048" y="405"/>
                      <a:pt x="1065" y="408"/>
                      <a:pt x="1076" y="414"/>
                    </a:cubicBezTo>
                    <a:cubicBezTo>
                      <a:pt x="1086" y="420"/>
                      <a:pt x="1085" y="437"/>
                      <a:pt x="1088" y="438"/>
                    </a:cubicBezTo>
                    <a:cubicBezTo>
                      <a:pt x="1091" y="440"/>
                      <a:pt x="1140" y="447"/>
                      <a:pt x="1140" y="447"/>
                    </a:cubicBezTo>
                    <a:cubicBezTo>
                      <a:pt x="1214" y="443"/>
                      <a:pt x="1214" y="443"/>
                      <a:pt x="1214" y="443"/>
                    </a:cubicBezTo>
                    <a:cubicBezTo>
                      <a:pt x="1214" y="443"/>
                      <a:pt x="1154" y="437"/>
                      <a:pt x="1138" y="411"/>
                    </a:cubicBezTo>
                    <a:cubicBezTo>
                      <a:pt x="1122" y="385"/>
                      <a:pt x="1106" y="385"/>
                      <a:pt x="1122" y="361"/>
                    </a:cubicBezTo>
                    <a:cubicBezTo>
                      <a:pt x="1138" y="337"/>
                      <a:pt x="1119" y="335"/>
                      <a:pt x="1119" y="335"/>
                    </a:cubicBezTo>
                    <a:cubicBezTo>
                      <a:pt x="1146" y="331"/>
                      <a:pt x="1146" y="331"/>
                      <a:pt x="1146" y="331"/>
                    </a:cubicBezTo>
                    <a:cubicBezTo>
                      <a:pt x="1135" y="319"/>
                      <a:pt x="1135" y="319"/>
                      <a:pt x="1135" y="319"/>
                    </a:cubicBezTo>
                    <a:cubicBezTo>
                      <a:pt x="1158" y="322"/>
                      <a:pt x="1158" y="322"/>
                      <a:pt x="1158" y="322"/>
                    </a:cubicBezTo>
                    <a:cubicBezTo>
                      <a:pt x="1145" y="314"/>
                      <a:pt x="1145" y="314"/>
                      <a:pt x="1145" y="314"/>
                    </a:cubicBezTo>
                    <a:cubicBezTo>
                      <a:pt x="1161" y="316"/>
                      <a:pt x="1161" y="316"/>
                      <a:pt x="1161" y="316"/>
                    </a:cubicBezTo>
                    <a:cubicBezTo>
                      <a:pt x="1165" y="306"/>
                      <a:pt x="1165" y="306"/>
                      <a:pt x="1165" y="306"/>
                    </a:cubicBezTo>
                    <a:cubicBezTo>
                      <a:pt x="1151" y="299"/>
                      <a:pt x="1151" y="299"/>
                      <a:pt x="1151" y="299"/>
                    </a:cubicBezTo>
                    <a:cubicBezTo>
                      <a:pt x="1151" y="299"/>
                      <a:pt x="1178" y="303"/>
                      <a:pt x="1182" y="299"/>
                    </a:cubicBezTo>
                    <a:cubicBezTo>
                      <a:pt x="1186" y="295"/>
                      <a:pt x="1171" y="285"/>
                      <a:pt x="1171" y="285"/>
                    </a:cubicBezTo>
                    <a:cubicBezTo>
                      <a:pt x="1193" y="287"/>
                      <a:pt x="1193" y="287"/>
                      <a:pt x="1193" y="287"/>
                    </a:cubicBezTo>
                    <a:cubicBezTo>
                      <a:pt x="1191" y="268"/>
                      <a:pt x="1191" y="268"/>
                      <a:pt x="1191" y="268"/>
                    </a:cubicBezTo>
                    <a:cubicBezTo>
                      <a:pt x="1191" y="268"/>
                      <a:pt x="1205" y="279"/>
                      <a:pt x="1223" y="271"/>
                    </a:cubicBezTo>
                    <a:cubicBezTo>
                      <a:pt x="1242" y="264"/>
                      <a:pt x="1254" y="250"/>
                      <a:pt x="1254" y="250"/>
                    </a:cubicBezTo>
                    <a:cubicBezTo>
                      <a:pt x="1254" y="250"/>
                      <a:pt x="1399" y="229"/>
                      <a:pt x="1420" y="220"/>
                    </a:cubicBezTo>
                    <a:cubicBezTo>
                      <a:pt x="1442" y="210"/>
                      <a:pt x="1463" y="195"/>
                      <a:pt x="1430" y="184"/>
                    </a:cubicBezTo>
                    <a:cubicBezTo>
                      <a:pt x="1397" y="172"/>
                      <a:pt x="1363" y="188"/>
                      <a:pt x="1348" y="194"/>
                    </a:cubicBezTo>
                    <a:cubicBezTo>
                      <a:pt x="1334" y="200"/>
                      <a:pt x="1290" y="215"/>
                      <a:pt x="1270" y="212"/>
                    </a:cubicBezTo>
                    <a:cubicBezTo>
                      <a:pt x="1249" y="210"/>
                      <a:pt x="1218" y="206"/>
                      <a:pt x="1218" y="206"/>
                    </a:cubicBezTo>
                    <a:cubicBezTo>
                      <a:pt x="1207" y="223"/>
                      <a:pt x="1207" y="223"/>
                      <a:pt x="1207" y="223"/>
                    </a:cubicBezTo>
                    <a:cubicBezTo>
                      <a:pt x="1190" y="214"/>
                      <a:pt x="1190" y="214"/>
                      <a:pt x="1190" y="214"/>
                    </a:cubicBezTo>
                    <a:cubicBezTo>
                      <a:pt x="1155" y="228"/>
                      <a:pt x="1155" y="228"/>
                      <a:pt x="1155" y="228"/>
                    </a:cubicBezTo>
                    <a:cubicBezTo>
                      <a:pt x="1136" y="227"/>
                      <a:pt x="1136" y="227"/>
                      <a:pt x="1136" y="227"/>
                    </a:cubicBezTo>
                    <a:cubicBezTo>
                      <a:pt x="1117" y="242"/>
                      <a:pt x="1117" y="242"/>
                      <a:pt x="1117" y="242"/>
                    </a:cubicBezTo>
                    <a:cubicBezTo>
                      <a:pt x="1131" y="247"/>
                      <a:pt x="1131" y="247"/>
                      <a:pt x="1131" y="247"/>
                    </a:cubicBezTo>
                    <a:cubicBezTo>
                      <a:pt x="1098" y="248"/>
                      <a:pt x="1098" y="248"/>
                      <a:pt x="1098" y="248"/>
                    </a:cubicBezTo>
                    <a:cubicBezTo>
                      <a:pt x="1079" y="254"/>
                      <a:pt x="1079" y="254"/>
                      <a:pt x="1079" y="254"/>
                    </a:cubicBezTo>
                    <a:cubicBezTo>
                      <a:pt x="1080" y="263"/>
                      <a:pt x="1080" y="263"/>
                      <a:pt x="1080" y="263"/>
                    </a:cubicBezTo>
                    <a:cubicBezTo>
                      <a:pt x="1097" y="254"/>
                      <a:pt x="1097" y="254"/>
                      <a:pt x="1097" y="254"/>
                    </a:cubicBezTo>
                    <a:cubicBezTo>
                      <a:pt x="1098" y="263"/>
                      <a:pt x="1098" y="263"/>
                      <a:pt x="1098" y="263"/>
                    </a:cubicBezTo>
                    <a:cubicBezTo>
                      <a:pt x="1117" y="265"/>
                      <a:pt x="1117" y="265"/>
                      <a:pt x="1117" y="265"/>
                    </a:cubicBezTo>
                    <a:cubicBezTo>
                      <a:pt x="1111" y="273"/>
                      <a:pt x="1111" y="273"/>
                      <a:pt x="1111" y="273"/>
                    </a:cubicBezTo>
                    <a:cubicBezTo>
                      <a:pt x="1085" y="273"/>
                      <a:pt x="1085" y="273"/>
                      <a:pt x="1085" y="273"/>
                    </a:cubicBezTo>
                    <a:cubicBezTo>
                      <a:pt x="1081" y="282"/>
                      <a:pt x="1081" y="282"/>
                      <a:pt x="1081" y="282"/>
                    </a:cubicBezTo>
                    <a:cubicBezTo>
                      <a:pt x="1099" y="285"/>
                      <a:pt x="1099" y="285"/>
                      <a:pt x="1099" y="285"/>
                    </a:cubicBezTo>
                    <a:cubicBezTo>
                      <a:pt x="1068" y="287"/>
                      <a:pt x="1068" y="287"/>
                      <a:pt x="1068" y="287"/>
                    </a:cubicBezTo>
                    <a:cubicBezTo>
                      <a:pt x="1090" y="293"/>
                      <a:pt x="1090" y="293"/>
                      <a:pt x="1090" y="293"/>
                    </a:cubicBezTo>
                    <a:cubicBezTo>
                      <a:pt x="1061" y="295"/>
                      <a:pt x="1061" y="295"/>
                      <a:pt x="1061" y="295"/>
                    </a:cubicBezTo>
                    <a:cubicBezTo>
                      <a:pt x="1059" y="309"/>
                      <a:pt x="1059" y="309"/>
                      <a:pt x="1059" y="309"/>
                    </a:cubicBezTo>
                    <a:cubicBezTo>
                      <a:pt x="1039" y="316"/>
                      <a:pt x="1039" y="316"/>
                      <a:pt x="1039" y="316"/>
                    </a:cubicBezTo>
                    <a:cubicBezTo>
                      <a:pt x="1046" y="326"/>
                      <a:pt x="1046" y="326"/>
                      <a:pt x="1046" y="326"/>
                    </a:cubicBezTo>
                    <a:cubicBezTo>
                      <a:pt x="1073" y="314"/>
                      <a:pt x="1073" y="314"/>
                      <a:pt x="1073" y="314"/>
                    </a:cubicBezTo>
                    <a:cubicBezTo>
                      <a:pt x="1062" y="332"/>
                      <a:pt x="1062" y="332"/>
                      <a:pt x="1062" y="332"/>
                    </a:cubicBezTo>
                    <a:cubicBezTo>
                      <a:pt x="1062" y="332"/>
                      <a:pt x="1041" y="327"/>
                      <a:pt x="1033" y="334"/>
                    </a:cubicBezTo>
                    <a:cubicBezTo>
                      <a:pt x="1026" y="341"/>
                      <a:pt x="1032" y="349"/>
                      <a:pt x="1032" y="349"/>
                    </a:cubicBezTo>
                    <a:close/>
                    <a:moveTo>
                      <a:pt x="3856" y="331"/>
                    </a:moveTo>
                    <a:cubicBezTo>
                      <a:pt x="3904" y="325"/>
                      <a:pt x="3904" y="325"/>
                      <a:pt x="3904" y="325"/>
                    </a:cubicBezTo>
                    <a:cubicBezTo>
                      <a:pt x="3976" y="335"/>
                      <a:pt x="3976" y="335"/>
                      <a:pt x="3976" y="335"/>
                    </a:cubicBezTo>
                    <a:cubicBezTo>
                      <a:pt x="3976" y="335"/>
                      <a:pt x="3954" y="311"/>
                      <a:pt x="3938" y="307"/>
                    </a:cubicBezTo>
                    <a:cubicBezTo>
                      <a:pt x="3922" y="303"/>
                      <a:pt x="3866" y="311"/>
                      <a:pt x="3866" y="311"/>
                    </a:cubicBezTo>
                    <a:lnTo>
                      <a:pt x="3856" y="331"/>
                    </a:lnTo>
                    <a:close/>
                    <a:moveTo>
                      <a:pt x="3858" y="253"/>
                    </a:moveTo>
                    <a:cubicBezTo>
                      <a:pt x="3896" y="257"/>
                      <a:pt x="3896" y="257"/>
                      <a:pt x="3896" y="257"/>
                    </a:cubicBezTo>
                    <a:cubicBezTo>
                      <a:pt x="3906" y="247"/>
                      <a:pt x="3904" y="235"/>
                      <a:pt x="3886" y="235"/>
                    </a:cubicBezTo>
                    <a:cubicBezTo>
                      <a:pt x="3868" y="235"/>
                      <a:pt x="3808" y="221"/>
                      <a:pt x="3816" y="233"/>
                    </a:cubicBezTo>
                    <a:cubicBezTo>
                      <a:pt x="3824" y="245"/>
                      <a:pt x="3858" y="253"/>
                      <a:pt x="3858" y="253"/>
                    </a:cubicBezTo>
                    <a:close/>
                    <a:moveTo>
                      <a:pt x="3818" y="289"/>
                    </a:moveTo>
                    <a:cubicBezTo>
                      <a:pt x="3792" y="315"/>
                      <a:pt x="3848" y="313"/>
                      <a:pt x="3856" y="303"/>
                    </a:cubicBezTo>
                    <a:cubicBezTo>
                      <a:pt x="3864" y="293"/>
                      <a:pt x="3825" y="282"/>
                      <a:pt x="3818" y="289"/>
                    </a:cubicBezTo>
                    <a:close/>
                    <a:moveTo>
                      <a:pt x="2050" y="65"/>
                    </a:moveTo>
                    <a:cubicBezTo>
                      <a:pt x="2050" y="65"/>
                      <a:pt x="2106" y="69"/>
                      <a:pt x="2118" y="65"/>
                    </a:cubicBezTo>
                    <a:cubicBezTo>
                      <a:pt x="2130" y="61"/>
                      <a:pt x="2172" y="65"/>
                      <a:pt x="2164" y="49"/>
                    </a:cubicBezTo>
                    <a:cubicBezTo>
                      <a:pt x="2156" y="33"/>
                      <a:pt x="2082" y="11"/>
                      <a:pt x="2082" y="11"/>
                    </a:cubicBezTo>
                    <a:cubicBezTo>
                      <a:pt x="2082" y="11"/>
                      <a:pt x="2026" y="1"/>
                      <a:pt x="2024" y="21"/>
                    </a:cubicBezTo>
                    <a:cubicBezTo>
                      <a:pt x="2022" y="41"/>
                      <a:pt x="2050" y="65"/>
                      <a:pt x="2050" y="65"/>
                    </a:cubicBezTo>
                    <a:close/>
                    <a:moveTo>
                      <a:pt x="4094" y="273"/>
                    </a:moveTo>
                    <a:cubicBezTo>
                      <a:pt x="4122" y="259"/>
                      <a:pt x="4026" y="259"/>
                      <a:pt x="4026" y="259"/>
                    </a:cubicBezTo>
                    <a:cubicBezTo>
                      <a:pt x="4026" y="259"/>
                      <a:pt x="4006" y="241"/>
                      <a:pt x="3998" y="241"/>
                    </a:cubicBezTo>
                    <a:cubicBezTo>
                      <a:pt x="3990" y="241"/>
                      <a:pt x="3966" y="245"/>
                      <a:pt x="3966" y="245"/>
                    </a:cubicBezTo>
                    <a:cubicBezTo>
                      <a:pt x="3942" y="243"/>
                      <a:pt x="3942" y="243"/>
                      <a:pt x="3942" y="243"/>
                    </a:cubicBezTo>
                    <a:cubicBezTo>
                      <a:pt x="3966" y="259"/>
                      <a:pt x="3966" y="259"/>
                      <a:pt x="3966" y="259"/>
                    </a:cubicBezTo>
                    <a:cubicBezTo>
                      <a:pt x="3966" y="259"/>
                      <a:pt x="4066" y="287"/>
                      <a:pt x="4094" y="273"/>
                    </a:cubicBezTo>
                    <a:close/>
                    <a:moveTo>
                      <a:pt x="5070" y="495"/>
                    </a:moveTo>
                    <a:cubicBezTo>
                      <a:pt x="5078" y="485"/>
                      <a:pt x="5004" y="475"/>
                      <a:pt x="5004" y="475"/>
                    </a:cubicBezTo>
                    <a:cubicBezTo>
                      <a:pt x="5004" y="483"/>
                      <a:pt x="5062" y="505"/>
                      <a:pt x="5070" y="495"/>
                    </a:cubicBezTo>
                    <a:close/>
                    <a:moveTo>
                      <a:pt x="2112" y="81"/>
                    </a:moveTo>
                    <a:cubicBezTo>
                      <a:pt x="2112" y="89"/>
                      <a:pt x="2178" y="95"/>
                      <a:pt x="2178" y="95"/>
                    </a:cubicBezTo>
                    <a:cubicBezTo>
                      <a:pt x="2212" y="91"/>
                      <a:pt x="2212" y="91"/>
                      <a:pt x="2212" y="91"/>
                    </a:cubicBezTo>
                    <a:cubicBezTo>
                      <a:pt x="2250" y="105"/>
                      <a:pt x="2250" y="105"/>
                      <a:pt x="2250" y="105"/>
                    </a:cubicBezTo>
                    <a:cubicBezTo>
                      <a:pt x="2292" y="103"/>
                      <a:pt x="2292" y="103"/>
                      <a:pt x="2292" y="103"/>
                    </a:cubicBezTo>
                    <a:cubicBezTo>
                      <a:pt x="2286" y="85"/>
                      <a:pt x="2268" y="59"/>
                      <a:pt x="2250" y="61"/>
                    </a:cubicBezTo>
                    <a:cubicBezTo>
                      <a:pt x="2232" y="63"/>
                      <a:pt x="2214" y="75"/>
                      <a:pt x="2214" y="75"/>
                    </a:cubicBezTo>
                    <a:cubicBezTo>
                      <a:pt x="2200" y="59"/>
                      <a:pt x="2200" y="59"/>
                      <a:pt x="2200" y="59"/>
                    </a:cubicBezTo>
                    <a:cubicBezTo>
                      <a:pt x="2200" y="59"/>
                      <a:pt x="2112" y="73"/>
                      <a:pt x="2112" y="81"/>
                    </a:cubicBezTo>
                    <a:close/>
                    <a:moveTo>
                      <a:pt x="2392" y="133"/>
                    </a:moveTo>
                    <a:cubicBezTo>
                      <a:pt x="2498" y="127"/>
                      <a:pt x="2498" y="127"/>
                      <a:pt x="2498" y="127"/>
                    </a:cubicBezTo>
                    <a:cubicBezTo>
                      <a:pt x="2470" y="111"/>
                      <a:pt x="2470" y="111"/>
                      <a:pt x="2470" y="111"/>
                    </a:cubicBezTo>
                    <a:cubicBezTo>
                      <a:pt x="2470" y="111"/>
                      <a:pt x="2432" y="91"/>
                      <a:pt x="2422" y="91"/>
                    </a:cubicBezTo>
                    <a:cubicBezTo>
                      <a:pt x="2412" y="91"/>
                      <a:pt x="2394" y="103"/>
                      <a:pt x="2394" y="103"/>
                    </a:cubicBezTo>
                    <a:cubicBezTo>
                      <a:pt x="2394" y="103"/>
                      <a:pt x="2388" y="75"/>
                      <a:pt x="2366" y="75"/>
                    </a:cubicBezTo>
                    <a:cubicBezTo>
                      <a:pt x="2344" y="75"/>
                      <a:pt x="2332" y="141"/>
                      <a:pt x="2332" y="141"/>
                    </a:cubicBezTo>
                    <a:cubicBezTo>
                      <a:pt x="2348" y="149"/>
                      <a:pt x="2348" y="149"/>
                      <a:pt x="2348" y="149"/>
                    </a:cubicBezTo>
                    <a:cubicBezTo>
                      <a:pt x="2366" y="145"/>
                      <a:pt x="2392" y="133"/>
                      <a:pt x="2392" y="133"/>
                    </a:cubicBezTo>
                    <a:close/>
                    <a:moveTo>
                      <a:pt x="3752" y="279"/>
                    </a:moveTo>
                    <a:cubicBezTo>
                      <a:pt x="3762" y="261"/>
                      <a:pt x="3762" y="261"/>
                      <a:pt x="3762" y="261"/>
                    </a:cubicBezTo>
                    <a:cubicBezTo>
                      <a:pt x="3762" y="261"/>
                      <a:pt x="3788" y="261"/>
                      <a:pt x="3798" y="261"/>
                    </a:cubicBezTo>
                    <a:cubicBezTo>
                      <a:pt x="3808" y="261"/>
                      <a:pt x="3838" y="259"/>
                      <a:pt x="3838" y="259"/>
                    </a:cubicBezTo>
                    <a:cubicBezTo>
                      <a:pt x="3796" y="239"/>
                      <a:pt x="3796" y="239"/>
                      <a:pt x="3796" y="239"/>
                    </a:cubicBezTo>
                    <a:cubicBezTo>
                      <a:pt x="3804" y="225"/>
                      <a:pt x="3804" y="225"/>
                      <a:pt x="3804" y="225"/>
                    </a:cubicBezTo>
                    <a:cubicBezTo>
                      <a:pt x="3744" y="213"/>
                      <a:pt x="3744" y="213"/>
                      <a:pt x="3744" y="213"/>
                    </a:cubicBezTo>
                    <a:cubicBezTo>
                      <a:pt x="3754" y="231"/>
                      <a:pt x="3754" y="231"/>
                      <a:pt x="3754" y="231"/>
                    </a:cubicBezTo>
                    <a:cubicBezTo>
                      <a:pt x="3754" y="231"/>
                      <a:pt x="3632" y="191"/>
                      <a:pt x="3634" y="221"/>
                    </a:cubicBezTo>
                    <a:cubicBezTo>
                      <a:pt x="3636" y="251"/>
                      <a:pt x="3752" y="279"/>
                      <a:pt x="3752" y="279"/>
                    </a:cubicBezTo>
                    <a:close/>
                    <a:moveTo>
                      <a:pt x="2882" y="289"/>
                    </a:moveTo>
                    <a:cubicBezTo>
                      <a:pt x="2914" y="295"/>
                      <a:pt x="2914" y="295"/>
                      <a:pt x="2914" y="295"/>
                    </a:cubicBezTo>
                    <a:cubicBezTo>
                      <a:pt x="2934" y="297"/>
                      <a:pt x="2954" y="285"/>
                      <a:pt x="2924" y="279"/>
                    </a:cubicBezTo>
                    <a:cubicBezTo>
                      <a:pt x="2894" y="273"/>
                      <a:pt x="2882" y="289"/>
                      <a:pt x="2882" y="289"/>
                    </a:cubicBezTo>
                    <a:close/>
                    <a:moveTo>
                      <a:pt x="3618" y="235"/>
                    </a:moveTo>
                    <a:cubicBezTo>
                      <a:pt x="3582" y="223"/>
                      <a:pt x="3582" y="223"/>
                      <a:pt x="3582" y="223"/>
                    </a:cubicBezTo>
                    <a:cubicBezTo>
                      <a:pt x="3598" y="245"/>
                      <a:pt x="3598" y="245"/>
                      <a:pt x="3598" y="245"/>
                    </a:cubicBezTo>
                    <a:lnTo>
                      <a:pt x="3618" y="235"/>
                    </a:lnTo>
                    <a:close/>
                    <a:moveTo>
                      <a:pt x="5328" y="443"/>
                    </a:moveTo>
                    <a:cubicBezTo>
                      <a:pt x="5340" y="439"/>
                      <a:pt x="5358" y="437"/>
                      <a:pt x="5384" y="437"/>
                    </a:cubicBezTo>
                    <a:cubicBezTo>
                      <a:pt x="5410" y="437"/>
                      <a:pt x="5414" y="421"/>
                      <a:pt x="5396" y="419"/>
                    </a:cubicBezTo>
                    <a:cubicBezTo>
                      <a:pt x="5378" y="417"/>
                      <a:pt x="5346" y="405"/>
                      <a:pt x="5334" y="405"/>
                    </a:cubicBezTo>
                    <a:cubicBezTo>
                      <a:pt x="5322" y="405"/>
                      <a:pt x="5294" y="405"/>
                      <a:pt x="5294" y="427"/>
                    </a:cubicBezTo>
                    <a:cubicBezTo>
                      <a:pt x="5294" y="451"/>
                      <a:pt x="5316" y="447"/>
                      <a:pt x="5328" y="443"/>
                    </a:cubicBezTo>
                    <a:close/>
                    <a:moveTo>
                      <a:pt x="111" y="1194"/>
                    </a:moveTo>
                    <a:cubicBezTo>
                      <a:pt x="103" y="1195"/>
                      <a:pt x="79" y="1198"/>
                      <a:pt x="79" y="1198"/>
                    </a:cubicBezTo>
                    <a:cubicBezTo>
                      <a:pt x="77" y="1192"/>
                      <a:pt x="77" y="1192"/>
                      <a:pt x="77" y="1192"/>
                    </a:cubicBezTo>
                    <a:cubicBezTo>
                      <a:pt x="69" y="1193"/>
                      <a:pt x="69" y="1193"/>
                      <a:pt x="69" y="1193"/>
                    </a:cubicBezTo>
                    <a:cubicBezTo>
                      <a:pt x="66" y="1187"/>
                      <a:pt x="66" y="1187"/>
                      <a:pt x="66" y="1187"/>
                    </a:cubicBezTo>
                    <a:cubicBezTo>
                      <a:pt x="61" y="1187"/>
                      <a:pt x="61" y="1187"/>
                      <a:pt x="61" y="1187"/>
                    </a:cubicBezTo>
                    <a:cubicBezTo>
                      <a:pt x="61" y="1192"/>
                      <a:pt x="53" y="1201"/>
                      <a:pt x="53" y="1201"/>
                    </a:cubicBezTo>
                    <a:cubicBezTo>
                      <a:pt x="53" y="1201"/>
                      <a:pt x="12" y="1196"/>
                      <a:pt x="6" y="1203"/>
                    </a:cubicBezTo>
                    <a:cubicBezTo>
                      <a:pt x="0" y="1210"/>
                      <a:pt x="13" y="1219"/>
                      <a:pt x="13" y="1219"/>
                    </a:cubicBezTo>
                    <a:cubicBezTo>
                      <a:pt x="8" y="1228"/>
                      <a:pt x="8" y="1228"/>
                      <a:pt x="8" y="1228"/>
                    </a:cubicBezTo>
                    <a:cubicBezTo>
                      <a:pt x="8" y="1227"/>
                      <a:pt x="8" y="1227"/>
                      <a:pt x="8" y="1227"/>
                    </a:cubicBezTo>
                    <a:cubicBezTo>
                      <a:pt x="13" y="1232"/>
                      <a:pt x="13" y="1232"/>
                      <a:pt x="13" y="1232"/>
                    </a:cubicBezTo>
                    <a:cubicBezTo>
                      <a:pt x="13" y="1232"/>
                      <a:pt x="25" y="1227"/>
                      <a:pt x="34" y="1229"/>
                    </a:cubicBezTo>
                    <a:cubicBezTo>
                      <a:pt x="43" y="1231"/>
                      <a:pt x="51" y="1236"/>
                      <a:pt x="51" y="1236"/>
                    </a:cubicBezTo>
                    <a:cubicBezTo>
                      <a:pt x="51" y="1236"/>
                      <a:pt x="82" y="1234"/>
                      <a:pt x="90" y="1235"/>
                    </a:cubicBezTo>
                    <a:cubicBezTo>
                      <a:pt x="98" y="1236"/>
                      <a:pt x="113" y="1236"/>
                      <a:pt x="113" y="1236"/>
                    </a:cubicBezTo>
                    <a:cubicBezTo>
                      <a:pt x="113" y="1236"/>
                      <a:pt x="109" y="1230"/>
                      <a:pt x="117" y="1231"/>
                    </a:cubicBezTo>
                    <a:cubicBezTo>
                      <a:pt x="112" y="1221"/>
                      <a:pt x="112" y="1221"/>
                      <a:pt x="112" y="1221"/>
                    </a:cubicBezTo>
                    <a:cubicBezTo>
                      <a:pt x="112" y="1221"/>
                      <a:pt x="120" y="1214"/>
                      <a:pt x="121" y="1209"/>
                    </a:cubicBezTo>
                    <a:cubicBezTo>
                      <a:pt x="122" y="1204"/>
                      <a:pt x="119" y="1193"/>
                      <a:pt x="111" y="1194"/>
                    </a:cubicBezTo>
                    <a:close/>
                    <a:moveTo>
                      <a:pt x="698" y="59"/>
                    </a:moveTo>
                    <a:cubicBezTo>
                      <a:pt x="712" y="49"/>
                      <a:pt x="712" y="49"/>
                      <a:pt x="712" y="49"/>
                    </a:cubicBezTo>
                    <a:cubicBezTo>
                      <a:pt x="712" y="49"/>
                      <a:pt x="677" y="42"/>
                      <a:pt x="698" y="59"/>
                    </a:cubicBezTo>
                    <a:close/>
                    <a:moveTo>
                      <a:pt x="664" y="48"/>
                    </a:moveTo>
                    <a:cubicBezTo>
                      <a:pt x="720" y="35"/>
                      <a:pt x="720" y="35"/>
                      <a:pt x="720" y="35"/>
                    </a:cubicBezTo>
                    <a:cubicBezTo>
                      <a:pt x="702" y="30"/>
                      <a:pt x="702" y="30"/>
                      <a:pt x="702" y="30"/>
                    </a:cubicBezTo>
                    <a:cubicBezTo>
                      <a:pt x="668" y="38"/>
                      <a:pt x="668" y="38"/>
                      <a:pt x="668" y="38"/>
                    </a:cubicBezTo>
                    <a:cubicBezTo>
                      <a:pt x="634" y="37"/>
                      <a:pt x="634" y="37"/>
                      <a:pt x="634" y="37"/>
                    </a:cubicBezTo>
                    <a:cubicBezTo>
                      <a:pt x="650" y="44"/>
                      <a:pt x="650" y="44"/>
                      <a:pt x="650" y="44"/>
                    </a:cubicBezTo>
                    <a:lnTo>
                      <a:pt x="664" y="48"/>
                    </a:lnTo>
                    <a:close/>
                    <a:moveTo>
                      <a:pt x="754" y="61"/>
                    </a:moveTo>
                    <a:cubicBezTo>
                      <a:pt x="757" y="51"/>
                      <a:pt x="757" y="51"/>
                      <a:pt x="757" y="51"/>
                    </a:cubicBezTo>
                    <a:cubicBezTo>
                      <a:pt x="774" y="51"/>
                      <a:pt x="774" y="51"/>
                      <a:pt x="774" y="51"/>
                    </a:cubicBezTo>
                    <a:cubicBezTo>
                      <a:pt x="779" y="45"/>
                      <a:pt x="779" y="45"/>
                      <a:pt x="779" y="45"/>
                    </a:cubicBezTo>
                    <a:cubicBezTo>
                      <a:pt x="779" y="45"/>
                      <a:pt x="806" y="48"/>
                      <a:pt x="816" y="42"/>
                    </a:cubicBezTo>
                    <a:cubicBezTo>
                      <a:pt x="826" y="37"/>
                      <a:pt x="791" y="37"/>
                      <a:pt x="791" y="37"/>
                    </a:cubicBezTo>
                    <a:cubicBezTo>
                      <a:pt x="791" y="37"/>
                      <a:pt x="791" y="27"/>
                      <a:pt x="774" y="27"/>
                    </a:cubicBezTo>
                    <a:cubicBezTo>
                      <a:pt x="757" y="27"/>
                      <a:pt x="755" y="45"/>
                      <a:pt x="755" y="45"/>
                    </a:cubicBezTo>
                    <a:cubicBezTo>
                      <a:pt x="755" y="45"/>
                      <a:pt x="719" y="51"/>
                      <a:pt x="722" y="56"/>
                    </a:cubicBezTo>
                    <a:cubicBezTo>
                      <a:pt x="724" y="62"/>
                      <a:pt x="754" y="61"/>
                      <a:pt x="754" y="61"/>
                    </a:cubicBezTo>
                    <a:close/>
                    <a:moveTo>
                      <a:pt x="786" y="53"/>
                    </a:moveTo>
                    <a:cubicBezTo>
                      <a:pt x="776" y="59"/>
                      <a:pt x="776" y="59"/>
                      <a:pt x="776" y="59"/>
                    </a:cubicBezTo>
                    <a:cubicBezTo>
                      <a:pt x="789" y="66"/>
                      <a:pt x="789" y="66"/>
                      <a:pt x="789" y="66"/>
                    </a:cubicBezTo>
                    <a:cubicBezTo>
                      <a:pt x="802" y="72"/>
                      <a:pt x="802" y="72"/>
                      <a:pt x="802" y="72"/>
                    </a:cubicBezTo>
                    <a:cubicBezTo>
                      <a:pt x="834" y="69"/>
                      <a:pt x="834" y="69"/>
                      <a:pt x="834" y="69"/>
                    </a:cubicBezTo>
                    <a:cubicBezTo>
                      <a:pt x="833" y="61"/>
                      <a:pt x="833" y="61"/>
                      <a:pt x="833" y="61"/>
                    </a:cubicBezTo>
                    <a:cubicBezTo>
                      <a:pt x="810" y="61"/>
                      <a:pt x="810" y="61"/>
                      <a:pt x="810" y="61"/>
                    </a:cubicBezTo>
                    <a:lnTo>
                      <a:pt x="786" y="53"/>
                    </a:lnTo>
                    <a:close/>
                    <a:moveTo>
                      <a:pt x="5213" y="1622"/>
                    </a:moveTo>
                    <a:cubicBezTo>
                      <a:pt x="5191" y="1599"/>
                      <a:pt x="5191" y="1599"/>
                      <a:pt x="5191" y="1599"/>
                    </a:cubicBezTo>
                    <a:cubicBezTo>
                      <a:pt x="5191" y="1599"/>
                      <a:pt x="5169" y="1593"/>
                      <a:pt x="5156" y="1575"/>
                    </a:cubicBezTo>
                    <a:cubicBezTo>
                      <a:pt x="5144" y="1557"/>
                      <a:pt x="5136" y="1516"/>
                      <a:pt x="5136" y="1516"/>
                    </a:cubicBezTo>
                    <a:cubicBezTo>
                      <a:pt x="5136" y="1516"/>
                      <a:pt x="5112" y="1502"/>
                      <a:pt x="5125" y="1495"/>
                    </a:cubicBezTo>
                    <a:cubicBezTo>
                      <a:pt x="5137" y="1488"/>
                      <a:pt x="5213" y="1526"/>
                      <a:pt x="5213" y="1526"/>
                    </a:cubicBezTo>
                    <a:cubicBezTo>
                      <a:pt x="5163" y="1489"/>
                      <a:pt x="5163" y="1489"/>
                      <a:pt x="5163" y="1489"/>
                    </a:cubicBezTo>
                    <a:cubicBezTo>
                      <a:pt x="5163" y="1489"/>
                      <a:pt x="5144" y="1459"/>
                      <a:pt x="5134" y="1452"/>
                    </a:cubicBezTo>
                    <a:cubicBezTo>
                      <a:pt x="5125" y="1445"/>
                      <a:pt x="5109" y="1435"/>
                      <a:pt x="5109" y="1435"/>
                    </a:cubicBezTo>
                    <a:cubicBezTo>
                      <a:pt x="5057" y="1379"/>
                      <a:pt x="5057" y="1379"/>
                      <a:pt x="5057" y="1379"/>
                    </a:cubicBezTo>
                    <a:cubicBezTo>
                      <a:pt x="5040" y="1380"/>
                      <a:pt x="5040" y="1380"/>
                      <a:pt x="5040" y="1380"/>
                    </a:cubicBezTo>
                    <a:cubicBezTo>
                      <a:pt x="5033" y="1361"/>
                      <a:pt x="5033" y="1361"/>
                      <a:pt x="5033" y="1361"/>
                    </a:cubicBezTo>
                    <a:cubicBezTo>
                      <a:pt x="5033" y="1361"/>
                      <a:pt x="5023" y="1363"/>
                      <a:pt x="5011" y="1351"/>
                    </a:cubicBezTo>
                    <a:cubicBezTo>
                      <a:pt x="4999" y="1338"/>
                      <a:pt x="5003" y="1322"/>
                      <a:pt x="5003" y="1322"/>
                    </a:cubicBezTo>
                    <a:cubicBezTo>
                      <a:pt x="4983" y="1297"/>
                      <a:pt x="4983" y="1297"/>
                      <a:pt x="4983" y="1297"/>
                    </a:cubicBezTo>
                    <a:cubicBezTo>
                      <a:pt x="4969" y="1298"/>
                      <a:pt x="4969" y="1298"/>
                      <a:pt x="4969" y="1298"/>
                    </a:cubicBezTo>
                    <a:cubicBezTo>
                      <a:pt x="4960" y="1279"/>
                      <a:pt x="4960" y="1279"/>
                      <a:pt x="4960" y="1279"/>
                    </a:cubicBezTo>
                    <a:cubicBezTo>
                      <a:pt x="4933" y="1259"/>
                      <a:pt x="4933" y="1259"/>
                      <a:pt x="4933" y="1259"/>
                    </a:cubicBezTo>
                    <a:cubicBezTo>
                      <a:pt x="4925" y="1243"/>
                      <a:pt x="4925" y="1243"/>
                      <a:pt x="4925" y="1243"/>
                    </a:cubicBezTo>
                    <a:cubicBezTo>
                      <a:pt x="4925" y="1243"/>
                      <a:pt x="4907" y="1230"/>
                      <a:pt x="4900" y="1235"/>
                    </a:cubicBezTo>
                    <a:cubicBezTo>
                      <a:pt x="4893" y="1239"/>
                      <a:pt x="4939" y="1272"/>
                      <a:pt x="4933" y="1275"/>
                    </a:cubicBezTo>
                    <a:cubicBezTo>
                      <a:pt x="4928" y="1277"/>
                      <a:pt x="4915" y="1262"/>
                      <a:pt x="4913" y="1277"/>
                    </a:cubicBezTo>
                    <a:cubicBezTo>
                      <a:pt x="4910" y="1293"/>
                      <a:pt x="4939" y="1322"/>
                      <a:pt x="4939" y="1322"/>
                    </a:cubicBezTo>
                    <a:cubicBezTo>
                      <a:pt x="4939" y="1322"/>
                      <a:pt x="4946" y="1340"/>
                      <a:pt x="4953" y="1347"/>
                    </a:cubicBezTo>
                    <a:cubicBezTo>
                      <a:pt x="4960" y="1354"/>
                      <a:pt x="5007" y="1384"/>
                      <a:pt x="5018" y="1398"/>
                    </a:cubicBezTo>
                    <a:cubicBezTo>
                      <a:pt x="5029" y="1412"/>
                      <a:pt x="5028" y="1434"/>
                      <a:pt x="5041" y="1445"/>
                    </a:cubicBezTo>
                    <a:cubicBezTo>
                      <a:pt x="5055" y="1456"/>
                      <a:pt x="5087" y="1512"/>
                      <a:pt x="5087" y="1512"/>
                    </a:cubicBezTo>
                    <a:cubicBezTo>
                      <a:pt x="5087" y="1512"/>
                      <a:pt x="5093" y="1535"/>
                      <a:pt x="5100" y="1535"/>
                    </a:cubicBezTo>
                    <a:cubicBezTo>
                      <a:pt x="5107" y="1535"/>
                      <a:pt x="5120" y="1545"/>
                      <a:pt x="5127" y="1555"/>
                    </a:cubicBezTo>
                    <a:cubicBezTo>
                      <a:pt x="5134" y="1564"/>
                      <a:pt x="5134" y="1584"/>
                      <a:pt x="5134" y="1584"/>
                    </a:cubicBezTo>
                    <a:cubicBezTo>
                      <a:pt x="5162" y="1607"/>
                      <a:pt x="5162" y="1607"/>
                      <a:pt x="5162" y="1607"/>
                    </a:cubicBezTo>
                    <a:cubicBezTo>
                      <a:pt x="5172" y="1643"/>
                      <a:pt x="5172" y="1643"/>
                      <a:pt x="5172" y="1643"/>
                    </a:cubicBezTo>
                    <a:cubicBezTo>
                      <a:pt x="5198" y="1671"/>
                      <a:pt x="5198" y="1671"/>
                      <a:pt x="5198" y="1671"/>
                    </a:cubicBezTo>
                    <a:cubicBezTo>
                      <a:pt x="5198" y="1671"/>
                      <a:pt x="5184" y="1632"/>
                      <a:pt x="5193" y="1629"/>
                    </a:cubicBezTo>
                    <a:cubicBezTo>
                      <a:pt x="5201" y="1627"/>
                      <a:pt x="5205" y="1636"/>
                      <a:pt x="5205" y="1636"/>
                    </a:cubicBezTo>
                    <a:cubicBezTo>
                      <a:pt x="5226" y="1636"/>
                      <a:pt x="5226" y="1636"/>
                      <a:pt x="5226" y="1636"/>
                    </a:cubicBezTo>
                    <a:cubicBezTo>
                      <a:pt x="5248" y="1663"/>
                      <a:pt x="5248" y="1663"/>
                      <a:pt x="5248" y="1663"/>
                    </a:cubicBezTo>
                    <a:cubicBezTo>
                      <a:pt x="5249" y="1646"/>
                      <a:pt x="5249" y="1646"/>
                      <a:pt x="5249" y="1646"/>
                    </a:cubicBezTo>
                    <a:cubicBezTo>
                      <a:pt x="5229" y="1621"/>
                      <a:pt x="5229" y="1621"/>
                      <a:pt x="5229" y="1621"/>
                    </a:cubicBezTo>
                    <a:lnTo>
                      <a:pt x="5213" y="1622"/>
                    </a:lnTo>
                    <a:close/>
                    <a:moveTo>
                      <a:pt x="899" y="58"/>
                    </a:moveTo>
                    <a:cubicBezTo>
                      <a:pt x="905" y="46"/>
                      <a:pt x="905" y="46"/>
                      <a:pt x="905" y="46"/>
                    </a:cubicBezTo>
                    <a:cubicBezTo>
                      <a:pt x="876" y="42"/>
                      <a:pt x="876" y="42"/>
                      <a:pt x="876" y="42"/>
                    </a:cubicBezTo>
                    <a:cubicBezTo>
                      <a:pt x="861" y="52"/>
                      <a:pt x="861" y="52"/>
                      <a:pt x="861" y="52"/>
                    </a:cubicBezTo>
                    <a:cubicBezTo>
                      <a:pt x="864" y="61"/>
                      <a:pt x="864" y="61"/>
                      <a:pt x="864" y="61"/>
                    </a:cubicBezTo>
                    <a:lnTo>
                      <a:pt x="899" y="58"/>
                    </a:lnTo>
                    <a:close/>
                    <a:moveTo>
                      <a:pt x="771" y="1607"/>
                    </a:moveTo>
                    <a:cubicBezTo>
                      <a:pt x="771" y="1607"/>
                      <a:pt x="773" y="1608"/>
                      <a:pt x="774" y="1608"/>
                    </a:cubicBezTo>
                    <a:cubicBezTo>
                      <a:pt x="773" y="1608"/>
                      <a:pt x="771" y="1607"/>
                      <a:pt x="771" y="1607"/>
                    </a:cubicBezTo>
                    <a:close/>
                    <a:moveTo>
                      <a:pt x="771" y="1607"/>
                    </a:moveTo>
                    <a:cubicBezTo>
                      <a:pt x="770" y="1607"/>
                      <a:pt x="770" y="1607"/>
                      <a:pt x="770" y="1607"/>
                    </a:cubicBezTo>
                    <a:cubicBezTo>
                      <a:pt x="770" y="1607"/>
                      <a:pt x="770" y="1607"/>
                      <a:pt x="771" y="1607"/>
                    </a:cubicBezTo>
                    <a:close/>
                    <a:moveTo>
                      <a:pt x="6034" y="664"/>
                    </a:moveTo>
                    <a:cubicBezTo>
                      <a:pt x="6023" y="650"/>
                      <a:pt x="5993" y="645"/>
                      <a:pt x="5993" y="645"/>
                    </a:cubicBezTo>
                    <a:cubicBezTo>
                      <a:pt x="5962" y="631"/>
                      <a:pt x="5962" y="631"/>
                      <a:pt x="5962" y="631"/>
                    </a:cubicBezTo>
                    <a:cubicBezTo>
                      <a:pt x="5935" y="632"/>
                      <a:pt x="5935" y="632"/>
                      <a:pt x="5935" y="632"/>
                    </a:cubicBezTo>
                    <a:cubicBezTo>
                      <a:pt x="5915" y="619"/>
                      <a:pt x="5915" y="619"/>
                      <a:pt x="5915" y="619"/>
                    </a:cubicBezTo>
                    <a:cubicBezTo>
                      <a:pt x="5854" y="615"/>
                      <a:pt x="5854" y="615"/>
                      <a:pt x="5854" y="615"/>
                    </a:cubicBezTo>
                    <a:cubicBezTo>
                      <a:pt x="5829" y="603"/>
                      <a:pt x="5829" y="603"/>
                      <a:pt x="5829" y="603"/>
                    </a:cubicBezTo>
                    <a:cubicBezTo>
                      <a:pt x="5805" y="605"/>
                      <a:pt x="5805" y="605"/>
                      <a:pt x="5805" y="605"/>
                    </a:cubicBezTo>
                    <a:cubicBezTo>
                      <a:pt x="5838" y="630"/>
                      <a:pt x="5838" y="630"/>
                      <a:pt x="5838" y="630"/>
                    </a:cubicBezTo>
                    <a:cubicBezTo>
                      <a:pt x="5874" y="646"/>
                      <a:pt x="5874" y="646"/>
                      <a:pt x="5874" y="646"/>
                    </a:cubicBezTo>
                    <a:cubicBezTo>
                      <a:pt x="5874" y="646"/>
                      <a:pt x="5834" y="652"/>
                      <a:pt x="5822" y="642"/>
                    </a:cubicBezTo>
                    <a:cubicBezTo>
                      <a:pt x="5810" y="632"/>
                      <a:pt x="5809" y="610"/>
                      <a:pt x="5756" y="592"/>
                    </a:cubicBezTo>
                    <a:cubicBezTo>
                      <a:pt x="5703" y="574"/>
                      <a:pt x="5687" y="567"/>
                      <a:pt x="5633" y="558"/>
                    </a:cubicBezTo>
                    <a:cubicBezTo>
                      <a:pt x="5579" y="549"/>
                      <a:pt x="5466" y="523"/>
                      <a:pt x="5412" y="510"/>
                    </a:cubicBezTo>
                    <a:cubicBezTo>
                      <a:pt x="5358" y="497"/>
                      <a:pt x="5297" y="488"/>
                      <a:pt x="5297" y="488"/>
                    </a:cubicBezTo>
                    <a:cubicBezTo>
                      <a:pt x="5175" y="490"/>
                      <a:pt x="5175" y="490"/>
                      <a:pt x="5175" y="490"/>
                    </a:cubicBezTo>
                    <a:cubicBezTo>
                      <a:pt x="5166" y="478"/>
                      <a:pt x="5166" y="478"/>
                      <a:pt x="5166" y="478"/>
                    </a:cubicBezTo>
                    <a:cubicBezTo>
                      <a:pt x="5135" y="480"/>
                      <a:pt x="5135" y="480"/>
                      <a:pt x="5135" y="480"/>
                    </a:cubicBezTo>
                    <a:cubicBezTo>
                      <a:pt x="5124" y="472"/>
                      <a:pt x="5124" y="472"/>
                      <a:pt x="5124" y="472"/>
                    </a:cubicBezTo>
                    <a:cubicBezTo>
                      <a:pt x="5088" y="471"/>
                      <a:pt x="5088" y="471"/>
                      <a:pt x="5088" y="471"/>
                    </a:cubicBezTo>
                    <a:cubicBezTo>
                      <a:pt x="5105" y="483"/>
                      <a:pt x="5105" y="483"/>
                      <a:pt x="5105" y="483"/>
                    </a:cubicBezTo>
                    <a:cubicBezTo>
                      <a:pt x="5100" y="497"/>
                      <a:pt x="5100" y="497"/>
                      <a:pt x="5100" y="497"/>
                    </a:cubicBezTo>
                    <a:cubicBezTo>
                      <a:pt x="5100" y="497"/>
                      <a:pt x="5199" y="520"/>
                      <a:pt x="5170" y="533"/>
                    </a:cubicBezTo>
                    <a:cubicBezTo>
                      <a:pt x="5141" y="546"/>
                      <a:pt x="5123" y="529"/>
                      <a:pt x="5123" y="529"/>
                    </a:cubicBezTo>
                    <a:cubicBezTo>
                      <a:pt x="5106" y="515"/>
                      <a:pt x="5106" y="515"/>
                      <a:pt x="5106" y="515"/>
                    </a:cubicBezTo>
                    <a:cubicBezTo>
                      <a:pt x="5061" y="515"/>
                      <a:pt x="5061" y="515"/>
                      <a:pt x="5061" y="515"/>
                    </a:cubicBezTo>
                    <a:cubicBezTo>
                      <a:pt x="5024" y="492"/>
                      <a:pt x="5024" y="492"/>
                      <a:pt x="5024" y="492"/>
                    </a:cubicBezTo>
                    <a:cubicBezTo>
                      <a:pt x="5024" y="492"/>
                      <a:pt x="5006" y="496"/>
                      <a:pt x="5002" y="499"/>
                    </a:cubicBezTo>
                    <a:cubicBezTo>
                      <a:pt x="4998" y="502"/>
                      <a:pt x="4966" y="501"/>
                      <a:pt x="4966" y="501"/>
                    </a:cubicBezTo>
                    <a:cubicBezTo>
                      <a:pt x="4962" y="493"/>
                      <a:pt x="4962" y="493"/>
                      <a:pt x="4962" y="493"/>
                    </a:cubicBezTo>
                    <a:cubicBezTo>
                      <a:pt x="4900" y="496"/>
                      <a:pt x="4900" y="496"/>
                      <a:pt x="4900" y="496"/>
                    </a:cubicBezTo>
                    <a:cubicBezTo>
                      <a:pt x="4884" y="484"/>
                      <a:pt x="4884" y="484"/>
                      <a:pt x="4884" y="484"/>
                    </a:cubicBezTo>
                    <a:cubicBezTo>
                      <a:pt x="4879" y="490"/>
                      <a:pt x="4879" y="490"/>
                      <a:pt x="4879" y="490"/>
                    </a:cubicBezTo>
                    <a:cubicBezTo>
                      <a:pt x="4879" y="490"/>
                      <a:pt x="4801" y="483"/>
                      <a:pt x="4806" y="493"/>
                    </a:cubicBezTo>
                    <a:cubicBezTo>
                      <a:pt x="4811" y="503"/>
                      <a:pt x="4840" y="527"/>
                      <a:pt x="4840" y="527"/>
                    </a:cubicBezTo>
                    <a:cubicBezTo>
                      <a:pt x="4840" y="527"/>
                      <a:pt x="4804" y="506"/>
                      <a:pt x="4799" y="501"/>
                    </a:cubicBezTo>
                    <a:cubicBezTo>
                      <a:pt x="4794" y="496"/>
                      <a:pt x="4728" y="488"/>
                      <a:pt x="4728" y="488"/>
                    </a:cubicBezTo>
                    <a:cubicBezTo>
                      <a:pt x="4728" y="488"/>
                      <a:pt x="4718" y="470"/>
                      <a:pt x="4693" y="457"/>
                    </a:cubicBezTo>
                    <a:cubicBezTo>
                      <a:pt x="4668" y="444"/>
                      <a:pt x="4630" y="438"/>
                      <a:pt x="4613" y="437"/>
                    </a:cubicBezTo>
                    <a:cubicBezTo>
                      <a:pt x="4596" y="436"/>
                      <a:pt x="4561" y="432"/>
                      <a:pt x="4561" y="432"/>
                    </a:cubicBezTo>
                    <a:cubicBezTo>
                      <a:pt x="4527" y="425"/>
                      <a:pt x="4527" y="425"/>
                      <a:pt x="4527" y="425"/>
                    </a:cubicBezTo>
                    <a:cubicBezTo>
                      <a:pt x="4518" y="429"/>
                      <a:pt x="4518" y="429"/>
                      <a:pt x="4518" y="429"/>
                    </a:cubicBezTo>
                    <a:cubicBezTo>
                      <a:pt x="4478" y="427"/>
                      <a:pt x="4478" y="427"/>
                      <a:pt x="4478" y="427"/>
                    </a:cubicBezTo>
                    <a:cubicBezTo>
                      <a:pt x="4478" y="427"/>
                      <a:pt x="4473" y="447"/>
                      <a:pt x="4451" y="444"/>
                    </a:cubicBezTo>
                    <a:cubicBezTo>
                      <a:pt x="4429" y="441"/>
                      <a:pt x="4400" y="439"/>
                      <a:pt x="4400" y="439"/>
                    </a:cubicBezTo>
                    <a:cubicBezTo>
                      <a:pt x="4400" y="439"/>
                      <a:pt x="4370" y="419"/>
                      <a:pt x="4353" y="418"/>
                    </a:cubicBezTo>
                    <a:cubicBezTo>
                      <a:pt x="4336" y="417"/>
                      <a:pt x="4327" y="420"/>
                      <a:pt x="4327" y="420"/>
                    </a:cubicBezTo>
                    <a:cubicBezTo>
                      <a:pt x="4321" y="409"/>
                      <a:pt x="4321" y="409"/>
                      <a:pt x="4321" y="409"/>
                    </a:cubicBezTo>
                    <a:cubicBezTo>
                      <a:pt x="4296" y="407"/>
                      <a:pt x="4296" y="407"/>
                      <a:pt x="4296" y="407"/>
                    </a:cubicBezTo>
                    <a:cubicBezTo>
                      <a:pt x="4253" y="403"/>
                      <a:pt x="4253" y="403"/>
                      <a:pt x="4253" y="403"/>
                    </a:cubicBezTo>
                    <a:cubicBezTo>
                      <a:pt x="4277" y="395"/>
                      <a:pt x="4277" y="395"/>
                      <a:pt x="4277" y="395"/>
                    </a:cubicBezTo>
                    <a:cubicBezTo>
                      <a:pt x="4251" y="382"/>
                      <a:pt x="4251" y="382"/>
                      <a:pt x="4251" y="382"/>
                    </a:cubicBezTo>
                    <a:cubicBezTo>
                      <a:pt x="4251" y="382"/>
                      <a:pt x="4158" y="369"/>
                      <a:pt x="4155" y="375"/>
                    </a:cubicBezTo>
                    <a:cubicBezTo>
                      <a:pt x="4152" y="381"/>
                      <a:pt x="4164" y="400"/>
                      <a:pt x="4149" y="401"/>
                    </a:cubicBezTo>
                    <a:cubicBezTo>
                      <a:pt x="4134" y="402"/>
                      <a:pt x="4114" y="398"/>
                      <a:pt x="4114" y="398"/>
                    </a:cubicBezTo>
                    <a:cubicBezTo>
                      <a:pt x="4126" y="390"/>
                      <a:pt x="4126" y="390"/>
                      <a:pt x="4126" y="390"/>
                    </a:cubicBezTo>
                    <a:cubicBezTo>
                      <a:pt x="4116" y="380"/>
                      <a:pt x="4116" y="380"/>
                      <a:pt x="4116" y="380"/>
                    </a:cubicBezTo>
                    <a:cubicBezTo>
                      <a:pt x="4116" y="380"/>
                      <a:pt x="4110" y="380"/>
                      <a:pt x="4096" y="382"/>
                    </a:cubicBezTo>
                    <a:cubicBezTo>
                      <a:pt x="4082" y="384"/>
                      <a:pt x="4068" y="379"/>
                      <a:pt x="4068" y="379"/>
                    </a:cubicBezTo>
                    <a:cubicBezTo>
                      <a:pt x="4079" y="374"/>
                      <a:pt x="4079" y="374"/>
                      <a:pt x="4079" y="374"/>
                    </a:cubicBezTo>
                    <a:cubicBezTo>
                      <a:pt x="4109" y="371"/>
                      <a:pt x="4109" y="371"/>
                      <a:pt x="4109" y="371"/>
                    </a:cubicBezTo>
                    <a:cubicBezTo>
                      <a:pt x="4147" y="394"/>
                      <a:pt x="4147" y="394"/>
                      <a:pt x="4147" y="394"/>
                    </a:cubicBezTo>
                    <a:cubicBezTo>
                      <a:pt x="4149" y="375"/>
                      <a:pt x="4149" y="375"/>
                      <a:pt x="4149" y="375"/>
                    </a:cubicBezTo>
                    <a:cubicBezTo>
                      <a:pt x="4110" y="362"/>
                      <a:pt x="4110" y="362"/>
                      <a:pt x="4110" y="362"/>
                    </a:cubicBezTo>
                    <a:cubicBezTo>
                      <a:pt x="4037" y="366"/>
                      <a:pt x="4037" y="366"/>
                      <a:pt x="4037" y="366"/>
                    </a:cubicBezTo>
                    <a:cubicBezTo>
                      <a:pt x="4036" y="357"/>
                      <a:pt x="4036" y="357"/>
                      <a:pt x="4036" y="357"/>
                    </a:cubicBezTo>
                    <a:cubicBezTo>
                      <a:pt x="3955" y="362"/>
                      <a:pt x="3955" y="362"/>
                      <a:pt x="3955" y="362"/>
                    </a:cubicBezTo>
                    <a:cubicBezTo>
                      <a:pt x="3924" y="349"/>
                      <a:pt x="3924" y="349"/>
                      <a:pt x="3924" y="349"/>
                    </a:cubicBezTo>
                    <a:cubicBezTo>
                      <a:pt x="3911" y="349"/>
                      <a:pt x="3911" y="349"/>
                      <a:pt x="3911" y="349"/>
                    </a:cubicBezTo>
                    <a:cubicBezTo>
                      <a:pt x="3936" y="365"/>
                      <a:pt x="3936" y="365"/>
                      <a:pt x="3936" y="365"/>
                    </a:cubicBezTo>
                    <a:cubicBezTo>
                      <a:pt x="3936" y="365"/>
                      <a:pt x="3884" y="364"/>
                      <a:pt x="3892" y="372"/>
                    </a:cubicBezTo>
                    <a:cubicBezTo>
                      <a:pt x="3900" y="380"/>
                      <a:pt x="3910" y="385"/>
                      <a:pt x="3910" y="385"/>
                    </a:cubicBezTo>
                    <a:cubicBezTo>
                      <a:pt x="3931" y="383"/>
                      <a:pt x="3931" y="383"/>
                      <a:pt x="3931" y="383"/>
                    </a:cubicBezTo>
                    <a:cubicBezTo>
                      <a:pt x="3931" y="388"/>
                      <a:pt x="3931" y="388"/>
                      <a:pt x="3931" y="388"/>
                    </a:cubicBezTo>
                    <a:cubicBezTo>
                      <a:pt x="3970" y="414"/>
                      <a:pt x="3970" y="414"/>
                      <a:pt x="3970" y="414"/>
                    </a:cubicBezTo>
                    <a:cubicBezTo>
                      <a:pt x="3970" y="414"/>
                      <a:pt x="3964" y="415"/>
                      <a:pt x="3949" y="414"/>
                    </a:cubicBezTo>
                    <a:cubicBezTo>
                      <a:pt x="3934" y="413"/>
                      <a:pt x="3914" y="398"/>
                      <a:pt x="3909" y="403"/>
                    </a:cubicBezTo>
                    <a:cubicBezTo>
                      <a:pt x="3904" y="408"/>
                      <a:pt x="3900" y="411"/>
                      <a:pt x="3900" y="411"/>
                    </a:cubicBezTo>
                    <a:cubicBezTo>
                      <a:pt x="3917" y="425"/>
                      <a:pt x="3917" y="425"/>
                      <a:pt x="3917" y="425"/>
                    </a:cubicBezTo>
                    <a:cubicBezTo>
                      <a:pt x="3881" y="420"/>
                      <a:pt x="3881" y="420"/>
                      <a:pt x="3881" y="420"/>
                    </a:cubicBezTo>
                    <a:cubicBezTo>
                      <a:pt x="3881" y="420"/>
                      <a:pt x="3832" y="404"/>
                      <a:pt x="3824" y="405"/>
                    </a:cubicBezTo>
                    <a:cubicBezTo>
                      <a:pt x="3816" y="406"/>
                      <a:pt x="3788" y="418"/>
                      <a:pt x="3788" y="418"/>
                    </a:cubicBezTo>
                    <a:cubicBezTo>
                      <a:pt x="3743" y="414"/>
                      <a:pt x="3743" y="414"/>
                      <a:pt x="3743" y="414"/>
                    </a:cubicBezTo>
                    <a:cubicBezTo>
                      <a:pt x="3743" y="414"/>
                      <a:pt x="3705" y="396"/>
                      <a:pt x="3702" y="392"/>
                    </a:cubicBezTo>
                    <a:cubicBezTo>
                      <a:pt x="3699" y="388"/>
                      <a:pt x="3692" y="398"/>
                      <a:pt x="3695" y="406"/>
                    </a:cubicBezTo>
                    <a:cubicBezTo>
                      <a:pt x="3698" y="414"/>
                      <a:pt x="3725" y="442"/>
                      <a:pt x="3709" y="443"/>
                    </a:cubicBezTo>
                    <a:cubicBezTo>
                      <a:pt x="3693" y="444"/>
                      <a:pt x="3614" y="415"/>
                      <a:pt x="3611" y="413"/>
                    </a:cubicBezTo>
                    <a:cubicBezTo>
                      <a:pt x="3608" y="411"/>
                      <a:pt x="3589" y="394"/>
                      <a:pt x="3589" y="394"/>
                    </a:cubicBezTo>
                    <a:cubicBezTo>
                      <a:pt x="3587" y="404"/>
                      <a:pt x="3587" y="404"/>
                      <a:pt x="3587" y="404"/>
                    </a:cubicBezTo>
                    <a:cubicBezTo>
                      <a:pt x="3550" y="393"/>
                      <a:pt x="3550" y="393"/>
                      <a:pt x="3550" y="393"/>
                    </a:cubicBezTo>
                    <a:cubicBezTo>
                      <a:pt x="3533" y="381"/>
                      <a:pt x="3533" y="381"/>
                      <a:pt x="3533" y="381"/>
                    </a:cubicBezTo>
                    <a:cubicBezTo>
                      <a:pt x="3533" y="381"/>
                      <a:pt x="3571" y="391"/>
                      <a:pt x="3577" y="386"/>
                    </a:cubicBezTo>
                    <a:cubicBezTo>
                      <a:pt x="3583" y="381"/>
                      <a:pt x="3554" y="367"/>
                      <a:pt x="3554" y="367"/>
                    </a:cubicBezTo>
                    <a:cubicBezTo>
                      <a:pt x="3531" y="367"/>
                      <a:pt x="3531" y="367"/>
                      <a:pt x="3531" y="367"/>
                    </a:cubicBezTo>
                    <a:cubicBezTo>
                      <a:pt x="3531" y="367"/>
                      <a:pt x="3542" y="361"/>
                      <a:pt x="3535" y="356"/>
                    </a:cubicBezTo>
                    <a:cubicBezTo>
                      <a:pt x="3528" y="351"/>
                      <a:pt x="3508" y="351"/>
                      <a:pt x="3508" y="351"/>
                    </a:cubicBezTo>
                    <a:cubicBezTo>
                      <a:pt x="3516" y="342"/>
                      <a:pt x="3516" y="342"/>
                      <a:pt x="3516" y="342"/>
                    </a:cubicBezTo>
                    <a:cubicBezTo>
                      <a:pt x="3516" y="342"/>
                      <a:pt x="3484" y="333"/>
                      <a:pt x="3480" y="333"/>
                    </a:cubicBezTo>
                    <a:cubicBezTo>
                      <a:pt x="3476" y="333"/>
                      <a:pt x="3461" y="323"/>
                      <a:pt x="3461" y="323"/>
                    </a:cubicBezTo>
                    <a:cubicBezTo>
                      <a:pt x="3430" y="323"/>
                      <a:pt x="3430" y="323"/>
                      <a:pt x="3430" y="323"/>
                    </a:cubicBezTo>
                    <a:cubicBezTo>
                      <a:pt x="3430" y="323"/>
                      <a:pt x="3439" y="326"/>
                      <a:pt x="3416" y="327"/>
                    </a:cubicBezTo>
                    <a:cubicBezTo>
                      <a:pt x="3393" y="328"/>
                      <a:pt x="3378" y="320"/>
                      <a:pt x="3378" y="320"/>
                    </a:cubicBezTo>
                    <a:cubicBezTo>
                      <a:pt x="3364" y="326"/>
                      <a:pt x="3364" y="326"/>
                      <a:pt x="3364" y="326"/>
                    </a:cubicBezTo>
                    <a:cubicBezTo>
                      <a:pt x="3362" y="317"/>
                      <a:pt x="3362" y="317"/>
                      <a:pt x="3362" y="317"/>
                    </a:cubicBezTo>
                    <a:cubicBezTo>
                      <a:pt x="3330" y="311"/>
                      <a:pt x="3330" y="311"/>
                      <a:pt x="3330" y="311"/>
                    </a:cubicBezTo>
                    <a:cubicBezTo>
                      <a:pt x="3323" y="305"/>
                      <a:pt x="3323" y="305"/>
                      <a:pt x="3323" y="305"/>
                    </a:cubicBezTo>
                    <a:cubicBezTo>
                      <a:pt x="3318" y="318"/>
                      <a:pt x="3318" y="318"/>
                      <a:pt x="3318" y="318"/>
                    </a:cubicBezTo>
                    <a:cubicBezTo>
                      <a:pt x="3309" y="319"/>
                      <a:pt x="3309" y="319"/>
                      <a:pt x="3309" y="319"/>
                    </a:cubicBezTo>
                    <a:cubicBezTo>
                      <a:pt x="3327" y="334"/>
                      <a:pt x="3327" y="334"/>
                      <a:pt x="3327" y="334"/>
                    </a:cubicBezTo>
                    <a:cubicBezTo>
                      <a:pt x="3344" y="354"/>
                      <a:pt x="3344" y="354"/>
                      <a:pt x="3344" y="354"/>
                    </a:cubicBezTo>
                    <a:cubicBezTo>
                      <a:pt x="3310" y="350"/>
                      <a:pt x="3310" y="350"/>
                      <a:pt x="3310" y="350"/>
                    </a:cubicBezTo>
                    <a:cubicBezTo>
                      <a:pt x="3306" y="344"/>
                      <a:pt x="3306" y="344"/>
                      <a:pt x="3306" y="344"/>
                    </a:cubicBezTo>
                    <a:cubicBezTo>
                      <a:pt x="3262" y="347"/>
                      <a:pt x="3262" y="347"/>
                      <a:pt x="3262" y="347"/>
                    </a:cubicBezTo>
                    <a:cubicBezTo>
                      <a:pt x="3251" y="351"/>
                      <a:pt x="3251" y="351"/>
                      <a:pt x="3251" y="351"/>
                    </a:cubicBezTo>
                    <a:cubicBezTo>
                      <a:pt x="3250" y="343"/>
                      <a:pt x="3250" y="343"/>
                      <a:pt x="3250" y="343"/>
                    </a:cubicBezTo>
                    <a:cubicBezTo>
                      <a:pt x="3221" y="349"/>
                      <a:pt x="3221" y="349"/>
                      <a:pt x="3221" y="349"/>
                    </a:cubicBezTo>
                    <a:cubicBezTo>
                      <a:pt x="3216" y="341"/>
                      <a:pt x="3216" y="341"/>
                      <a:pt x="3216" y="341"/>
                    </a:cubicBezTo>
                    <a:cubicBezTo>
                      <a:pt x="3178" y="342"/>
                      <a:pt x="3178" y="342"/>
                      <a:pt x="3178" y="342"/>
                    </a:cubicBezTo>
                    <a:cubicBezTo>
                      <a:pt x="3156" y="335"/>
                      <a:pt x="3156" y="335"/>
                      <a:pt x="3156" y="335"/>
                    </a:cubicBezTo>
                    <a:cubicBezTo>
                      <a:pt x="3167" y="321"/>
                      <a:pt x="3167" y="321"/>
                      <a:pt x="3167" y="321"/>
                    </a:cubicBezTo>
                    <a:cubicBezTo>
                      <a:pt x="3082" y="320"/>
                      <a:pt x="3082" y="320"/>
                      <a:pt x="3082" y="320"/>
                    </a:cubicBezTo>
                    <a:cubicBezTo>
                      <a:pt x="3077" y="314"/>
                      <a:pt x="3077" y="314"/>
                      <a:pt x="3077" y="314"/>
                    </a:cubicBezTo>
                    <a:cubicBezTo>
                      <a:pt x="3071" y="317"/>
                      <a:pt x="3071" y="317"/>
                      <a:pt x="3071" y="317"/>
                    </a:cubicBezTo>
                    <a:cubicBezTo>
                      <a:pt x="3065" y="313"/>
                      <a:pt x="3065" y="313"/>
                      <a:pt x="3065" y="313"/>
                    </a:cubicBezTo>
                    <a:cubicBezTo>
                      <a:pt x="3030" y="315"/>
                      <a:pt x="3030" y="315"/>
                      <a:pt x="3030" y="315"/>
                    </a:cubicBezTo>
                    <a:cubicBezTo>
                      <a:pt x="3034" y="323"/>
                      <a:pt x="3034" y="323"/>
                      <a:pt x="3034" y="323"/>
                    </a:cubicBezTo>
                    <a:cubicBezTo>
                      <a:pt x="2997" y="319"/>
                      <a:pt x="2997" y="319"/>
                      <a:pt x="2997" y="319"/>
                    </a:cubicBezTo>
                    <a:cubicBezTo>
                      <a:pt x="2987" y="324"/>
                      <a:pt x="2987" y="324"/>
                      <a:pt x="2987" y="324"/>
                    </a:cubicBezTo>
                    <a:cubicBezTo>
                      <a:pt x="3008" y="331"/>
                      <a:pt x="3008" y="331"/>
                      <a:pt x="3008" y="331"/>
                    </a:cubicBezTo>
                    <a:cubicBezTo>
                      <a:pt x="2981" y="330"/>
                      <a:pt x="2981" y="330"/>
                      <a:pt x="2981" y="330"/>
                    </a:cubicBezTo>
                    <a:cubicBezTo>
                      <a:pt x="2978" y="318"/>
                      <a:pt x="2978" y="318"/>
                      <a:pt x="2978" y="318"/>
                    </a:cubicBezTo>
                    <a:cubicBezTo>
                      <a:pt x="2961" y="303"/>
                      <a:pt x="2961" y="303"/>
                      <a:pt x="2961" y="303"/>
                    </a:cubicBezTo>
                    <a:cubicBezTo>
                      <a:pt x="2947" y="303"/>
                      <a:pt x="2947" y="303"/>
                      <a:pt x="2947" y="303"/>
                    </a:cubicBezTo>
                    <a:cubicBezTo>
                      <a:pt x="2954" y="318"/>
                      <a:pt x="2954" y="318"/>
                      <a:pt x="2954" y="318"/>
                    </a:cubicBezTo>
                    <a:cubicBezTo>
                      <a:pt x="2919" y="318"/>
                      <a:pt x="2919" y="318"/>
                      <a:pt x="2919" y="318"/>
                    </a:cubicBezTo>
                    <a:cubicBezTo>
                      <a:pt x="2915" y="313"/>
                      <a:pt x="2915" y="313"/>
                      <a:pt x="2915" y="313"/>
                    </a:cubicBezTo>
                    <a:cubicBezTo>
                      <a:pt x="2906" y="313"/>
                      <a:pt x="2906" y="313"/>
                      <a:pt x="2906" y="313"/>
                    </a:cubicBezTo>
                    <a:cubicBezTo>
                      <a:pt x="2902" y="303"/>
                      <a:pt x="2902" y="303"/>
                      <a:pt x="2902" y="303"/>
                    </a:cubicBezTo>
                    <a:cubicBezTo>
                      <a:pt x="2893" y="303"/>
                      <a:pt x="2893" y="303"/>
                      <a:pt x="2893" y="303"/>
                    </a:cubicBezTo>
                    <a:cubicBezTo>
                      <a:pt x="2882" y="306"/>
                      <a:pt x="2882" y="306"/>
                      <a:pt x="2882" y="306"/>
                    </a:cubicBezTo>
                    <a:cubicBezTo>
                      <a:pt x="2866" y="298"/>
                      <a:pt x="2866" y="298"/>
                      <a:pt x="2866" y="298"/>
                    </a:cubicBezTo>
                    <a:cubicBezTo>
                      <a:pt x="2846" y="312"/>
                      <a:pt x="2846" y="312"/>
                      <a:pt x="2846" y="312"/>
                    </a:cubicBezTo>
                    <a:cubicBezTo>
                      <a:pt x="2882" y="316"/>
                      <a:pt x="2882" y="316"/>
                      <a:pt x="2882" y="316"/>
                    </a:cubicBezTo>
                    <a:cubicBezTo>
                      <a:pt x="2890" y="317"/>
                      <a:pt x="2890" y="317"/>
                      <a:pt x="2890" y="317"/>
                    </a:cubicBezTo>
                    <a:cubicBezTo>
                      <a:pt x="2890" y="317"/>
                      <a:pt x="2877" y="328"/>
                      <a:pt x="2870" y="328"/>
                    </a:cubicBezTo>
                    <a:cubicBezTo>
                      <a:pt x="2863" y="328"/>
                      <a:pt x="2858" y="327"/>
                      <a:pt x="2852" y="329"/>
                    </a:cubicBezTo>
                    <a:cubicBezTo>
                      <a:pt x="2846" y="331"/>
                      <a:pt x="2844" y="337"/>
                      <a:pt x="2839" y="337"/>
                    </a:cubicBezTo>
                    <a:cubicBezTo>
                      <a:pt x="2834" y="337"/>
                      <a:pt x="2790" y="338"/>
                      <a:pt x="2790" y="338"/>
                    </a:cubicBezTo>
                    <a:cubicBezTo>
                      <a:pt x="2768" y="341"/>
                      <a:pt x="2768" y="341"/>
                      <a:pt x="2768" y="341"/>
                    </a:cubicBezTo>
                    <a:cubicBezTo>
                      <a:pt x="2758" y="358"/>
                      <a:pt x="2758" y="358"/>
                      <a:pt x="2758" y="358"/>
                    </a:cubicBezTo>
                    <a:cubicBezTo>
                      <a:pt x="2742" y="354"/>
                      <a:pt x="2742" y="354"/>
                      <a:pt x="2742" y="354"/>
                    </a:cubicBezTo>
                    <a:cubicBezTo>
                      <a:pt x="2742" y="354"/>
                      <a:pt x="2745" y="338"/>
                      <a:pt x="2753" y="334"/>
                    </a:cubicBezTo>
                    <a:cubicBezTo>
                      <a:pt x="2761" y="330"/>
                      <a:pt x="2773" y="330"/>
                      <a:pt x="2773" y="330"/>
                    </a:cubicBezTo>
                    <a:cubicBezTo>
                      <a:pt x="2778" y="319"/>
                      <a:pt x="2778" y="319"/>
                      <a:pt x="2778" y="319"/>
                    </a:cubicBezTo>
                    <a:cubicBezTo>
                      <a:pt x="2806" y="316"/>
                      <a:pt x="2806" y="316"/>
                      <a:pt x="2806" y="316"/>
                    </a:cubicBezTo>
                    <a:cubicBezTo>
                      <a:pt x="2836" y="294"/>
                      <a:pt x="2836" y="294"/>
                      <a:pt x="2836" y="294"/>
                    </a:cubicBezTo>
                    <a:cubicBezTo>
                      <a:pt x="2836" y="294"/>
                      <a:pt x="2835" y="281"/>
                      <a:pt x="2847" y="276"/>
                    </a:cubicBezTo>
                    <a:cubicBezTo>
                      <a:pt x="2859" y="271"/>
                      <a:pt x="2908" y="272"/>
                      <a:pt x="2906" y="254"/>
                    </a:cubicBezTo>
                    <a:cubicBezTo>
                      <a:pt x="2904" y="236"/>
                      <a:pt x="2889" y="232"/>
                      <a:pt x="2889" y="232"/>
                    </a:cubicBezTo>
                    <a:cubicBezTo>
                      <a:pt x="2862" y="234"/>
                      <a:pt x="2862" y="234"/>
                      <a:pt x="2862" y="234"/>
                    </a:cubicBezTo>
                    <a:cubicBezTo>
                      <a:pt x="2885" y="224"/>
                      <a:pt x="2885" y="224"/>
                      <a:pt x="2885" y="224"/>
                    </a:cubicBezTo>
                    <a:cubicBezTo>
                      <a:pt x="2885" y="224"/>
                      <a:pt x="2865" y="209"/>
                      <a:pt x="2860" y="210"/>
                    </a:cubicBezTo>
                    <a:cubicBezTo>
                      <a:pt x="2855" y="211"/>
                      <a:pt x="2838" y="212"/>
                      <a:pt x="2838" y="212"/>
                    </a:cubicBezTo>
                    <a:cubicBezTo>
                      <a:pt x="2838" y="212"/>
                      <a:pt x="2832" y="196"/>
                      <a:pt x="2819" y="196"/>
                    </a:cubicBezTo>
                    <a:cubicBezTo>
                      <a:pt x="2806" y="196"/>
                      <a:pt x="2792" y="201"/>
                      <a:pt x="2792" y="201"/>
                    </a:cubicBezTo>
                    <a:cubicBezTo>
                      <a:pt x="2756" y="192"/>
                      <a:pt x="2756" y="192"/>
                      <a:pt x="2756" y="192"/>
                    </a:cubicBezTo>
                    <a:cubicBezTo>
                      <a:pt x="2662" y="189"/>
                      <a:pt x="2662" y="189"/>
                      <a:pt x="2662" y="189"/>
                    </a:cubicBezTo>
                    <a:cubicBezTo>
                      <a:pt x="2665" y="201"/>
                      <a:pt x="2665" y="201"/>
                      <a:pt x="2665" y="201"/>
                    </a:cubicBezTo>
                    <a:cubicBezTo>
                      <a:pt x="2620" y="201"/>
                      <a:pt x="2620" y="201"/>
                      <a:pt x="2620" y="201"/>
                    </a:cubicBezTo>
                    <a:cubicBezTo>
                      <a:pt x="2620" y="201"/>
                      <a:pt x="2639" y="184"/>
                      <a:pt x="2627" y="179"/>
                    </a:cubicBezTo>
                    <a:cubicBezTo>
                      <a:pt x="2615" y="174"/>
                      <a:pt x="2564" y="180"/>
                      <a:pt x="2564" y="180"/>
                    </a:cubicBezTo>
                    <a:cubicBezTo>
                      <a:pt x="2523" y="176"/>
                      <a:pt x="2523" y="176"/>
                      <a:pt x="2523" y="176"/>
                    </a:cubicBezTo>
                    <a:cubicBezTo>
                      <a:pt x="2523" y="176"/>
                      <a:pt x="2570" y="174"/>
                      <a:pt x="2564" y="165"/>
                    </a:cubicBezTo>
                    <a:cubicBezTo>
                      <a:pt x="2558" y="156"/>
                      <a:pt x="2511" y="155"/>
                      <a:pt x="2511" y="155"/>
                    </a:cubicBezTo>
                    <a:cubicBezTo>
                      <a:pt x="2483" y="151"/>
                      <a:pt x="2483" y="151"/>
                      <a:pt x="2483" y="151"/>
                    </a:cubicBezTo>
                    <a:cubicBezTo>
                      <a:pt x="2480" y="161"/>
                      <a:pt x="2480" y="161"/>
                      <a:pt x="2480" y="161"/>
                    </a:cubicBezTo>
                    <a:cubicBezTo>
                      <a:pt x="2480" y="161"/>
                      <a:pt x="2431" y="159"/>
                      <a:pt x="2435" y="173"/>
                    </a:cubicBezTo>
                    <a:cubicBezTo>
                      <a:pt x="2439" y="187"/>
                      <a:pt x="2485" y="202"/>
                      <a:pt x="2485" y="202"/>
                    </a:cubicBezTo>
                    <a:cubicBezTo>
                      <a:pt x="2389" y="196"/>
                      <a:pt x="2389" y="196"/>
                      <a:pt x="2389" y="196"/>
                    </a:cubicBezTo>
                    <a:cubicBezTo>
                      <a:pt x="2423" y="210"/>
                      <a:pt x="2423" y="210"/>
                      <a:pt x="2423" y="210"/>
                    </a:cubicBezTo>
                    <a:cubicBezTo>
                      <a:pt x="2388" y="215"/>
                      <a:pt x="2388" y="215"/>
                      <a:pt x="2388" y="215"/>
                    </a:cubicBezTo>
                    <a:cubicBezTo>
                      <a:pt x="2388" y="215"/>
                      <a:pt x="2331" y="233"/>
                      <a:pt x="2321" y="227"/>
                    </a:cubicBezTo>
                    <a:cubicBezTo>
                      <a:pt x="2311" y="221"/>
                      <a:pt x="2326" y="209"/>
                      <a:pt x="2326" y="209"/>
                    </a:cubicBezTo>
                    <a:cubicBezTo>
                      <a:pt x="2326" y="209"/>
                      <a:pt x="2278" y="209"/>
                      <a:pt x="2269" y="211"/>
                    </a:cubicBezTo>
                    <a:cubicBezTo>
                      <a:pt x="2260" y="213"/>
                      <a:pt x="2246" y="225"/>
                      <a:pt x="2246" y="225"/>
                    </a:cubicBezTo>
                    <a:cubicBezTo>
                      <a:pt x="2246" y="225"/>
                      <a:pt x="2183" y="230"/>
                      <a:pt x="2168" y="233"/>
                    </a:cubicBezTo>
                    <a:cubicBezTo>
                      <a:pt x="2153" y="236"/>
                      <a:pt x="2120" y="243"/>
                      <a:pt x="2120" y="243"/>
                    </a:cubicBezTo>
                    <a:cubicBezTo>
                      <a:pt x="2091" y="266"/>
                      <a:pt x="2091" y="266"/>
                      <a:pt x="2091" y="266"/>
                    </a:cubicBezTo>
                    <a:cubicBezTo>
                      <a:pt x="2091" y="266"/>
                      <a:pt x="2059" y="264"/>
                      <a:pt x="2073" y="278"/>
                    </a:cubicBezTo>
                    <a:cubicBezTo>
                      <a:pt x="2087" y="292"/>
                      <a:pt x="2112" y="302"/>
                      <a:pt x="2112" y="302"/>
                    </a:cubicBezTo>
                    <a:cubicBezTo>
                      <a:pt x="2082" y="308"/>
                      <a:pt x="2082" y="308"/>
                      <a:pt x="2082" y="308"/>
                    </a:cubicBezTo>
                    <a:cubicBezTo>
                      <a:pt x="2068" y="317"/>
                      <a:pt x="2068" y="317"/>
                      <a:pt x="2068" y="317"/>
                    </a:cubicBezTo>
                    <a:cubicBezTo>
                      <a:pt x="2001" y="315"/>
                      <a:pt x="2001" y="315"/>
                      <a:pt x="2001" y="315"/>
                    </a:cubicBezTo>
                    <a:cubicBezTo>
                      <a:pt x="1996" y="320"/>
                      <a:pt x="1996" y="320"/>
                      <a:pt x="1996" y="320"/>
                    </a:cubicBezTo>
                    <a:cubicBezTo>
                      <a:pt x="1971" y="311"/>
                      <a:pt x="1971" y="311"/>
                      <a:pt x="1971" y="311"/>
                    </a:cubicBezTo>
                    <a:cubicBezTo>
                      <a:pt x="1960" y="318"/>
                      <a:pt x="1960" y="318"/>
                      <a:pt x="1960" y="318"/>
                    </a:cubicBezTo>
                    <a:cubicBezTo>
                      <a:pt x="1960" y="318"/>
                      <a:pt x="1922" y="314"/>
                      <a:pt x="1920" y="322"/>
                    </a:cubicBezTo>
                    <a:cubicBezTo>
                      <a:pt x="1918" y="330"/>
                      <a:pt x="1919" y="345"/>
                      <a:pt x="1930" y="347"/>
                    </a:cubicBezTo>
                    <a:cubicBezTo>
                      <a:pt x="1941" y="349"/>
                      <a:pt x="1947" y="365"/>
                      <a:pt x="1947" y="365"/>
                    </a:cubicBezTo>
                    <a:cubicBezTo>
                      <a:pt x="1947" y="365"/>
                      <a:pt x="1982" y="375"/>
                      <a:pt x="1991" y="375"/>
                    </a:cubicBezTo>
                    <a:cubicBezTo>
                      <a:pt x="2000" y="375"/>
                      <a:pt x="2019" y="380"/>
                      <a:pt x="2026" y="383"/>
                    </a:cubicBezTo>
                    <a:cubicBezTo>
                      <a:pt x="2033" y="386"/>
                      <a:pt x="2049" y="402"/>
                      <a:pt x="2038" y="402"/>
                    </a:cubicBezTo>
                    <a:cubicBezTo>
                      <a:pt x="2027" y="402"/>
                      <a:pt x="2003" y="404"/>
                      <a:pt x="2003" y="404"/>
                    </a:cubicBezTo>
                    <a:cubicBezTo>
                      <a:pt x="2003" y="404"/>
                      <a:pt x="1957" y="384"/>
                      <a:pt x="1941" y="380"/>
                    </a:cubicBezTo>
                    <a:cubicBezTo>
                      <a:pt x="1925" y="376"/>
                      <a:pt x="1901" y="373"/>
                      <a:pt x="1893" y="373"/>
                    </a:cubicBezTo>
                    <a:cubicBezTo>
                      <a:pt x="1885" y="373"/>
                      <a:pt x="1864" y="371"/>
                      <a:pt x="1866" y="379"/>
                    </a:cubicBezTo>
                    <a:cubicBezTo>
                      <a:pt x="1868" y="387"/>
                      <a:pt x="1894" y="397"/>
                      <a:pt x="1877" y="398"/>
                    </a:cubicBezTo>
                    <a:cubicBezTo>
                      <a:pt x="1860" y="399"/>
                      <a:pt x="1854" y="387"/>
                      <a:pt x="1844" y="387"/>
                    </a:cubicBezTo>
                    <a:cubicBezTo>
                      <a:pt x="1834" y="387"/>
                      <a:pt x="1820" y="377"/>
                      <a:pt x="1819" y="390"/>
                    </a:cubicBezTo>
                    <a:cubicBezTo>
                      <a:pt x="1818" y="403"/>
                      <a:pt x="1832" y="416"/>
                      <a:pt x="1847" y="415"/>
                    </a:cubicBezTo>
                    <a:cubicBezTo>
                      <a:pt x="1862" y="414"/>
                      <a:pt x="1885" y="421"/>
                      <a:pt x="1895" y="421"/>
                    </a:cubicBezTo>
                    <a:cubicBezTo>
                      <a:pt x="1905" y="421"/>
                      <a:pt x="1921" y="437"/>
                      <a:pt x="1921" y="437"/>
                    </a:cubicBezTo>
                    <a:cubicBezTo>
                      <a:pt x="1900" y="437"/>
                      <a:pt x="1900" y="437"/>
                      <a:pt x="1900" y="437"/>
                    </a:cubicBezTo>
                    <a:cubicBezTo>
                      <a:pt x="1900" y="437"/>
                      <a:pt x="1894" y="427"/>
                      <a:pt x="1880" y="427"/>
                    </a:cubicBezTo>
                    <a:cubicBezTo>
                      <a:pt x="1866" y="427"/>
                      <a:pt x="1823" y="425"/>
                      <a:pt x="1823" y="425"/>
                    </a:cubicBezTo>
                    <a:cubicBezTo>
                      <a:pt x="1820" y="417"/>
                      <a:pt x="1820" y="417"/>
                      <a:pt x="1820" y="417"/>
                    </a:cubicBezTo>
                    <a:cubicBezTo>
                      <a:pt x="1803" y="417"/>
                      <a:pt x="1803" y="417"/>
                      <a:pt x="1803" y="417"/>
                    </a:cubicBezTo>
                    <a:cubicBezTo>
                      <a:pt x="1800" y="406"/>
                      <a:pt x="1800" y="406"/>
                      <a:pt x="1800" y="406"/>
                    </a:cubicBezTo>
                    <a:cubicBezTo>
                      <a:pt x="1778" y="395"/>
                      <a:pt x="1778" y="395"/>
                      <a:pt x="1778" y="395"/>
                    </a:cubicBezTo>
                    <a:cubicBezTo>
                      <a:pt x="1778" y="395"/>
                      <a:pt x="1803" y="383"/>
                      <a:pt x="1793" y="374"/>
                    </a:cubicBezTo>
                    <a:cubicBezTo>
                      <a:pt x="1783" y="365"/>
                      <a:pt x="1769" y="354"/>
                      <a:pt x="1769" y="354"/>
                    </a:cubicBezTo>
                    <a:cubicBezTo>
                      <a:pt x="1748" y="353"/>
                      <a:pt x="1748" y="353"/>
                      <a:pt x="1748" y="353"/>
                    </a:cubicBezTo>
                    <a:cubicBezTo>
                      <a:pt x="1748" y="353"/>
                      <a:pt x="1778" y="370"/>
                      <a:pt x="1769" y="378"/>
                    </a:cubicBezTo>
                    <a:cubicBezTo>
                      <a:pt x="1760" y="386"/>
                      <a:pt x="1740" y="389"/>
                      <a:pt x="1740" y="389"/>
                    </a:cubicBezTo>
                    <a:cubicBezTo>
                      <a:pt x="1727" y="416"/>
                      <a:pt x="1727" y="416"/>
                      <a:pt x="1727" y="416"/>
                    </a:cubicBezTo>
                    <a:cubicBezTo>
                      <a:pt x="1776" y="441"/>
                      <a:pt x="1776" y="441"/>
                      <a:pt x="1776" y="441"/>
                    </a:cubicBezTo>
                    <a:cubicBezTo>
                      <a:pt x="1776" y="441"/>
                      <a:pt x="1789" y="436"/>
                      <a:pt x="1789" y="442"/>
                    </a:cubicBezTo>
                    <a:cubicBezTo>
                      <a:pt x="1789" y="448"/>
                      <a:pt x="1782" y="479"/>
                      <a:pt x="1782" y="479"/>
                    </a:cubicBezTo>
                    <a:cubicBezTo>
                      <a:pt x="1789" y="492"/>
                      <a:pt x="1789" y="492"/>
                      <a:pt x="1789" y="492"/>
                    </a:cubicBezTo>
                    <a:cubicBezTo>
                      <a:pt x="1813" y="496"/>
                      <a:pt x="1813" y="496"/>
                      <a:pt x="1813" y="496"/>
                    </a:cubicBezTo>
                    <a:cubicBezTo>
                      <a:pt x="1812" y="514"/>
                      <a:pt x="1812" y="514"/>
                      <a:pt x="1812" y="514"/>
                    </a:cubicBezTo>
                    <a:cubicBezTo>
                      <a:pt x="1852" y="522"/>
                      <a:pt x="1852" y="522"/>
                      <a:pt x="1852" y="522"/>
                    </a:cubicBezTo>
                    <a:cubicBezTo>
                      <a:pt x="1852" y="522"/>
                      <a:pt x="1882" y="510"/>
                      <a:pt x="1896" y="511"/>
                    </a:cubicBezTo>
                    <a:cubicBezTo>
                      <a:pt x="1910" y="512"/>
                      <a:pt x="1928" y="524"/>
                      <a:pt x="1928" y="524"/>
                    </a:cubicBezTo>
                    <a:cubicBezTo>
                      <a:pt x="1928" y="524"/>
                      <a:pt x="1957" y="528"/>
                      <a:pt x="1970" y="537"/>
                    </a:cubicBezTo>
                    <a:cubicBezTo>
                      <a:pt x="1983" y="546"/>
                      <a:pt x="1986" y="557"/>
                      <a:pt x="1986" y="557"/>
                    </a:cubicBezTo>
                    <a:cubicBezTo>
                      <a:pt x="1986" y="557"/>
                      <a:pt x="1953" y="561"/>
                      <a:pt x="1966" y="569"/>
                    </a:cubicBezTo>
                    <a:cubicBezTo>
                      <a:pt x="1979" y="577"/>
                      <a:pt x="1993" y="584"/>
                      <a:pt x="1993" y="584"/>
                    </a:cubicBezTo>
                    <a:cubicBezTo>
                      <a:pt x="2021" y="583"/>
                      <a:pt x="2021" y="583"/>
                      <a:pt x="2021" y="583"/>
                    </a:cubicBezTo>
                    <a:cubicBezTo>
                      <a:pt x="2021" y="583"/>
                      <a:pt x="2005" y="591"/>
                      <a:pt x="1992" y="591"/>
                    </a:cubicBezTo>
                    <a:cubicBezTo>
                      <a:pt x="1979" y="591"/>
                      <a:pt x="1963" y="582"/>
                      <a:pt x="1963" y="582"/>
                    </a:cubicBezTo>
                    <a:cubicBezTo>
                      <a:pt x="1963" y="582"/>
                      <a:pt x="1964" y="559"/>
                      <a:pt x="1949" y="550"/>
                    </a:cubicBezTo>
                    <a:cubicBezTo>
                      <a:pt x="1934" y="541"/>
                      <a:pt x="1922" y="536"/>
                      <a:pt x="1922" y="536"/>
                    </a:cubicBezTo>
                    <a:cubicBezTo>
                      <a:pt x="1922" y="536"/>
                      <a:pt x="1918" y="521"/>
                      <a:pt x="1906" y="522"/>
                    </a:cubicBezTo>
                    <a:cubicBezTo>
                      <a:pt x="1894" y="523"/>
                      <a:pt x="1862" y="529"/>
                      <a:pt x="1862" y="529"/>
                    </a:cubicBezTo>
                    <a:cubicBezTo>
                      <a:pt x="1862" y="529"/>
                      <a:pt x="1844" y="531"/>
                      <a:pt x="1845" y="542"/>
                    </a:cubicBezTo>
                    <a:cubicBezTo>
                      <a:pt x="1846" y="553"/>
                      <a:pt x="1878" y="571"/>
                      <a:pt x="1878" y="575"/>
                    </a:cubicBezTo>
                    <a:cubicBezTo>
                      <a:pt x="1878" y="579"/>
                      <a:pt x="1859" y="591"/>
                      <a:pt x="1859" y="591"/>
                    </a:cubicBezTo>
                    <a:cubicBezTo>
                      <a:pt x="1857" y="620"/>
                      <a:pt x="1857" y="620"/>
                      <a:pt x="1857" y="620"/>
                    </a:cubicBezTo>
                    <a:cubicBezTo>
                      <a:pt x="1829" y="634"/>
                      <a:pt x="1829" y="634"/>
                      <a:pt x="1829" y="634"/>
                    </a:cubicBezTo>
                    <a:cubicBezTo>
                      <a:pt x="1829" y="634"/>
                      <a:pt x="1823" y="655"/>
                      <a:pt x="1810" y="649"/>
                    </a:cubicBezTo>
                    <a:cubicBezTo>
                      <a:pt x="1797" y="643"/>
                      <a:pt x="1771" y="645"/>
                      <a:pt x="1771" y="645"/>
                    </a:cubicBezTo>
                    <a:cubicBezTo>
                      <a:pt x="1733" y="641"/>
                      <a:pt x="1733" y="641"/>
                      <a:pt x="1733" y="641"/>
                    </a:cubicBezTo>
                    <a:cubicBezTo>
                      <a:pt x="1733" y="641"/>
                      <a:pt x="1690" y="626"/>
                      <a:pt x="1701" y="625"/>
                    </a:cubicBezTo>
                    <a:cubicBezTo>
                      <a:pt x="1712" y="624"/>
                      <a:pt x="1735" y="623"/>
                      <a:pt x="1735" y="623"/>
                    </a:cubicBezTo>
                    <a:cubicBezTo>
                      <a:pt x="1748" y="627"/>
                      <a:pt x="1748" y="627"/>
                      <a:pt x="1748" y="627"/>
                    </a:cubicBezTo>
                    <a:cubicBezTo>
                      <a:pt x="1763" y="616"/>
                      <a:pt x="1763" y="616"/>
                      <a:pt x="1763" y="616"/>
                    </a:cubicBezTo>
                    <a:cubicBezTo>
                      <a:pt x="1763" y="616"/>
                      <a:pt x="1801" y="625"/>
                      <a:pt x="1801" y="614"/>
                    </a:cubicBezTo>
                    <a:cubicBezTo>
                      <a:pt x="1801" y="603"/>
                      <a:pt x="1803" y="588"/>
                      <a:pt x="1803" y="588"/>
                    </a:cubicBezTo>
                    <a:cubicBezTo>
                      <a:pt x="1819" y="583"/>
                      <a:pt x="1819" y="583"/>
                      <a:pt x="1819" y="583"/>
                    </a:cubicBezTo>
                    <a:cubicBezTo>
                      <a:pt x="1821" y="569"/>
                      <a:pt x="1821" y="569"/>
                      <a:pt x="1821" y="569"/>
                    </a:cubicBezTo>
                    <a:cubicBezTo>
                      <a:pt x="1810" y="567"/>
                      <a:pt x="1810" y="567"/>
                      <a:pt x="1810" y="567"/>
                    </a:cubicBezTo>
                    <a:cubicBezTo>
                      <a:pt x="1810" y="567"/>
                      <a:pt x="1826" y="547"/>
                      <a:pt x="1816" y="543"/>
                    </a:cubicBezTo>
                    <a:cubicBezTo>
                      <a:pt x="1806" y="539"/>
                      <a:pt x="1763" y="541"/>
                      <a:pt x="1761" y="525"/>
                    </a:cubicBezTo>
                    <a:cubicBezTo>
                      <a:pt x="1759" y="509"/>
                      <a:pt x="1761" y="490"/>
                      <a:pt x="1752" y="485"/>
                    </a:cubicBezTo>
                    <a:cubicBezTo>
                      <a:pt x="1743" y="480"/>
                      <a:pt x="1730" y="464"/>
                      <a:pt x="1730" y="464"/>
                    </a:cubicBezTo>
                    <a:cubicBezTo>
                      <a:pt x="1726" y="440"/>
                      <a:pt x="1726" y="440"/>
                      <a:pt x="1726" y="440"/>
                    </a:cubicBezTo>
                    <a:cubicBezTo>
                      <a:pt x="1684" y="417"/>
                      <a:pt x="1684" y="417"/>
                      <a:pt x="1684" y="417"/>
                    </a:cubicBezTo>
                    <a:cubicBezTo>
                      <a:pt x="1684" y="417"/>
                      <a:pt x="1711" y="396"/>
                      <a:pt x="1697" y="376"/>
                    </a:cubicBezTo>
                    <a:cubicBezTo>
                      <a:pt x="1683" y="356"/>
                      <a:pt x="1651" y="356"/>
                      <a:pt x="1651" y="356"/>
                    </a:cubicBezTo>
                    <a:cubicBezTo>
                      <a:pt x="1562" y="348"/>
                      <a:pt x="1562" y="348"/>
                      <a:pt x="1562" y="348"/>
                    </a:cubicBezTo>
                    <a:cubicBezTo>
                      <a:pt x="1555" y="368"/>
                      <a:pt x="1555" y="368"/>
                      <a:pt x="1555" y="368"/>
                    </a:cubicBezTo>
                    <a:cubicBezTo>
                      <a:pt x="1566" y="379"/>
                      <a:pt x="1566" y="379"/>
                      <a:pt x="1566" y="379"/>
                    </a:cubicBezTo>
                    <a:cubicBezTo>
                      <a:pt x="1561" y="402"/>
                      <a:pt x="1561" y="402"/>
                      <a:pt x="1561" y="402"/>
                    </a:cubicBezTo>
                    <a:cubicBezTo>
                      <a:pt x="1523" y="418"/>
                      <a:pt x="1523" y="418"/>
                      <a:pt x="1523" y="418"/>
                    </a:cubicBezTo>
                    <a:cubicBezTo>
                      <a:pt x="1517" y="437"/>
                      <a:pt x="1517" y="437"/>
                      <a:pt x="1517" y="437"/>
                    </a:cubicBezTo>
                    <a:cubicBezTo>
                      <a:pt x="1538" y="439"/>
                      <a:pt x="1538" y="439"/>
                      <a:pt x="1538" y="439"/>
                    </a:cubicBezTo>
                    <a:cubicBezTo>
                      <a:pt x="1561" y="474"/>
                      <a:pt x="1561" y="474"/>
                      <a:pt x="1561" y="474"/>
                    </a:cubicBezTo>
                    <a:cubicBezTo>
                      <a:pt x="1552" y="486"/>
                      <a:pt x="1552" y="486"/>
                      <a:pt x="1552" y="486"/>
                    </a:cubicBezTo>
                    <a:cubicBezTo>
                      <a:pt x="1571" y="501"/>
                      <a:pt x="1571" y="501"/>
                      <a:pt x="1571" y="501"/>
                    </a:cubicBezTo>
                    <a:cubicBezTo>
                      <a:pt x="1594" y="495"/>
                      <a:pt x="1594" y="495"/>
                      <a:pt x="1594" y="495"/>
                    </a:cubicBezTo>
                    <a:cubicBezTo>
                      <a:pt x="1594" y="495"/>
                      <a:pt x="1612" y="516"/>
                      <a:pt x="1625" y="519"/>
                    </a:cubicBezTo>
                    <a:cubicBezTo>
                      <a:pt x="1638" y="522"/>
                      <a:pt x="1651" y="522"/>
                      <a:pt x="1651" y="522"/>
                    </a:cubicBezTo>
                    <a:cubicBezTo>
                      <a:pt x="1648" y="559"/>
                      <a:pt x="1648" y="559"/>
                      <a:pt x="1648" y="559"/>
                    </a:cubicBezTo>
                    <a:cubicBezTo>
                      <a:pt x="1635" y="545"/>
                      <a:pt x="1635" y="545"/>
                      <a:pt x="1635" y="545"/>
                    </a:cubicBezTo>
                    <a:cubicBezTo>
                      <a:pt x="1625" y="551"/>
                      <a:pt x="1625" y="551"/>
                      <a:pt x="1625" y="551"/>
                    </a:cubicBezTo>
                    <a:cubicBezTo>
                      <a:pt x="1625" y="551"/>
                      <a:pt x="1572" y="524"/>
                      <a:pt x="1556" y="521"/>
                    </a:cubicBezTo>
                    <a:cubicBezTo>
                      <a:pt x="1540" y="518"/>
                      <a:pt x="1516" y="520"/>
                      <a:pt x="1516" y="520"/>
                    </a:cubicBezTo>
                    <a:cubicBezTo>
                      <a:pt x="1505" y="508"/>
                      <a:pt x="1505" y="508"/>
                      <a:pt x="1505" y="508"/>
                    </a:cubicBezTo>
                    <a:cubicBezTo>
                      <a:pt x="1499" y="522"/>
                      <a:pt x="1499" y="522"/>
                      <a:pt x="1499" y="522"/>
                    </a:cubicBezTo>
                    <a:cubicBezTo>
                      <a:pt x="1483" y="504"/>
                      <a:pt x="1483" y="504"/>
                      <a:pt x="1483" y="504"/>
                    </a:cubicBezTo>
                    <a:cubicBezTo>
                      <a:pt x="1483" y="504"/>
                      <a:pt x="1441" y="490"/>
                      <a:pt x="1434" y="490"/>
                    </a:cubicBezTo>
                    <a:cubicBezTo>
                      <a:pt x="1427" y="490"/>
                      <a:pt x="1406" y="491"/>
                      <a:pt x="1406" y="491"/>
                    </a:cubicBezTo>
                    <a:cubicBezTo>
                      <a:pt x="1406" y="491"/>
                      <a:pt x="1357" y="485"/>
                      <a:pt x="1353" y="488"/>
                    </a:cubicBezTo>
                    <a:cubicBezTo>
                      <a:pt x="1349" y="491"/>
                      <a:pt x="1340" y="491"/>
                      <a:pt x="1340" y="499"/>
                    </a:cubicBezTo>
                    <a:cubicBezTo>
                      <a:pt x="1340" y="507"/>
                      <a:pt x="1366" y="521"/>
                      <a:pt x="1366" y="521"/>
                    </a:cubicBezTo>
                    <a:cubicBezTo>
                      <a:pt x="1353" y="541"/>
                      <a:pt x="1353" y="541"/>
                      <a:pt x="1353" y="541"/>
                    </a:cubicBezTo>
                    <a:cubicBezTo>
                      <a:pt x="1344" y="534"/>
                      <a:pt x="1344" y="534"/>
                      <a:pt x="1344" y="534"/>
                    </a:cubicBezTo>
                    <a:cubicBezTo>
                      <a:pt x="1344" y="551"/>
                      <a:pt x="1344" y="551"/>
                      <a:pt x="1344" y="551"/>
                    </a:cubicBezTo>
                    <a:cubicBezTo>
                      <a:pt x="1344" y="551"/>
                      <a:pt x="1320" y="550"/>
                      <a:pt x="1320" y="545"/>
                    </a:cubicBezTo>
                    <a:cubicBezTo>
                      <a:pt x="1320" y="540"/>
                      <a:pt x="1325" y="518"/>
                      <a:pt x="1311" y="519"/>
                    </a:cubicBezTo>
                    <a:cubicBezTo>
                      <a:pt x="1297" y="520"/>
                      <a:pt x="1261" y="543"/>
                      <a:pt x="1256" y="546"/>
                    </a:cubicBezTo>
                    <a:cubicBezTo>
                      <a:pt x="1251" y="549"/>
                      <a:pt x="1240" y="535"/>
                      <a:pt x="1219" y="537"/>
                    </a:cubicBezTo>
                    <a:cubicBezTo>
                      <a:pt x="1198" y="539"/>
                      <a:pt x="1174" y="550"/>
                      <a:pt x="1172" y="558"/>
                    </a:cubicBezTo>
                    <a:cubicBezTo>
                      <a:pt x="1170" y="566"/>
                      <a:pt x="1123" y="562"/>
                      <a:pt x="1123" y="562"/>
                    </a:cubicBezTo>
                    <a:cubicBezTo>
                      <a:pt x="1131" y="545"/>
                      <a:pt x="1131" y="545"/>
                      <a:pt x="1131" y="545"/>
                    </a:cubicBezTo>
                    <a:cubicBezTo>
                      <a:pt x="1130" y="521"/>
                      <a:pt x="1130" y="521"/>
                      <a:pt x="1130" y="521"/>
                    </a:cubicBezTo>
                    <a:cubicBezTo>
                      <a:pt x="1130" y="521"/>
                      <a:pt x="1086" y="529"/>
                      <a:pt x="1086" y="538"/>
                    </a:cubicBezTo>
                    <a:cubicBezTo>
                      <a:pt x="1086" y="547"/>
                      <a:pt x="1092" y="554"/>
                      <a:pt x="1092" y="554"/>
                    </a:cubicBezTo>
                    <a:cubicBezTo>
                      <a:pt x="1074" y="555"/>
                      <a:pt x="1074" y="555"/>
                      <a:pt x="1074" y="555"/>
                    </a:cubicBezTo>
                    <a:cubicBezTo>
                      <a:pt x="1074" y="540"/>
                      <a:pt x="1074" y="540"/>
                      <a:pt x="1074" y="540"/>
                    </a:cubicBezTo>
                    <a:cubicBezTo>
                      <a:pt x="1060" y="545"/>
                      <a:pt x="1060" y="545"/>
                      <a:pt x="1060" y="545"/>
                    </a:cubicBezTo>
                    <a:cubicBezTo>
                      <a:pt x="1025" y="548"/>
                      <a:pt x="1025" y="548"/>
                      <a:pt x="1025" y="548"/>
                    </a:cubicBezTo>
                    <a:cubicBezTo>
                      <a:pt x="996" y="568"/>
                      <a:pt x="996" y="568"/>
                      <a:pt x="996" y="568"/>
                    </a:cubicBezTo>
                    <a:cubicBezTo>
                      <a:pt x="963" y="571"/>
                      <a:pt x="963" y="571"/>
                      <a:pt x="963" y="571"/>
                    </a:cubicBezTo>
                    <a:cubicBezTo>
                      <a:pt x="970" y="584"/>
                      <a:pt x="970" y="584"/>
                      <a:pt x="970" y="584"/>
                    </a:cubicBezTo>
                    <a:cubicBezTo>
                      <a:pt x="970" y="584"/>
                      <a:pt x="944" y="578"/>
                      <a:pt x="941" y="589"/>
                    </a:cubicBezTo>
                    <a:cubicBezTo>
                      <a:pt x="938" y="600"/>
                      <a:pt x="941" y="615"/>
                      <a:pt x="941" y="615"/>
                    </a:cubicBezTo>
                    <a:cubicBezTo>
                      <a:pt x="890" y="621"/>
                      <a:pt x="890" y="621"/>
                      <a:pt x="890" y="621"/>
                    </a:cubicBezTo>
                    <a:cubicBezTo>
                      <a:pt x="890" y="621"/>
                      <a:pt x="875" y="610"/>
                      <a:pt x="870" y="609"/>
                    </a:cubicBezTo>
                    <a:cubicBezTo>
                      <a:pt x="865" y="608"/>
                      <a:pt x="843" y="614"/>
                      <a:pt x="843" y="600"/>
                    </a:cubicBezTo>
                    <a:cubicBezTo>
                      <a:pt x="843" y="586"/>
                      <a:pt x="843" y="569"/>
                      <a:pt x="860" y="575"/>
                    </a:cubicBezTo>
                    <a:cubicBezTo>
                      <a:pt x="877" y="581"/>
                      <a:pt x="898" y="575"/>
                      <a:pt x="898" y="575"/>
                    </a:cubicBezTo>
                    <a:cubicBezTo>
                      <a:pt x="898" y="575"/>
                      <a:pt x="860" y="544"/>
                      <a:pt x="854" y="541"/>
                    </a:cubicBezTo>
                    <a:cubicBezTo>
                      <a:pt x="848" y="538"/>
                      <a:pt x="773" y="539"/>
                      <a:pt x="773" y="539"/>
                    </a:cubicBezTo>
                    <a:cubicBezTo>
                      <a:pt x="779" y="548"/>
                      <a:pt x="779" y="548"/>
                      <a:pt x="779" y="548"/>
                    </a:cubicBezTo>
                    <a:cubicBezTo>
                      <a:pt x="779" y="548"/>
                      <a:pt x="810" y="543"/>
                      <a:pt x="805" y="563"/>
                    </a:cubicBezTo>
                    <a:cubicBezTo>
                      <a:pt x="800" y="583"/>
                      <a:pt x="790" y="612"/>
                      <a:pt x="797" y="612"/>
                    </a:cubicBezTo>
                    <a:cubicBezTo>
                      <a:pt x="804" y="612"/>
                      <a:pt x="830" y="620"/>
                      <a:pt x="830" y="620"/>
                    </a:cubicBezTo>
                    <a:cubicBezTo>
                      <a:pt x="828" y="645"/>
                      <a:pt x="828" y="645"/>
                      <a:pt x="828" y="645"/>
                    </a:cubicBezTo>
                    <a:cubicBezTo>
                      <a:pt x="834" y="664"/>
                      <a:pt x="834" y="664"/>
                      <a:pt x="834" y="664"/>
                    </a:cubicBezTo>
                    <a:cubicBezTo>
                      <a:pt x="813" y="650"/>
                      <a:pt x="813" y="650"/>
                      <a:pt x="813" y="650"/>
                    </a:cubicBezTo>
                    <a:cubicBezTo>
                      <a:pt x="798" y="666"/>
                      <a:pt x="798" y="666"/>
                      <a:pt x="798" y="666"/>
                    </a:cubicBezTo>
                    <a:cubicBezTo>
                      <a:pt x="795" y="644"/>
                      <a:pt x="795" y="644"/>
                      <a:pt x="795" y="644"/>
                    </a:cubicBezTo>
                    <a:cubicBezTo>
                      <a:pt x="749" y="632"/>
                      <a:pt x="749" y="632"/>
                      <a:pt x="749" y="632"/>
                    </a:cubicBezTo>
                    <a:cubicBezTo>
                      <a:pt x="729" y="657"/>
                      <a:pt x="729" y="657"/>
                      <a:pt x="729" y="657"/>
                    </a:cubicBezTo>
                    <a:cubicBezTo>
                      <a:pt x="711" y="658"/>
                      <a:pt x="711" y="658"/>
                      <a:pt x="711" y="658"/>
                    </a:cubicBezTo>
                    <a:cubicBezTo>
                      <a:pt x="711" y="658"/>
                      <a:pt x="705" y="669"/>
                      <a:pt x="695" y="673"/>
                    </a:cubicBezTo>
                    <a:cubicBezTo>
                      <a:pt x="685" y="677"/>
                      <a:pt x="665" y="681"/>
                      <a:pt x="673" y="688"/>
                    </a:cubicBezTo>
                    <a:cubicBezTo>
                      <a:pt x="681" y="695"/>
                      <a:pt x="713" y="718"/>
                      <a:pt x="713" y="718"/>
                    </a:cubicBezTo>
                    <a:cubicBezTo>
                      <a:pt x="725" y="735"/>
                      <a:pt x="725" y="735"/>
                      <a:pt x="725" y="735"/>
                    </a:cubicBezTo>
                    <a:cubicBezTo>
                      <a:pt x="705" y="726"/>
                      <a:pt x="705" y="726"/>
                      <a:pt x="705" y="726"/>
                    </a:cubicBezTo>
                    <a:cubicBezTo>
                      <a:pt x="705" y="726"/>
                      <a:pt x="687" y="736"/>
                      <a:pt x="674" y="730"/>
                    </a:cubicBezTo>
                    <a:cubicBezTo>
                      <a:pt x="661" y="724"/>
                      <a:pt x="618" y="717"/>
                      <a:pt x="618" y="717"/>
                    </a:cubicBezTo>
                    <a:cubicBezTo>
                      <a:pt x="618" y="717"/>
                      <a:pt x="612" y="693"/>
                      <a:pt x="597" y="699"/>
                    </a:cubicBezTo>
                    <a:cubicBezTo>
                      <a:pt x="582" y="705"/>
                      <a:pt x="574" y="711"/>
                      <a:pt x="574" y="711"/>
                    </a:cubicBezTo>
                    <a:cubicBezTo>
                      <a:pt x="562" y="712"/>
                      <a:pt x="562" y="712"/>
                      <a:pt x="562" y="712"/>
                    </a:cubicBezTo>
                    <a:cubicBezTo>
                      <a:pt x="592" y="738"/>
                      <a:pt x="592" y="738"/>
                      <a:pt x="592" y="738"/>
                    </a:cubicBezTo>
                    <a:cubicBezTo>
                      <a:pt x="592" y="738"/>
                      <a:pt x="632" y="739"/>
                      <a:pt x="632" y="746"/>
                    </a:cubicBezTo>
                    <a:cubicBezTo>
                      <a:pt x="632" y="753"/>
                      <a:pt x="614" y="764"/>
                      <a:pt x="614" y="764"/>
                    </a:cubicBezTo>
                    <a:cubicBezTo>
                      <a:pt x="572" y="754"/>
                      <a:pt x="572" y="754"/>
                      <a:pt x="572" y="754"/>
                    </a:cubicBezTo>
                    <a:cubicBezTo>
                      <a:pt x="572" y="754"/>
                      <a:pt x="557" y="740"/>
                      <a:pt x="547" y="739"/>
                    </a:cubicBezTo>
                    <a:cubicBezTo>
                      <a:pt x="537" y="738"/>
                      <a:pt x="511" y="749"/>
                      <a:pt x="509" y="735"/>
                    </a:cubicBezTo>
                    <a:cubicBezTo>
                      <a:pt x="507" y="721"/>
                      <a:pt x="508" y="705"/>
                      <a:pt x="508" y="705"/>
                    </a:cubicBezTo>
                    <a:cubicBezTo>
                      <a:pt x="495" y="697"/>
                      <a:pt x="495" y="697"/>
                      <a:pt x="495" y="697"/>
                    </a:cubicBezTo>
                    <a:cubicBezTo>
                      <a:pt x="495" y="697"/>
                      <a:pt x="516" y="679"/>
                      <a:pt x="508" y="670"/>
                    </a:cubicBezTo>
                    <a:cubicBezTo>
                      <a:pt x="500" y="661"/>
                      <a:pt x="444" y="646"/>
                      <a:pt x="444" y="646"/>
                    </a:cubicBezTo>
                    <a:cubicBezTo>
                      <a:pt x="424" y="631"/>
                      <a:pt x="424" y="631"/>
                      <a:pt x="424" y="631"/>
                    </a:cubicBezTo>
                    <a:cubicBezTo>
                      <a:pt x="408" y="620"/>
                      <a:pt x="408" y="620"/>
                      <a:pt x="408" y="620"/>
                    </a:cubicBezTo>
                    <a:cubicBezTo>
                      <a:pt x="398" y="610"/>
                      <a:pt x="398" y="610"/>
                      <a:pt x="398" y="610"/>
                    </a:cubicBezTo>
                    <a:cubicBezTo>
                      <a:pt x="424" y="609"/>
                      <a:pt x="424" y="609"/>
                      <a:pt x="424" y="609"/>
                    </a:cubicBezTo>
                    <a:cubicBezTo>
                      <a:pt x="424" y="609"/>
                      <a:pt x="419" y="618"/>
                      <a:pt x="438" y="622"/>
                    </a:cubicBezTo>
                    <a:cubicBezTo>
                      <a:pt x="457" y="626"/>
                      <a:pt x="482" y="623"/>
                      <a:pt x="482" y="623"/>
                    </a:cubicBezTo>
                    <a:cubicBezTo>
                      <a:pt x="482" y="623"/>
                      <a:pt x="498" y="641"/>
                      <a:pt x="510" y="643"/>
                    </a:cubicBezTo>
                    <a:cubicBezTo>
                      <a:pt x="522" y="645"/>
                      <a:pt x="576" y="650"/>
                      <a:pt x="576" y="650"/>
                    </a:cubicBezTo>
                    <a:cubicBezTo>
                      <a:pt x="576" y="650"/>
                      <a:pt x="613" y="666"/>
                      <a:pt x="656" y="655"/>
                    </a:cubicBezTo>
                    <a:cubicBezTo>
                      <a:pt x="699" y="644"/>
                      <a:pt x="741" y="629"/>
                      <a:pt x="719" y="609"/>
                    </a:cubicBezTo>
                    <a:cubicBezTo>
                      <a:pt x="697" y="589"/>
                      <a:pt x="696" y="576"/>
                      <a:pt x="667" y="570"/>
                    </a:cubicBezTo>
                    <a:cubicBezTo>
                      <a:pt x="638" y="564"/>
                      <a:pt x="598" y="549"/>
                      <a:pt x="579" y="542"/>
                    </a:cubicBezTo>
                    <a:cubicBezTo>
                      <a:pt x="560" y="535"/>
                      <a:pt x="526" y="518"/>
                      <a:pt x="506" y="517"/>
                    </a:cubicBezTo>
                    <a:cubicBezTo>
                      <a:pt x="486" y="516"/>
                      <a:pt x="467" y="516"/>
                      <a:pt x="455" y="516"/>
                    </a:cubicBezTo>
                    <a:cubicBezTo>
                      <a:pt x="443" y="516"/>
                      <a:pt x="421" y="516"/>
                      <a:pt x="421" y="516"/>
                    </a:cubicBezTo>
                    <a:cubicBezTo>
                      <a:pt x="413" y="506"/>
                      <a:pt x="413" y="506"/>
                      <a:pt x="413" y="506"/>
                    </a:cubicBezTo>
                    <a:cubicBezTo>
                      <a:pt x="394" y="507"/>
                      <a:pt x="394" y="507"/>
                      <a:pt x="394" y="507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4" y="493"/>
                      <a:pt x="394" y="493"/>
                      <a:pt x="394" y="493"/>
                    </a:cubicBezTo>
                    <a:cubicBezTo>
                      <a:pt x="406" y="485"/>
                      <a:pt x="406" y="485"/>
                      <a:pt x="406" y="485"/>
                    </a:cubicBezTo>
                    <a:cubicBezTo>
                      <a:pt x="406" y="485"/>
                      <a:pt x="363" y="469"/>
                      <a:pt x="357" y="475"/>
                    </a:cubicBezTo>
                    <a:cubicBezTo>
                      <a:pt x="351" y="481"/>
                      <a:pt x="348" y="490"/>
                      <a:pt x="348" y="490"/>
                    </a:cubicBezTo>
                    <a:cubicBezTo>
                      <a:pt x="335" y="490"/>
                      <a:pt x="335" y="490"/>
                      <a:pt x="335" y="490"/>
                    </a:cubicBezTo>
                    <a:cubicBezTo>
                      <a:pt x="333" y="493"/>
                      <a:pt x="329" y="497"/>
                      <a:pt x="321" y="498"/>
                    </a:cubicBezTo>
                    <a:cubicBezTo>
                      <a:pt x="303" y="501"/>
                      <a:pt x="304" y="498"/>
                      <a:pt x="304" y="498"/>
                    </a:cubicBezTo>
                    <a:cubicBezTo>
                      <a:pt x="300" y="506"/>
                      <a:pt x="300" y="506"/>
                      <a:pt x="300" y="506"/>
                    </a:cubicBezTo>
                    <a:cubicBezTo>
                      <a:pt x="285" y="507"/>
                      <a:pt x="285" y="507"/>
                      <a:pt x="285" y="507"/>
                    </a:cubicBezTo>
                    <a:cubicBezTo>
                      <a:pt x="285" y="507"/>
                      <a:pt x="284" y="521"/>
                      <a:pt x="275" y="522"/>
                    </a:cubicBezTo>
                    <a:cubicBezTo>
                      <a:pt x="270" y="522"/>
                      <a:pt x="266" y="521"/>
                      <a:pt x="262" y="519"/>
                    </a:cubicBezTo>
                    <a:cubicBezTo>
                      <a:pt x="261" y="528"/>
                      <a:pt x="261" y="528"/>
                      <a:pt x="261" y="528"/>
                    </a:cubicBezTo>
                    <a:cubicBezTo>
                      <a:pt x="261" y="528"/>
                      <a:pt x="265" y="534"/>
                      <a:pt x="266" y="537"/>
                    </a:cubicBezTo>
                    <a:cubicBezTo>
                      <a:pt x="267" y="540"/>
                      <a:pt x="254" y="542"/>
                      <a:pt x="254" y="542"/>
                    </a:cubicBezTo>
                    <a:cubicBezTo>
                      <a:pt x="254" y="542"/>
                      <a:pt x="257" y="545"/>
                      <a:pt x="259" y="557"/>
                    </a:cubicBezTo>
                    <a:cubicBezTo>
                      <a:pt x="261" y="569"/>
                      <a:pt x="275" y="561"/>
                      <a:pt x="281" y="561"/>
                    </a:cubicBezTo>
                    <a:cubicBezTo>
                      <a:pt x="287" y="561"/>
                      <a:pt x="292" y="568"/>
                      <a:pt x="296" y="573"/>
                    </a:cubicBezTo>
                    <a:cubicBezTo>
                      <a:pt x="300" y="578"/>
                      <a:pt x="306" y="581"/>
                      <a:pt x="315" y="591"/>
                    </a:cubicBezTo>
                    <a:cubicBezTo>
                      <a:pt x="324" y="601"/>
                      <a:pt x="300" y="603"/>
                      <a:pt x="300" y="608"/>
                    </a:cubicBezTo>
                    <a:cubicBezTo>
                      <a:pt x="300" y="613"/>
                      <a:pt x="283" y="620"/>
                      <a:pt x="283" y="620"/>
                    </a:cubicBezTo>
                    <a:cubicBezTo>
                      <a:pt x="296" y="631"/>
                      <a:pt x="296" y="631"/>
                      <a:pt x="296" y="631"/>
                    </a:cubicBezTo>
                    <a:cubicBezTo>
                      <a:pt x="296" y="631"/>
                      <a:pt x="337" y="663"/>
                      <a:pt x="343" y="673"/>
                    </a:cubicBezTo>
                    <a:cubicBezTo>
                      <a:pt x="349" y="683"/>
                      <a:pt x="321" y="677"/>
                      <a:pt x="321" y="677"/>
                    </a:cubicBezTo>
                    <a:cubicBezTo>
                      <a:pt x="316" y="697"/>
                      <a:pt x="316" y="697"/>
                      <a:pt x="316" y="697"/>
                    </a:cubicBezTo>
                    <a:cubicBezTo>
                      <a:pt x="323" y="703"/>
                      <a:pt x="323" y="703"/>
                      <a:pt x="323" y="703"/>
                    </a:cubicBezTo>
                    <a:cubicBezTo>
                      <a:pt x="323" y="713"/>
                      <a:pt x="323" y="713"/>
                      <a:pt x="323" y="713"/>
                    </a:cubicBezTo>
                    <a:cubicBezTo>
                      <a:pt x="323" y="713"/>
                      <a:pt x="342" y="718"/>
                      <a:pt x="343" y="722"/>
                    </a:cubicBezTo>
                    <a:cubicBezTo>
                      <a:pt x="344" y="726"/>
                      <a:pt x="337" y="737"/>
                      <a:pt x="337" y="737"/>
                    </a:cubicBezTo>
                    <a:cubicBezTo>
                      <a:pt x="352" y="740"/>
                      <a:pt x="352" y="740"/>
                      <a:pt x="352" y="740"/>
                    </a:cubicBezTo>
                    <a:cubicBezTo>
                      <a:pt x="352" y="740"/>
                      <a:pt x="363" y="748"/>
                      <a:pt x="364" y="752"/>
                    </a:cubicBezTo>
                    <a:cubicBezTo>
                      <a:pt x="365" y="756"/>
                      <a:pt x="344" y="770"/>
                      <a:pt x="344" y="770"/>
                    </a:cubicBezTo>
                    <a:cubicBezTo>
                      <a:pt x="383" y="788"/>
                      <a:pt x="383" y="788"/>
                      <a:pt x="383" y="788"/>
                    </a:cubicBezTo>
                    <a:cubicBezTo>
                      <a:pt x="383" y="788"/>
                      <a:pt x="406" y="807"/>
                      <a:pt x="405" y="815"/>
                    </a:cubicBezTo>
                    <a:cubicBezTo>
                      <a:pt x="404" y="823"/>
                      <a:pt x="395" y="830"/>
                      <a:pt x="391" y="837"/>
                    </a:cubicBezTo>
                    <a:cubicBezTo>
                      <a:pt x="387" y="844"/>
                      <a:pt x="366" y="856"/>
                      <a:pt x="366" y="856"/>
                    </a:cubicBezTo>
                    <a:cubicBezTo>
                      <a:pt x="366" y="856"/>
                      <a:pt x="338" y="882"/>
                      <a:pt x="334" y="887"/>
                    </a:cubicBezTo>
                    <a:cubicBezTo>
                      <a:pt x="330" y="892"/>
                      <a:pt x="289" y="916"/>
                      <a:pt x="289" y="916"/>
                    </a:cubicBezTo>
                    <a:cubicBezTo>
                      <a:pt x="293" y="923"/>
                      <a:pt x="293" y="923"/>
                      <a:pt x="293" y="923"/>
                    </a:cubicBezTo>
                    <a:cubicBezTo>
                      <a:pt x="313" y="912"/>
                      <a:pt x="313" y="912"/>
                      <a:pt x="313" y="912"/>
                    </a:cubicBezTo>
                    <a:cubicBezTo>
                      <a:pt x="315" y="923"/>
                      <a:pt x="315" y="923"/>
                      <a:pt x="315" y="923"/>
                    </a:cubicBezTo>
                    <a:cubicBezTo>
                      <a:pt x="315" y="923"/>
                      <a:pt x="328" y="936"/>
                      <a:pt x="334" y="939"/>
                    </a:cubicBezTo>
                    <a:cubicBezTo>
                      <a:pt x="340" y="942"/>
                      <a:pt x="367" y="942"/>
                      <a:pt x="367" y="942"/>
                    </a:cubicBezTo>
                    <a:cubicBezTo>
                      <a:pt x="376" y="954"/>
                      <a:pt x="376" y="954"/>
                      <a:pt x="376" y="954"/>
                    </a:cubicBezTo>
                    <a:cubicBezTo>
                      <a:pt x="376" y="954"/>
                      <a:pt x="337" y="945"/>
                      <a:pt x="335" y="951"/>
                    </a:cubicBezTo>
                    <a:cubicBezTo>
                      <a:pt x="333" y="957"/>
                      <a:pt x="333" y="961"/>
                      <a:pt x="333" y="961"/>
                    </a:cubicBezTo>
                    <a:cubicBezTo>
                      <a:pt x="307" y="962"/>
                      <a:pt x="307" y="962"/>
                      <a:pt x="307" y="962"/>
                    </a:cubicBezTo>
                    <a:cubicBezTo>
                      <a:pt x="303" y="980"/>
                      <a:pt x="303" y="980"/>
                      <a:pt x="303" y="980"/>
                    </a:cubicBezTo>
                    <a:cubicBezTo>
                      <a:pt x="303" y="980"/>
                      <a:pt x="300" y="979"/>
                      <a:pt x="295" y="978"/>
                    </a:cubicBezTo>
                    <a:cubicBezTo>
                      <a:pt x="292" y="988"/>
                      <a:pt x="292" y="988"/>
                      <a:pt x="292" y="988"/>
                    </a:cubicBezTo>
                    <a:cubicBezTo>
                      <a:pt x="295" y="997"/>
                      <a:pt x="295" y="997"/>
                      <a:pt x="295" y="997"/>
                    </a:cubicBezTo>
                    <a:cubicBezTo>
                      <a:pt x="295" y="997"/>
                      <a:pt x="288" y="1001"/>
                      <a:pt x="284" y="1003"/>
                    </a:cubicBezTo>
                    <a:cubicBezTo>
                      <a:pt x="280" y="1005"/>
                      <a:pt x="281" y="1019"/>
                      <a:pt x="281" y="1019"/>
                    </a:cubicBezTo>
                    <a:cubicBezTo>
                      <a:pt x="290" y="1023"/>
                      <a:pt x="290" y="1023"/>
                      <a:pt x="290" y="1023"/>
                    </a:cubicBezTo>
                    <a:cubicBezTo>
                      <a:pt x="285" y="1041"/>
                      <a:pt x="285" y="1041"/>
                      <a:pt x="285" y="1041"/>
                    </a:cubicBezTo>
                    <a:cubicBezTo>
                      <a:pt x="292" y="1043"/>
                      <a:pt x="292" y="1043"/>
                      <a:pt x="292" y="1043"/>
                    </a:cubicBezTo>
                    <a:cubicBezTo>
                      <a:pt x="301" y="1055"/>
                      <a:pt x="301" y="1055"/>
                      <a:pt x="301" y="1055"/>
                    </a:cubicBezTo>
                    <a:cubicBezTo>
                      <a:pt x="288" y="1064"/>
                      <a:pt x="288" y="1064"/>
                      <a:pt x="288" y="1064"/>
                    </a:cubicBezTo>
                    <a:cubicBezTo>
                      <a:pt x="288" y="1072"/>
                      <a:pt x="288" y="1072"/>
                      <a:pt x="288" y="1072"/>
                    </a:cubicBezTo>
                    <a:cubicBezTo>
                      <a:pt x="288" y="1072"/>
                      <a:pt x="309" y="1082"/>
                      <a:pt x="310" y="1087"/>
                    </a:cubicBezTo>
                    <a:cubicBezTo>
                      <a:pt x="311" y="1092"/>
                      <a:pt x="298" y="1094"/>
                      <a:pt x="298" y="1094"/>
                    </a:cubicBezTo>
                    <a:cubicBezTo>
                      <a:pt x="297" y="1103"/>
                      <a:pt x="297" y="1103"/>
                      <a:pt x="297" y="1103"/>
                    </a:cubicBezTo>
                    <a:cubicBezTo>
                      <a:pt x="310" y="1107"/>
                      <a:pt x="310" y="1107"/>
                      <a:pt x="310" y="1107"/>
                    </a:cubicBezTo>
                    <a:cubicBezTo>
                      <a:pt x="310" y="1107"/>
                      <a:pt x="315" y="1118"/>
                      <a:pt x="322" y="1124"/>
                    </a:cubicBezTo>
                    <a:cubicBezTo>
                      <a:pt x="328" y="1129"/>
                      <a:pt x="328" y="1139"/>
                      <a:pt x="328" y="1143"/>
                    </a:cubicBezTo>
                    <a:cubicBezTo>
                      <a:pt x="332" y="1144"/>
                      <a:pt x="336" y="1144"/>
                      <a:pt x="339" y="1145"/>
                    </a:cubicBezTo>
                    <a:cubicBezTo>
                      <a:pt x="347" y="1146"/>
                      <a:pt x="348" y="1153"/>
                      <a:pt x="348" y="1153"/>
                    </a:cubicBezTo>
                    <a:cubicBezTo>
                      <a:pt x="354" y="1147"/>
                      <a:pt x="354" y="1147"/>
                      <a:pt x="354" y="1147"/>
                    </a:cubicBezTo>
                    <a:cubicBezTo>
                      <a:pt x="380" y="1153"/>
                      <a:pt x="380" y="1153"/>
                      <a:pt x="380" y="1153"/>
                    </a:cubicBezTo>
                    <a:cubicBezTo>
                      <a:pt x="382" y="1163"/>
                      <a:pt x="382" y="1163"/>
                      <a:pt x="382" y="1163"/>
                    </a:cubicBezTo>
                    <a:cubicBezTo>
                      <a:pt x="404" y="1151"/>
                      <a:pt x="404" y="1151"/>
                      <a:pt x="404" y="1151"/>
                    </a:cubicBezTo>
                    <a:cubicBezTo>
                      <a:pt x="404" y="1151"/>
                      <a:pt x="426" y="1162"/>
                      <a:pt x="437" y="1167"/>
                    </a:cubicBezTo>
                    <a:cubicBezTo>
                      <a:pt x="448" y="1172"/>
                      <a:pt x="434" y="1186"/>
                      <a:pt x="434" y="1186"/>
                    </a:cubicBezTo>
                    <a:cubicBezTo>
                      <a:pt x="442" y="1196"/>
                      <a:pt x="442" y="1196"/>
                      <a:pt x="442" y="1196"/>
                    </a:cubicBezTo>
                    <a:cubicBezTo>
                      <a:pt x="438" y="1208"/>
                      <a:pt x="438" y="1208"/>
                      <a:pt x="438" y="1208"/>
                    </a:cubicBezTo>
                    <a:cubicBezTo>
                      <a:pt x="438" y="1208"/>
                      <a:pt x="443" y="1213"/>
                      <a:pt x="451" y="1215"/>
                    </a:cubicBezTo>
                    <a:cubicBezTo>
                      <a:pt x="459" y="1217"/>
                      <a:pt x="462" y="1238"/>
                      <a:pt x="462" y="1238"/>
                    </a:cubicBezTo>
                    <a:cubicBezTo>
                      <a:pt x="482" y="1245"/>
                      <a:pt x="482" y="1245"/>
                      <a:pt x="482" y="1245"/>
                    </a:cubicBezTo>
                    <a:cubicBezTo>
                      <a:pt x="484" y="1260"/>
                      <a:pt x="484" y="1260"/>
                      <a:pt x="484" y="1260"/>
                    </a:cubicBezTo>
                    <a:cubicBezTo>
                      <a:pt x="484" y="1260"/>
                      <a:pt x="494" y="1258"/>
                      <a:pt x="507" y="1261"/>
                    </a:cubicBezTo>
                    <a:cubicBezTo>
                      <a:pt x="520" y="1264"/>
                      <a:pt x="512" y="1273"/>
                      <a:pt x="512" y="1273"/>
                    </a:cubicBezTo>
                    <a:cubicBezTo>
                      <a:pt x="526" y="1281"/>
                      <a:pt x="526" y="1281"/>
                      <a:pt x="526" y="1281"/>
                    </a:cubicBezTo>
                    <a:cubicBezTo>
                      <a:pt x="526" y="1281"/>
                      <a:pt x="517" y="1290"/>
                      <a:pt x="509" y="1297"/>
                    </a:cubicBezTo>
                    <a:cubicBezTo>
                      <a:pt x="501" y="1304"/>
                      <a:pt x="488" y="1296"/>
                      <a:pt x="488" y="1296"/>
                    </a:cubicBezTo>
                    <a:cubicBezTo>
                      <a:pt x="488" y="1296"/>
                      <a:pt x="486" y="1290"/>
                      <a:pt x="472" y="1293"/>
                    </a:cubicBezTo>
                    <a:cubicBezTo>
                      <a:pt x="458" y="1296"/>
                      <a:pt x="485" y="1318"/>
                      <a:pt x="485" y="1318"/>
                    </a:cubicBezTo>
                    <a:cubicBezTo>
                      <a:pt x="485" y="1318"/>
                      <a:pt x="485" y="1332"/>
                      <a:pt x="488" y="1333"/>
                    </a:cubicBezTo>
                    <a:cubicBezTo>
                      <a:pt x="490" y="1333"/>
                      <a:pt x="490" y="1343"/>
                      <a:pt x="491" y="1351"/>
                    </a:cubicBezTo>
                    <a:cubicBezTo>
                      <a:pt x="486" y="1351"/>
                      <a:pt x="481" y="1350"/>
                      <a:pt x="477" y="1349"/>
                    </a:cubicBezTo>
                    <a:cubicBezTo>
                      <a:pt x="490" y="1351"/>
                      <a:pt x="510" y="1355"/>
                      <a:pt x="516" y="1352"/>
                    </a:cubicBezTo>
                    <a:cubicBezTo>
                      <a:pt x="524" y="1348"/>
                      <a:pt x="520" y="1339"/>
                      <a:pt x="520" y="1339"/>
                    </a:cubicBezTo>
                    <a:cubicBezTo>
                      <a:pt x="538" y="1342"/>
                      <a:pt x="538" y="1342"/>
                      <a:pt x="538" y="1342"/>
                    </a:cubicBezTo>
                    <a:cubicBezTo>
                      <a:pt x="549" y="1337"/>
                      <a:pt x="549" y="1337"/>
                      <a:pt x="549" y="1337"/>
                    </a:cubicBezTo>
                    <a:cubicBezTo>
                      <a:pt x="579" y="1336"/>
                      <a:pt x="579" y="1336"/>
                      <a:pt x="579" y="1336"/>
                    </a:cubicBezTo>
                    <a:cubicBezTo>
                      <a:pt x="585" y="1350"/>
                      <a:pt x="585" y="1350"/>
                      <a:pt x="585" y="1350"/>
                    </a:cubicBezTo>
                    <a:cubicBezTo>
                      <a:pt x="585" y="1350"/>
                      <a:pt x="606" y="1356"/>
                      <a:pt x="604" y="1362"/>
                    </a:cubicBezTo>
                    <a:cubicBezTo>
                      <a:pt x="602" y="1368"/>
                      <a:pt x="594" y="1369"/>
                      <a:pt x="594" y="1369"/>
                    </a:cubicBezTo>
                    <a:cubicBezTo>
                      <a:pt x="599" y="1381"/>
                      <a:pt x="599" y="1381"/>
                      <a:pt x="599" y="1381"/>
                    </a:cubicBezTo>
                    <a:cubicBezTo>
                      <a:pt x="600" y="1392"/>
                      <a:pt x="600" y="1392"/>
                      <a:pt x="600" y="1392"/>
                    </a:cubicBezTo>
                    <a:cubicBezTo>
                      <a:pt x="623" y="1394"/>
                      <a:pt x="623" y="1394"/>
                      <a:pt x="623" y="1394"/>
                    </a:cubicBezTo>
                    <a:cubicBezTo>
                      <a:pt x="651" y="1406"/>
                      <a:pt x="651" y="1406"/>
                      <a:pt x="651" y="1406"/>
                    </a:cubicBezTo>
                    <a:cubicBezTo>
                      <a:pt x="658" y="1435"/>
                      <a:pt x="658" y="1435"/>
                      <a:pt x="658" y="1435"/>
                    </a:cubicBezTo>
                    <a:cubicBezTo>
                      <a:pt x="662" y="1438"/>
                      <a:pt x="662" y="1438"/>
                      <a:pt x="662" y="1438"/>
                    </a:cubicBezTo>
                    <a:cubicBezTo>
                      <a:pt x="680" y="1434"/>
                      <a:pt x="680" y="1434"/>
                      <a:pt x="680" y="1434"/>
                    </a:cubicBezTo>
                    <a:cubicBezTo>
                      <a:pt x="680" y="1434"/>
                      <a:pt x="688" y="1438"/>
                      <a:pt x="696" y="1442"/>
                    </a:cubicBezTo>
                    <a:cubicBezTo>
                      <a:pt x="704" y="1446"/>
                      <a:pt x="702" y="1441"/>
                      <a:pt x="713" y="1440"/>
                    </a:cubicBezTo>
                    <a:cubicBezTo>
                      <a:pt x="724" y="1439"/>
                      <a:pt x="733" y="1445"/>
                      <a:pt x="733" y="1445"/>
                    </a:cubicBezTo>
                    <a:cubicBezTo>
                      <a:pt x="733" y="1445"/>
                      <a:pt x="729" y="1435"/>
                      <a:pt x="738" y="1436"/>
                    </a:cubicBezTo>
                    <a:cubicBezTo>
                      <a:pt x="747" y="1437"/>
                      <a:pt x="749" y="1448"/>
                      <a:pt x="755" y="1452"/>
                    </a:cubicBezTo>
                    <a:cubicBezTo>
                      <a:pt x="761" y="1456"/>
                      <a:pt x="764" y="1461"/>
                      <a:pt x="764" y="1461"/>
                    </a:cubicBezTo>
                    <a:cubicBezTo>
                      <a:pt x="764" y="1461"/>
                      <a:pt x="776" y="1455"/>
                      <a:pt x="780" y="1455"/>
                    </a:cubicBezTo>
                    <a:cubicBezTo>
                      <a:pt x="784" y="1455"/>
                      <a:pt x="797" y="1464"/>
                      <a:pt x="797" y="1464"/>
                    </a:cubicBezTo>
                    <a:cubicBezTo>
                      <a:pt x="797" y="1464"/>
                      <a:pt x="811" y="1462"/>
                      <a:pt x="818" y="1464"/>
                    </a:cubicBezTo>
                    <a:cubicBezTo>
                      <a:pt x="825" y="1466"/>
                      <a:pt x="827" y="1472"/>
                      <a:pt x="827" y="1472"/>
                    </a:cubicBezTo>
                    <a:cubicBezTo>
                      <a:pt x="840" y="1481"/>
                      <a:pt x="840" y="1481"/>
                      <a:pt x="840" y="1481"/>
                    </a:cubicBezTo>
                    <a:cubicBezTo>
                      <a:pt x="840" y="1481"/>
                      <a:pt x="857" y="1475"/>
                      <a:pt x="858" y="1485"/>
                    </a:cubicBezTo>
                    <a:cubicBezTo>
                      <a:pt x="859" y="1495"/>
                      <a:pt x="860" y="1502"/>
                      <a:pt x="860" y="1502"/>
                    </a:cubicBezTo>
                    <a:cubicBezTo>
                      <a:pt x="846" y="1509"/>
                      <a:pt x="846" y="1509"/>
                      <a:pt x="846" y="1509"/>
                    </a:cubicBezTo>
                    <a:cubicBezTo>
                      <a:pt x="846" y="1509"/>
                      <a:pt x="863" y="1512"/>
                      <a:pt x="862" y="1518"/>
                    </a:cubicBezTo>
                    <a:cubicBezTo>
                      <a:pt x="861" y="1524"/>
                      <a:pt x="844" y="1522"/>
                      <a:pt x="845" y="1525"/>
                    </a:cubicBezTo>
                    <a:cubicBezTo>
                      <a:pt x="846" y="1528"/>
                      <a:pt x="858" y="1536"/>
                      <a:pt x="859" y="1542"/>
                    </a:cubicBezTo>
                    <a:cubicBezTo>
                      <a:pt x="860" y="1548"/>
                      <a:pt x="868" y="1561"/>
                      <a:pt x="856" y="1565"/>
                    </a:cubicBezTo>
                    <a:cubicBezTo>
                      <a:pt x="844" y="1569"/>
                      <a:pt x="821" y="1567"/>
                      <a:pt x="821" y="1567"/>
                    </a:cubicBezTo>
                    <a:cubicBezTo>
                      <a:pt x="821" y="1567"/>
                      <a:pt x="813" y="1576"/>
                      <a:pt x="810" y="1580"/>
                    </a:cubicBezTo>
                    <a:cubicBezTo>
                      <a:pt x="807" y="1584"/>
                      <a:pt x="794" y="1584"/>
                      <a:pt x="794" y="1584"/>
                    </a:cubicBezTo>
                    <a:cubicBezTo>
                      <a:pt x="797" y="1609"/>
                      <a:pt x="797" y="1609"/>
                      <a:pt x="797" y="1609"/>
                    </a:cubicBezTo>
                    <a:cubicBezTo>
                      <a:pt x="796" y="1610"/>
                      <a:pt x="795" y="1610"/>
                      <a:pt x="795" y="1610"/>
                    </a:cubicBezTo>
                    <a:cubicBezTo>
                      <a:pt x="796" y="1610"/>
                      <a:pt x="797" y="1609"/>
                      <a:pt x="799" y="1609"/>
                    </a:cubicBezTo>
                    <a:cubicBezTo>
                      <a:pt x="810" y="1603"/>
                      <a:pt x="839" y="1594"/>
                      <a:pt x="840" y="1603"/>
                    </a:cubicBezTo>
                    <a:cubicBezTo>
                      <a:pt x="841" y="1611"/>
                      <a:pt x="819" y="1627"/>
                      <a:pt x="819" y="1627"/>
                    </a:cubicBezTo>
                    <a:cubicBezTo>
                      <a:pt x="786" y="1637"/>
                      <a:pt x="786" y="1637"/>
                      <a:pt x="786" y="1637"/>
                    </a:cubicBezTo>
                    <a:cubicBezTo>
                      <a:pt x="816" y="1660"/>
                      <a:pt x="816" y="1660"/>
                      <a:pt x="816" y="1660"/>
                    </a:cubicBezTo>
                    <a:cubicBezTo>
                      <a:pt x="816" y="1660"/>
                      <a:pt x="792" y="1665"/>
                      <a:pt x="791" y="1675"/>
                    </a:cubicBezTo>
                    <a:cubicBezTo>
                      <a:pt x="790" y="1685"/>
                      <a:pt x="790" y="1696"/>
                      <a:pt x="790" y="1696"/>
                    </a:cubicBezTo>
                    <a:cubicBezTo>
                      <a:pt x="790" y="1696"/>
                      <a:pt x="777" y="1705"/>
                      <a:pt x="772" y="1705"/>
                    </a:cubicBezTo>
                    <a:cubicBezTo>
                      <a:pt x="767" y="1705"/>
                      <a:pt x="752" y="1694"/>
                      <a:pt x="752" y="1694"/>
                    </a:cubicBezTo>
                    <a:cubicBezTo>
                      <a:pt x="748" y="1705"/>
                      <a:pt x="748" y="1705"/>
                      <a:pt x="748" y="1705"/>
                    </a:cubicBezTo>
                    <a:cubicBezTo>
                      <a:pt x="748" y="1705"/>
                      <a:pt x="760" y="1718"/>
                      <a:pt x="763" y="1718"/>
                    </a:cubicBezTo>
                    <a:cubicBezTo>
                      <a:pt x="766" y="1718"/>
                      <a:pt x="775" y="1737"/>
                      <a:pt x="775" y="1737"/>
                    </a:cubicBezTo>
                    <a:cubicBezTo>
                      <a:pt x="800" y="1735"/>
                      <a:pt x="800" y="1735"/>
                      <a:pt x="800" y="1735"/>
                    </a:cubicBezTo>
                    <a:cubicBezTo>
                      <a:pt x="800" y="1735"/>
                      <a:pt x="818" y="1754"/>
                      <a:pt x="824" y="1754"/>
                    </a:cubicBezTo>
                    <a:cubicBezTo>
                      <a:pt x="830" y="1754"/>
                      <a:pt x="842" y="1755"/>
                      <a:pt x="842" y="1755"/>
                    </a:cubicBezTo>
                    <a:cubicBezTo>
                      <a:pt x="842" y="1755"/>
                      <a:pt x="873" y="1792"/>
                      <a:pt x="881" y="1795"/>
                    </a:cubicBezTo>
                    <a:cubicBezTo>
                      <a:pt x="889" y="1798"/>
                      <a:pt x="905" y="1805"/>
                      <a:pt x="905" y="1805"/>
                    </a:cubicBezTo>
                    <a:cubicBezTo>
                      <a:pt x="905" y="1805"/>
                      <a:pt x="904" y="1805"/>
                      <a:pt x="901" y="1804"/>
                    </a:cubicBezTo>
                    <a:cubicBezTo>
                      <a:pt x="914" y="1793"/>
                      <a:pt x="914" y="1793"/>
                      <a:pt x="914" y="1793"/>
                    </a:cubicBezTo>
                    <a:cubicBezTo>
                      <a:pt x="914" y="1793"/>
                      <a:pt x="939" y="1796"/>
                      <a:pt x="955" y="1803"/>
                    </a:cubicBezTo>
                    <a:cubicBezTo>
                      <a:pt x="971" y="1810"/>
                      <a:pt x="983" y="1812"/>
                      <a:pt x="996" y="1811"/>
                    </a:cubicBezTo>
                    <a:cubicBezTo>
                      <a:pt x="1009" y="1810"/>
                      <a:pt x="1029" y="1815"/>
                      <a:pt x="1029" y="1815"/>
                    </a:cubicBezTo>
                    <a:cubicBezTo>
                      <a:pt x="1061" y="1835"/>
                      <a:pt x="1061" y="1835"/>
                      <a:pt x="1061" y="1835"/>
                    </a:cubicBezTo>
                    <a:cubicBezTo>
                      <a:pt x="1061" y="1835"/>
                      <a:pt x="1061" y="1846"/>
                      <a:pt x="1080" y="1846"/>
                    </a:cubicBezTo>
                    <a:cubicBezTo>
                      <a:pt x="1099" y="1846"/>
                      <a:pt x="1091" y="1837"/>
                      <a:pt x="1109" y="1835"/>
                    </a:cubicBezTo>
                    <a:cubicBezTo>
                      <a:pt x="1127" y="1833"/>
                      <a:pt x="1137" y="1848"/>
                      <a:pt x="1137" y="1848"/>
                    </a:cubicBezTo>
                    <a:cubicBezTo>
                      <a:pt x="1157" y="1851"/>
                      <a:pt x="1157" y="1851"/>
                      <a:pt x="1157" y="1851"/>
                    </a:cubicBezTo>
                    <a:cubicBezTo>
                      <a:pt x="1157" y="1851"/>
                      <a:pt x="1152" y="1869"/>
                      <a:pt x="1152" y="1868"/>
                    </a:cubicBezTo>
                    <a:cubicBezTo>
                      <a:pt x="1169" y="1869"/>
                      <a:pt x="1180" y="1879"/>
                      <a:pt x="1187" y="1886"/>
                    </a:cubicBezTo>
                    <a:cubicBezTo>
                      <a:pt x="1187" y="1886"/>
                      <a:pt x="1187" y="1886"/>
                      <a:pt x="1187" y="1886"/>
                    </a:cubicBezTo>
                    <a:cubicBezTo>
                      <a:pt x="1194" y="1885"/>
                      <a:pt x="1205" y="1886"/>
                      <a:pt x="1214" y="1892"/>
                    </a:cubicBezTo>
                    <a:cubicBezTo>
                      <a:pt x="1227" y="1901"/>
                      <a:pt x="1236" y="1923"/>
                      <a:pt x="1252" y="1921"/>
                    </a:cubicBezTo>
                    <a:cubicBezTo>
                      <a:pt x="1268" y="1919"/>
                      <a:pt x="1262" y="1907"/>
                      <a:pt x="1262" y="1907"/>
                    </a:cubicBezTo>
                    <a:cubicBezTo>
                      <a:pt x="1262" y="1907"/>
                      <a:pt x="1278" y="1910"/>
                      <a:pt x="1279" y="1903"/>
                    </a:cubicBezTo>
                    <a:cubicBezTo>
                      <a:pt x="1280" y="1896"/>
                      <a:pt x="1281" y="1885"/>
                      <a:pt x="1281" y="1885"/>
                    </a:cubicBezTo>
                    <a:cubicBezTo>
                      <a:pt x="1274" y="1882"/>
                      <a:pt x="1274" y="1882"/>
                      <a:pt x="1274" y="1882"/>
                    </a:cubicBezTo>
                    <a:cubicBezTo>
                      <a:pt x="1274" y="1882"/>
                      <a:pt x="1269" y="1868"/>
                      <a:pt x="1264" y="1860"/>
                    </a:cubicBezTo>
                    <a:cubicBezTo>
                      <a:pt x="1259" y="1852"/>
                      <a:pt x="1240" y="1848"/>
                      <a:pt x="1240" y="1848"/>
                    </a:cubicBezTo>
                    <a:cubicBezTo>
                      <a:pt x="1240" y="1833"/>
                      <a:pt x="1240" y="1833"/>
                      <a:pt x="1240" y="1833"/>
                    </a:cubicBezTo>
                    <a:cubicBezTo>
                      <a:pt x="1240" y="1833"/>
                      <a:pt x="1232" y="1829"/>
                      <a:pt x="1223" y="1818"/>
                    </a:cubicBezTo>
                    <a:cubicBezTo>
                      <a:pt x="1214" y="1807"/>
                      <a:pt x="1226" y="1793"/>
                      <a:pt x="1221" y="1780"/>
                    </a:cubicBezTo>
                    <a:cubicBezTo>
                      <a:pt x="1216" y="1767"/>
                      <a:pt x="1195" y="1753"/>
                      <a:pt x="1195" y="1753"/>
                    </a:cubicBezTo>
                    <a:cubicBezTo>
                      <a:pt x="1195" y="1753"/>
                      <a:pt x="1186" y="1752"/>
                      <a:pt x="1177" y="1747"/>
                    </a:cubicBezTo>
                    <a:cubicBezTo>
                      <a:pt x="1168" y="1742"/>
                      <a:pt x="1190" y="1721"/>
                      <a:pt x="1190" y="1721"/>
                    </a:cubicBezTo>
                    <a:cubicBezTo>
                      <a:pt x="1190" y="1721"/>
                      <a:pt x="1205" y="1708"/>
                      <a:pt x="1208" y="1701"/>
                    </a:cubicBezTo>
                    <a:cubicBezTo>
                      <a:pt x="1211" y="1694"/>
                      <a:pt x="1197" y="1679"/>
                      <a:pt x="1197" y="1679"/>
                    </a:cubicBezTo>
                    <a:cubicBezTo>
                      <a:pt x="1197" y="1679"/>
                      <a:pt x="1211" y="1685"/>
                      <a:pt x="1214" y="1685"/>
                    </a:cubicBezTo>
                    <a:cubicBezTo>
                      <a:pt x="1217" y="1685"/>
                      <a:pt x="1229" y="1684"/>
                      <a:pt x="1232" y="1678"/>
                    </a:cubicBezTo>
                    <a:cubicBezTo>
                      <a:pt x="1235" y="1672"/>
                      <a:pt x="1238" y="1678"/>
                      <a:pt x="1250" y="1676"/>
                    </a:cubicBezTo>
                    <a:cubicBezTo>
                      <a:pt x="1262" y="1674"/>
                      <a:pt x="1245" y="1661"/>
                      <a:pt x="1245" y="1661"/>
                    </a:cubicBezTo>
                    <a:cubicBezTo>
                      <a:pt x="1245" y="1661"/>
                      <a:pt x="1261" y="1662"/>
                      <a:pt x="1264" y="1662"/>
                    </a:cubicBezTo>
                    <a:cubicBezTo>
                      <a:pt x="1266" y="1662"/>
                      <a:pt x="1265" y="1652"/>
                      <a:pt x="1264" y="1649"/>
                    </a:cubicBezTo>
                    <a:cubicBezTo>
                      <a:pt x="1257" y="1647"/>
                      <a:pt x="1231" y="1638"/>
                      <a:pt x="1231" y="1631"/>
                    </a:cubicBezTo>
                    <a:cubicBezTo>
                      <a:pt x="1231" y="1623"/>
                      <a:pt x="1254" y="1632"/>
                      <a:pt x="1254" y="1624"/>
                    </a:cubicBezTo>
                    <a:cubicBezTo>
                      <a:pt x="1254" y="1616"/>
                      <a:pt x="1215" y="1576"/>
                      <a:pt x="1210" y="1574"/>
                    </a:cubicBezTo>
                    <a:cubicBezTo>
                      <a:pt x="1205" y="1571"/>
                      <a:pt x="1181" y="1580"/>
                      <a:pt x="1169" y="1575"/>
                    </a:cubicBezTo>
                    <a:cubicBezTo>
                      <a:pt x="1157" y="1570"/>
                      <a:pt x="1171" y="1555"/>
                      <a:pt x="1159" y="1550"/>
                    </a:cubicBezTo>
                    <a:cubicBezTo>
                      <a:pt x="1147" y="1544"/>
                      <a:pt x="1137" y="1554"/>
                      <a:pt x="1137" y="1538"/>
                    </a:cubicBezTo>
                    <a:cubicBezTo>
                      <a:pt x="1137" y="1522"/>
                      <a:pt x="1145" y="1510"/>
                      <a:pt x="1145" y="1502"/>
                    </a:cubicBezTo>
                    <a:cubicBezTo>
                      <a:pt x="1145" y="1494"/>
                      <a:pt x="1139" y="1488"/>
                      <a:pt x="1139" y="1488"/>
                    </a:cubicBezTo>
                    <a:cubicBezTo>
                      <a:pt x="1137" y="1464"/>
                      <a:pt x="1137" y="1464"/>
                      <a:pt x="1137" y="1464"/>
                    </a:cubicBezTo>
                    <a:cubicBezTo>
                      <a:pt x="1137" y="1464"/>
                      <a:pt x="1150" y="1467"/>
                      <a:pt x="1150" y="1459"/>
                    </a:cubicBezTo>
                    <a:cubicBezTo>
                      <a:pt x="1150" y="1451"/>
                      <a:pt x="1142" y="1432"/>
                      <a:pt x="1154" y="1431"/>
                    </a:cubicBezTo>
                    <a:cubicBezTo>
                      <a:pt x="1166" y="1430"/>
                      <a:pt x="1194" y="1472"/>
                      <a:pt x="1209" y="1458"/>
                    </a:cubicBezTo>
                    <a:cubicBezTo>
                      <a:pt x="1223" y="1443"/>
                      <a:pt x="1205" y="1428"/>
                      <a:pt x="1205" y="1428"/>
                    </a:cubicBezTo>
                    <a:cubicBezTo>
                      <a:pt x="1223" y="1419"/>
                      <a:pt x="1223" y="1419"/>
                      <a:pt x="1223" y="1419"/>
                    </a:cubicBezTo>
                    <a:cubicBezTo>
                      <a:pt x="1223" y="1404"/>
                      <a:pt x="1223" y="1404"/>
                      <a:pt x="1223" y="1404"/>
                    </a:cubicBezTo>
                    <a:cubicBezTo>
                      <a:pt x="1223" y="1404"/>
                      <a:pt x="1251" y="1399"/>
                      <a:pt x="1259" y="1388"/>
                    </a:cubicBezTo>
                    <a:cubicBezTo>
                      <a:pt x="1267" y="1378"/>
                      <a:pt x="1245" y="1370"/>
                      <a:pt x="1267" y="1368"/>
                    </a:cubicBezTo>
                    <a:cubicBezTo>
                      <a:pt x="1290" y="1367"/>
                      <a:pt x="1282" y="1380"/>
                      <a:pt x="1298" y="1380"/>
                    </a:cubicBezTo>
                    <a:cubicBezTo>
                      <a:pt x="1314" y="1380"/>
                      <a:pt x="1327" y="1367"/>
                      <a:pt x="1334" y="1367"/>
                    </a:cubicBezTo>
                    <a:cubicBezTo>
                      <a:pt x="1341" y="1367"/>
                      <a:pt x="1342" y="1380"/>
                      <a:pt x="1351" y="1382"/>
                    </a:cubicBezTo>
                    <a:cubicBezTo>
                      <a:pt x="1361" y="1383"/>
                      <a:pt x="1385" y="1378"/>
                      <a:pt x="1389" y="1382"/>
                    </a:cubicBezTo>
                    <a:cubicBezTo>
                      <a:pt x="1393" y="1386"/>
                      <a:pt x="1395" y="1398"/>
                      <a:pt x="1395" y="1398"/>
                    </a:cubicBezTo>
                    <a:cubicBezTo>
                      <a:pt x="1419" y="1396"/>
                      <a:pt x="1419" y="1396"/>
                      <a:pt x="1419" y="1396"/>
                    </a:cubicBezTo>
                    <a:cubicBezTo>
                      <a:pt x="1426" y="1416"/>
                      <a:pt x="1426" y="1416"/>
                      <a:pt x="1426" y="1416"/>
                    </a:cubicBezTo>
                    <a:cubicBezTo>
                      <a:pt x="1426" y="1416"/>
                      <a:pt x="1434" y="1436"/>
                      <a:pt x="1442" y="1430"/>
                    </a:cubicBezTo>
                    <a:cubicBezTo>
                      <a:pt x="1450" y="1423"/>
                      <a:pt x="1427" y="1406"/>
                      <a:pt x="1438" y="1403"/>
                    </a:cubicBezTo>
                    <a:cubicBezTo>
                      <a:pt x="1449" y="1400"/>
                      <a:pt x="1490" y="1431"/>
                      <a:pt x="1493" y="1427"/>
                    </a:cubicBezTo>
                    <a:cubicBezTo>
                      <a:pt x="1495" y="1423"/>
                      <a:pt x="1513" y="1403"/>
                      <a:pt x="1522" y="1402"/>
                    </a:cubicBezTo>
                    <a:cubicBezTo>
                      <a:pt x="1531" y="1400"/>
                      <a:pt x="1542" y="1416"/>
                      <a:pt x="1558" y="1412"/>
                    </a:cubicBezTo>
                    <a:cubicBezTo>
                      <a:pt x="1574" y="1408"/>
                      <a:pt x="1585" y="1399"/>
                      <a:pt x="1593" y="1400"/>
                    </a:cubicBezTo>
                    <a:cubicBezTo>
                      <a:pt x="1601" y="1402"/>
                      <a:pt x="1613" y="1423"/>
                      <a:pt x="1623" y="1424"/>
                    </a:cubicBezTo>
                    <a:cubicBezTo>
                      <a:pt x="1634" y="1426"/>
                      <a:pt x="1657" y="1430"/>
                      <a:pt x="1657" y="1430"/>
                    </a:cubicBezTo>
                    <a:cubicBezTo>
                      <a:pt x="1663" y="1414"/>
                      <a:pt x="1663" y="1414"/>
                      <a:pt x="1663" y="1414"/>
                    </a:cubicBezTo>
                    <a:cubicBezTo>
                      <a:pt x="1663" y="1414"/>
                      <a:pt x="1723" y="1444"/>
                      <a:pt x="1719" y="1406"/>
                    </a:cubicBezTo>
                    <a:cubicBezTo>
                      <a:pt x="1715" y="1367"/>
                      <a:pt x="1665" y="1370"/>
                      <a:pt x="1665" y="1370"/>
                    </a:cubicBezTo>
                    <a:cubicBezTo>
                      <a:pt x="1642" y="1350"/>
                      <a:pt x="1642" y="1350"/>
                      <a:pt x="1642" y="1350"/>
                    </a:cubicBezTo>
                    <a:cubicBezTo>
                      <a:pt x="1642" y="1350"/>
                      <a:pt x="1675" y="1344"/>
                      <a:pt x="1677" y="1338"/>
                    </a:cubicBezTo>
                    <a:cubicBezTo>
                      <a:pt x="1678" y="1331"/>
                      <a:pt x="1665" y="1314"/>
                      <a:pt x="1665" y="1314"/>
                    </a:cubicBezTo>
                    <a:cubicBezTo>
                      <a:pt x="1671" y="1303"/>
                      <a:pt x="1671" y="1303"/>
                      <a:pt x="1671" y="1303"/>
                    </a:cubicBezTo>
                    <a:cubicBezTo>
                      <a:pt x="1671" y="1303"/>
                      <a:pt x="1709" y="1310"/>
                      <a:pt x="1709" y="1303"/>
                    </a:cubicBezTo>
                    <a:cubicBezTo>
                      <a:pt x="1709" y="1296"/>
                      <a:pt x="1666" y="1288"/>
                      <a:pt x="1666" y="1288"/>
                    </a:cubicBezTo>
                    <a:cubicBezTo>
                      <a:pt x="1677" y="1276"/>
                      <a:pt x="1677" y="1276"/>
                      <a:pt x="1677" y="1276"/>
                    </a:cubicBezTo>
                    <a:cubicBezTo>
                      <a:pt x="1658" y="1275"/>
                      <a:pt x="1658" y="1275"/>
                      <a:pt x="1658" y="1275"/>
                    </a:cubicBezTo>
                    <a:cubicBezTo>
                      <a:pt x="1658" y="1275"/>
                      <a:pt x="1642" y="1256"/>
                      <a:pt x="1687" y="1250"/>
                    </a:cubicBezTo>
                    <a:cubicBezTo>
                      <a:pt x="1733" y="1243"/>
                      <a:pt x="1765" y="1244"/>
                      <a:pt x="1765" y="1244"/>
                    </a:cubicBezTo>
                    <a:cubicBezTo>
                      <a:pt x="1769" y="1232"/>
                      <a:pt x="1769" y="1232"/>
                      <a:pt x="1769" y="1232"/>
                    </a:cubicBezTo>
                    <a:cubicBezTo>
                      <a:pt x="1811" y="1232"/>
                      <a:pt x="1811" y="1232"/>
                      <a:pt x="1811" y="1232"/>
                    </a:cubicBezTo>
                    <a:cubicBezTo>
                      <a:pt x="1811" y="1232"/>
                      <a:pt x="1811" y="1216"/>
                      <a:pt x="1819" y="1216"/>
                    </a:cubicBezTo>
                    <a:cubicBezTo>
                      <a:pt x="1827" y="1216"/>
                      <a:pt x="1855" y="1220"/>
                      <a:pt x="1877" y="1215"/>
                    </a:cubicBezTo>
                    <a:cubicBezTo>
                      <a:pt x="1898" y="1210"/>
                      <a:pt x="1918" y="1203"/>
                      <a:pt x="1918" y="1203"/>
                    </a:cubicBezTo>
                    <a:cubicBezTo>
                      <a:pt x="1918" y="1203"/>
                      <a:pt x="1915" y="1183"/>
                      <a:pt x="1949" y="1182"/>
                    </a:cubicBezTo>
                    <a:cubicBezTo>
                      <a:pt x="1982" y="1180"/>
                      <a:pt x="1995" y="1191"/>
                      <a:pt x="2001" y="1191"/>
                    </a:cubicBezTo>
                    <a:cubicBezTo>
                      <a:pt x="2006" y="1191"/>
                      <a:pt x="2013" y="1182"/>
                      <a:pt x="2021" y="1187"/>
                    </a:cubicBezTo>
                    <a:cubicBezTo>
                      <a:pt x="2029" y="1192"/>
                      <a:pt x="2034" y="1210"/>
                      <a:pt x="2034" y="1210"/>
                    </a:cubicBezTo>
                    <a:cubicBezTo>
                      <a:pt x="2034" y="1210"/>
                      <a:pt x="2046" y="1210"/>
                      <a:pt x="2046" y="1216"/>
                    </a:cubicBezTo>
                    <a:cubicBezTo>
                      <a:pt x="2046" y="1223"/>
                      <a:pt x="2045" y="1244"/>
                      <a:pt x="2050" y="1244"/>
                    </a:cubicBezTo>
                    <a:cubicBezTo>
                      <a:pt x="2055" y="1244"/>
                      <a:pt x="2083" y="1240"/>
                      <a:pt x="2083" y="1240"/>
                    </a:cubicBezTo>
                    <a:cubicBezTo>
                      <a:pt x="2090" y="1230"/>
                      <a:pt x="2090" y="1230"/>
                      <a:pt x="2090" y="1230"/>
                    </a:cubicBezTo>
                    <a:cubicBezTo>
                      <a:pt x="2109" y="1251"/>
                      <a:pt x="2109" y="1251"/>
                      <a:pt x="2109" y="1251"/>
                    </a:cubicBezTo>
                    <a:cubicBezTo>
                      <a:pt x="2122" y="1243"/>
                      <a:pt x="2122" y="1243"/>
                      <a:pt x="2122" y="1243"/>
                    </a:cubicBezTo>
                    <a:cubicBezTo>
                      <a:pt x="2139" y="1254"/>
                      <a:pt x="2139" y="1254"/>
                      <a:pt x="2139" y="1254"/>
                    </a:cubicBezTo>
                    <a:cubicBezTo>
                      <a:pt x="2139" y="1254"/>
                      <a:pt x="2145" y="1242"/>
                      <a:pt x="2154" y="1251"/>
                    </a:cubicBezTo>
                    <a:cubicBezTo>
                      <a:pt x="2163" y="1260"/>
                      <a:pt x="2142" y="1276"/>
                      <a:pt x="2153" y="1278"/>
                    </a:cubicBezTo>
                    <a:cubicBezTo>
                      <a:pt x="2163" y="1279"/>
                      <a:pt x="2165" y="1266"/>
                      <a:pt x="2171" y="1268"/>
                    </a:cubicBezTo>
                    <a:cubicBezTo>
                      <a:pt x="2178" y="1271"/>
                      <a:pt x="2193" y="1287"/>
                      <a:pt x="2201" y="1280"/>
                    </a:cubicBezTo>
                    <a:cubicBezTo>
                      <a:pt x="2209" y="1274"/>
                      <a:pt x="2201" y="1266"/>
                      <a:pt x="2207" y="1262"/>
                    </a:cubicBezTo>
                    <a:cubicBezTo>
                      <a:pt x="2214" y="1258"/>
                      <a:pt x="2222" y="1256"/>
                      <a:pt x="2222" y="1256"/>
                    </a:cubicBezTo>
                    <a:cubicBezTo>
                      <a:pt x="2231" y="1246"/>
                      <a:pt x="2231" y="1246"/>
                      <a:pt x="2231" y="1246"/>
                    </a:cubicBezTo>
                    <a:cubicBezTo>
                      <a:pt x="2255" y="1238"/>
                      <a:pt x="2255" y="1238"/>
                      <a:pt x="2255" y="1238"/>
                    </a:cubicBezTo>
                    <a:cubicBezTo>
                      <a:pt x="2255" y="1238"/>
                      <a:pt x="2267" y="1216"/>
                      <a:pt x="2275" y="1227"/>
                    </a:cubicBezTo>
                    <a:cubicBezTo>
                      <a:pt x="2283" y="1238"/>
                      <a:pt x="2263" y="1250"/>
                      <a:pt x="2263" y="1250"/>
                    </a:cubicBezTo>
                    <a:cubicBezTo>
                      <a:pt x="2263" y="1250"/>
                      <a:pt x="2331" y="1282"/>
                      <a:pt x="2337" y="1284"/>
                    </a:cubicBezTo>
                    <a:cubicBezTo>
                      <a:pt x="2342" y="1287"/>
                      <a:pt x="2414" y="1354"/>
                      <a:pt x="2429" y="1367"/>
                    </a:cubicBezTo>
                    <a:cubicBezTo>
                      <a:pt x="2443" y="1380"/>
                      <a:pt x="2467" y="1419"/>
                      <a:pt x="2485" y="1416"/>
                    </a:cubicBezTo>
                    <a:cubicBezTo>
                      <a:pt x="2502" y="1414"/>
                      <a:pt x="2498" y="1384"/>
                      <a:pt x="2509" y="1387"/>
                    </a:cubicBezTo>
                    <a:cubicBezTo>
                      <a:pt x="2519" y="1390"/>
                      <a:pt x="2515" y="1406"/>
                      <a:pt x="2519" y="1407"/>
                    </a:cubicBezTo>
                    <a:cubicBezTo>
                      <a:pt x="2523" y="1408"/>
                      <a:pt x="2541" y="1410"/>
                      <a:pt x="2541" y="1410"/>
                    </a:cubicBezTo>
                    <a:cubicBezTo>
                      <a:pt x="2541" y="1410"/>
                      <a:pt x="2555" y="1426"/>
                      <a:pt x="2567" y="1424"/>
                    </a:cubicBezTo>
                    <a:cubicBezTo>
                      <a:pt x="2579" y="1423"/>
                      <a:pt x="2595" y="1402"/>
                      <a:pt x="2618" y="1406"/>
                    </a:cubicBezTo>
                    <a:cubicBezTo>
                      <a:pt x="2641" y="1410"/>
                      <a:pt x="2662" y="1439"/>
                      <a:pt x="2662" y="1439"/>
                    </a:cubicBezTo>
                    <a:cubicBezTo>
                      <a:pt x="2662" y="1439"/>
                      <a:pt x="2697" y="1444"/>
                      <a:pt x="2698" y="1448"/>
                    </a:cubicBezTo>
                    <a:cubicBezTo>
                      <a:pt x="2699" y="1452"/>
                      <a:pt x="2715" y="1480"/>
                      <a:pt x="2715" y="1480"/>
                    </a:cubicBezTo>
                    <a:cubicBezTo>
                      <a:pt x="2762" y="1484"/>
                      <a:pt x="2762" y="1484"/>
                      <a:pt x="2762" y="1484"/>
                    </a:cubicBezTo>
                    <a:cubicBezTo>
                      <a:pt x="2773" y="1462"/>
                      <a:pt x="2773" y="1462"/>
                      <a:pt x="2773" y="1462"/>
                    </a:cubicBezTo>
                    <a:cubicBezTo>
                      <a:pt x="2786" y="1478"/>
                      <a:pt x="2786" y="1478"/>
                      <a:pt x="2786" y="1478"/>
                    </a:cubicBezTo>
                    <a:cubicBezTo>
                      <a:pt x="2810" y="1504"/>
                      <a:pt x="2810" y="1504"/>
                      <a:pt x="2810" y="1504"/>
                    </a:cubicBezTo>
                    <a:cubicBezTo>
                      <a:pt x="2815" y="1505"/>
                      <a:pt x="2819" y="1506"/>
                      <a:pt x="2819" y="1506"/>
                    </a:cubicBezTo>
                    <a:cubicBezTo>
                      <a:pt x="2819" y="1506"/>
                      <a:pt x="2832" y="1499"/>
                      <a:pt x="2840" y="1503"/>
                    </a:cubicBezTo>
                    <a:cubicBezTo>
                      <a:pt x="2847" y="1496"/>
                      <a:pt x="2847" y="1496"/>
                      <a:pt x="2847" y="1496"/>
                    </a:cubicBezTo>
                    <a:cubicBezTo>
                      <a:pt x="2846" y="1484"/>
                      <a:pt x="2846" y="1484"/>
                      <a:pt x="2846" y="1484"/>
                    </a:cubicBezTo>
                    <a:cubicBezTo>
                      <a:pt x="2887" y="1484"/>
                      <a:pt x="2887" y="1484"/>
                      <a:pt x="2887" y="1484"/>
                    </a:cubicBezTo>
                    <a:cubicBezTo>
                      <a:pt x="2885" y="1475"/>
                      <a:pt x="2885" y="1475"/>
                      <a:pt x="2885" y="1475"/>
                    </a:cubicBezTo>
                    <a:cubicBezTo>
                      <a:pt x="2901" y="1475"/>
                      <a:pt x="2901" y="1475"/>
                      <a:pt x="2901" y="1475"/>
                    </a:cubicBezTo>
                    <a:cubicBezTo>
                      <a:pt x="2901" y="1475"/>
                      <a:pt x="2892" y="1473"/>
                      <a:pt x="2901" y="1463"/>
                    </a:cubicBezTo>
                    <a:cubicBezTo>
                      <a:pt x="2910" y="1453"/>
                      <a:pt x="2921" y="1445"/>
                      <a:pt x="2921" y="1445"/>
                    </a:cubicBezTo>
                    <a:cubicBezTo>
                      <a:pt x="2930" y="1446"/>
                      <a:pt x="2930" y="1446"/>
                      <a:pt x="2930" y="1446"/>
                    </a:cubicBezTo>
                    <a:cubicBezTo>
                      <a:pt x="2941" y="1433"/>
                      <a:pt x="2941" y="1433"/>
                      <a:pt x="2941" y="1433"/>
                    </a:cubicBezTo>
                    <a:cubicBezTo>
                      <a:pt x="2957" y="1433"/>
                      <a:pt x="2957" y="1433"/>
                      <a:pt x="2957" y="1433"/>
                    </a:cubicBezTo>
                    <a:cubicBezTo>
                      <a:pt x="2957" y="1433"/>
                      <a:pt x="2958" y="1416"/>
                      <a:pt x="2965" y="1416"/>
                    </a:cubicBezTo>
                    <a:cubicBezTo>
                      <a:pt x="2972" y="1416"/>
                      <a:pt x="2981" y="1422"/>
                      <a:pt x="2981" y="1422"/>
                    </a:cubicBezTo>
                    <a:cubicBezTo>
                      <a:pt x="2993" y="1415"/>
                      <a:pt x="2993" y="1415"/>
                      <a:pt x="2993" y="1415"/>
                    </a:cubicBezTo>
                    <a:cubicBezTo>
                      <a:pt x="2993" y="1415"/>
                      <a:pt x="2993" y="1420"/>
                      <a:pt x="2996" y="1420"/>
                    </a:cubicBezTo>
                    <a:cubicBezTo>
                      <a:pt x="2999" y="1420"/>
                      <a:pt x="3015" y="1420"/>
                      <a:pt x="3015" y="1420"/>
                    </a:cubicBezTo>
                    <a:cubicBezTo>
                      <a:pt x="3020" y="1431"/>
                      <a:pt x="3020" y="1431"/>
                      <a:pt x="3020" y="1431"/>
                    </a:cubicBezTo>
                    <a:cubicBezTo>
                      <a:pt x="3020" y="1431"/>
                      <a:pt x="3064" y="1427"/>
                      <a:pt x="3071" y="1427"/>
                    </a:cubicBezTo>
                    <a:cubicBezTo>
                      <a:pt x="3078" y="1427"/>
                      <a:pt x="3076" y="1440"/>
                      <a:pt x="3085" y="1447"/>
                    </a:cubicBezTo>
                    <a:cubicBezTo>
                      <a:pt x="3094" y="1454"/>
                      <a:pt x="3116" y="1452"/>
                      <a:pt x="3116" y="1452"/>
                    </a:cubicBezTo>
                    <a:cubicBezTo>
                      <a:pt x="3118" y="1461"/>
                      <a:pt x="3118" y="1461"/>
                      <a:pt x="3118" y="1461"/>
                    </a:cubicBezTo>
                    <a:cubicBezTo>
                      <a:pt x="3137" y="1458"/>
                      <a:pt x="3137" y="1458"/>
                      <a:pt x="3137" y="1458"/>
                    </a:cubicBezTo>
                    <a:cubicBezTo>
                      <a:pt x="3139" y="1463"/>
                      <a:pt x="3139" y="1463"/>
                      <a:pt x="3139" y="1463"/>
                    </a:cubicBezTo>
                    <a:cubicBezTo>
                      <a:pt x="3139" y="1463"/>
                      <a:pt x="3141" y="1457"/>
                      <a:pt x="3152" y="1456"/>
                    </a:cubicBezTo>
                    <a:cubicBezTo>
                      <a:pt x="3163" y="1455"/>
                      <a:pt x="3172" y="1456"/>
                      <a:pt x="3172" y="1456"/>
                    </a:cubicBezTo>
                    <a:cubicBezTo>
                      <a:pt x="3173" y="1464"/>
                      <a:pt x="3173" y="1464"/>
                      <a:pt x="3173" y="1464"/>
                    </a:cubicBezTo>
                    <a:cubicBezTo>
                      <a:pt x="3203" y="1462"/>
                      <a:pt x="3203" y="1462"/>
                      <a:pt x="3203" y="1462"/>
                    </a:cubicBezTo>
                    <a:cubicBezTo>
                      <a:pt x="3203" y="1462"/>
                      <a:pt x="3197" y="1478"/>
                      <a:pt x="3214" y="1470"/>
                    </a:cubicBezTo>
                    <a:cubicBezTo>
                      <a:pt x="3231" y="1462"/>
                      <a:pt x="3229" y="1455"/>
                      <a:pt x="3229" y="1455"/>
                    </a:cubicBezTo>
                    <a:cubicBezTo>
                      <a:pt x="3229" y="1455"/>
                      <a:pt x="3241" y="1465"/>
                      <a:pt x="3241" y="1447"/>
                    </a:cubicBezTo>
                    <a:cubicBezTo>
                      <a:pt x="3241" y="1429"/>
                      <a:pt x="3226" y="1429"/>
                      <a:pt x="3226" y="1429"/>
                    </a:cubicBezTo>
                    <a:cubicBezTo>
                      <a:pt x="3210" y="1405"/>
                      <a:pt x="3210" y="1405"/>
                      <a:pt x="3210" y="1405"/>
                    </a:cubicBezTo>
                    <a:cubicBezTo>
                      <a:pt x="3206" y="1391"/>
                      <a:pt x="3206" y="1391"/>
                      <a:pt x="3206" y="1391"/>
                    </a:cubicBezTo>
                    <a:cubicBezTo>
                      <a:pt x="3206" y="1391"/>
                      <a:pt x="3200" y="1388"/>
                      <a:pt x="3200" y="1382"/>
                    </a:cubicBezTo>
                    <a:cubicBezTo>
                      <a:pt x="3200" y="1376"/>
                      <a:pt x="3211" y="1378"/>
                      <a:pt x="3211" y="1378"/>
                    </a:cubicBezTo>
                    <a:cubicBezTo>
                      <a:pt x="3209" y="1367"/>
                      <a:pt x="3209" y="1367"/>
                      <a:pt x="3209" y="1367"/>
                    </a:cubicBezTo>
                    <a:cubicBezTo>
                      <a:pt x="3209" y="1367"/>
                      <a:pt x="3213" y="1369"/>
                      <a:pt x="3218" y="1363"/>
                    </a:cubicBezTo>
                    <a:cubicBezTo>
                      <a:pt x="3223" y="1357"/>
                      <a:pt x="3222" y="1345"/>
                      <a:pt x="3222" y="1345"/>
                    </a:cubicBezTo>
                    <a:cubicBezTo>
                      <a:pt x="3231" y="1347"/>
                      <a:pt x="3231" y="1347"/>
                      <a:pt x="3231" y="1347"/>
                    </a:cubicBezTo>
                    <a:cubicBezTo>
                      <a:pt x="3231" y="1347"/>
                      <a:pt x="3254" y="1364"/>
                      <a:pt x="3272" y="1366"/>
                    </a:cubicBezTo>
                    <a:cubicBezTo>
                      <a:pt x="3290" y="1368"/>
                      <a:pt x="3310" y="1367"/>
                      <a:pt x="3310" y="1367"/>
                    </a:cubicBezTo>
                    <a:cubicBezTo>
                      <a:pt x="3310" y="1367"/>
                      <a:pt x="3329" y="1381"/>
                      <a:pt x="3339" y="1383"/>
                    </a:cubicBezTo>
                    <a:cubicBezTo>
                      <a:pt x="3349" y="1385"/>
                      <a:pt x="3361" y="1372"/>
                      <a:pt x="3370" y="1383"/>
                    </a:cubicBezTo>
                    <a:cubicBezTo>
                      <a:pt x="3379" y="1394"/>
                      <a:pt x="3401" y="1428"/>
                      <a:pt x="3401" y="1428"/>
                    </a:cubicBezTo>
                    <a:cubicBezTo>
                      <a:pt x="3416" y="1425"/>
                      <a:pt x="3416" y="1425"/>
                      <a:pt x="3416" y="1425"/>
                    </a:cubicBezTo>
                    <a:cubicBezTo>
                      <a:pt x="3416" y="1425"/>
                      <a:pt x="3418" y="1441"/>
                      <a:pt x="3428" y="1441"/>
                    </a:cubicBezTo>
                    <a:cubicBezTo>
                      <a:pt x="3438" y="1441"/>
                      <a:pt x="3445" y="1440"/>
                      <a:pt x="3445" y="1440"/>
                    </a:cubicBezTo>
                    <a:cubicBezTo>
                      <a:pt x="3445" y="1440"/>
                      <a:pt x="3462" y="1450"/>
                      <a:pt x="3475" y="1449"/>
                    </a:cubicBezTo>
                    <a:cubicBezTo>
                      <a:pt x="3488" y="1448"/>
                      <a:pt x="3506" y="1430"/>
                      <a:pt x="3535" y="1432"/>
                    </a:cubicBezTo>
                    <a:cubicBezTo>
                      <a:pt x="3564" y="1434"/>
                      <a:pt x="3566" y="1442"/>
                      <a:pt x="3566" y="1442"/>
                    </a:cubicBezTo>
                    <a:cubicBezTo>
                      <a:pt x="3593" y="1439"/>
                      <a:pt x="3593" y="1439"/>
                      <a:pt x="3593" y="1439"/>
                    </a:cubicBezTo>
                    <a:cubicBezTo>
                      <a:pt x="3593" y="1439"/>
                      <a:pt x="3604" y="1458"/>
                      <a:pt x="3616" y="1458"/>
                    </a:cubicBezTo>
                    <a:cubicBezTo>
                      <a:pt x="3628" y="1458"/>
                      <a:pt x="3647" y="1458"/>
                      <a:pt x="3650" y="1459"/>
                    </a:cubicBezTo>
                    <a:cubicBezTo>
                      <a:pt x="3653" y="1460"/>
                      <a:pt x="3661" y="1479"/>
                      <a:pt x="3664" y="1478"/>
                    </a:cubicBezTo>
                    <a:cubicBezTo>
                      <a:pt x="3667" y="1477"/>
                      <a:pt x="3678" y="1480"/>
                      <a:pt x="3678" y="1480"/>
                    </a:cubicBezTo>
                    <a:cubicBezTo>
                      <a:pt x="3678" y="1480"/>
                      <a:pt x="3673" y="1491"/>
                      <a:pt x="3693" y="1493"/>
                    </a:cubicBezTo>
                    <a:cubicBezTo>
                      <a:pt x="3713" y="1495"/>
                      <a:pt x="3723" y="1492"/>
                      <a:pt x="3723" y="1492"/>
                    </a:cubicBezTo>
                    <a:cubicBezTo>
                      <a:pt x="3723" y="1492"/>
                      <a:pt x="3730" y="1495"/>
                      <a:pt x="3733" y="1498"/>
                    </a:cubicBezTo>
                    <a:cubicBezTo>
                      <a:pt x="3736" y="1501"/>
                      <a:pt x="3760" y="1501"/>
                      <a:pt x="3760" y="1501"/>
                    </a:cubicBezTo>
                    <a:cubicBezTo>
                      <a:pt x="3760" y="1501"/>
                      <a:pt x="3772" y="1494"/>
                      <a:pt x="3776" y="1496"/>
                    </a:cubicBezTo>
                    <a:cubicBezTo>
                      <a:pt x="3780" y="1498"/>
                      <a:pt x="3788" y="1507"/>
                      <a:pt x="3793" y="1501"/>
                    </a:cubicBezTo>
                    <a:cubicBezTo>
                      <a:pt x="3798" y="1495"/>
                      <a:pt x="3796" y="1490"/>
                      <a:pt x="3805" y="1488"/>
                    </a:cubicBezTo>
                    <a:cubicBezTo>
                      <a:pt x="3814" y="1486"/>
                      <a:pt x="3831" y="1487"/>
                      <a:pt x="3831" y="1487"/>
                    </a:cubicBezTo>
                    <a:cubicBezTo>
                      <a:pt x="3841" y="1482"/>
                      <a:pt x="3841" y="1482"/>
                      <a:pt x="3841" y="1482"/>
                    </a:cubicBezTo>
                    <a:cubicBezTo>
                      <a:pt x="3841" y="1482"/>
                      <a:pt x="3853" y="1485"/>
                      <a:pt x="3863" y="1481"/>
                    </a:cubicBezTo>
                    <a:cubicBezTo>
                      <a:pt x="3873" y="1477"/>
                      <a:pt x="3870" y="1466"/>
                      <a:pt x="3870" y="1466"/>
                    </a:cubicBezTo>
                    <a:cubicBezTo>
                      <a:pt x="3893" y="1443"/>
                      <a:pt x="3893" y="1443"/>
                      <a:pt x="3893" y="1443"/>
                    </a:cubicBezTo>
                    <a:cubicBezTo>
                      <a:pt x="3893" y="1443"/>
                      <a:pt x="3920" y="1447"/>
                      <a:pt x="3929" y="1447"/>
                    </a:cubicBezTo>
                    <a:cubicBezTo>
                      <a:pt x="3938" y="1447"/>
                      <a:pt x="3948" y="1463"/>
                      <a:pt x="3962" y="1463"/>
                    </a:cubicBezTo>
                    <a:cubicBezTo>
                      <a:pt x="3976" y="1463"/>
                      <a:pt x="3982" y="1456"/>
                      <a:pt x="3982" y="1456"/>
                    </a:cubicBezTo>
                    <a:cubicBezTo>
                      <a:pt x="4000" y="1459"/>
                      <a:pt x="4000" y="1459"/>
                      <a:pt x="4000" y="1459"/>
                    </a:cubicBezTo>
                    <a:cubicBezTo>
                      <a:pt x="4011" y="1462"/>
                      <a:pt x="4011" y="1462"/>
                      <a:pt x="4011" y="1462"/>
                    </a:cubicBezTo>
                    <a:cubicBezTo>
                      <a:pt x="4034" y="1476"/>
                      <a:pt x="4034" y="1476"/>
                      <a:pt x="4034" y="1476"/>
                    </a:cubicBezTo>
                    <a:cubicBezTo>
                      <a:pt x="4058" y="1477"/>
                      <a:pt x="4058" y="1477"/>
                      <a:pt x="4058" y="1477"/>
                    </a:cubicBezTo>
                    <a:cubicBezTo>
                      <a:pt x="4058" y="1477"/>
                      <a:pt x="4061" y="1482"/>
                      <a:pt x="4071" y="1482"/>
                    </a:cubicBezTo>
                    <a:cubicBezTo>
                      <a:pt x="4081" y="1482"/>
                      <a:pt x="4085" y="1460"/>
                      <a:pt x="4085" y="1460"/>
                    </a:cubicBezTo>
                    <a:cubicBezTo>
                      <a:pt x="4085" y="1460"/>
                      <a:pt x="4096" y="1465"/>
                      <a:pt x="4109" y="1457"/>
                    </a:cubicBezTo>
                    <a:cubicBezTo>
                      <a:pt x="4122" y="1449"/>
                      <a:pt x="4098" y="1439"/>
                      <a:pt x="4098" y="1439"/>
                    </a:cubicBezTo>
                    <a:cubicBezTo>
                      <a:pt x="4097" y="1414"/>
                      <a:pt x="4097" y="1414"/>
                      <a:pt x="4097" y="1414"/>
                    </a:cubicBezTo>
                    <a:cubicBezTo>
                      <a:pt x="4097" y="1395"/>
                      <a:pt x="4097" y="1395"/>
                      <a:pt x="4097" y="1395"/>
                    </a:cubicBezTo>
                    <a:cubicBezTo>
                      <a:pt x="4097" y="1395"/>
                      <a:pt x="4092" y="1377"/>
                      <a:pt x="4094" y="1368"/>
                    </a:cubicBezTo>
                    <a:cubicBezTo>
                      <a:pt x="4096" y="1359"/>
                      <a:pt x="4108" y="1354"/>
                      <a:pt x="4109" y="1348"/>
                    </a:cubicBezTo>
                    <a:cubicBezTo>
                      <a:pt x="4110" y="1342"/>
                      <a:pt x="4083" y="1327"/>
                      <a:pt x="4083" y="1327"/>
                    </a:cubicBezTo>
                    <a:cubicBezTo>
                      <a:pt x="4083" y="1327"/>
                      <a:pt x="4071" y="1325"/>
                      <a:pt x="4056" y="1322"/>
                    </a:cubicBezTo>
                    <a:cubicBezTo>
                      <a:pt x="4041" y="1319"/>
                      <a:pt x="4063" y="1304"/>
                      <a:pt x="4063" y="1304"/>
                    </a:cubicBezTo>
                    <a:cubicBezTo>
                      <a:pt x="4083" y="1284"/>
                      <a:pt x="4083" y="1284"/>
                      <a:pt x="4083" y="1284"/>
                    </a:cubicBezTo>
                    <a:cubicBezTo>
                      <a:pt x="4107" y="1281"/>
                      <a:pt x="4107" y="1281"/>
                      <a:pt x="4107" y="1281"/>
                    </a:cubicBezTo>
                    <a:cubicBezTo>
                      <a:pt x="4111" y="1273"/>
                      <a:pt x="4111" y="1273"/>
                      <a:pt x="4111" y="1273"/>
                    </a:cubicBezTo>
                    <a:cubicBezTo>
                      <a:pt x="4139" y="1275"/>
                      <a:pt x="4139" y="1275"/>
                      <a:pt x="4139" y="1275"/>
                    </a:cubicBezTo>
                    <a:cubicBezTo>
                      <a:pt x="4174" y="1268"/>
                      <a:pt x="4174" y="1268"/>
                      <a:pt x="4174" y="1268"/>
                    </a:cubicBezTo>
                    <a:cubicBezTo>
                      <a:pt x="4199" y="1281"/>
                      <a:pt x="4199" y="1281"/>
                      <a:pt x="4199" y="1281"/>
                    </a:cubicBezTo>
                    <a:cubicBezTo>
                      <a:pt x="4225" y="1298"/>
                      <a:pt x="4225" y="1298"/>
                      <a:pt x="4225" y="1298"/>
                    </a:cubicBezTo>
                    <a:cubicBezTo>
                      <a:pt x="4240" y="1295"/>
                      <a:pt x="4240" y="1295"/>
                      <a:pt x="4240" y="1295"/>
                    </a:cubicBezTo>
                    <a:cubicBezTo>
                      <a:pt x="4240" y="1295"/>
                      <a:pt x="4259" y="1296"/>
                      <a:pt x="4266" y="1297"/>
                    </a:cubicBezTo>
                    <a:cubicBezTo>
                      <a:pt x="4273" y="1298"/>
                      <a:pt x="4294" y="1312"/>
                      <a:pt x="4294" y="1312"/>
                    </a:cubicBezTo>
                    <a:cubicBezTo>
                      <a:pt x="4296" y="1321"/>
                      <a:pt x="4296" y="1321"/>
                      <a:pt x="4296" y="1321"/>
                    </a:cubicBezTo>
                    <a:cubicBezTo>
                      <a:pt x="4296" y="1321"/>
                      <a:pt x="4314" y="1331"/>
                      <a:pt x="4319" y="1335"/>
                    </a:cubicBezTo>
                    <a:cubicBezTo>
                      <a:pt x="4324" y="1339"/>
                      <a:pt x="4339" y="1344"/>
                      <a:pt x="4339" y="1344"/>
                    </a:cubicBezTo>
                    <a:cubicBezTo>
                      <a:pt x="4342" y="1363"/>
                      <a:pt x="4342" y="1363"/>
                      <a:pt x="4342" y="1363"/>
                    </a:cubicBezTo>
                    <a:cubicBezTo>
                      <a:pt x="4374" y="1380"/>
                      <a:pt x="4374" y="1380"/>
                      <a:pt x="4374" y="1380"/>
                    </a:cubicBezTo>
                    <a:cubicBezTo>
                      <a:pt x="4385" y="1402"/>
                      <a:pt x="4385" y="1402"/>
                      <a:pt x="4385" y="1402"/>
                    </a:cubicBezTo>
                    <a:cubicBezTo>
                      <a:pt x="4385" y="1402"/>
                      <a:pt x="4406" y="1404"/>
                      <a:pt x="4416" y="1413"/>
                    </a:cubicBezTo>
                    <a:cubicBezTo>
                      <a:pt x="4426" y="1422"/>
                      <a:pt x="4444" y="1446"/>
                      <a:pt x="4444" y="1446"/>
                    </a:cubicBezTo>
                    <a:cubicBezTo>
                      <a:pt x="4451" y="1446"/>
                      <a:pt x="4451" y="1446"/>
                      <a:pt x="4451" y="1446"/>
                    </a:cubicBezTo>
                    <a:cubicBezTo>
                      <a:pt x="4455" y="1462"/>
                      <a:pt x="4455" y="1462"/>
                      <a:pt x="4455" y="1462"/>
                    </a:cubicBezTo>
                    <a:cubicBezTo>
                      <a:pt x="4455" y="1462"/>
                      <a:pt x="4474" y="1472"/>
                      <a:pt x="4482" y="1477"/>
                    </a:cubicBezTo>
                    <a:cubicBezTo>
                      <a:pt x="4490" y="1482"/>
                      <a:pt x="4507" y="1481"/>
                      <a:pt x="4517" y="1479"/>
                    </a:cubicBezTo>
                    <a:cubicBezTo>
                      <a:pt x="4527" y="1477"/>
                      <a:pt x="4543" y="1493"/>
                      <a:pt x="4543" y="1493"/>
                    </a:cubicBezTo>
                    <a:cubicBezTo>
                      <a:pt x="4543" y="1493"/>
                      <a:pt x="4551" y="1486"/>
                      <a:pt x="4555" y="1486"/>
                    </a:cubicBezTo>
                    <a:cubicBezTo>
                      <a:pt x="4559" y="1486"/>
                      <a:pt x="4597" y="1514"/>
                      <a:pt x="4597" y="1514"/>
                    </a:cubicBezTo>
                    <a:cubicBezTo>
                      <a:pt x="4621" y="1514"/>
                      <a:pt x="4621" y="1514"/>
                      <a:pt x="4621" y="1514"/>
                    </a:cubicBezTo>
                    <a:cubicBezTo>
                      <a:pt x="4630" y="1533"/>
                      <a:pt x="4630" y="1533"/>
                      <a:pt x="4630" y="1533"/>
                    </a:cubicBezTo>
                    <a:cubicBezTo>
                      <a:pt x="4630" y="1533"/>
                      <a:pt x="4646" y="1534"/>
                      <a:pt x="4649" y="1541"/>
                    </a:cubicBezTo>
                    <a:cubicBezTo>
                      <a:pt x="4652" y="1548"/>
                      <a:pt x="4653" y="1556"/>
                      <a:pt x="4653" y="1556"/>
                    </a:cubicBezTo>
                    <a:cubicBezTo>
                      <a:pt x="4678" y="1576"/>
                      <a:pt x="4678" y="1576"/>
                      <a:pt x="4678" y="1576"/>
                    </a:cubicBezTo>
                    <a:cubicBezTo>
                      <a:pt x="4695" y="1572"/>
                      <a:pt x="4695" y="1572"/>
                      <a:pt x="4695" y="1572"/>
                    </a:cubicBezTo>
                    <a:cubicBezTo>
                      <a:pt x="4703" y="1582"/>
                      <a:pt x="4703" y="1582"/>
                      <a:pt x="4703" y="1582"/>
                    </a:cubicBezTo>
                    <a:cubicBezTo>
                      <a:pt x="4716" y="1581"/>
                      <a:pt x="4716" y="1581"/>
                      <a:pt x="4716" y="1581"/>
                    </a:cubicBezTo>
                    <a:cubicBezTo>
                      <a:pt x="4716" y="1574"/>
                      <a:pt x="4716" y="1574"/>
                      <a:pt x="4716" y="1574"/>
                    </a:cubicBezTo>
                    <a:cubicBezTo>
                      <a:pt x="4735" y="1576"/>
                      <a:pt x="4735" y="1576"/>
                      <a:pt x="4735" y="1576"/>
                    </a:cubicBezTo>
                    <a:cubicBezTo>
                      <a:pt x="4735" y="1576"/>
                      <a:pt x="4736" y="1565"/>
                      <a:pt x="4739" y="1560"/>
                    </a:cubicBezTo>
                    <a:cubicBezTo>
                      <a:pt x="4742" y="1555"/>
                      <a:pt x="4770" y="1556"/>
                      <a:pt x="4770" y="1556"/>
                    </a:cubicBezTo>
                    <a:cubicBezTo>
                      <a:pt x="4775" y="1542"/>
                      <a:pt x="4775" y="1542"/>
                      <a:pt x="4775" y="1542"/>
                    </a:cubicBezTo>
                    <a:cubicBezTo>
                      <a:pt x="4775" y="1542"/>
                      <a:pt x="4800" y="1536"/>
                      <a:pt x="4810" y="1544"/>
                    </a:cubicBezTo>
                    <a:cubicBezTo>
                      <a:pt x="4820" y="1552"/>
                      <a:pt x="4814" y="1565"/>
                      <a:pt x="4814" y="1565"/>
                    </a:cubicBezTo>
                    <a:cubicBezTo>
                      <a:pt x="4832" y="1573"/>
                      <a:pt x="4832" y="1573"/>
                      <a:pt x="4832" y="1573"/>
                    </a:cubicBezTo>
                    <a:cubicBezTo>
                      <a:pt x="4832" y="1593"/>
                      <a:pt x="4832" y="1593"/>
                      <a:pt x="4832" y="1593"/>
                    </a:cubicBezTo>
                    <a:cubicBezTo>
                      <a:pt x="4820" y="1598"/>
                      <a:pt x="4820" y="1598"/>
                      <a:pt x="4820" y="1598"/>
                    </a:cubicBezTo>
                    <a:cubicBezTo>
                      <a:pt x="4828" y="1608"/>
                      <a:pt x="4828" y="1608"/>
                      <a:pt x="4828" y="1608"/>
                    </a:cubicBezTo>
                    <a:cubicBezTo>
                      <a:pt x="4828" y="1620"/>
                      <a:pt x="4828" y="1620"/>
                      <a:pt x="4828" y="1620"/>
                    </a:cubicBezTo>
                    <a:cubicBezTo>
                      <a:pt x="4835" y="1630"/>
                      <a:pt x="4835" y="1630"/>
                      <a:pt x="4835" y="1630"/>
                    </a:cubicBezTo>
                    <a:cubicBezTo>
                      <a:pt x="4835" y="1643"/>
                      <a:pt x="4835" y="1643"/>
                      <a:pt x="4835" y="1643"/>
                    </a:cubicBezTo>
                    <a:cubicBezTo>
                      <a:pt x="4846" y="1650"/>
                      <a:pt x="4846" y="1650"/>
                      <a:pt x="4846" y="1650"/>
                    </a:cubicBezTo>
                    <a:cubicBezTo>
                      <a:pt x="4843" y="1667"/>
                      <a:pt x="4843" y="1667"/>
                      <a:pt x="4843" y="1667"/>
                    </a:cubicBezTo>
                    <a:cubicBezTo>
                      <a:pt x="4846" y="1684"/>
                      <a:pt x="4846" y="1684"/>
                      <a:pt x="4846" y="1684"/>
                    </a:cubicBezTo>
                    <a:cubicBezTo>
                      <a:pt x="4846" y="1684"/>
                      <a:pt x="4834" y="1688"/>
                      <a:pt x="4839" y="1700"/>
                    </a:cubicBezTo>
                    <a:cubicBezTo>
                      <a:pt x="4844" y="1712"/>
                      <a:pt x="4846" y="1713"/>
                      <a:pt x="4839" y="1719"/>
                    </a:cubicBezTo>
                    <a:cubicBezTo>
                      <a:pt x="4832" y="1725"/>
                      <a:pt x="4796" y="1702"/>
                      <a:pt x="4785" y="1707"/>
                    </a:cubicBezTo>
                    <a:cubicBezTo>
                      <a:pt x="4774" y="1712"/>
                      <a:pt x="4786" y="1718"/>
                      <a:pt x="4784" y="1723"/>
                    </a:cubicBezTo>
                    <a:cubicBezTo>
                      <a:pt x="4782" y="1728"/>
                      <a:pt x="4769" y="1719"/>
                      <a:pt x="4766" y="1729"/>
                    </a:cubicBezTo>
                    <a:cubicBezTo>
                      <a:pt x="4763" y="1739"/>
                      <a:pt x="4778" y="1740"/>
                      <a:pt x="4792" y="1753"/>
                    </a:cubicBezTo>
                    <a:cubicBezTo>
                      <a:pt x="4806" y="1766"/>
                      <a:pt x="4810" y="1785"/>
                      <a:pt x="4812" y="1791"/>
                    </a:cubicBezTo>
                    <a:cubicBezTo>
                      <a:pt x="4814" y="1797"/>
                      <a:pt x="4825" y="1808"/>
                      <a:pt x="4825" y="1808"/>
                    </a:cubicBezTo>
                    <a:cubicBezTo>
                      <a:pt x="4826" y="1831"/>
                      <a:pt x="4826" y="1831"/>
                      <a:pt x="4826" y="1831"/>
                    </a:cubicBezTo>
                    <a:cubicBezTo>
                      <a:pt x="4809" y="1827"/>
                      <a:pt x="4809" y="1827"/>
                      <a:pt x="4809" y="1827"/>
                    </a:cubicBezTo>
                    <a:cubicBezTo>
                      <a:pt x="4802" y="1845"/>
                      <a:pt x="4802" y="1845"/>
                      <a:pt x="4802" y="1845"/>
                    </a:cubicBezTo>
                    <a:cubicBezTo>
                      <a:pt x="4821" y="1851"/>
                      <a:pt x="4821" y="1851"/>
                      <a:pt x="4821" y="1851"/>
                    </a:cubicBezTo>
                    <a:cubicBezTo>
                      <a:pt x="4844" y="1852"/>
                      <a:pt x="4844" y="1852"/>
                      <a:pt x="4844" y="1852"/>
                    </a:cubicBezTo>
                    <a:cubicBezTo>
                      <a:pt x="4844" y="1852"/>
                      <a:pt x="4838" y="1811"/>
                      <a:pt x="4847" y="1807"/>
                    </a:cubicBezTo>
                    <a:cubicBezTo>
                      <a:pt x="4856" y="1803"/>
                      <a:pt x="4863" y="1816"/>
                      <a:pt x="4863" y="1816"/>
                    </a:cubicBezTo>
                    <a:cubicBezTo>
                      <a:pt x="4872" y="1808"/>
                      <a:pt x="4872" y="1808"/>
                      <a:pt x="4872" y="1808"/>
                    </a:cubicBezTo>
                    <a:cubicBezTo>
                      <a:pt x="4872" y="1808"/>
                      <a:pt x="4888" y="1840"/>
                      <a:pt x="4896" y="1838"/>
                    </a:cubicBezTo>
                    <a:cubicBezTo>
                      <a:pt x="4904" y="1836"/>
                      <a:pt x="4923" y="1830"/>
                      <a:pt x="4923" y="1830"/>
                    </a:cubicBezTo>
                    <a:cubicBezTo>
                      <a:pt x="4923" y="1842"/>
                      <a:pt x="4923" y="1842"/>
                      <a:pt x="4923" y="1842"/>
                    </a:cubicBezTo>
                    <a:cubicBezTo>
                      <a:pt x="4923" y="1842"/>
                      <a:pt x="4978" y="1822"/>
                      <a:pt x="4980" y="1802"/>
                    </a:cubicBezTo>
                    <a:cubicBezTo>
                      <a:pt x="4982" y="1782"/>
                      <a:pt x="4985" y="1754"/>
                      <a:pt x="4985" y="1754"/>
                    </a:cubicBezTo>
                    <a:cubicBezTo>
                      <a:pt x="4999" y="1747"/>
                      <a:pt x="4999" y="1747"/>
                      <a:pt x="4999" y="1747"/>
                    </a:cubicBezTo>
                    <a:cubicBezTo>
                      <a:pt x="4999" y="1747"/>
                      <a:pt x="4997" y="1704"/>
                      <a:pt x="5006" y="1697"/>
                    </a:cubicBezTo>
                    <a:cubicBezTo>
                      <a:pt x="5015" y="1690"/>
                      <a:pt x="5017" y="1666"/>
                      <a:pt x="5019" y="1650"/>
                    </a:cubicBezTo>
                    <a:cubicBezTo>
                      <a:pt x="5021" y="1634"/>
                      <a:pt x="5010" y="1607"/>
                      <a:pt x="5010" y="1607"/>
                    </a:cubicBezTo>
                    <a:cubicBezTo>
                      <a:pt x="5010" y="1607"/>
                      <a:pt x="5024" y="1585"/>
                      <a:pt x="5024" y="1580"/>
                    </a:cubicBezTo>
                    <a:cubicBezTo>
                      <a:pt x="5024" y="1575"/>
                      <a:pt x="5016" y="1565"/>
                      <a:pt x="5016" y="1565"/>
                    </a:cubicBezTo>
                    <a:cubicBezTo>
                      <a:pt x="5016" y="1565"/>
                      <a:pt x="5033" y="1541"/>
                      <a:pt x="5029" y="1532"/>
                    </a:cubicBezTo>
                    <a:cubicBezTo>
                      <a:pt x="5025" y="1523"/>
                      <a:pt x="5013" y="1496"/>
                      <a:pt x="5013" y="1496"/>
                    </a:cubicBezTo>
                    <a:cubicBezTo>
                      <a:pt x="5013" y="1496"/>
                      <a:pt x="5005" y="1468"/>
                      <a:pt x="4998" y="1465"/>
                    </a:cubicBezTo>
                    <a:cubicBezTo>
                      <a:pt x="4991" y="1462"/>
                      <a:pt x="4986" y="1458"/>
                      <a:pt x="4986" y="1458"/>
                    </a:cubicBezTo>
                    <a:cubicBezTo>
                      <a:pt x="4990" y="1451"/>
                      <a:pt x="4990" y="1451"/>
                      <a:pt x="4990" y="1451"/>
                    </a:cubicBezTo>
                    <a:cubicBezTo>
                      <a:pt x="4990" y="1451"/>
                      <a:pt x="4971" y="1443"/>
                      <a:pt x="4965" y="1428"/>
                    </a:cubicBezTo>
                    <a:cubicBezTo>
                      <a:pt x="4959" y="1413"/>
                      <a:pt x="4957" y="1401"/>
                      <a:pt x="4957" y="1401"/>
                    </a:cubicBezTo>
                    <a:cubicBezTo>
                      <a:pt x="4948" y="1395"/>
                      <a:pt x="4948" y="1395"/>
                      <a:pt x="4948" y="1395"/>
                    </a:cubicBezTo>
                    <a:cubicBezTo>
                      <a:pt x="4948" y="1395"/>
                      <a:pt x="4955" y="1365"/>
                      <a:pt x="4948" y="1356"/>
                    </a:cubicBezTo>
                    <a:cubicBezTo>
                      <a:pt x="4941" y="1347"/>
                      <a:pt x="4936" y="1340"/>
                      <a:pt x="4936" y="1340"/>
                    </a:cubicBezTo>
                    <a:cubicBezTo>
                      <a:pt x="4924" y="1336"/>
                      <a:pt x="4924" y="1336"/>
                      <a:pt x="4924" y="1336"/>
                    </a:cubicBezTo>
                    <a:cubicBezTo>
                      <a:pt x="4924" y="1336"/>
                      <a:pt x="4920" y="1322"/>
                      <a:pt x="4913" y="1317"/>
                    </a:cubicBezTo>
                    <a:cubicBezTo>
                      <a:pt x="4906" y="1312"/>
                      <a:pt x="4889" y="1304"/>
                      <a:pt x="4889" y="1304"/>
                    </a:cubicBezTo>
                    <a:cubicBezTo>
                      <a:pt x="4875" y="1300"/>
                      <a:pt x="4875" y="1300"/>
                      <a:pt x="4875" y="1300"/>
                    </a:cubicBezTo>
                    <a:cubicBezTo>
                      <a:pt x="4872" y="1291"/>
                      <a:pt x="4872" y="1291"/>
                      <a:pt x="4872" y="1291"/>
                    </a:cubicBezTo>
                    <a:cubicBezTo>
                      <a:pt x="4872" y="1291"/>
                      <a:pt x="4900" y="1304"/>
                      <a:pt x="4903" y="1298"/>
                    </a:cubicBezTo>
                    <a:cubicBezTo>
                      <a:pt x="4906" y="1292"/>
                      <a:pt x="4885" y="1286"/>
                      <a:pt x="4885" y="1286"/>
                    </a:cubicBezTo>
                    <a:cubicBezTo>
                      <a:pt x="4830" y="1260"/>
                      <a:pt x="4830" y="1260"/>
                      <a:pt x="4830" y="1260"/>
                    </a:cubicBezTo>
                    <a:cubicBezTo>
                      <a:pt x="4830" y="1260"/>
                      <a:pt x="4802" y="1243"/>
                      <a:pt x="4794" y="1238"/>
                    </a:cubicBezTo>
                    <a:cubicBezTo>
                      <a:pt x="4786" y="1233"/>
                      <a:pt x="4772" y="1243"/>
                      <a:pt x="4772" y="1243"/>
                    </a:cubicBezTo>
                    <a:cubicBezTo>
                      <a:pt x="4746" y="1236"/>
                      <a:pt x="4746" y="1236"/>
                      <a:pt x="4746" y="1236"/>
                    </a:cubicBezTo>
                    <a:cubicBezTo>
                      <a:pt x="4771" y="1264"/>
                      <a:pt x="4771" y="1264"/>
                      <a:pt x="4771" y="1264"/>
                    </a:cubicBezTo>
                    <a:cubicBezTo>
                      <a:pt x="4767" y="1281"/>
                      <a:pt x="4767" y="1281"/>
                      <a:pt x="4767" y="1281"/>
                    </a:cubicBezTo>
                    <a:cubicBezTo>
                      <a:pt x="4759" y="1279"/>
                      <a:pt x="4759" y="1279"/>
                      <a:pt x="4759" y="1279"/>
                    </a:cubicBezTo>
                    <a:cubicBezTo>
                      <a:pt x="4758" y="1259"/>
                      <a:pt x="4758" y="1259"/>
                      <a:pt x="4758" y="1259"/>
                    </a:cubicBezTo>
                    <a:cubicBezTo>
                      <a:pt x="4748" y="1252"/>
                      <a:pt x="4748" y="1252"/>
                      <a:pt x="4748" y="1252"/>
                    </a:cubicBezTo>
                    <a:cubicBezTo>
                      <a:pt x="4746" y="1271"/>
                      <a:pt x="4746" y="1271"/>
                      <a:pt x="4746" y="1271"/>
                    </a:cubicBezTo>
                    <a:cubicBezTo>
                      <a:pt x="4717" y="1273"/>
                      <a:pt x="4717" y="1273"/>
                      <a:pt x="4717" y="1273"/>
                    </a:cubicBezTo>
                    <a:cubicBezTo>
                      <a:pt x="4717" y="1273"/>
                      <a:pt x="4724" y="1263"/>
                      <a:pt x="4719" y="1257"/>
                    </a:cubicBezTo>
                    <a:cubicBezTo>
                      <a:pt x="4714" y="1251"/>
                      <a:pt x="4701" y="1253"/>
                      <a:pt x="4701" y="1253"/>
                    </a:cubicBezTo>
                    <a:cubicBezTo>
                      <a:pt x="4696" y="1260"/>
                      <a:pt x="4696" y="1260"/>
                      <a:pt x="4696" y="1260"/>
                    </a:cubicBezTo>
                    <a:cubicBezTo>
                      <a:pt x="4681" y="1261"/>
                      <a:pt x="4681" y="1261"/>
                      <a:pt x="4681" y="1261"/>
                    </a:cubicBezTo>
                    <a:cubicBezTo>
                      <a:pt x="4672" y="1236"/>
                      <a:pt x="4672" y="1236"/>
                      <a:pt x="4672" y="1236"/>
                    </a:cubicBezTo>
                    <a:cubicBezTo>
                      <a:pt x="4668" y="1235"/>
                      <a:pt x="4668" y="1235"/>
                      <a:pt x="4668" y="1235"/>
                    </a:cubicBezTo>
                    <a:cubicBezTo>
                      <a:pt x="4660" y="1222"/>
                      <a:pt x="4660" y="1222"/>
                      <a:pt x="4660" y="1222"/>
                    </a:cubicBezTo>
                    <a:cubicBezTo>
                      <a:pt x="4612" y="1224"/>
                      <a:pt x="4612" y="1224"/>
                      <a:pt x="4612" y="1224"/>
                    </a:cubicBezTo>
                    <a:cubicBezTo>
                      <a:pt x="4606" y="1218"/>
                      <a:pt x="4606" y="1218"/>
                      <a:pt x="4606" y="1218"/>
                    </a:cubicBezTo>
                    <a:cubicBezTo>
                      <a:pt x="4606" y="1218"/>
                      <a:pt x="4580" y="1222"/>
                      <a:pt x="4580" y="1205"/>
                    </a:cubicBezTo>
                    <a:cubicBezTo>
                      <a:pt x="4580" y="1188"/>
                      <a:pt x="4602" y="1186"/>
                      <a:pt x="4602" y="1186"/>
                    </a:cubicBezTo>
                    <a:cubicBezTo>
                      <a:pt x="4602" y="1170"/>
                      <a:pt x="4602" y="1170"/>
                      <a:pt x="4602" y="1170"/>
                    </a:cubicBezTo>
                    <a:cubicBezTo>
                      <a:pt x="4602" y="1170"/>
                      <a:pt x="4621" y="1169"/>
                      <a:pt x="4622" y="1158"/>
                    </a:cubicBezTo>
                    <a:cubicBezTo>
                      <a:pt x="4623" y="1147"/>
                      <a:pt x="4633" y="1132"/>
                      <a:pt x="4633" y="1132"/>
                    </a:cubicBezTo>
                    <a:cubicBezTo>
                      <a:pt x="4623" y="1123"/>
                      <a:pt x="4623" y="1123"/>
                      <a:pt x="4623" y="1123"/>
                    </a:cubicBezTo>
                    <a:cubicBezTo>
                      <a:pt x="4630" y="1110"/>
                      <a:pt x="4630" y="1110"/>
                      <a:pt x="4630" y="1110"/>
                    </a:cubicBezTo>
                    <a:cubicBezTo>
                      <a:pt x="4623" y="1100"/>
                      <a:pt x="4623" y="1100"/>
                      <a:pt x="4623" y="1100"/>
                    </a:cubicBezTo>
                    <a:cubicBezTo>
                      <a:pt x="4637" y="1089"/>
                      <a:pt x="4637" y="1089"/>
                      <a:pt x="4637" y="1089"/>
                    </a:cubicBezTo>
                    <a:cubicBezTo>
                      <a:pt x="4651" y="1086"/>
                      <a:pt x="4651" y="1086"/>
                      <a:pt x="4651" y="1086"/>
                    </a:cubicBezTo>
                    <a:cubicBezTo>
                      <a:pt x="4645" y="1064"/>
                      <a:pt x="4645" y="1064"/>
                      <a:pt x="4645" y="1064"/>
                    </a:cubicBezTo>
                    <a:cubicBezTo>
                      <a:pt x="4660" y="1059"/>
                      <a:pt x="4660" y="1059"/>
                      <a:pt x="4660" y="1059"/>
                    </a:cubicBezTo>
                    <a:cubicBezTo>
                      <a:pt x="4642" y="1036"/>
                      <a:pt x="4642" y="1036"/>
                      <a:pt x="4642" y="1036"/>
                    </a:cubicBezTo>
                    <a:cubicBezTo>
                      <a:pt x="4664" y="1027"/>
                      <a:pt x="4664" y="1027"/>
                      <a:pt x="4664" y="1027"/>
                    </a:cubicBezTo>
                    <a:cubicBezTo>
                      <a:pt x="4664" y="1027"/>
                      <a:pt x="4657" y="997"/>
                      <a:pt x="4673" y="987"/>
                    </a:cubicBezTo>
                    <a:cubicBezTo>
                      <a:pt x="4689" y="977"/>
                      <a:pt x="4695" y="976"/>
                      <a:pt x="4695" y="976"/>
                    </a:cubicBezTo>
                    <a:cubicBezTo>
                      <a:pt x="4695" y="976"/>
                      <a:pt x="4720" y="980"/>
                      <a:pt x="4732" y="979"/>
                    </a:cubicBezTo>
                    <a:cubicBezTo>
                      <a:pt x="4744" y="978"/>
                      <a:pt x="4796" y="982"/>
                      <a:pt x="4796" y="982"/>
                    </a:cubicBezTo>
                    <a:cubicBezTo>
                      <a:pt x="4807" y="993"/>
                      <a:pt x="4807" y="993"/>
                      <a:pt x="4807" y="993"/>
                    </a:cubicBezTo>
                    <a:cubicBezTo>
                      <a:pt x="4820" y="988"/>
                      <a:pt x="4820" y="988"/>
                      <a:pt x="4820" y="988"/>
                    </a:cubicBezTo>
                    <a:cubicBezTo>
                      <a:pt x="4815" y="976"/>
                      <a:pt x="4815" y="976"/>
                      <a:pt x="4815" y="976"/>
                    </a:cubicBezTo>
                    <a:cubicBezTo>
                      <a:pt x="4865" y="989"/>
                      <a:pt x="4865" y="989"/>
                      <a:pt x="4865" y="989"/>
                    </a:cubicBezTo>
                    <a:cubicBezTo>
                      <a:pt x="4885" y="977"/>
                      <a:pt x="4885" y="977"/>
                      <a:pt x="4885" y="977"/>
                    </a:cubicBezTo>
                    <a:cubicBezTo>
                      <a:pt x="4904" y="992"/>
                      <a:pt x="4904" y="992"/>
                      <a:pt x="4904" y="992"/>
                    </a:cubicBezTo>
                    <a:cubicBezTo>
                      <a:pt x="4909" y="968"/>
                      <a:pt x="4909" y="968"/>
                      <a:pt x="4909" y="968"/>
                    </a:cubicBezTo>
                    <a:cubicBezTo>
                      <a:pt x="4909" y="968"/>
                      <a:pt x="4932" y="966"/>
                      <a:pt x="4948" y="967"/>
                    </a:cubicBezTo>
                    <a:cubicBezTo>
                      <a:pt x="4964" y="968"/>
                      <a:pt x="4970" y="982"/>
                      <a:pt x="4976" y="980"/>
                    </a:cubicBezTo>
                    <a:cubicBezTo>
                      <a:pt x="4982" y="978"/>
                      <a:pt x="5000" y="967"/>
                      <a:pt x="5000" y="967"/>
                    </a:cubicBezTo>
                    <a:cubicBezTo>
                      <a:pt x="5016" y="981"/>
                      <a:pt x="5016" y="981"/>
                      <a:pt x="5016" y="981"/>
                    </a:cubicBezTo>
                    <a:cubicBezTo>
                      <a:pt x="5044" y="986"/>
                      <a:pt x="5044" y="986"/>
                      <a:pt x="5044" y="986"/>
                    </a:cubicBezTo>
                    <a:cubicBezTo>
                      <a:pt x="5008" y="993"/>
                      <a:pt x="5008" y="993"/>
                      <a:pt x="5008" y="993"/>
                    </a:cubicBezTo>
                    <a:cubicBezTo>
                      <a:pt x="5008" y="993"/>
                      <a:pt x="5019" y="1014"/>
                      <a:pt x="5030" y="1009"/>
                    </a:cubicBezTo>
                    <a:cubicBezTo>
                      <a:pt x="5041" y="1004"/>
                      <a:pt x="5061" y="996"/>
                      <a:pt x="5061" y="996"/>
                    </a:cubicBezTo>
                    <a:cubicBezTo>
                      <a:pt x="5079" y="1005"/>
                      <a:pt x="5079" y="1005"/>
                      <a:pt x="5079" y="1005"/>
                    </a:cubicBezTo>
                    <a:cubicBezTo>
                      <a:pt x="5094" y="993"/>
                      <a:pt x="5094" y="993"/>
                      <a:pt x="5094" y="993"/>
                    </a:cubicBezTo>
                    <a:cubicBezTo>
                      <a:pt x="5094" y="993"/>
                      <a:pt x="5121" y="1002"/>
                      <a:pt x="5129" y="998"/>
                    </a:cubicBezTo>
                    <a:cubicBezTo>
                      <a:pt x="5137" y="994"/>
                      <a:pt x="5131" y="986"/>
                      <a:pt x="5131" y="986"/>
                    </a:cubicBezTo>
                    <a:cubicBezTo>
                      <a:pt x="5155" y="988"/>
                      <a:pt x="5155" y="988"/>
                      <a:pt x="5155" y="988"/>
                    </a:cubicBezTo>
                    <a:cubicBezTo>
                      <a:pt x="5122" y="970"/>
                      <a:pt x="5122" y="970"/>
                      <a:pt x="5122" y="970"/>
                    </a:cubicBezTo>
                    <a:cubicBezTo>
                      <a:pt x="5104" y="977"/>
                      <a:pt x="5104" y="977"/>
                      <a:pt x="5104" y="977"/>
                    </a:cubicBezTo>
                    <a:cubicBezTo>
                      <a:pt x="5099" y="965"/>
                      <a:pt x="5099" y="965"/>
                      <a:pt x="5099" y="965"/>
                    </a:cubicBezTo>
                    <a:cubicBezTo>
                      <a:pt x="5099" y="965"/>
                      <a:pt x="5084" y="942"/>
                      <a:pt x="5086" y="937"/>
                    </a:cubicBezTo>
                    <a:cubicBezTo>
                      <a:pt x="5088" y="932"/>
                      <a:pt x="5105" y="918"/>
                      <a:pt x="5105" y="918"/>
                    </a:cubicBezTo>
                    <a:cubicBezTo>
                      <a:pt x="5101" y="898"/>
                      <a:pt x="5101" y="898"/>
                      <a:pt x="5101" y="898"/>
                    </a:cubicBezTo>
                    <a:cubicBezTo>
                      <a:pt x="5110" y="890"/>
                      <a:pt x="5110" y="890"/>
                      <a:pt x="5110" y="890"/>
                    </a:cubicBezTo>
                    <a:cubicBezTo>
                      <a:pt x="5110" y="890"/>
                      <a:pt x="5084" y="877"/>
                      <a:pt x="5101" y="866"/>
                    </a:cubicBezTo>
                    <a:cubicBezTo>
                      <a:pt x="5118" y="855"/>
                      <a:pt x="5154" y="866"/>
                      <a:pt x="5154" y="866"/>
                    </a:cubicBezTo>
                    <a:cubicBezTo>
                      <a:pt x="5168" y="852"/>
                      <a:pt x="5168" y="852"/>
                      <a:pt x="5168" y="852"/>
                    </a:cubicBezTo>
                    <a:cubicBezTo>
                      <a:pt x="5190" y="871"/>
                      <a:pt x="5190" y="871"/>
                      <a:pt x="5190" y="871"/>
                    </a:cubicBezTo>
                    <a:cubicBezTo>
                      <a:pt x="5209" y="860"/>
                      <a:pt x="5209" y="860"/>
                      <a:pt x="5209" y="860"/>
                    </a:cubicBezTo>
                    <a:cubicBezTo>
                      <a:pt x="5209" y="860"/>
                      <a:pt x="5222" y="893"/>
                      <a:pt x="5229" y="896"/>
                    </a:cubicBezTo>
                    <a:cubicBezTo>
                      <a:pt x="5236" y="899"/>
                      <a:pt x="5257" y="895"/>
                      <a:pt x="5257" y="895"/>
                    </a:cubicBezTo>
                    <a:cubicBezTo>
                      <a:pt x="5257" y="895"/>
                      <a:pt x="5257" y="926"/>
                      <a:pt x="5268" y="922"/>
                    </a:cubicBezTo>
                    <a:cubicBezTo>
                      <a:pt x="5279" y="918"/>
                      <a:pt x="5294" y="878"/>
                      <a:pt x="5294" y="878"/>
                    </a:cubicBezTo>
                    <a:cubicBezTo>
                      <a:pt x="5310" y="869"/>
                      <a:pt x="5310" y="869"/>
                      <a:pt x="5310" y="869"/>
                    </a:cubicBezTo>
                    <a:cubicBezTo>
                      <a:pt x="5330" y="876"/>
                      <a:pt x="5330" y="876"/>
                      <a:pt x="5330" y="876"/>
                    </a:cubicBezTo>
                    <a:cubicBezTo>
                      <a:pt x="5329" y="867"/>
                      <a:pt x="5329" y="867"/>
                      <a:pt x="5329" y="867"/>
                    </a:cubicBezTo>
                    <a:cubicBezTo>
                      <a:pt x="5310" y="857"/>
                      <a:pt x="5310" y="857"/>
                      <a:pt x="5310" y="857"/>
                    </a:cubicBezTo>
                    <a:cubicBezTo>
                      <a:pt x="5310" y="857"/>
                      <a:pt x="5263" y="823"/>
                      <a:pt x="5274" y="822"/>
                    </a:cubicBezTo>
                    <a:cubicBezTo>
                      <a:pt x="5285" y="821"/>
                      <a:pt x="5339" y="823"/>
                      <a:pt x="5339" y="823"/>
                    </a:cubicBezTo>
                    <a:cubicBezTo>
                      <a:pt x="5373" y="823"/>
                      <a:pt x="5373" y="823"/>
                      <a:pt x="5373" y="823"/>
                    </a:cubicBezTo>
                    <a:cubicBezTo>
                      <a:pt x="5373" y="823"/>
                      <a:pt x="5376" y="837"/>
                      <a:pt x="5372" y="836"/>
                    </a:cubicBezTo>
                    <a:cubicBezTo>
                      <a:pt x="5368" y="835"/>
                      <a:pt x="5329" y="823"/>
                      <a:pt x="5331" y="837"/>
                    </a:cubicBezTo>
                    <a:cubicBezTo>
                      <a:pt x="5333" y="851"/>
                      <a:pt x="5356" y="864"/>
                      <a:pt x="5356" y="864"/>
                    </a:cubicBezTo>
                    <a:cubicBezTo>
                      <a:pt x="5358" y="881"/>
                      <a:pt x="5358" y="881"/>
                      <a:pt x="5358" y="881"/>
                    </a:cubicBezTo>
                    <a:cubicBezTo>
                      <a:pt x="5378" y="884"/>
                      <a:pt x="5378" y="884"/>
                      <a:pt x="5378" y="884"/>
                    </a:cubicBezTo>
                    <a:cubicBezTo>
                      <a:pt x="5374" y="897"/>
                      <a:pt x="5374" y="897"/>
                      <a:pt x="5374" y="897"/>
                    </a:cubicBezTo>
                    <a:cubicBezTo>
                      <a:pt x="5387" y="908"/>
                      <a:pt x="5387" y="908"/>
                      <a:pt x="5387" y="908"/>
                    </a:cubicBezTo>
                    <a:cubicBezTo>
                      <a:pt x="5369" y="911"/>
                      <a:pt x="5369" y="911"/>
                      <a:pt x="5369" y="911"/>
                    </a:cubicBezTo>
                    <a:cubicBezTo>
                      <a:pt x="5364" y="922"/>
                      <a:pt x="5364" y="922"/>
                      <a:pt x="5364" y="922"/>
                    </a:cubicBezTo>
                    <a:cubicBezTo>
                      <a:pt x="5352" y="926"/>
                      <a:pt x="5352" y="926"/>
                      <a:pt x="5352" y="926"/>
                    </a:cubicBezTo>
                    <a:cubicBezTo>
                      <a:pt x="5352" y="926"/>
                      <a:pt x="5365" y="948"/>
                      <a:pt x="5358" y="960"/>
                    </a:cubicBezTo>
                    <a:cubicBezTo>
                      <a:pt x="5351" y="972"/>
                      <a:pt x="5340" y="992"/>
                      <a:pt x="5340" y="999"/>
                    </a:cubicBezTo>
                    <a:cubicBezTo>
                      <a:pt x="5340" y="1006"/>
                      <a:pt x="5358" y="1012"/>
                      <a:pt x="5345" y="1029"/>
                    </a:cubicBezTo>
                    <a:cubicBezTo>
                      <a:pt x="5332" y="1046"/>
                      <a:pt x="5310" y="1051"/>
                      <a:pt x="5310" y="1051"/>
                    </a:cubicBezTo>
                    <a:cubicBezTo>
                      <a:pt x="5313" y="1063"/>
                      <a:pt x="5313" y="1063"/>
                      <a:pt x="5313" y="1063"/>
                    </a:cubicBezTo>
                    <a:cubicBezTo>
                      <a:pt x="5300" y="1063"/>
                      <a:pt x="5300" y="1063"/>
                      <a:pt x="5300" y="1063"/>
                    </a:cubicBezTo>
                    <a:cubicBezTo>
                      <a:pt x="5300" y="1063"/>
                      <a:pt x="5324" y="1073"/>
                      <a:pt x="5322" y="1090"/>
                    </a:cubicBezTo>
                    <a:cubicBezTo>
                      <a:pt x="5320" y="1107"/>
                      <a:pt x="5313" y="1118"/>
                      <a:pt x="5320" y="1135"/>
                    </a:cubicBezTo>
                    <a:cubicBezTo>
                      <a:pt x="5327" y="1152"/>
                      <a:pt x="5392" y="1206"/>
                      <a:pt x="5392" y="1206"/>
                    </a:cubicBezTo>
                    <a:cubicBezTo>
                      <a:pt x="5432" y="1247"/>
                      <a:pt x="5432" y="1247"/>
                      <a:pt x="5432" y="1247"/>
                    </a:cubicBezTo>
                    <a:cubicBezTo>
                      <a:pt x="5441" y="1244"/>
                      <a:pt x="5441" y="1244"/>
                      <a:pt x="5441" y="1244"/>
                    </a:cubicBezTo>
                    <a:cubicBezTo>
                      <a:pt x="5494" y="1308"/>
                      <a:pt x="5494" y="1308"/>
                      <a:pt x="5494" y="1308"/>
                    </a:cubicBezTo>
                    <a:cubicBezTo>
                      <a:pt x="5529" y="1319"/>
                      <a:pt x="5529" y="1319"/>
                      <a:pt x="5529" y="1319"/>
                    </a:cubicBezTo>
                    <a:cubicBezTo>
                      <a:pt x="5544" y="1337"/>
                      <a:pt x="5544" y="1337"/>
                      <a:pt x="5544" y="1337"/>
                    </a:cubicBezTo>
                    <a:cubicBezTo>
                      <a:pt x="5544" y="1337"/>
                      <a:pt x="5583" y="1385"/>
                      <a:pt x="5590" y="1389"/>
                    </a:cubicBezTo>
                    <a:cubicBezTo>
                      <a:pt x="5597" y="1393"/>
                      <a:pt x="5608" y="1393"/>
                      <a:pt x="5608" y="1393"/>
                    </a:cubicBezTo>
                    <a:cubicBezTo>
                      <a:pt x="5608" y="1393"/>
                      <a:pt x="5602" y="1411"/>
                      <a:pt x="5617" y="1405"/>
                    </a:cubicBezTo>
                    <a:cubicBezTo>
                      <a:pt x="5632" y="1399"/>
                      <a:pt x="5630" y="1386"/>
                      <a:pt x="5630" y="1386"/>
                    </a:cubicBezTo>
                    <a:cubicBezTo>
                      <a:pt x="5623" y="1378"/>
                      <a:pt x="5623" y="1378"/>
                      <a:pt x="5623" y="1378"/>
                    </a:cubicBezTo>
                    <a:cubicBezTo>
                      <a:pt x="5623" y="1378"/>
                      <a:pt x="5638" y="1358"/>
                      <a:pt x="5635" y="1349"/>
                    </a:cubicBezTo>
                    <a:cubicBezTo>
                      <a:pt x="5632" y="1340"/>
                      <a:pt x="5601" y="1323"/>
                      <a:pt x="5608" y="1310"/>
                    </a:cubicBezTo>
                    <a:cubicBezTo>
                      <a:pt x="5615" y="1297"/>
                      <a:pt x="5624" y="1289"/>
                      <a:pt x="5627" y="1288"/>
                    </a:cubicBezTo>
                    <a:cubicBezTo>
                      <a:pt x="5630" y="1287"/>
                      <a:pt x="5650" y="1295"/>
                      <a:pt x="5650" y="1295"/>
                    </a:cubicBezTo>
                    <a:cubicBezTo>
                      <a:pt x="5650" y="1295"/>
                      <a:pt x="5628" y="1269"/>
                      <a:pt x="5622" y="1265"/>
                    </a:cubicBezTo>
                    <a:cubicBezTo>
                      <a:pt x="5616" y="1261"/>
                      <a:pt x="5601" y="1255"/>
                      <a:pt x="5604" y="1240"/>
                    </a:cubicBezTo>
                    <a:cubicBezTo>
                      <a:pt x="5607" y="1225"/>
                      <a:pt x="5625" y="1220"/>
                      <a:pt x="5625" y="1220"/>
                    </a:cubicBezTo>
                    <a:cubicBezTo>
                      <a:pt x="5625" y="1220"/>
                      <a:pt x="5654" y="1232"/>
                      <a:pt x="5652" y="1217"/>
                    </a:cubicBezTo>
                    <a:cubicBezTo>
                      <a:pt x="5650" y="1202"/>
                      <a:pt x="5637" y="1198"/>
                      <a:pt x="5621" y="1190"/>
                    </a:cubicBezTo>
                    <a:cubicBezTo>
                      <a:pt x="5605" y="1182"/>
                      <a:pt x="5591" y="1163"/>
                      <a:pt x="5590" y="1152"/>
                    </a:cubicBezTo>
                    <a:cubicBezTo>
                      <a:pt x="5589" y="1141"/>
                      <a:pt x="5583" y="1129"/>
                      <a:pt x="5583" y="1129"/>
                    </a:cubicBezTo>
                    <a:cubicBezTo>
                      <a:pt x="5590" y="1126"/>
                      <a:pt x="5590" y="1126"/>
                      <a:pt x="5590" y="1126"/>
                    </a:cubicBezTo>
                    <a:cubicBezTo>
                      <a:pt x="5590" y="1126"/>
                      <a:pt x="5616" y="1151"/>
                      <a:pt x="5622" y="1146"/>
                    </a:cubicBezTo>
                    <a:cubicBezTo>
                      <a:pt x="5628" y="1141"/>
                      <a:pt x="5604" y="1114"/>
                      <a:pt x="5604" y="1114"/>
                    </a:cubicBezTo>
                    <a:cubicBezTo>
                      <a:pt x="5581" y="1111"/>
                      <a:pt x="5581" y="1111"/>
                      <a:pt x="5581" y="1111"/>
                    </a:cubicBezTo>
                    <a:cubicBezTo>
                      <a:pt x="5548" y="1083"/>
                      <a:pt x="5548" y="1083"/>
                      <a:pt x="5548" y="1083"/>
                    </a:cubicBezTo>
                    <a:cubicBezTo>
                      <a:pt x="5548" y="1083"/>
                      <a:pt x="5552" y="1062"/>
                      <a:pt x="5536" y="1055"/>
                    </a:cubicBezTo>
                    <a:cubicBezTo>
                      <a:pt x="5520" y="1048"/>
                      <a:pt x="5508" y="1048"/>
                      <a:pt x="5508" y="1048"/>
                    </a:cubicBezTo>
                    <a:cubicBezTo>
                      <a:pt x="5509" y="1060"/>
                      <a:pt x="5509" y="1060"/>
                      <a:pt x="5509" y="1060"/>
                    </a:cubicBezTo>
                    <a:cubicBezTo>
                      <a:pt x="5509" y="1060"/>
                      <a:pt x="5465" y="1050"/>
                      <a:pt x="5464" y="1034"/>
                    </a:cubicBezTo>
                    <a:cubicBezTo>
                      <a:pt x="5463" y="1018"/>
                      <a:pt x="5471" y="1007"/>
                      <a:pt x="5463" y="992"/>
                    </a:cubicBezTo>
                    <a:cubicBezTo>
                      <a:pt x="5455" y="977"/>
                      <a:pt x="5439" y="969"/>
                      <a:pt x="5439" y="969"/>
                    </a:cubicBezTo>
                    <a:cubicBezTo>
                      <a:pt x="5439" y="969"/>
                      <a:pt x="5441" y="953"/>
                      <a:pt x="5445" y="951"/>
                    </a:cubicBezTo>
                    <a:cubicBezTo>
                      <a:pt x="5449" y="949"/>
                      <a:pt x="5458" y="956"/>
                      <a:pt x="5458" y="956"/>
                    </a:cubicBezTo>
                    <a:cubicBezTo>
                      <a:pt x="5467" y="945"/>
                      <a:pt x="5467" y="945"/>
                      <a:pt x="5467" y="945"/>
                    </a:cubicBezTo>
                    <a:cubicBezTo>
                      <a:pt x="5492" y="964"/>
                      <a:pt x="5492" y="964"/>
                      <a:pt x="5492" y="964"/>
                    </a:cubicBezTo>
                    <a:cubicBezTo>
                      <a:pt x="5497" y="959"/>
                      <a:pt x="5497" y="959"/>
                      <a:pt x="5497" y="959"/>
                    </a:cubicBezTo>
                    <a:cubicBezTo>
                      <a:pt x="5489" y="951"/>
                      <a:pt x="5489" y="951"/>
                      <a:pt x="5489" y="951"/>
                    </a:cubicBezTo>
                    <a:cubicBezTo>
                      <a:pt x="5489" y="951"/>
                      <a:pt x="5495" y="919"/>
                      <a:pt x="5506" y="925"/>
                    </a:cubicBezTo>
                    <a:cubicBezTo>
                      <a:pt x="5517" y="931"/>
                      <a:pt x="5544" y="964"/>
                      <a:pt x="5544" y="964"/>
                    </a:cubicBezTo>
                    <a:cubicBezTo>
                      <a:pt x="5551" y="931"/>
                      <a:pt x="5551" y="931"/>
                      <a:pt x="5551" y="931"/>
                    </a:cubicBezTo>
                    <a:cubicBezTo>
                      <a:pt x="5551" y="931"/>
                      <a:pt x="5608" y="924"/>
                      <a:pt x="5617" y="924"/>
                    </a:cubicBezTo>
                    <a:cubicBezTo>
                      <a:pt x="5626" y="924"/>
                      <a:pt x="5663" y="944"/>
                      <a:pt x="5663" y="944"/>
                    </a:cubicBezTo>
                    <a:cubicBezTo>
                      <a:pt x="5691" y="955"/>
                      <a:pt x="5691" y="955"/>
                      <a:pt x="5691" y="955"/>
                    </a:cubicBezTo>
                    <a:cubicBezTo>
                      <a:pt x="5671" y="915"/>
                      <a:pt x="5671" y="915"/>
                      <a:pt x="5671" y="915"/>
                    </a:cubicBezTo>
                    <a:cubicBezTo>
                      <a:pt x="5671" y="915"/>
                      <a:pt x="5703" y="916"/>
                      <a:pt x="5705" y="905"/>
                    </a:cubicBezTo>
                    <a:cubicBezTo>
                      <a:pt x="5707" y="894"/>
                      <a:pt x="5697" y="876"/>
                      <a:pt x="5697" y="876"/>
                    </a:cubicBezTo>
                    <a:cubicBezTo>
                      <a:pt x="5710" y="877"/>
                      <a:pt x="5710" y="877"/>
                      <a:pt x="5710" y="877"/>
                    </a:cubicBezTo>
                    <a:cubicBezTo>
                      <a:pt x="5713" y="861"/>
                      <a:pt x="5713" y="861"/>
                      <a:pt x="5713" y="861"/>
                    </a:cubicBezTo>
                    <a:cubicBezTo>
                      <a:pt x="5713" y="861"/>
                      <a:pt x="5752" y="870"/>
                      <a:pt x="5758" y="855"/>
                    </a:cubicBezTo>
                    <a:cubicBezTo>
                      <a:pt x="5764" y="840"/>
                      <a:pt x="5784" y="828"/>
                      <a:pt x="5784" y="828"/>
                    </a:cubicBezTo>
                    <a:cubicBezTo>
                      <a:pt x="5770" y="811"/>
                      <a:pt x="5770" y="811"/>
                      <a:pt x="5770" y="811"/>
                    </a:cubicBezTo>
                    <a:cubicBezTo>
                      <a:pt x="5791" y="813"/>
                      <a:pt x="5791" y="813"/>
                      <a:pt x="5791" y="813"/>
                    </a:cubicBezTo>
                    <a:cubicBezTo>
                      <a:pt x="5794" y="825"/>
                      <a:pt x="5794" y="825"/>
                      <a:pt x="5794" y="825"/>
                    </a:cubicBezTo>
                    <a:cubicBezTo>
                      <a:pt x="5835" y="828"/>
                      <a:pt x="5835" y="828"/>
                      <a:pt x="5835" y="828"/>
                    </a:cubicBezTo>
                    <a:cubicBezTo>
                      <a:pt x="5835" y="828"/>
                      <a:pt x="5877" y="838"/>
                      <a:pt x="5877" y="832"/>
                    </a:cubicBezTo>
                    <a:cubicBezTo>
                      <a:pt x="5877" y="826"/>
                      <a:pt x="5873" y="814"/>
                      <a:pt x="5873" y="814"/>
                    </a:cubicBezTo>
                    <a:cubicBezTo>
                      <a:pt x="5848" y="811"/>
                      <a:pt x="5848" y="811"/>
                      <a:pt x="5848" y="811"/>
                    </a:cubicBezTo>
                    <a:cubicBezTo>
                      <a:pt x="5844" y="797"/>
                      <a:pt x="5844" y="797"/>
                      <a:pt x="5844" y="797"/>
                    </a:cubicBezTo>
                    <a:cubicBezTo>
                      <a:pt x="5844" y="797"/>
                      <a:pt x="5807" y="784"/>
                      <a:pt x="5795" y="780"/>
                    </a:cubicBezTo>
                    <a:cubicBezTo>
                      <a:pt x="5783" y="776"/>
                      <a:pt x="5774" y="782"/>
                      <a:pt x="5774" y="782"/>
                    </a:cubicBezTo>
                    <a:cubicBezTo>
                      <a:pt x="5778" y="770"/>
                      <a:pt x="5778" y="770"/>
                      <a:pt x="5778" y="770"/>
                    </a:cubicBezTo>
                    <a:cubicBezTo>
                      <a:pt x="5730" y="736"/>
                      <a:pt x="5730" y="736"/>
                      <a:pt x="5730" y="736"/>
                    </a:cubicBezTo>
                    <a:cubicBezTo>
                      <a:pt x="5719" y="747"/>
                      <a:pt x="5719" y="747"/>
                      <a:pt x="5719" y="747"/>
                    </a:cubicBezTo>
                    <a:cubicBezTo>
                      <a:pt x="5719" y="747"/>
                      <a:pt x="5699" y="742"/>
                      <a:pt x="5691" y="739"/>
                    </a:cubicBezTo>
                    <a:cubicBezTo>
                      <a:pt x="5683" y="736"/>
                      <a:pt x="5672" y="727"/>
                      <a:pt x="5672" y="727"/>
                    </a:cubicBezTo>
                    <a:cubicBezTo>
                      <a:pt x="5649" y="732"/>
                      <a:pt x="5649" y="732"/>
                      <a:pt x="5649" y="732"/>
                    </a:cubicBezTo>
                    <a:cubicBezTo>
                      <a:pt x="5630" y="730"/>
                      <a:pt x="5630" y="730"/>
                      <a:pt x="5630" y="730"/>
                    </a:cubicBezTo>
                    <a:cubicBezTo>
                      <a:pt x="5630" y="730"/>
                      <a:pt x="5599" y="712"/>
                      <a:pt x="5611" y="709"/>
                    </a:cubicBezTo>
                    <a:cubicBezTo>
                      <a:pt x="5623" y="706"/>
                      <a:pt x="5635" y="713"/>
                      <a:pt x="5644" y="715"/>
                    </a:cubicBezTo>
                    <a:cubicBezTo>
                      <a:pt x="5653" y="717"/>
                      <a:pt x="5697" y="724"/>
                      <a:pt x="5697" y="724"/>
                    </a:cubicBezTo>
                    <a:cubicBezTo>
                      <a:pt x="5697" y="724"/>
                      <a:pt x="5749" y="709"/>
                      <a:pt x="5749" y="702"/>
                    </a:cubicBezTo>
                    <a:cubicBezTo>
                      <a:pt x="5749" y="695"/>
                      <a:pt x="5719" y="679"/>
                      <a:pt x="5716" y="677"/>
                    </a:cubicBezTo>
                    <a:cubicBezTo>
                      <a:pt x="5713" y="675"/>
                      <a:pt x="5664" y="658"/>
                      <a:pt x="5679" y="649"/>
                    </a:cubicBezTo>
                    <a:cubicBezTo>
                      <a:pt x="5694" y="640"/>
                      <a:pt x="5719" y="660"/>
                      <a:pt x="5719" y="660"/>
                    </a:cubicBezTo>
                    <a:cubicBezTo>
                      <a:pt x="5719" y="660"/>
                      <a:pt x="5766" y="689"/>
                      <a:pt x="5780" y="687"/>
                    </a:cubicBezTo>
                    <a:cubicBezTo>
                      <a:pt x="5794" y="685"/>
                      <a:pt x="5799" y="671"/>
                      <a:pt x="5838" y="684"/>
                    </a:cubicBezTo>
                    <a:cubicBezTo>
                      <a:pt x="5877" y="697"/>
                      <a:pt x="5911" y="711"/>
                      <a:pt x="5922" y="713"/>
                    </a:cubicBezTo>
                    <a:cubicBezTo>
                      <a:pt x="5933" y="715"/>
                      <a:pt x="5976" y="727"/>
                      <a:pt x="5976" y="727"/>
                    </a:cubicBezTo>
                    <a:cubicBezTo>
                      <a:pt x="5976" y="727"/>
                      <a:pt x="6035" y="762"/>
                      <a:pt x="6031" y="744"/>
                    </a:cubicBezTo>
                    <a:cubicBezTo>
                      <a:pt x="6027" y="726"/>
                      <a:pt x="6007" y="715"/>
                      <a:pt x="6007" y="715"/>
                    </a:cubicBezTo>
                    <a:cubicBezTo>
                      <a:pt x="6019" y="706"/>
                      <a:pt x="6019" y="706"/>
                      <a:pt x="6019" y="706"/>
                    </a:cubicBezTo>
                    <a:cubicBezTo>
                      <a:pt x="5989" y="693"/>
                      <a:pt x="5989" y="693"/>
                      <a:pt x="5989" y="693"/>
                    </a:cubicBezTo>
                    <a:cubicBezTo>
                      <a:pt x="5995" y="689"/>
                      <a:pt x="5995" y="689"/>
                      <a:pt x="5995" y="689"/>
                    </a:cubicBezTo>
                    <a:cubicBezTo>
                      <a:pt x="5962" y="672"/>
                      <a:pt x="5962" y="672"/>
                      <a:pt x="5962" y="672"/>
                    </a:cubicBezTo>
                    <a:cubicBezTo>
                      <a:pt x="5998" y="679"/>
                      <a:pt x="5998" y="679"/>
                      <a:pt x="5998" y="679"/>
                    </a:cubicBezTo>
                    <a:cubicBezTo>
                      <a:pt x="5994" y="666"/>
                      <a:pt x="5994" y="666"/>
                      <a:pt x="5994" y="666"/>
                    </a:cubicBezTo>
                    <a:cubicBezTo>
                      <a:pt x="5994" y="666"/>
                      <a:pt x="6045" y="678"/>
                      <a:pt x="6034" y="664"/>
                    </a:cubicBezTo>
                    <a:close/>
                    <a:moveTo>
                      <a:pt x="3574" y="1289"/>
                    </a:moveTo>
                    <a:cubicBezTo>
                      <a:pt x="3574" y="1289"/>
                      <a:pt x="3571" y="1303"/>
                      <a:pt x="3570" y="1306"/>
                    </a:cubicBezTo>
                    <a:cubicBezTo>
                      <a:pt x="3569" y="1309"/>
                      <a:pt x="3556" y="1316"/>
                      <a:pt x="3556" y="1316"/>
                    </a:cubicBezTo>
                    <a:cubicBezTo>
                      <a:pt x="3556" y="1316"/>
                      <a:pt x="3544" y="1322"/>
                      <a:pt x="3540" y="1322"/>
                    </a:cubicBezTo>
                    <a:cubicBezTo>
                      <a:pt x="3535" y="1322"/>
                      <a:pt x="3536" y="1334"/>
                      <a:pt x="3536" y="1334"/>
                    </a:cubicBezTo>
                    <a:cubicBezTo>
                      <a:pt x="3536" y="1334"/>
                      <a:pt x="3534" y="1327"/>
                      <a:pt x="3514" y="1334"/>
                    </a:cubicBezTo>
                    <a:cubicBezTo>
                      <a:pt x="3493" y="1340"/>
                      <a:pt x="3522" y="1350"/>
                      <a:pt x="3522" y="1350"/>
                    </a:cubicBezTo>
                    <a:cubicBezTo>
                      <a:pt x="3522" y="1350"/>
                      <a:pt x="3512" y="1358"/>
                      <a:pt x="3510" y="1367"/>
                    </a:cubicBezTo>
                    <a:cubicBezTo>
                      <a:pt x="3509" y="1377"/>
                      <a:pt x="3494" y="1368"/>
                      <a:pt x="3494" y="1368"/>
                    </a:cubicBezTo>
                    <a:cubicBezTo>
                      <a:pt x="3494" y="1368"/>
                      <a:pt x="3491" y="1382"/>
                      <a:pt x="3471" y="1382"/>
                    </a:cubicBezTo>
                    <a:cubicBezTo>
                      <a:pt x="3450" y="1382"/>
                      <a:pt x="3451" y="1377"/>
                      <a:pt x="3451" y="1377"/>
                    </a:cubicBezTo>
                    <a:cubicBezTo>
                      <a:pt x="3428" y="1371"/>
                      <a:pt x="3428" y="1371"/>
                      <a:pt x="3428" y="1371"/>
                    </a:cubicBezTo>
                    <a:cubicBezTo>
                      <a:pt x="3439" y="1365"/>
                      <a:pt x="3439" y="1365"/>
                      <a:pt x="3439" y="1365"/>
                    </a:cubicBezTo>
                    <a:cubicBezTo>
                      <a:pt x="3461" y="1365"/>
                      <a:pt x="3461" y="1365"/>
                      <a:pt x="3461" y="1365"/>
                    </a:cubicBezTo>
                    <a:cubicBezTo>
                      <a:pt x="3462" y="1360"/>
                      <a:pt x="3462" y="1360"/>
                      <a:pt x="3462" y="1360"/>
                    </a:cubicBezTo>
                    <a:cubicBezTo>
                      <a:pt x="3462" y="1360"/>
                      <a:pt x="3478" y="1360"/>
                      <a:pt x="3485" y="1353"/>
                    </a:cubicBezTo>
                    <a:cubicBezTo>
                      <a:pt x="3491" y="1347"/>
                      <a:pt x="3492" y="1328"/>
                      <a:pt x="3492" y="1328"/>
                    </a:cubicBezTo>
                    <a:cubicBezTo>
                      <a:pt x="3492" y="1328"/>
                      <a:pt x="3496" y="1327"/>
                      <a:pt x="3505" y="1325"/>
                    </a:cubicBezTo>
                    <a:cubicBezTo>
                      <a:pt x="3514" y="1323"/>
                      <a:pt x="3514" y="1307"/>
                      <a:pt x="3514" y="1307"/>
                    </a:cubicBezTo>
                    <a:cubicBezTo>
                      <a:pt x="3514" y="1307"/>
                      <a:pt x="3507" y="1303"/>
                      <a:pt x="3508" y="1297"/>
                    </a:cubicBezTo>
                    <a:cubicBezTo>
                      <a:pt x="3509" y="1292"/>
                      <a:pt x="3528" y="1275"/>
                      <a:pt x="3528" y="1275"/>
                    </a:cubicBezTo>
                    <a:cubicBezTo>
                      <a:pt x="3528" y="1264"/>
                      <a:pt x="3528" y="1264"/>
                      <a:pt x="3528" y="1264"/>
                    </a:cubicBezTo>
                    <a:cubicBezTo>
                      <a:pt x="3542" y="1251"/>
                      <a:pt x="3542" y="1251"/>
                      <a:pt x="3542" y="1251"/>
                    </a:cubicBezTo>
                    <a:cubicBezTo>
                      <a:pt x="3534" y="1240"/>
                      <a:pt x="3534" y="1240"/>
                      <a:pt x="3534" y="1240"/>
                    </a:cubicBezTo>
                    <a:cubicBezTo>
                      <a:pt x="3533" y="1187"/>
                      <a:pt x="3533" y="1187"/>
                      <a:pt x="3533" y="1187"/>
                    </a:cubicBezTo>
                    <a:cubicBezTo>
                      <a:pt x="3533" y="1187"/>
                      <a:pt x="3518" y="1165"/>
                      <a:pt x="3536" y="1160"/>
                    </a:cubicBezTo>
                    <a:cubicBezTo>
                      <a:pt x="3555" y="1156"/>
                      <a:pt x="3551" y="1181"/>
                      <a:pt x="3551" y="1181"/>
                    </a:cubicBezTo>
                    <a:cubicBezTo>
                      <a:pt x="3551" y="1181"/>
                      <a:pt x="3560" y="1188"/>
                      <a:pt x="3564" y="1203"/>
                    </a:cubicBezTo>
                    <a:cubicBezTo>
                      <a:pt x="3569" y="1219"/>
                      <a:pt x="3571" y="1229"/>
                      <a:pt x="3571" y="1229"/>
                    </a:cubicBezTo>
                    <a:cubicBezTo>
                      <a:pt x="3585" y="1248"/>
                      <a:pt x="3585" y="1248"/>
                      <a:pt x="3585" y="1248"/>
                    </a:cubicBezTo>
                    <a:cubicBezTo>
                      <a:pt x="3579" y="1259"/>
                      <a:pt x="3579" y="1259"/>
                      <a:pt x="3579" y="1259"/>
                    </a:cubicBezTo>
                    <a:cubicBezTo>
                      <a:pt x="3579" y="1259"/>
                      <a:pt x="3566" y="1265"/>
                      <a:pt x="3568" y="1272"/>
                    </a:cubicBezTo>
                    <a:cubicBezTo>
                      <a:pt x="3569" y="1280"/>
                      <a:pt x="3585" y="1271"/>
                      <a:pt x="3585" y="1271"/>
                    </a:cubicBezTo>
                    <a:cubicBezTo>
                      <a:pt x="3587" y="1282"/>
                      <a:pt x="3587" y="1282"/>
                      <a:pt x="3587" y="1282"/>
                    </a:cubicBezTo>
                    <a:lnTo>
                      <a:pt x="3574" y="1289"/>
                    </a:lnTo>
                    <a:close/>
                    <a:moveTo>
                      <a:pt x="4656" y="1185"/>
                    </a:moveTo>
                    <a:cubicBezTo>
                      <a:pt x="4650" y="1193"/>
                      <a:pt x="4662" y="1221"/>
                      <a:pt x="4684" y="1223"/>
                    </a:cubicBezTo>
                    <a:cubicBezTo>
                      <a:pt x="4702" y="1225"/>
                      <a:pt x="4662" y="1177"/>
                      <a:pt x="4656" y="1185"/>
                    </a:cubicBezTo>
                    <a:close/>
                    <a:moveTo>
                      <a:pt x="1020" y="0"/>
                    </a:moveTo>
                    <a:cubicBezTo>
                      <a:pt x="986" y="0"/>
                      <a:pt x="986" y="0"/>
                      <a:pt x="986" y="0"/>
                    </a:cubicBezTo>
                    <a:cubicBezTo>
                      <a:pt x="986" y="10"/>
                      <a:pt x="986" y="10"/>
                      <a:pt x="986" y="10"/>
                    </a:cubicBezTo>
                    <a:cubicBezTo>
                      <a:pt x="1007" y="11"/>
                      <a:pt x="1007" y="11"/>
                      <a:pt x="1007" y="11"/>
                    </a:cubicBezTo>
                    <a:cubicBezTo>
                      <a:pt x="1021" y="10"/>
                      <a:pt x="1020" y="0"/>
                      <a:pt x="1020" y="0"/>
                    </a:cubicBezTo>
                    <a:close/>
                    <a:moveTo>
                      <a:pt x="1012" y="37"/>
                    </a:moveTo>
                    <a:cubicBezTo>
                      <a:pt x="1026" y="35"/>
                      <a:pt x="1035" y="23"/>
                      <a:pt x="1017" y="23"/>
                    </a:cubicBezTo>
                    <a:cubicBezTo>
                      <a:pt x="999" y="23"/>
                      <a:pt x="1002" y="38"/>
                      <a:pt x="1012" y="37"/>
                    </a:cubicBezTo>
                    <a:close/>
                    <a:moveTo>
                      <a:pt x="943" y="537"/>
                    </a:moveTo>
                    <a:cubicBezTo>
                      <a:pt x="965" y="542"/>
                      <a:pt x="973" y="535"/>
                      <a:pt x="980" y="531"/>
                    </a:cubicBezTo>
                    <a:cubicBezTo>
                      <a:pt x="987" y="527"/>
                      <a:pt x="993" y="519"/>
                      <a:pt x="993" y="519"/>
                    </a:cubicBezTo>
                    <a:cubicBezTo>
                      <a:pt x="1002" y="518"/>
                      <a:pt x="1002" y="518"/>
                      <a:pt x="1002" y="518"/>
                    </a:cubicBezTo>
                    <a:cubicBezTo>
                      <a:pt x="1002" y="518"/>
                      <a:pt x="994" y="507"/>
                      <a:pt x="968" y="501"/>
                    </a:cubicBezTo>
                    <a:cubicBezTo>
                      <a:pt x="942" y="495"/>
                      <a:pt x="927" y="518"/>
                      <a:pt x="927" y="518"/>
                    </a:cubicBezTo>
                    <a:cubicBezTo>
                      <a:pt x="927" y="521"/>
                      <a:pt x="921" y="533"/>
                      <a:pt x="943" y="537"/>
                    </a:cubicBezTo>
                    <a:close/>
                    <a:moveTo>
                      <a:pt x="996" y="48"/>
                    </a:moveTo>
                    <a:cubicBezTo>
                      <a:pt x="1007" y="61"/>
                      <a:pt x="1000" y="62"/>
                      <a:pt x="1023" y="55"/>
                    </a:cubicBezTo>
                    <a:cubicBezTo>
                      <a:pt x="1045" y="48"/>
                      <a:pt x="1020" y="45"/>
                      <a:pt x="1016" y="45"/>
                    </a:cubicBezTo>
                    <a:cubicBezTo>
                      <a:pt x="1012" y="45"/>
                      <a:pt x="996" y="48"/>
                      <a:pt x="996" y="48"/>
                    </a:cubicBezTo>
                    <a:close/>
                    <a:moveTo>
                      <a:pt x="966" y="65"/>
                    </a:moveTo>
                    <a:cubicBezTo>
                      <a:pt x="976" y="65"/>
                      <a:pt x="1009" y="63"/>
                      <a:pt x="1003" y="62"/>
                    </a:cubicBezTo>
                    <a:cubicBezTo>
                      <a:pt x="997" y="61"/>
                      <a:pt x="985" y="52"/>
                      <a:pt x="985" y="52"/>
                    </a:cubicBezTo>
                    <a:cubicBezTo>
                      <a:pt x="954" y="52"/>
                      <a:pt x="954" y="52"/>
                      <a:pt x="954" y="52"/>
                    </a:cubicBezTo>
                    <a:cubicBezTo>
                      <a:pt x="954" y="52"/>
                      <a:pt x="957" y="65"/>
                      <a:pt x="966" y="65"/>
                    </a:cubicBezTo>
                    <a:close/>
                    <a:moveTo>
                      <a:pt x="893" y="23"/>
                    </a:moveTo>
                    <a:cubicBezTo>
                      <a:pt x="876" y="24"/>
                      <a:pt x="885" y="35"/>
                      <a:pt x="885" y="35"/>
                    </a:cubicBezTo>
                    <a:cubicBezTo>
                      <a:pt x="910" y="30"/>
                      <a:pt x="910" y="21"/>
                      <a:pt x="893" y="23"/>
                    </a:cubicBezTo>
                    <a:close/>
                    <a:moveTo>
                      <a:pt x="940" y="48"/>
                    </a:moveTo>
                    <a:cubicBezTo>
                      <a:pt x="924" y="45"/>
                      <a:pt x="924" y="45"/>
                      <a:pt x="924" y="45"/>
                    </a:cubicBezTo>
                    <a:cubicBezTo>
                      <a:pt x="930" y="61"/>
                      <a:pt x="930" y="61"/>
                      <a:pt x="930" y="61"/>
                    </a:cubicBezTo>
                    <a:lnTo>
                      <a:pt x="940" y="48"/>
                    </a:lnTo>
                    <a:close/>
                    <a:moveTo>
                      <a:pt x="972" y="10"/>
                    </a:moveTo>
                    <a:cubicBezTo>
                      <a:pt x="972" y="27"/>
                      <a:pt x="972" y="27"/>
                      <a:pt x="972" y="27"/>
                    </a:cubicBezTo>
                    <a:cubicBezTo>
                      <a:pt x="995" y="20"/>
                      <a:pt x="995" y="20"/>
                      <a:pt x="995" y="20"/>
                    </a:cubicBezTo>
                    <a:lnTo>
                      <a:pt x="972" y="10"/>
                    </a:lnTo>
                    <a:close/>
                    <a:moveTo>
                      <a:pt x="936" y="31"/>
                    </a:moveTo>
                    <a:cubicBezTo>
                      <a:pt x="936" y="31"/>
                      <a:pt x="931" y="25"/>
                      <a:pt x="924" y="25"/>
                    </a:cubicBezTo>
                    <a:cubicBezTo>
                      <a:pt x="917" y="25"/>
                      <a:pt x="919" y="38"/>
                      <a:pt x="919" y="38"/>
                    </a:cubicBezTo>
                    <a:lnTo>
                      <a:pt x="936" y="31"/>
                    </a:lnTo>
                    <a:close/>
                    <a:moveTo>
                      <a:pt x="957" y="31"/>
                    </a:moveTo>
                    <a:cubicBezTo>
                      <a:pt x="938" y="39"/>
                      <a:pt x="938" y="39"/>
                      <a:pt x="938" y="39"/>
                    </a:cubicBezTo>
                    <a:cubicBezTo>
                      <a:pt x="957" y="39"/>
                      <a:pt x="957" y="39"/>
                      <a:pt x="957" y="39"/>
                    </a:cubicBezTo>
                    <a:lnTo>
                      <a:pt x="957" y="31"/>
                    </a:lnTo>
                    <a:close/>
                    <a:moveTo>
                      <a:pt x="979" y="42"/>
                    </a:moveTo>
                    <a:cubicBezTo>
                      <a:pt x="995" y="47"/>
                      <a:pt x="1009" y="30"/>
                      <a:pt x="990" y="28"/>
                    </a:cubicBezTo>
                    <a:cubicBezTo>
                      <a:pt x="972" y="27"/>
                      <a:pt x="964" y="38"/>
                      <a:pt x="979" y="42"/>
                    </a:cubicBezTo>
                    <a:close/>
                    <a:moveTo>
                      <a:pt x="966" y="23"/>
                    </a:moveTo>
                    <a:cubicBezTo>
                      <a:pt x="965" y="7"/>
                      <a:pt x="965" y="7"/>
                      <a:pt x="965" y="7"/>
                    </a:cubicBezTo>
                    <a:cubicBezTo>
                      <a:pt x="938" y="14"/>
                      <a:pt x="938" y="14"/>
                      <a:pt x="938" y="14"/>
                    </a:cubicBezTo>
                    <a:cubicBezTo>
                      <a:pt x="944" y="24"/>
                      <a:pt x="944" y="24"/>
                      <a:pt x="944" y="24"/>
                    </a:cubicBezTo>
                    <a:lnTo>
                      <a:pt x="966" y="2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3" name="MCShape 135">
                <a:extLst>
                  <a:ext uri="{FF2B5EF4-FFF2-40B4-BE49-F238E27FC236}">
                    <a16:creationId xmlns:a16="http://schemas.microsoft.com/office/drawing/2014/main" id="{5D80CCED-F392-45FA-933B-C3ADB9A78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65" y="2080188"/>
                <a:ext cx="270678" cy="391325"/>
              </a:xfrm>
              <a:custGeom>
                <a:avLst/>
                <a:gdLst>
                  <a:gd name="T0" fmla="*/ 445 w 459"/>
                  <a:gd name="T1" fmla="*/ 95 h 664"/>
                  <a:gd name="T2" fmla="*/ 424 w 459"/>
                  <a:gd name="T3" fmla="*/ 67 h 664"/>
                  <a:gd name="T4" fmla="*/ 391 w 459"/>
                  <a:gd name="T5" fmla="*/ 26 h 664"/>
                  <a:gd name="T6" fmla="*/ 338 w 459"/>
                  <a:gd name="T7" fmla="*/ 9 h 664"/>
                  <a:gd name="T8" fmla="*/ 305 w 459"/>
                  <a:gd name="T9" fmla="*/ 14 h 664"/>
                  <a:gd name="T10" fmla="*/ 284 w 459"/>
                  <a:gd name="T11" fmla="*/ 25 h 664"/>
                  <a:gd name="T12" fmla="*/ 243 w 459"/>
                  <a:gd name="T13" fmla="*/ 25 h 664"/>
                  <a:gd name="T14" fmla="*/ 216 w 459"/>
                  <a:gd name="T15" fmla="*/ 45 h 664"/>
                  <a:gd name="T16" fmla="*/ 165 w 459"/>
                  <a:gd name="T17" fmla="*/ 71 h 664"/>
                  <a:gd name="T18" fmla="*/ 161 w 459"/>
                  <a:gd name="T19" fmla="*/ 99 h 664"/>
                  <a:gd name="T20" fmla="*/ 146 w 459"/>
                  <a:gd name="T21" fmla="*/ 128 h 664"/>
                  <a:gd name="T22" fmla="*/ 118 w 459"/>
                  <a:gd name="T23" fmla="*/ 144 h 664"/>
                  <a:gd name="T24" fmla="*/ 96 w 459"/>
                  <a:gd name="T25" fmla="*/ 194 h 664"/>
                  <a:gd name="T26" fmla="*/ 68 w 459"/>
                  <a:gd name="T27" fmla="*/ 227 h 664"/>
                  <a:gd name="T28" fmla="*/ 28 w 459"/>
                  <a:gd name="T29" fmla="*/ 260 h 664"/>
                  <a:gd name="T30" fmla="*/ 21 w 459"/>
                  <a:gd name="T31" fmla="*/ 290 h 664"/>
                  <a:gd name="T32" fmla="*/ 33 w 459"/>
                  <a:gd name="T33" fmla="*/ 334 h 664"/>
                  <a:gd name="T34" fmla="*/ 50 w 459"/>
                  <a:gd name="T35" fmla="*/ 374 h 664"/>
                  <a:gd name="T36" fmla="*/ 51 w 459"/>
                  <a:gd name="T37" fmla="*/ 409 h 664"/>
                  <a:gd name="T38" fmla="*/ 36 w 459"/>
                  <a:gd name="T39" fmla="*/ 431 h 664"/>
                  <a:gd name="T40" fmla="*/ 15 w 459"/>
                  <a:gd name="T41" fmla="*/ 452 h 664"/>
                  <a:gd name="T42" fmla="*/ 0 w 459"/>
                  <a:gd name="T43" fmla="*/ 469 h 664"/>
                  <a:gd name="T44" fmla="*/ 19 w 459"/>
                  <a:gd name="T45" fmla="*/ 515 h 664"/>
                  <a:gd name="T46" fmla="*/ 49 w 459"/>
                  <a:gd name="T47" fmla="*/ 586 h 664"/>
                  <a:gd name="T48" fmla="*/ 53 w 459"/>
                  <a:gd name="T49" fmla="*/ 607 h 664"/>
                  <a:gd name="T50" fmla="*/ 69 w 459"/>
                  <a:gd name="T51" fmla="*/ 656 h 664"/>
                  <a:gd name="T52" fmla="*/ 120 w 459"/>
                  <a:gd name="T53" fmla="*/ 631 h 664"/>
                  <a:gd name="T54" fmla="*/ 176 w 459"/>
                  <a:gd name="T55" fmla="*/ 618 h 664"/>
                  <a:gd name="T56" fmla="*/ 206 w 459"/>
                  <a:gd name="T57" fmla="*/ 549 h 664"/>
                  <a:gd name="T58" fmla="*/ 196 w 459"/>
                  <a:gd name="T59" fmla="*/ 507 h 664"/>
                  <a:gd name="T60" fmla="*/ 237 w 459"/>
                  <a:gd name="T61" fmla="*/ 489 h 664"/>
                  <a:gd name="T62" fmla="*/ 270 w 459"/>
                  <a:gd name="T63" fmla="*/ 456 h 664"/>
                  <a:gd name="T64" fmla="*/ 271 w 459"/>
                  <a:gd name="T65" fmla="*/ 409 h 664"/>
                  <a:gd name="T66" fmla="*/ 217 w 459"/>
                  <a:gd name="T67" fmla="*/ 350 h 664"/>
                  <a:gd name="T68" fmla="*/ 237 w 459"/>
                  <a:gd name="T69" fmla="*/ 303 h 664"/>
                  <a:gd name="T70" fmla="*/ 271 w 459"/>
                  <a:gd name="T71" fmla="*/ 270 h 664"/>
                  <a:gd name="T72" fmla="*/ 340 w 459"/>
                  <a:gd name="T73" fmla="*/ 249 h 664"/>
                  <a:gd name="T74" fmla="*/ 372 w 459"/>
                  <a:gd name="T75" fmla="*/ 175 h 664"/>
                  <a:gd name="T76" fmla="*/ 396 w 459"/>
                  <a:gd name="T77" fmla="*/ 144 h 664"/>
                  <a:gd name="T78" fmla="*/ 459 w 459"/>
                  <a:gd name="T79" fmla="*/ 157 h 664"/>
                  <a:gd name="T80" fmla="*/ 271 w 459"/>
                  <a:gd name="T81" fmla="*/ 583 h 664"/>
                  <a:gd name="T82" fmla="*/ 290 w 459"/>
                  <a:gd name="T83" fmla="*/ 543 h 664"/>
                  <a:gd name="T84" fmla="*/ 200 w 459"/>
                  <a:gd name="T85" fmla="*/ 597 h 664"/>
                  <a:gd name="T86" fmla="*/ 230 w 459"/>
                  <a:gd name="T87" fmla="*/ 570 h 66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59"/>
                  <a:gd name="T133" fmla="*/ 0 h 664"/>
                  <a:gd name="T134" fmla="*/ 459 w 459"/>
                  <a:gd name="T135" fmla="*/ 664 h 66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59" h="664">
                    <a:moveTo>
                      <a:pt x="451" y="136"/>
                    </a:moveTo>
                    <a:cubicBezTo>
                      <a:pt x="451" y="136"/>
                      <a:pt x="436" y="126"/>
                      <a:pt x="434" y="118"/>
                    </a:cubicBezTo>
                    <a:cubicBezTo>
                      <a:pt x="432" y="110"/>
                      <a:pt x="445" y="95"/>
                      <a:pt x="445" y="95"/>
                    </a:cubicBezTo>
                    <a:cubicBezTo>
                      <a:pt x="428" y="85"/>
                      <a:pt x="428" y="85"/>
                      <a:pt x="428" y="85"/>
                    </a:cubicBezTo>
                    <a:cubicBezTo>
                      <a:pt x="432" y="72"/>
                      <a:pt x="432" y="72"/>
                      <a:pt x="432" y="72"/>
                    </a:cubicBezTo>
                    <a:cubicBezTo>
                      <a:pt x="424" y="67"/>
                      <a:pt x="424" y="67"/>
                      <a:pt x="424" y="67"/>
                    </a:cubicBezTo>
                    <a:cubicBezTo>
                      <a:pt x="424" y="67"/>
                      <a:pt x="429" y="53"/>
                      <a:pt x="430" y="48"/>
                    </a:cubicBezTo>
                    <a:cubicBezTo>
                      <a:pt x="431" y="43"/>
                      <a:pt x="413" y="38"/>
                      <a:pt x="413" y="38"/>
                    </a:cubicBezTo>
                    <a:cubicBezTo>
                      <a:pt x="391" y="26"/>
                      <a:pt x="391" y="26"/>
                      <a:pt x="391" y="26"/>
                    </a:cubicBezTo>
                    <a:cubicBezTo>
                      <a:pt x="369" y="25"/>
                      <a:pt x="369" y="25"/>
                      <a:pt x="369" y="25"/>
                    </a:cubicBezTo>
                    <a:cubicBezTo>
                      <a:pt x="361" y="17"/>
                      <a:pt x="361" y="17"/>
                      <a:pt x="361" y="17"/>
                    </a:cubicBezTo>
                    <a:cubicBezTo>
                      <a:pt x="361" y="17"/>
                      <a:pt x="348" y="13"/>
                      <a:pt x="338" y="9"/>
                    </a:cubicBezTo>
                    <a:cubicBezTo>
                      <a:pt x="332" y="7"/>
                      <a:pt x="327" y="3"/>
                      <a:pt x="324" y="1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305" y="14"/>
                      <a:pt x="305" y="14"/>
                      <a:pt x="305" y="14"/>
                    </a:cubicBezTo>
                    <a:cubicBezTo>
                      <a:pt x="305" y="14"/>
                      <a:pt x="298" y="11"/>
                      <a:pt x="298" y="16"/>
                    </a:cubicBezTo>
                    <a:cubicBezTo>
                      <a:pt x="298" y="21"/>
                      <a:pt x="311" y="27"/>
                      <a:pt x="303" y="29"/>
                    </a:cubicBezTo>
                    <a:cubicBezTo>
                      <a:pt x="295" y="31"/>
                      <a:pt x="284" y="25"/>
                      <a:pt x="284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62" y="21"/>
                      <a:pt x="262" y="21"/>
                      <a:pt x="262" y="21"/>
                    </a:cubicBezTo>
                    <a:cubicBezTo>
                      <a:pt x="243" y="25"/>
                      <a:pt x="243" y="25"/>
                      <a:pt x="243" y="25"/>
                    </a:cubicBezTo>
                    <a:cubicBezTo>
                      <a:pt x="243" y="25"/>
                      <a:pt x="243" y="12"/>
                      <a:pt x="235" y="18"/>
                    </a:cubicBezTo>
                    <a:cubicBezTo>
                      <a:pt x="227" y="24"/>
                      <a:pt x="237" y="35"/>
                      <a:pt x="234" y="40"/>
                    </a:cubicBezTo>
                    <a:cubicBezTo>
                      <a:pt x="231" y="45"/>
                      <a:pt x="216" y="45"/>
                      <a:pt x="216" y="45"/>
                    </a:cubicBezTo>
                    <a:cubicBezTo>
                      <a:pt x="190" y="49"/>
                      <a:pt x="190" y="49"/>
                      <a:pt x="190" y="49"/>
                    </a:cubicBezTo>
                    <a:cubicBezTo>
                      <a:pt x="181" y="59"/>
                      <a:pt x="181" y="59"/>
                      <a:pt x="181" y="59"/>
                    </a:cubicBezTo>
                    <a:cubicBezTo>
                      <a:pt x="181" y="59"/>
                      <a:pt x="164" y="67"/>
                      <a:pt x="165" y="71"/>
                    </a:cubicBezTo>
                    <a:cubicBezTo>
                      <a:pt x="166" y="75"/>
                      <a:pt x="177" y="83"/>
                      <a:pt x="177" y="83"/>
                    </a:cubicBezTo>
                    <a:cubicBezTo>
                      <a:pt x="172" y="93"/>
                      <a:pt x="172" y="93"/>
                      <a:pt x="172" y="93"/>
                    </a:cubicBezTo>
                    <a:cubicBezTo>
                      <a:pt x="172" y="93"/>
                      <a:pt x="167" y="94"/>
                      <a:pt x="161" y="99"/>
                    </a:cubicBezTo>
                    <a:cubicBezTo>
                      <a:pt x="155" y="104"/>
                      <a:pt x="153" y="111"/>
                      <a:pt x="153" y="111"/>
                    </a:cubicBezTo>
                    <a:cubicBezTo>
                      <a:pt x="139" y="112"/>
                      <a:pt x="139" y="112"/>
                      <a:pt x="139" y="112"/>
                    </a:cubicBezTo>
                    <a:cubicBezTo>
                      <a:pt x="139" y="112"/>
                      <a:pt x="153" y="126"/>
                      <a:pt x="146" y="128"/>
                    </a:cubicBezTo>
                    <a:cubicBezTo>
                      <a:pt x="139" y="130"/>
                      <a:pt x="130" y="135"/>
                      <a:pt x="130" y="135"/>
                    </a:cubicBezTo>
                    <a:cubicBezTo>
                      <a:pt x="116" y="128"/>
                      <a:pt x="116" y="128"/>
                      <a:pt x="116" y="128"/>
                    </a:cubicBezTo>
                    <a:cubicBezTo>
                      <a:pt x="118" y="144"/>
                      <a:pt x="118" y="144"/>
                      <a:pt x="118" y="144"/>
                    </a:cubicBezTo>
                    <a:cubicBezTo>
                      <a:pt x="115" y="149"/>
                      <a:pt x="115" y="149"/>
                      <a:pt x="115" y="149"/>
                    </a:cubicBezTo>
                    <a:cubicBezTo>
                      <a:pt x="111" y="178"/>
                      <a:pt x="111" y="178"/>
                      <a:pt x="111" y="178"/>
                    </a:cubicBezTo>
                    <a:cubicBezTo>
                      <a:pt x="111" y="178"/>
                      <a:pt x="101" y="190"/>
                      <a:pt x="96" y="194"/>
                    </a:cubicBezTo>
                    <a:cubicBezTo>
                      <a:pt x="91" y="198"/>
                      <a:pt x="82" y="204"/>
                      <a:pt x="82" y="204"/>
                    </a:cubicBezTo>
                    <a:cubicBezTo>
                      <a:pt x="82" y="204"/>
                      <a:pt x="103" y="214"/>
                      <a:pt x="99" y="223"/>
                    </a:cubicBezTo>
                    <a:cubicBezTo>
                      <a:pt x="95" y="232"/>
                      <a:pt x="68" y="227"/>
                      <a:pt x="68" y="227"/>
                    </a:cubicBezTo>
                    <a:cubicBezTo>
                      <a:pt x="68" y="227"/>
                      <a:pt x="53" y="239"/>
                      <a:pt x="46" y="244"/>
                    </a:cubicBezTo>
                    <a:cubicBezTo>
                      <a:pt x="39" y="249"/>
                      <a:pt x="33" y="254"/>
                      <a:pt x="33" y="254"/>
                    </a:cubicBezTo>
                    <a:cubicBezTo>
                      <a:pt x="28" y="260"/>
                      <a:pt x="28" y="260"/>
                      <a:pt x="28" y="260"/>
                    </a:cubicBezTo>
                    <a:cubicBezTo>
                      <a:pt x="28" y="260"/>
                      <a:pt x="22" y="265"/>
                      <a:pt x="22" y="268"/>
                    </a:cubicBezTo>
                    <a:cubicBezTo>
                      <a:pt x="22" y="271"/>
                      <a:pt x="40" y="271"/>
                      <a:pt x="34" y="277"/>
                    </a:cubicBezTo>
                    <a:cubicBezTo>
                      <a:pt x="28" y="283"/>
                      <a:pt x="19" y="285"/>
                      <a:pt x="21" y="290"/>
                    </a:cubicBezTo>
                    <a:cubicBezTo>
                      <a:pt x="23" y="295"/>
                      <a:pt x="29" y="303"/>
                      <a:pt x="29" y="303"/>
                    </a:cubicBezTo>
                    <a:cubicBezTo>
                      <a:pt x="29" y="303"/>
                      <a:pt x="40" y="310"/>
                      <a:pt x="39" y="315"/>
                    </a:cubicBezTo>
                    <a:cubicBezTo>
                      <a:pt x="38" y="320"/>
                      <a:pt x="32" y="327"/>
                      <a:pt x="33" y="334"/>
                    </a:cubicBezTo>
                    <a:cubicBezTo>
                      <a:pt x="34" y="341"/>
                      <a:pt x="42" y="348"/>
                      <a:pt x="42" y="348"/>
                    </a:cubicBezTo>
                    <a:cubicBezTo>
                      <a:pt x="42" y="348"/>
                      <a:pt x="61" y="354"/>
                      <a:pt x="59" y="361"/>
                    </a:cubicBezTo>
                    <a:cubicBezTo>
                      <a:pt x="57" y="368"/>
                      <a:pt x="50" y="374"/>
                      <a:pt x="50" y="374"/>
                    </a:cubicBezTo>
                    <a:cubicBezTo>
                      <a:pt x="35" y="377"/>
                      <a:pt x="35" y="377"/>
                      <a:pt x="35" y="377"/>
                    </a:cubicBezTo>
                    <a:cubicBezTo>
                      <a:pt x="35" y="377"/>
                      <a:pt x="41" y="394"/>
                      <a:pt x="44" y="397"/>
                    </a:cubicBezTo>
                    <a:cubicBezTo>
                      <a:pt x="47" y="400"/>
                      <a:pt x="51" y="409"/>
                      <a:pt x="51" y="409"/>
                    </a:cubicBezTo>
                    <a:cubicBezTo>
                      <a:pt x="44" y="409"/>
                      <a:pt x="44" y="409"/>
                      <a:pt x="44" y="409"/>
                    </a:cubicBezTo>
                    <a:cubicBezTo>
                      <a:pt x="44" y="426"/>
                      <a:pt x="44" y="426"/>
                      <a:pt x="44" y="426"/>
                    </a:cubicBezTo>
                    <a:cubicBezTo>
                      <a:pt x="44" y="426"/>
                      <a:pt x="41" y="431"/>
                      <a:pt x="36" y="431"/>
                    </a:cubicBezTo>
                    <a:cubicBezTo>
                      <a:pt x="31" y="431"/>
                      <a:pt x="17" y="425"/>
                      <a:pt x="19" y="431"/>
                    </a:cubicBezTo>
                    <a:cubicBezTo>
                      <a:pt x="21" y="437"/>
                      <a:pt x="21" y="441"/>
                      <a:pt x="21" y="441"/>
                    </a:cubicBezTo>
                    <a:cubicBezTo>
                      <a:pt x="21" y="441"/>
                      <a:pt x="12" y="444"/>
                      <a:pt x="15" y="452"/>
                    </a:cubicBezTo>
                    <a:cubicBezTo>
                      <a:pt x="18" y="460"/>
                      <a:pt x="24" y="461"/>
                      <a:pt x="22" y="466"/>
                    </a:cubicBezTo>
                    <a:cubicBezTo>
                      <a:pt x="20" y="471"/>
                      <a:pt x="14" y="482"/>
                      <a:pt x="14" y="482"/>
                    </a:cubicBezTo>
                    <a:cubicBezTo>
                      <a:pt x="0" y="469"/>
                      <a:pt x="0" y="469"/>
                      <a:pt x="0" y="469"/>
                    </a:cubicBezTo>
                    <a:cubicBezTo>
                      <a:pt x="2" y="510"/>
                      <a:pt x="2" y="510"/>
                      <a:pt x="2" y="510"/>
                    </a:cubicBezTo>
                    <a:cubicBezTo>
                      <a:pt x="2" y="510"/>
                      <a:pt x="16" y="499"/>
                      <a:pt x="23" y="511"/>
                    </a:cubicBezTo>
                    <a:cubicBezTo>
                      <a:pt x="30" y="523"/>
                      <a:pt x="19" y="515"/>
                      <a:pt x="19" y="515"/>
                    </a:cubicBezTo>
                    <a:cubicBezTo>
                      <a:pt x="19" y="515"/>
                      <a:pt x="14" y="549"/>
                      <a:pt x="18" y="553"/>
                    </a:cubicBezTo>
                    <a:cubicBezTo>
                      <a:pt x="22" y="557"/>
                      <a:pt x="34" y="562"/>
                      <a:pt x="34" y="562"/>
                    </a:cubicBezTo>
                    <a:cubicBezTo>
                      <a:pt x="34" y="562"/>
                      <a:pt x="43" y="579"/>
                      <a:pt x="49" y="586"/>
                    </a:cubicBezTo>
                    <a:cubicBezTo>
                      <a:pt x="55" y="593"/>
                      <a:pt x="66" y="597"/>
                      <a:pt x="66" y="597"/>
                    </a:cubicBezTo>
                    <a:cubicBezTo>
                      <a:pt x="65" y="605"/>
                      <a:pt x="65" y="605"/>
                      <a:pt x="65" y="605"/>
                    </a:cubicBezTo>
                    <a:cubicBezTo>
                      <a:pt x="53" y="607"/>
                      <a:pt x="53" y="607"/>
                      <a:pt x="53" y="607"/>
                    </a:cubicBezTo>
                    <a:cubicBezTo>
                      <a:pt x="53" y="607"/>
                      <a:pt x="51" y="615"/>
                      <a:pt x="52" y="621"/>
                    </a:cubicBezTo>
                    <a:cubicBezTo>
                      <a:pt x="53" y="627"/>
                      <a:pt x="68" y="640"/>
                      <a:pt x="68" y="640"/>
                    </a:cubicBezTo>
                    <a:cubicBezTo>
                      <a:pt x="68" y="640"/>
                      <a:pt x="64" y="653"/>
                      <a:pt x="69" y="656"/>
                    </a:cubicBezTo>
                    <a:cubicBezTo>
                      <a:pt x="74" y="659"/>
                      <a:pt x="94" y="657"/>
                      <a:pt x="94" y="657"/>
                    </a:cubicBezTo>
                    <a:cubicBezTo>
                      <a:pt x="94" y="657"/>
                      <a:pt x="122" y="664"/>
                      <a:pt x="121" y="655"/>
                    </a:cubicBezTo>
                    <a:cubicBezTo>
                      <a:pt x="120" y="646"/>
                      <a:pt x="120" y="631"/>
                      <a:pt x="120" y="631"/>
                    </a:cubicBezTo>
                    <a:cubicBezTo>
                      <a:pt x="132" y="625"/>
                      <a:pt x="132" y="625"/>
                      <a:pt x="132" y="625"/>
                    </a:cubicBezTo>
                    <a:cubicBezTo>
                      <a:pt x="133" y="615"/>
                      <a:pt x="133" y="615"/>
                      <a:pt x="133" y="615"/>
                    </a:cubicBezTo>
                    <a:cubicBezTo>
                      <a:pt x="176" y="618"/>
                      <a:pt x="176" y="618"/>
                      <a:pt x="176" y="618"/>
                    </a:cubicBezTo>
                    <a:cubicBezTo>
                      <a:pt x="185" y="623"/>
                      <a:pt x="185" y="623"/>
                      <a:pt x="185" y="623"/>
                    </a:cubicBezTo>
                    <a:cubicBezTo>
                      <a:pt x="199" y="581"/>
                      <a:pt x="199" y="581"/>
                      <a:pt x="199" y="581"/>
                    </a:cubicBezTo>
                    <a:cubicBezTo>
                      <a:pt x="199" y="581"/>
                      <a:pt x="208" y="555"/>
                      <a:pt x="206" y="549"/>
                    </a:cubicBezTo>
                    <a:cubicBezTo>
                      <a:pt x="204" y="543"/>
                      <a:pt x="198" y="532"/>
                      <a:pt x="198" y="532"/>
                    </a:cubicBezTo>
                    <a:cubicBezTo>
                      <a:pt x="198" y="532"/>
                      <a:pt x="219" y="529"/>
                      <a:pt x="217" y="518"/>
                    </a:cubicBezTo>
                    <a:cubicBezTo>
                      <a:pt x="215" y="507"/>
                      <a:pt x="196" y="507"/>
                      <a:pt x="196" y="507"/>
                    </a:cubicBezTo>
                    <a:cubicBezTo>
                      <a:pt x="209" y="502"/>
                      <a:pt x="209" y="502"/>
                      <a:pt x="209" y="502"/>
                    </a:cubicBezTo>
                    <a:cubicBezTo>
                      <a:pt x="200" y="498"/>
                      <a:pt x="200" y="498"/>
                      <a:pt x="200" y="498"/>
                    </a:cubicBezTo>
                    <a:cubicBezTo>
                      <a:pt x="200" y="498"/>
                      <a:pt x="234" y="500"/>
                      <a:pt x="237" y="489"/>
                    </a:cubicBezTo>
                    <a:cubicBezTo>
                      <a:pt x="240" y="478"/>
                      <a:pt x="245" y="472"/>
                      <a:pt x="245" y="472"/>
                    </a:cubicBezTo>
                    <a:cubicBezTo>
                      <a:pt x="245" y="472"/>
                      <a:pt x="256" y="490"/>
                      <a:pt x="266" y="478"/>
                    </a:cubicBezTo>
                    <a:cubicBezTo>
                      <a:pt x="276" y="466"/>
                      <a:pt x="270" y="456"/>
                      <a:pt x="270" y="456"/>
                    </a:cubicBezTo>
                    <a:cubicBezTo>
                      <a:pt x="270" y="456"/>
                      <a:pt x="297" y="451"/>
                      <a:pt x="290" y="437"/>
                    </a:cubicBezTo>
                    <a:cubicBezTo>
                      <a:pt x="283" y="423"/>
                      <a:pt x="271" y="420"/>
                      <a:pt x="271" y="420"/>
                    </a:cubicBezTo>
                    <a:cubicBezTo>
                      <a:pt x="271" y="409"/>
                      <a:pt x="271" y="409"/>
                      <a:pt x="271" y="409"/>
                    </a:cubicBezTo>
                    <a:cubicBezTo>
                      <a:pt x="247" y="399"/>
                      <a:pt x="247" y="399"/>
                      <a:pt x="247" y="399"/>
                    </a:cubicBezTo>
                    <a:cubicBezTo>
                      <a:pt x="247" y="399"/>
                      <a:pt x="236" y="406"/>
                      <a:pt x="228" y="399"/>
                    </a:cubicBezTo>
                    <a:cubicBezTo>
                      <a:pt x="220" y="392"/>
                      <a:pt x="217" y="350"/>
                      <a:pt x="217" y="350"/>
                    </a:cubicBezTo>
                    <a:cubicBezTo>
                      <a:pt x="217" y="350"/>
                      <a:pt x="228" y="340"/>
                      <a:pt x="229" y="329"/>
                    </a:cubicBezTo>
                    <a:cubicBezTo>
                      <a:pt x="230" y="318"/>
                      <a:pt x="219" y="308"/>
                      <a:pt x="219" y="308"/>
                    </a:cubicBezTo>
                    <a:cubicBezTo>
                      <a:pt x="219" y="308"/>
                      <a:pt x="233" y="311"/>
                      <a:pt x="237" y="303"/>
                    </a:cubicBezTo>
                    <a:cubicBezTo>
                      <a:pt x="241" y="295"/>
                      <a:pt x="232" y="283"/>
                      <a:pt x="232" y="283"/>
                    </a:cubicBezTo>
                    <a:cubicBezTo>
                      <a:pt x="232" y="283"/>
                      <a:pt x="249" y="292"/>
                      <a:pt x="254" y="287"/>
                    </a:cubicBezTo>
                    <a:cubicBezTo>
                      <a:pt x="259" y="282"/>
                      <a:pt x="271" y="270"/>
                      <a:pt x="271" y="270"/>
                    </a:cubicBezTo>
                    <a:cubicBezTo>
                      <a:pt x="291" y="273"/>
                      <a:pt x="291" y="273"/>
                      <a:pt x="291" y="273"/>
                    </a:cubicBezTo>
                    <a:cubicBezTo>
                      <a:pt x="299" y="258"/>
                      <a:pt x="299" y="258"/>
                      <a:pt x="299" y="258"/>
                    </a:cubicBezTo>
                    <a:cubicBezTo>
                      <a:pt x="299" y="258"/>
                      <a:pt x="330" y="259"/>
                      <a:pt x="340" y="249"/>
                    </a:cubicBezTo>
                    <a:cubicBezTo>
                      <a:pt x="350" y="239"/>
                      <a:pt x="364" y="213"/>
                      <a:pt x="364" y="213"/>
                    </a:cubicBezTo>
                    <a:cubicBezTo>
                      <a:pt x="352" y="198"/>
                      <a:pt x="352" y="198"/>
                      <a:pt x="352" y="198"/>
                    </a:cubicBezTo>
                    <a:cubicBezTo>
                      <a:pt x="372" y="175"/>
                      <a:pt x="372" y="175"/>
                      <a:pt x="372" y="175"/>
                    </a:cubicBezTo>
                    <a:cubicBezTo>
                      <a:pt x="361" y="162"/>
                      <a:pt x="361" y="162"/>
                      <a:pt x="361" y="162"/>
                    </a:cubicBezTo>
                    <a:cubicBezTo>
                      <a:pt x="386" y="156"/>
                      <a:pt x="386" y="156"/>
                      <a:pt x="386" y="156"/>
                    </a:cubicBezTo>
                    <a:cubicBezTo>
                      <a:pt x="396" y="144"/>
                      <a:pt x="396" y="144"/>
                      <a:pt x="396" y="144"/>
                    </a:cubicBezTo>
                    <a:cubicBezTo>
                      <a:pt x="449" y="146"/>
                      <a:pt x="449" y="146"/>
                      <a:pt x="449" y="146"/>
                    </a:cubicBezTo>
                    <a:cubicBezTo>
                      <a:pt x="457" y="159"/>
                      <a:pt x="457" y="159"/>
                      <a:pt x="457" y="159"/>
                    </a:cubicBezTo>
                    <a:cubicBezTo>
                      <a:pt x="459" y="157"/>
                      <a:pt x="459" y="157"/>
                      <a:pt x="459" y="157"/>
                    </a:cubicBezTo>
                    <a:lnTo>
                      <a:pt x="451" y="136"/>
                    </a:lnTo>
                    <a:close/>
                    <a:moveTo>
                      <a:pt x="262" y="549"/>
                    </a:moveTo>
                    <a:cubicBezTo>
                      <a:pt x="259" y="560"/>
                      <a:pt x="271" y="583"/>
                      <a:pt x="271" y="583"/>
                    </a:cubicBezTo>
                    <a:cubicBezTo>
                      <a:pt x="279" y="566"/>
                      <a:pt x="279" y="566"/>
                      <a:pt x="279" y="566"/>
                    </a:cubicBezTo>
                    <a:cubicBezTo>
                      <a:pt x="279" y="566"/>
                      <a:pt x="285" y="569"/>
                      <a:pt x="290" y="560"/>
                    </a:cubicBezTo>
                    <a:cubicBezTo>
                      <a:pt x="296" y="552"/>
                      <a:pt x="290" y="543"/>
                      <a:pt x="290" y="543"/>
                    </a:cubicBezTo>
                    <a:cubicBezTo>
                      <a:pt x="302" y="531"/>
                      <a:pt x="302" y="531"/>
                      <a:pt x="302" y="531"/>
                    </a:cubicBezTo>
                    <a:cubicBezTo>
                      <a:pt x="302" y="531"/>
                      <a:pt x="265" y="538"/>
                      <a:pt x="262" y="549"/>
                    </a:cubicBezTo>
                    <a:close/>
                    <a:moveTo>
                      <a:pt x="200" y="597"/>
                    </a:moveTo>
                    <a:cubicBezTo>
                      <a:pt x="200" y="602"/>
                      <a:pt x="199" y="615"/>
                      <a:pt x="199" y="615"/>
                    </a:cubicBezTo>
                    <a:cubicBezTo>
                      <a:pt x="207" y="615"/>
                      <a:pt x="216" y="584"/>
                      <a:pt x="216" y="584"/>
                    </a:cubicBezTo>
                    <a:cubicBezTo>
                      <a:pt x="230" y="570"/>
                      <a:pt x="230" y="570"/>
                      <a:pt x="230" y="570"/>
                    </a:cubicBezTo>
                    <a:cubicBezTo>
                      <a:pt x="226" y="557"/>
                      <a:pt x="226" y="557"/>
                      <a:pt x="226" y="557"/>
                    </a:cubicBezTo>
                    <a:cubicBezTo>
                      <a:pt x="226" y="557"/>
                      <a:pt x="200" y="591"/>
                      <a:pt x="200" y="59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4" name="MCShape 136">
                <a:extLst>
                  <a:ext uri="{FF2B5EF4-FFF2-40B4-BE49-F238E27FC236}">
                    <a16:creationId xmlns:a16="http://schemas.microsoft.com/office/drawing/2014/main" id="{D5E26DBE-8BCE-4F44-8BAC-A9A3F3AFDC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8505" y="1795588"/>
                <a:ext cx="535172" cy="598588"/>
              </a:xfrm>
              <a:custGeom>
                <a:avLst/>
                <a:gdLst>
                  <a:gd name="T0" fmla="*/ 453 w 905"/>
                  <a:gd name="T1" fmla="*/ 40 h 1010"/>
                  <a:gd name="T2" fmla="*/ 653 w 905"/>
                  <a:gd name="T3" fmla="*/ 48 h 1010"/>
                  <a:gd name="T4" fmla="*/ 558 w 905"/>
                  <a:gd name="T5" fmla="*/ 4 h 1010"/>
                  <a:gd name="T6" fmla="*/ 429 w 905"/>
                  <a:gd name="T7" fmla="*/ 28 h 1010"/>
                  <a:gd name="T8" fmla="*/ 281 w 905"/>
                  <a:gd name="T9" fmla="*/ 93 h 1010"/>
                  <a:gd name="T10" fmla="*/ 345 w 905"/>
                  <a:gd name="T11" fmla="*/ 111 h 1010"/>
                  <a:gd name="T12" fmla="*/ 432 w 905"/>
                  <a:gd name="T13" fmla="*/ 100 h 1010"/>
                  <a:gd name="T14" fmla="*/ 515 w 905"/>
                  <a:gd name="T15" fmla="*/ 123 h 1010"/>
                  <a:gd name="T16" fmla="*/ 551 w 905"/>
                  <a:gd name="T17" fmla="*/ 82 h 1010"/>
                  <a:gd name="T18" fmla="*/ 453 w 905"/>
                  <a:gd name="T19" fmla="*/ 54 h 1010"/>
                  <a:gd name="T20" fmla="*/ 328 w 905"/>
                  <a:gd name="T21" fmla="*/ 27 h 1010"/>
                  <a:gd name="T22" fmla="*/ 240 w 905"/>
                  <a:gd name="T23" fmla="*/ 24 h 1010"/>
                  <a:gd name="T24" fmla="*/ 417 w 905"/>
                  <a:gd name="T25" fmla="*/ 467 h 1010"/>
                  <a:gd name="T26" fmla="*/ 363 w 905"/>
                  <a:gd name="T27" fmla="*/ 482 h 1010"/>
                  <a:gd name="T28" fmla="*/ 611 w 905"/>
                  <a:gd name="T29" fmla="*/ 404 h 1010"/>
                  <a:gd name="T30" fmla="*/ 320 w 905"/>
                  <a:gd name="T31" fmla="*/ 509 h 1010"/>
                  <a:gd name="T32" fmla="*/ 902 w 905"/>
                  <a:gd name="T33" fmla="*/ 421 h 1010"/>
                  <a:gd name="T34" fmla="*/ 749 w 905"/>
                  <a:gd name="T35" fmla="*/ 425 h 1010"/>
                  <a:gd name="T36" fmla="*/ 683 w 905"/>
                  <a:gd name="T37" fmla="*/ 393 h 1010"/>
                  <a:gd name="T38" fmla="*/ 593 w 905"/>
                  <a:gd name="T39" fmla="*/ 446 h 1010"/>
                  <a:gd name="T40" fmla="*/ 507 w 905"/>
                  <a:gd name="T41" fmla="*/ 444 h 1010"/>
                  <a:gd name="T42" fmla="*/ 494 w 905"/>
                  <a:gd name="T43" fmla="*/ 437 h 1010"/>
                  <a:gd name="T44" fmla="*/ 446 w 905"/>
                  <a:gd name="T45" fmla="*/ 491 h 1010"/>
                  <a:gd name="T46" fmla="*/ 399 w 905"/>
                  <a:gd name="T47" fmla="*/ 505 h 1010"/>
                  <a:gd name="T48" fmla="*/ 360 w 905"/>
                  <a:gd name="T49" fmla="*/ 526 h 1010"/>
                  <a:gd name="T50" fmla="*/ 365 w 905"/>
                  <a:gd name="T51" fmla="*/ 561 h 1010"/>
                  <a:gd name="T52" fmla="*/ 293 w 905"/>
                  <a:gd name="T53" fmla="*/ 606 h 1010"/>
                  <a:gd name="T54" fmla="*/ 266 w 905"/>
                  <a:gd name="T55" fmla="*/ 642 h 1010"/>
                  <a:gd name="T56" fmla="*/ 237 w 905"/>
                  <a:gd name="T57" fmla="*/ 689 h 1010"/>
                  <a:gd name="T58" fmla="*/ 180 w 905"/>
                  <a:gd name="T59" fmla="*/ 715 h 1010"/>
                  <a:gd name="T60" fmla="*/ 118 w 905"/>
                  <a:gd name="T61" fmla="*/ 741 h 1010"/>
                  <a:gd name="T62" fmla="*/ 111 w 905"/>
                  <a:gd name="T63" fmla="*/ 775 h 1010"/>
                  <a:gd name="T64" fmla="*/ 72 w 905"/>
                  <a:gd name="T65" fmla="*/ 808 h 1010"/>
                  <a:gd name="T66" fmla="*/ 20 w 905"/>
                  <a:gd name="T67" fmla="*/ 804 h 1010"/>
                  <a:gd name="T68" fmla="*/ 21 w 905"/>
                  <a:gd name="T69" fmla="*/ 834 h 1010"/>
                  <a:gd name="T70" fmla="*/ 71 w 905"/>
                  <a:gd name="T71" fmla="*/ 854 h 1010"/>
                  <a:gd name="T72" fmla="*/ 0 w 905"/>
                  <a:gd name="T73" fmla="*/ 858 h 1010"/>
                  <a:gd name="T74" fmla="*/ 65 w 905"/>
                  <a:gd name="T75" fmla="*/ 884 h 1010"/>
                  <a:gd name="T76" fmla="*/ 14 w 905"/>
                  <a:gd name="T77" fmla="*/ 926 h 1010"/>
                  <a:gd name="T78" fmla="*/ 36 w 905"/>
                  <a:gd name="T79" fmla="*/ 967 h 1010"/>
                  <a:gd name="T80" fmla="*/ 103 w 905"/>
                  <a:gd name="T81" fmla="*/ 1004 h 1010"/>
                  <a:gd name="T82" fmla="*/ 207 w 905"/>
                  <a:gd name="T83" fmla="*/ 942 h 1010"/>
                  <a:gd name="T84" fmla="*/ 252 w 905"/>
                  <a:gd name="T85" fmla="*/ 911 h 1010"/>
                  <a:gd name="T86" fmla="*/ 268 w 905"/>
                  <a:gd name="T87" fmla="*/ 857 h 1010"/>
                  <a:gd name="T88" fmla="*/ 262 w 905"/>
                  <a:gd name="T89" fmla="*/ 783 h 1010"/>
                  <a:gd name="T90" fmla="*/ 279 w 905"/>
                  <a:gd name="T91" fmla="*/ 724 h 1010"/>
                  <a:gd name="T92" fmla="*/ 348 w 905"/>
                  <a:gd name="T93" fmla="*/ 629 h 1010"/>
                  <a:gd name="T94" fmla="*/ 386 w 905"/>
                  <a:gd name="T95" fmla="*/ 591 h 1010"/>
                  <a:gd name="T96" fmla="*/ 423 w 905"/>
                  <a:gd name="T97" fmla="*/ 529 h 1010"/>
                  <a:gd name="T98" fmla="*/ 508 w 905"/>
                  <a:gd name="T99" fmla="*/ 505 h 1010"/>
                  <a:gd name="T100" fmla="*/ 557 w 905"/>
                  <a:gd name="T101" fmla="*/ 481 h 1010"/>
                  <a:gd name="T102" fmla="*/ 594 w 905"/>
                  <a:gd name="T103" fmla="*/ 480 h 1010"/>
                  <a:gd name="T104" fmla="*/ 677 w 905"/>
                  <a:gd name="T105" fmla="*/ 489 h 1010"/>
                  <a:gd name="T106" fmla="*/ 752 w 905"/>
                  <a:gd name="T107" fmla="*/ 438 h 1010"/>
                  <a:gd name="T108" fmla="*/ 834 w 905"/>
                  <a:gd name="T109" fmla="*/ 469 h 1010"/>
                  <a:gd name="T110" fmla="*/ 891 w 905"/>
                  <a:gd name="T111" fmla="*/ 456 h 1010"/>
                  <a:gd name="T112" fmla="*/ 380 w 905"/>
                  <a:gd name="T113" fmla="*/ 512 h 1010"/>
                  <a:gd name="T114" fmla="*/ 346 w 905"/>
                  <a:gd name="T115" fmla="*/ 483 h 10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05"/>
                  <a:gd name="T175" fmla="*/ 0 h 1010"/>
                  <a:gd name="T176" fmla="*/ 905 w 905"/>
                  <a:gd name="T177" fmla="*/ 1010 h 10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05" h="1010">
                    <a:moveTo>
                      <a:pt x="215" y="87"/>
                    </a:moveTo>
                    <a:cubicBezTo>
                      <a:pt x="229" y="97"/>
                      <a:pt x="250" y="93"/>
                      <a:pt x="250" y="93"/>
                    </a:cubicBezTo>
                    <a:cubicBezTo>
                      <a:pt x="228" y="82"/>
                      <a:pt x="228" y="82"/>
                      <a:pt x="228" y="82"/>
                    </a:cubicBezTo>
                    <a:cubicBezTo>
                      <a:pt x="195" y="65"/>
                      <a:pt x="195" y="65"/>
                      <a:pt x="195" y="65"/>
                    </a:cubicBezTo>
                    <a:cubicBezTo>
                      <a:pt x="191" y="78"/>
                      <a:pt x="201" y="78"/>
                      <a:pt x="215" y="87"/>
                    </a:cubicBezTo>
                    <a:close/>
                    <a:moveTo>
                      <a:pt x="453" y="40"/>
                    </a:moveTo>
                    <a:cubicBezTo>
                      <a:pt x="481" y="40"/>
                      <a:pt x="481" y="40"/>
                      <a:pt x="481" y="40"/>
                    </a:cubicBezTo>
                    <a:cubicBezTo>
                      <a:pt x="481" y="40"/>
                      <a:pt x="512" y="51"/>
                      <a:pt x="516" y="49"/>
                    </a:cubicBezTo>
                    <a:cubicBezTo>
                      <a:pt x="520" y="48"/>
                      <a:pt x="542" y="44"/>
                      <a:pt x="547" y="44"/>
                    </a:cubicBezTo>
                    <a:cubicBezTo>
                      <a:pt x="553" y="44"/>
                      <a:pt x="599" y="62"/>
                      <a:pt x="599" y="62"/>
                    </a:cubicBezTo>
                    <a:cubicBezTo>
                      <a:pt x="613" y="47"/>
                      <a:pt x="613" y="47"/>
                      <a:pt x="613" y="47"/>
                    </a:cubicBezTo>
                    <a:cubicBezTo>
                      <a:pt x="653" y="48"/>
                      <a:pt x="653" y="48"/>
                      <a:pt x="653" y="48"/>
                    </a:cubicBezTo>
                    <a:cubicBezTo>
                      <a:pt x="656" y="35"/>
                      <a:pt x="656" y="35"/>
                      <a:pt x="656" y="35"/>
                    </a:cubicBezTo>
                    <a:cubicBezTo>
                      <a:pt x="656" y="35"/>
                      <a:pt x="677" y="42"/>
                      <a:pt x="688" y="21"/>
                    </a:cubicBezTo>
                    <a:cubicBezTo>
                      <a:pt x="699" y="0"/>
                      <a:pt x="653" y="17"/>
                      <a:pt x="653" y="17"/>
                    </a:cubicBezTo>
                    <a:cubicBezTo>
                      <a:pt x="653" y="17"/>
                      <a:pt x="650" y="7"/>
                      <a:pt x="626" y="7"/>
                    </a:cubicBezTo>
                    <a:cubicBezTo>
                      <a:pt x="602" y="7"/>
                      <a:pt x="585" y="19"/>
                      <a:pt x="578" y="17"/>
                    </a:cubicBezTo>
                    <a:cubicBezTo>
                      <a:pt x="571" y="16"/>
                      <a:pt x="577" y="4"/>
                      <a:pt x="558" y="4"/>
                    </a:cubicBezTo>
                    <a:cubicBezTo>
                      <a:pt x="540" y="4"/>
                      <a:pt x="535" y="20"/>
                      <a:pt x="535" y="20"/>
                    </a:cubicBezTo>
                    <a:cubicBezTo>
                      <a:pt x="491" y="4"/>
                      <a:pt x="491" y="4"/>
                      <a:pt x="491" y="4"/>
                    </a:cubicBezTo>
                    <a:cubicBezTo>
                      <a:pt x="491" y="4"/>
                      <a:pt x="470" y="11"/>
                      <a:pt x="447" y="16"/>
                    </a:cubicBezTo>
                    <a:cubicBezTo>
                      <a:pt x="425" y="20"/>
                      <a:pt x="440" y="4"/>
                      <a:pt x="440" y="4"/>
                    </a:cubicBezTo>
                    <a:cubicBezTo>
                      <a:pt x="419" y="14"/>
                      <a:pt x="419" y="14"/>
                      <a:pt x="419" y="14"/>
                    </a:cubicBezTo>
                    <a:cubicBezTo>
                      <a:pt x="429" y="28"/>
                      <a:pt x="429" y="28"/>
                      <a:pt x="429" y="28"/>
                    </a:cubicBezTo>
                    <a:lnTo>
                      <a:pt x="453" y="40"/>
                    </a:lnTo>
                    <a:close/>
                    <a:moveTo>
                      <a:pt x="214" y="49"/>
                    </a:moveTo>
                    <a:cubicBezTo>
                      <a:pt x="221" y="54"/>
                      <a:pt x="236" y="51"/>
                      <a:pt x="239" y="55"/>
                    </a:cubicBezTo>
                    <a:cubicBezTo>
                      <a:pt x="242" y="59"/>
                      <a:pt x="223" y="69"/>
                      <a:pt x="223" y="69"/>
                    </a:cubicBezTo>
                    <a:cubicBezTo>
                      <a:pt x="252" y="80"/>
                      <a:pt x="252" y="80"/>
                      <a:pt x="252" y="80"/>
                    </a:cubicBezTo>
                    <a:cubicBezTo>
                      <a:pt x="252" y="80"/>
                      <a:pt x="267" y="90"/>
                      <a:pt x="281" y="93"/>
                    </a:cubicBezTo>
                    <a:cubicBezTo>
                      <a:pt x="295" y="96"/>
                      <a:pt x="305" y="76"/>
                      <a:pt x="305" y="76"/>
                    </a:cubicBezTo>
                    <a:cubicBezTo>
                      <a:pt x="333" y="71"/>
                      <a:pt x="333" y="71"/>
                      <a:pt x="333" y="71"/>
                    </a:cubicBezTo>
                    <a:cubicBezTo>
                      <a:pt x="356" y="85"/>
                      <a:pt x="356" y="85"/>
                      <a:pt x="356" y="85"/>
                    </a:cubicBezTo>
                    <a:cubicBezTo>
                      <a:pt x="356" y="85"/>
                      <a:pt x="337" y="90"/>
                      <a:pt x="319" y="94"/>
                    </a:cubicBezTo>
                    <a:cubicBezTo>
                      <a:pt x="301" y="99"/>
                      <a:pt x="302" y="106"/>
                      <a:pt x="302" y="106"/>
                    </a:cubicBezTo>
                    <a:cubicBezTo>
                      <a:pt x="302" y="106"/>
                      <a:pt x="352" y="110"/>
                      <a:pt x="345" y="111"/>
                    </a:cubicBezTo>
                    <a:cubicBezTo>
                      <a:pt x="337" y="113"/>
                      <a:pt x="307" y="125"/>
                      <a:pt x="307" y="125"/>
                    </a:cubicBezTo>
                    <a:cubicBezTo>
                      <a:pt x="340" y="137"/>
                      <a:pt x="340" y="137"/>
                      <a:pt x="340" y="137"/>
                    </a:cubicBezTo>
                    <a:cubicBezTo>
                      <a:pt x="340" y="137"/>
                      <a:pt x="370" y="152"/>
                      <a:pt x="395" y="148"/>
                    </a:cubicBezTo>
                    <a:cubicBezTo>
                      <a:pt x="421" y="144"/>
                      <a:pt x="402" y="128"/>
                      <a:pt x="402" y="121"/>
                    </a:cubicBezTo>
                    <a:cubicBezTo>
                      <a:pt x="402" y="114"/>
                      <a:pt x="432" y="114"/>
                      <a:pt x="432" y="114"/>
                    </a:cubicBezTo>
                    <a:cubicBezTo>
                      <a:pt x="432" y="100"/>
                      <a:pt x="432" y="100"/>
                      <a:pt x="432" y="100"/>
                    </a:cubicBezTo>
                    <a:cubicBezTo>
                      <a:pt x="451" y="96"/>
                      <a:pt x="451" y="96"/>
                      <a:pt x="451" y="96"/>
                    </a:cubicBezTo>
                    <a:cubicBezTo>
                      <a:pt x="460" y="75"/>
                      <a:pt x="460" y="75"/>
                      <a:pt x="460" y="75"/>
                    </a:cubicBezTo>
                    <a:cubicBezTo>
                      <a:pt x="473" y="82"/>
                      <a:pt x="473" y="82"/>
                      <a:pt x="473" y="82"/>
                    </a:cubicBezTo>
                    <a:cubicBezTo>
                      <a:pt x="489" y="73"/>
                      <a:pt x="489" y="73"/>
                      <a:pt x="489" y="73"/>
                    </a:cubicBezTo>
                    <a:cubicBezTo>
                      <a:pt x="489" y="73"/>
                      <a:pt x="498" y="87"/>
                      <a:pt x="518" y="92"/>
                    </a:cubicBezTo>
                    <a:cubicBezTo>
                      <a:pt x="537" y="96"/>
                      <a:pt x="515" y="123"/>
                      <a:pt x="515" y="123"/>
                    </a:cubicBezTo>
                    <a:cubicBezTo>
                      <a:pt x="551" y="121"/>
                      <a:pt x="551" y="121"/>
                      <a:pt x="551" y="121"/>
                    </a:cubicBezTo>
                    <a:cubicBezTo>
                      <a:pt x="551" y="121"/>
                      <a:pt x="570" y="137"/>
                      <a:pt x="571" y="132"/>
                    </a:cubicBezTo>
                    <a:cubicBezTo>
                      <a:pt x="572" y="128"/>
                      <a:pt x="623" y="114"/>
                      <a:pt x="627" y="106"/>
                    </a:cubicBezTo>
                    <a:cubicBezTo>
                      <a:pt x="632" y="97"/>
                      <a:pt x="589" y="99"/>
                      <a:pt x="589" y="99"/>
                    </a:cubicBezTo>
                    <a:cubicBezTo>
                      <a:pt x="587" y="87"/>
                      <a:pt x="587" y="87"/>
                      <a:pt x="587" y="87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0" y="71"/>
                      <a:pt x="550" y="71"/>
                      <a:pt x="550" y="71"/>
                    </a:cubicBezTo>
                    <a:cubicBezTo>
                      <a:pt x="529" y="73"/>
                      <a:pt x="529" y="73"/>
                      <a:pt x="529" y="73"/>
                    </a:cubicBezTo>
                    <a:cubicBezTo>
                      <a:pt x="532" y="61"/>
                      <a:pt x="532" y="61"/>
                      <a:pt x="532" y="61"/>
                    </a:cubicBezTo>
                    <a:cubicBezTo>
                      <a:pt x="481" y="62"/>
                      <a:pt x="481" y="62"/>
                      <a:pt x="481" y="62"/>
                    </a:cubicBezTo>
                    <a:cubicBezTo>
                      <a:pt x="477" y="54"/>
                      <a:pt x="477" y="54"/>
                      <a:pt x="477" y="54"/>
                    </a:cubicBezTo>
                    <a:cubicBezTo>
                      <a:pt x="453" y="54"/>
                      <a:pt x="453" y="54"/>
                      <a:pt x="453" y="54"/>
                    </a:cubicBezTo>
                    <a:cubicBezTo>
                      <a:pt x="453" y="54"/>
                      <a:pt x="450" y="41"/>
                      <a:pt x="435" y="37"/>
                    </a:cubicBezTo>
                    <a:cubicBezTo>
                      <a:pt x="419" y="33"/>
                      <a:pt x="412" y="38"/>
                      <a:pt x="412" y="38"/>
                    </a:cubicBezTo>
                    <a:cubicBezTo>
                      <a:pt x="415" y="26"/>
                      <a:pt x="415" y="26"/>
                      <a:pt x="415" y="26"/>
                    </a:cubicBezTo>
                    <a:cubicBezTo>
                      <a:pt x="415" y="26"/>
                      <a:pt x="394" y="20"/>
                      <a:pt x="366" y="21"/>
                    </a:cubicBezTo>
                    <a:cubicBezTo>
                      <a:pt x="337" y="23"/>
                      <a:pt x="374" y="55"/>
                      <a:pt x="374" y="55"/>
                    </a:cubicBezTo>
                    <a:cubicBezTo>
                      <a:pt x="374" y="55"/>
                      <a:pt x="343" y="30"/>
                      <a:pt x="328" y="27"/>
                    </a:cubicBezTo>
                    <a:cubicBezTo>
                      <a:pt x="312" y="24"/>
                      <a:pt x="307" y="44"/>
                      <a:pt x="307" y="44"/>
                    </a:cubicBezTo>
                    <a:cubicBezTo>
                      <a:pt x="307" y="44"/>
                      <a:pt x="284" y="40"/>
                      <a:pt x="278" y="37"/>
                    </a:cubicBezTo>
                    <a:cubicBezTo>
                      <a:pt x="273" y="34"/>
                      <a:pt x="291" y="24"/>
                      <a:pt x="291" y="24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45" y="35"/>
                      <a:pt x="245" y="35"/>
                      <a:pt x="245" y="35"/>
                    </a:cubicBezTo>
                    <a:cubicBezTo>
                      <a:pt x="240" y="24"/>
                      <a:pt x="240" y="24"/>
                      <a:pt x="240" y="24"/>
                    </a:cubicBezTo>
                    <a:cubicBezTo>
                      <a:pt x="240" y="24"/>
                      <a:pt x="216" y="31"/>
                      <a:pt x="208" y="38"/>
                    </a:cubicBezTo>
                    <a:cubicBezTo>
                      <a:pt x="208" y="38"/>
                      <a:pt x="207" y="45"/>
                      <a:pt x="214" y="49"/>
                    </a:cubicBezTo>
                    <a:close/>
                    <a:moveTo>
                      <a:pt x="425" y="477"/>
                    </a:moveTo>
                    <a:cubicBezTo>
                      <a:pt x="441" y="474"/>
                      <a:pt x="440" y="464"/>
                      <a:pt x="447" y="464"/>
                    </a:cubicBezTo>
                    <a:cubicBezTo>
                      <a:pt x="453" y="464"/>
                      <a:pt x="447" y="453"/>
                      <a:pt x="447" y="453"/>
                    </a:cubicBezTo>
                    <a:cubicBezTo>
                      <a:pt x="417" y="467"/>
                      <a:pt x="417" y="467"/>
                      <a:pt x="417" y="467"/>
                    </a:cubicBezTo>
                    <a:lnTo>
                      <a:pt x="425" y="477"/>
                    </a:lnTo>
                    <a:close/>
                    <a:moveTo>
                      <a:pt x="513" y="437"/>
                    </a:moveTo>
                    <a:cubicBezTo>
                      <a:pt x="522" y="434"/>
                      <a:pt x="535" y="424"/>
                      <a:pt x="517" y="423"/>
                    </a:cubicBezTo>
                    <a:cubicBezTo>
                      <a:pt x="500" y="422"/>
                      <a:pt x="513" y="437"/>
                      <a:pt x="513" y="437"/>
                    </a:cubicBezTo>
                    <a:close/>
                    <a:moveTo>
                      <a:pt x="392" y="470"/>
                    </a:moveTo>
                    <a:cubicBezTo>
                      <a:pt x="373" y="465"/>
                      <a:pt x="363" y="482"/>
                      <a:pt x="363" y="482"/>
                    </a:cubicBezTo>
                    <a:cubicBezTo>
                      <a:pt x="379" y="486"/>
                      <a:pt x="379" y="486"/>
                      <a:pt x="379" y="486"/>
                    </a:cubicBezTo>
                    <a:cubicBezTo>
                      <a:pt x="385" y="482"/>
                      <a:pt x="411" y="474"/>
                      <a:pt x="392" y="470"/>
                    </a:cubicBezTo>
                    <a:close/>
                    <a:moveTo>
                      <a:pt x="610" y="414"/>
                    </a:moveTo>
                    <a:cubicBezTo>
                      <a:pt x="623" y="417"/>
                      <a:pt x="623" y="417"/>
                      <a:pt x="623" y="417"/>
                    </a:cubicBezTo>
                    <a:cubicBezTo>
                      <a:pt x="631" y="408"/>
                      <a:pt x="631" y="402"/>
                      <a:pt x="631" y="402"/>
                    </a:cubicBezTo>
                    <a:cubicBezTo>
                      <a:pt x="611" y="404"/>
                      <a:pt x="611" y="404"/>
                      <a:pt x="611" y="404"/>
                    </a:cubicBezTo>
                    <a:lnTo>
                      <a:pt x="610" y="414"/>
                    </a:lnTo>
                    <a:close/>
                    <a:moveTo>
                      <a:pt x="320" y="509"/>
                    </a:moveTo>
                    <a:cubicBezTo>
                      <a:pt x="304" y="509"/>
                      <a:pt x="279" y="528"/>
                      <a:pt x="285" y="532"/>
                    </a:cubicBezTo>
                    <a:cubicBezTo>
                      <a:pt x="290" y="535"/>
                      <a:pt x="315" y="520"/>
                      <a:pt x="315" y="520"/>
                    </a:cubicBezTo>
                    <a:cubicBezTo>
                      <a:pt x="338" y="516"/>
                      <a:pt x="338" y="516"/>
                      <a:pt x="338" y="516"/>
                    </a:cubicBezTo>
                    <a:cubicBezTo>
                      <a:pt x="335" y="516"/>
                      <a:pt x="336" y="509"/>
                      <a:pt x="320" y="509"/>
                    </a:cubicBezTo>
                    <a:close/>
                    <a:moveTo>
                      <a:pt x="901" y="448"/>
                    </a:moveTo>
                    <a:cubicBezTo>
                      <a:pt x="884" y="451"/>
                      <a:pt x="884" y="451"/>
                      <a:pt x="884" y="451"/>
                    </a:cubicBezTo>
                    <a:cubicBezTo>
                      <a:pt x="856" y="444"/>
                      <a:pt x="856" y="444"/>
                      <a:pt x="856" y="444"/>
                    </a:cubicBezTo>
                    <a:cubicBezTo>
                      <a:pt x="836" y="433"/>
                      <a:pt x="836" y="433"/>
                      <a:pt x="836" y="433"/>
                    </a:cubicBezTo>
                    <a:cubicBezTo>
                      <a:pt x="836" y="433"/>
                      <a:pt x="862" y="437"/>
                      <a:pt x="873" y="432"/>
                    </a:cubicBezTo>
                    <a:cubicBezTo>
                      <a:pt x="884" y="427"/>
                      <a:pt x="902" y="421"/>
                      <a:pt x="902" y="421"/>
                    </a:cubicBezTo>
                    <a:cubicBezTo>
                      <a:pt x="902" y="421"/>
                      <a:pt x="876" y="406"/>
                      <a:pt x="862" y="406"/>
                    </a:cubicBezTo>
                    <a:cubicBezTo>
                      <a:pt x="848" y="406"/>
                      <a:pt x="827" y="395"/>
                      <a:pt x="827" y="395"/>
                    </a:cubicBezTo>
                    <a:cubicBezTo>
                      <a:pt x="827" y="395"/>
                      <a:pt x="819" y="421"/>
                      <a:pt x="803" y="418"/>
                    </a:cubicBezTo>
                    <a:cubicBezTo>
                      <a:pt x="787" y="415"/>
                      <a:pt x="815" y="397"/>
                      <a:pt x="815" y="397"/>
                    </a:cubicBezTo>
                    <a:cubicBezTo>
                      <a:pt x="771" y="382"/>
                      <a:pt x="771" y="382"/>
                      <a:pt x="771" y="382"/>
                    </a:cubicBezTo>
                    <a:cubicBezTo>
                      <a:pt x="771" y="382"/>
                      <a:pt x="763" y="431"/>
                      <a:pt x="749" y="425"/>
                    </a:cubicBezTo>
                    <a:cubicBezTo>
                      <a:pt x="735" y="419"/>
                      <a:pt x="746" y="393"/>
                      <a:pt x="746" y="393"/>
                    </a:cubicBezTo>
                    <a:cubicBezTo>
                      <a:pt x="746" y="393"/>
                      <a:pt x="708" y="437"/>
                      <a:pt x="698" y="430"/>
                    </a:cubicBezTo>
                    <a:cubicBezTo>
                      <a:pt x="688" y="423"/>
                      <a:pt x="734" y="387"/>
                      <a:pt x="734" y="387"/>
                    </a:cubicBezTo>
                    <a:cubicBezTo>
                      <a:pt x="711" y="385"/>
                      <a:pt x="711" y="385"/>
                      <a:pt x="711" y="385"/>
                    </a:cubicBezTo>
                    <a:cubicBezTo>
                      <a:pt x="699" y="395"/>
                      <a:pt x="699" y="395"/>
                      <a:pt x="699" y="395"/>
                    </a:cubicBezTo>
                    <a:cubicBezTo>
                      <a:pt x="683" y="393"/>
                      <a:pt x="683" y="393"/>
                      <a:pt x="683" y="393"/>
                    </a:cubicBezTo>
                    <a:cubicBezTo>
                      <a:pt x="653" y="411"/>
                      <a:pt x="653" y="411"/>
                      <a:pt x="653" y="411"/>
                    </a:cubicBezTo>
                    <a:cubicBezTo>
                      <a:pt x="637" y="412"/>
                      <a:pt x="637" y="412"/>
                      <a:pt x="637" y="412"/>
                    </a:cubicBezTo>
                    <a:cubicBezTo>
                      <a:pt x="635" y="432"/>
                      <a:pt x="635" y="432"/>
                      <a:pt x="635" y="432"/>
                    </a:cubicBezTo>
                    <a:cubicBezTo>
                      <a:pt x="611" y="423"/>
                      <a:pt x="611" y="423"/>
                      <a:pt x="611" y="423"/>
                    </a:cubicBezTo>
                    <a:cubicBezTo>
                      <a:pt x="585" y="428"/>
                      <a:pt x="585" y="428"/>
                      <a:pt x="585" y="428"/>
                    </a:cubicBezTo>
                    <a:cubicBezTo>
                      <a:pt x="593" y="446"/>
                      <a:pt x="593" y="446"/>
                      <a:pt x="593" y="446"/>
                    </a:cubicBezTo>
                    <a:cubicBezTo>
                      <a:pt x="562" y="437"/>
                      <a:pt x="562" y="437"/>
                      <a:pt x="562" y="437"/>
                    </a:cubicBezTo>
                    <a:cubicBezTo>
                      <a:pt x="551" y="443"/>
                      <a:pt x="551" y="443"/>
                      <a:pt x="551" y="443"/>
                    </a:cubicBezTo>
                    <a:cubicBezTo>
                      <a:pt x="554" y="459"/>
                      <a:pt x="554" y="459"/>
                      <a:pt x="554" y="459"/>
                    </a:cubicBezTo>
                    <a:cubicBezTo>
                      <a:pt x="524" y="465"/>
                      <a:pt x="524" y="465"/>
                      <a:pt x="524" y="465"/>
                    </a:cubicBezTo>
                    <a:cubicBezTo>
                      <a:pt x="527" y="444"/>
                      <a:pt x="527" y="444"/>
                      <a:pt x="527" y="444"/>
                    </a:cubicBezTo>
                    <a:cubicBezTo>
                      <a:pt x="507" y="444"/>
                      <a:pt x="507" y="444"/>
                      <a:pt x="507" y="444"/>
                    </a:cubicBezTo>
                    <a:cubicBezTo>
                      <a:pt x="513" y="457"/>
                      <a:pt x="513" y="457"/>
                      <a:pt x="513" y="457"/>
                    </a:cubicBezTo>
                    <a:cubicBezTo>
                      <a:pt x="497" y="447"/>
                      <a:pt x="497" y="447"/>
                      <a:pt x="497" y="447"/>
                    </a:cubicBezTo>
                    <a:cubicBezTo>
                      <a:pt x="499" y="467"/>
                      <a:pt x="499" y="467"/>
                      <a:pt x="499" y="467"/>
                    </a:cubicBezTo>
                    <a:cubicBezTo>
                      <a:pt x="482" y="466"/>
                      <a:pt x="482" y="466"/>
                      <a:pt x="482" y="466"/>
                    </a:cubicBezTo>
                    <a:cubicBezTo>
                      <a:pt x="482" y="466"/>
                      <a:pt x="479" y="453"/>
                      <a:pt x="481" y="450"/>
                    </a:cubicBezTo>
                    <a:cubicBezTo>
                      <a:pt x="483" y="447"/>
                      <a:pt x="494" y="437"/>
                      <a:pt x="494" y="437"/>
                    </a:cubicBezTo>
                    <a:cubicBezTo>
                      <a:pt x="471" y="434"/>
                      <a:pt x="471" y="434"/>
                      <a:pt x="471" y="434"/>
                    </a:cubicBezTo>
                    <a:cubicBezTo>
                      <a:pt x="468" y="463"/>
                      <a:pt x="468" y="463"/>
                      <a:pt x="468" y="463"/>
                    </a:cubicBezTo>
                    <a:cubicBezTo>
                      <a:pt x="450" y="472"/>
                      <a:pt x="450" y="472"/>
                      <a:pt x="450" y="472"/>
                    </a:cubicBezTo>
                    <a:cubicBezTo>
                      <a:pt x="460" y="480"/>
                      <a:pt x="460" y="480"/>
                      <a:pt x="460" y="480"/>
                    </a:cubicBezTo>
                    <a:cubicBezTo>
                      <a:pt x="438" y="483"/>
                      <a:pt x="438" y="483"/>
                      <a:pt x="438" y="483"/>
                    </a:cubicBezTo>
                    <a:cubicBezTo>
                      <a:pt x="446" y="491"/>
                      <a:pt x="446" y="491"/>
                      <a:pt x="446" y="491"/>
                    </a:cubicBezTo>
                    <a:cubicBezTo>
                      <a:pt x="418" y="492"/>
                      <a:pt x="418" y="492"/>
                      <a:pt x="418" y="492"/>
                    </a:cubicBezTo>
                    <a:cubicBezTo>
                      <a:pt x="418" y="500"/>
                      <a:pt x="418" y="500"/>
                      <a:pt x="418" y="500"/>
                    </a:cubicBezTo>
                    <a:cubicBezTo>
                      <a:pt x="439" y="505"/>
                      <a:pt x="439" y="505"/>
                      <a:pt x="439" y="505"/>
                    </a:cubicBezTo>
                    <a:cubicBezTo>
                      <a:pt x="432" y="514"/>
                      <a:pt x="432" y="514"/>
                      <a:pt x="432" y="514"/>
                    </a:cubicBezTo>
                    <a:cubicBezTo>
                      <a:pt x="408" y="504"/>
                      <a:pt x="408" y="504"/>
                      <a:pt x="408" y="504"/>
                    </a:cubicBezTo>
                    <a:cubicBezTo>
                      <a:pt x="399" y="505"/>
                      <a:pt x="399" y="505"/>
                      <a:pt x="399" y="505"/>
                    </a:cubicBezTo>
                    <a:cubicBezTo>
                      <a:pt x="415" y="516"/>
                      <a:pt x="415" y="516"/>
                      <a:pt x="415" y="516"/>
                    </a:cubicBezTo>
                    <a:cubicBezTo>
                      <a:pt x="400" y="527"/>
                      <a:pt x="400" y="527"/>
                      <a:pt x="400" y="527"/>
                    </a:cubicBezTo>
                    <a:cubicBezTo>
                      <a:pt x="392" y="514"/>
                      <a:pt x="392" y="514"/>
                      <a:pt x="392" y="514"/>
                    </a:cubicBezTo>
                    <a:cubicBezTo>
                      <a:pt x="382" y="520"/>
                      <a:pt x="382" y="520"/>
                      <a:pt x="382" y="520"/>
                    </a:cubicBezTo>
                    <a:cubicBezTo>
                      <a:pt x="383" y="525"/>
                      <a:pt x="383" y="525"/>
                      <a:pt x="383" y="525"/>
                    </a:cubicBezTo>
                    <a:cubicBezTo>
                      <a:pt x="360" y="526"/>
                      <a:pt x="360" y="526"/>
                      <a:pt x="360" y="526"/>
                    </a:cubicBezTo>
                    <a:cubicBezTo>
                      <a:pt x="357" y="535"/>
                      <a:pt x="357" y="535"/>
                      <a:pt x="357" y="535"/>
                    </a:cubicBezTo>
                    <a:cubicBezTo>
                      <a:pt x="374" y="544"/>
                      <a:pt x="374" y="544"/>
                      <a:pt x="374" y="544"/>
                    </a:cubicBezTo>
                    <a:cubicBezTo>
                      <a:pt x="372" y="554"/>
                      <a:pt x="372" y="554"/>
                      <a:pt x="372" y="554"/>
                    </a:cubicBezTo>
                    <a:cubicBezTo>
                      <a:pt x="350" y="546"/>
                      <a:pt x="350" y="546"/>
                      <a:pt x="350" y="546"/>
                    </a:cubicBezTo>
                    <a:cubicBezTo>
                      <a:pt x="347" y="556"/>
                      <a:pt x="347" y="556"/>
                      <a:pt x="347" y="556"/>
                    </a:cubicBezTo>
                    <a:cubicBezTo>
                      <a:pt x="365" y="561"/>
                      <a:pt x="365" y="561"/>
                      <a:pt x="365" y="561"/>
                    </a:cubicBezTo>
                    <a:cubicBezTo>
                      <a:pt x="365" y="561"/>
                      <a:pt x="344" y="562"/>
                      <a:pt x="337" y="563"/>
                    </a:cubicBezTo>
                    <a:cubicBezTo>
                      <a:pt x="330" y="564"/>
                      <a:pt x="334" y="574"/>
                      <a:pt x="334" y="574"/>
                    </a:cubicBezTo>
                    <a:cubicBezTo>
                      <a:pt x="334" y="574"/>
                      <a:pt x="321" y="567"/>
                      <a:pt x="313" y="573"/>
                    </a:cubicBezTo>
                    <a:cubicBezTo>
                      <a:pt x="305" y="579"/>
                      <a:pt x="298" y="584"/>
                      <a:pt x="303" y="587"/>
                    </a:cubicBezTo>
                    <a:cubicBezTo>
                      <a:pt x="308" y="590"/>
                      <a:pt x="297" y="596"/>
                      <a:pt x="297" y="596"/>
                    </a:cubicBezTo>
                    <a:cubicBezTo>
                      <a:pt x="297" y="596"/>
                      <a:pt x="290" y="605"/>
                      <a:pt x="293" y="606"/>
                    </a:cubicBezTo>
                    <a:cubicBezTo>
                      <a:pt x="296" y="607"/>
                      <a:pt x="316" y="608"/>
                      <a:pt x="316" y="608"/>
                    </a:cubicBezTo>
                    <a:cubicBezTo>
                      <a:pt x="309" y="616"/>
                      <a:pt x="309" y="616"/>
                      <a:pt x="309" y="616"/>
                    </a:cubicBezTo>
                    <a:cubicBezTo>
                      <a:pt x="286" y="612"/>
                      <a:pt x="286" y="612"/>
                      <a:pt x="286" y="612"/>
                    </a:cubicBezTo>
                    <a:cubicBezTo>
                      <a:pt x="286" y="612"/>
                      <a:pt x="273" y="614"/>
                      <a:pt x="273" y="622"/>
                    </a:cubicBezTo>
                    <a:cubicBezTo>
                      <a:pt x="273" y="630"/>
                      <a:pt x="283" y="636"/>
                      <a:pt x="279" y="639"/>
                    </a:cubicBezTo>
                    <a:cubicBezTo>
                      <a:pt x="275" y="642"/>
                      <a:pt x="271" y="642"/>
                      <a:pt x="266" y="642"/>
                    </a:cubicBezTo>
                    <a:cubicBezTo>
                      <a:pt x="261" y="642"/>
                      <a:pt x="255" y="643"/>
                      <a:pt x="257" y="650"/>
                    </a:cubicBezTo>
                    <a:cubicBezTo>
                      <a:pt x="259" y="657"/>
                      <a:pt x="267" y="661"/>
                      <a:pt x="267" y="661"/>
                    </a:cubicBezTo>
                    <a:cubicBezTo>
                      <a:pt x="267" y="661"/>
                      <a:pt x="273" y="672"/>
                      <a:pt x="266" y="673"/>
                    </a:cubicBezTo>
                    <a:cubicBezTo>
                      <a:pt x="259" y="674"/>
                      <a:pt x="252" y="673"/>
                      <a:pt x="249" y="673"/>
                    </a:cubicBezTo>
                    <a:cubicBezTo>
                      <a:pt x="246" y="673"/>
                      <a:pt x="243" y="674"/>
                      <a:pt x="240" y="678"/>
                    </a:cubicBezTo>
                    <a:cubicBezTo>
                      <a:pt x="237" y="682"/>
                      <a:pt x="237" y="689"/>
                      <a:pt x="237" y="689"/>
                    </a:cubicBezTo>
                    <a:cubicBezTo>
                      <a:pt x="237" y="689"/>
                      <a:pt x="239" y="696"/>
                      <a:pt x="232" y="696"/>
                    </a:cubicBezTo>
                    <a:cubicBezTo>
                      <a:pt x="225" y="696"/>
                      <a:pt x="222" y="689"/>
                      <a:pt x="216" y="690"/>
                    </a:cubicBezTo>
                    <a:cubicBezTo>
                      <a:pt x="210" y="691"/>
                      <a:pt x="212" y="691"/>
                      <a:pt x="207" y="695"/>
                    </a:cubicBezTo>
                    <a:cubicBezTo>
                      <a:pt x="202" y="699"/>
                      <a:pt x="202" y="700"/>
                      <a:pt x="199" y="704"/>
                    </a:cubicBezTo>
                    <a:cubicBezTo>
                      <a:pt x="196" y="708"/>
                      <a:pt x="187" y="708"/>
                      <a:pt x="187" y="708"/>
                    </a:cubicBezTo>
                    <a:cubicBezTo>
                      <a:pt x="187" y="708"/>
                      <a:pt x="183" y="709"/>
                      <a:pt x="180" y="715"/>
                    </a:cubicBezTo>
                    <a:cubicBezTo>
                      <a:pt x="177" y="721"/>
                      <a:pt x="186" y="725"/>
                      <a:pt x="181" y="728"/>
                    </a:cubicBezTo>
                    <a:cubicBezTo>
                      <a:pt x="176" y="731"/>
                      <a:pt x="175" y="733"/>
                      <a:pt x="170" y="733"/>
                    </a:cubicBezTo>
                    <a:cubicBezTo>
                      <a:pt x="165" y="733"/>
                      <a:pt x="156" y="728"/>
                      <a:pt x="153" y="728"/>
                    </a:cubicBezTo>
                    <a:cubicBezTo>
                      <a:pt x="150" y="728"/>
                      <a:pt x="157" y="720"/>
                      <a:pt x="144" y="727"/>
                    </a:cubicBezTo>
                    <a:cubicBezTo>
                      <a:pt x="131" y="734"/>
                      <a:pt x="130" y="735"/>
                      <a:pt x="126" y="734"/>
                    </a:cubicBezTo>
                    <a:cubicBezTo>
                      <a:pt x="122" y="733"/>
                      <a:pt x="117" y="731"/>
                      <a:pt x="118" y="741"/>
                    </a:cubicBezTo>
                    <a:cubicBezTo>
                      <a:pt x="119" y="751"/>
                      <a:pt x="125" y="750"/>
                      <a:pt x="126" y="753"/>
                    </a:cubicBezTo>
                    <a:cubicBezTo>
                      <a:pt x="127" y="756"/>
                      <a:pt x="130" y="764"/>
                      <a:pt x="122" y="760"/>
                    </a:cubicBezTo>
                    <a:cubicBezTo>
                      <a:pt x="114" y="756"/>
                      <a:pt x="113" y="747"/>
                      <a:pt x="108" y="750"/>
                    </a:cubicBezTo>
                    <a:cubicBezTo>
                      <a:pt x="103" y="753"/>
                      <a:pt x="97" y="760"/>
                      <a:pt x="102" y="763"/>
                    </a:cubicBezTo>
                    <a:cubicBezTo>
                      <a:pt x="107" y="766"/>
                      <a:pt x="122" y="762"/>
                      <a:pt x="119" y="768"/>
                    </a:cubicBezTo>
                    <a:cubicBezTo>
                      <a:pt x="116" y="774"/>
                      <a:pt x="126" y="777"/>
                      <a:pt x="111" y="775"/>
                    </a:cubicBezTo>
                    <a:cubicBezTo>
                      <a:pt x="96" y="773"/>
                      <a:pt x="92" y="773"/>
                      <a:pt x="92" y="773"/>
                    </a:cubicBezTo>
                    <a:cubicBezTo>
                      <a:pt x="92" y="773"/>
                      <a:pt x="94" y="767"/>
                      <a:pt x="88" y="772"/>
                    </a:cubicBezTo>
                    <a:cubicBezTo>
                      <a:pt x="82" y="777"/>
                      <a:pt x="84" y="786"/>
                      <a:pt x="84" y="786"/>
                    </a:cubicBezTo>
                    <a:cubicBezTo>
                      <a:pt x="84" y="786"/>
                      <a:pt x="55" y="773"/>
                      <a:pt x="59" y="781"/>
                    </a:cubicBezTo>
                    <a:cubicBezTo>
                      <a:pt x="63" y="789"/>
                      <a:pt x="85" y="794"/>
                      <a:pt x="85" y="794"/>
                    </a:cubicBezTo>
                    <a:cubicBezTo>
                      <a:pt x="72" y="808"/>
                      <a:pt x="72" y="808"/>
                      <a:pt x="72" y="808"/>
                    </a:cubicBezTo>
                    <a:cubicBezTo>
                      <a:pt x="72" y="808"/>
                      <a:pt x="73" y="798"/>
                      <a:pt x="66" y="797"/>
                    </a:cubicBezTo>
                    <a:cubicBezTo>
                      <a:pt x="59" y="796"/>
                      <a:pt x="53" y="804"/>
                      <a:pt x="53" y="804"/>
                    </a:cubicBezTo>
                    <a:cubicBezTo>
                      <a:pt x="40" y="793"/>
                      <a:pt x="40" y="793"/>
                      <a:pt x="40" y="793"/>
                    </a:cubicBezTo>
                    <a:cubicBezTo>
                      <a:pt x="34" y="802"/>
                      <a:pt x="34" y="802"/>
                      <a:pt x="34" y="802"/>
                    </a:cubicBezTo>
                    <a:cubicBezTo>
                      <a:pt x="43" y="805"/>
                      <a:pt x="43" y="805"/>
                      <a:pt x="43" y="805"/>
                    </a:cubicBezTo>
                    <a:cubicBezTo>
                      <a:pt x="20" y="804"/>
                      <a:pt x="20" y="804"/>
                      <a:pt x="20" y="804"/>
                    </a:cubicBezTo>
                    <a:cubicBezTo>
                      <a:pt x="19" y="813"/>
                      <a:pt x="19" y="813"/>
                      <a:pt x="19" y="813"/>
                    </a:cubicBezTo>
                    <a:cubicBezTo>
                      <a:pt x="52" y="815"/>
                      <a:pt x="52" y="815"/>
                      <a:pt x="52" y="815"/>
                    </a:cubicBezTo>
                    <a:cubicBezTo>
                      <a:pt x="35" y="820"/>
                      <a:pt x="35" y="820"/>
                      <a:pt x="35" y="820"/>
                    </a:cubicBezTo>
                    <a:cubicBezTo>
                      <a:pt x="11" y="814"/>
                      <a:pt x="11" y="814"/>
                      <a:pt x="11" y="814"/>
                    </a:cubicBezTo>
                    <a:cubicBezTo>
                      <a:pt x="11" y="814"/>
                      <a:pt x="3" y="821"/>
                      <a:pt x="3" y="827"/>
                    </a:cubicBezTo>
                    <a:cubicBezTo>
                      <a:pt x="3" y="833"/>
                      <a:pt x="21" y="834"/>
                      <a:pt x="21" y="834"/>
                    </a:cubicBezTo>
                    <a:cubicBezTo>
                      <a:pt x="10" y="839"/>
                      <a:pt x="10" y="839"/>
                      <a:pt x="10" y="839"/>
                    </a:cubicBezTo>
                    <a:cubicBezTo>
                      <a:pt x="10" y="839"/>
                      <a:pt x="1" y="846"/>
                      <a:pt x="10" y="847"/>
                    </a:cubicBezTo>
                    <a:cubicBezTo>
                      <a:pt x="19" y="848"/>
                      <a:pt x="42" y="848"/>
                      <a:pt x="42" y="848"/>
                    </a:cubicBezTo>
                    <a:cubicBezTo>
                      <a:pt x="52" y="854"/>
                      <a:pt x="52" y="854"/>
                      <a:pt x="52" y="854"/>
                    </a:cubicBezTo>
                    <a:cubicBezTo>
                      <a:pt x="63" y="846"/>
                      <a:pt x="63" y="846"/>
                      <a:pt x="63" y="846"/>
                    </a:cubicBezTo>
                    <a:cubicBezTo>
                      <a:pt x="71" y="854"/>
                      <a:pt x="71" y="854"/>
                      <a:pt x="71" y="854"/>
                    </a:cubicBezTo>
                    <a:cubicBezTo>
                      <a:pt x="89" y="845"/>
                      <a:pt x="89" y="845"/>
                      <a:pt x="89" y="845"/>
                    </a:cubicBezTo>
                    <a:cubicBezTo>
                      <a:pt x="89" y="845"/>
                      <a:pt x="86" y="858"/>
                      <a:pt x="80" y="858"/>
                    </a:cubicBezTo>
                    <a:cubicBezTo>
                      <a:pt x="74" y="858"/>
                      <a:pt x="62" y="857"/>
                      <a:pt x="62" y="857"/>
                    </a:cubicBezTo>
                    <a:cubicBezTo>
                      <a:pt x="44" y="858"/>
                      <a:pt x="44" y="858"/>
                      <a:pt x="44" y="858"/>
                    </a:cubicBezTo>
                    <a:cubicBezTo>
                      <a:pt x="44" y="858"/>
                      <a:pt x="28" y="856"/>
                      <a:pt x="25" y="856"/>
                    </a:cubicBezTo>
                    <a:cubicBezTo>
                      <a:pt x="22" y="856"/>
                      <a:pt x="0" y="858"/>
                      <a:pt x="0" y="858"/>
                    </a:cubicBezTo>
                    <a:cubicBezTo>
                      <a:pt x="0" y="858"/>
                      <a:pt x="2" y="870"/>
                      <a:pt x="7" y="872"/>
                    </a:cubicBezTo>
                    <a:cubicBezTo>
                      <a:pt x="12" y="874"/>
                      <a:pt x="20" y="874"/>
                      <a:pt x="20" y="874"/>
                    </a:cubicBezTo>
                    <a:cubicBezTo>
                      <a:pt x="20" y="874"/>
                      <a:pt x="7" y="884"/>
                      <a:pt x="13" y="891"/>
                    </a:cubicBezTo>
                    <a:cubicBezTo>
                      <a:pt x="19" y="898"/>
                      <a:pt x="29" y="899"/>
                      <a:pt x="29" y="899"/>
                    </a:cubicBezTo>
                    <a:cubicBezTo>
                      <a:pt x="47" y="888"/>
                      <a:pt x="47" y="888"/>
                      <a:pt x="47" y="888"/>
                    </a:cubicBezTo>
                    <a:cubicBezTo>
                      <a:pt x="65" y="884"/>
                      <a:pt x="65" y="884"/>
                      <a:pt x="65" y="884"/>
                    </a:cubicBezTo>
                    <a:cubicBezTo>
                      <a:pt x="59" y="898"/>
                      <a:pt x="59" y="898"/>
                      <a:pt x="59" y="898"/>
                    </a:cubicBezTo>
                    <a:cubicBezTo>
                      <a:pt x="49" y="895"/>
                      <a:pt x="49" y="895"/>
                      <a:pt x="49" y="895"/>
                    </a:cubicBezTo>
                    <a:cubicBezTo>
                      <a:pt x="43" y="907"/>
                      <a:pt x="43" y="907"/>
                      <a:pt x="43" y="907"/>
                    </a:cubicBezTo>
                    <a:cubicBezTo>
                      <a:pt x="43" y="907"/>
                      <a:pt x="13" y="901"/>
                      <a:pt x="17" y="908"/>
                    </a:cubicBezTo>
                    <a:cubicBezTo>
                      <a:pt x="21" y="915"/>
                      <a:pt x="30" y="918"/>
                      <a:pt x="30" y="918"/>
                    </a:cubicBezTo>
                    <a:cubicBezTo>
                      <a:pt x="14" y="926"/>
                      <a:pt x="14" y="926"/>
                      <a:pt x="14" y="926"/>
                    </a:cubicBezTo>
                    <a:cubicBezTo>
                      <a:pt x="2" y="926"/>
                      <a:pt x="2" y="926"/>
                      <a:pt x="2" y="926"/>
                    </a:cubicBezTo>
                    <a:cubicBezTo>
                      <a:pt x="2" y="926"/>
                      <a:pt x="4" y="938"/>
                      <a:pt x="7" y="938"/>
                    </a:cubicBezTo>
                    <a:cubicBezTo>
                      <a:pt x="10" y="938"/>
                      <a:pt x="42" y="939"/>
                      <a:pt x="42" y="939"/>
                    </a:cubicBezTo>
                    <a:cubicBezTo>
                      <a:pt x="33" y="953"/>
                      <a:pt x="33" y="953"/>
                      <a:pt x="33" y="953"/>
                    </a:cubicBezTo>
                    <a:cubicBezTo>
                      <a:pt x="41" y="955"/>
                      <a:pt x="41" y="955"/>
                      <a:pt x="41" y="955"/>
                    </a:cubicBezTo>
                    <a:cubicBezTo>
                      <a:pt x="36" y="967"/>
                      <a:pt x="36" y="967"/>
                      <a:pt x="36" y="967"/>
                    </a:cubicBezTo>
                    <a:cubicBezTo>
                      <a:pt x="36" y="967"/>
                      <a:pt x="10" y="954"/>
                      <a:pt x="11" y="962"/>
                    </a:cubicBezTo>
                    <a:cubicBezTo>
                      <a:pt x="12" y="970"/>
                      <a:pt x="23" y="981"/>
                      <a:pt x="23" y="981"/>
                    </a:cubicBezTo>
                    <a:cubicBezTo>
                      <a:pt x="55" y="995"/>
                      <a:pt x="55" y="995"/>
                      <a:pt x="55" y="995"/>
                    </a:cubicBezTo>
                    <a:cubicBezTo>
                      <a:pt x="55" y="995"/>
                      <a:pt x="48" y="1000"/>
                      <a:pt x="55" y="1003"/>
                    </a:cubicBezTo>
                    <a:cubicBezTo>
                      <a:pt x="62" y="1006"/>
                      <a:pt x="83" y="1001"/>
                      <a:pt x="83" y="1001"/>
                    </a:cubicBezTo>
                    <a:cubicBezTo>
                      <a:pt x="83" y="1001"/>
                      <a:pt x="86" y="1010"/>
                      <a:pt x="103" y="1004"/>
                    </a:cubicBezTo>
                    <a:cubicBezTo>
                      <a:pt x="120" y="998"/>
                      <a:pt x="148" y="973"/>
                      <a:pt x="148" y="973"/>
                    </a:cubicBezTo>
                    <a:cubicBezTo>
                      <a:pt x="172" y="954"/>
                      <a:pt x="172" y="954"/>
                      <a:pt x="172" y="954"/>
                    </a:cubicBezTo>
                    <a:cubicBezTo>
                      <a:pt x="172" y="954"/>
                      <a:pt x="183" y="959"/>
                      <a:pt x="193" y="950"/>
                    </a:cubicBezTo>
                    <a:cubicBezTo>
                      <a:pt x="203" y="941"/>
                      <a:pt x="193" y="922"/>
                      <a:pt x="193" y="922"/>
                    </a:cubicBezTo>
                    <a:cubicBezTo>
                      <a:pt x="205" y="920"/>
                      <a:pt x="205" y="920"/>
                      <a:pt x="205" y="920"/>
                    </a:cubicBezTo>
                    <a:cubicBezTo>
                      <a:pt x="205" y="920"/>
                      <a:pt x="192" y="937"/>
                      <a:pt x="207" y="942"/>
                    </a:cubicBezTo>
                    <a:cubicBezTo>
                      <a:pt x="222" y="947"/>
                      <a:pt x="233" y="949"/>
                      <a:pt x="233" y="949"/>
                    </a:cubicBezTo>
                    <a:cubicBezTo>
                      <a:pt x="247" y="962"/>
                      <a:pt x="247" y="962"/>
                      <a:pt x="247" y="962"/>
                    </a:cubicBezTo>
                    <a:cubicBezTo>
                      <a:pt x="247" y="962"/>
                      <a:pt x="253" y="951"/>
                      <a:pt x="255" y="946"/>
                    </a:cubicBezTo>
                    <a:cubicBezTo>
                      <a:pt x="257" y="941"/>
                      <a:pt x="251" y="940"/>
                      <a:pt x="248" y="932"/>
                    </a:cubicBezTo>
                    <a:cubicBezTo>
                      <a:pt x="245" y="924"/>
                      <a:pt x="254" y="921"/>
                      <a:pt x="254" y="921"/>
                    </a:cubicBezTo>
                    <a:cubicBezTo>
                      <a:pt x="254" y="921"/>
                      <a:pt x="254" y="917"/>
                      <a:pt x="252" y="911"/>
                    </a:cubicBezTo>
                    <a:cubicBezTo>
                      <a:pt x="250" y="905"/>
                      <a:pt x="264" y="911"/>
                      <a:pt x="269" y="911"/>
                    </a:cubicBezTo>
                    <a:cubicBezTo>
                      <a:pt x="274" y="911"/>
                      <a:pt x="277" y="906"/>
                      <a:pt x="277" y="906"/>
                    </a:cubicBezTo>
                    <a:cubicBezTo>
                      <a:pt x="277" y="889"/>
                      <a:pt x="277" y="889"/>
                      <a:pt x="277" y="889"/>
                    </a:cubicBezTo>
                    <a:cubicBezTo>
                      <a:pt x="284" y="889"/>
                      <a:pt x="284" y="889"/>
                      <a:pt x="284" y="889"/>
                    </a:cubicBezTo>
                    <a:cubicBezTo>
                      <a:pt x="284" y="889"/>
                      <a:pt x="280" y="880"/>
                      <a:pt x="277" y="877"/>
                    </a:cubicBezTo>
                    <a:cubicBezTo>
                      <a:pt x="274" y="874"/>
                      <a:pt x="268" y="857"/>
                      <a:pt x="268" y="857"/>
                    </a:cubicBezTo>
                    <a:cubicBezTo>
                      <a:pt x="283" y="854"/>
                      <a:pt x="283" y="854"/>
                      <a:pt x="283" y="854"/>
                    </a:cubicBezTo>
                    <a:cubicBezTo>
                      <a:pt x="283" y="854"/>
                      <a:pt x="290" y="848"/>
                      <a:pt x="292" y="841"/>
                    </a:cubicBezTo>
                    <a:cubicBezTo>
                      <a:pt x="294" y="834"/>
                      <a:pt x="275" y="828"/>
                      <a:pt x="275" y="828"/>
                    </a:cubicBezTo>
                    <a:cubicBezTo>
                      <a:pt x="275" y="828"/>
                      <a:pt x="267" y="821"/>
                      <a:pt x="266" y="814"/>
                    </a:cubicBezTo>
                    <a:cubicBezTo>
                      <a:pt x="265" y="807"/>
                      <a:pt x="271" y="800"/>
                      <a:pt x="272" y="795"/>
                    </a:cubicBezTo>
                    <a:cubicBezTo>
                      <a:pt x="273" y="790"/>
                      <a:pt x="262" y="783"/>
                      <a:pt x="262" y="783"/>
                    </a:cubicBezTo>
                    <a:cubicBezTo>
                      <a:pt x="262" y="783"/>
                      <a:pt x="256" y="775"/>
                      <a:pt x="254" y="770"/>
                    </a:cubicBezTo>
                    <a:cubicBezTo>
                      <a:pt x="252" y="765"/>
                      <a:pt x="261" y="763"/>
                      <a:pt x="267" y="757"/>
                    </a:cubicBezTo>
                    <a:cubicBezTo>
                      <a:pt x="273" y="751"/>
                      <a:pt x="255" y="751"/>
                      <a:pt x="255" y="748"/>
                    </a:cubicBezTo>
                    <a:cubicBezTo>
                      <a:pt x="255" y="745"/>
                      <a:pt x="261" y="740"/>
                      <a:pt x="261" y="740"/>
                    </a:cubicBezTo>
                    <a:cubicBezTo>
                      <a:pt x="266" y="734"/>
                      <a:pt x="266" y="734"/>
                      <a:pt x="266" y="734"/>
                    </a:cubicBezTo>
                    <a:cubicBezTo>
                      <a:pt x="266" y="734"/>
                      <a:pt x="272" y="729"/>
                      <a:pt x="279" y="724"/>
                    </a:cubicBezTo>
                    <a:cubicBezTo>
                      <a:pt x="286" y="719"/>
                      <a:pt x="301" y="707"/>
                      <a:pt x="301" y="707"/>
                    </a:cubicBezTo>
                    <a:cubicBezTo>
                      <a:pt x="301" y="707"/>
                      <a:pt x="328" y="712"/>
                      <a:pt x="332" y="703"/>
                    </a:cubicBezTo>
                    <a:cubicBezTo>
                      <a:pt x="336" y="694"/>
                      <a:pt x="315" y="684"/>
                      <a:pt x="315" y="684"/>
                    </a:cubicBezTo>
                    <a:cubicBezTo>
                      <a:pt x="315" y="684"/>
                      <a:pt x="324" y="678"/>
                      <a:pt x="329" y="674"/>
                    </a:cubicBezTo>
                    <a:cubicBezTo>
                      <a:pt x="334" y="670"/>
                      <a:pt x="344" y="658"/>
                      <a:pt x="344" y="658"/>
                    </a:cubicBezTo>
                    <a:cubicBezTo>
                      <a:pt x="348" y="629"/>
                      <a:pt x="348" y="629"/>
                      <a:pt x="348" y="629"/>
                    </a:cubicBezTo>
                    <a:cubicBezTo>
                      <a:pt x="351" y="624"/>
                      <a:pt x="351" y="624"/>
                      <a:pt x="351" y="624"/>
                    </a:cubicBezTo>
                    <a:cubicBezTo>
                      <a:pt x="349" y="608"/>
                      <a:pt x="349" y="608"/>
                      <a:pt x="349" y="608"/>
                    </a:cubicBezTo>
                    <a:cubicBezTo>
                      <a:pt x="363" y="615"/>
                      <a:pt x="363" y="615"/>
                      <a:pt x="363" y="615"/>
                    </a:cubicBezTo>
                    <a:cubicBezTo>
                      <a:pt x="363" y="615"/>
                      <a:pt x="372" y="610"/>
                      <a:pt x="379" y="608"/>
                    </a:cubicBezTo>
                    <a:cubicBezTo>
                      <a:pt x="386" y="606"/>
                      <a:pt x="372" y="592"/>
                      <a:pt x="372" y="592"/>
                    </a:cubicBezTo>
                    <a:cubicBezTo>
                      <a:pt x="386" y="591"/>
                      <a:pt x="386" y="591"/>
                      <a:pt x="386" y="591"/>
                    </a:cubicBezTo>
                    <a:cubicBezTo>
                      <a:pt x="386" y="591"/>
                      <a:pt x="388" y="584"/>
                      <a:pt x="394" y="579"/>
                    </a:cubicBezTo>
                    <a:cubicBezTo>
                      <a:pt x="400" y="574"/>
                      <a:pt x="405" y="573"/>
                      <a:pt x="405" y="573"/>
                    </a:cubicBezTo>
                    <a:cubicBezTo>
                      <a:pt x="410" y="563"/>
                      <a:pt x="410" y="563"/>
                      <a:pt x="410" y="563"/>
                    </a:cubicBezTo>
                    <a:cubicBezTo>
                      <a:pt x="410" y="563"/>
                      <a:pt x="399" y="555"/>
                      <a:pt x="398" y="551"/>
                    </a:cubicBezTo>
                    <a:cubicBezTo>
                      <a:pt x="397" y="547"/>
                      <a:pt x="414" y="539"/>
                      <a:pt x="414" y="539"/>
                    </a:cubicBezTo>
                    <a:cubicBezTo>
                      <a:pt x="423" y="529"/>
                      <a:pt x="423" y="529"/>
                      <a:pt x="423" y="529"/>
                    </a:cubicBezTo>
                    <a:cubicBezTo>
                      <a:pt x="449" y="525"/>
                      <a:pt x="449" y="525"/>
                      <a:pt x="449" y="525"/>
                    </a:cubicBezTo>
                    <a:cubicBezTo>
                      <a:pt x="449" y="525"/>
                      <a:pt x="464" y="525"/>
                      <a:pt x="467" y="520"/>
                    </a:cubicBezTo>
                    <a:cubicBezTo>
                      <a:pt x="470" y="515"/>
                      <a:pt x="460" y="504"/>
                      <a:pt x="468" y="498"/>
                    </a:cubicBezTo>
                    <a:cubicBezTo>
                      <a:pt x="476" y="492"/>
                      <a:pt x="476" y="505"/>
                      <a:pt x="476" y="505"/>
                    </a:cubicBezTo>
                    <a:cubicBezTo>
                      <a:pt x="495" y="501"/>
                      <a:pt x="495" y="501"/>
                      <a:pt x="495" y="501"/>
                    </a:cubicBezTo>
                    <a:cubicBezTo>
                      <a:pt x="508" y="505"/>
                      <a:pt x="508" y="505"/>
                      <a:pt x="508" y="505"/>
                    </a:cubicBezTo>
                    <a:cubicBezTo>
                      <a:pt x="517" y="505"/>
                      <a:pt x="517" y="505"/>
                      <a:pt x="517" y="505"/>
                    </a:cubicBezTo>
                    <a:cubicBezTo>
                      <a:pt x="517" y="505"/>
                      <a:pt x="528" y="511"/>
                      <a:pt x="536" y="509"/>
                    </a:cubicBezTo>
                    <a:cubicBezTo>
                      <a:pt x="544" y="507"/>
                      <a:pt x="531" y="501"/>
                      <a:pt x="531" y="496"/>
                    </a:cubicBezTo>
                    <a:cubicBezTo>
                      <a:pt x="531" y="491"/>
                      <a:pt x="538" y="494"/>
                      <a:pt x="538" y="494"/>
                    </a:cubicBezTo>
                    <a:cubicBezTo>
                      <a:pt x="537" y="480"/>
                      <a:pt x="537" y="480"/>
                      <a:pt x="537" y="480"/>
                    </a:cubicBezTo>
                    <a:cubicBezTo>
                      <a:pt x="557" y="481"/>
                      <a:pt x="557" y="481"/>
                      <a:pt x="557" y="481"/>
                    </a:cubicBezTo>
                    <a:cubicBezTo>
                      <a:pt x="555" y="479"/>
                      <a:pt x="554" y="478"/>
                      <a:pt x="554" y="478"/>
                    </a:cubicBezTo>
                    <a:cubicBezTo>
                      <a:pt x="556" y="473"/>
                      <a:pt x="556" y="473"/>
                      <a:pt x="556" y="473"/>
                    </a:cubicBezTo>
                    <a:cubicBezTo>
                      <a:pt x="568" y="478"/>
                      <a:pt x="568" y="478"/>
                      <a:pt x="568" y="478"/>
                    </a:cubicBezTo>
                    <a:cubicBezTo>
                      <a:pt x="570" y="469"/>
                      <a:pt x="570" y="469"/>
                      <a:pt x="570" y="469"/>
                    </a:cubicBezTo>
                    <a:cubicBezTo>
                      <a:pt x="570" y="469"/>
                      <a:pt x="577" y="466"/>
                      <a:pt x="581" y="466"/>
                    </a:cubicBezTo>
                    <a:cubicBezTo>
                      <a:pt x="585" y="466"/>
                      <a:pt x="594" y="480"/>
                      <a:pt x="594" y="480"/>
                    </a:cubicBezTo>
                    <a:cubicBezTo>
                      <a:pt x="603" y="481"/>
                      <a:pt x="603" y="481"/>
                      <a:pt x="603" y="481"/>
                    </a:cubicBezTo>
                    <a:cubicBezTo>
                      <a:pt x="603" y="481"/>
                      <a:pt x="604" y="491"/>
                      <a:pt x="618" y="492"/>
                    </a:cubicBezTo>
                    <a:cubicBezTo>
                      <a:pt x="632" y="493"/>
                      <a:pt x="632" y="494"/>
                      <a:pt x="632" y="494"/>
                    </a:cubicBezTo>
                    <a:cubicBezTo>
                      <a:pt x="632" y="494"/>
                      <a:pt x="632" y="494"/>
                      <a:pt x="642" y="497"/>
                    </a:cubicBezTo>
                    <a:cubicBezTo>
                      <a:pt x="652" y="500"/>
                      <a:pt x="661" y="492"/>
                      <a:pt x="661" y="492"/>
                    </a:cubicBezTo>
                    <a:cubicBezTo>
                      <a:pt x="661" y="492"/>
                      <a:pt x="672" y="488"/>
                      <a:pt x="677" y="489"/>
                    </a:cubicBezTo>
                    <a:cubicBezTo>
                      <a:pt x="682" y="490"/>
                      <a:pt x="694" y="498"/>
                      <a:pt x="702" y="498"/>
                    </a:cubicBezTo>
                    <a:cubicBezTo>
                      <a:pt x="710" y="498"/>
                      <a:pt x="704" y="488"/>
                      <a:pt x="711" y="483"/>
                    </a:cubicBezTo>
                    <a:cubicBezTo>
                      <a:pt x="718" y="478"/>
                      <a:pt x="727" y="483"/>
                      <a:pt x="727" y="483"/>
                    </a:cubicBezTo>
                    <a:cubicBezTo>
                      <a:pt x="727" y="483"/>
                      <a:pt x="728" y="467"/>
                      <a:pt x="727" y="463"/>
                    </a:cubicBezTo>
                    <a:cubicBezTo>
                      <a:pt x="726" y="459"/>
                      <a:pt x="730" y="446"/>
                      <a:pt x="730" y="446"/>
                    </a:cubicBezTo>
                    <a:cubicBezTo>
                      <a:pt x="730" y="446"/>
                      <a:pt x="747" y="437"/>
                      <a:pt x="752" y="438"/>
                    </a:cubicBezTo>
                    <a:cubicBezTo>
                      <a:pt x="757" y="439"/>
                      <a:pt x="768" y="440"/>
                      <a:pt x="768" y="440"/>
                    </a:cubicBezTo>
                    <a:cubicBezTo>
                      <a:pt x="768" y="440"/>
                      <a:pt x="779" y="433"/>
                      <a:pt x="794" y="434"/>
                    </a:cubicBezTo>
                    <a:cubicBezTo>
                      <a:pt x="809" y="435"/>
                      <a:pt x="802" y="441"/>
                      <a:pt x="802" y="441"/>
                    </a:cubicBezTo>
                    <a:cubicBezTo>
                      <a:pt x="825" y="446"/>
                      <a:pt x="825" y="446"/>
                      <a:pt x="825" y="446"/>
                    </a:cubicBezTo>
                    <a:cubicBezTo>
                      <a:pt x="825" y="446"/>
                      <a:pt x="839" y="447"/>
                      <a:pt x="843" y="464"/>
                    </a:cubicBezTo>
                    <a:cubicBezTo>
                      <a:pt x="847" y="481"/>
                      <a:pt x="834" y="469"/>
                      <a:pt x="834" y="469"/>
                    </a:cubicBezTo>
                    <a:cubicBezTo>
                      <a:pt x="832" y="477"/>
                      <a:pt x="832" y="477"/>
                      <a:pt x="832" y="477"/>
                    </a:cubicBezTo>
                    <a:cubicBezTo>
                      <a:pt x="836" y="479"/>
                      <a:pt x="840" y="480"/>
                      <a:pt x="845" y="480"/>
                    </a:cubicBezTo>
                    <a:cubicBezTo>
                      <a:pt x="854" y="479"/>
                      <a:pt x="855" y="465"/>
                      <a:pt x="855" y="465"/>
                    </a:cubicBezTo>
                    <a:cubicBezTo>
                      <a:pt x="870" y="464"/>
                      <a:pt x="870" y="464"/>
                      <a:pt x="870" y="464"/>
                    </a:cubicBezTo>
                    <a:cubicBezTo>
                      <a:pt x="874" y="456"/>
                      <a:pt x="874" y="456"/>
                      <a:pt x="874" y="456"/>
                    </a:cubicBezTo>
                    <a:cubicBezTo>
                      <a:pt x="874" y="456"/>
                      <a:pt x="873" y="459"/>
                      <a:pt x="891" y="456"/>
                    </a:cubicBezTo>
                    <a:cubicBezTo>
                      <a:pt x="899" y="455"/>
                      <a:pt x="903" y="451"/>
                      <a:pt x="905" y="448"/>
                    </a:cubicBezTo>
                    <a:lnTo>
                      <a:pt x="901" y="448"/>
                    </a:lnTo>
                    <a:close/>
                    <a:moveTo>
                      <a:pt x="372" y="489"/>
                    </a:moveTo>
                    <a:cubicBezTo>
                      <a:pt x="357" y="498"/>
                      <a:pt x="357" y="498"/>
                      <a:pt x="357" y="498"/>
                    </a:cubicBezTo>
                    <a:cubicBezTo>
                      <a:pt x="362" y="511"/>
                      <a:pt x="362" y="511"/>
                      <a:pt x="362" y="511"/>
                    </a:cubicBezTo>
                    <a:cubicBezTo>
                      <a:pt x="380" y="512"/>
                      <a:pt x="380" y="512"/>
                      <a:pt x="380" y="512"/>
                    </a:cubicBezTo>
                    <a:cubicBezTo>
                      <a:pt x="376" y="499"/>
                      <a:pt x="376" y="499"/>
                      <a:pt x="376" y="499"/>
                    </a:cubicBezTo>
                    <a:lnTo>
                      <a:pt x="372" y="489"/>
                    </a:lnTo>
                    <a:close/>
                    <a:moveTo>
                      <a:pt x="346" y="483"/>
                    </a:moveTo>
                    <a:cubicBezTo>
                      <a:pt x="335" y="487"/>
                      <a:pt x="339" y="504"/>
                      <a:pt x="339" y="504"/>
                    </a:cubicBezTo>
                    <a:cubicBezTo>
                      <a:pt x="351" y="516"/>
                      <a:pt x="351" y="516"/>
                      <a:pt x="351" y="516"/>
                    </a:cubicBezTo>
                    <a:cubicBezTo>
                      <a:pt x="351" y="516"/>
                      <a:pt x="357" y="479"/>
                      <a:pt x="346" y="483"/>
                    </a:cubicBezTo>
                    <a:close/>
                    <a:moveTo>
                      <a:pt x="403" y="498"/>
                    </a:moveTo>
                    <a:cubicBezTo>
                      <a:pt x="412" y="493"/>
                      <a:pt x="427" y="490"/>
                      <a:pt x="408" y="486"/>
                    </a:cubicBezTo>
                    <a:cubicBezTo>
                      <a:pt x="389" y="483"/>
                      <a:pt x="380" y="494"/>
                      <a:pt x="380" y="494"/>
                    </a:cubicBezTo>
                    <a:cubicBezTo>
                      <a:pt x="386" y="501"/>
                      <a:pt x="386" y="501"/>
                      <a:pt x="386" y="501"/>
                    </a:cubicBezTo>
                    <a:lnTo>
                      <a:pt x="403" y="49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5" name="MCShape 137">
                <a:extLst>
                  <a:ext uri="{FF2B5EF4-FFF2-40B4-BE49-F238E27FC236}">
                    <a16:creationId xmlns:a16="http://schemas.microsoft.com/office/drawing/2014/main" id="{3A3B8765-A1C9-4960-846A-2E27FF1E4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0072" y="3613006"/>
                <a:ext cx="286147" cy="194889"/>
              </a:xfrm>
              <a:custGeom>
                <a:avLst/>
                <a:gdLst>
                  <a:gd name="T0" fmla="*/ 311 w 487"/>
                  <a:gd name="T1" fmla="*/ 13 h 330"/>
                  <a:gd name="T2" fmla="*/ 247 w 487"/>
                  <a:gd name="T3" fmla="*/ 45 h 330"/>
                  <a:gd name="T4" fmla="*/ 222 w 487"/>
                  <a:gd name="T5" fmla="*/ 82 h 330"/>
                  <a:gd name="T6" fmla="*/ 222 w 487"/>
                  <a:gd name="T7" fmla="*/ 94 h 330"/>
                  <a:gd name="T8" fmla="*/ 210 w 487"/>
                  <a:gd name="T9" fmla="*/ 106 h 330"/>
                  <a:gd name="T10" fmla="*/ 187 w 487"/>
                  <a:gd name="T11" fmla="*/ 89 h 330"/>
                  <a:gd name="T12" fmla="*/ 143 w 487"/>
                  <a:gd name="T13" fmla="*/ 89 h 330"/>
                  <a:gd name="T14" fmla="*/ 116 w 487"/>
                  <a:gd name="T15" fmla="*/ 81 h 330"/>
                  <a:gd name="T16" fmla="*/ 76 w 487"/>
                  <a:gd name="T17" fmla="*/ 82 h 330"/>
                  <a:gd name="T18" fmla="*/ 64 w 487"/>
                  <a:gd name="T19" fmla="*/ 88 h 330"/>
                  <a:gd name="T20" fmla="*/ 46 w 487"/>
                  <a:gd name="T21" fmla="*/ 89 h 330"/>
                  <a:gd name="T22" fmla="*/ 31 w 487"/>
                  <a:gd name="T23" fmla="*/ 80 h 330"/>
                  <a:gd name="T24" fmla="*/ 22 w 487"/>
                  <a:gd name="T25" fmla="*/ 114 h 330"/>
                  <a:gd name="T26" fmla="*/ 21 w 487"/>
                  <a:gd name="T27" fmla="*/ 127 h 330"/>
                  <a:gd name="T28" fmla="*/ 8 w 487"/>
                  <a:gd name="T29" fmla="*/ 141 h 330"/>
                  <a:gd name="T30" fmla="*/ 2 w 487"/>
                  <a:gd name="T31" fmla="*/ 164 h 330"/>
                  <a:gd name="T32" fmla="*/ 24 w 487"/>
                  <a:gd name="T33" fmla="*/ 193 h 330"/>
                  <a:gd name="T34" fmla="*/ 15 w 487"/>
                  <a:gd name="T35" fmla="*/ 270 h 330"/>
                  <a:gd name="T36" fmla="*/ 36 w 487"/>
                  <a:gd name="T37" fmla="*/ 292 h 330"/>
                  <a:gd name="T38" fmla="*/ 60 w 487"/>
                  <a:gd name="T39" fmla="*/ 325 h 330"/>
                  <a:gd name="T40" fmla="*/ 106 w 487"/>
                  <a:gd name="T41" fmla="*/ 321 h 330"/>
                  <a:gd name="T42" fmla="*/ 133 w 487"/>
                  <a:gd name="T43" fmla="*/ 287 h 330"/>
                  <a:gd name="T44" fmla="*/ 182 w 487"/>
                  <a:gd name="T45" fmla="*/ 290 h 330"/>
                  <a:gd name="T46" fmla="*/ 243 w 487"/>
                  <a:gd name="T47" fmla="*/ 282 h 330"/>
                  <a:gd name="T48" fmla="*/ 292 w 487"/>
                  <a:gd name="T49" fmla="*/ 243 h 330"/>
                  <a:gd name="T50" fmla="*/ 334 w 487"/>
                  <a:gd name="T51" fmla="*/ 213 h 330"/>
                  <a:gd name="T52" fmla="*/ 397 w 487"/>
                  <a:gd name="T53" fmla="*/ 181 h 330"/>
                  <a:gd name="T54" fmla="*/ 446 w 487"/>
                  <a:gd name="T55" fmla="*/ 180 h 330"/>
                  <a:gd name="T56" fmla="*/ 479 w 487"/>
                  <a:gd name="T57" fmla="*/ 125 h 330"/>
                  <a:gd name="T58" fmla="*/ 487 w 487"/>
                  <a:gd name="T59" fmla="*/ 120 h 330"/>
                  <a:gd name="T60" fmla="*/ 433 w 487"/>
                  <a:gd name="T61" fmla="*/ 0 h 330"/>
                  <a:gd name="T62" fmla="*/ 311 w 487"/>
                  <a:gd name="T63" fmla="*/ 13 h 3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87"/>
                  <a:gd name="T97" fmla="*/ 0 h 330"/>
                  <a:gd name="T98" fmla="*/ 487 w 487"/>
                  <a:gd name="T99" fmla="*/ 330 h 33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87" h="330">
                    <a:moveTo>
                      <a:pt x="311" y="13"/>
                    </a:moveTo>
                    <a:cubicBezTo>
                      <a:pt x="299" y="13"/>
                      <a:pt x="257" y="32"/>
                      <a:pt x="247" y="45"/>
                    </a:cubicBezTo>
                    <a:cubicBezTo>
                      <a:pt x="237" y="58"/>
                      <a:pt x="222" y="82"/>
                      <a:pt x="222" y="82"/>
                    </a:cubicBezTo>
                    <a:cubicBezTo>
                      <a:pt x="222" y="94"/>
                      <a:pt x="222" y="94"/>
                      <a:pt x="222" y="94"/>
                    </a:cubicBezTo>
                    <a:cubicBezTo>
                      <a:pt x="222" y="94"/>
                      <a:pt x="215" y="106"/>
                      <a:pt x="210" y="106"/>
                    </a:cubicBezTo>
                    <a:cubicBezTo>
                      <a:pt x="205" y="106"/>
                      <a:pt x="191" y="91"/>
                      <a:pt x="187" y="89"/>
                    </a:cubicBezTo>
                    <a:cubicBezTo>
                      <a:pt x="183" y="87"/>
                      <a:pt x="143" y="89"/>
                      <a:pt x="143" y="89"/>
                    </a:cubicBezTo>
                    <a:cubicBezTo>
                      <a:pt x="143" y="89"/>
                      <a:pt x="132" y="81"/>
                      <a:pt x="116" y="81"/>
                    </a:cubicBezTo>
                    <a:cubicBezTo>
                      <a:pt x="100" y="81"/>
                      <a:pt x="81" y="82"/>
                      <a:pt x="76" y="82"/>
                    </a:cubicBezTo>
                    <a:cubicBezTo>
                      <a:pt x="71" y="82"/>
                      <a:pt x="64" y="88"/>
                      <a:pt x="64" y="88"/>
                    </a:cubicBezTo>
                    <a:cubicBezTo>
                      <a:pt x="46" y="89"/>
                      <a:pt x="46" y="89"/>
                      <a:pt x="46" y="89"/>
                    </a:cubicBezTo>
                    <a:cubicBezTo>
                      <a:pt x="46" y="89"/>
                      <a:pt x="41" y="75"/>
                      <a:pt x="31" y="80"/>
                    </a:cubicBezTo>
                    <a:cubicBezTo>
                      <a:pt x="21" y="85"/>
                      <a:pt x="22" y="114"/>
                      <a:pt x="22" y="114"/>
                    </a:cubicBezTo>
                    <a:cubicBezTo>
                      <a:pt x="22" y="114"/>
                      <a:pt x="28" y="116"/>
                      <a:pt x="21" y="127"/>
                    </a:cubicBezTo>
                    <a:cubicBezTo>
                      <a:pt x="17" y="134"/>
                      <a:pt x="12" y="138"/>
                      <a:pt x="8" y="141"/>
                    </a:cubicBezTo>
                    <a:cubicBezTo>
                      <a:pt x="6" y="150"/>
                      <a:pt x="3" y="159"/>
                      <a:pt x="2" y="164"/>
                    </a:cubicBezTo>
                    <a:cubicBezTo>
                      <a:pt x="0" y="174"/>
                      <a:pt x="24" y="193"/>
                      <a:pt x="24" y="193"/>
                    </a:cubicBezTo>
                    <a:cubicBezTo>
                      <a:pt x="15" y="270"/>
                      <a:pt x="15" y="270"/>
                      <a:pt x="15" y="270"/>
                    </a:cubicBezTo>
                    <a:cubicBezTo>
                      <a:pt x="36" y="292"/>
                      <a:pt x="36" y="292"/>
                      <a:pt x="36" y="292"/>
                    </a:cubicBezTo>
                    <a:cubicBezTo>
                      <a:pt x="36" y="292"/>
                      <a:pt x="41" y="321"/>
                      <a:pt x="60" y="325"/>
                    </a:cubicBezTo>
                    <a:cubicBezTo>
                      <a:pt x="79" y="330"/>
                      <a:pt x="94" y="329"/>
                      <a:pt x="106" y="321"/>
                    </a:cubicBezTo>
                    <a:cubicBezTo>
                      <a:pt x="118" y="313"/>
                      <a:pt x="122" y="287"/>
                      <a:pt x="133" y="287"/>
                    </a:cubicBezTo>
                    <a:cubicBezTo>
                      <a:pt x="145" y="286"/>
                      <a:pt x="160" y="293"/>
                      <a:pt x="182" y="290"/>
                    </a:cubicBezTo>
                    <a:cubicBezTo>
                      <a:pt x="204" y="287"/>
                      <a:pt x="230" y="282"/>
                      <a:pt x="243" y="282"/>
                    </a:cubicBezTo>
                    <a:cubicBezTo>
                      <a:pt x="256" y="283"/>
                      <a:pt x="277" y="249"/>
                      <a:pt x="292" y="243"/>
                    </a:cubicBezTo>
                    <a:cubicBezTo>
                      <a:pt x="308" y="238"/>
                      <a:pt x="316" y="218"/>
                      <a:pt x="334" y="213"/>
                    </a:cubicBezTo>
                    <a:cubicBezTo>
                      <a:pt x="352" y="207"/>
                      <a:pt x="397" y="181"/>
                      <a:pt x="397" y="181"/>
                    </a:cubicBezTo>
                    <a:cubicBezTo>
                      <a:pt x="446" y="180"/>
                      <a:pt x="446" y="180"/>
                      <a:pt x="446" y="180"/>
                    </a:cubicBezTo>
                    <a:cubicBezTo>
                      <a:pt x="446" y="180"/>
                      <a:pt x="466" y="135"/>
                      <a:pt x="479" y="125"/>
                    </a:cubicBezTo>
                    <a:cubicBezTo>
                      <a:pt x="480" y="123"/>
                      <a:pt x="483" y="122"/>
                      <a:pt x="487" y="120"/>
                    </a:cubicBezTo>
                    <a:cubicBezTo>
                      <a:pt x="433" y="0"/>
                      <a:pt x="433" y="0"/>
                      <a:pt x="433" y="0"/>
                    </a:cubicBezTo>
                    <a:cubicBezTo>
                      <a:pt x="433" y="0"/>
                      <a:pt x="323" y="13"/>
                      <a:pt x="311" y="13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6" name="MCShape 138">
                <a:extLst>
                  <a:ext uri="{FF2B5EF4-FFF2-40B4-BE49-F238E27FC236}">
                    <a16:creationId xmlns:a16="http://schemas.microsoft.com/office/drawing/2014/main" id="{65C1EB37-7FD3-4EBE-94D9-3EF192056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577" y="4140443"/>
                <a:ext cx="60322" cy="43309"/>
              </a:xfrm>
              <a:custGeom>
                <a:avLst/>
                <a:gdLst>
                  <a:gd name="T0" fmla="*/ 97 w 103"/>
                  <a:gd name="T1" fmla="*/ 29 h 71"/>
                  <a:gd name="T2" fmla="*/ 100 w 103"/>
                  <a:gd name="T3" fmla="*/ 6 h 71"/>
                  <a:gd name="T4" fmla="*/ 36 w 103"/>
                  <a:gd name="T5" fmla="*/ 6 h 71"/>
                  <a:gd name="T6" fmla="*/ 30 w 103"/>
                  <a:gd name="T7" fmla="*/ 0 h 71"/>
                  <a:gd name="T8" fmla="*/ 24 w 103"/>
                  <a:gd name="T9" fmla="*/ 3 h 71"/>
                  <a:gd name="T10" fmla="*/ 23 w 103"/>
                  <a:gd name="T11" fmla="*/ 29 h 71"/>
                  <a:gd name="T12" fmla="*/ 4 w 103"/>
                  <a:gd name="T13" fmla="*/ 57 h 71"/>
                  <a:gd name="T14" fmla="*/ 21 w 103"/>
                  <a:gd name="T15" fmla="*/ 67 h 71"/>
                  <a:gd name="T16" fmla="*/ 29 w 103"/>
                  <a:gd name="T17" fmla="*/ 65 h 71"/>
                  <a:gd name="T18" fmla="*/ 31 w 103"/>
                  <a:gd name="T19" fmla="*/ 71 h 71"/>
                  <a:gd name="T20" fmla="*/ 98 w 103"/>
                  <a:gd name="T21" fmla="*/ 69 h 71"/>
                  <a:gd name="T22" fmla="*/ 103 w 103"/>
                  <a:gd name="T23" fmla="*/ 33 h 71"/>
                  <a:gd name="T24" fmla="*/ 97 w 103"/>
                  <a:gd name="T25" fmla="*/ 29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3"/>
                  <a:gd name="T40" fmla="*/ 0 h 71"/>
                  <a:gd name="T41" fmla="*/ 103 w 103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3" h="71">
                    <a:moveTo>
                      <a:pt x="97" y="29"/>
                    </a:moveTo>
                    <a:cubicBezTo>
                      <a:pt x="100" y="6"/>
                      <a:pt x="100" y="6"/>
                      <a:pt x="100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8" y="21"/>
                      <a:pt x="23" y="29"/>
                    </a:cubicBezTo>
                    <a:cubicBezTo>
                      <a:pt x="18" y="37"/>
                      <a:pt x="0" y="50"/>
                      <a:pt x="4" y="57"/>
                    </a:cubicBezTo>
                    <a:cubicBezTo>
                      <a:pt x="7" y="63"/>
                      <a:pt x="17" y="66"/>
                      <a:pt x="21" y="67"/>
                    </a:cubicBezTo>
                    <a:cubicBezTo>
                      <a:pt x="29" y="65"/>
                      <a:pt x="29" y="65"/>
                      <a:pt x="29" y="65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71"/>
                      <a:pt x="93" y="70"/>
                      <a:pt x="98" y="69"/>
                    </a:cubicBezTo>
                    <a:cubicBezTo>
                      <a:pt x="103" y="68"/>
                      <a:pt x="103" y="33"/>
                      <a:pt x="103" y="33"/>
                    </a:cubicBezTo>
                    <a:lnTo>
                      <a:pt x="97" y="2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7" name="MCShape 139">
                <a:extLst>
                  <a:ext uri="{FF2B5EF4-FFF2-40B4-BE49-F238E27FC236}">
                    <a16:creationId xmlns:a16="http://schemas.microsoft.com/office/drawing/2014/main" id="{7FDB465C-943F-45FD-A416-99FA6DF6D8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6461" y="2827263"/>
                <a:ext cx="348016" cy="242837"/>
              </a:xfrm>
              <a:custGeom>
                <a:avLst/>
                <a:gdLst>
                  <a:gd name="T0" fmla="*/ 527 w 591"/>
                  <a:gd name="T1" fmla="*/ 205 h 413"/>
                  <a:gd name="T2" fmla="*/ 511 w 591"/>
                  <a:gd name="T3" fmla="*/ 226 h 413"/>
                  <a:gd name="T4" fmla="*/ 531 w 591"/>
                  <a:gd name="T5" fmla="*/ 237 h 413"/>
                  <a:gd name="T6" fmla="*/ 536 w 591"/>
                  <a:gd name="T7" fmla="*/ 212 h 413"/>
                  <a:gd name="T8" fmla="*/ 461 w 591"/>
                  <a:gd name="T9" fmla="*/ 249 h 413"/>
                  <a:gd name="T10" fmla="*/ 560 w 591"/>
                  <a:gd name="T11" fmla="*/ 198 h 413"/>
                  <a:gd name="T12" fmla="*/ 560 w 591"/>
                  <a:gd name="T13" fmla="*/ 198 h 413"/>
                  <a:gd name="T14" fmla="*/ 534 w 591"/>
                  <a:gd name="T15" fmla="*/ 86 h 413"/>
                  <a:gd name="T16" fmla="*/ 527 w 591"/>
                  <a:gd name="T17" fmla="*/ 67 h 413"/>
                  <a:gd name="T18" fmla="*/ 514 w 591"/>
                  <a:gd name="T19" fmla="*/ 77 h 413"/>
                  <a:gd name="T20" fmla="*/ 496 w 591"/>
                  <a:gd name="T21" fmla="*/ 70 h 413"/>
                  <a:gd name="T22" fmla="*/ 479 w 591"/>
                  <a:gd name="T23" fmla="*/ 68 h 413"/>
                  <a:gd name="T24" fmla="*/ 459 w 591"/>
                  <a:gd name="T25" fmla="*/ 56 h 413"/>
                  <a:gd name="T26" fmla="*/ 437 w 591"/>
                  <a:gd name="T27" fmla="*/ 48 h 413"/>
                  <a:gd name="T28" fmla="*/ 417 w 591"/>
                  <a:gd name="T29" fmla="*/ 63 h 413"/>
                  <a:gd name="T30" fmla="*/ 395 w 591"/>
                  <a:gd name="T31" fmla="*/ 54 h 413"/>
                  <a:gd name="T32" fmla="*/ 376 w 591"/>
                  <a:gd name="T33" fmla="*/ 51 h 413"/>
                  <a:gd name="T34" fmla="*/ 342 w 591"/>
                  <a:gd name="T35" fmla="*/ 38 h 413"/>
                  <a:gd name="T36" fmla="*/ 327 w 591"/>
                  <a:gd name="T37" fmla="*/ 29 h 413"/>
                  <a:gd name="T38" fmla="*/ 320 w 591"/>
                  <a:gd name="T39" fmla="*/ 23 h 413"/>
                  <a:gd name="T40" fmla="*/ 234 w 591"/>
                  <a:gd name="T41" fmla="*/ 22 h 413"/>
                  <a:gd name="T42" fmla="*/ 156 w 591"/>
                  <a:gd name="T43" fmla="*/ 7 h 413"/>
                  <a:gd name="T44" fmla="*/ 91 w 591"/>
                  <a:gd name="T45" fmla="*/ 8 h 413"/>
                  <a:gd name="T46" fmla="*/ 49 w 591"/>
                  <a:gd name="T47" fmla="*/ 18 h 413"/>
                  <a:gd name="T48" fmla="*/ 21 w 591"/>
                  <a:gd name="T49" fmla="*/ 67 h 413"/>
                  <a:gd name="T50" fmla="*/ 15 w 591"/>
                  <a:gd name="T51" fmla="*/ 101 h 413"/>
                  <a:gd name="T52" fmla="*/ 50 w 591"/>
                  <a:gd name="T53" fmla="*/ 94 h 413"/>
                  <a:gd name="T54" fmla="*/ 61 w 591"/>
                  <a:gd name="T55" fmla="*/ 99 h 413"/>
                  <a:gd name="T56" fmla="*/ 85 w 591"/>
                  <a:gd name="T57" fmla="*/ 96 h 413"/>
                  <a:gd name="T58" fmla="*/ 115 w 591"/>
                  <a:gd name="T59" fmla="*/ 108 h 413"/>
                  <a:gd name="T60" fmla="*/ 94 w 591"/>
                  <a:gd name="T61" fmla="*/ 144 h 413"/>
                  <a:gd name="T62" fmla="*/ 96 w 591"/>
                  <a:gd name="T63" fmla="*/ 181 h 413"/>
                  <a:gd name="T64" fmla="*/ 94 w 591"/>
                  <a:gd name="T65" fmla="*/ 205 h 413"/>
                  <a:gd name="T66" fmla="*/ 61 w 591"/>
                  <a:gd name="T67" fmla="*/ 217 h 413"/>
                  <a:gd name="T68" fmla="*/ 77 w 591"/>
                  <a:gd name="T69" fmla="*/ 240 h 413"/>
                  <a:gd name="T70" fmla="*/ 66 w 591"/>
                  <a:gd name="T71" fmla="*/ 276 h 413"/>
                  <a:gd name="T72" fmla="*/ 84 w 591"/>
                  <a:gd name="T73" fmla="*/ 301 h 413"/>
                  <a:gd name="T74" fmla="*/ 60 w 591"/>
                  <a:gd name="T75" fmla="*/ 325 h 413"/>
                  <a:gd name="T76" fmla="*/ 61 w 591"/>
                  <a:gd name="T77" fmla="*/ 351 h 413"/>
                  <a:gd name="T78" fmla="*/ 81 w 591"/>
                  <a:gd name="T79" fmla="*/ 350 h 413"/>
                  <a:gd name="T80" fmla="*/ 109 w 591"/>
                  <a:gd name="T81" fmla="*/ 365 h 413"/>
                  <a:gd name="T82" fmla="*/ 110 w 591"/>
                  <a:gd name="T83" fmla="*/ 383 h 413"/>
                  <a:gd name="T84" fmla="*/ 136 w 591"/>
                  <a:gd name="T85" fmla="*/ 413 h 413"/>
                  <a:gd name="T86" fmla="*/ 177 w 591"/>
                  <a:gd name="T87" fmla="*/ 389 h 413"/>
                  <a:gd name="T88" fmla="*/ 235 w 591"/>
                  <a:gd name="T89" fmla="*/ 377 h 413"/>
                  <a:gd name="T90" fmla="*/ 265 w 591"/>
                  <a:gd name="T91" fmla="*/ 378 h 413"/>
                  <a:gd name="T92" fmla="*/ 297 w 591"/>
                  <a:gd name="T93" fmla="*/ 374 h 413"/>
                  <a:gd name="T94" fmla="*/ 331 w 591"/>
                  <a:gd name="T95" fmla="*/ 329 h 413"/>
                  <a:gd name="T96" fmla="*/ 356 w 591"/>
                  <a:gd name="T97" fmla="*/ 315 h 413"/>
                  <a:gd name="T98" fmla="*/ 401 w 591"/>
                  <a:gd name="T99" fmla="*/ 270 h 413"/>
                  <a:gd name="T100" fmla="*/ 385 w 591"/>
                  <a:gd name="T101" fmla="*/ 215 h 413"/>
                  <a:gd name="T102" fmla="*/ 424 w 591"/>
                  <a:gd name="T103" fmla="*/ 172 h 413"/>
                  <a:gd name="T104" fmla="*/ 438 w 591"/>
                  <a:gd name="T105" fmla="*/ 146 h 413"/>
                  <a:gd name="T106" fmla="*/ 514 w 591"/>
                  <a:gd name="T107" fmla="*/ 113 h 41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91"/>
                  <a:gd name="T163" fmla="*/ 0 h 413"/>
                  <a:gd name="T164" fmla="*/ 591 w 591"/>
                  <a:gd name="T165" fmla="*/ 413 h 41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91" h="413">
                    <a:moveTo>
                      <a:pt x="536" y="212"/>
                    </a:moveTo>
                    <a:cubicBezTo>
                      <a:pt x="536" y="212"/>
                      <a:pt x="533" y="205"/>
                      <a:pt x="527" y="205"/>
                    </a:cubicBezTo>
                    <a:cubicBezTo>
                      <a:pt x="521" y="205"/>
                      <a:pt x="498" y="218"/>
                      <a:pt x="501" y="223"/>
                    </a:cubicBezTo>
                    <a:cubicBezTo>
                      <a:pt x="504" y="228"/>
                      <a:pt x="511" y="226"/>
                      <a:pt x="511" y="226"/>
                    </a:cubicBezTo>
                    <a:cubicBezTo>
                      <a:pt x="511" y="226"/>
                      <a:pt x="515" y="235"/>
                      <a:pt x="519" y="236"/>
                    </a:cubicBezTo>
                    <a:cubicBezTo>
                      <a:pt x="523" y="237"/>
                      <a:pt x="531" y="237"/>
                      <a:pt x="531" y="237"/>
                    </a:cubicBezTo>
                    <a:cubicBezTo>
                      <a:pt x="537" y="235"/>
                      <a:pt x="547" y="225"/>
                      <a:pt x="546" y="218"/>
                    </a:cubicBezTo>
                    <a:cubicBezTo>
                      <a:pt x="545" y="211"/>
                      <a:pt x="536" y="212"/>
                      <a:pt x="536" y="212"/>
                    </a:cubicBezTo>
                    <a:close/>
                    <a:moveTo>
                      <a:pt x="447" y="261"/>
                    </a:moveTo>
                    <a:cubicBezTo>
                      <a:pt x="456" y="270"/>
                      <a:pt x="466" y="259"/>
                      <a:pt x="461" y="249"/>
                    </a:cubicBezTo>
                    <a:cubicBezTo>
                      <a:pt x="456" y="239"/>
                      <a:pt x="447" y="261"/>
                      <a:pt x="447" y="261"/>
                    </a:cubicBezTo>
                    <a:close/>
                    <a:moveTo>
                      <a:pt x="560" y="198"/>
                    </a:moveTo>
                    <a:cubicBezTo>
                      <a:pt x="560" y="198"/>
                      <a:pt x="573" y="218"/>
                      <a:pt x="582" y="213"/>
                    </a:cubicBezTo>
                    <a:cubicBezTo>
                      <a:pt x="591" y="208"/>
                      <a:pt x="570" y="191"/>
                      <a:pt x="560" y="198"/>
                    </a:cubicBezTo>
                    <a:close/>
                    <a:moveTo>
                      <a:pt x="535" y="101"/>
                    </a:moveTo>
                    <a:cubicBezTo>
                      <a:pt x="536" y="98"/>
                      <a:pt x="534" y="86"/>
                      <a:pt x="534" y="86"/>
                    </a:cubicBezTo>
                    <a:cubicBezTo>
                      <a:pt x="542" y="81"/>
                      <a:pt x="542" y="81"/>
                      <a:pt x="542" y="81"/>
                    </a:cubicBezTo>
                    <a:cubicBezTo>
                      <a:pt x="542" y="81"/>
                      <a:pt x="530" y="75"/>
                      <a:pt x="527" y="67"/>
                    </a:cubicBezTo>
                    <a:cubicBezTo>
                      <a:pt x="521" y="67"/>
                      <a:pt x="521" y="67"/>
                      <a:pt x="521" y="67"/>
                    </a:cubicBezTo>
                    <a:cubicBezTo>
                      <a:pt x="521" y="67"/>
                      <a:pt x="521" y="77"/>
                      <a:pt x="514" y="77"/>
                    </a:cubicBezTo>
                    <a:cubicBezTo>
                      <a:pt x="507" y="77"/>
                      <a:pt x="506" y="77"/>
                      <a:pt x="506" y="77"/>
                    </a:cubicBezTo>
                    <a:cubicBezTo>
                      <a:pt x="506" y="77"/>
                      <a:pt x="499" y="69"/>
                      <a:pt x="496" y="70"/>
                    </a:cubicBezTo>
                    <a:cubicBezTo>
                      <a:pt x="493" y="71"/>
                      <a:pt x="486" y="73"/>
                      <a:pt x="486" y="73"/>
                    </a:cubicBezTo>
                    <a:cubicBezTo>
                      <a:pt x="486" y="73"/>
                      <a:pt x="483" y="67"/>
                      <a:pt x="479" y="68"/>
                    </a:cubicBezTo>
                    <a:cubicBezTo>
                      <a:pt x="475" y="69"/>
                      <a:pt x="466" y="71"/>
                      <a:pt x="466" y="71"/>
                    </a:cubicBezTo>
                    <a:cubicBezTo>
                      <a:pt x="459" y="56"/>
                      <a:pt x="459" y="56"/>
                      <a:pt x="459" y="56"/>
                    </a:cubicBezTo>
                    <a:cubicBezTo>
                      <a:pt x="450" y="55"/>
                      <a:pt x="450" y="55"/>
                      <a:pt x="450" y="55"/>
                    </a:cubicBezTo>
                    <a:cubicBezTo>
                      <a:pt x="450" y="55"/>
                      <a:pt x="450" y="48"/>
                      <a:pt x="437" y="48"/>
                    </a:cubicBezTo>
                    <a:cubicBezTo>
                      <a:pt x="424" y="48"/>
                      <a:pt x="430" y="60"/>
                      <a:pt x="430" y="60"/>
                    </a:cubicBezTo>
                    <a:cubicBezTo>
                      <a:pt x="417" y="63"/>
                      <a:pt x="417" y="63"/>
                      <a:pt x="417" y="63"/>
                    </a:cubicBezTo>
                    <a:cubicBezTo>
                      <a:pt x="415" y="55"/>
                      <a:pt x="415" y="55"/>
                      <a:pt x="415" y="55"/>
                    </a:cubicBezTo>
                    <a:cubicBezTo>
                      <a:pt x="395" y="54"/>
                      <a:pt x="395" y="54"/>
                      <a:pt x="395" y="54"/>
                    </a:cubicBezTo>
                    <a:cubicBezTo>
                      <a:pt x="395" y="54"/>
                      <a:pt x="394" y="51"/>
                      <a:pt x="390" y="49"/>
                    </a:cubicBezTo>
                    <a:cubicBezTo>
                      <a:pt x="386" y="47"/>
                      <a:pt x="376" y="51"/>
                      <a:pt x="376" y="51"/>
                    </a:cubicBezTo>
                    <a:cubicBezTo>
                      <a:pt x="376" y="51"/>
                      <a:pt x="370" y="42"/>
                      <a:pt x="363" y="41"/>
                    </a:cubicBezTo>
                    <a:cubicBezTo>
                      <a:pt x="356" y="40"/>
                      <a:pt x="342" y="38"/>
                      <a:pt x="342" y="38"/>
                    </a:cubicBezTo>
                    <a:cubicBezTo>
                      <a:pt x="342" y="38"/>
                      <a:pt x="348" y="35"/>
                      <a:pt x="342" y="28"/>
                    </a:cubicBezTo>
                    <a:cubicBezTo>
                      <a:pt x="336" y="21"/>
                      <a:pt x="327" y="29"/>
                      <a:pt x="327" y="29"/>
                    </a:cubicBezTo>
                    <a:cubicBezTo>
                      <a:pt x="326" y="23"/>
                      <a:pt x="326" y="23"/>
                      <a:pt x="326" y="23"/>
                    </a:cubicBezTo>
                    <a:cubicBezTo>
                      <a:pt x="324" y="23"/>
                      <a:pt x="322" y="23"/>
                      <a:pt x="320" y="23"/>
                    </a:cubicBezTo>
                    <a:cubicBezTo>
                      <a:pt x="301" y="23"/>
                      <a:pt x="254" y="14"/>
                      <a:pt x="254" y="14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6" y="18"/>
                      <a:pt x="171" y="4"/>
                      <a:pt x="156" y="7"/>
                    </a:cubicBezTo>
                    <a:cubicBezTo>
                      <a:pt x="141" y="10"/>
                      <a:pt x="120" y="11"/>
                      <a:pt x="115" y="11"/>
                    </a:cubicBezTo>
                    <a:cubicBezTo>
                      <a:pt x="110" y="11"/>
                      <a:pt x="91" y="8"/>
                      <a:pt x="91" y="8"/>
                    </a:cubicBezTo>
                    <a:cubicBezTo>
                      <a:pt x="91" y="8"/>
                      <a:pt x="81" y="0"/>
                      <a:pt x="75" y="0"/>
                    </a:cubicBezTo>
                    <a:cubicBezTo>
                      <a:pt x="69" y="0"/>
                      <a:pt x="49" y="18"/>
                      <a:pt x="49" y="18"/>
                    </a:cubicBezTo>
                    <a:cubicBezTo>
                      <a:pt x="49" y="18"/>
                      <a:pt x="4" y="25"/>
                      <a:pt x="2" y="38"/>
                    </a:cubicBezTo>
                    <a:cubicBezTo>
                      <a:pt x="0" y="51"/>
                      <a:pt x="21" y="67"/>
                      <a:pt x="21" y="67"/>
                    </a:cubicBezTo>
                    <a:cubicBezTo>
                      <a:pt x="13" y="90"/>
                      <a:pt x="13" y="90"/>
                      <a:pt x="13" y="90"/>
                    </a:cubicBezTo>
                    <a:cubicBezTo>
                      <a:pt x="13" y="90"/>
                      <a:pt x="14" y="94"/>
                      <a:pt x="15" y="101"/>
                    </a:cubicBezTo>
                    <a:cubicBezTo>
                      <a:pt x="20" y="95"/>
                      <a:pt x="27" y="88"/>
                      <a:pt x="36" y="88"/>
                    </a:cubicBezTo>
                    <a:cubicBezTo>
                      <a:pt x="50" y="88"/>
                      <a:pt x="55" y="89"/>
                      <a:pt x="50" y="94"/>
                    </a:cubicBezTo>
                    <a:cubicBezTo>
                      <a:pt x="45" y="99"/>
                      <a:pt x="38" y="103"/>
                      <a:pt x="44" y="103"/>
                    </a:cubicBezTo>
                    <a:cubicBezTo>
                      <a:pt x="50" y="103"/>
                      <a:pt x="54" y="99"/>
                      <a:pt x="61" y="99"/>
                    </a:cubicBezTo>
                    <a:cubicBezTo>
                      <a:pt x="68" y="99"/>
                      <a:pt x="70" y="108"/>
                      <a:pt x="78" y="104"/>
                    </a:cubicBezTo>
                    <a:cubicBezTo>
                      <a:pt x="86" y="100"/>
                      <a:pt x="76" y="96"/>
                      <a:pt x="85" y="96"/>
                    </a:cubicBezTo>
                    <a:cubicBezTo>
                      <a:pt x="94" y="96"/>
                      <a:pt x="110" y="93"/>
                      <a:pt x="114" y="95"/>
                    </a:cubicBezTo>
                    <a:cubicBezTo>
                      <a:pt x="118" y="97"/>
                      <a:pt x="115" y="108"/>
                      <a:pt x="115" y="108"/>
                    </a:cubicBezTo>
                    <a:cubicBezTo>
                      <a:pt x="115" y="108"/>
                      <a:pt x="129" y="109"/>
                      <a:pt x="128" y="117"/>
                    </a:cubicBezTo>
                    <a:cubicBezTo>
                      <a:pt x="127" y="125"/>
                      <a:pt x="95" y="140"/>
                      <a:pt x="94" y="144"/>
                    </a:cubicBezTo>
                    <a:cubicBezTo>
                      <a:pt x="93" y="148"/>
                      <a:pt x="102" y="153"/>
                      <a:pt x="102" y="153"/>
                    </a:cubicBezTo>
                    <a:cubicBezTo>
                      <a:pt x="102" y="153"/>
                      <a:pt x="97" y="178"/>
                      <a:pt x="96" y="181"/>
                    </a:cubicBezTo>
                    <a:cubicBezTo>
                      <a:pt x="95" y="184"/>
                      <a:pt x="90" y="188"/>
                      <a:pt x="90" y="188"/>
                    </a:cubicBezTo>
                    <a:cubicBezTo>
                      <a:pt x="90" y="188"/>
                      <a:pt x="94" y="202"/>
                      <a:pt x="94" y="205"/>
                    </a:cubicBezTo>
                    <a:cubicBezTo>
                      <a:pt x="94" y="208"/>
                      <a:pt x="86" y="215"/>
                      <a:pt x="82" y="216"/>
                    </a:cubicBezTo>
                    <a:cubicBezTo>
                      <a:pt x="78" y="217"/>
                      <a:pt x="61" y="217"/>
                      <a:pt x="61" y="217"/>
                    </a:cubicBezTo>
                    <a:cubicBezTo>
                      <a:pt x="77" y="231"/>
                      <a:pt x="77" y="231"/>
                      <a:pt x="77" y="231"/>
                    </a:cubicBezTo>
                    <a:cubicBezTo>
                      <a:pt x="77" y="240"/>
                      <a:pt x="77" y="240"/>
                      <a:pt x="77" y="240"/>
                    </a:cubicBezTo>
                    <a:cubicBezTo>
                      <a:pt x="77" y="240"/>
                      <a:pt x="90" y="242"/>
                      <a:pt x="88" y="250"/>
                    </a:cubicBezTo>
                    <a:cubicBezTo>
                      <a:pt x="86" y="258"/>
                      <a:pt x="62" y="272"/>
                      <a:pt x="66" y="276"/>
                    </a:cubicBezTo>
                    <a:cubicBezTo>
                      <a:pt x="70" y="280"/>
                      <a:pt x="75" y="294"/>
                      <a:pt x="75" y="294"/>
                    </a:cubicBezTo>
                    <a:cubicBezTo>
                      <a:pt x="75" y="294"/>
                      <a:pt x="88" y="295"/>
                      <a:pt x="84" y="301"/>
                    </a:cubicBezTo>
                    <a:cubicBezTo>
                      <a:pt x="80" y="307"/>
                      <a:pt x="70" y="308"/>
                      <a:pt x="70" y="308"/>
                    </a:cubicBezTo>
                    <a:cubicBezTo>
                      <a:pt x="70" y="308"/>
                      <a:pt x="62" y="318"/>
                      <a:pt x="60" y="325"/>
                    </a:cubicBezTo>
                    <a:cubicBezTo>
                      <a:pt x="58" y="332"/>
                      <a:pt x="59" y="340"/>
                      <a:pt x="59" y="340"/>
                    </a:cubicBezTo>
                    <a:cubicBezTo>
                      <a:pt x="61" y="351"/>
                      <a:pt x="61" y="351"/>
                      <a:pt x="61" y="351"/>
                    </a:cubicBezTo>
                    <a:cubicBezTo>
                      <a:pt x="62" y="351"/>
                      <a:pt x="62" y="351"/>
                      <a:pt x="62" y="351"/>
                    </a:cubicBezTo>
                    <a:cubicBezTo>
                      <a:pt x="81" y="350"/>
                      <a:pt x="81" y="350"/>
                      <a:pt x="81" y="350"/>
                    </a:cubicBezTo>
                    <a:cubicBezTo>
                      <a:pt x="97" y="365"/>
                      <a:pt x="97" y="365"/>
                      <a:pt x="97" y="365"/>
                    </a:cubicBezTo>
                    <a:cubicBezTo>
                      <a:pt x="109" y="365"/>
                      <a:pt x="109" y="365"/>
                      <a:pt x="109" y="365"/>
                    </a:cubicBezTo>
                    <a:cubicBezTo>
                      <a:pt x="103" y="382"/>
                      <a:pt x="103" y="382"/>
                      <a:pt x="103" y="382"/>
                    </a:cubicBezTo>
                    <a:cubicBezTo>
                      <a:pt x="110" y="383"/>
                      <a:pt x="110" y="383"/>
                      <a:pt x="110" y="383"/>
                    </a:cubicBezTo>
                    <a:cubicBezTo>
                      <a:pt x="110" y="383"/>
                      <a:pt x="110" y="403"/>
                      <a:pt x="117" y="406"/>
                    </a:cubicBezTo>
                    <a:cubicBezTo>
                      <a:pt x="124" y="409"/>
                      <a:pt x="136" y="413"/>
                      <a:pt x="136" y="413"/>
                    </a:cubicBezTo>
                    <a:cubicBezTo>
                      <a:pt x="136" y="413"/>
                      <a:pt x="153" y="401"/>
                      <a:pt x="156" y="395"/>
                    </a:cubicBezTo>
                    <a:cubicBezTo>
                      <a:pt x="159" y="389"/>
                      <a:pt x="177" y="389"/>
                      <a:pt x="177" y="389"/>
                    </a:cubicBezTo>
                    <a:cubicBezTo>
                      <a:pt x="196" y="377"/>
                      <a:pt x="196" y="377"/>
                      <a:pt x="196" y="377"/>
                    </a:cubicBezTo>
                    <a:cubicBezTo>
                      <a:pt x="196" y="377"/>
                      <a:pt x="229" y="379"/>
                      <a:pt x="235" y="377"/>
                    </a:cubicBezTo>
                    <a:cubicBezTo>
                      <a:pt x="241" y="375"/>
                      <a:pt x="251" y="371"/>
                      <a:pt x="251" y="371"/>
                    </a:cubicBezTo>
                    <a:cubicBezTo>
                      <a:pt x="251" y="371"/>
                      <a:pt x="259" y="379"/>
                      <a:pt x="265" y="378"/>
                    </a:cubicBezTo>
                    <a:cubicBezTo>
                      <a:pt x="271" y="377"/>
                      <a:pt x="287" y="370"/>
                      <a:pt x="287" y="370"/>
                    </a:cubicBezTo>
                    <a:cubicBezTo>
                      <a:pt x="287" y="370"/>
                      <a:pt x="286" y="382"/>
                      <a:pt x="297" y="374"/>
                    </a:cubicBezTo>
                    <a:cubicBezTo>
                      <a:pt x="308" y="366"/>
                      <a:pt x="310" y="347"/>
                      <a:pt x="310" y="347"/>
                    </a:cubicBezTo>
                    <a:cubicBezTo>
                      <a:pt x="331" y="329"/>
                      <a:pt x="331" y="329"/>
                      <a:pt x="331" y="329"/>
                    </a:cubicBezTo>
                    <a:cubicBezTo>
                      <a:pt x="354" y="328"/>
                      <a:pt x="354" y="328"/>
                      <a:pt x="354" y="328"/>
                    </a:cubicBezTo>
                    <a:cubicBezTo>
                      <a:pt x="356" y="315"/>
                      <a:pt x="356" y="315"/>
                      <a:pt x="356" y="315"/>
                    </a:cubicBezTo>
                    <a:cubicBezTo>
                      <a:pt x="356" y="315"/>
                      <a:pt x="367" y="286"/>
                      <a:pt x="370" y="284"/>
                    </a:cubicBezTo>
                    <a:cubicBezTo>
                      <a:pt x="373" y="282"/>
                      <a:pt x="400" y="279"/>
                      <a:pt x="401" y="270"/>
                    </a:cubicBezTo>
                    <a:cubicBezTo>
                      <a:pt x="402" y="261"/>
                      <a:pt x="379" y="249"/>
                      <a:pt x="379" y="249"/>
                    </a:cubicBezTo>
                    <a:cubicBezTo>
                      <a:pt x="379" y="249"/>
                      <a:pt x="377" y="226"/>
                      <a:pt x="385" y="215"/>
                    </a:cubicBezTo>
                    <a:cubicBezTo>
                      <a:pt x="393" y="204"/>
                      <a:pt x="404" y="191"/>
                      <a:pt x="404" y="191"/>
                    </a:cubicBezTo>
                    <a:cubicBezTo>
                      <a:pt x="404" y="191"/>
                      <a:pt x="421" y="173"/>
                      <a:pt x="424" y="172"/>
                    </a:cubicBezTo>
                    <a:cubicBezTo>
                      <a:pt x="427" y="171"/>
                      <a:pt x="439" y="163"/>
                      <a:pt x="436" y="161"/>
                    </a:cubicBezTo>
                    <a:cubicBezTo>
                      <a:pt x="433" y="159"/>
                      <a:pt x="428" y="151"/>
                      <a:pt x="438" y="146"/>
                    </a:cubicBezTo>
                    <a:cubicBezTo>
                      <a:pt x="448" y="141"/>
                      <a:pt x="472" y="136"/>
                      <a:pt x="485" y="131"/>
                    </a:cubicBezTo>
                    <a:cubicBezTo>
                      <a:pt x="498" y="126"/>
                      <a:pt x="514" y="113"/>
                      <a:pt x="514" y="113"/>
                    </a:cubicBezTo>
                    <a:cubicBezTo>
                      <a:pt x="514" y="113"/>
                      <a:pt x="534" y="104"/>
                      <a:pt x="535" y="10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8" name="MCShape 140">
                <a:extLst>
                  <a:ext uri="{FF2B5EF4-FFF2-40B4-BE49-F238E27FC236}">
                    <a16:creationId xmlns:a16="http://schemas.microsoft.com/office/drawing/2014/main" id="{6AAA1F3A-B4AC-4126-8BEE-C49E79EE5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0994" y="2878305"/>
                <a:ext cx="91257" cy="163954"/>
              </a:xfrm>
              <a:custGeom>
                <a:avLst/>
                <a:gdLst>
                  <a:gd name="T0" fmla="*/ 141 w 155"/>
                  <a:gd name="T1" fmla="*/ 20 h 277"/>
                  <a:gd name="T2" fmla="*/ 140 w 155"/>
                  <a:gd name="T3" fmla="*/ 7 h 277"/>
                  <a:gd name="T4" fmla="*/ 111 w 155"/>
                  <a:gd name="T5" fmla="*/ 8 h 277"/>
                  <a:gd name="T6" fmla="*/ 104 w 155"/>
                  <a:gd name="T7" fmla="*/ 16 h 277"/>
                  <a:gd name="T8" fmla="*/ 87 w 155"/>
                  <a:gd name="T9" fmla="*/ 11 h 277"/>
                  <a:gd name="T10" fmla="*/ 70 w 155"/>
                  <a:gd name="T11" fmla="*/ 15 h 277"/>
                  <a:gd name="T12" fmla="*/ 76 w 155"/>
                  <a:gd name="T13" fmla="*/ 6 h 277"/>
                  <a:gd name="T14" fmla="*/ 62 w 155"/>
                  <a:gd name="T15" fmla="*/ 0 h 277"/>
                  <a:gd name="T16" fmla="*/ 41 w 155"/>
                  <a:gd name="T17" fmla="*/ 13 h 277"/>
                  <a:gd name="T18" fmla="*/ 46 w 155"/>
                  <a:gd name="T19" fmla="*/ 53 h 277"/>
                  <a:gd name="T20" fmla="*/ 23 w 155"/>
                  <a:gd name="T21" fmla="*/ 114 h 277"/>
                  <a:gd name="T22" fmla="*/ 9 w 155"/>
                  <a:gd name="T23" fmla="*/ 146 h 277"/>
                  <a:gd name="T24" fmla="*/ 6 w 155"/>
                  <a:gd name="T25" fmla="*/ 180 h 277"/>
                  <a:gd name="T26" fmla="*/ 23 w 155"/>
                  <a:gd name="T27" fmla="*/ 191 h 277"/>
                  <a:gd name="T28" fmla="*/ 30 w 155"/>
                  <a:gd name="T29" fmla="*/ 228 h 277"/>
                  <a:gd name="T30" fmla="*/ 20 w 155"/>
                  <a:gd name="T31" fmla="*/ 271 h 277"/>
                  <a:gd name="T32" fmla="*/ 52 w 155"/>
                  <a:gd name="T33" fmla="*/ 268 h 277"/>
                  <a:gd name="T34" fmla="*/ 62 w 155"/>
                  <a:gd name="T35" fmla="*/ 276 h 277"/>
                  <a:gd name="T36" fmla="*/ 87 w 155"/>
                  <a:gd name="T37" fmla="*/ 263 h 277"/>
                  <a:gd name="T38" fmla="*/ 85 w 155"/>
                  <a:gd name="T39" fmla="*/ 252 h 277"/>
                  <a:gd name="T40" fmla="*/ 86 w 155"/>
                  <a:gd name="T41" fmla="*/ 237 h 277"/>
                  <a:gd name="T42" fmla="*/ 96 w 155"/>
                  <a:gd name="T43" fmla="*/ 220 h 277"/>
                  <a:gd name="T44" fmla="*/ 110 w 155"/>
                  <a:gd name="T45" fmla="*/ 213 h 277"/>
                  <a:gd name="T46" fmla="*/ 101 w 155"/>
                  <a:gd name="T47" fmla="*/ 206 h 277"/>
                  <a:gd name="T48" fmla="*/ 92 w 155"/>
                  <a:gd name="T49" fmla="*/ 188 h 277"/>
                  <a:gd name="T50" fmla="*/ 114 w 155"/>
                  <a:gd name="T51" fmla="*/ 162 h 277"/>
                  <a:gd name="T52" fmla="*/ 103 w 155"/>
                  <a:gd name="T53" fmla="*/ 152 h 277"/>
                  <a:gd name="T54" fmla="*/ 103 w 155"/>
                  <a:gd name="T55" fmla="*/ 143 h 277"/>
                  <a:gd name="T56" fmla="*/ 87 w 155"/>
                  <a:gd name="T57" fmla="*/ 129 h 277"/>
                  <a:gd name="T58" fmla="*/ 108 w 155"/>
                  <a:gd name="T59" fmla="*/ 128 h 277"/>
                  <a:gd name="T60" fmla="*/ 120 w 155"/>
                  <a:gd name="T61" fmla="*/ 117 h 277"/>
                  <a:gd name="T62" fmla="*/ 116 w 155"/>
                  <a:gd name="T63" fmla="*/ 100 h 277"/>
                  <a:gd name="T64" fmla="*/ 122 w 155"/>
                  <a:gd name="T65" fmla="*/ 93 h 277"/>
                  <a:gd name="T66" fmla="*/ 128 w 155"/>
                  <a:gd name="T67" fmla="*/ 65 h 277"/>
                  <a:gd name="T68" fmla="*/ 120 w 155"/>
                  <a:gd name="T69" fmla="*/ 56 h 277"/>
                  <a:gd name="T70" fmla="*/ 154 w 155"/>
                  <a:gd name="T71" fmla="*/ 29 h 277"/>
                  <a:gd name="T72" fmla="*/ 141 w 155"/>
                  <a:gd name="T73" fmla="*/ 20 h 27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5"/>
                  <a:gd name="T112" fmla="*/ 0 h 277"/>
                  <a:gd name="T113" fmla="*/ 155 w 155"/>
                  <a:gd name="T114" fmla="*/ 277 h 277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5" h="277">
                    <a:moveTo>
                      <a:pt x="141" y="20"/>
                    </a:moveTo>
                    <a:cubicBezTo>
                      <a:pt x="141" y="20"/>
                      <a:pt x="144" y="9"/>
                      <a:pt x="140" y="7"/>
                    </a:cubicBezTo>
                    <a:cubicBezTo>
                      <a:pt x="136" y="5"/>
                      <a:pt x="120" y="8"/>
                      <a:pt x="111" y="8"/>
                    </a:cubicBezTo>
                    <a:cubicBezTo>
                      <a:pt x="102" y="8"/>
                      <a:pt x="112" y="12"/>
                      <a:pt x="104" y="16"/>
                    </a:cubicBezTo>
                    <a:cubicBezTo>
                      <a:pt x="96" y="20"/>
                      <a:pt x="94" y="11"/>
                      <a:pt x="87" y="11"/>
                    </a:cubicBezTo>
                    <a:cubicBezTo>
                      <a:pt x="80" y="11"/>
                      <a:pt x="76" y="15"/>
                      <a:pt x="70" y="15"/>
                    </a:cubicBezTo>
                    <a:cubicBezTo>
                      <a:pt x="64" y="15"/>
                      <a:pt x="71" y="11"/>
                      <a:pt x="76" y="6"/>
                    </a:cubicBezTo>
                    <a:cubicBezTo>
                      <a:pt x="81" y="1"/>
                      <a:pt x="76" y="0"/>
                      <a:pt x="62" y="0"/>
                    </a:cubicBezTo>
                    <a:cubicBezTo>
                      <a:pt x="53" y="0"/>
                      <a:pt x="46" y="7"/>
                      <a:pt x="41" y="13"/>
                    </a:cubicBezTo>
                    <a:cubicBezTo>
                      <a:pt x="44" y="23"/>
                      <a:pt x="47" y="40"/>
                      <a:pt x="46" y="53"/>
                    </a:cubicBezTo>
                    <a:cubicBezTo>
                      <a:pt x="45" y="74"/>
                      <a:pt x="23" y="114"/>
                      <a:pt x="23" y="114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6"/>
                      <a:pt x="0" y="173"/>
                      <a:pt x="6" y="180"/>
                    </a:cubicBezTo>
                    <a:cubicBezTo>
                      <a:pt x="12" y="187"/>
                      <a:pt x="23" y="191"/>
                      <a:pt x="23" y="191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14" y="270"/>
                      <a:pt x="20" y="271"/>
                    </a:cubicBezTo>
                    <a:cubicBezTo>
                      <a:pt x="26" y="272"/>
                      <a:pt x="52" y="268"/>
                      <a:pt x="52" y="268"/>
                    </a:cubicBezTo>
                    <a:cubicBezTo>
                      <a:pt x="52" y="268"/>
                      <a:pt x="56" y="277"/>
                      <a:pt x="62" y="276"/>
                    </a:cubicBezTo>
                    <a:cubicBezTo>
                      <a:pt x="67" y="275"/>
                      <a:pt x="84" y="265"/>
                      <a:pt x="87" y="263"/>
                    </a:cubicBezTo>
                    <a:cubicBezTo>
                      <a:pt x="85" y="252"/>
                      <a:pt x="85" y="252"/>
                      <a:pt x="85" y="252"/>
                    </a:cubicBezTo>
                    <a:cubicBezTo>
                      <a:pt x="85" y="252"/>
                      <a:pt x="84" y="244"/>
                      <a:pt x="86" y="237"/>
                    </a:cubicBezTo>
                    <a:cubicBezTo>
                      <a:pt x="88" y="230"/>
                      <a:pt x="96" y="220"/>
                      <a:pt x="96" y="220"/>
                    </a:cubicBezTo>
                    <a:cubicBezTo>
                      <a:pt x="96" y="220"/>
                      <a:pt x="106" y="219"/>
                      <a:pt x="110" y="213"/>
                    </a:cubicBezTo>
                    <a:cubicBezTo>
                      <a:pt x="114" y="207"/>
                      <a:pt x="101" y="206"/>
                      <a:pt x="101" y="206"/>
                    </a:cubicBezTo>
                    <a:cubicBezTo>
                      <a:pt x="101" y="206"/>
                      <a:pt x="96" y="192"/>
                      <a:pt x="92" y="188"/>
                    </a:cubicBezTo>
                    <a:cubicBezTo>
                      <a:pt x="88" y="184"/>
                      <a:pt x="112" y="170"/>
                      <a:pt x="114" y="162"/>
                    </a:cubicBezTo>
                    <a:cubicBezTo>
                      <a:pt x="116" y="154"/>
                      <a:pt x="103" y="152"/>
                      <a:pt x="103" y="152"/>
                    </a:cubicBezTo>
                    <a:cubicBezTo>
                      <a:pt x="103" y="143"/>
                      <a:pt x="103" y="143"/>
                      <a:pt x="103" y="143"/>
                    </a:cubicBezTo>
                    <a:cubicBezTo>
                      <a:pt x="87" y="129"/>
                      <a:pt x="87" y="129"/>
                      <a:pt x="87" y="129"/>
                    </a:cubicBezTo>
                    <a:cubicBezTo>
                      <a:pt x="87" y="129"/>
                      <a:pt x="104" y="129"/>
                      <a:pt x="108" y="128"/>
                    </a:cubicBezTo>
                    <a:cubicBezTo>
                      <a:pt x="112" y="127"/>
                      <a:pt x="120" y="120"/>
                      <a:pt x="120" y="117"/>
                    </a:cubicBezTo>
                    <a:cubicBezTo>
                      <a:pt x="120" y="114"/>
                      <a:pt x="116" y="100"/>
                      <a:pt x="116" y="100"/>
                    </a:cubicBezTo>
                    <a:cubicBezTo>
                      <a:pt x="116" y="100"/>
                      <a:pt x="121" y="96"/>
                      <a:pt x="122" y="93"/>
                    </a:cubicBezTo>
                    <a:cubicBezTo>
                      <a:pt x="123" y="90"/>
                      <a:pt x="128" y="65"/>
                      <a:pt x="128" y="65"/>
                    </a:cubicBezTo>
                    <a:cubicBezTo>
                      <a:pt x="128" y="65"/>
                      <a:pt x="119" y="60"/>
                      <a:pt x="120" y="56"/>
                    </a:cubicBezTo>
                    <a:cubicBezTo>
                      <a:pt x="121" y="52"/>
                      <a:pt x="153" y="37"/>
                      <a:pt x="154" y="29"/>
                    </a:cubicBezTo>
                    <a:cubicBezTo>
                      <a:pt x="155" y="21"/>
                      <a:pt x="141" y="20"/>
                      <a:pt x="141" y="2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49" name="MCShape 141">
                <a:extLst>
                  <a:ext uri="{FF2B5EF4-FFF2-40B4-BE49-F238E27FC236}">
                    <a16:creationId xmlns:a16="http://schemas.microsoft.com/office/drawing/2014/main" id="{738C36D3-0B46-467E-A84B-DB5DB0FF2A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80375" y="4046093"/>
                <a:ext cx="1096637" cy="1242030"/>
              </a:xfrm>
              <a:custGeom>
                <a:avLst/>
                <a:gdLst>
                  <a:gd name="T0" fmla="*/ 1096 w 1858"/>
                  <a:gd name="T1" fmla="*/ 350 h 2099"/>
                  <a:gd name="T2" fmla="*/ 1201 w 1858"/>
                  <a:gd name="T3" fmla="*/ 299 h 2099"/>
                  <a:gd name="T4" fmla="*/ 1144 w 1858"/>
                  <a:gd name="T5" fmla="*/ 291 h 2099"/>
                  <a:gd name="T6" fmla="*/ 1124 w 1858"/>
                  <a:gd name="T7" fmla="*/ 270 h 2099"/>
                  <a:gd name="T8" fmla="*/ 1087 w 1858"/>
                  <a:gd name="T9" fmla="*/ 283 h 2099"/>
                  <a:gd name="T10" fmla="*/ 1837 w 1858"/>
                  <a:gd name="T11" fmla="*/ 583 h 2099"/>
                  <a:gd name="T12" fmla="*/ 1713 w 1858"/>
                  <a:gd name="T13" fmla="*/ 532 h 2099"/>
                  <a:gd name="T14" fmla="*/ 1445 w 1858"/>
                  <a:gd name="T15" fmla="*/ 412 h 2099"/>
                  <a:gd name="T16" fmla="*/ 1377 w 1858"/>
                  <a:gd name="T17" fmla="*/ 411 h 2099"/>
                  <a:gd name="T18" fmla="*/ 1258 w 1858"/>
                  <a:gd name="T19" fmla="*/ 316 h 2099"/>
                  <a:gd name="T20" fmla="*/ 1154 w 1858"/>
                  <a:gd name="T21" fmla="*/ 423 h 2099"/>
                  <a:gd name="T22" fmla="*/ 1062 w 1858"/>
                  <a:gd name="T23" fmla="*/ 356 h 2099"/>
                  <a:gd name="T24" fmla="*/ 1095 w 1858"/>
                  <a:gd name="T25" fmla="*/ 270 h 2099"/>
                  <a:gd name="T26" fmla="*/ 1063 w 1858"/>
                  <a:gd name="T27" fmla="*/ 52 h 2099"/>
                  <a:gd name="T28" fmla="*/ 971 w 1858"/>
                  <a:gd name="T29" fmla="*/ 160 h 2099"/>
                  <a:gd name="T30" fmla="*/ 888 w 1858"/>
                  <a:gd name="T31" fmla="*/ 145 h 2099"/>
                  <a:gd name="T32" fmla="*/ 807 w 1858"/>
                  <a:gd name="T33" fmla="*/ 183 h 2099"/>
                  <a:gd name="T34" fmla="*/ 702 w 1858"/>
                  <a:gd name="T35" fmla="*/ 221 h 2099"/>
                  <a:gd name="T36" fmla="*/ 664 w 1858"/>
                  <a:gd name="T37" fmla="*/ 91 h 2099"/>
                  <a:gd name="T38" fmla="*/ 641 w 1858"/>
                  <a:gd name="T39" fmla="*/ 7 h 2099"/>
                  <a:gd name="T40" fmla="*/ 559 w 1858"/>
                  <a:gd name="T41" fmla="*/ 64 h 2099"/>
                  <a:gd name="T42" fmla="*/ 460 w 1858"/>
                  <a:gd name="T43" fmla="*/ 60 h 2099"/>
                  <a:gd name="T44" fmla="*/ 493 w 1858"/>
                  <a:gd name="T45" fmla="*/ 154 h 2099"/>
                  <a:gd name="T46" fmla="*/ 393 w 1858"/>
                  <a:gd name="T47" fmla="*/ 251 h 2099"/>
                  <a:gd name="T48" fmla="*/ 306 w 1858"/>
                  <a:gd name="T49" fmla="*/ 180 h 2099"/>
                  <a:gd name="T50" fmla="*/ 191 w 1858"/>
                  <a:gd name="T51" fmla="*/ 223 h 2099"/>
                  <a:gd name="T52" fmla="*/ 197 w 1858"/>
                  <a:gd name="T53" fmla="*/ 313 h 2099"/>
                  <a:gd name="T54" fmla="*/ 183 w 1858"/>
                  <a:gd name="T55" fmla="*/ 518 h 2099"/>
                  <a:gd name="T56" fmla="*/ 66 w 1858"/>
                  <a:gd name="T57" fmla="*/ 547 h 2099"/>
                  <a:gd name="T58" fmla="*/ 9 w 1858"/>
                  <a:gd name="T59" fmla="*/ 674 h 2099"/>
                  <a:gd name="T60" fmla="*/ 43 w 1858"/>
                  <a:gd name="T61" fmla="*/ 791 h 2099"/>
                  <a:gd name="T62" fmla="*/ 170 w 1858"/>
                  <a:gd name="T63" fmla="*/ 874 h 2099"/>
                  <a:gd name="T64" fmla="*/ 288 w 1858"/>
                  <a:gd name="T65" fmla="*/ 859 h 2099"/>
                  <a:gd name="T66" fmla="*/ 405 w 1858"/>
                  <a:gd name="T67" fmla="*/ 814 h 2099"/>
                  <a:gd name="T68" fmla="*/ 442 w 1858"/>
                  <a:gd name="T69" fmla="*/ 932 h 2099"/>
                  <a:gd name="T70" fmla="*/ 552 w 1858"/>
                  <a:gd name="T71" fmla="*/ 986 h 2099"/>
                  <a:gd name="T72" fmla="*/ 675 w 1858"/>
                  <a:gd name="T73" fmla="*/ 1092 h 2099"/>
                  <a:gd name="T74" fmla="*/ 816 w 1858"/>
                  <a:gd name="T75" fmla="*/ 1262 h 2099"/>
                  <a:gd name="T76" fmla="*/ 810 w 1858"/>
                  <a:gd name="T77" fmla="*/ 1406 h 2099"/>
                  <a:gd name="T78" fmla="*/ 987 w 1858"/>
                  <a:gd name="T79" fmla="*/ 1564 h 2099"/>
                  <a:gd name="T80" fmla="*/ 1043 w 1858"/>
                  <a:gd name="T81" fmla="*/ 1690 h 2099"/>
                  <a:gd name="T82" fmla="*/ 969 w 1858"/>
                  <a:gd name="T83" fmla="*/ 1810 h 2099"/>
                  <a:gd name="T84" fmla="*/ 915 w 1858"/>
                  <a:gd name="T85" fmla="*/ 1912 h 2099"/>
                  <a:gd name="T86" fmla="*/ 1049 w 1858"/>
                  <a:gd name="T87" fmla="*/ 1978 h 2099"/>
                  <a:gd name="T88" fmla="*/ 1118 w 1858"/>
                  <a:gd name="T89" fmla="*/ 2099 h 2099"/>
                  <a:gd name="T90" fmla="*/ 1165 w 1858"/>
                  <a:gd name="T91" fmla="*/ 1984 h 2099"/>
                  <a:gd name="T92" fmla="*/ 1208 w 1858"/>
                  <a:gd name="T93" fmla="*/ 1956 h 2099"/>
                  <a:gd name="T94" fmla="*/ 1200 w 1858"/>
                  <a:gd name="T95" fmla="*/ 1987 h 2099"/>
                  <a:gd name="T96" fmla="*/ 1294 w 1858"/>
                  <a:gd name="T97" fmla="*/ 1764 h 2099"/>
                  <a:gd name="T98" fmla="*/ 1279 w 1858"/>
                  <a:gd name="T99" fmla="*/ 1678 h 2099"/>
                  <a:gd name="T100" fmla="*/ 1311 w 1858"/>
                  <a:gd name="T101" fmla="*/ 1617 h 2099"/>
                  <a:gd name="T102" fmla="*/ 1412 w 1858"/>
                  <a:gd name="T103" fmla="*/ 1561 h 2099"/>
                  <a:gd name="T104" fmla="*/ 1459 w 1858"/>
                  <a:gd name="T105" fmla="*/ 1519 h 2099"/>
                  <a:gd name="T106" fmla="*/ 1571 w 1858"/>
                  <a:gd name="T107" fmla="*/ 1506 h 2099"/>
                  <a:gd name="T108" fmla="*/ 1629 w 1858"/>
                  <a:gd name="T109" fmla="*/ 1372 h 2099"/>
                  <a:gd name="T110" fmla="*/ 1671 w 1858"/>
                  <a:gd name="T111" fmla="*/ 1213 h 2099"/>
                  <a:gd name="T112" fmla="*/ 1674 w 1858"/>
                  <a:gd name="T113" fmla="*/ 972 h 2099"/>
                  <a:gd name="T114" fmla="*/ 1782 w 1858"/>
                  <a:gd name="T115" fmla="*/ 855 h 209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858"/>
                  <a:gd name="T175" fmla="*/ 0 h 2099"/>
                  <a:gd name="T176" fmla="*/ 1858 w 1858"/>
                  <a:gd name="T177" fmla="*/ 2099 h 209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858" h="2099">
                    <a:moveTo>
                      <a:pt x="1146" y="299"/>
                    </a:moveTo>
                    <a:cubicBezTo>
                      <a:pt x="1140" y="298"/>
                      <a:pt x="1112" y="291"/>
                      <a:pt x="1102" y="293"/>
                    </a:cubicBezTo>
                    <a:cubicBezTo>
                      <a:pt x="1092" y="295"/>
                      <a:pt x="1103" y="318"/>
                      <a:pt x="1103" y="318"/>
                    </a:cubicBezTo>
                    <a:cubicBezTo>
                      <a:pt x="1092" y="320"/>
                      <a:pt x="1092" y="320"/>
                      <a:pt x="1092" y="320"/>
                    </a:cubicBezTo>
                    <a:cubicBezTo>
                      <a:pt x="1092" y="336"/>
                      <a:pt x="1092" y="336"/>
                      <a:pt x="1092" y="336"/>
                    </a:cubicBezTo>
                    <a:cubicBezTo>
                      <a:pt x="1106" y="342"/>
                      <a:pt x="1106" y="342"/>
                      <a:pt x="1106" y="342"/>
                    </a:cubicBezTo>
                    <a:cubicBezTo>
                      <a:pt x="1096" y="350"/>
                      <a:pt x="1096" y="350"/>
                      <a:pt x="1096" y="350"/>
                    </a:cubicBezTo>
                    <a:cubicBezTo>
                      <a:pt x="1096" y="350"/>
                      <a:pt x="1099" y="366"/>
                      <a:pt x="1105" y="376"/>
                    </a:cubicBezTo>
                    <a:cubicBezTo>
                      <a:pt x="1112" y="386"/>
                      <a:pt x="1132" y="380"/>
                      <a:pt x="1139" y="380"/>
                    </a:cubicBezTo>
                    <a:cubicBezTo>
                      <a:pt x="1145" y="380"/>
                      <a:pt x="1144" y="372"/>
                      <a:pt x="1144" y="372"/>
                    </a:cubicBezTo>
                    <a:cubicBezTo>
                      <a:pt x="1144" y="372"/>
                      <a:pt x="1157" y="368"/>
                      <a:pt x="1168" y="368"/>
                    </a:cubicBezTo>
                    <a:cubicBezTo>
                      <a:pt x="1179" y="368"/>
                      <a:pt x="1186" y="355"/>
                      <a:pt x="1186" y="355"/>
                    </a:cubicBezTo>
                    <a:cubicBezTo>
                      <a:pt x="1195" y="326"/>
                      <a:pt x="1195" y="326"/>
                      <a:pt x="1195" y="326"/>
                    </a:cubicBezTo>
                    <a:cubicBezTo>
                      <a:pt x="1195" y="326"/>
                      <a:pt x="1202" y="312"/>
                      <a:pt x="1201" y="299"/>
                    </a:cubicBezTo>
                    <a:cubicBezTo>
                      <a:pt x="1200" y="286"/>
                      <a:pt x="1180" y="291"/>
                      <a:pt x="1169" y="291"/>
                    </a:cubicBezTo>
                    <a:cubicBezTo>
                      <a:pt x="1169" y="291"/>
                      <a:pt x="1153" y="300"/>
                      <a:pt x="1146" y="299"/>
                    </a:cubicBezTo>
                    <a:close/>
                    <a:moveTo>
                      <a:pt x="1144" y="291"/>
                    </a:moveTo>
                    <a:cubicBezTo>
                      <a:pt x="1159" y="286"/>
                      <a:pt x="1159" y="286"/>
                      <a:pt x="1159" y="286"/>
                    </a:cubicBezTo>
                    <a:cubicBezTo>
                      <a:pt x="1147" y="275"/>
                      <a:pt x="1147" y="275"/>
                      <a:pt x="1147" y="275"/>
                    </a:cubicBezTo>
                    <a:cubicBezTo>
                      <a:pt x="1132" y="292"/>
                      <a:pt x="1132" y="292"/>
                      <a:pt x="1132" y="292"/>
                    </a:cubicBezTo>
                    <a:lnTo>
                      <a:pt x="1144" y="291"/>
                    </a:lnTo>
                    <a:close/>
                    <a:moveTo>
                      <a:pt x="1124" y="270"/>
                    </a:moveTo>
                    <a:cubicBezTo>
                      <a:pt x="1110" y="271"/>
                      <a:pt x="1110" y="271"/>
                      <a:pt x="1110" y="271"/>
                    </a:cubicBezTo>
                    <a:cubicBezTo>
                      <a:pt x="1109" y="282"/>
                      <a:pt x="1109" y="282"/>
                      <a:pt x="1109" y="282"/>
                    </a:cubicBezTo>
                    <a:cubicBezTo>
                      <a:pt x="1131" y="283"/>
                      <a:pt x="1131" y="283"/>
                      <a:pt x="1131" y="283"/>
                    </a:cubicBezTo>
                    <a:cubicBezTo>
                      <a:pt x="1143" y="266"/>
                      <a:pt x="1143" y="266"/>
                      <a:pt x="1143" y="266"/>
                    </a:cubicBezTo>
                    <a:cubicBezTo>
                      <a:pt x="1134" y="255"/>
                      <a:pt x="1134" y="255"/>
                      <a:pt x="1134" y="255"/>
                    </a:cubicBezTo>
                    <a:lnTo>
                      <a:pt x="1124" y="270"/>
                    </a:lnTo>
                    <a:close/>
                    <a:moveTo>
                      <a:pt x="1050" y="326"/>
                    </a:moveTo>
                    <a:cubicBezTo>
                      <a:pt x="1047" y="340"/>
                      <a:pt x="1047" y="340"/>
                      <a:pt x="1047" y="340"/>
                    </a:cubicBezTo>
                    <a:cubicBezTo>
                      <a:pt x="1037" y="363"/>
                      <a:pt x="1037" y="363"/>
                      <a:pt x="1037" y="363"/>
                    </a:cubicBezTo>
                    <a:cubicBezTo>
                      <a:pt x="1057" y="351"/>
                      <a:pt x="1057" y="351"/>
                      <a:pt x="1057" y="351"/>
                    </a:cubicBezTo>
                    <a:cubicBezTo>
                      <a:pt x="1057" y="351"/>
                      <a:pt x="1079" y="321"/>
                      <a:pt x="1071" y="316"/>
                    </a:cubicBezTo>
                    <a:cubicBezTo>
                      <a:pt x="1062" y="310"/>
                      <a:pt x="1050" y="326"/>
                      <a:pt x="1050" y="326"/>
                    </a:cubicBezTo>
                    <a:close/>
                    <a:moveTo>
                      <a:pt x="1087" y="283"/>
                    </a:moveTo>
                    <a:cubicBezTo>
                      <a:pt x="1074" y="299"/>
                      <a:pt x="1074" y="299"/>
                      <a:pt x="1074" y="299"/>
                    </a:cubicBezTo>
                    <a:cubicBezTo>
                      <a:pt x="1085" y="304"/>
                      <a:pt x="1085" y="304"/>
                      <a:pt x="1085" y="304"/>
                    </a:cubicBezTo>
                    <a:cubicBezTo>
                      <a:pt x="1096" y="287"/>
                      <a:pt x="1096" y="287"/>
                      <a:pt x="1096" y="287"/>
                    </a:cubicBezTo>
                    <a:lnTo>
                      <a:pt x="1087" y="283"/>
                    </a:lnTo>
                    <a:close/>
                    <a:moveTo>
                      <a:pt x="1855" y="667"/>
                    </a:moveTo>
                    <a:cubicBezTo>
                      <a:pt x="1855" y="650"/>
                      <a:pt x="1839" y="626"/>
                      <a:pt x="1838" y="615"/>
                    </a:cubicBezTo>
                    <a:cubicBezTo>
                      <a:pt x="1837" y="604"/>
                      <a:pt x="1837" y="592"/>
                      <a:pt x="1837" y="583"/>
                    </a:cubicBezTo>
                    <a:cubicBezTo>
                      <a:pt x="1837" y="574"/>
                      <a:pt x="1819" y="558"/>
                      <a:pt x="1819" y="558"/>
                    </a:cubicBezTo>
                    <a:cubicBezTo>
                      <a:pt x="1798" y="554"/>
                      <a:pt x="1798" y="554"/>
                      <a:pt x="1798" y="554"/>
                    </a:cubicBezTo>
                    <a:cubicBezTo>
                      <a:pt x="1764" y="559"/>
                      <a:pt x="1764" y="559"/>
                      <a:pt x="1764" y="559"/>
                    </a:cubicBezTo>
                    <a:cubicBezTo>
                      <a:pt x="1753" y="549"/>
                      <a:pt x="1753" y="549"/>
                      <a:pt x="1753" y="549"/>
                    </a:cubicBezTo>
                    <a:cubicBezTo>
                      <a:pt x="1740" y="548"/>
                      <a:pt x="1740" y="548"/>
                      <a:pt x="1740" y="548"/>
                    </a:cubicBezTo>
                    <a:cubicBezTo>
                      <a:pt x="1728" y="533"/>
                      <a:pt x="1728" y="533"/>
                      <a:pt x="1728" y="533"/>
                    </a:cubicBezTo>
                    <a:cubicBezTo>
                      <a:pt x="1713" y="532"/>
                      <a:pt x="1713" y="532"/>
                      <a:pt x="1713" y="532"/>
                    </a:cubicBezTo>
                    <a:cubicBezTo>
                      <a:pt x="1713" y="532"/>
                      <a:pt x="1695" y="512"/>
                      <a:pt x="1678" y="491"/>
                    </a:cubicBezTo>
                    <a:cubicBezTo>
                      <a:pt x="1661" y="470"/>
                      <a:pt x="1612" y="439"/>
                      <a:pt x="1596" y="438"/>
                    </a:cubicBezTo>
                    <a:cubicBezTo>
                      <a:pt x="1580" y="437"/>
                      <a:pt x="1547" y="439"/>
                      <a:pt x="1547" y="439"/>
                    </a:cubicBezTo>
                    <a:cubicBezTo>
                      <a:pt x="1547" y="449"/>
                      <a:pt x="1547" y="449"/>
                      <a:pt x="1547" y="449"/>
                    </a:cubicBezTo>
                    <a:cubicBezTo>
                      <a:pt x="1547" y="449"/>
                      <a:pt x="1532" y="439"/>
                      <a:pt x="1525" y="436"/>
                    </a:cubicBezTo>
                    <a:cubicBezTo>
                      <a:pt x="1518" y="433"/>
                      <a:pt x="1492" y="432"/>
                      <a:pt x="1492" y="432"/>
                    </a:cubicBezTo>
                    <a:cubicBezTo>
                      <a:pt x="1492" y="432"/>
                      <a:pt x="1464" y="415"/>
                      <a:pt x="1445" y="412"/>
                    </a:cubicBezTo>
                    <a:cubicBezTo>
                      <a:pt x="1426" y="409"/>
                      <a:pt x="1406" y="442"/>
                      <a:pt x="1406" y="442"/>
                    </a:cubicBezTo>
                    <a:cubicBezTo>
                      <a:pt x="1395" y="429"/>
                      <a:pt x="1395" y="429"/>
                      <a:pt x="1395" y="429"/>
                    </a:cubicBezTo>
                    <a:cubicBezTo>
                      <a:pt x="1395" y="451"/>
                      <a:pt x="1395" y="451"/>
                      <a:pt x="1395" y="451"/>
                    </a:cubicBezTo>
                    <a:cubicBezTo>
                      <a:pt x="1375" y="466"/>
                      <a:pt x="1375" y="466"/>
                      <a:pt x="1375" y="466"/>
                    </a:cubicBezTo>
                    <a:cubicBezTo>
                      <a:pt x="1386" y="422"/>
                      <a:pt x="1386" y="422"/>
                      <a:pt x="1386" y="422"/>
                    </a:cubicBezTo>
                    <a:cubicBezTo>
                      <a:pt x="1386" y="422"/>
                      <a:pt x="1404" y="412"/>
                      <a:pt x="1397" y="402"/>
                    </a:cubicBezTo>
                    <a:cubicBezTo>
                      <a:pt x="1390" y="392"/>
                      <a:pt x="1377" y="411"/>
                      <a:pt x="1377" y="411"/>
                    </a:cubicBezTo>
                    <a:cubicBezTo>
                      <a:pt x="1386" y="389"/>
                      <a:pt x="1386" y="389"/>
                      <a:pt x="1386" y="389"/>
                    </a:cubicBezTo>
                    <a:cubicBezTo>
                      <a:pt x="1386" y="389"/>
                      <a:pt x="1377" y="388"/>
                      <a:pt x="1378" y="381"/>
                    </a:cubicBezTo>
                    <a:cubicBezTo>
                      <a:pt x="1379" y="374"/>
                      <a:pt x="1358" y="365"/>
                      <a:pt x="1358" y="365"/>
                    </a:cubicBezTo>
                    <a:cubicBezTo>
                      <a:pt x="1350" y="377"/>
                      <a:pt x="1350" y="377"/>
                      <a:pt x="1350" y="377"/>
                    </a:cubicBezTo>
                    <a:cubicBezTo>
                      <a:pt x="1350" y="377"/>
                      <a:pt x="1337" y="360"/>
                      <a:pt x="1327" y="350"/>
                    </a:cubicBezTo>
                    <a:cubicBezTo>
                      <a:pt x="1317" y="340"/>
                      <a:pt x="1290" y="342"/>
                      <a:pt x="1286" y="338"/>
                    </a:cubicBezTo>
                    <a:cubicBezTo>
                      <a:pt x="1282" y="334"/>
                      <a:pt x="1258" y="316"/>
                      <a:pt x="1258" y="316"/>
                    </a:cubicBezTo>
                    <a:cubicBezTo>
                      <a:pt x="1252" y="324"/>
                      <a:pt x="1252" y="324"/>
                      <a:pt x="1252" y="324"/>
                    </a:cubicBezTo>
                    <a:cubicBezTo>
                      <a:pt x="1252" y="324"/>
                      <a:pt x="1231" y="323"/>
                      <a:pt x="1221" y="322"/>
                    </a:cubicBezTo>
                    <a:cubicBezTo>
                      <a:pt x="1211" y="321"/>
                      <a:pt x="1203" y="356"/>
                      <a:pt x="1203" y="356"/>
                    </a:cubicBezTo>
                    <a:cubicBezTo>
                      <a:pt x="1210" y="368"/>
                      <a:pt x="1210" y="368"/>
                      <a:pt x="1210" y="368"/>
                    </a:cubicBezTo>
                    <a:cubicBezTo>
                      <a:pt x="1210" y="368"/>
                      <a:pt x="1196" y="369"/>
                      <a:pt x="1188" y="369"/>
                    </a:cubicBezTo>
                    <a:cubicBezTo>
                      <a:pt x="1180" y="369"/>
                      <a:pt x="1168" y="391"/>
                      <a:pt x="1168" y="391"/>
                    </a:cubicBezTo>
                    <a:cubicBezTo>
                      <a:pt x="1168" y="391"/>
                      <a:pt x="1161" y="424"/>
                      <a:pt x="1154" y="423"/>
                    </a:cubicBezTo>
                    <a:cubicBezTo>
                      <a:pt x="1147" y="422"/>
                      <a:pt x="1163" y="397"/>
                      <a:pt x="1160" y="386"/>
                    </a:cubicBezTo>
                    <a:cubicBezTo>
                      <a:pt x="1157" y="375"/>
                      <a:pt x="1137" y="396"/>
                      <a:pt x="1137" y="396"/>
                    </a:cubicBezTo>
                    <a:cubicBezTo>
                      <a:pt x="1130" y="390"/>
                      <a:pt x="1130" y="390"/>
                      <a:pt x="1130" y="390"/>
                    </a:cubicBezTo>
                    <a:cubicBezTo>
                      <a:pt x="1130" y="390"/>
                      <a:pt x="1109" y="395"/>
                      <a:pt x="1098" y="388"/>
                    </a:cubicBezTo>
                    <a:cubicBezTo>
                      <a:pt x="1087" y="381"/>
                      <a:pt x="1089" y="371"/>
                      <a:pt x="1089" y="358"/>
                    </a:cubicBezTo>
                    <a:cubicBezTo>
                      <a:pt x="1089" y="345"/>
                      <a:pt x="1084" y="337"/>
                      <a:pt x="1084" y="337"/>
                    </a:cubicBezTo>
                    <a:cubicBezTo>
                      <a:pt x="1077" y="330"/>
                      <a:pt x="1062" y="356"/>
                      <a:pt x="1062" y="356"/>
                    </a:cubicBezTo>
                    <a:cubicBezTo>
                      <a:pt x="1062" y="356"/>
                      <a:pt x="1041" y="371"/>
                      <a:pt x="1029" y="373"/>
                    </a:cubicBezTo>
                    <a:cubicBezTo>
                      <a:pt x="1017" y="375"/>
                      <a:pt x="1003" y="368"/>
                      <a:pt x="1003" y="368"/>
                    </a:cubicBezTo>
                    <a:cubicBezTo>
                      <a:pt x="1029" y="360"/>
                      <a:pt x="1029" y="360"/>
                      <a:pt x="1029" y="360"/>
                    </a:cubicBezTo>
                    <a:cubicBezTo>
                      <a:pt x="1029" y="360"/>
                      <a:pt x="1039" y="348"/>
                      <a:pt x="1042" y="343"/>
                    </a:cubicBezTo>
                    <a:cubicBezTo>
                      <a:pt x="1045" y="338"/>
                      <a:pt x="1044" y="326"/>
                      <a:pt x="1044" y="326"/>
                    </a:cubicBezTo>
                    <a:cubicBezTo>
                      <a:pt x="1044" y="326"/>
                      <a:pt x="1053" y="320"/>
                      <a:pt x="1057" y="308"/>
                    </a:cubicBezTo>
                    <a:cubicBezTo>
                      <a:pt x="1061" y="296"/>
                      <a:pt x="1085" y="277"/>
                      <a:pt x="1095" y="270"/>
                    </a:cubicBezTo>
                    <a:cubicBezTo>
                      <a:pt x="1105" y="263"/>
                      <a:pt x="1107" y="254"/>
                      <a:pt x="1111" y="245"/>
                    </a:cubicBezTo>
                    <a:cubicBezTo>
                      <a:pt x="1115" y="236"/>
                      <a:pt x="1136" y="223"/>
                      <a:pt x="1136" y="223"/>
                    </a:cubicBezTo>
                    <a:cubicBezTo>
                      <a:pt x="1123" y="221"/>
                      <a:pt x="1123" y="221"/>
                      <a:pt x="1123" y="221"/>
                    </a:cubicBezTo>
                    <a:cubicBezTo>
                      <a:pt x="1123" y="221"/>
                      <a:pt x="1135" y="215"/>
                      <a:pt x="1135" y="199"/>
                    </a:cubicBezTo>
                    <a:cubicBezTo>
                      <a:pt x="1135" y="183"/>
                      <a:pt x="1108" y="192"/>
                      <a:pt x="1098" y="181"/>
                    </a:cubicBezTo>
                    <a:cubicBezTo>
                      <a:pt x="1088" y="170"/>
                      <a:pt x="1088" y="147"/>
                      <a:pt x="1084" y="110"/>
                    </a:cubicBezTo>
                    <a:cubicBezTo>
                      <a:pt x="1080" y="73"/>
                      <a:pt x="1072" y="55"/>
                      <a:pt x="1063" y="52"/>
                    </a:cubicBezTo>
                    <a:cubicBezTo>
                      <a:pt x="1054" y="49"/>
                      <a:pt x="1060" y="68"/>
                      <a:pt x="1060" y="72"/>
                    </a:cubicBezTo>
                    <a:cubicBezTo>
                      <a:pt x="1060" y="76"/>
                      <a:pt x="1050" y="71"/>
                      <a:pt x="1048" y="66"/>
                    </a:cubicBezTo>
                    <a:cubicBezTo>
                      <a:pt x="1048" y="66"/>
                      <a:pt x="1043" y="83"/>
                      <a:pt x="1036" y="89"/>
                    </a:cubicBezTo>
                    <a:cubicBezTo>
                      <a:pt x="1029" y="95"/>
                      <a:pt x="1020" y="110"/>
                      <a:pt x="1017" y="120"/>
                    </a:cubicBezTo>
                    <a:cubicBezTo>
                      <a:pt x="1014" y="130"/>
                      <a:pt x="1013" y="149"/>
                      <a:pt x="996" y="163"/>
                    </a:cubicBezTo>
                    <a:cubicBezTo>
                      <a:pt x="996" y="163"/>
                      <a:pt x="981" y="169"/>
                      <a:pt x="975" y="169"/>
                    </a:cubicBezTo>
                    <a:cubicBezTo>
                      <a:pt x="975" y="168"/>
                      <a:pt x="971" y="160"/>
                      <a:pt x="971" y="160"/>
                    </a:cubicBezTo>
                    <a:cubicBezTo>
                      <a:pt x="967" y="165"/>
                      <a:pt x="967" y="165"/>
                      <a:pt x="967" y="165"/>
                    </a:cubicBezTo>
                    <a:cubicBezTo>
                      <a:pt x="957" y="163"/>
                      <a:pt x="957" y="163"/>
                      <a:pt x="957" y="163"/>
                    </a:cubicBezTo>
                    <a:cubicBezTo>
                      <a:pt x="957" y="163"/>
                      <a:pt x="953" y="155"/>
                      <a:pt x="947" y="161"/>
                    </a:cubicBezTo>
                    <a:cubicBezTo>
                      <a:pt x="941" y="167"/>
                      <a:pt x="943" y="173"/>
                      <a:pt x="929" y="172"/>
                    </a:cubicBezTo>
                    <a:cubicBezTo>
                      <a:pt x="915" y="171"/>
                      <a:pt x="913" y="161"/>
                      <a:pt x="913" y="161"/>
                    </a:cubicBezTo>
                    <a:cubicBezTo>
                      <a:pt x="900" y="155"/>
                      <a:pt x="900" y="155"/>
                      <a:pt x="900" y="155"/>
                    </a:cubicBezTo>
                    <a:cubicBezTo>
                      <a:pt x="900" y="155"/>
                      <a:pt x="896" y="144"/>
                      <a:pt x="888" y="145"/>
                    </a:cubicBezTo>
                    <a:cubicBezTo>
                      <a:pt x="880" y="146"/>
                      <a:pt x="871" y="157"/>
                      <a:pt x="871" y="157"/>
                    </a:cubicBezTo>
                    <a:cubicBezTo>
                      <a:pt x="853" y="157"/>
                      <a:pt x="853" y="157"/>
                      <a:pt x="853" y="157"/>
                    </a:cubicBezTo>
                    <a:cubicBezTo>
                      <a:pt x="853" y="157"/>
                      <a:pt x="854" y="148"/>
                      <a:pt x="848" y="149"/>
                    </a:cubicBezTo>
                    <a:cubicBezTo>
                      <a:pt x="842" y="150"/>
                      <a:pt x="838" y="160"/>
                      <a:pt x="841" y="166"/>
                    </a:cubicBezTo>
                    <a:cubicBezTo>
                      <a:pt x="844" y="172"/>
                      <a:pt x="858" y="182"/>
                      <a:pt x="849" y="186"/>
                    </a:cubicBezTo>
                    <a:cubicBezTo>
                      <a:pt x="840" y="190"/>
                      <a:pt x="811" y="174"/>
                      <a:pt x="811" y="174"/>
                    </a:cubicBezTo>
                    <a:cubicBezTo>
                      <a:pt x="811" y="174"/>
                      <a:pt x="815" y="181"/>
                      <a:pt x="807" y="183"/>
                    </a:cubicBezTo>
                    <a:cubicBezTo>
                      <a:pt x="799" y="185"/>
                      <a:pt x="797" y="174"/>
                      <a:pt x="787" y="175"/>
                    </a:cubicBezTo>
                    <a:cubicBezTo>
                      <a:pt x="777" y="176"/>
                      <a:pt x="773" y="192"/>
                      <a:pt x="773" y="192"/>
                    </a:cubicBezTo>
                    <a:cubicBezTo>
                      <a:pt x="752" y="193"/>
                      <a:pt x="752" y="193"/>
                      <a:pt x="752" y="193"/>
                    </a:cubicBezTo>
                    <a:cubicBezTo>
                      <a:pt x="751" y="201"/>
                      <a:pt x="751" y="201"/>
                      <a:pt x="751" y="201"/>
                    </a:cubicBezTo>
                    <a:cubicBezTo>
                      <a:pt x="751" y="201"/>
                      <a:pt x="739" y="198"/>
                      <a:pt x="733" y="202"/>
                    </a:cubicBezTo>
                    <a:cubicBezTo>
                      <a:pt x="727" y="206"/>
                      <a:pt x="732" y="219"/>
                      <a:pt x="722" y="220"/>
                    </a:cubicBezTo>
                    <a:cubicBezTo>
                      <a:pt x="712" y="221"/>
                      <a:pt x="702" y="221"/>
                      <a:pt x="702" y="221"/>
                    </a:cubicBezTo>
                    <a:cubicBezTo>
                      <a:pt x="698" y="210"/>
                      <a:pt x="698" y="210"/>
                      <a:pt x="698" y="210"/>
                    </a:cubicBezTo>
                    <a:cubicBezTo>
                      <a:pt x="689" y="210"/>
                      <a:pt x="689" y="210"/>
                      <a:pt x="689" y="210"/>
                    </a:cubicBezTo>
                    <a:cubicBezTo>
                      <a:pt x="668" y="186"/>
                      <a:pt x="668" y="186"/>
                      <a:pt x="668" y="186"/>
                    </a:cubicBezTo>
                    <a:cubicBezTo>
                      <a:pt x="668" y="186"/>
                      <a:pt x="668" y="174"/>
                      <a:pt x="668" y="166"/>
                    </a:cubicBezTo>
                    <a:cubicBezTo>
                      <a:pt x="668" y="158"/>
                      <a:pt x="651" y="155"/>
                      <a:pt x="651" y="145"/>
                    </a:cubicBezTo>
                    <a:cubicBezTo>
                      <a:pt x="651" y="135"/>
                      <a:pt x="659" y="119"/>
                      <a:pt x="659" y="119"/>
                    </a:cubicBezTo>
                    <a:cubicBezTo>
                      <a:pt x="664" y="91"/>
                      <a:pt x="664" y="91"/>
                      <a:pt x="664" y="91"/>
                    </a:cubicBezTo>
                    <a:cubicBezTo>
                      <a:pt x="664" y="91"/>
                      <a:pt x="677" y="79"/>
                      <a:pt x="678" y="73"/>
                    </a:cubicBezTo>
                    <a:cubicBezTo>
                      <a:pt x="679" y="67"/>
                      <a:pt x="670" y="63"/>
                      <a:pt x="670" y="63"/>
                    </a:cubicBezTo>
                    <a:cubicBezTo>
                      <a:pt x="671" y="44"/>
                      <a:pt x="671" y="44"/>
                      <a:pt x="671" y="44"/>
                    </a:cubicBezTo>
                    <a:cubicBezTo>
                      <a:pt x="671" y="44"/>
                      <a:pt x="649" y="50"/>
                      <a:pt x="649" y="41"/>
                    </a:cubicBezTo>
                    <a:cubicBezTo>
                      <a:pt x="649" y="41"/>
                      <a:pt x="661" y="29"/>
                      <a:pt x="658" y="15"/>
                    </a:cubicBezTo>
                    <a:cubicBezTo>
                      <a:pt x="655" y="1"/>
                      <a:pt x="646" y="0"/>
                      <a:pt x="646" y="0"/>
                    </a:cubicBezTo>
                    <a:cubicBezTo>
                      <a:pt x="641" y="7"/>
                      <a:pt x="641" y="7"/>
                      <a:pt x="641" y="7"/>
                    </a:cubicBezTo>
                    <a:cubicBezTo>
                      <a:pt x="625" y="5"/>
                      <a:pt x="625" y="5"/>
                      <a:pt x="625" y="5"/>
                    </a:cubicBezTo>
                    <a:cubicBezTo>
                      <a:pt x="625" y="5"/>
                      <a:pt x="631" y="19"/>
                      <a:pt x="627" y="26"/>
                    </a:cubicBezTo>
                    <a:cubicBezTo>
                      <a:pt x="623" y="33"/>
                      <a:pt x="612" y="31"/>
                      <a:pt x="612" y="31"/>
                    </a:cubicBezTo>
                    <a:cubicBezTo>
                      <a:pt x="614" y="41"/>
                      <a:pt x="614" y="41"/>
                      <a:pt x="614" y="41"/>
                    </a:cubicBezTo>
                    <a:cubicBezTo>
                      <a:pt x="596" y="40"/>
                      <a:pt x="596" y="40"/>
                      <a:pt x="596" y="40"/>
                    </a:cubicBezTo>
                    <a:cubicBezTo>
                      <a:pt x="596" y="40"/>
                      <a:pt x="584" y="45"/>
                      <a:pt x="582" y="51"/>
                    </a:cubicBezTo>
                    <a:cubicBezTo>
                      <a:pt x="580" y="57"/>
                      <a:pt x="566" y="64"/>
                      <a:pt x="559" y="64"/>
                    </a:cubicBezTo>
                    <a:cubicBezTo>
                      <a:pt x="552" y="64"/>
                      <a:pt x="546" y="56"/>
                      <a:pt x="538" y="59"/>
                    </a:cubicBezTo>
                    <a:cubicBezTo>
                      <a:pt x="530" y="62"/>
                      <a:pt x="533" y="96"/>
                      <a:pt x="524" y="96"/>
                    </a:cubicBezTo>
                    <a:cubicBezTo>
                      <a:pt x="515" y="96"/>
                      <a:pt x="504" y="77"/>
                      <a:pt x="500" y="73"/>
                    </a:cubicBezTo>
                    <a:cubicBezTo>
                      <a:pt x="496" y="69"/>
                      <a:pt x="491" y="77"/>
                      <a:pt x="491" y="77"/>
                    </a:cubicBezTo>
                    <a:cubicBezTo>
                      <a:pt x="481" y="71"/>
                      <a:pt x="481" y="71"/>
                      <a:pt x="481" y="71"/>
                    </a:cubicBezTo>
                    <a:cubicBezTo>
                      <a:pt x="481" y="71"/>
                      <a:pt x="469" y="79"/>
                      <a:pt x="467" y="76"/>
                    </a:cubicBezTo>
                    <a:cubicBezTo>
                      <a:pt x="465" y="73"/>
                      <a:pt x="471" y="64"/>
                      <a:pt x="460" y="60"/>
                    </a:cubicBezTo>
                    <a:cubicBezTo>
                      <a:pt x="449" y="56"/>
                      <a:pt x="440" y="64"/>
                      <a:pt x="437" y="61"/>
                    </a:cubicBezTo>
                    <a:cubicBezTo>
                      <a:pt x="434" y="58"/>
                      <a:pt x="431" y="52"/>
                      <a:pt x="431" y="52"/>
                    </a:cubicBezTo>
                    <a:cubicBezTo>
                      <a:pt x="431" y="52"/>
                      <a:pt x="421" y="71"/>
                      <a:pt x="443" y="82"/>
                    </a:cubicBezTo>
                    <a:cubicBezTo>
                      <a:pt x="465" y="93"/>
                      <a:pt x="450" y="117"/>
                      <a:pt x="450" y="117"/>
                    </a:cubicBezTo>
                    <a:cubicBezTo>
                      <a:pt x="450" y="117"/>
                      <a:pt x="463" y="128"/>
                      <a:pt x="463" y="135"/>
                    </a:cubicBezTo>
                    <a:cubicBezTo>
                      <a:pt x="463" y="142"/>
                      <a:pt x="463" y="151"/>
                      <a:pt x="463" y="151"/>
                    </a:cubicBezTo>
                    <a:cubicBezTo>
                      <a:pt x="493" y="154"/>
                      <a:pt x="493" y="154"/>
                      <a:pt x="493" y="154"/>
                    </a:cubicBezTo>
                    <a:cubicBezTo>
                      <a:pt x="493" y="154"/>
                      <a:pt x="500" y="168"/>
                      <a:pt x="488" y="174"/>
                    </a:cubicBezTo>
                    <a:cubicBezTo>
                      <a:pt x="476" y="180"/>
                      <a:pt x="463" y="177"/>
                      <a:pt x="463" y="177"/>
                    </a:cubicBezTo>
                    <a:cubicBezTo>
                      <a:pt x="463" y="177"/>
                      <a:pt x="464" y="202"/>
                      <a:pt x="451" y="206"/>
                    </a:cubicBezTo>
                    <a:cubicBezTo>
                      <a:pt x="438" y="210"/>
                      <a:pt x="433" y="214"/>
                      <a:pt x="433" y="214"/>
                    </a:cubicBezTo>
                    <a:cubicBezTo>
                      <a:pt x="431" y="220"/>
                      <a:pt x="431" y="220"/>
                      <a:pt x="431" y="220"/>
                    </a:cubicBezTo>
                    <a:cubicBezTo>
                      <a:pt x="431" y="220"/>
                      <a:pt x="419" y="218"/>
                      <a:pt x="413" y="222"/>
                    </a:cubicBezTo>
                    <a:cubicBezTo>
                      <a:pt x="407" y="226"/>
                      <a:pt x="401" y="251"/>
                      <a:pt x="393" y="251"/>
                    </a:cubicBezTo>
                    <a:cubicBezTo>
                      <a:pt x="385" y="251"/>
                      <a:pt x="396" y="234"/>
                      <a:pt x="387" y="232"/>
                    </a:cubicBezTo>
                    <a:cubicBezTo>
                      <a:pt x="378" y="230"/>
                      <a:pt x="367" y="252"/>
                      <a:pt x="357" y="246"/>
                    </a:cubicBezTo>
                    <a:cubicBezTo>
                      <a:pt x="357" y="246"/>
                      <a:pt x="345" y="244"/>
                      <a:pt x="341" y="239"/>
                    </a:cubicBezTo>
                    <a:cubicBezTo>
                      <a:pt x="337" y="234"/>
                      <a:pt x="330" y="221"/>
                      <a:pt x="330" y="221"/>
                    </a:cubicBezTo>
                    <a:cubicBezTo>
                      <a:pt x="313" y="221"/>
                      <a:pt x="313" y="221"/>
                      <a:pt x="313" y="221"/>
                    </a:cubicBezTo>
                    <a:cubicBezTo>
                      <a:pt x="313" y="221"/>
                      <a:pt x="313" y="193"/>
                      <a:pt x="311" y="187"/>
                    </a:cubicBezTo>
                    <a:cubicBezTo>
                      <a:pt x="309" y="181"/>
                      <a:pt x="306" y="180"/>
                      <a:pt x="306" y="180"/>
                    </a:cubicBezTo>
                    <a:cubicBezTo>
                      <a:pt x="306" y="180"/>
                      <a:pt x="311" y="173"/>
                      <a:pt x="304" y="170"/>
                    </a:cubicBezTo>
                    <a:cubicBezTo>
                      <a:pt x="297" y="167"/>
                      <a:pt x="288" y="190"/>
                      <a:pt x="282" y="191"/>
                    </a:cubicBezTo>
                    <a:cubicBezTo>
                      <a:pt x="276" y="192"/>
                      <a:pt x="271" y="176"/>
                      <a:pt x="265" y="176"/>
                    </a:cubicBezTo>
                    <a:cubicBezTo>
                      <a:pt x="259" y="176"/>
                      <a:pt x="259" y="193"/>
                      <a:pt x="259" y="193"/>
                    </a:cubicBezTo>
                    <a:cubicBezTo>
                      <a:pt x="215" y="197"/>
                      <a:pt x="215" y="197"/>
                      <a:pt x="215" y="197"/>
                    </a:cubicBezTo>
                    <a:cubicBezTo>
                      <a:pt x="215" y="197"/>
                      <a:pt x="201" y="184"/>
                      <a:pt x="192" y="189"/>
                    </a:cubicBezTo>
                    <a:cubicBezTo>
                      <a:pt x="183" y="194"/>
                      <a:pt x="191" y="223"/>
                      <a:pt x="191" y="223"/>
                    </a:cubicBezTo>
                    <a:cubicBezTo>
                      <a:pt x="207" y="230"/>
                      <a:pt x="207" y="230"/>
                      <a:pt x="207" y="230"/>
                    </a:cubicBezTo>
                    <a:cubicBezTo>
                      <a:pt x="214" y="228"/>
                      <a:pt x="214" y="228"/>
                      <a:pt x="214" y="228"/>
                    </a:cubicBezTo>
                    <a:cubicBezTo>
                      <a:pt x="214" y="228"/>
                      <a:pt x="233" y="248"/>
                      <a:pt x="220" y="250"/>
                    </a:cubicBezTo>
                    <a:cubicBezTo>
                      <a:pt x="207" y="252"/>
                      <a:pt x="198" y="248"/>
                      <a:pt x="198" y="248"/>
                    </a:cubicBezTo>
                    <a:cubicBezTo>
                      <a:pt x="176" y="253"/>
                      <a:pt x="176" y="253"/>
                      <a:pt x="176" y="253"/>
                    </a:cubicBezTo>
                    <a:cubicBezTo>
                      <a:pt x="174" y="295"/>
                      <a:pt x="174" y="295"/>
                      <a:pt x="174" y="295"/>
                    </a:cubicBezTo>
                    <a:cubicBezTo>
                      <a:pt x="174" y="295"/>
                      <a:pt x="195" y="304"/>
                      <a:pt x="197" y="313"/>
                    </a:cubicBezTo>
                    <a:cubicBezTo>
                      <a:pt x="199" y="322"/>
                      <a:pt x="200" y="334"/>
                      <a:pt x="200" y="334"/>
                    </a:cubicBezTo>
                    <a:cubicBezTo>
                      <a:pt x="200" y="334"/>
                      <a:pt x="214" y="349"/>
                      <a:pt x="213" y="356"/>
                    </a:cubicBezTo>
                    <a:cubicBezTo>
                      <a:pt x="212" y="363"/>
                      <a:pt x="202" y="374"/>
                      <a:pt x="202" y="374"/>
                    </a:cubicBezTo>
                    <a:cubicBezTo>
                      <a:pt x="204" y="408"/>
                      <a:pt x="204" y="408"/>
                      <a:pt x="204" y="408"/>
                    </a:cubicBezTo>
                    <a:cubicBezTo>
                      <a:pt x="193" y="438"/>
                      <a:pt x="193" y="438"/>
                      <a:pt x="193" y="438"/>
                    </a:cubicBezTo>
                    <a:cubicBezTo>
                      <a:pt x="191" y="488"/>
                      <a:pt x="191" y="488"/>
                      <a:pt x="191" y="488"/>
                    </a:cubicBezTo>
                    <a:cubicBezTo>
                      <a:pt x="191" y="488"/>
                      <a:pt x="188" y="515"/>
                      <a:pt x="183" y="518"/>
                    </a:cubicBezTo>
                    <a:cubicBezTo>
                      <a:pt x="178" y="521"/>
                      <a:pt x="171" y="518"/>
                      <a:pt x="171" y="518"/>
                    </a:cubicBezTo>
                    <a:cubicBezTo>
                      <a:pt x="171" y="518"/>
                      <a:pt x="167" y="505"/>
                      <a:pt x="157" y="506"/>
                    </a:cubicBezTo>
                    <a:cubicBezTo>
                      <a:pt x="147" y="507"/>
                      <a:pt x="136" y="522"/>
                      <a:pt x="136" y="522"/>
                    </a:cubicBezTo>
                    <a:cubicBezTo>
                      <a:pt x="117" y="519"/>
                      <a:pt x="117" y="519"/>
                      <a:pt x="117" y="519"/>
                    </a:cubicBezTo>
                    <a:cubicBezTo>
                      <a:pt x="115" y="526"/>
                      <a:pt x="115" y="526"/>
                      <a:pt x="115" y="526"/>
                    </a:cubicBezTo>
                    <a:cubicBezTo>
                      <a:pt x="94" y="526"/>
                      <a:pt x="94" y="526"/>
                      <a:pt x="94" y="526"/>
                    </a:cubicBezTo>
                    <a:cubicBezTo>
                      <a:pt x="94" y="526"/>
                      <a:pt x="68" y="543"/>
                      <a:pt x="66" y="547"/>
                    </a:cubicBezTo>
                    <a:cubicBezTo>
                      <a:pt x="64" y="551"/>
                      <a:pt x="63" y="559"/>
                      <a:pt x="63" y="559"/>
                    </a:cubicBezTo>
                    <a:cubicBezTo>
                      <a:pt x="47" y="559"/>
                      <a:pt x="47" y="559"/>
                      <a:pt x="47" y="559"/>
                    </a:cubicBezTo>
                    <a:cubicBezTo>
                      <a:pt x="46" y="597"/>
                      <a:pt x="46" y="597"/>
                      <a:pt x="46" y="597"/>
                    </a:cubicBezTo>
                    <a:cubicBezTo>
                      <a:pt x="46" y="597"/>
                      <a:pt x="31" y="606"/>
                      <a:pt x="33" y="613"/>
                    </a:cubicBezTo>
                    <a:cubicBezTo>
                      <a:pt x="35" y="620"/>
                      <a:pt x="45" y="645"/>
                      <a:pt x="39" y="636"/>
                    </a:cubicBezTo>
                    <a:cubicBezTo>
                      <a:pt x="33" y="627"/>
                      <a:pt x="20" y="644"/>
                      <a:pt x="12" y="652"/>
                    </a:cubicBezTo>
                    <a:cubicBezTo>
                      <a:pt x="4" y="660"/>
                      <a:pt x="9" y="674"/>
                      <a:pt x="9" y="674"/>
                    </a:cubicBezTo>
                    <a:cubicBezTo>
                      <a:pt x="15" y="678"/>
                      <a:pt x="15" y="678"/>
                      <a:pt x="15" y="678"/>
                    </a:cubicBezTo>
                    <a:cubicBezTo>
                      <a:pt x="15" y="678"/>
                      <a:pt x="0" y="686"/>
                      <a:pt x="0" y="691"/>
                    </a:cubicBezTo>
                    <a:cubicBezTo>
                      <a:pt x="0" y="696"/>
                      <a:pt x="15" y="702"/>
                      <a:pt x="15" y="702"/>
                    </a:cubicBezTo>
                    <a:cubicBezTo>
                      <a:pt x="17" y="720"/>
                      <a:pt x="17" y="720"/>
                      <a:pt x="17" y="720"/>
                    </a:cubicBezTo>
                    <a:cubicBezTo>
                      <a:pt x="17" y="720"/>
                      <a:pt x="30" y="741"/>
                      <a:pt x="35" y="747"/>
                    </a:cubicBezTo>
                    <a:cubicBezTo>
                      <a:pt x="40" y="753"/>
                      <a:pt x="62" y="768"/>
                      <a:pt x="60" y="773"/>
                    </a:cubicBezTo>
                    <a:cubicBezTo>
                      <a:pt x="58" y="778"/>
                      <a:pt x="43" y="791"/>
                      <a:pt x="43" y="791"/>
                    </a:cubicBezTo>
                    <a:cubicBezTo>
                      <a:pt x="43" y="791"/>
                      <a:pt x="79" y="790"/>
                      <a:pt x="82" y="797"/>
                    </a:cubicBezTo>
                    <a:cubicBezTo>
                      <a:pt x="85" y="804"/>
                      <a:pt x="93" y="823"/>
                      <a:pt x="93" y="823"/>
                    </a:cubicBezTo>
                    <a:cubicBezTo>
                      <a:pt x="135" y="819"/>
                      <a:pt x="135" y="819"/>
                      <a:pt x="135" y="819"/>
                    </a:cubicBezTo>
                    <a:cubicBezTo>
                      <a:pt x="169" y="789"/>
                      <a:pt x="169" y="789"/>
                      <a:pt x="169" y="789"/>
                    </a:cubicBezTo>
                    <a:cubicBezTo>
                      <a:pt x="169" y="789"/>
                      <a:pt x="174" y="812"/>
                      <a:pt x="172" y="816"/>
                    </a:cubicBezTo>
                    <a:cubicBezTo>
                      <a:pt x="170" y="820"/>
                      <a:pt x="165" y="834"/>
                      <a:pt x="167" y="844"/>
                    </a:cubicBezTo>
                    <a:cubicBezTo>
                      <a:pt x="169" y="854"/>
                      <a:pt x="170" y="874"/>
                      <a:pt x="170" y="874"/>
                    </a:cubicBezTo>
                    <a:cubicBezTo>
                      <a:pt x="177" y="873"/>
                      <a:pt x="177" y="873"/>
                      <a:pt x="177" y="873"/>
                    </a:cubicBezTo>
                    <a:cubicBezTo>
                      <a:pt x="177" y="873"/>
                      <a:pt x="177" y="881"/>
                      <a:pt x="185" y="881"/>
                    </a:cubicBezTo>
                    <a:cubicBezTo>
                      <a:pt x="193" y="881"/>
                      <a:pt x="189" y="872"/>
                      <a:pt x="200" y="872"/>
                    </a:cubicBezTo>
                    <a:cubicBezTo>
                      <a:pt x="211" y="872"/>
                      <a:pt x="246" y="875"/>
                      <a:pt x="246" y="875"/>
                    </a:cubicBezTo>
                    <a:cubicBezTo>
                      <a:pt x="246" y="875"/>
                      <a:pt x="249" y="886"/>
                      <a:pt x="262" y="883"/>
                    </a:cubicBezTo>
                    <a:cubicBezTo>
                      <a:pt x="275" y="880"/>
                      <a:pt x="283" y="871"/>
                      <a:pt x="283" y="871"/>
                    </a:cubicBezTo>
                    <a:cubicBezTo>
                      <a:pt x="288" y="859"/>
                      <a:pt x="288" y="859"/>
                      <a:pt x="288" y="859"/>
                    </a:cubicBezTo>
                    <a:cubicBezTo>
                      <a:pt x="312" y="858"/>
                      <a:pt x="312" y="858"/>
                      <a:pt x="312" y="858"/>
                    </a:cubicBezTo>
                    <a:cubicBezTo>
                      <a:pt x="316" y="840"/>
                      <a:pt x="316" y="840"/>
                      <a:pt x="316" y="840"/>
                    </a:cubicBezTo>
                    <a:cubicBezTo>
                      <a:pt x="340" y="841"/>
                      <a:pt x="340" y="841"/>
                      <a:pt x="340" y="841"/>
                    </a:cubicBezTo>
                    <a:cubicBezTo>
                      <a:pt x="340" y="841"/>
                      <a:pt x="350" y="815"/>
                      <a:pt x="363" y="815"/>
                    </a:cubicBezTo>
                    <a:cubicBezTo>
                      <a:pt x="376" y="815"/>
                      <a:pt x="386" y="816"/>
                      <a:pt x="386" y="816"/>
                    </a:cubicBezTo>
                    <a:cubicBezTo>
                      <a:pt x="395" y="808"/>
                      <a:pt x="395" y="808"/>
                      <a:pt x="395" y="808"/>
                    </a:cubicBezTo>
                    <a:cubicBezTo>
                      <a:pt x="395" y="808"/>
                      <a:pt x="404" y="818"/>
                      <a:pt x="405" y="814"/>
                    </a:cubicBezTo>
                    <a:cubicBezTo>
                      <a:pt x="406" y="810"/>
                      <a:pt x="419" y="802"/>
                      <a:pt x="423" y="806"/>
                    </a:cubicBezTo>
                    <a:cubicBezTo>
                      <a:pt x="427" y="810"/>
                      <a:pt x="419" y="837"/>
                      <a:pt x="419" y="837"/>
                    </a:cubicBezTo>
                    <a:cubicBezTo>
                      <a:pt x="419" y="837"/>
                      <a:pt x="411" y="850"/>
                      <a:pt x="412" y="854"/>
                    </a:cubicBezTo>
                    <a:cubicBezTo>
                      <a:pt x="413" y="858"/>
                      <a:pt x="422" y="866"/>
                      <a:pt x="422" y="875"/>
                    </a:cubicBezTo>
                    <a:cubicBezTo>
                      <a:pt x="422" y="884"/>
                      <a:pt x="415" y="890"/>
                      <a:pt x="422" y="899"/>
                    </a:cubicBezTo>
                    <a:cubicBezTo>
                      <a:pt x="429" y="908"/>
                      <a:pt x="436" y="912"/>
                      <a:pt x="436" y="912"/>
                    </a:cubicBezTo>
                    <a:cubicBezTo>
                      <a:pt x="442" y="932"/>
                      <a:pt x="442" y="932"/>
                      <a:pt x="442" y="932"/>
                    </a:cubicBezTo>
                    <a:cubicBezTo>
                      <a:pt x="442" y="932"/>
                      <a:pt x="458" y="930"/>
                      <a:pt x="461" y="935"/>
                    </a:cubicBezTo>
                    <a:cubicBezTo>
                      <a:pt x="464" y="940"/>
                      <a:pt x="460" y="951"/>
                      <a:pt x="470" y="955"/>
                    </a:cubicBezTo>
                    <a:cubicBezTo>
                      <a:pt x="480" y="959"/>
                      <a:pt x="484" y="959"/>
                      <a:pt x="488" y="960"/>
                    </a:cubicBezTo>
                    <a:cubicBezTo>
                      <a:pt x="492" y="961"/>
                      <a:pt x="502" y="954"/>
                      <a:pt x="502" y="954"/>
                    </a:cubicBezTo>
                    <a:cubicBezTo>
                      <a:pt x="502" y="954"/>
                      <a:pt x="508" y="968"/>
                      <a:pt x="516" y="968"/>
                    </a:cubicBezTo>
                    <a:cubicBezTo>
                      <a:pt x="524" y="968"/>
                      <a:pt x="531" y="961"/>
                      <a:pt x="532" y="965"/>
                    </a:cubicBezTo>
                    <a:cubicBezTo>
                      <a:pt x="533" y="969"/>
                      <a:pt x="541" y="981"/>
                      <a:pt x="552" y="986"/>
                    </a:cubicBezTo>
                    <a:cubicBezTo>
                      <a:pt x="563" y="991"/>
                      <a:pt x="579" y="992"/>
                      <a:pt x="579" y="992"/>
                    </a:cubicBezTo>
                    <a:cubicBezTo>
                      <a:pt x="579" y="992"/>
                      <a:pt x="588" y="1012"/>
                      <a:pt x="598" y="1013"/>
                    </a:cubicBezTo>
                    <a:cubicBezTo>
                      <a:pt x="608" y="1014"/>
                      <a:pt x="619" y="1009"/>
                      <a:pt x="630" y="1011"/>
                    </a:cubicBezTo>
                    <a:cubicBezTo>
                      <a:pt x="641" y="1013"/>
                      <a:pt x="661" y="1022"/>
                      <a:pt x="662" y="1032"/>
                    </a:cubicBezTo>
                    <a:cubicBezTo>
                      <a:pt x="663" y="1042"/>
                      <a:pt x="658" y="1045"/>
                      <a:pt x="662" y="1052"/>
                    </a:cubicBezTo>
                    <a:cubicBezTo>
                      <a:pt x="666" y="1059"/>
                      <a:pt x="673" y="1071"/>
                      <a:pt x="673" y="1071"/>
                    </a:cubicBezTo>
                    <a:cubicBezTo>
                      <a:pt x="675" y="1092"/>
                      <a:pt x="675" y="1092"/>
                      <a:pt x="675" y="1092"/>
                    </a:cubicBezTo>
                    <a:cubicBezTo>
                      <a:pt x="675" y="1092"/>
                      <a:pt x="660" y="1090"/>
                      <a:pt x="662" y="1096"/>
                    </a:cubicBezTo>
                    <a:cubicBezTo>
                      <a:pt x="664" y="1102"/>
                      <a:pt x="680" y="1116"/>
                      <a:pt x="680" y="1116"/>
                    </a:cubicBezTo>
                    <a:cubicBezTo>
                      <a:pt x="680" y="1116"/>
                      <a:pt x="670" y="1147"/>
                      <a:pt x="683" y="1156"/>
                    </a:cubicBezTo>
                    <a:cubicBezTo>
                      <a:pt x="696" y="1165"/>
                      <a:pt x="773" y="1163"/>
                      <a:pt x="773" y="1163"/>
                    </a:cubicBezTo>
                    <a:cubicBezTo>
                      <a:pt x="773" y="1163"/>
                      <a:pt x="762" y="1197"/>
                      <a:pt x="769" y="1206"/>
                    </a:cubicBezTo>
                    <a:cubicBezTo>
                      <a:pt x="776" y="1215"/>
                      <a:pt x="785" y="1216"/>
                      <a:pt x="796" y="1223"/>
                    </a:cubicBezTo>
                    <a:cubicBezTo>
                      <a:pt x="807" y="1230"/>
                      <a:pt x="816" y="1248"/>
                      <a:pt x="816" y="1262"/>
                    </a:cubicBezTo>
                    <a:cubicBezTo>
                      <a:pt x="816" y="1276"/>
                      <a:pt x="811" y="1302"/>
                      <a:pt x="811" y="1302"/>
                    </a:cubicBezTo>
                    <a:cubicBezTo>
                      <a:pt x="815" y="1310"/>
                      <a:pt x="815" y="1310"/>
                      <a:pt x="815" y="1310"/>
                    </a:cubicBezTo>
                    <a:cubicBezTo>
                      <a:pt x="815" y="1310"/>
                      <a:pt x="798" y="1337"/>
                      <a:pt x="800" y="1342"/>
                    </a:cubicBezTo>
                    <a:cubicBezTo>
                      <a:pt x="802" y="1347"/>
                      <a:pt x="814" y="1357"/>
                      <a:pt x="814" y="1357"/>
                    </a:cubicBezTo>
                    <a:cubicBezTo>
                      <a:pt x="814" y="1357"/>
                      <a:pt x="799" y="1365"/>
                      <a:pt x="799" y="1371"/>
                    </a:cubicBezTo>
                    <a:cubicBezTo>
                      <a:pt x="799" y="1377"/>
                      <a:pt x="808" y="1379"/>
                      <a:pt x="810" y="1386"/>
                    </a:cubicBezTo>
                    <a:cubicBezTo>
                      <a:pt x="812" y="1393"/>
                      <a:pt x="806" y="1402"/>
                      <a:pt x="810" y="1406"/>
                    </a:cubicBezTo>
                    <a:cubicBezTo>
                      <a:pt x="814" y="1410"/>
                      <a:pt x="819" y="1405"/>
                      <a:pt x="819" y="1414"/>
                    </a:cubicBezTo>
                    <a:cubicBezTo>
                      <a:pt x="819" y="1423"/>
                      <a:pt x="804" y="1459"/>
                      <a:pt x="820" y="1468"/>
                    </a:cubicBezTo>
                    <a:cubicBezTo>
                      <a:pt x="836" y="1477"/>
                      <a:pt x="880" y="1484"/>
                      <a:pt x="895" y="1481"/>
                    </a:cubicBezTo>
                    <a:cubicBezTo>
                      <a:pt x="910" y="1478"/>
                      <a:pt x="928" y="1478"/>
                      <a:pt x="932" y="1486"/>
                    </a:cubicBezTo>
                    <a:cubicBezTo>
                      <a:pt x="936" y="1494"/>
                      <a:pt x="932" y="1511"/>
                      <a:pt x="937" y="1531"/>
                    </a:cubicBezTo>
                    <a:cubicBezTo>
                      <a:pt x="942" y="1551"/>
                      <a:pt x="946" y="1572"/>
                      <a:pt x="957" y="1574"/>
                    </a:cubicBezTo>
                    <a:cubicBezTo>
                      <a:pt x="968" y="1576"/>
                      <a:pt x="972" y="1560"/>
                      <a:pt x="987" y="1564"/>
                    </a:cubicBezTo>
                    <a:cubicBezTo>
                      <a:pt x="1002" y="1568"/>
                      <a:pt x="1006" y="1576"/>
                      <a:pt x="1004" y="1596"/>
                    </a:cubicBezTo>
                    <a:cubicBezTo>
                      <a:pt x="1002" y="1616"/>
                      <a:pt x="1000" y="1626"/>
                      <a:pt x="998" y="1631"/>
                    </a:cubicBezTo>
                    <a:cubicBezTo>
                      <a:pt x="996" y="1636"/>
                      <a:pt x="995" y="1651"/>
                      <a:pt x="995" y="1651"/>
                    </a:cubicBezTo>
                    <a:cubicBezTo>
                      <a:pt x="998" y="1664"/>
                      <a:pt x="998" y="1664"/>
                      <a:pt x="998" y="1664"/>
                    </a:cubicBezTo>
                    <a:cubicBezTo>
                      <a:pt x="998" y="1664"/>
                      <a:pt x="1014" y="1653"/>
                      <a:pt x="1021" y="1657"/>
                    </a:cubicBezTo>
                    <a:cubicBezTo>
                      <a:pt x="1028" y="1661"/>
                      <a:pt x="1032" y="1682"/>
                      <a:pt x="1032" y="1682"/>
                    </a:cubicBezTo>
                    <a:cubicBezTo>
                      <a:pt x="1032" y="1682"/>
                      <a:pt x="1043" y="1681"/>
                      <a:pt x="1043" y="1690"/>
                    </a:cubicBezTo>
                    <a:cubicBezTo>
                      <a:pt x="1043" y="1699"/>
                      <a:pt x="1051" y="1737"/>
                      <a:pt x="1045" y="1743"/>
                    </a:cubicBezTo>
                    <a:cubicBezTo>
                      <a:pt x="1039" y="1749"/>
                      <a:pt x="1022" y="1751"/>
                      <a:pt x="1011" y="1756"/>
                    </a:cubicBezTo>
                    <a:cubicBezTo>
                      <a:pt x="1000" y="1761"/>
                      <a:pt x="1000" y="1779"/>
                      <a:pt x="1000" y="1779"/>
                    </a:cubicBezTo>
                    <a:cubicBezTo>
                      <a:pt x="979" y="1781"/>
                      <a:pt x="979" y="1781"/>
                      <a:pt x="979" y="1781"/>
                    </a:cubicBezTo>
                    <a:cubicBezTo>
                      <a:pt x="978" y="1792"/>
                      <a:pt x="978" y="1792"/>
                      <a:pt x="978" y="1792"/>
                    </a:cubicBezTo>
                    <a:cubicBezTo>
                      <a:pt x="972" y="1794"/>
                      <a:pt x="972" y="1794"/>
                      <a:pt x="972" y="1794"/>
                    </a:cubicBezTo>
                    <a:cubicBezTo>
                      <a:pt x="969" y="1810"/>
                      <a:pt x="969" y="1810"/>
                      <a:pt x="969" y="1810"/>
                    </a:cubicBezTo>
                    <a:cubicBezTo>
                      <a:pt x="953" y="1814"/>
                      <a:pt x="953" y="1814"/>
                      <a:pt x="953" y="1814"/>
                    </a:cubicBezTo>
                    <a:cubicBezTo>
                      <a:pt x="953" y="1814"/>
                      <a:pt x="950" y="1837"/>
                      <a:pt x="945" y="1842"/>
                    </a:cubicBezTo>
                    <a:cubicBezTo>
                      <a:pt x="940" y="1847"/>
                      <a:pt x="931" y="1852"/>
                      <a:pt x="931" y="1855"/>
                    </a:cubicBezTo>
                    <a:cubicBezTo>
                      <a:pt x="931" y="1858"/>
                      <a:pt x="928" y="1873"/>
                      <a:pt x="923" y="1878"/>
                    </a:cubicBezTo>
                    <a:cubicBezTo>
                      <a:pt x="918" y="1883"/>
                      <a:pt x="903" y="1882"/>
                      <a:pt x="903" y="1888"/>
                    </a:cubicBezTo>
                    <a:cubicBezTo>
                      <a:pt x="903" y="1894"/>
                      <a:pt x="899" y="1911"/>
                      <a:pt x="899" y="1911"/>
                    </a:cubicBezTo>
                    <a:cubicBezTo>
                      <a:pt x="915" y="1912"/>
                      <a:pt x="915" y="1912"/>
                      <a:pt x="915" y="1912"/>
                    </a:cubicBezTo>
                    <a:cubicBezTo>
                      <a:pt x="915" y="1912"/>
                      <a:pt x="921" y="1902"/>
                      <a:pt x="933" y="1904"/>
                    </a:cubicBezTo>
                    <a:cubicBezTo>
                      <a:pt x="945" y="1906"/>
                      <a:pt x="970" y="1933"/>
                      <a:pt x="970" y="1933"/>
                    </a:cubicBezTo>
                    <a:cubicBezTo>
                      <a:pt x="970" y="1933"/>
                      <a:pt x="980" y="1956"/>
                      <a:pt x="986" y="1956"/>
                    </a:cubicBezTo>
                    <a:cubicBezTo>
                      <a:pt x="992" y="1956"/>
                      <a:pt x="991" y="1942"/>
                      <a:pt x="1001" y="1945"/>
                    </a:cubicBezTo>
                    <a:cubicBezTo>
                      <a:pt x="1011" y="1948"/>
                      <a:pt x="1020" y="1964"/>
                      <a:pt x="1025" y="1967"/>
                    </a:cubicBezTo>
                    <a:cubicBezTo>
                      <a:pt x="1030" y="1970"/>
                      <a:pt x="1037" y="1969"/>
                      <a:pt x="1037" y="1969"/>
                    </a:cubicBezTo>
                    <a:cubicBezTo>
                      <a:pt x="1037" y="1969"/>
                      <a:pt x="1045" y="1976"/>
                      <a:pt x="1049" y="1978"/>
                    </a:cubicBezTo>
                    <a:cubicBezTo>
                      <a:pt x="1053" y="1980"/>
                      <a:pt x="1055" y="1993"/>
                      <a:pt x="1067" y="1997"/>
                    </a:cubicBezTo>
                    <a:cubicBezTo>
                      <a:pt x="1079" y="2001"/>
                      <a:pt x="1086" y="2000"/>
                      <a:pt x="1086" y="2000"/>
                    </a:cubicBezTo>
                    <a:cubicBezTo>
                      <a:pt x="1086" y="2000"/>
                      <a:pt x="1096" y="2024"/>
                      <a:pt x="1104" y="2029"/>
                    </a:cubicBezTo>
                    <a:cubicBezTo>
                      <a:pt x="1112" y="2034"/>
                      <a:pt x="1131" y="2033"/>
                      <a:pt x="1126" y="2042"/>
                    </a:cubicBezTo>
                    <a:cubicBezTo>
                      <a:pt x="1121" y="2051"/>
                      <a:pt x="1111" y="2064"/>
                      <a:pt x="1112" y="2071"/>
                    </a:cubicBezTo>
                    <a:cubicBezTo>
                      <a:pt x="1113" y="2078"/>
                      <a:pt x="1119" y="2078"/>
                      <a:pt x="1119" y="2078"/>
                    </a:cubicBezTo>
                    <a:cubicBezTo>
                      <a:pt x="1118" y="2099"/>
                      <a:pt x="1118" y="2099"/>
                      <a:pt x="1118" y="2099"/>
                    </a:cubicBezTo>
                    <a:cubicBezTo>
                      <a:pt x="1128" y="2098"/>
                      <a:pt x="1128" y="2098"/>
                      <a:pt x="1128" y="2098"/>
                    </a:cubicBezTo>
                    <a:cubicBezTo>
                      <a:pt x="1128" y="2096"/>
                      <a:pt x="1128" y="2096"/>
                      <a:pt x="1128" y="2096"/>
                    </a:cubicBezTo>
                    <a:cubicBezTo>
                      <a:pt x="1128" y="2096"/>
                      <a:pt x="1151" y="2070"/>
                      <a:pt x="1156" y="2061"/>
                    </a:cubicBezTo>
                    <a:cubicBezTo>
                      <a:pt x="1161" y="2052"/>
                      <a:pt x="1153" y="2031"/>
                      <a:pt x="1153" y="2031"/>
                    </a:cubicBezTo>
                    <a:cubicBezTo>
                      <a:pt x="1165" y="2013"/>
                      <a:pt x="1165" y="2013"/>
                      <a:pt x="1165" y="2013"/>
                    </a:cubicBezTo>
                    <a:cubicBezTo>
                      <a:pt x="1165" y="2013"/>
                      <a:pt x="1155" y="2005"/>
                      <a:pt x="1155" y="1995"/>
                    </a:cubicBezTo>
                    <a:cubicBezTo>
                      <a:pt x="1155" y="1985"/>
                      <a:pt x="1165" y="1984"/>
                      <a:pt x="1165" y="1984"/>
                    </a:cubicBezTo>
                    <a:cubicBezTo>
                      <a:pt x="1167" y="1968"/>
                      <a:pt x="1167" y="1968"/>
                      <a:pt x="1167" y="1968"/>
                    </a:cubicBezTo>
                    <a:cubicBezTo>
                      <a:pt x="1167" y="1968"/>
                      <a:pt x="1179" y="1966"/>
                      <a:pt x="1183" y="1962"/>
                    </a:cubicBezTo>
                    <a:cubicBezTo>
                      <a:pt x="1187" y="1958"/>
                      <a:pt x="1186" y="1944"/>
                      <a:pt x="1186" y="1936"/>
                    </a:cubicBezTo>
                    <a:cubicBezTo>
                      <a:pt x="1186" y="1928"/>
                      <a:pt x="1204" y="1911"/>
                      <a:pt x="1213" y="1909"/>
                    </a:cubicBezTo>
                    <a:cubicBezTo>
                      <a:pt x="1222" y="1907"/>
                      <a:pt x="1219" y="1931"/>
                      <a:pt x="1219" y="1931"/>
                    </a:cubicBezTo>
                    <a:cubicBezTo>
                      <a:pt x="1219" y="1931"/>
                      <a:pt x="1213" y="1941"/>
                      <a:pt x="1210" y="1943"/>
                    </a:cubicBezTo>
                    <a:cubicBezTo>
                      <a:pt x="1207" y="1945"/>
                      <a:pt x="1208" y="1956"/>
                      <a:pt x="1208" y="1956"/>
                    </a:cubicBezTo>
                    <a:cubicBezTo>
                      <a:pt x="1201" y="1960"/>
                      <a:pt x="1201" y="1960"/>
                      <a:pt x="1201" y="1960"/>
                    </a:cubicBezTo>
                    <a:cubicBezTo>
                      <a:pt x="1201" y="1969"/>
                      <a:pt x="1201" y="1969"/>
                      <a:pt x="1201" y="1969"/>
                    </a:cubicBezTo>
                    <a:cubicBezTo>
                      <a:pt x="1184" y="1987"/>
                      <a:pt x="1184" y="1987"/>
                      <a:pt x="1184" y="1987"/>
                    </a:cubicBezTo>
                    <a:cubicBezTo>
                      <a:pt x="1163" y="2002"/>
                      <a:pt x="1163" y="2002"/>
                      <a:pt x="1163" y="2002"/>
                    </a:cubicBezTo>
                    <a:cubicBezTo>
                      <a:pt x="1163" y="2002"/>
                      <a:pt x="1170" y="2008"/>
                      <a:pt x="1177" y="2006"/>
                    </a:cubicBezTo>
                    <a:cubicBezTo>
                      <a:pt x="1182" y="2005"/>
                      <a:pt x="1182" y="1993"/>
                      <a:pt x="1187" y="1990"/>
                    </a:cubicBezTo>
                    <a:cubicBezTo>
                      <a:pt x="1191" y="1986"/>
                      <a:pt x="1198" y="1989"/>
                      <a:pt x="1200" y="1987"/>
                    </a:cubicBezTo>
                    <a:cubicBezTo>
                      <a:pt x="1206" y="1978"/>
                      <a:pt x="1228" y="1944"/>
                      <a:pt x="1233" y="1920"/>
                    </a:cubicBezTo>
                    <a:cubicBezTo>
                      <a:pt x="1238" y="1896"/>
                      <a:pt x="1248" y="1874"/>
                      <a:pt x="1252" y="1860"/>
                    </a:cubicBezTo>
                    <a:cubicBezTo>
                      <a:pt x="1256" y="1846"/>
                      <a:pt x="1284" y="1829"/>
                      <a:pt x="1286" y="1825"/>
                    </a:cubicBezTo>
                    <a:cubicBezTo>
                      <a:pt x="1288" y="1821"/>
                      <a:pt x="1281" y="1811"/>
                      <a:pt x="1281" y="1811"/>
                    </a:cubicBezTo>
                    <a:cubicBezTo>
                      <a:pt x="1294" y="1802"/>
                      <a:pt x="1294" y="1802"/>
                      <a:pt x="1294" y="1802"/>
                    </a:cubicBezTo>
                    <a:cubicBezTo>
                      <a:pt x="1290" y="1778"/>
                      <a:pt x="1290" y="1778"/>
                      <a:pt x="1290" y="1778"/>
                    </a:cubicBezTo>
                    <a:cubicBezTo>
                      <a:pt x="1294" y="1764"/>
                      <a:pt x="1294" y="1764"/>
                      <a:pt x="1294" y="1764"/>
                    </a:cubicBezTo>
                    <a:cubicBezTo>
                      <a:pt x="1285" y="1759"/>
                      <a:pt x="1285" y="1759"/>
                      <a:pt x="1285" y="1759"/>
                    </a:cubicBezTo>
                    <a:cubicBezTo>
                      <a:pt x="1285" y="1759"/>
                      <a:pt x="1292" y="1750"/>
                      <a:pt x="1292" y="1742"/>
                    </a:cubicBezTo>
                    <a:cubicBezTo>
                      <a:pt x="1292" y="1734"/>
                      <a:pt x="1277" y="1728"/>
                      <a:pt x="1277" y="1728"/>
                    </a:cubicBezTo>
                    <a:cubicBezTo>
                      <a:pt x="1276" y="1705"/>
                      <a:pt x="1276" y="1705"/>
                      <a:pt x="1276" y="1705"/>
                    </a:cubicBezTo>
                    <a:cubicBezTo>
                      <a:pt x="1266" y="1694"/>
                      <a:pt x="1266" y="1694"/>
                      <a:pt x="1266" y="1694"/>
                    </a:cubicBezTo>
                    <a:cubicBezTo>
                      <a:pt x="1280" y="1695"/>
                      <a:pt x="1280" y="1695"/>
                      <a:pt x="1280" y="1695"/>
                    </a:cubicBezTo>
                    <a:cubicBezTo>
                      <a:pt x="1279" y="1678"/>
                      <a:pt x="1279" y="1678"/>
                      <a:pt x="1279" y="1678"/>
                    </a:cubicBezTo>
                    <a:cubicBezTo>
                      <a:pt x="1270" y="1673"/>
                      <a:pt x="1270" y="1673"/>
                      <a:pt x="1270" y="1673"/>
                    </a:cubicBezTo>
                    <a:cubicBezTo>
                      <a:pt x="1270" y="1673"/>
                      <a:pt x="1282" y="1670"/>
                      <a:pt x="1282" y="1665"/>
                    </a:cubicBezTo>
                    <a:cubicBezTo>
                      <a:pt x="1282" y="1660"/>
                      <a:pt x="1266" y="1650"/>
                      <a:pt x="1266" y="1650"/>
                    </a:cubicBezTo>
                    <a:cubicBezTo>
                      <a:pt x="1282" y="1639"/>
                      <a:pt x="1282" y="1639"/>
                      <a:pt x="1282" y="1639"/>
                    </a:cubicBezTo>
                    <a:cubicBezTo>
                      <a:pt x="1282" y="1639"/>
                      <a:pt x="1295" y="1653"/>
                      <a:pt x="1301" y="1652"/>
                    </a:cubicBezTo>
                    <a:cubicBezTo>
                      <a:pt x="1307" y="1651"/>
                      <a:pt x="1303" y="1639"/>
                      <a:pt x="1303" y="1639"/>
                    </a:cubicBezTo>
                    <a:cubicBezTo>
                      <a:pt x="1303" y="1639"/>
                      <a:pt x="1303" y="1627"/>
                      <a:pt x="1311" y="1617"/>
                    </a:cubicBezTo>
                    <a:cubicBezTo>
                      <a:pt x="1319" y="1607"/>
                      <a:pt x="1331" y="1610"/>
                      <a:pt x="1337" y="1605"/>
                    </a:cubicBezTo>
                    <a:cubicBezTo>
                      <a:pt x="1343" y="1600"/>
                      <a:pt x="1340" y="1596"/>
                      <a:pt x="1343" y="1589"/>
                    </a:cubicBezTo>
                    <a:cubicBezTo>
                      <a:pt x="1346" y="1582"/>
                      <a:pt x="1364" y="1579"/>
                      <a:pt x="1364" y="1579"/>
                    </a:cubicBezTo>
                    <a:cubicBezTo>
                      <a:pt x="1366" y="1571"/>
                      <a:pt x="1366" y="1571"/>
                      <a:pt x="1366" y="1571"/>
                    </a:cubicBezTo>
                    <a:cubicBezTo>
                      <a:pt x="1366" y="1571"/>
                      <a:pt x="1372" y="1574"/>
                      <a:pt x="1377" y="1573"/>
                    </a:cubicBezTo>
                    <a:cubicBezTo>
                      <a:pt x="1382" y="1572"/>
                      <a:pt x="1381" y="1560"/>
                      <a:pt x="1387" y="1559"/>
                    </a:cubicBezTo>
                    <a:cubicBezTo>
                      <a:pt x="1393" y="1558"/>
                      <a:pt x="1412" y="1561"/>
                      <a:pt x="1412" y="1561"/>
                    </a:cubicBezTo>
                    <a:cubicBezTo>
                      <a:pt x="1416" y="1571"/>
                      <a:pt x="1416" y="1571"/>
                      <a:pt x="1416" y="1571"/>
                    </a:cubicBezTo>
                    <a:cubicBezTo>
                      <a:pt x="1427" y="1569"/>
                      <a:pt x="1427" y="1569"/>
                      <a:pt x="1427" y="1569"/>
                    </a:cubicBezTo>
                    <a:cubicBezTo>
                      <a:pt x="1414" y="1554"/>
                      <a:pt x="1414" y="1554"/>
                      <a:pt x="1414" y="1554"/>
                    </a:cubicBezTo>
                    <a:cubicBezTo>
                      <a:pt x="1414" y="1554"/>
                      <a:pt x="1423" y="1550"/>
                      <a:pt x="1427" y="1545"/>
                    </a:cubicBezTo>
                    <a:cubicBezTo>
                      <a:pt x="1431" y="1540"/>
                      <a:pt x="1453" y="1539"/>
                      <a:pt x="1453" y="1539"/>
                    </a:cubicBezTo>
                    <a:cubicBezTo>
                      <a:pt x="1442" y="1529"/>
                      <a:pt x="1442" y="1529"/>
                      <a:pt x="1442" y="1529"/>
                    </a:cubicBezTo>
                    <a:cubicBezTo>
                      <a:pt x="1442" y="1529"/>
                      <a:pt x="1454" y="1519"/>
                      <a:pt x="1459" y="1519"/>
                    </a:cubicBezTo>
                    <a:cubicBezTo>
                      <a:pt x="1464" y="1519"/>
                      <a:pt x="1460" y="1535"/>
                      <a:pt x="1463" y="1535"/>
                    </a:cubicBezTo>
                    <a:cubicBezTo>
                      <a:pt x="1466" y="1535"/>
                      <a:pt x="1472" y="1518"/>
                      <a:pt x="1472" y="1518"/>
                    </a:cubicBezTo>
                    <a:cubicBezTo>
                      <a:pt x="1497" y="1523"/>
                      <a:pt x="1497" y="1523"/>
                      <a:pt x="1497" y="1523"/>
                    </a:cubicBezTo>
                    <a:cubicBezTo>
                      <a:pt x="1497" y="1523"/>
                      <a:pt x="1502" y="1503"/>
                      <a:pt x="1513" y="1502"/>
                    </a:cubicBezTo>
                    <a:cubicBezTo>
                      <a:pt x="1524" y="1501"/>
                      <a:pt x="1521" y="1523"/>
                      <a:pt x="1521" y="1523"/>
                    </a:cubicBezTo>
                    <a:cubicBezTo>
                      <a:pt x="1566" y="1518"/>
                      <a:pt x="1566" y="1518"/>
                      <a:pt x="1566" y="1518"/>
                    </a:cubicBezTo>
                    <a:cubicBezTo>
                      <a:pt x="1571" y="1506"/>
                      <a:pt x="1571" y="1506"/>
                      <a:pt x="1571" y="1506"/>
                    </a:cubicBezTo>
                    <a:cubicBezTo>
                      <a:pt x="1565" y="1499"/>
                      <a:pt x="1565" y="1499"/>
                      <a:pt x="1565" y="1499"/>
                    </a:cubicBezTo>
                    <a:cubicBezTo>
                      <a:pt x="1565" y="1499"/>
                      <a:pt x="1571" y="1491"/>
                      <a:pt x="1577" y="1482"/>
                    </a:cubicBezTo>
                    <a:cubicBezTo>
                      <a:pt x="1583" y="1473"/>
                      <a:pt x="1613" y="1468"/>
                      <a:pt x="1613" y="1468"/>
                    </a:cubicBezTo>
                    <a:cubicBezTo>
                      <a:pt x="1613" y="1468"/>
                      <a:pt x="1610" y="1455"/>
                      <a:pt x="1610" y="1452"/>
                    </a:cubicBezTo>
                    <a:cubicBezTo>
                      <a:pt x="1610" y="1449"/>
                      <a:pt x="1611" y="1408"/>
                      <a:pt x="1611" y="1408"/>
                    </a:cubicBezTo>
                    <a:cubicBezTo>
                      <a:pt x="1629" y="1388"/>
                      <a:pt x="1629" y="1388"/>
                      <a:pt x="1629" y="1388"/>
                    </a:cubicBezTo>
                    <a:cubicBezTo>
                      <a:pt x="1629" y="1372"/>
                      <a:pt x="1629" y="1372"/>
                      <a:pt x="1629" y="1372"/>
                    </a:cubicBezTo>
                    <a:cubicBezTo>
                      <a:pt x="1642" y="1369"/>
                      <a:pt x="1642" y="1369"/>
                      <a:pt x="1642" y="1369"/>
                    </a:cubicBezTo>
                    <a:cubicBezTo>
                      <a:pt x="1642" y="1347"/>
                      <a:pt x="1642" y="1347"/>
                      <a:pt x="1642" y="1347"/>
                    </a:cubicBezTo>
                    <a:cubicBezTo>
                      <a:pt x="1642" y="1347"/>
                      <a:pt x="1651" y="1342"/>
                      <a:pt x="1655" y="1342"/>
                    </a:cubicBezTo>
                    <a:cubicBezTo>
                      <a:pt x="1659" y="1342"/>
                      <a:pt x="1659" y="1317"/>
                      <a:pt x="1659" y="1317"/>
                    </a:cubicBezTo>
                    <a:cubicBezTo>
                      <a:pt x="1659" y="1317"/>
                      <a:pt x="1653" y="1288"/>
                      <a:pt x="1651" y="1273"/>
                    </a:cubicBezTo>
                    <a:cubicBezTo>
                      <a:pt x="1649" y="1258"/>
                      <a:pt x="1667" y="1246"/>
                      <a:pt x="1674" y="1240"/>
                    </a:cubicBezTo>
                    <a:cubicBezTo>
                      <a:pt x="1681" y="1234"/>
                      <a:pt x="1671" y="1213"/>
                      <a:pt x="1671" y="1213"/>
                    </a:cubicBezTo>
                    <a:cubicBezTo>
                      <a:pt x="1675" y="1175"/>
                      <a:pt x="1675" y="1175"/>
                      <a:pt x="1675" y="1175"/>
                    </a:cubicBezTo>
                    <a:cubicBezTo>
                      <a:pt x="1675" y="1175"/>
                      <a:pt x="1683" y="1145"/>
                      <a:pt x="1682" y="1134"/>
                    </a:cubicBezTo>
                    <a:cubicBezTo>
                      <a:pt x="1681" y="1123"/>
                      <a:pt x="1669" y="1065"/>
                      <a:pt x="1669" y="1065"/>
                    </a:cubicBezTo>
                    <a:cubicBezTo>
                      <a:pt x="1674" y="1041"/>
                      <a:pt x="1674" y="1041"/>
                      <a:pt x="1674" y="1041"/>
                    </a:cubicBezTo>
                    <a:cubicBezTo>
                      <a:pt x="1674" y="1041"/>
                      <a:pt x="1665" y="1010"/>
                      <a:pt x="1668" y="1002"/>
                    </a:cubicBezTo>
                    <a:cubicBezTo>
                      <a:pt x="1671" y="994"/>
                      <a:pt x="1682" y="984"/>
                      <a:pt x="1682" y="984"/>
                    </a:cubicBezTo>
                    <a:cubicBezTo>
                      <a:pt x="1674" y="972"/>
                      <a:pt x="1674" y="972"/>
                      <a:pt x="1674" y="972"/>
                    </a:cubicBezTo>
                    <a:cubicBezTo>
                      <a:pt x="1674" y="972"/>
                      <a:pt x="1681" y="962"/>
                      <a:pt x="1685" y="962"/>
                    </a:cubicBezTo>
                    <a:cubicBezTo>
                      <a:pt x="1689" y="962"/>
                      <a:pt x="1698" y="981"/>
                      <a:pt x="1698" y="981"/>
                    </a:cubicBezTo>
                    <a:cubicBezTo>
                      <a:pt x="1698" y="981"/>
                      <a:pt x="1720" y="961"/>
                      <a:pt x="1727" y="951"/>
                    </a:cubicBezTo>
                    <a:cubicBezTo>
                      <a:pt x="1734" y="941"/>
                      <a:pt x="1739" y="897"/>
                      <a:pt x="1739" y="897"/>
                    </a:cubicBezTo>
                    <a:cubicBezTo>
                      <a:pt x="1739" y="897"/>
                      <a:pt x="1745" y="893"/>
                      <a:pt x="1751" y="889"/>
                    </a:cubicBezTo>
                    <a:cubicBezTo>
                      <a:pt x="1757" y="885"/>
                      <a:pt x="1762" y="863"/>
                      <a:pt x="1762" y="863"/>
                    </a:cubicBezTo>
                    <a:cubicBezTo>
                      <a:pt x="1762" y="863"/>
                      <a:pt x="1775" y="856"/>
                      <a:pt x="1782" y="855"/>
                    </a:cubicBezTo>
                    <a:cubicBezTo>
                      <a:pt x="1789" y="854"/>
                      <a:pt x="1789" y="834"/>
                      <a:pt x="1789" y="834"/>
                    </a:cubicBezTo>
                    <a:cubicBezTo>
                      <a:pt x="1789" y="834"/>
                      <a:pt x="1803" y="829"/>
                      <a:pt x="1816" y="811"/>
                    </a:cubicBezTo>
                    <a:cubicBezTo>
                      <a:pt x="1829" y="793"/>
                      <a:pt x="1844" y="746"/>
                      <a:pt x="1844" y="746"/>
                    </a:cubicBezTo>
                    <a:cubicBezTo>
                      <a:pt x="1844" y="746"/>
                      <a:pt x="1856" y="733"/>
                      <a:pt x="1857" y="727"/>
                    </a:cubicBezTo>
                    <a:cubicBezTo>
                      <a:pt x="1858" y="721"/>
                      <a:pt x="1852" y="705"/>
                      <a:pt x="1852" y="705"/>
                    </a:cubicBezTo>
                    <a:cubicBezTo>
                      <a:pt x="1852" y="705"/>
                      <a:pt x="1855" y="684"/>
                      <a:pt x="1855" y="66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0" name="MCShape 142">
                <a:extLst>
                  <a:ext uri="{FF2B5EF4-FFF2-40B4-BE49-F238E27FC236}">
                    <a16:creationId xmlns:a16="http://schemas.microsoft.com/office/drawing/2014/main" id="{F5284AF9-AD9B-4880-8AA6-18318AF66B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8753" y="4773060"/>
                <a:ext cx="454742" cy="1195628"/>
              </a:xfrm>
              <a:custGeom>
                <a:avLst/>
                <a:gdLst>
                  <a:gd name="T0" fmla="*/ 550 w 771"/>
                  <a:gd name="T1" fmla="*/ 1864 h 2022"/>
                  <a:gd name="T2" fmla="*/ 572 w 771"/>
                  <a:gd name="T3" fmla="*/ 1906 h 2022"/>
                  <a:gd name="T4" fmla="*/ 567 w 771"/>
                  <a:gd name="T5" fmla="*/ 1954 h 2022"/>
                  <a:gd name="T6" fmla="*/ 690 w 771"/>
                  <a:gd name="T7" fmla="*/ 1981 h 2022"/>
                  <a:gd name="T8" fmla="*/ 658 w 771"/>
                  <a:gd name="T9" fmla="*/ 1993 h 2022"/>
                  <a:gd name="T10" fmla="*/ 617 w 771"/>
                  <a:gd name="T11" fmla="*/ 1988 h 2022"/>
                  <a:gd name="T12" fmla="*/ 663 w 771"/>
                  <a:gd name="T13" fmla="*/ 2010 h 2022"/>
                  <a:gd name="T14" fmla="*/ 500 w 771"/>
                  <a:gd name="T15" fmla="*/ 1974 h 2022"/>
                  <a:gd name="T16" fmla="*/ 526 w 771"/>
                  <a:gd name="T17" fmla="*/ 1935 h 2022"/>
                  <a:gd name="T18" fmla="*/ 471 w 771"/>
                  <a:gd name="T19" fmla="*/ 1945 h 2022"/>
                  <a:gd name="T20" fmla="*/ 397 w 771"/>
                  <a:gd name="T21" fmla="*/ 1867 h 2022"/>
                  <a:gd name="T22" fmla="*/ 345 w 771"/>
                  <a:gd name="T23" fmla="*/ 1873 h 2022"/>
                  <a:gd name="T24" fmla="*/ 355 w 771"/>
                  <a:gd name="T25" fmla="*/ 1822 h 2022"/>
                  <a:gd name="T26" fmla="*/ 326 w 771"/>
                  <a:gd name="T27" fmla="*/ 1841 h 2022"/>
                  <a:gd name="T28" fmla="*/ 342 w 771"/>
                  <a:gd name="T29" fmla="*/ 1820 h 2022"/>
                  <a:gd name="T30" fmla="*/ 287 w 771"/>
                  <a:gd name="T31" fmla="*/ 1789 h 2022"/>
                  <a:gd name="T32" fmla="*/ 267 w 771"/>
                  <a:gd name="T33" fmla="*/ 1739 h 2022"/>
                  <a:gd name="T34" fmla="*/ 257 w 771"/>
                  <a:gd name="T35" fmla="*/ 1697 h 2022"/>
                  <a:gd name="T36" fmla="*/ 208 w 771"/>
                  <a:gd name="T37" fmla="*/ 1688 h 2022"/>
                  <a:gd name="T38" fmla="*/ 144 w 771"/>
                  <a:gd name="T39" fmla="*/ 1339 h 2022"/>
                  <a:gd name="T40" fmla="*/ 163 w 771"/>
                  <a:gd name="T41" fmla="*/ 1391 h 2022"/>
                  <a:gd name="T42" fmla="*/ 186 w 771"/>
                  <a:gd name="T43" fmla="*/ 1483 h 2022"/>
                  <a:gd name="T44" fmla="*/ 212 w 771"/>
                  <a:gd name="T45" fmla="*/ 1463 h 2022"/>
                  <a:gd name="T46" fmla="*/ 143 w 771"/>
                  <a:gd name="T47" fmla="*/ 1440 h 2022"/>
                  <a:gd name="T48" fmla="*/ 498 w 771"/>
                  <a:gd name="T49" fmla="*/ 1874 h 2022"/>
                  <a:gd name="T50" fmla="*/ 449 w 771"/>
                  <a:gd name="T51" fmla="*/ 1842 h 2022"/>
                  <a:gd name="T52" fmla="*/ 338 w 771"/>
                  <a:gd name="T53" fmla="*/ 1747 h 2022"/>
                  <a:gd name="T54" fmla="*/ 317 w 771"/>
                  <a:gd name="T55" fmla="*/ 1650 h 2022"/>
                  <a:gd name="T56" fmla="*/ 304 w 771"/>
                  <a:gd name="T57" fmla="*/ 1533 h 2022"/>
                  <a:gd name="T58" fmla="*/ 272 w 771"/>
                  <a:gd name="T59" fmla="*/ 1443 h 2022"/>
                  <a:gd name="T60" fmla="*/ 215 w 771"/>
                  <a:gd name="T61" fmla="*/ 1320 h 2022"/>
                  <a:gd name="T62" fmla="*/ 187 w 771"/>
                  <a:gd name="T63" fmla="*/ 1196 h 2022"/>
                  <a:gd name="T64" fmla="*/ 165 w 771"/>
                  <a:gd name="T65" fmla="*/ 1085 h 2022"/>
                  <a:gd name="T66" fmla="*/ 166 w 771"/>
                  <a:gd name="T67" fmla="*/ 954 h 2022"/>
                  <a:gd name="T68" fmla="*/ 142 w 771"/>
                  <a:gd name="T69" fmla="*/ 815 h 2022"/>
                  <a:gd name="T70" fmla="*/ 109 w 771"/>
                  <a:gd name="T71" fmla="*/ 685 h 2022"/>
                  <a:gd name="T72" fmla="*/ 162 w 771"/>
                  <a:gd name="T73" fmla="*/ 498 h 2022"/>
                  <a:gd name="T74" fmla="*/ 184 w 771"/>
                  <a:gd name="T75" fmla="*/ 293 h 2022"/>
                  <a:gd name="T76" fmla="*/ 97 w 771"/>
                  <a:gd name="T77" fmla="*/ 161 h 2022"/>
                  <a:gd name="T78" fmla="*/ 45 w 771"/>
                  <a:gd name="T79" fmla="*/ 22 h 2022"/>
                  <a:gd name="T80" fmla="*/ 24 w 771"/>
                  <a:gd name="T81" fmla="*/ 182 h 2022"/>
                  <a:gd name="T82" fmla="*/ 47 w 771"/>
                  <a:gd name="T83" fmla="*/ 417 h 2022"/>
                  <a:gd name="T84" fmla="*/ 34 w 771"/>
                  <a:gd name="T85" fmla="*/ 559 h 2022"/>
                  <a:gd name="T86" fmla="*/ 47 w 771"/>
                  <a:gd name="T87" fmla="*/ 720 h 2022"/>
                  <a:gd name="T88" fmla="*/ 82 w 771"/>
                  <a:gd name="T89" fmla="*/ 947 h 2022"/>
                  <a:gd name="T90" fmla="*/ 72 w 771"/>
                  <a:gd name="T91" fmla="*/ 1102 h 2022"/>
                  <a:gd name="T92" fmla="*/ 129 w 771"/>
                  <a:gd name="T93" fmla="*/ 1299 h 2022"/>
                  <a:gd name="T94" fmla="*/ 193 w 771"/>
                  <a:gd name="T95" fmla="*/ 1313 h 2022"/>
                  <a:gd name="T96" fmla="*/ 212 w 771"/>
                  <a:gd name="T97" fmla="*/ 1403 h 2022"/>
                  <a:gd name="T98" fmla="*/ 252 w 771"/>
                  <a:gd name="T99" fmla="*/ 1497 h 2022"/>
                  <a:gd name="T100" fmla="*/ 214 w 771"/>
                  <a:gd name="T101" fmla="*/ 1535 h 2022"/>
                  <a:gd name="T102" fmla="*/ 176 w 771"/>
                  <a:gd name="T103" fmla="*/ 1528 h 2022"/>
                  <a:gd name="T104" fmla="*/ 214 w 771"/>
                  <a:gd name="T105" fmla="*/ 1567 h 2022"/>
                  <a:gd name="T106" fmla="*/ 257 w 771"/>
                  <a:gd name="T107" fmla="*/ 1604 h 2022"/>
                  <a:gd name="T108" fmla="*/ 265 w 771"/>
                  <a:gd name="T109" fmla="*/ 1686 h 2022"/>
                  <a:gd name="T110" fmla="*/ 298 w 771"/>
                  <a:gd name="T111" fmla="*/ 1731 h 2022"/>
                  <a:gd name="T112" fmla="*/ 331 w 771"/>
                  <a:gd name="T113" fmla="*/ 1762 h 2022"/>
                  <a:gd name="T114" fmla="*/ 407 w 771"/>
                  <a:gd name="T115" fmla="*/ 1821 h 2022"/>
                  <a:gd name="T116" fmla="*/ 434 w 771"/>
                  <a:gd name="T117" fmla="*/ 1876 h 2022"/>
                  <a:gd name="T118" fmla="*/ 459 w 771"/>
                  <a:gd name="T119" fmla="*/ 1893 h 2022"/>
                  <a:gd name="T120" fmla="*/ 428 w 771"/>
                  <a:gd name="T121" fmla="*/ 1927 h 202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71"/>
                  <a:gd name="T184" fmla="*/ 0 h 2022"/>
                  <a:gd name="T185" fmla="*/ 771 w 771"/>
                  <a:gd name="T186" fmla="*/ 2022 h 202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71" h="2022">
                    <a:moveTo>
                      <a:pt x="677" y="1942"/>
                    </a:moveTo>
                    <a:cubicBezTo>
                      <a:pt x="625" y="1916"/>
                      <a:pt x="625" y="1903"/>
                      <a:pt x="625" y="1903"/>
                    </a:cubicBezTo>
                    <a:cubicBezTo>
                      <a:pt x="602" y="1903"/>
                      <a:pt x="602" y="1903"/>
                      <a:pt x="602" y="1903"/>
                    </a:cubicBezTo>
                    <a:cubicBezTo>
                      <a:pt x="606" y="1892"/>
                      <a:pt x="606" y="1892"/>
                      <a:pt x="606" y="1892"/>
                    </a:cubicBezTo>
                    <a:cubicBezTo>
                      <a:pt x="580" y="1866"/>
                      <a:pt x="580" y="1866"/>
                      <a:pt x="580" y="1866"/>
                    </a:cubicBezTo>
                    <a:cubicBezTo>
                      <a:pt x="559" y="1872"/>
                      <a:pt x="559" y="1872"/>
                      <a:pt x="559" y="1872"/>
                    </a:cubicBezTo>
                    <a:cubicBezTo>
                      <a:pt x="550" y="1864"/>
                      <a:pt x="550" y="1864"/>
                      <a:pt x="550" y="1864"/>
                    </a:cubicBezTo>
                    <a:cubicBezTo>
                      <a:pt x="543" y="1876"/>
                      <a:pt x="543" y="1876"/>
                      <a:pt x="543" y="1876"/>
                    </a:cubicBezTo>
                    <a:cubicBezTo>
                      <a:pt x="530" y="1879"/>
                      <a:pt x="530" y="1879"/>
                      <a:pt x="530" y="1879"/>
                    </a:cubicBezTo>
                    <a:cubicBezTo>
                      <a:pt x="531" y="1890"/>
                      <a:pt x="531" y="1890"/>
                      <a:pt x="531" y="1890"/>
                    </a:cubicBezTo>
                    <a:cubicBezTo>
                      <a:pt x="520" y="1892"/>
                      <a:pt x="520" y="1892"/>
                      <a:pt x="520" y="1892"/>
                    </a:cubicBezTo>
                    <a:cubicBezTo>
                      <a:pt x="521" y="1910"/>
                      <a:pt x="521" y="1910"/>
                      <a:pt x="521" y="1910"/>
                    </a:cubicBezTo>
                    <a:cubicBezTo>
                      <a:pt x="534" y="1923"/>
                      <a:pt x="557" y="1900"/>
                      <a:pt x="557" y="1900"/>
                    </a:cubicBezTo>
                    <a:cubicBezTo>
                      <a:pt x="572" y="1906"/>
                      <a:pt x="572" y="1906"/>
                      <a:pt x="572" y="1906"/>
                    </a:cubicBezTo>
                    <a:cubicBezTo>
                      <a:pt x="572" y="1919"/>
                      <a:pt x="572" y="1919"/>
                      <a:pt x="572" y="1919"/>
                    </a:cubicBezTo>
                    <a:cubicBezTo>
                      <a:pt x="572" y="1919"/>
                      <a:pt x="541" y="1934"/>
                      <a:pt x="552" y="1938"/>
                    </a:cubicBezTo>
                    <a:cubicBezTo>
                      <a:pt x="562" y="1942"/>
                      <a:pt x="615" y="1960"/>
                      <a:pt x="615" y="1960"/>
                    </a:cubicBezTo>
                    <a:cubicBezTo>
                      <a:pt x="605" y="1974"/>
                      <a:pt x="605" y="1974"/>
                      <a:pt x="605" y="1974"/>
                    </a:cubicBezTo>
                    <a:cubicBezTo>
                      <a:pt x="605" y="1974"/>
                      <a:pt x="602" y="1961"/>
                      <a:pt x="592" y="1961"/>
                    </a:cubicBezTo>
                    <a:cubicBezTo>
                      <a:pt x="582" y="1961"/>
                      <a:pt x="579" y="1968"/>
                      <a:pt x="579" y="1968"/>
                    </a:cubicBezTo>
                    <a:cubicBezTo>
                      <a:pt x="567" y="1954"/>
                      <a:pt x="567" y="1954"/>
                      <a:pt x="567" y="1954"/>
                    </a:cubicBezTo>
                    <a:cubicBezTo>
                      <a:pt x="556" y="1958"/>
                      <a:pt x="556" y="1958"/>
                      <a:pt x="556" y="1958"/>
                    </a:cubicBezTo>
                    <a:cubicBezTo>
                      <a:pt x="565" y="1965"/>
                      <a:pt x="565" y="1965"/>
                      <a:pt x="565" y="1965"/>
                    </a:cubicBezTo>
                    <a:cubicBezTo>
                      <a:pt x="544" y="1962"/>
                      <a:pt x="544" y="1962"/>
                      <a:pt x="544" y="1962"/>
                    </a:cubicBezTo>
                    <a:cubicBezTo>
                      <a:pt x="544" y="1962"/>
                      <a:pt x="550" y="1978"/>
                      <a:pt x="566" y="1978"/>
                    </a:cubicBezTo>
                    <a:cubicBezTo>
                      <a:pt x="582" y="1978"/>
                      <a:pt x="595" y="1978"/>
                      <a:pt x="595" y="1978"/>
                    </a:cubicBezTo>
                    <a:cubicBezTo>
                      <a:pt x="595" y="1978"/>
                      <a:pt x="611" y="1984"/>
                      <a:pt x="621" y="1983"/>
                    </a:cubicBezTo>
                    <a:cubicBezTo>
                      <a:pt x="631" y="1981"/>
                      <a:pt x="676" y="1981"/>
                      <a:pt x="690" y="1981"/>
                    </a:cubicBezTo>
                    <a:cubicBezTo>
                      <a:pt x="705" y="1981"/>
                      <a:pt x="725" y="1994"/>
                      <a:pt x="725" y="1994"/>
                    </a:cubicBezTo>
                    <a:cubicBezTo>
                      <a:pt x="746" y="1983"/>
                      <a:pt x="746" y="1983"/>
                      <a:pt x="746" y="1983"/>
                    </a:cubicBezTo>
                    <a:cubicBezTo>
                      <a:pt x="758" y="1987"/>
                      <a:pt x="758" y="1987"/>
                      <a:pt x="758" y="1987"/>
                    </a:cubicBezTo>
                    <a:cubicBezTo>
                      <a:pt x="770" y="1986"/>
                      <a:pt x="770" y="1986"/>
                      <a:pt x="770" y="1986"/>
                    </a:cubicBezTo>
                    <a:cubicBezTo>
                      <a:pt x="771" y="1970"/>
                      <a:pt x="771" y="1970"/>
                      <a:pt x="771" y="1970"/>
                    </a:cubicBezTo>
                    <a:cubicBezTo>
                      <a:pt x="771" y="1970"/>
                      <a:pt x="729" y="1968"/>
                      <a:pt x="677" y="1942"/>
                    </a:cubicBezTo>
                    <a:close/>
                    <a:moveTo>
                      <a:pt x="658" y="1993"/>
                    </a:moveTo>
                    <a:cubicBezTo>
                      <a:pt x="676" y="2003"/>
                      <a:pt x="676" y="2003"/>
                      <a:pt x="676" y="2003"/>
                    </a:cubicBezTo>
                    <a:cubicBezTo>
                      <a:pt x="712" y="2006"/>
                      <a:pt x="712" y="2006"/>
                      <a:pt x="712" y="2006"/>
                    </a:cubicBezTo>
                    <a:cubicBezTo>
                      <a:pt x="693" y="1988"/>
                      <a:pt x="693" y="1988"/>
                      <a:pt x="693" y="1988"/>
                    </a:cubicBezTo>
                    <a:lnTo>
                      <a:pt x="658" y="1993"/>
                    </a:lnTo>
                    <a:close/>
                    <a:moveTo>
                      <a:pt x="638" y="1997"/>
                    </a:moveTo>
                    <a:cubicBezTo>
                      <a:pt x="644" y="1991"/>
                      <a:pt x="644" y="1991"/>
                      <a:pt x="644" y="1991"/>
                    </a:cubicBezTo>
                    <a:cubicBezTo>
                      <a:pt x="617" y="1988"/>
                      <a:pt x="617" y="1988"/>
                      <a:pt x="617" y="1988"/>
                    </a:cubicBezTo>
                    <a:cubicBezTo>
                      <a:pt x="593" y="1988"/>
                      <a:pt x="593" y="1988"/>
                      <a:pt x="593" y="1988"/>
                    </a:cubicBezTo>
                    <a:cubicBezTo>
                      <a:pt x="602" y="2012"/>
                      <a:pt x="602" y="2012"/>
                      <a:pt x="602" y="2012"/>
                    </a:cubicBezTo>
                    <a:cubicBezTo>
                      <a:pt x="625" y="2014"/>
                      <a:pt x="625" y="2014"/>
                      <a:pt x="625" y="2014"/>
                    </a:cubicBezTo>
                    <a:cubicBezTo>
                      <a:pt x="619" y="2004"/>
                      <a:pt x="619" y="2004"/>
                      <a:pt x="619" y="2004"/>
                    </a:cubicBezTo>
                    <a:cubicBezTo>
                      <a:pt x="625" y="2000"/>
                      <a:pt x="625" y="2000"/>
                      <a:pt x="625" y="2000"/>
                    </a:cubicBezTo>
                    <a:cubicBezTo>
                      <a:pt x="632" y="2010"/>
                      <a:pt x="632" y="2010"/>
                      <a:pt x="632" y="2010"/>
                    </a:cubicBezTo>
                    <a:cubicBezTo>
                      <a:pt x="663" y="2010"/>
                      <a:pt x="663" y="2010"/>
                      <a:pt x="663" y="2010"/>
                    </a:cubicBezTo>
                    <a:cubicBezTo>
                      <a:pt x="673" y="2022"/>
                      <a:pt x="673" y="2022"/>
                      <a:pt x="673" y="2022"/>
                    </a:cubicBezTo>
                    <a:cubicBezTo>
                      <a:pt x="686" y="2022"/>
                      <a:pt x="686" y="2022"/>
                      <a:pt x="686" y="2022"/>
                    </a:cubicBezTo>
                    <a:cubicBezTo>
                      <a:pt x="666" y="2001"/>
                      <a:pt x="666" y="2001"/>
                      <a:pt x="666" y="2001"/>
                    </a:cubicBezTo>
                    <a:lnTo>
                      <a:pt x="638" y="1997"/>
                    </a:lnTo>
                    <a:close/>
                    <a:moveTo>
                      <a:pt x="537" y="1967"/>
                    </a:moveTo>
                    <a:cubicBezTo>
                      <a:pt x="495" y="1962"/>
                      <a:pt x="495" y="1962"/>
                      <a:pt x="495" y="1962"/>
                    </a:cubicBezTo>
                    <a:cubicBezTo>
                      <a:pt x="500" y="1974"/>
                      <a:pt x="500" y="1974"/>
                      <a:pt x="500" y="1974"/>
                    </a:cubicBezTo>
                    <a:cubicBezTo>
                      <a:pt x="527" y="1973"/>
                      <a:pt x="527" y="1973"/>
                      <a:pt x="527" y="1973"/>
                    </a:cubicBezTo>
                    <a:cubicBezTo>
                      <a:pt x="537" y="1987"/>
                      <a:pt x="537" y="1987"/>
                      <a:pt x="537" y="1987"/>
                    </a:cubicBezTo>
                    <a:cubicBezTo>
                      <a:pt x="575" y="2003"/>
                      <a:pt x="575" y="2003"/>
                      <a:pt x="575" y="2003"/>
                    </a:cubicBezTo>
                    <a:cubicBezTo>
                      <a:pt x="552" y="1983"/>
                      <a:pt x="552" y="1983"/>
                      <a:pt x="552" y="1983"/>
                    </a:cubicBezTo>
                    <a:lnTo>
                      <a:pt x="537" y="1967"/>
                    </a:lnTo>
                    <a:close/>
                    <a:moveTo>
                      <a:pt x="534" y="1924"/>
                    </a:moveTo>
                    <a:cubicBezTo>
                      <a:pt x="526" y="1935"/>
                      <a:pt x="526" y="1935"/>
                      <a:pt x="526" y="1935"/>
                    </a:cubicBezTo>
                    <a:cubicBezTo>
                      <a:pt x="530" y="1955"/>
                      <a:pt x="530" y="1955"/>
                      <a:pt x="530" y="1955"/>
                    </a:cubicBezTo>
                    <a:cubicBezTo>
                      <a:pt x="546" y="1949"/>
                      <a:pt x="546" y="1949"/>
                      <a:pt x="546" y="1949"/>
                    </a:cubicBezTo>
                    <a:lnTo>
                      <a:pt x="534" y="1924"/>
                    </a:lnTo>
                    <a:close/>
                    <a:moveTo>
                      <a:pt x="515" y="1954"/>
                    </a:moveTo>
                    <a:cubicBezTo>
                      <a:pt x="513" y="1942"/>
                      <a:pt x="513" y="1942"/>
                      <a:pt x="513" y="1942"/>
                    </a:cubicBezTo>
                    <a:cubicBezTo>
                      <a:pt x="479" y="1934"/>
                      <a:pt x="479" y="1934"/>
                      <a:pt x="479" y="1934"/>
                    </a:cubicBezTo>
                    <a:cubicBezTo>
                      <a:pt x="471" y="1945"/>
                      <a:pt x="471" y="1945"/>
                      <a:pt x="471" y="1945"/>
                    </a:cubicBezTo>
                    <a:cubicBezTo>
                      <a:pt x="472" y="1958"/>
                      <a:pt x="472" y="1958"/>
                      <a:pt x="472" y="1958"/>
                    </a:cubicBezTo>
                    <a:cubicBezTo>
                      <a:pt x="495" y="1949"/>
                      <a:pt x="495" y="1949"/>
                      <a:pt x="495" y="1949"/>
                    </a:cubicBezTo>
                    <a:lnTo>
                      <a:pt x="515" y="1954"/>
                    </a:lnTo>
                    <a:close/>
                    <a:moveTo>
                      <a:pt x="407" y="1848"/>
                    </a:moveTo>
                    <a:cubicBezTo>
                      <a:pt x="407" y="1848"/>
                      <a:pt x="381" y="1835"/>
                      <a:pt x="378" y="1847"/>
                    </a:cubicBezTo>
                    <a:cubicBezTo>
                      <a:pt x="375" y="1859"/>
                      <a:pt x="371" y="1874"/>
                      <a:pt x="375" y="1874"/>
                    </a:cubicBezTo>
                    <a:cubicBezTo>
                      <a:pt x="380" y="1874"/>
                      <a:pt x="397" y="1867"/>
                      <a:pt x="397" y="1867"/>
                    </a:cubicBezTo>
                    <a:cubicBezTo>
                      <a:pt x="399" y="1883"/>
                      <a:pt x="399" y="1883"/>
                      <a:pt x="399" y="1883"/>
                    </a:cubicBezTo>
                    <a:cubicBezTo>
                      <a:pt x="420" y="1873"/>
                      <a:pt x="420" y="1873"/>
                      <a:pt x="420" y="1873"/>
                    </a:cubicBezTo>
                    <a:cubicBezTo>
                      <a:pt x="409" y="1863"/>
                      <a:pt x="409" y="1863"/>
                      <a:pt x="409" y="1863"/>
                    </a:cubicBezTo>
                    <a:cubicBezTo>
                      <a:pt x="413" y="1851"/>
                      <a:pt x="413" y="1851"/>
                      <a:pt x="413" y="1851"/>
                    </a:cubicBezTo>
                    <a:lnTo>
                      <a:pt x="407" y="1848"/>
                    </a:lnTo>
                    <a:close/>
                    <a:moveTo>
                      <a:pt x="368" y="1886"/>
                    </a:moveTo>
                    <a:cubicBezTo>
                      <a:pt x="345" y="1873"/>
                      <a:pt x="345" y="1873"/>
                      <a:pt x="345" y="1873"/>
                    </a:cubicBezTo>
                    <a:cubicBezTo>
                      <a:pt x="362" y="1892"/>
                      <a:pt x="362" y="1892"/>
                      <a:pt x="362" y="1892"/>
                    </a:cubicBezTo>
                    <a:cubicBezTo>
                      <a:pt x="393" y="1896"/>
                      <a:pt x="393" y="1896"/>
                      <a:pt x="393" y="1896"/>
                    </a:cubicBezTo>
                    <a:cubicBezTo>
                      <a:pt x="404" y="1903"/>
                      <a:pt x="404" y="1903"/>
                      <a:pt x="404" y="1903"/>
                    </a:cubicBezTo>
                    <a:cubicBezTo>
                      <a:pt x="393" y="1889"/>
                      <a:pt x="393" y="1889"/>
                      <a:pt x="393" y="1889"/>
                    </a:cubicBezTo>
                    <a:lnTo>
                      <a:pt x="368" y="1886"/>
                    </a:lnTo>
                    <a:close/>
                    <a:moveTo>
                      <a:pt x="368" y="1835"/>
                    </a:moveTo>
                    <a:cubicBezTo>
                      <a:pt x="355" y="1822"/>
                      <a:pt x="355" y="1822"/>
                      <a:pt x="355" y="1822"/>
                    </a:cubicBezTo>
                    <a:cubicBezTo>
                      <a:pt x="351" y="1844"/>
                      <a:pt x="351" y="1844"/>
                      <a:pt x="351" y="1844"/>
                    </a:cubicBezTo>
                    <a:cubicBezTo>
                      <a:pt x="336" y="1848"/>
                      <a:pt x="336" y="1848"/>
                      <a:pt x="336" y="1848"/>
                    </a:cubicBezTo>
                    <a:cubicBezTo>
                      <a:pt x="365" y="1860"/>
                      <a:pt x="365" y="1860"/>
                      <a:pt x="365" y="1860"/>
                    </a:cubicBezTo>
                    <a:lnTo>
                      <a:pt x="368" y="1835"/>
                    </a:lnTo>
                    <a:close/>
                    <a:moveTo>
                      <a:pt x="296" y="1827"/>
                    </a:moveTo>
                    <a:cubicBezTo>
                      <a:pt x="319" y="1848"/>
                      <a:pt x="319" y="1848"/>
                      <a:pt x="319" y="1848"/>
                    </a:cubicBezTo>
                    <a:cubicBezTo>
                      <a:pt x="326" y="1841"/>
                      <a:pt x="326" y="1841"/>
                      <a:pt x="326" y="1841"/>
                    </a:cubicBezTo>
                    <a:cubicBezTo>
                      <a:pt x="306" y="1818"/>
                      <a:pt x="306" y="1818"/>
                      <a:pt x="306" y="1818"/>
                    </a:cubicBezTo>
                    <a:lnTo>
                      <a:pt x="296" y="1827"/>
                    </a:lnTo>
                    <a:close/>
                    <a:moveTo>
                      <a:pt x="342" y="1820"/>
                    </a:moveTo>
                    <a:cubicBezTo>
                      <a:pt x="335" y="1814"/>
                      <a:pt x="335" y="1814"/>
                      <a:pt x="335" y="1814"/>
                    </a:cubicBezTo>
                    <a:cubicBezTo>
                      <a:pt x="329" y="1824"/>
                      <a:pt x="329" y="1824"/>
                      <a:pt x="329" y="1824"/>
                    </a:cubicBezTo>
                    <a:cubicBezTo>
                      <a:pt x="336" y="1833"/>
                      <a:pt x="336" y="1833"/>
                      <a:pt x="336" y="1833"/>
                    </a:cubicBezTo>
                    <a:lnTo>
                      <a:pt x="342" y="1820"/>
                    </a:lnTo>
                    <a:close/>
                    <a:moveTo>
                      <a:pt x="303" y="1805"/>
                    </a:moveTo>
                    <a:cubicBezTo>
                      <a:pt x="306" y="1788"/>
                      <a:pt x="306" y="1788"/>
                      <a:pt x="306" y="1788"/>
                    </a:cubicBezTo>
                    <a:cubicBezTo>
                      <a:pt x="303" y="1763"/>
                      <a:pt x="303" y="1763"/>
                      <a:pt x="303" y="1763"/>
                    </a:cubicBezTo>
                    <a:cubicBezTo>
                      <a:pt x="292" y="1759"/>
                      <a:pt x="292" y="1759"/>
                      <a:pt x="292" y="1759"/>
                    </a:cubicBezTo>
                    <a:cubicBezTo>
                      <a:pt x="292" y="1770"/>
                      <a:pt x="292" y="1770"/>
                      <a:pt x="292" y="1770"/>
                    </a:cubicBezTo>
                    <a:cubicBezTo>
                      <a:pt x="270" y="1766"/>
                      <a:pt x="270" y="1766"/>
                      <a:pt x="270" y="1766"/>
                    </a:cubicBezTo>
                    <a:cubicBezTo>
                      <a:pt x="287" y="1789"/>
                      <a:pt x="287" y="1789"/>
                      <a:pt x="287" y="1789"/>
                    </a:cubicBezTo>
                    <a:cubicBezTo>
                      <a:pt x="283" y="1818"/>
                      <a:pt x="283" y="1818"/>
                      <a:pt x="283" y="1818"/>
                    </a:cubicBezTo>
                    <a:lnTo>
                      <a:pt x="303" y="1805"/>
                    </a:lnTo>
                    <a:close/>
                    <a:moveTo>
                      <a:pt x="243" y="1752"/>
                    </a:moveTo>
                    <a:cubicBezTo>
                      <a:pt x="254" y="1753"/>
                      <a:pt x="254" y="1753"/>
                      <a:pt x="254" y="1753"/>
                    </a:cubicBezTo>
                    <a:cubicBezTo>
                      <a:pt x="261" y="1775"/>
                      <a:pt x="261" y="1775"/>
                      <a:pt x="261" y="1775"/>
                    </a:cubicBezTo>
                    <a:cubicBezTo>
                      <a:pt x="266" y="1755"/>
                      <a:pt x="266" y="1755"/>
                      <a:pt x="266" y="1755"/>
                    </a:cubicBezTo>
                    <a:cubicBezTo>
                      <a:pt x="267" y="1739"/>
                      <a:pt x="267" y="1739"/>
                      <a:pt x="267" y="1739"/>
                    </a:cubicBezTo>
                    <a:cubicBezTo>
                      <a:pt x="250" y="1734"/>
                      <a:pt x="250" y="1734"/>
                      <a:pt x="250" y="1734"/>
                    </a:cubicBezTo>
                    <a:lnTo>
                      <a:pt x="243" y="1752"/>
                    </a:lnTo>
                    <a:close/>
                    <a:moveTo>
                      <a:pt x="248" y="1727"/>
                    </a:moveTo>
                    <a:cubicBezTo>
                      <a:pt x="253" y="1726"/>
                      <a:pt x="256" y="1717"/>
                      <a:pt x="256" y="1717"/>
                    </a:cubicBezTo>
                    <a:cubicBezTo>
                      <a:pt x="276" y="1734"/>
                      <a:pt x="276" y="1734"/>
                      <a:pt x="276" y="1734"/>
                    </a:cubicBezTo>
                    <a:cubicBezTo>
                      <a:pt x="277" y="1718"/>
                      <a:pt x="277" y="1718"/>
                      <a:pt x="277" y="1718"/>
                    </a:cubicBezTo>
                    <a:cubicBezTo>
                      <a:pt x="257" y="1697"/>
                      <a:pt x="257" y="1697"/>
                      <a:pt x="257" y="1697"/>
                    </a:cubicBezTo>
                    <a:cubicBezTo>
                      <a:pt x="257" y="1697"/>
                      <a:pt x="241" y="1674"/>
                      <a:pt x="241" y="1662"/>
                    </a:cubicBezTo>
                    <a:cubicBezTo>
                      <a:pt x="241" y="1651"/>
                      <a:pt x="230" y="1639"/>
                      <a:pt x="219" y="1633"/>
                    </a:cubicBezTo>
                    <a:cubicBezTo>
                      <a:pt x="209" y="1628"/>
                      <a:pt x="209" y="1639"/>
                      <a:pt x="209" y="1639"/>
                    </a:cubicBezTo>
                    <a:cubicBezTo>
                      <a:pt x="195" y="1635"/>
                      <a:pt x="195" y="1635"/>
                      <a:pt x="195" y="1635"/>
                    </a:cubicBezTo>
                    <a:cubicBezTo>
                      <a:pt x="195" y="1635"/>
                      <a:pt x="180" y="1662"/>
                      <a:pt x="191" y="1662"/>
                    </a:cubicBezTo>
                    <a:cubicBezTo>
                      <a:pt x="201" y="1662"/>
                      <a:pt x="221" y="1662"/>
                      <a:pt x="221" y="1662"/>
                    </a:cubicBezTo>
                    <a:cubicBezTo>
                      <a:pt x="208" y="1688"/>
                      <a:pt x="208" y="1688"/>
                      <a:pt x="208" y="1688"/>
                    </a:cubicBezTo>
                    <a:cubicBezTo>
                      <a:pt x="217" y="1688"/>
                      <a:pt x="217" y="1688"/>
                      <a:pt x="217" y="1688"/>
                    </a:cubicBezTo>
                    <a:cubicBezTo>
                      <a:pt x="231" y="1675"/>
                      <a:pt x="231" y="1675"/>
                      <a:pt x="231" y="1675"/>
                    </a:cubicBezTo>
                    <a:cubicBezTo>
                      <a:pt x="230" y="1691"/>
                      <a:pt x="230" y="1691"/>
                      <a:pt x="230" y="1691"/>
                    </a:cubicBezTo>
                    <a:cubicBezTo>
                      <a:pt x="230" y="1691"/>
                      <a:pt x="244" y="1729"/>
                      <a:pt x="248" y="1727"/>
                    </a:cubicBezTo>
                    <a:close/>
                    <a:moveTo>
                      <a:pt x="163" y="1391"/>
                    </a:moveTo>
                    <a:cubicBezTo>
                      <a:pt x="165" y="1359"/>
                      <a:pt x="165" y="1359"/>
                      <a:pt x="165" y="1359"/>
                    </a:cubicBezTo>
                    <a:cubicBezTo>
                      <a:pt x="144" y="1339"/>
                      <a:pt x="144" y="1339"/>
                      <a:pt x="144" y="1339"/>
                    </a:cubicBezTo>
                    <a:cubicBezTo>
                      <a:pt x="154" y="1329"/>
                      <a:pt x="154" y="1329"/>
                      <a:pt x="154" y="1329"/>
                    </a:cubicBezTo>
                    <a:cubicBezTo>
                      <a:pt x="140" y="1313"/>
                      <a:pt x="140" y="1313"/>
                      <a:pt x="140" y="1313"/>
                    </a:cubicBezTo>
                    <a:cubicBezTo>
                      <a:pt x="117" y="1304"/>
                      <a:pt x="117" y="1304"/>
                      <a:pt x="117" y="1304"/>
                    </a:cubicBezTo>
                    <a:cubicBezTo>
                      <a:pt x="117" y="1304"/>
                      <a:pt x="114" y="1340"/>
                      <a:pt x="123" y="1343"/>
                    </a:cubicBezTo>
                    <a:cubicBezTo>
                      <a:pt x="131" y="1346"/>
                      <a:pt x="137" y="1366"/>
                      <a:pt x="137" y="1366"/>
                    </a:cubicBezTo>
                    <a:cubicBezTo>
                      <a:pt x="133" y="1379"/>
                      <a:pt x="133" y="1379"/>
                      <a:pt x="133" y="1379"/>
                    </a:cubicBezTo>
                    <a:lnTo>
                      <a:pt x="163" y="1391"/>
                    </a:lnTo>
                    <a:close/>
                    <a:moveTo>
                      <a:pt x="163" y="1453"/>
                    </a:moveTo>
                    <a:cubicBezTo>
                      <a:pt x="170" y="1461"/>
                      <a:pt x="170" y="1461"/>
                      <a:pt x="170" y="1461"/>
                    </a:cubicBezTo>
                    <a:cubicBezTo>
                      <a:pt x="188" y="1461"/>
                      <a:pt x="188" y="1461"/>
                      <a:pt x="188" y="1461"/>
                    </a:cubicBezTo>
                    <a:cubicBezTo>
                      <a:pt x="195" y="1448"/>
                      <a:pt x="195" y="1448"/>
                      <a:pt x="195" y="1448"/>
                    </a:cubicBezTo>
                    <a:cubicBezTo>
                      <a:pt x="176" y="1453"/>
                      <a:pt x="176" y="1453"/>
                      <a:pt x="176" y="1453"/>
                    </a:cubicBezTo>
                    <a:lnTo>
                      <a:pt x="163" y="1453"/>
                    </a:lnTo>
                    <a:close/>
                    <a:moveTo>
                      <a:pt x="186" y="1483"/>
                    </a:moveTo>
                    <a:cubicBezTo>
                      <a:pt x="188" y="1495"/>
                      <a:pt x="188" y="1495"/>
                      <a:pt x="188" y="1495"/>
                    </a:cubicBezTo>
                    <a:cubicBezTo>
                      <a:pt x="204" y="1505"/>
                      <a:pt x="204" y="1505"/>
                      <a:pt x="204" y="1505"/>
                    </a:cubicBezTo>
                    <a:cubicBezTo>
                      <a:pt x="204" y="1489"/>
                      <a:pt x="204" y="1489"/>
                      <a:pt x="204" y="1489"/>
                    </a:cubicBezTo>
                    <a:cubicBezTo>
                      <a:pt x="195" y="1473"/>
                      <a:pt x="195" y="1473"/>
                      <a:pt x="195" y="1473"/>
                    </a:cubicBezTo>
                    <a:cubicBezTo>
                      <a:pt x="173" y="1474"/>
                      <a:pt x="173" y="1474"/>
                      <a:pt x="173" y="1474"/>
                    </a:cubicBezTo>
                    <a:lnTo>
                      <a:pt x="186" y="1483"/>
                    </a:lnTo>
                    <a:close/>
                    <a:moveTo>
                      <a:pt x="212" y="1463"/>
                    </a:moveTo>
                    <a:cubicBezTo>
                      <a:pt x="212" y="1463"/>
                      <a:pt x="244" y="1444"/>
                      <a:pt x="222" y="1440"/>
                    </a:cubicBezTo>
                    <a:cubicBezTo>
                      <a:pt x="201" y="1435"/>
                      <a:pt x="199" y="1463"/>
                      <a:pt x="212" y="1463"/>
                    </a:cubicBezTo>
                    <a:close/>
                    <a:moveTo>
                      <a:pt x="166" y="1409"/>
                    </a:moveTo>
                    <a:cubicBezTo>
                      <a:pt x="152" y="1420"/>
                      <a:pt x="159" y="1430"/>
                      <a:pt x="169" y="1427"/>
                    </a:cubicBezTo>
                    <a:cubicBezTo>
                      <a:pt x="181" y="1423"/>
                      <a:pt x="180" y="1399"/>
                      <a:pt x="166" y="1409"/>
                    </a:cubicBezTo>
                    <a:close/>
                    <a:moveTo>
                      <a:pt x="156" y="1437"/>
                    </a:moveTo>
                    <a:cubicBezTo>
                      <a:pt x="143" y="1440"/>
                      <a:pt x="143" y="1440"/>
                      <a:pt x="143" y="1440"/>
                    </a:cubicBezTo>
                    <a:cubicBezTo>
                      <a:pt x="150" y="1453"/>
                      <a:pt x="150" y="1453"/>
                      <a:pt x="150" y="1453"/>
                    </a:cubicBezTo>
                    <a:lnTo>
                      <a:pt x="156" y="1437"/>
                    </a:lnTo>
                    <a:close/>
                    <a:moveTo>
                      <a:pt x="476" y="1919"/>
                    </a:moveTo>
                    <a:cubicBezTo>
                      <a:pt x="485" y="1915"/>
                      <a:pt x="484" y="1925"/>
                      <a:pt x="484" y="1925"/>
                    </a:cubicBezTo>
                    <a:cubicBezTo>
                      <a:pt x="484" y="1925"/>
                      <a:pt x="499" y="1928"/>
                      <a:pt x="514" y="1925"/>
                    </a:cubicBezTo>
                    <a:cubicBezTo>
                      <a:pt x="528" y="1921"/>
                      <a:pt x="498" y="1899"/>
                      <a:pt x="498" y="1899"/>
                    </a:cubicBezTo>
                    <a:cubicBezTo>
                      <a:pt x="498" y="1874"/>
                      <a:pt x="498" y="1874"/>
                      <a:pt x="498" y="1874"/>
                    </a:cubicBezTo>
                    <a:cubicBezTo>
                      <a:pt x="523" y="1872"/>
                      <a:pt x="523" y="1872"/>
                      <a:pt x="523" y="1872"/>
                    </a:cubicBezTo>
                    <a:cubicBezTo>
                      <a:pt x="521" y="1860"/>
                      <a:pt x="521" y="1860"/>
                      <a:pt x="521" y="1860"/>
                    </a:cubicBezTo>
                    <a:cubicBezTo>
                      <a:pt x="537" y="1862"/>
                      <a:pt x="537" y="1862"/>
                      <a:pt x="537" y="1862"/>
                    </a:cubicBezTo>
                    <a:cubicBezTo>
                      <a:pt x="542" y="1850"/>
                      <a:pt x="542" y="1850"/>
                      <a:pt x="542" y="1850"/>
                    </a:cubicBezTo>
                    <a:cubicBezTo>
                      <a:pt x="527" y="1838"/>
                      <a:pt x="527" y="1838"/>
                      <a:pt x="527" y="1838"/>
                    </a:cubicBezTo>
                    <a:cubicBezTo>
                      <a:pt x="527" y="1838"/>
                      <a:pt x="507" y="1839"/>
                      <a:pt x="491" y="1837"/>
                    </a:cubicBezTo>
                    <a:cubicBezTo>
                      <a:pt x="475" y="1835"/>
                      <a:pt x="449" y="1842"/>
                      <a:pt x="449" y="1842"/>
                    </a:cubicBezTo>
                    <a:cubicBezTo>
                      <a:pt x="437" y="1830"/>
                      <a:pt x="437" y="1830"/>
                      <a:pt x="437" y="1830"/>
                    </a:cubicBezTo>
                    <a:cubicBezTo>
                      <a:pt x="413" y="1819"/>
                      <a:pt x="413" y="1819"/>
                      <a:pt x="413" y="1819"/>
                    </a:cubicBezTo>
                    <a:cubicBezTo>
                      <a:pt x="406" y="1808"/>
                      <a:pt x="406" y="1808"/>
                      <a:pt x="406" y="1808"/>
                    </a:cubicBezTo>
                    <a:cubicBezTo>
                      <a:pt x="392" y="1792"/>
                      <a:pt x="392" y="1792"/>
                      <a:pt x="392" y="1792"/>
                    </a:cubicBezTo>
                    <a:cubicBezTo>
                      <a:pt x="392" y="1792"/>
                      <a:pt x="398" y="1780"/>
                      <a:pt x="383" y="1767"/>
                    </a:cubicBezTo>
                    <a:cubicBezTo>
                      <a:pt x="368" y="1754"/>
                      <a:pt x="362" y="1772"/>
                      <a:pt x="352" y="1772"/>
                    </a:cubicBezTo>
                    <a:cubicBezTo>
                      <a:pt x="342" y="1772"/>
                      <a:pt x="338" y="1747"/>
                      <a:pt x="338" y="1747"/>
                    </a:cubicBezTo>
                    <a:cubicBezTo>
                      <a:pt x="318" y="1743"/>
                      <a:pt x="318" y="1743"/>
                      <a:pt x="318" y="1743"/>
                    </a:cubicBezTo>
                    <a:cubicBezTo>
                      <a:pt x="318" y="1743"/>
                      <a:pt x="320" y="1723"/>
                      <a:pt x="315" y="1718"/>
                    </a:cubicBezTo>
                    <a:cubicBezTo>
                      <a:pt x="310" y="1713"/>
                      <a:pt x="308" y="1697"/>
                      <a:pt x="308" y="1697"/>
                    </a:cubicBezTo>
                    <a:cubicBezTo>
                      <a:pt x="315" y="1693"/>
                      <a:pt x="315" y="1693"/>
                      <a:pt x="315" y="1693"/>
                    </a:cubicBezTo>
                    <a:cubicBezTo>
                      <a:pt x="316" y="1680"/>
                      <a:pt x="316" y="1680"/>
                      <a:pt x="316" y="1680"/>
                    </a:cubicBezTo>
                    <a:cubicBezTo>
                      <a:pt x="316" y="1680"/>
                      <a:pt x="331" y="1675"/>
                      <a:pt x="334" y="1670"/>
                    </a:cubicBezTo>
                    <a:cubicBezTo>
                      <a:pt x="337" y="1665"/>
                      <a:pt x="317" y="1650"/>
                      <a:pt x="317" y="1650"/>
                    </a:cubicBezTo>
                    <a:cubicBezTo>
                      <a:pt x="317" y="1650"/>
                      <a:pt x="333" y="1641"/>
                      <a:pt x="332" y="1638"/>
                    </a:cubicBezTo>
                    <a:cubicBezTo>
                      <a:pt x="331" y="1635"/>
                      <a:pt x="312" y="1624"/>
                      <a:pt x="312" y="1624"/>
                    </a:cubicBezTo>
                    <a:cubicBezTo>
                      <a:pt x="315" y="1594"/>
                      <a:pt x="315" y="1594"/>
                      <a:pt x="315" y="1594"/>
                    </a:cubicBezTo>
                    <a:cubicBezTo>
                      <a:pt x="326" y="1590"/>
                      <a:pt x="326" y="1590"/>
                      <a:pt x="326" y="1590"/>
                    </a:cubicBezTo>
                    <a:cubicBezTo>
                      <a:pt x="316" y="1573"/>
                      <a:pt x="316" y="1573"/>
                      <a:pt x="316" y="1573"/>
                    </a:cubicBezTo>
                    <a:cubicBezTo>
                      <a:pt x="319" y="1551"/>
                      <a:pt x="319" y="1551"/>
                      <a:pt x="319" y="1551"/>
                    </a:cubicBezTo>
                    <a:cubicBezTo>
                      <a:pt x="304" y="1533"/>
                      <a:pt x="304" y="1533"/>
                      <a:pt x="304" y="1533"/>
                    </a:cubicBezTo>
                    <a:cubicBezTo>
                      <a:pt x="307" y="1518"/>
                      <a:pt x="307" y="1518"/>
                      <a:pt x="307" y="1518"/>
                    </a:cubicBezTo>
                    <a:cubicBezTo>
                      <a:pt x="291" y="1506"/>
                      <a:pt x="291" y="1506"/>
                      <a:pt x="291" y="1506"/>
                    </a:cubicBezTo>
                    <a:cubicBezTo>
                      <a:pt x="291" y="1506"/>
                      <a:pt x="304" y="1495"/>
                      <a:pt x="307" y="1487"/>
                    </a:cubicBezTo>
                    <a:cubicBezTo>
                      <a:pt x="310" y="1479"/>
                      <a:pt x="287" y="1470"/>
                      <a:pt x="287" y="1470"/>
                    </a:cubicBezTo>
                    <a:cubicBezTo>
                      <a:pt x="287" y="1470"/>
                      <a:pt x="264" y="1463"/>
                      <a:pt x="263" y="1460"/>
                    </a:cubicBezTo>
                    <a:cubicBezTo>
                      <a:pt x="262" y="1457"/>
                      <a:pt x="294" y="1460"/>
                      <a:pt x="296" y="1449"/>
                    </a:cubicBezTo>
                    <a:cubicBezTo>
                      <a:pt x="298" y="1438"/>
                      <a:pt x="279" y="1443"/>
                      <a:pt x="272" y="1443"/>
                    </a:cubicBezTo>
                    <a:cubicBezTo>
                      <a:pt x="265" y="1443"/>
                      <a:pt x="260" y="1433"/>
                      <a:pt x="260" y="1433"/>
                    </a:cubicBezTo>
                    <a:cubicBezTo>
                      <a:pt x="260" y="1433"/>
                      <a:pt x="259" y="1416"/>
                      <a:pt x="258" y="1405"/>
                    </a:cubicBezTo>
                    <a:cubicBezTo>
                      <a:pt x="257" y="1394"/>
                      <a:pt x="241" y="1393"/>
                      <a:pt x="241" y="1393"/>
                    </a:cubicBezTo>
                    <a:cubicBezTo>
                      <a:pt x="245" y="1375"/>
                      <a:pt x="245" y="1375"/>
                      <a:pt x="245" y="1375"/>
                    </a:cubicBezTo>
                    <a:cubicBezTo>
                      <a:pt x="235" y="1370"/>
                      <a:pt x="235" y="1370"/>
                      <a:pt x="235" y="1370"/>
                    </a:cubicBezTo>
                    <a:cubicBezTo>
                      <a:pt x="235" y="1370"/>
                      <a:pt x="226" y="1366"/>
                      <a:pt x="223" y="1358"/>
                    </a:cubicBezTo>
                    <a:cubicBezTo>
                      <a:pt x="220" y="1350"/>
                      <a:pt x="215" y="1320"/>
                      <a:pt x="215" y="1320"/>
                    </a:cubicBezTo>
                    <a:cubicBezTo>
                      <a:pt x="215" y="1320"/>
                      <a:pt x="226" y="1311"/>
                      <a:pt x="231" y="1312"/>
                    </a:cubicBezTo>
                    <a:cubicBezTo>
                      <a:pt x="236" y="1313"/>
                      <a:pt x="207" y="1292"/>
                      <a:pt x="204" y="1286"/>
                    </a:cubicBezTo>
                    <a:cubicBezTo>
                      <a:pt x="201" y="1280"/>
                      <a:pt x="201" y="1261"/>
                      <a:pt x="201" y="1261"/>
                    </a:cubicBezTo>
                    <a:cubicBezTo>
                      <a:pt x="201" y="1261"/>
                      <a:pt x="194" y="1250"/>
                      <a:pt x="193" y="1244"/>
                    </a:cubicBezTo>
                    <a:cubicBezTo>
                      <a:pt x="192" y="1238"/>
                      <a:pt x="197" y="1220"/>
                      <a:pt x="197" y="1220"/>
                    </a:cubicBezTo>
                    <a:cubicBezTo>
                      <a:pt x="183" y="1212"/>
                      <a:pt x="183" y="1212"/>
                      <a:pt x="183" y="1212"/>
                    </a:cubicBezTo>
                    <a:cubicBezTo>
                      <a:pt x="183" y="1212"/>
                      <a:pt x="188" y="1204"/>
                      <a:pt x="187" y="1196"/>
                    </a:cubicBezTo>
                    <a:cubicBezTo>
                      <a:pt x="186" y="1188"/>
                      <a:pt x="176" y="1183"/>
                      <a:pt x="176" y="1183"/>
                    </a:cubicBezTo>
                    <a:cubicBezTo>
                      <a:pt x="189" y="1174"/>
                      <a:pt x="189" y="1174"/>
                      <a:pt x="189" y="1174"/>
                    </a:cubicBezTo>
                    <a:cubicBezTo>
                      <a:pt x="181" y="1146"/>
                      <a:pt x="181" y="1146"/>
                      <a:pt x="181" y="1146"/>
                    </a:cubicBezTo>
                    <a:cubicBezTo>
                      <a:pt x="181" y="1146"/>
                      <a:pt x="195" y="1141"/>
                      <a:pt x="200" y="1132"/>
                    </a:cubicBezTo>
                    <a:cubicBezTo>
                      <a:pt x="205" y="1123"/>
                      <a:pt x="186" y="1114"/>
                      <a:pt x="186" y="1114"/>
                    </a:cubicBezTo>
                    <a:cubicBezTo>
                      <a:pt x="185" y="1102"/>
                      <a:pt x="185" y="1102"/>
                      <a:pt x="185" y="1102"/>
                    </a:cubicBezTo>
                    <a:cubicBezTo>
                      <a:pt x="165" y="1085"/>
                      <a:pt x="165" y="1085"/>
                      <a:pt x="165" y="1085"/>
                    </a:cubicBezTo>
                    <a:cubicBezTo>
                      <a:pt x="165" y="1085"/>
                      <a:pt x="165" y="1064"/>
                      <a:pt x="165" y="1057"/>
                    </a:cubicBezTo>
                    <a:cubicBezTo>
                      <a:pt x="165" y="1050"/>
                      <a:pt x="153" y="1017"/>
                      <a:pt x="153" y="1017"/>
                    </a:cubicBezTo>
                    <a:cubicBezTo>
                      <a:pt x="170" y="1016"/>
                      <a:pt x="170" y="1016"/>
                      <a:pt x="170" y="1016"/>
                    </a:cubicBezTo>
                    <a:cubicBezTo>
                      <a:pt x="172" y="1004"/>
                      <a:pt x="172" y="1004"/>
                      <a:pt x="172" y="1004"/>
                    </a:cubicBezTo>
                    <a:cubicBezTo>
                      <a:pt x="172" y="1004"/>
                      <a:pt x="176" y="993"/>
                      <a:pt x="175" y="983"/>
                    </a:cubicBezTo>
                    <a:cubicBezTo>
                      <a:pt x="174" y="973"/>
                      <a:pt x="157" y="955"/>
                      <a:pt x="157" y="955"/>
                    </a:cubicBezTo>
                    <a:cubicBezTo>
                      <a:pt x="166" y="954"/>
                      <a:pt x="166" y="954"/>
                      <a:pt x="166" y="954"/>
                    </a:cubicBezTo>
                    <a:cubicBezTo>
                      <a:pt x="166" y="954"/>
                      <a:pt x="167" y="915"/>
                      <a:pt x="167" y="911"/>
                    </a:cubicBezTo>
                    <a:cubicBezTo>
                      <a:pt x="167" y="907"/>
                      <a:pt x="176" y="900"/>
                      <a:pt x="179" y="894"/>
                    </a:cubicBezTo>
                    <a:cubicBezTo>
                      <a:pt x="182" y="888"/>
                      <a:pt x="167" y="869"/>
                      <a:pt x="167" y="869"/>
                    </a:cubicBezTo>
                    <a:cubicBezTo>
                      <a:pt x="165" y="844"/>
                      <a:pt x="165" y="844"/>
                      <a:pt x="165" y="844"/>
                    </a:cubicBezTo>
                    <a:cubicBezTo>
                      <a:pt x="165" y="844"/>
                      <a:pt x="161" y="846"/>
                      <a:pt x="149" y="843"/>
                    </a:cubicBezTo>
                    <a:cubicBezTo>
                      <a:pt x="137" y="840"/>
                      <a:pt x="145" y="821"/>
                      <a:pt x="145" y="821"/>
                    </a:cubicBezTo>
                    <a:cubicBezTo>
                      <a:pt x="142" y="815"/>
                      <a:pt x="142" y="815"/>
                      <a:pt x="142" y="815"/>
                    </a:cubicBezTo>
                    <a:cubicBezTo>
                      <a:pt x="134" y="794"/>
                      <a:pt x="134" y="794"/>
                      <a:pt x="134" y="794"/>
                    </a:cubicBezTo>
                    <a:cubicBezTo>
                      <a:pt x="121" y="784"/>
                      <a:pt x="121" y="784"/>
                      <a:pt x="121" y="784"/>
                    </a:cubicBezTo>
                    <a:cubicBezTo>
                      <a:pt x="121" y="784"/>
                      <a:pt x="123" y="775"/>
                      <a:pt x="125" y="771"/>
                    </a:cubicBezTo>
                    <a:cubicBezTo>
                      <a:pt x="127" y="767"/>
                      <a:pt x="104" y="752"/>
                      <a:pt x="104" y="752"/>
                    </a:cubicBezTo>
                    <a:cubicBezTo>
                      <a:pt x="104" y="752"/>
                      <a:pt x="102" y="735"/>
                      <a:pt x="102" y="730"/>
                    </a:cubicBezTo>
                    <a:cubicBezTo>
                      <a:pt x="102" y="725"/>
                      <a:pt x="112" y="724"/>
                      <a:pt x="112" y="724"/>
                    </a:cubicBezTo>
                    <a:cubicBezTo>
                      <a:pt x="109" y="685"/>
                      <a:pt x="109" y="685"/>
                      <a:pt x="109" y="685"/>
                    </a:cubicBezTo>
                    <a:cubicBezTo>
                      <a:pt x="109" y="685"/>
                      <a:pt x="118" y="690"/>
                      <a:pt x="123" y="685"/>
                    </a:cubicBezTo>
                    <a:cubicBezTo>
                      <a:pt x="128" y="680"/>
                      <a:pt x="105" y="635"/>
                      <a:pt x="104" y="631"/>
                    </a:cubicBezTo>
                    <a:cubicBezTo>
                      <a:pt x="103" y="627"/>
                      <a:pt x="112" y="619"/>
                      <a:pt x="114" y="615"/>
                    </a:cubicBezTo>
                    <a:cubicBezTo>
                      <a:pt x="116" y="611"/>
                      <a:pt x="111" y="586"/>
                      <a:pt x="111" y="576"/>
                    </a:cubicBezTo>
                    <a:cubicBezTo>
                      <a:pt x="111" y="566"/>
                      <a:pt x="129" y="558"/>
                      <a:pt x="130" y="553"/>
                    </a:cubicBezTo>
                    <a:cubicBezTo>
                      <a:pt x="131" y="548"/>
                      <a:pt x="137" y="510"/>
                      <a:pt x="137" y="510"/>
                    </a:cubicBezTo>
                    <a:cubicBezTo>
                      <a:pt x="137" y="510"/>
                      <a:pt x="159" y="509"/>
                      <a:pt x="162" y="498"/>
                    </a:cubicBezTo>
                    <a:cubicBezTo>
                      <a:pt x="165" y="487"/>
                      <a:pt x="134" y="476"/>
                      <a:pt x="134" y="476"/>
                    </a:cubicBezTo>
                    <a:cubicBezTo>
                      <a:pt x="134" y="476"/>
                      <a:pt x="151" y="464"/>
                      <a:pt x="152" y="454"/>
                    </a:cubicBezTo>
                    <a:cubicBezTo>
                      <a:pt x="153" y="444"/>
                      <a:pt x="134" y="436"/>
                      <a:pt x="129" y="429"/>
                    </a:cubicBezTo>
                    <a:cubicBezTo>
                      <a:pt x="124" y="422"/>
                      <a:pt x="134" y="413"/>
                      <a:pt x="143" y="404"/>
                    </a:cubicBezTo>
                    <a:cubicBezTo>
                      <a:pt x="152" y="395"/>
                      <a:pt x="125" y="401"/>
                      <a:pt x="124" y="387"/>
                    </a:cubicBezTo>
                    <a:cubicBezTo>
                      <a:pt x="123" y="373"/>
                      <a:pt x="178" y="349"/>
                      <a:pt x="178" y="349"/>
                    </a:cubicBezTo>
                    <a:cubicBezTo>
                      <a:pt x="184" y="293"/>
                      <a:pt x="184" y="293"/>
                      <a:pt x="184" y="293"/>
                    </a:cubicBezTo>
                    <a:cubicBezTo>
                      <a:pt x="177" y="282"/>
                      <a:pt x="177" y="282"/>
                      <a:pt x="177" y="282"/>
                    </a:cubicBezTo>
                    <a:cubicBezTo>
                      <a:pt x="170" y="284"/>
                      <a:pt x="161" y="285"/>
                      <a:pt x="153" y="284"/>
                    </a:cubicBezTo>
                    <a:cubicBezTo>
                      <a:pt x="141" y="283"/>
                      <a:pt x="142" y="257"/>
                      <a:pt x="142" y="257"/>
                    </a:cubicBezTo>
                    <a:cubicBezTo>
                      <a:pt x="129" y="241"/>
                      <a:pt x="129" y="241"/>
                      <a:pt x="129" y="241"/>
                    </a:cubicBezTo>
                    <a:cubicBezTo>
                      <a:pt x="129" y="241"/>
                      <a:pt x="131" y="211"/>
                      <a:pt x="129" y="200"/>
                    </a:cubicBezTo>
                    <a:cubicBezTo>
                      <a:pt x="126" y="189"/>
                      <a:pt x="97" y="178"/>
                      <a:pt x="97" y="178"/>
                    </a:cubicBezTo>
                    <a:cubicBezTo>
                      <a:pt x="97" y="161"/>
                      <a:pt x="97" y="161"/>
                      <a:pt x="97" y="161"/>
                    </a:cubicBezTo>
                    <a:cubicBezTo>
                      <a:pt x="97" y="161"/>
                      <a:pt x="92" y="158"/>
                      <a:pt x="88" y="148"/>
                    </a:cubicBezTo>
                    <a:cubicBezTo>
                      <a:pt x="84" y="139"/>
                      <a:pt x="99" y="127"/>
                      <a:pt x="99" y="127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96" y="110"/>
                      <a:pt x="100" y="98"/>
                    </a:cubicBezTo>
                    <a:cubicBezTo>
                      <a:pt x="104" y="86"/>
                      <a:pt x="68" y="74"/>
                      <a:pt x="68" y="74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3" y="7"/>
                      <a:pt x="35" y="21"/>
                      <a:pt x="23" y="30"/>
                    </a:cubicBezTo>
                    <a:cubicBezTo>
                      <a:pt x="16" y="36"/>
                      <a:pt x="7" y="42"/>
                      <a:pt x="1" y="46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13" y="99"/>
                      <a:pt x="19" y="119"/>
                    </a:cubicBezTo>
                    <a:cubicBezTo>
                      <a:pt x="25" y="139"/>
                      <a:pt x="24" y="169"/>
                      <a:pt x="24" y="182"/>
                    </a:cubicBezTo>
                    <a:cubicBezTo>
                      <a:pt x="24" y="195"/>
                      <a:pt x="32" y="206"/>
                      <a:pt x="33" y="229"/>
                    </a:cubicBezTo>
                    <a:cubicBezTo>
                      <a:pt x="34" y="253"/>
                      <a:pt x="34" y="290"/>
                      <a:pt x="34" y="290"/>
                    </a:cubicBezTo>
                    <a:cubicBezTo>
                      <a:pt x="20" y="298"/>
                      <a:pt x="20" y="298"/>
                      <a:pt x="20" y="29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38" y="327"/>
                      <a:pt x="38" y="327"/>
                      <a:pt x="38" y="327"/>
                    </a:cubicBezTo>
                    <a:cubicBezTo>
                      <a:pt x="32" y="389"/>
                      <a:pt x="32" y="389"/>
                      <a:pt x="32" y="389"/>
                    </a:cubicBezTo>
                    <a:cubicBezTo>
                      <a:pt x="47" y="417"/>
                      <a:pt x="47" y="417"/>
                      <a:pt x="47" y="417"/>
                    </a:cubicBezTo>
                    <a:cubicBezTo>
                      <a:pt x="36" y="430"/>
                      <a:pt x="36" y="430"/>
                      <a:pt x="36" y="430"/>
                    </a:cubicBezTo>
                    <a:cubicBezTo>
                      <a:pt x="42" y="472"/>
                      <a:pt x="42" y="472"/>
                      <a:pt x="42" y="472"/>
                    </a:cubicBezTo>
                    <a:cubicBezTo>
                      <a:pt x="42" y="472"/>
                      <a:pt x="49" y="475"/>
                      <a:pt x="51" y="492"/>
                    </a:cubicBezTo>
                    <a:cubicBezTo>
                      <a:pt x="53" y="508"/>
                      <a:pt x="42" y="509"/>
                      <a:pt x="42" y="509"/>
                    </a:cubicBezTo>
                    <a:cubicBezTo>
                      <a:pt x="40" y="531"/>
                      <a:pt x="40" y="531"/>
                      <a:pt x="40" y="531"/>
                    </a:cubicBezTo>
                    <a:cubicBezTo>
                      <a:pt x="47" y="540"/>
                      <a:pt x="47" y="540"/>
                      <a:pt x="47" y="540"/>
                    </a:cubicBezTo>
                    <a:cubicBezTo>
                      <a:pt x="47" y="540"/>
                      <a:pt x="40" y="545"/>
                      <a:pt x="34" y="559"/>
                    </a:cubicBezTo>
                    <a:cubicBezTo>
                      <a:pt x="28" y="573"/>
                      <a:pt x="40" y="571"/>
                      <a:pt x="40" y="571"/>
                    </a:cubicBezTo>
                    <a:cubicBezTo>
                      <a:pt x="40" y="571"/>
                      <a:pt x="44" y="580"/>
                      <a:pt x="44" y="591"/>
                    </a:cubicBezTo>
                    <a:cubicBezTo>
                      <a:pt x="44" y="602"/>
                      <a:pt x="33" y="599"/>
                      <a:pt x="33" y="619"/>
                    </a:cubicBezTo>
                    <a:cubicBezTo>
                      <a:pt x="33" y="640"/>
                      <a:pt x="49" y="638"/>
                      <a:pt x="52" y="648"/>
                    </a:cubicBezTo>
                    <a:cubicBezTo>
                      <a:pt x="56" y="657"/>
                      <a:pt x="52" y="681"/>
                      <a:pt x="52" y="681"/>
                    </a:cubicBezTo>
                    <a:cubicBezTo>
                      <a:pt x="52" y="681"/>
                      <a:pt x="45" y="679"/>
                      <a:pt x="40" y="681"/>
                    </a:cubicBezTo>
                    <a:cubicBezTo>
                      <a:pt x="36" y="683"/>
                      <a:pt x="40" y="700"/>
                      <a:pt x="47" y="720"/>
                    </a:cubicBezTo>
                    <a:cubicBezTo>
                      <a:pt x="55" y="740"/>
                      <a:pt x="66" y="770"/>
                      <a:pt x="66" y="770"/>
                    </a:cubicBezTo>
                    <a:cubicBezTo>
                      <a:pt x="66" y="770"/>
                      <a:pt x="69" y="784"/>
                      <a:pt x="76" y="790"/>
                    </a:cubicBezTo>
                    <a:cubicBezTo>
                      <a:pt x="83" y="796"/>
                      <a:pt x="79" y="826"/>
                      <a:pt x="79" y="826"/>
                    </a:cubicBezTo>
                    <a:cubicBezTo>
                      <a:pt x="76" y="845"/>
                      <a:pt x="76" y="845"/>
                      <a:pt x="76" y="845"/>
                    </a:cubicBezTo>
                    <a:cubicBezTo>
                      <a:pt x="92" y="862"/>
                      <a:pt x="92" y="862"/>
                      <a:pt x="92" y="862"/>
                    </a:cubicBezTo>
                    <a:cubicBezTo>
                      <a:pt x="92" y="862"/>
                      <a:pt x="82" y="889"/>
                      <a:pt x="82" y="903"/>
                    </a:cubicBezTo>
                    <a:cubicBezTo>
                      <a:pt x="82" y="917"/>
                      <a:pt x="82" y="947"/>
                      <a:pt x="82" y="947"/>
                    </a:cubicBezTo>
                    <a:cubicBezTo>
                      <a:pt x="66" y="972"/>
                      <a:pt x="66" y="972"/>
                      <a:pt x="66" y="972"/>
                    </a:cubicBezTo>
                    <a:cubicBezTo>
                      <a:pt x="76" y="979"/>
                      <a:pt x="76" y="979"/>
                      <a:pt x="76" y="979"/>
                    </a:cubicBezTo>
                    <a:cubicBezTo>
                      <a:pt x="76" y="979"/>
                      <a:pt x="72" y="995"/>
                      <a:pt x="72" y="1004"/>
                    </a:cubicBezTo>
                    <a:cubicBezTo>
                      <a:pt x="72" y="1012"/>
                      <a:pt x="66" y="1056"/>
                      <a:pt x="66" y="1056"/>
                    </a:cubicBezTo>
                    <a:cubicBezTo>
                      <a:pt x="56" y="1058"/>
                      <a:pt x="56" y="1058"/>
                      <a:pt x="56" y="1058"/>
                    </a:cubicBezTo>
                    <a:cubicBezTo>
                      <a:pt x="56" y="1072"/>
                      <a:pt x="56" y="1072"/>
                      <a:pt x="56" y="1072"/>
                    </a:cubicBezTo>
                    <a:cubicBezTo>
                      <a:pt x="72" y="1102"/>
                      <a:pt x="72" y="1102"/>
                      <a:pt x="72" y="1102"/>
                    </a:cubicBezTo>
                    <a:cubicBezTo>
                      <a:pt x="72" y="1102"/>
                      <a:pt x="72" y="1121"/>
                      <a:pt x="72" y="1131"/>
                    </a:cubicBezTo>
                    <a:cubicBezTo>
                      <a:pt x="72" y="1142"/>
                      <a:pt x="95" y="1149"/>
                      <a:pt x="101" y="1165"/>
                    </a:cubicBezTo>
                    <a:cubicBezTo>
                      <a:pt x="107" y="1180"/>
                      <a:pt x="98" y="1218"/>
                      <a:pt x="98" y="1218"/>
                    </a:cubicBezTo>
                    <a:cubicBezTo>
                      <a:pt x="107" y="1225"/>
                      <a:pt x="107" y="1225"/>
                      <a:pt x="107" y="1225"/>
                    </a:cubicBezTo>
                    <a:cubicBezTo>
                      <a:pt x="107" y="1225"/>
                      <a:pt x="107" y="1254"/>
                      <a:pt x="107" y="1266"/>
                    </a:cubicBezTo>
                    <a:cubicBezTo>
                      <a:pt x="107" y="1278"/>
                      <a:pt x="134" y="1286"/>
                      <a:pt x="134" y="1286"/>
                    </a:cubicBezTo>
                    <a:cubicBezTo>
                      <a:pt x="129" y="1299"/>
                      <a:pt x="129" y="1299"/>
                      <a:pt x="129" y="1299"/>
                    </a:cubicBezTo>
                    <a:cubicBezTo>
                      <a:pt x="156" y="1299"/>
                      <a:pt x="156" y="1299"/>
                      <a:pt x="156" y="1299"/>
                    </a:cubicBezTo>
                    <a:cubicBezTo>
                      <a:pt x="156" y="1279"/>
                      <a:pt x="156" y="1279"/>
                      <a:pt x="156" y="1279"/>
                    </a:cubicBezTo>
                    <a:cubicBezTo>
                      <a:pt x="156" y="1279"/>
                      <a:pt x="169" y="1289"/>
                      <a:pt x="177" y="1290"/>
                    </a:cubicBezTo>
                    <a:cubicBezTo>
                      <a:pt x="186" y="1291"/>
                      <a:pt x="186" y="1277"/>
                      <a:pt x="186" y="1277"/>
                    </a:cubicBezTo>
                    <a:cubicBezTo>
                      <a:pt x="192" y="1290"/>
                      <a:pt x="192" y="1290"/>
                      <a:pt x="192" y="1290"/>
                    </a:cubicBezTo>
                    <a:cubicBezTo>
                      <a:pt x="192" y="1290"/>
                      <a:pt x="175" y="1300"/>
                      <a:pt x="173" y="1311"/>
                    </a:cubicBezTo>
                    <a:cubicBezTo>
                      <a:pt x="170" y="1322"/>
                      <a:pt x="186" y="1310"/>
                      <a:pt x="193" y="1313"/>
                    </a:cubicBezTo>
                    <a:cubicBezTo>
                      <a:pt x="200" y="1317"/>
                      <a:pt x="198" y="1330"/>
                      <a:pt x="198" y="1330"/>
                    </a:cubicBezTo>
                    <a:cubicBezTo>
                      <a:pt x="179" y="1328"/>
                      <a:pt x="179" y="1328"/>
                      <a:pt x="179" y="1328"/>
                    </a:cubicBezTo>
                    <a:cubicBezTo>
                      <a:pt x="190" y="1341"/>
                      <a:pt x="190" y="1341"/>
                      <a:pt x="190" y="1341"/>
                    </a:cubicBezTo>
                    <a:cubicBezTo>
                      <a:pt x="183" y="1349"/>
                      <a:pt x="183" y="1349"/>
                      <a:pt x="183" y="1349"/>
                    </a:cubicBezTo>
                    <a:cubicBezTo>
                      <a:pt x="195" y="1367"/>
                      <a:pt x="195" y="1367"/>
                      <a:pt x="195" y="1367"/>
                    </a:cubicBezTo>
                    <a:cubicBezTo>
                      <a:pt x="195" y="1367"/>
                      <a:pt x="188" y="1375"/>
                      <a:pt x="181" y="1384"/>
                    </a:cubicBezTo>
                    <a:cubicBezTo>
                      <a:pt x="174" y="1394"/>
                      <a:pt x="212" y="1403"/>
                      <a:pt x="212" y="1403"/>
                    </a:cubicBezTo>
                    <a:cubicBezTo>
                      <a:pt x="212" y="1403"/>
                      <a:pt x="205" y="1409"/>
                      <a:pt x="200" y="1413"/>
                    </a:cubicBezTo>
                    <a:cubicBezTo>
                      <a:pt x="195" y="1416"/>
                      <a:pt x="202" y="1427"/>
                      <a:pt x="212" y="1432"/>
                    </a:cubicBezTo>
                    <a:cubicBezTo>
                      <a:pt x="221" y="1436"/>
                      <a:pt x="234" y="1433"/>
                      <a:pt x="234" y="1433"/>
                    </a:cubicBezTo>
                    <a:cubicBezTo>
                      <a:pt x="239" y="1457"/>
                      <a:pt x="239" y="1457"/>
                      <a:pt x="239" y="1457"/>
                    </a:cubicBezTo>
                    <a:cubicBezTo>
                      <a:pt x="239" y="1457"/>
                      <a:pt x="219" y="1470"/>
                      <a:pt x="214" y="1477"/>
                    </a:cubicBezTo>
                    <a:cubicBezTo>
                      <a:pt x="209" y="1484"/>
                      <a:pt x="228" y="1485"/>
                      <a:pt x="228" y="1485"/>
                    </a:cubicBezTo>
                    <a:cubicBezTo>
                      <a:pt x="228" y="1485"/>
                      <a:pt x="252" y="1490"/>
                      <a:pt x="252" y="1497"/>
                    </a:cubicBezTo>
                    <a:cubicBezTo>
                      <a:pt x="252" y="1504"/>
                      <a:pt x="237" y="1498"/>
                      <a:pt x="227" y="1493"/>
                    </a:cubicBezTo>
                    <a:cubicBezTo>
                      <a:pt x="218" y="1488"/>
                      <a:pt x="216" y="1503"/>
                      <a:pt x="216" y="1503"/>
                    </a:cubicBezTo>
                    <a:cubicBezTo>
                      <a:pt x="235" y="1507"/>
                      <a:pt x="235" y="1507"/>
                      <a:pt x="235" y="1507"/>
                    </a:cubicBezTo>
                    <a:cubicBezTo>
                      <a:pt x="221" y="1514"/>
                      <a:pt x="221" y="1514"/>
                      <a:pt x="221" y="1514"/>
                    </a:cubicBezTo>
                    <a:cubicBezTo>
                      <a:pt x="222" y="1531"/>
                      <a:pt x="222" y="1531"/>
                      <a:pt x="222" y="1531"/>
                    </a:cubicBezTo>
                    <a:cubicBezTo>
                      <a:pt x="222" y="1531"/>
                      <a:pt x="238" y="1523"/>
                      <a:pt x="231" y="1544"/>
                    </a:cubicBezTo>
                    <a:cubicBezTo>
                      <a:pt x="224" y="1565"/>
                      <a:pt x="214" y="1535"/>
                      <a:pt x="214" y="1535"/>
                    </a:cubicBezTo>
                    <a:cubicBezTo>
                      <a:pt x="190" y="1536"/>
                      <a:pt x="190" y="1536"/>
                      <a:pt x="190" y="1536"/>
                    </a:cubicBezTo>
                    <a:cubicBezTo>
                      <a:pt x="206" y="1529"/>
                      <a:pt x="206" y="1529"/>
                      <a:pt x="206" y="1529"/>
                    </a:cubicBezTo>
                    <a:cubicBezTo>
                      <a:pt x="206" y="1529"/>
                      <a:pt x="189" y="1511"/>
                      <a:pt x="186" y="1512"/>
                    </a:cubicBezTo>
                    <a:cubicBezTo>
                      <a:pt x="182" y="1513"/>
                      <a:pt x="185" y="1522"/>
                      <a:pt x="185" y="1522"/>
                    </a:cubicBezTo>
                    <a:cubicBezTo>
                      <a:pt x="179" y="1516"/>
                      <a:pt x="179" y="1516"/>
                      <a:pt x="179" y="1516"/>
                    </a:cubicBezTo>
                    <a:cubicBezTo>
                      <a:pt x="154" y="1523"/>
                      <a:pt x="154" y="1523"/>
                      <a:pt x="154" y="1523"/>
                    </a:cubicBezTo>
                    <a:cubicBezTo>
                      <a:pt x="176" y="1528"/>
                      <a:pt x="176" y="1528"/>
                      <a:pt x="176" y="1528"/>
                    </a:cubicBezTo>
                    <a:cubicBezTo>
                      <a:pt x="176" y="1528"/>
                      <a:pt x="172" y="1531"/>
                      <a:pt x="168" y="1537"/>
                    </a:cubicBezTo>
                    <a:cubicBezTo>
                      <a:pt x="164" y="1543"/>
                      <a:pt x="148" y="1549"/>
                      <a:pt x="147" y="1558"/>
                    </a:cubicBezTo>
                    <a:cubicBezTo>
                      <a:pt x="146" y="1568"/>
                      <a:pt x="166" y="1572"/>
                      <a:pt x="169" y="1570"/>
                    </a:cubicBezTo>
                    <a:cubicBezTo>
                      <a:pt x="173" y="1568"/>
                      <a:pt x="161" y="1559"/>
                      <a:pt x="161" y="1559"/>
                    </a:cubicBezTo>
                    <a:cubicBezTo>
                      <a:pt x="176" y="1556"/>
                      <a:pt x="176" y="1556"/>
                      <a:pt x="176" y="1556"/>
                    </a:cubicBezTo>
                    <a:cubicBezTo>
                      <a:pt x="176" y="1556"/>
                      <a:pt x="183" y="1561"/>
                      <a:pt x="187" y="1565"/>
                    </a:cubicBezTo>
                    <a:cubicBezTo>
                      <a:pt x="190" y="1570"/>
                      <a:pt x="214" y="1567"/>
                      <a:pt x="214" y="1567"/>
                    </a:cubicBezTo>
                    <a:cubicBezTo>
                      <a:pt x="214" y="1567"/>
                      <a:pt x="229" y="1574"/>
                      <a:pt x="235" y="1582"/>
                    </a:cubicBezTo>
                    <a:cubicBezTo>
                      <a:pt x="241" y="1590"/>
                      <a:pt x="222" y="1598"/>
                      <a:pt x="222" y="1598"/>
                    </a:cubicBezTo>
                    <a:cubicBezTo>
                      <a:pt x="228" y="1608"/>
                      <a:pt x="228" y="1608"/>
                      <a:pt x="228" y="1608"/>
                    </a:cubicBezTo>
                    <a:cubicBezTo>
                      <a:pt x="240" y="1604"/>
                      <a:pt x="240" y="1604"/>
                      <a:pt x="240" y="1604"/>
                    </a:cubicBezTo>
                    <a:cubicBezTo>
                      <a:pt x="240" y="1615"/>
                      <a:pt x="240" y="1615"/>
                      <a:pt x="240" y="1615"/>
                    </a:cubicBezTo>
                    <a:cubicBezTo>
                      <a:pt x="252" y="1620"/>
                      <a:pt x="252" y="1620"/>
                      <a:pt x="252" y="1620"/>
                    </a:cubicBezTo>
                    <a:cubicBezTo>
                      <a:pt x="257" y="1604"/>
                      <a:pt x="257" y="1604"/>
                      <a:pt x="257" y="1604"/>
                    </a:cubicBezTo>
                    <a:cubicBezTo>
                      <a:pt x="266" y="1620"/>
                      <a:pt x="266" y="1620"/>
                      <a:pt x="266" y="1620"/>
                    </a:cubicBezTo>
                    <a:cubicBezTo>
                      <a:pt x="266" y="1620"/>
                      <a:pt x="285" y="1620"/>
                      <a:pt x="283" y="1634"/>
                    </a:cubicBezTo>
                    <a:cubicBezTo>
                      <a:pt x="280" y="1648"/>
                      <a:pt x="258" y="1632"/>
                      <a:pt x="250" y="1630"/>
                    </a:cubicBezTo>
                    <a:cubicBezTo>
                      <a:pt x="241" y="1629"/>
                      <a:pt x="248" y="1643"/>
                      <a:pt x="248" y="1643"/>
                    </a:cubicBezTo>
                    <a:cubicBezTo>
                      <a:pt x="248" y="1643"/>
                      <a:pt x="269" y="1650"/>
                      <a:pt x="270" y="1665"/>
                    </a:cubicBezTo>
                    <a:cubicBezTo>
                      <a:pt x="271" y="1679"/>
                      <a:pt x="256" y="1674"/>
                      <a:pt x="256" y="1674"/>
                    </a:cubicBezTo>
                    <a:cubicBezTo>
                      <a:pt x="265" y="1686"/>
                      <a:pt x="265" y="1686"/>
                      <a:pt x="265" y="1686"/>
                    </a:cubicBezTo>
                    <a:cubicBezTo>
                      <a:pt x="274" y="1710"/>
                      <a:pt x="274" y="1710"/>
                      <a:pt x="274" y="1710"/>
                    </a:cubicBezTo>
                    <a:cubicBezTo>
                      <a:pt x="283" y="1681"/>
                      <a:pt x="283" y="1681"/>
                      <a:pt x="283" y="1681"/>
                    </a:cubicBezTo>
                    <a:cubicBezTo>
                      <a:pt x="283" y="1701"/>
                      <a:pt x="283" y="1701"/>
                      <a:pt x="283" y="1701"/>
                    </a:cubicBezTo>
                    <a:cubicBezTo>
                      <a:pt x="296" y="1717"/>
                      <a:pt x="296" y="1717"/>
                      <a:pt x="296" y="1717"/>
                    </a:cubicBezTo>
                    <a:cubicBezTo>
                      <a:pt x="280" y="1717"/>
                      <a:pt x="280" y="1717"/>
                      <a:pt x="280" y="1717"/>
                    </a:cubicBezTo>
                    <a:cubicBezTo>
                      <a:pt x="283" y="1730"/>
                      <a:pt x="283" y="1730"/>
                      <a:pt x="283" y="1730"/>
                    </a:cubicBezTo>
                    <a:cubicBezTo>
                      <a:pt x="298" y="1731"/>
                      <a:pt x="298" y="1731"/>
                      <a:pt x="298" y="1731"/>
                    </a:cubicBezTo>
                    <a:cubicBezTo>
                      <a:pt x="289" y="1739"/>
                      <a:pt x="289" y="1739"/>
                      <a:pt x="289" y="1739"/>
                    </a:cubicBezTo>
                    <a:cubicBezTo>
                      <a:pt x="309" y="1745"/>
                      <a:pt x="309" y="1745"/>
                      <a:pt x="309" y="1745"/>
                    </a:cubicBezTo>
                    <a:cubicBezTo>
                      <a:pt x="296" y="1753"/>
                      <a:pt x="296" y="1753"/>
                      <a:pt x="296" y="1753"/>
                    </a:cubicBezTo>
                    <a:cubicBezTo>
                      <a:pt x="315" y="1760"/>
                      <a:pt x="315" y="1760"/>
                      <a:pt x="315" y="1760"/>
                    </a:cubicBezTo>
                    <a:cubicBezTo>
                      <a:pt x="310" y="1770"/>
                      <a:pt x="310" y="1770"/>
                      <a:pt x="310" y="1770"/>
                    </a:cubicBezTo>
                    <a:cubicBezTo>
                      <a:pt x="322" y="1773"/>
                      <a:pt x="322" y="1773"/>
                      <a:pt x="322" y="1773"/>
                    </a:cubicBezTo>
                    <a:cubicBezTo>
                      <a:pt x="322" y="1773"/>
                      <a:pt x="324" y="1750"/>
                      <a:pt x="331" y="1762"/>
                    </a:cubicBezTo>
                    <a:cubicBezTo>
                      <a:pt x="338" y="1773"/>
                      <a:pt x="329" y="1779"/>
                      <a:pt x="323" y="1783"/>
                    </a:cubicBezTo>
                    <a:cubicBezTo>
                      <a:pt x="317" y="1786"/>
                      <a:pt x="323" y="1794"/>
                      <a:pt x="323" y="1794"/>
                    </a:cubicBezTo>
                    <a:cubicBezTo>
                      <a:pt x="343" y="1795"/>
                      <a:pt x="343" y="1795"/>
                      <a:pt x="343" y="1795"/>
                    </a:cubicBezTo>
                    <a:cubicBezTo>
                      <a:pt x="343" y="1795"/>
                      <a:pt x="344" y="1805"/>
                      <a:pt x="350" y="1810"/>
                    </a:cubicBezTo>
                    <a:cubicBezTo>
                      <a:pt x="356" y="1815"/>
                      <a:pt x="373" y="1824"/>
                      <a:pt x="373" y="1824"/>
                    </a:cubicBezTo>
                    <a:cubicBezTo>
                      <a:pt x="370" y="1802"/>
                      <a:pt x="370" y="1802"/>
                      <a:pt x="370" y="1802"/>
                    </a:cubicBezTo>
                    <a:cubicBezTo>
                      <a:pt x="370" y="1802"/>
                      <a:pt x="391" y="1810"/>
                      <a:pt x="407" y="1821"/>
                    </a:cubicBezTo>
                    <a:cubicBezTo>
                      <a:pt x="422" y="1831"/>
                      <a:pt x="409" y="1841"/>
                      <a:pt x="409" y="1841"/>
                    </a:cubicBezTo>
                    <a:cubicBezTo>
                      <a:pt x="420" y="1848"/>
                      <a:pt x="420" y="1848"/>
                      <a:pt x="420" y="1848"/>
                    </a:cubicBezTo>
                    <a:cubicBezTo>
                      <a:pt x="419" y="1861"/>
                      <a:pt x="419" y="1861"/>
                      <a:pt x="419" y="1861"/>
                    </a:cubicBezTo>
                    <a:cubicBezTo>
                      <a:pt x="458" y="1861"/>
                      <a:pt x="458" y="1861"/>
                      <a:pt x="458" y="1861"/>
                    </a:cubicBezTo>
                    <a:cubicBezTo>
                      <a:pt x="462" y="1868"/>
                      <a:pt x="462" y="1868"/>
                      <a:pt x="462" y="1868"/>
                    </a:cubicBezTo>
                    <a:cubicBezTo>
                      <a:pt x="442" y="1868"/>
                      <a:pt x="442" y="1868"/>
                      <a:pt x="442" y="1868"/>
                    </a:cubicBezTo>
                    <a:cubicBezTo>
                      <a:pt x="434" y="1876"/>
                      <a:pt x="434" y="1876"/>
                      <a:pt x="434" y="1876"/>
                    </a:cubicBezTo>
                    <a:cubicBezTo>
                      <a:pt x="421" y="1877"/>
                      <a:pt x="421" y="1877"/>
                      <a:pt x="421" y="1877"/>
                    </a:cubicBezTo>
                    <a:cubicBezTo>
                      <a:pt x="410" y="1889"/>
                      <a:pt x="410" y="1889"/>
                      <a:pt x="410" y="1889"/>
                    </a:cubicBezTo>
                    <a:cubicBezTo>
                      <a:pt x="430" y="1892"/>
                      <a:pt x="430" y="1892"/>
                      <a:pt x="430" y="1892"/>
                    </a:cubicBezTo>
                    <a:cubicBezTo>
                      <a:pt x="426" y="1902"/>
                      <a:pt x="426" y="1902"/>
                      <a:pt x="426" y="1902"/>
                    </a:cubicBezTo>
                    <a:cubicBezTo>
                      <a:pt x="442" y="1900"/>
                      <a:pt x="442" y="1900"/>
                      <a:pt x="442" y="1900"/>
                    </a:cubicBezTo>
                    <a:cubicBezTo>
                      <a:pt x="444" y="1887"/>
                      <a:pt x="444" y="1887"/>
                      <a:pt x="444" y="1887"/>
                    </a:cubicBezTo>
                    <a:cubicBezTo>
                      <a:pt x="459" y="1893"/>
                      <a:pt x="459" y="1893"/>
                      <a:pt x="459" y="1893"/>
                    </a:cubicBezTo>
                    <a:cubicBezTo>
                      <a:pt x="459" y="1893"/>
                      <a:pt x="477" y="1868"/>
                      <a:pt x="486" y="1875"/>
                    </a:cubicBezTo>
                    <a:cubicBezTo>
                      <a:pt x="496" y="1882"/>
                      <a:pt x="467" y="1907"/>
                      <a:pt x="467" y="1907"/>
                    </a:cubicBezTo>
                    <a:cubicBezTo>
                      <a:pt x="467" y="1907"/>
                      <a:pt x="464" y="1900"/>
                      <a:pt x="455" y="1901"/>
                    </a:cubicBezTo>
                    <a:cubicBezTo>
                      <a:pt x="447" y="1902"/>
                      <a:pt x="452" y="1913"/>
                      <a:pt x="452" y="1913"/>
                    </a:cubicBezTo>
                    <a:cubicBezTo>
                      <a:pt x="440" y="1913"/>
                      <a:pt x="440" y="1913"/>
                      <a:pt x="440" y="1913"/>
                    </a:cubicBezTo>
                    <a:cubicBezTo>
                      <a:pt x="431" y="1910"/>
                      <a:pt x="419" y="1921"/>
                      <a:pt x="419" y="1921"/>
                    </a:cubicBezTo>
                    <a:cubicBezTo>
                      <a:pt x="428" y="1927"/>
                      <a:pt x="428" y="1927"/>
                      <a:pt x="428" y="1927"/>
                    </a:cubicBezTo>
                    <a:cubicBezTo>
                      <a:pt x="430" y="1945"/>
                      <a:pt x="430" y="1945"/>
                      <a:pt x="430" y="1945"/>
                    </a:cubicBezTo>
                    <a:cubicBezTo>
                      <a:pt x="450" y="1935"/>
                      <a:pt x="450" y="1935"/>
                      <a:pt x="450" y="1935"/>
                    </a:cubicBezTo>
                    <a:cubicBezTo>
                      <a:pt x="450" y="1935"/>
                      <a:pt x="455" y="1946"/>
                      <a:pt x="461" y="1945"/>
                    </a:cubicBezTo>
                    <a:cubicBezTo>
                      <a:pt x="466" y="1944"/>
                      <a:pt x="467" y="1924"/>
                      <a:pt x="476" y="191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1" name="MCShape 143">
                <a:extLst>
                  <a:ext uri="{FF2B5EF4-FFF2-40B4-BE49-F238E27FC236}">
                    <a16:creationId xmlns:a16="http://schemas.microsoft.com/office/drawing/2014/main" id="{61382214-BE03-4C6F-9E6C-BF3A016B3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5445" y="3583617"/>
                <a:ext cx="100538" cy="64963"/>
              </a:xfrm>
              <a:custGeom>
                <a:avLst/>
                <a:gdLst>
                  <a:gd name="T0" fmla="*/ 165 w 172"/>
                  <a:gd name="T1" fmla="*/ 68 h 111"/>
                  <a:gd name="T2" fmla="*/ 128 w 172"/>
                  <a:gd name="T3" fmla="*/ 43 h 111"/>
                  <a:gd name="T4" fmla="*/ 97 w 172"/>
                  <a:gd name="T5" fmla="*/ 32 h 111"/>
                  <a:gd name="T6" fmla="*/ 75 w 172"/>
                  <a:gd name="T7" fmla="*/ 5 h 111"/>
                  <a:gd name="T8" fmla="*/ 29 w 172"/>
                  <a:gd name="T9" fmla="*/ 0 h 111"/>
                  <a:gd name="T10" fmla="*/ 15 w 172"/>
                  <a:gd name="T11" fmla="*/ 4 h 111"/>
                  <a:gd name="T12" fmla="*/ 21 w 172"/>
                  <a:gd name="T13" fmla="*/ 26 h 111"/>
                  <a:gd name="T14" fmla="*/ 14 w 172"/>
                  <a:gd name="T15" fmla="*/ 48 h 111"/>
                  <a:gd name="T16" fmla="*/ 3 w 172"/>
                  <a:gd name="T17" fmla="*/ 73 h 111"/>
                  <a:gd name="T18" fmla="*/ 10 w 172"/>
                  <a:gd name="T19" fmla="*/ 97 h 111"/>
                  <a:gd name="T20" fmla="*/ 0 w 172"/>
                  <a:gd name="T21" fmla="*/ 84 h 111"/>
                  <a:gd name="T22" fmla="*/ 23 w 172"/>
                  <a:gd name="T23" fmla="*/ 111 h 111"/>
                  <a:gd name="T24" fmla="*/ 56 w 172"/>
                  <a:gd name="T25" fmla="*/ 87 h 111"/>
                  <a:gd name="T26" fmla="*/ 118 w 172"/>
                  <a:gd name="T27" fmla="*/ 89 h 111"/>
                  <a:gd name="T28" fmla="*/ 161 w 172"/>
                  <a:gd name="T29" fmla="*/ 89 h 111"/>
                  <a:gd name="T30" fmla="*/ 165 w 172"/>
                  <a:gd name="T31" fmla="*/ 68 h 1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2"/>
                  <a:gd name="T49" fmla="*/ 0 h 111"/>
                  <a:gd name="T50" fmla="*/ 172 w 172"/>
                  <a:gd name="T51" fmla="*/ 111 h 1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2" h="111">
                    <a:moveTo>
                      <a:pt x="165" y="68"/>
                    </a:moveTo>
                    <a:cubicBezTo>
                      <a:pt x="165" y="68"/>
                      <a:pt x="143" y="49"/>
                      <a:pt x="128" y="43"/>
                    </a:cubicBezTo>
                    <a:cubicBezTo>
                      <a:pt x="114" y="38"/>
                      <a:pt x="108" y="36"/>
                      <a:pt x="97" y="32"/>
                    </a:cubicBezTo>
                    <a:cubicBezTo>
                      <a:pt x="87" y="28"/>
                      <a:pt x="81" y="9"/>
                      <a:pt x="75" y="5"/>
                    </a:cubicBezTo>
                    <a:cubicBezTo>
                      <a:pt x="69" y="2"/>
                      <a:pt x="46" y="0"/>
                      <a:pt x="29" y="0"/>
                    </a:cubicBezTo>
                    <a:cubicBezTo>
                      <a:pt x="22" y="0"/>
                      <a:pt x="18" y="2"/>
                      <a:pt x="15" y="4"/>
                    </a:cubicBezTo>
                    <a:cubicBezTo>
                      <a:pt x="17" y="10"/>
                      <a:pt x="21" y="20"/>
                      <a:pt x="21" y="26"/>
                    </a:cubicBezTo>
                    <a:cubicBezTo>
                      <a:pt x="20" y="36"/>
                      <a:pt x="16" y="39"/>
                      <a:pt x="14" y="48"/>
                    </a:cubicBezTo>
                    <a:cubicBezTo>
                      <a:pt x="11" y="57"/>
                      <a:pt x="3" y="73"/>
                      <a:pt x="3" y="73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6" y="87"/>
                      <a:pt x="85" y="87"/>
                      <a:pt x="118" y="89"/>
                    </a:cubicBezTo>
                    <a:cubicBezTo>
                      <a:pt x="131" y="90"/>
                      <a:pt x="153" y="93"/>
                      <a:pt x="161" y="89"/>
                    </a:cubicBezTo>
                    <a:cubicBezTo>
                      <a:pt x="172" y="83"/>
                      <a:pt x="165" y="68"/>
                      <a:pt x="165" y="6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2" name="MCShape 144">
                <a:extLst>
                  <a:ext uri="{FF2B5EF4-FFF2-40B4-BE49-F238E27FC236}">
                    <a16:creationId xmlns:a16="http://schemas.microsoft.com/office/drawing/2014/main" id="{75B02497-11B3-488A-9618-928E8BC1C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8936" y="3583617"/>
                <a:ext cx="78883" cy="61870"/>
              </a:xfrm>
              <a:custGeom>
                <a:avLst/>
                <a:gdLst>
                  <a:gd name="T0" fmla="*/ 114 w 132"/>
                  <a:gd name="T1" fmla="*/ 74 h 106"/>
                  <a:gd name="T2" fmla="*/ 125 w 132"/>
                  <a:gd name="T3" fmla="*/ 49 h 106"/>
                  <a:gd name="T4" fmla="*/ 132 w 132"/>
                  <a:gd name="T5" fmla="*/ 27 h 106"/>
                  <a:gd name="T6" fmla="*/ 126 w 132"/>
                  <a:gd name="T7" fmla="*/ 5 h 106"/>
                  <a:gd name="T8" fmla="*/ 120 w 132"/>
                  <a:gd name="T9" fmla="*/ 12 h 106"/>
                  <a:gd name="T10" fmla="*/ 70 w 132"/>
                  <a:gd name="T11" fmla="*/ 0 h 106"/>
                  <a:gd name="T12" fmla="*/ 43 w 132"/>
                  <a:gd name="T13" fmla="*/ 10 h 106"/>
                  <a:gd name="T14" fmla="*/ 68 w 132"/>
                  <a:gd name="T15" fmla="*/ 17 h 106"/>
                  <a:gd name="T16" fmla="*/ 87 w 132"/>
                  <a:gd name="T17" fmla="*/ 31 h 106"/>
                  <a:gd name="T18" fmla="*/ 74 w 132"/>
                  <a:gd name="T19" fmla="*/ 49 h 106"/>
                  <a:gd name="T20" fmla="*/ 72 w 132"/>
                  <a:gd name="T21" fmla="*/ 70 h 106"/>
                  <a:gd name="T22" fmla="*/ 31 w 132"/>
                  <a:gd name="T23" fmla="*/ 64 h 106"/>
                  <a:gd name="T24" fmla="*/ 0 w 132"/>
                  <a:gd name="T25" fmla="*/ 72 h 106"/>
                  <a:gd name="T26" fmla="*/ 26 w 132"/>
                  <a:gd name="T27" fmla="*/ 102 h 106"/>
                  <a:gd name="T28" fmla="*/ 43 w 132"/>
                  <a:gd name="T29" fmla="*/ 87 h 106"/>
                  <a:gd name="T30" fmla="*/ 74 w 132"/>
                  <a:gd name="T31" fmla="*/ 89 h 106"/>
                  <a:gd name="T32" fmla="*/ 111 w 132"/>
                  <a:gd name="T33" fmla="*/ 85 h 106"/>
                  <a:gd name="T34" fmla="*/ 121 w 132"/>
                  <a:gd name="T35" fmla="*/ 98 h 106"/>
                  <a:gd name="T36" fmla="*/ 114 w 132"/>
                  <a:gd name="T37" fmla="*/ 74 h 10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2"/>
                  <a:gd name="T58" fmla="*/ 0 h 106"/>
                  <a:gd name="T59" fmla="*/ 132 w 132"/>
                  <a:gd name="T60" fmla="*/ 106 h 10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2" h="106">
                    <a:moveTo>
                      <a:pt x="114" y="74"/>
                    </a:moveTo>
                    <a:cubicBezTo>
                      <a:pt x="114" y="74"/>
                      <a:pt x="122" y="58"/>
                      <a:pt x="125" y="49"/>
                    </a:cubicBezTo>
                    <a:cubicBezTo>
                      <a:pt x="127" y="40"/>
                      <a:pt x="131" y="37"/>
                      <a:pt x="132" y="27"/>
                    </a:cubicBezTo>
                    <a:cubicBezTo>
                      <a:pt x="132" y="21"/>
                      <a:pt x="128" y="11"/>
                      <a:pt x="126" y="5"/>
                    </a:cubicBezTo>
                    <a:cubicBezTo>
                      <a:pt x="121" y="8"/>
                      <a:pt x="120" y="12"/>
                      <a:pt x="120" y="12"/>
                    </a:cubicBezTo>
                    <a:cubicBezTo>
                      <a:pt x="120" y="12"/>
                      <a:pt x="85" y="0"/>
                      <a:pt x="70" y="0"/>
                    </a:cubicBezTo>
                    <a:cubicBezTo>
                      <a:pt x="56" y="0"/>
                      <a:pt x="49" y="2"/>
                      <a:pt x="43" y="10"/>
                    </a:cubicBezTo>
                    <a:cubicBezTo>
                      <a:pt x="37" y="17"/>
                      <a:pt x="62" y="17"/>
                      <a:pt x="68" y="17"/>
                    </a:cubicBezTo>
                    <a:cubicBezTo>
                      <a:pt x="74" y="17"/>
                      <a:pt x="87" y="31"/>
                      <a:pt x="87" y="31"/>
                    </a:cubicBezTo>
                    <a:cubicBezTo>
                      <a:pt x="87" y="31"/>
                      <a:pt x="72" y="34"/>
                      <a:pt x="74" y="49"/>
                    </a:cubicBezTo>
                    <a:cubicBezTo>
                      <a:pt x="76" y="65"/>
                      <a:pt x="84" y="70"/>
                      <a:pt x="72" y="70"/>
                    </a:cubicBezTo>
                    <a:cubicBezTo>
                      <a:pt x="59" y="70"/>
                      <a:pt x="39" y="63"/>
                      <a:pt x="31" y="64"/>
                    </a:cubicBezTo>
                    <a:cubicBezTo>
                      <a:pt x="22" y="66"/>
                      <a:pt x="6" y="62"/>
                      <a:pt x="0" y="72"/>
                    </a:cubicBezTo>
                    <a:cubicBezTo>
                      <a:pt x="0" y="72"/>
                      <a:pt x="18" y="98"/>
                      <a:pt x="26" y="102"/>
                    </a:cubicBezTo>
                    <a:cubicBezTo>
                      <a:pt x="35" y="106"/>
                      <a:pt x="43" y="87"/>
                      <a:pt x="43" y="87"/>
                    </a:cubicBezTo>
                    <a:cubicBezTo>
                      <a:pt x="43" y="87"/>
                      <a:pt x="57" y="89"/>
                      <a:pt x="74" y="89"/>
                    </a:cubicBezTo>
                    <a:cubicBezTo>
                      <a:pt x="90" y="89"/>
                      <a:pt x="111" y="85"/>
                      <a:pt x="111" y="85"/>
                    </a:cubicBezTo>
                    <a:cubicBezTo>
                      <a:pt x="121" y="98"/>
                      <a:pt x="121" y="98"/>
                      <a:pt x="121" y="98"/>
                    </a:cubicBezTo>
                    <a:lnTo>
                      <a:pt x="114" y="7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3" name="MCShape 145">
                <a:extLst>
                  <a:ext uri="{FF2B5EF4-FFF2-40B4-BE49-F238E27FC236}">
                    <a16:creationId xmlns:a16="http://schemas.microsoft.com/office/drawing/2014/main" id="{BEA912B3-C0EA-46F2-BEDE-E6ABAC4AF4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7093" y="2598346"/>
                <a:ext cx="1798858" cy="1549832"/>
              </a:xfrm>
              <a:custGeom>
                <a:avLst/>
                <a:gdLst>
                  <a:gd name="T0" fmla="*/ 3045 w 3050"/>
                  <a:gd name="T1" fmla="*/ 429 h 2623"/>
                  <a:gd name="T2" fmla="*/ 3017 w 3050"/>
                  <a:gd name="T3" fmla="*/ 487 h 2623"/>
                  <a:gd name="T4" fmla="*/ 3043 w 3050"/>
                  <a:gd name="T5" fmla="*/ 495 h 2623"/>
                  <a:gd name="T6" fmla="*/ 3048 w 3050"/>
                  <a:gd name="T7" fmla="*/ 446 h 2623"/>
                  <a:gd name="T8" fmla="*/ 2944 w 3050"/>
                  <a:gd name="T9" fmla="*/ 106 h 2623"/>
                  <a:gd name="T10" fmla="*/ 2924 w 3050"/>
                  <a:gd name="T11" fmla="*/ 87 h 2623"/>
                  <a:gd name="T12" fmla="*/ 2899 w 3050"/>
                  <a:gd name="T13" fmla="*/ 85 h 2623"/>
                  <a:gd name="T14" fmla="*/ 2877 w 3050"/>
                  <a:gd name="T15" fmla="*/ 77 h 2623"/>
                  <a:gd name="T16" fmla="*/ 2843 w 3050"/>
                  <a:gd name="T17" fmla="*/ 61 h 2623"/>
                  <a:gd name="T18" fmla="*/ 2800 w 3050"/>
                  <a:gd name="T19" fmla="*/ 37 h 2623"/>
                  <a:gd name="T20" fmla="*/ 2771 w 3050"/>
                  <a:gd name="T21" fmla="*/ 12 h 2623"/>
                  <a:gd name="T22" fmla="*/ 2715 w 3050"/>
                  <a:gd name="T23" fmla="*/ 12 h 2623"/>
                  <a:gd name="T24" fmla="*/ 2686 w 3050"/>
                  <a:gd name="T25" fmla="*/ 60 h 2623"/>
                  <a:gd name="T26" fmla="*/ 2635 w 3050"/>
                  <a:gd name="T27" fmla="*/ 97 h 2623"/>
                  <a:gd name="T28" fmla="*/ 2580 w 3050"/>
                  <a:gd name="T29" fmla="*/ 75 h 2623"/>
                  <a:gd name="T30" fmla="*/ 2550 w 3050"/>
                  <a:gd name="T31" fmla="*/ 125 h 2623"/>
                  <a:gd name="T32" fmla="*/ 2495 w 3050"/>
                  <a:gd name="T33" fmla="*/ 124 h 2623"/>
                  <a:gd name="T34" fmla="*/ 2450 w 3050"/>
                  <a:gd name="T35" fmla="*/ 161 h 2623"/>
                  <a:gd name="T36" fmla="*/ 2514 w 3050"/>
                  <a:gd name="T37" fmla="*/ 184 h 2623"/>
                  <a:gd name="T38" fmla="*/ 2572 w 3050"/>
                  <a:gd name="T39" fmla="*/ 199 h 2623"/>
                  <a:gd name="T40" fmla="*/ 2597 w 3050"/>
                  <a:gd name="T41" fmla="*/ 248 h 2623"/>
                  <a:gd name="T42" fmla="*/ 2617 w 3050"/>
                  <a:gd name="T43" fmla="*/ 320 h 2623"/>
                  <a:gd name="T44" fmla="*/ 2576 w 3050"/>
                  <a:gd name="T45" fmla="*/ 391 h 2623"/>
                  <a:gd name="T46" fmla="*/ 2578 w 3050"/>
                  <a:gd name="T47" fmla="*/ 414 h 2623"/>
                  <a:gd name="T48" fmla="*/ 2612 w 3050"/>
                  <a:gd name="T49" fmla="*/ 437 h 2623"/>
                  <a:gd name="T50" fmla="*/ 2651 w 3050"/>
                  <a:gd name="T51" fmla="*/ 441 h 2623"/>
                  <a:gd name="T52" fmla="*/ 2673 w 3050"/>
                  <a:gd name="T53" fmla="*/ 434 h 2623"/>
                  <a:gd name="T54" fmla="*/ 2697 w 3050"/>
                  <a:gd name="T55" fmla="*/ 446 h 2623"/>
                  <a:gd name="T56" fmla="*/ 2717 w 3050"/>
                  <a:gd name="T57" fmla="*/ 454 h 2623"/>
                  <a:gd name="T58" fmla="*/ 2742 w 3050"/>
                  <a:gd name="T59" fmla="*/ 463 h 2623"/>
                  <a:gd name="T60" fmla="*/ 2763 w 3050"/>
                  <a:gd name="T61" fmla="*/ 453 h 2623"/>
                  <a:gd name="T62" fmla="*/ 2822 w 3050"/>
                  <a:gd name="T63" fmla="*/ 397 h 2623"/>
                  <a:gd name="T64" fmla="*/ 2882 w 3050"/>
                  <a:gd name="T65" fmla="*/ 421 h 2623"/>
                  <a:gd name="T66" fmla="*/ 2957 w 3050"/>
                  <a:gd name="T67" fmla="*/ 388 h 2623"/>
                  <a:gd name="T68" fmla="*/ 2950 w 3050"/>
                  <a:gd name="T69" fmla="*/ 367 h 2623"/>
                  <a:gd name="T70" fmla="*/ 2940 w 3050"/>
                  <a:gd name="T71" fmla="*/ 335 h 2623"/>
                  <a:gd name="T72" fmla="*/ 2922 w 3050"/>
                  <a:gd name="T73" fmla="*/ 314 h 2623"/>
                  <a:gd name="T74" fmla="*/ 2939 w 3050"/>
                  <a:gd name="T75" fmla="*/ 289 h 2623"/>
                  <a:gd name="T76" fmla="*/ 2934 w 3050"/>
                  <a:gd name="T77" fmla="*/ 263 h 2623"/>
                  <a:gd name="T78" fmla="*/ 2902 w 3050"/>
                  <a:gd name="T79" fmla="*/ 259 h 2623"/>
                  <a:gd name="T80" fmla="*/ 2918 w 3050"/>
                  <a:gd name="T81" fmla="*/ 226 h 2623"/>
                  <a:gd name="T82" fmla="*/ 2943 w 3050"/>
                  <a:gd name="T83" fmla="*/ 198 h 2623"/>
                  <a:gd name="T84" fmla="*/ 2966 w 3050"/>
                  <a:gd name="T85" fmla="*/ 186 h 2623"/>
                  <a:gd name="T86" fmla="*/ 2976 w 3050"/>
                  <a:gd name="T87" fmla="*/ 128 h 2623"/>
                  <a:gd name="T88" fmla="*/ 2982 w 3050"/>
                  <a:gd name="T89" fmla="*/ 106 h 2623"/>
                  <a:gd name="T90" fmla="*/ 90 w 3050"/>
                  <a:gd name="T91" fmla="*/ 2439 h 2623"/>
                  <a:gd name="T92" fmla="*/ 32 w 3050"/>
                  <a:gd name="T93" fmla="*/ 2444 h 2623"/>
                  <a:gd name="T94" fmla="*/ 32 w 3050"/>
                  <a:gd name="T95" fmla="*/ 2544 h 2623"/>
                  <a:gd name="T96" fmla="*/ 11 w 3050"/>
                  <a:gd name="T97" fmla="*/ 2594 h 2623"/>
                  <a:gd name="T98" fmla="*/ 38 w 3050"/>
                  <a:gd name="T99" fmla="*/ 2611 h 2623"/>
                  <a:gd name="T100" fmla="*/ 62 w 3050"/>
                  <a:gd name="T101" fmla="*/ 2610 h 2623"/>
                  <a:gd name="T102" fmla="*/ 108 w 3050"/>
                  <a:gd name="T103" fmla="*/ 2570 h 2623"/>
                  <a:gd name="T104" fmla="*/ 125 w 3050"/>
                  <a:gd name="T105" fmla="*/ 2479 h 262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050"/>
                  <a:gd name="T160" fmla="*/ 0 h 2623"/>
                  <a:gd name="T161" fmla="*/ 3050 w 3050"/>
                  <a:gd name="T162" fmla="*/ 2623 h 262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050" h="2623">
                    <a:moveTo>
                      <a:pt x="3048" y="446"/>
                    </a:moveTo>
                    <a:cubicBezTo>
                      <a:pt x="3043" y="444"/>
                      <a:pt x="3043" y="444"/>
                      <a:pt x="3043" y="444"/>
                    </a:cubicBezTo>
                    <a:cubicBezTo>
                      <a:pt x="3043" y="444"/>
                      <a:pt x="3049" y="436"/>
                      <a:pt x="3045" y="429"/>
                    </a:cubicBezTo>
                    <a:cubicBezTo>
                      <a:pt x="3041" y="422"/>
                      <a:pt x="3033" y="440"/>
                      <a:pt x="3033" y="440"/>
                    </a:cubicBezTo>
                    <a:cubicBezTo>
                      <a:pt x="3033" y="440"/>
                      <a:pt x="3004" y="453"/>
                      <a:pt x="3007" y="467"/>
                    </a:cubicBezTo>
                    <a:cubicBezTo>
                      <a:pt x="3010" y="481"/>
                      <a:pt x="3017" y="487"/>
                      <a:pt x="3017" y="487"/>
                    </a:cubicBezTo>
                    <a:cubicBezTo>
                      <a:pt x="3017" y="487"/>
                      <a:pt x="3008" y="498"/>
                      <a:pt x="3016" y="505"/>
                    </a:cubicBezTo>
                    <a:cubicBezTo>
                      <a:pt x="3024" y="512"/>
                      <a:pt x="3033" y="513"/>
                      <a:pt x="3033" y="513"/>
                    </a:cubicBezTo>
                    <a:cubicBezTo>
                      <a:pt x="3033" y="513"/>
                      <a:pt x="3043" y="506"/>
                      <a:pt x="3043" y="495"/>
                    </a:cubicBezTo>
                    <a:cubicBezTo>
                      <a:pt x="3043" y="484"/>
                      <a:pt x="3042" y="481"/>
                      <a:pt x="3042" y="481"/>
                    </a:cubicBezTo>
                    <a:cubicBezTo>
                      <a:pt x="3050" y="477"/>
                      <a:pt x="3050" y="477"/>
                      <a:pt x="3050" y="477"/>
                    </a:cubicBezTo>
                    <a:lnTo>
                      <a:pt x="3048" y="446"/>
                    </a:lnTo>
                    <a:close/>
                    <a:moveTo>
                      <a:pt x="2964" y="107"/>
                    </a:moveTo>
                    <a:cubicBezTo>
                      <a:pt x="2964" y="103"/>
                      <a:pt x="2964" y="103"/>
                      <a:pt x="2964" y="103"/>
                    </a:cubicBezTo>
                    <a:cubicBezTo>
                      <a:pt x="2964" y="103"/>
                      <a:pt x="2950" y="107"/>
                      <a:pt x="2944" y="106"/>
                    </a:cubicBezTo>
                    <a:cubicBezTo>
                      <a:pt x="2938" y="105"/>
                      <a:pt x="2940" y="100"/>
                      <a:pt x="2940" y="100"/>
                    </a:cubicBezTo>
                    <a:cubicBezTo>
                      <a:pt x="2923" y="100"/>
                      <a:pt x="2923" y="100"/>
                      <a:pt x="2923" y="100"/>
                    </a:cubicBezTo>
                    <a:cubicBezTo>
                      <a:pt x="2923" y="100"/>
                      <a:pt x="2927" y="90"/>
                      <a:pt x="2924" y="87"/>
                    </a:cubicBezTo>
                    <a:cubicBezTo>
                      <a:pt x="2921" y="84"/>
                      <a:pt x="2919" y="80"/>
                      <a:pt x="2919" y="80"/>
                    </a:cubicBezTo>
                    <a:cubicBezTo>
                      <a:pt x="2908" y="78"/>
                      <a:pt x="2908" y="78"/>
                      <a:pt x="2908" y="78"/>
                    </a:cubicBezTo>
                    <a:cubicBezTo>
                      <a:pt x="2899" y="85"/>
                      <a:pt x="2899" y="85"/>
                      <a:pt x="2899" y="85"/>
                    </a:cubicBezTo>
                    <a:cubicBezTo>
                      <a:pt x="2894" y="81"/>
                      <a:pt x="2894" y="81"/>
                      <a:pt x="2894" y="81"/>
                    </a:cubicBezTo>
                    <a:cubicBezTo>
                      <a:pt x="2880" y="81"/>
                      <a:pt x="2880" y="81"/>
                      <a:pt x="2880" y="81"/>
                    </a:cubicBezTo>
                    <a:cubicBezTo>
                      <a:pt x="2880" y="81"/>
                      <a:pt x="2879" y="80"/>
                      <a:pt x="2877" y="77"/>
                    </a:cubicBezTo>
                    <a:cubicBezTo>
                      <a:pt x="2875" y="74"/>
                      <a:pt x="2853" y="70"/>
                      <a:pt x="2853" y="70"/>
                    </a:cubicBezTo>
                    <a:cubicBezTo>
                      <a:pt x="2853" y="54"/>
                      <a:pt x="2853" y="54"/>
                      <a:pt x="2853" y="54"/>
                    </a:cubicBezTo>
                    <a:cubicBezTo>
                      <a:pt x="2843" y="61"/>
                      <a:pt x="2843" y="61"/>
                      <a:pt x="2843" y="61"/>
                    </a:cubicBezTo>
                    <a:cubicBezTo>
                      <a:pt x="2828" y="61"/>
                      <a:pt x="2828" y="61"/>
                      <a:pt x="2828" y="61"/>
                    </a:cubicBezTo>
                    <a:cubicBezTo>
                      <a:pt x="2828" y="61"/>
                      <a:pt x="2828" y="45"/>
                      <a:pt x="2823" y="42"/>
                    </a:cubicBezTo>
                    <a:cubicBezTo>
                      <a:pt x="2818" y="39"/>
                      <a:pt x="2800" y="37"/>
                      <a:pt x="2800" y="37"/>
                    </a:cubicBezTo>
                    <a:cubicBezTo>
                      <a:pt x="2793" y="30"/>
                      <a:pt x="2793" y="30"/>
                      <a:pt x="2793" y="30"/>
                    </a:cubicBezTo>
                    <a:cubicBezTo>
                      <a:pt x="2777" y="26"/>
                      <a:pt x="2777" y="26"/>
                      <a:pt x="2777" y="26"/>
                    </a:cubicBezTo>
                    <a:cubicBezTo>
                      <a:pt x="2771" y="12"/>
                      <a:pt x="2771" y="12"/>
                      <a:pt x="2771" y="12"/>
                    </a:cubicBezTo>
                    <a:cubicBezTo>
                      <a:pt x="2772" y="3"/>
                      <a:pt x="2772" y="3"/>
                      <a:pt x="2772" y="3"/>
                    </a:cubicBezTo>
                    <a:cubicBezTo>
                      <a:pt x="2772" y="3"/>
                      <a:pt x="2756" y="0"/>
                      <a:pt x="2746" y="4"/>
                    </a:cubicBezTo>
                    <a:cubicBezTo>
                      <a:pt x="2736" y="8"/>
                      <a:pt x="2711" y="4"/>
                      <a:pt x="2715" y="12"/>
                    </a:cubicBezTo>
                    <a:cubicBezTo>
                      <a:pt x="2719" y="20"/>
                      <a:pt x="2722" y="27"/>
                      <a:pt x="2722" y="27"/>
                    </a:cubicBezTo>
                    <a:cubicBezTo>
                      <a:pt x="2722" y="27"/>
                      <a:pt x="2730" y="44"/>
                      <a:pt x="2719" y="52"/>
                    </a:cubicBezTo>
                    <a:cubicBezTo>
                      <a:pt x="2708" y="60"/>
                      <a:pt x="2686" y="60"/>
                      <a:pt x="2686" y="60"/>
                    </a:cubicBezTo>
                    <a:cubicBezTo>
                      <a:pt x="2661" y="80"/>
                      <a:pt x="2661" y="80"/>
                      <a:pt x="2661" y="80"/>
                    </a:cubicBezTo>
                    <a:cubicBezTo>
                      <a:pt x="2670" y="86"/>
                      <a:pt x="2670" y="86"/>
                      <a:pt x="2670" y="86"/>
                    </a:cubicBezTo>
                    <a:cubicBezTo>
                      <a:pt x="2670" y="86"/>
                      <a:pt x="2650" y="98"/>
                      <a:pt x="2635" y="97"/>
                    </a:cubicBezTo>
                    <a:cubicBezTo>
                      <a:pt x="2620" y="96"/>
                      <a:pt x="2611" y="91"/>
                      <a:pt x="2611" y="91"/>
                    </a:cubicBezTo>
                    <a:cubicBezTo>
                      <a:pt x="2600" y="76"/>
                      <a:pt x="2600" y="76"/>
                      <a:pt x="2600" y="76"/>
                    </a:cubicBezTo>
                    <a:cubicBezTo>
                      <a:pt x="2600" y="76"/>
                      <a:pt x="2579" y="68"/>
                      <a:pt x="2580" y="75"/>
                    </a:cubicBezTo>
                    <a:cubicBezTo>
                      <a:pt x="2581" y="82"/>
                      <a:pt x="2592" y="96"/>
                      <a:pt x="2592" y="96"/>
                    </a:cubicBezTo>
                    <a:cubicBezTo>
                      <a:pt x="2592" y="96"/>
                      <a:pt x="2605" y="120"/>
                      <a:pt x="2587" y="123"/>
                    </a:cubicBezTo>
                    <a:cubicBezTo>
                      <a:pt x="2569" y="126"/>
                      <a:pt x="2550" y="125"/>
                      <a:pt x="2550" y="125"/>
                    </a:cubicBezTo>
                    <a:cubicBezTo>
                      <a:pt x="2543" y="136"/>
                      <a:pt x="2543" y="136"/>
                      <a:pt x="2543" y="136"/>
                    </a:cubicBezTo>
                    <a:cubicBezTo>
                      <a:pt x="2543" y="136"/>
                      <a:pt x="2527" y="116"/>
                      <a:pt x="2521" y="117"/>
                    </a:cubicBezTo>
                    <a:cubicBezTo>
                      <a:pt x="2515" y="118"/>
                      <a:pt x="2495" y="124"/>
                      <a:pt x="2495" y="124"/>
                    </a:cubicBezTo>
                    <a:cubicBezTo>
                      <a:pt x="2495" y="124"/>
                      <a:pt x="2459" y="129"/>
                      <a:pt x="2456" y="136"/>
                    </a:cubicBezTo>
                    <a:cubicBezTo>
                      <a:pt x="2453" y="143"/>
                      <a:pt x="2475" y="149"/>
                      <a:pt x="2474" y="152"/>
                    </a:cubicBezTo>
                    <a:cubicBezTo>
                      <a:pt x="2473" y="155"/>
                      <a:pt x="2444" y="153"/>
                      <a:pt x="2450" y="161"/>
                    </a:cubicBezTo>
                    <a:cubicBezTo>
                      <a:pt x="2456" y="169"/>
                      <a:pt x="2475" y="170"/>
                      <a:pt x="2475" y="170"/>
                    </a:cubicBezTo>
                    <a:cubicBezTo>
                      <a:pt x="2482" y="166"/>
                      <a:pt x="2482" y="166"/>
                      <a:pt x="2482" y="166"/>
                    </a:cubicBezTo>
                    <a:cubicBezTo>
                      <a:pt x="2514" y="184"/>
                      <a:pt x="2514" y="184"/>
                      <a:pt x="2514" y="184"/>
                    </a:cubicBezTo>
                    <a:cubicBezTo>
                      <a:pt x="2534" y="184"/>
                      <a:pt x="2534" y="184"/>
                      <a:pt x="2534" y="184"/>
                    </a:cubicBezTo>
                    <a:cubicBezTo>
                      <a:pt x="2546" y="196"/>
                      <a:pt x="2546" y="196"/>
                      <a:pt x="2546" y="196"/>
                    </a:cubicBezTo>
                    <a:cubicBezTo>
                      <a:pt x="2572" y="199"/>
                      <a:pt x="2572" y="199"/>
                      <a:pt x="2572" y="199"/>
                    </a:cubicBezTo>
                    <a:cubicBezTo>
                      <a:pt x="2553" y="209"/>
                      <a:pt x="2553" y="209"/>
                      <a:pt x="2553" y="209"/>
                    </a:cubicBezTo>
                    <a:cubicBezTo>
                      <a:pt x="2553" y="209"/>
                      <a:pt x="2572" y="240"/>
                      <a:pt x="2576" y="244"/>
                    </a:cubicBezTo>
                    <a:cubicBezTo>
                      <a:pt x="2580" y="248"/>
                      <a:pt x="2597" y="248"/>
                      <a:pt x="2597" y="248"/>
                    </a:cubicBezTo>
                    <a:cubicBezTo>
                      <a:pt x="2595" y="277"/>
                      <a:pt x="2595" y="277"/>
                      <a:pt x="2595" y="277"/>
                    </a:cubicBezTo>
                    <a:cubicBezTo>
                      <a:pt x="2608" y="297"/>
                      <a:pt x="2608" y="297"/>
                      <a:pt x="2608" y="297"/>
                    </a:cubicBezTo>
                    <a:cubicBezTo>
                      <a:pt x="2617" y="320"/>
                      <a:pt x="2617" y="320"/>
                      <a:pt x="2617" y="320"/>
                    </a:cubicBezTo>
                    <a:cubicBezTo>
                      <a:pt x="2596" y="294"/>
                      <a:pt x="2596" y="294"/>
                      <a:pt x="2596" y="294"/>
                    </a:cubicBezTo>
                    <a:cubicBezTo>
                      <a:pt x="2596" y="294"/>
                      <a:pt x="2594" y="323"/>
                      <a:pt x="2593" y="333"/>
                    </a:cubicBezTo>
                    <a:cubicBezTo>
                      <a:pt x="2592" y="343"/>
                      <a:pt x="2581" y="383"/>
                      <a:pt x="2576" y="391"/>
                    </a:cubicBezTo>
                    <a:cubicBezTo>
                      <a:pt x="2572" y="398"/>
                      <a:pt x="2574" y="407"/>
                      <a:pt x="2562" y="409"/>
                    </a:cubicBezTo>
                    <a:cubicBezTo>
                      <a:pt x="2563" y="415"/>
                      <a:pt x="2563" y="415"/>
                      <a:pt x="2563" y="415"/>
                    </a:cubicBezTo>
                    <a:cubicBezTo>
                      <a:pt x="2563" y="415"/>
                      <a:pt x="2572" y="407"/>
                      <a:pt x="2578" y="414"/>
                    </a:cubicBezTo>
                    <a:cubicBezTo>
                      <a:pt x="2584" y="421"/>
                      <a:pt x="2578" y="424"/>
                      <a:pt x="2578" y="424"/>
                    </a:cubicBezTo>
                    <a:cubicBezTo>
                      <a:pt x="2578" y="424"/>
                      <a:pt x="2592" y="426"/>
                      <a:pt x="2599" y="427"/>
                    </a:cubicBezTo>
                    <a:cubicBezTo>
                      <a:pt x="2606" y="428"/>
                      <a:pt x="2612" y="437"/>
                      <a:pt x="2612" y="437"/>
                    </a:cubicBezTo>
                    <a:cubicBezTo>
                      <a:pt x="2612" y="437"/>
                      <a:pt x="2622" y="433"/>
                      <a:pt x="2626" y="435"/>
                    </a:cubicBezTo>
                    <a:cubicBezTo>
                      <a:pt x="2630" y="437"/>
                      <a:pt x="2631" y="440"/>
                      <a:pt x="2631" y="440"/>
                    </a:cubicBezTo>
                    <a:cubicBezTo>
                      <a:pt x="2651" y="441"/>
                      <a:pt x="2651" y="441"/>
                      <a:pt x="2651" y="441"/>
                    </a:cubicBezTo>
                    <a:cubicBezTo>
                      <a:pt x="2653" y="449"/>
                      <a:pt x="2653" y="449"/>
                      <a:pt x="2653" y="449"/>
                    </a:cubicBezTo>
                    <a:cubicBezTo>
                      <a:pt x="2666" y="446"/>
                      <a:pt x="2666" y="446"/>
                      <a:pt x="2666" y="446"/>
                    </a:cubicBezTo>
                    <a:cubicBezTo>
                      <a:pt x="2666" y="446"/>
                      <a:pt x="2660" y="434"/>
                      <a:pt x="2673" y="434"/>
                    </a:cubicBezTo>
                    <a:cubicBezTo>
                      <a:pt x="2686" y="434"/>
                      <a:pt x="2686" y="441"/>
                      <a:pt x="2686" y="441"/>
                    </a:cubicBezTo>
                    <a:cubicBezTo>
                      <a:pt x="2695" y="442"/>
                      <a:pt x="2695" y="442"/>
                      <a:pt x="2695" y="442"/>
                    </a:cubicBezTo>
                    <a:cubicBezTo>
                      <a:pt x="2697" y="446"/>
                      <a:pt x="2697" y="446"/>
                      <a:pt x="2697" y="446"/>
                    </a:cubicBezTo>
                    <a:cubicBezTo>
                      <a:pt x="2698" y="445"/>
                      <a:pt x="2700" y="445"/>
                      <a:pt x="2702" y="445"/>
                    </a:cubicBezTo>
                    <a:cubicBezTo>
                      <a:pt x="2712" y="444"/>
                      <a:pt x="2716" y="445"/>
                      <a:pt x="2716" y="445"/>
                    </a:cubicBezTo>
                    <a:cubicBezTo>
                      <a:pt x="2717" y="454"/>
                      <a:pt x="2717" y="454"/>
                      <a:pt x="2717" y="454"/>
                    </a:cubicBezTo>
                    <a:cubicBezTo>
                      <a:pt x="2720" y="455"/>
                      <a:pt x="2722" y="459"/>
                      <a:pt x="2722" y="459"/>
                    </a:cubicBezTo>
                    <a:cubicBezTo>
                      <a:pt x="2722" y="459"/>
                      <a:pt x="2729" y="457"/>
                      <a:pt x="2732" y="456"/>
                    </a:cubicBezTo>
                    <a:cubicBezTo>
                      <a:pt x="2735" y="455"/>
                      <a:pt x="2742" y="463"/>
                      <a:pt x="2742" y="463"/>
                    </a:cubicBezTo>
                    <a:cubicBezTo>
                      <a:pt x="2742" y="463"/>
                      <a:pt x="2743" y="463"/>
                      <a:pt x="2750" y="463"/>
                    </a:cubicBezTo>
                    <a:cubicBezTo>
                      <a:pt x="2757" y="463"/>
                      <a:pt x="2757" y="453"/>
                      <a:pt x="2757" y="453"/>
                    </a:cubicBezTo>
                    <a:cubicBezTo>
                      <a:pt x="2763" y="453"/>
                      <a:pt x="2763" y="453"/>
                      <a:pt x="2763" y="453"/>
                    </a:cubicBezTo>
                    <a:cubicBezTo>
                      <a:pt x="2763" y="452"/>
                      <a:pt x="2763" y="451"/>
                      <a:pt x="2763" y="450"/>
                    </a:cubicBezTo>
                    <a:cubicBezTo>
                      <a:pt x="2763" y="440"/>
                      <a:pt x="2778" y="417"/>
                      <a:pt x="2785" y="413"/>
                    </a:cubicBezTo>
                    <a:cubicBezTo>
                      <a:pt x="2792" y="409"/>
                      <a:pt x="2813" y="392"/>
                      <a:pt x="2822" y="397"/>
                    </a:cubicBezTo>
                    <a:cubicBezTo>
                      <a:pt x="2831" y="402"/>
                      <a:pt x="2839" y="407"/>
                      <a:pt x="2839" y="407"/>
                    </a:cubicBezTo>
                    <a:cubicBezTo>
                      <a:pt x="2839" y="407"/>
                      <a:pt x="2862" y="401"/>
                      <a:pt x="2867" y="406"/>
                    </a:cubicBezTo>
                    <a:cubicBezTo>
                      <a:pt x="2872" y="411"/>
                      <a:pt x="2879" y="419"/>
                      <a:pt x="2882" y="421"/>
                    </a:cubicBezTo>
                    <a:cubicBezTo>
                      <a:pt x="2882" y="421"/>
                      <a:pt x="2907" y="431"/>
                      <a:pt x="2920" y="421"/>
                    </a:cubicBezTo>
                    <a:cubicBezTo>
                      <a:pt x="2933" y="411"/>
                      <a:pt x="2937" y="392"/>
                      <a:pt x="2943" y="390"/>
                    </a:cubicBezTo>
                    <a:cubicBezTo>
                      <a:pt x="2945" y="389"/>
                      <a:pt x="2951" y="389"/>
                      <a:pt x="2957" y="388"/>
                    </a:cubicBezTo>
                    <a:cubicBezTo>
                      <a:pt x="2957" y="385"/>
                      <a:pt x="2958" y="383"/>
                      <a:pt x="2960" y="383"/>
                    </a:cubicBezTo>
                    <a:cubicBezTo>
                      <a:pt x="2964" y="383"/>
                      <a:pt x="2970" y="373"/>
                      <a:pt x="2967" y="369"/>
                    </a:cubicBezTo>
                    <a:cubicBezTo>
                      <a:pt x="2964" y="365"/>
                      <a:pt x="2950" y="367"/>
                      <a:pt x="2950" y="367"/>
                    </a:cubicBezTo>
                    <a:cubicBezTo>
                      <a:pt x="2947" y="361"/>
                      <a:pt x="2947" y="361"/>
                      <a:pt x="2947" y="361"/>
                    </a:cubicBezTo>
                    <a:cubicBezTo>
                      <a:pt x="2947" y="361"/>
                      <a:pt x="2933" y="360"/>
                      <a:pt x="2934" y="350"/>
                    </a:cubicBezTo>
                    <a:cubicBezTo>
                      <a:pt x="2935" y="340"/>
                      <a:pt x="2941" y="340"/>
                      <a:pt x="2940" y="335"/>
                    </a:cubicBezTo>
                    <a:cubicBezTo>
                      <a:pt x="2939" y="330"/>
                      <a:pt x="2935" y="327"/>
                      <a:pt x="2935" y="327"/>
                    </a:cubicBezTo>
                    <a:cubicBezTo>
                      <a:pt x="2928" y="327"/>
                      <a:pt x="2928" y="327"/>
                      <a:pt x="2928" y="327"/>
                    </a:cubicBezTo>
                    <a:cubicBezTo>
                      <a:pt x="2922" y="314"/>
                      <a:pt x="2922" y="314"/>
                      <a:pt x="2922" y="314"/>
                    </a:cubicBezTo>
                    <a:cubicBezTo>
                      <a:pt x="2931" y="312"/>
                      <a:pt x="2931" y="312"/>
                      <a:pt x="2931" y="312"/>
                    </a:cubicBezTo>
                    <a:cubicBezTo>
                      <a:pt x="2931" y="312"/>
                      <a:pt x="2950" y="311"/>
                      <a:pt x="2950" y="302"/>
                    </a:cubicBezTo>
                    <a:cubicBezTo>
                      <a:pt x="2950" y="293"/>
                      <a:pt x="2939" y="289"/>
                      <a:pt x="2939" y="289"/>
                    </a:cubicBezTo>
                    <a:cubicBezTo>
                      <a:pt x="2931" y="281"/>
                      <a:pt x="2931" y="281"/>
                      <a:pt x="2931" y="281"/>
                    </a:cubicBezTo>
                    <a:cubicBezTo>
                      <a:pt x="2931" y="281"/>
                      <a:pt x="2941" y="277"/>
                      <a:pt x="2941" y="273"/>
                    </a:cubicBezTo>
                    <a:cubicBezTo>
                      <a:pt x="2941" y="269"/>
                      <a:pt x="2934" y="263"/>
                      <a:pt x="2934" y="263"/>
                    </a:cubicBezTo>
                    <a:cubicBezTo>
                      <a:pt x="2935" y="245"/>
                      <a:pt x="2935" y="245"/>
                      <a:pt x="2935" y="245"/>
                    </a:cubicBezTo>
                    <a:cubicBezTo>
                      <a:pt x="2935" y="245"/>
                      <a:pt x="2927" y="239"/>
                      <a:pt x="2920" y="243"/>
                    </a:cubicBezTo>
                    <a:cubicBezTo>
                      <a:pt x="2913" y="247"/>
                      <a:pt x="2908" y="260"/>
                      <a:pt x="2902" y="259"/>
                    </a:cubicBezTo>
                    <a:cubicBezTo>
                      <a:pt x="2896" y="258"/>
                      <a:pt x="2906" y="250"/>
                      <a:pt x="2906" y="250"/>
                    </a:cubicBezTo>
                    <a:cubicBezTo>
                      <a:pt x="2900" y="242"/>
                      <a:pt x="2900" y="242"/>
                      <a:pt x="2900" y="242"/>
                    </a:cubicBezTo>
                    <a:cubicBezTo>
                      <a:pt x="2900" y="242"/>
                      <a:pt x="2912" y="233"/>
                      <a:pt x="2918" y="226"/>
                    </a:cubicBezTo>
                    <a:cubicBezTo>
                      <a:pt x="2924" y="219"/>
                      <a:pt x="2921" y="213"/>
                      <a:pt x="2921" y="213"/>
                    </a:cubicBezTo>
                    <a:cubicBezTo>
                      <a:pt x="2921" y="213"/>
                      <a:pt x="2927" y="219"/>
                      <a:pt x="2932" y="213"/>
                    </a:cubicBezTo>
                    <a:cubicBezTo>
                      <a:pt x="2937" y="207"/>
                      <a:pt x="2943" y="198"/>
                      <a:pt x="2943" y="198"/>
                    </a:cubicBezTo>
                    <a:cubicBezTo>
                      <a:pt x="2948" y="189"/>
                      <a:pt x="2948" y="189"/>
                      <a:pt x="2948" y="189"/>
                    </a:cubicBezTo>
                    <a:cubicBezTo>
                      <a:pt x="2961" y="196"/>
                      <a:pt x="2961" y="196"/>
                      <a:pt x="2961" y="196"/>
                    </a:cubicBezTo>
                    <a:cubicBezTo>
                      <a:pt x="2966" y="186"/>
                      <a:pt x="2966" y="186"/>
                      <a:pt x="2966" y="186"/>
                    </a:cubicBezTo>
                    <a:cubicBezTo>
                      <a:pt x="2966" y="186"/>
                      <a:pt x="2962" y="177"/>
                      <a:pt x="2964" y="166"/>
                    </a:cubicBezTo>
                    <a:cubicBezTo>
                      <a:pt x="2966" y="155"/>
                      <a:pt x="2976" y="136"/>
                      <a:pt x="2976" y="136"/>
                    </a:cubicBezTo>
                    <a:cubicBezTo>
                      <a:pt x="2976" y="128"/>
                      <a:pt x="2976" y="128"/>
                      <a:pt x="2976" y="128"/>
                    </a:cubicBezTo>
                    <a:cubicBezTo>
                      <a:pt x="2990" y="117"/>
                      <a:pt x="2990" y="117"/>
                      <a:pt x="2990" y="117"/>
                    </a:cubicBezTo>
                    <a:cubicBezTo>
                      <a:pt x="2992" y="111"/>
                      <a:pt x="2992" y="111"/>
                      <a:pt x="2992" y="111"/>
                    </a:cubicBezTo>
                    <a:cubicBezTo>
                      <a:pt x="2982" y="106"/>
                      <a:pt x="2982" y="106"/>
                      <a:pt x="2982" y="106"/>
                    </a:cubicBezTo>
                    <a:lnTo>
                      <a:pt x="2964" y="107"/>
                    </a:lnTo>
                    <a:close/>
                    <a:moveTo>
                      <a:pt x="106" y="2472"/>
                    </a:moveTo>
                    <a:cubicBezTo>
                      <a:pt x="90" y="2439"/>
                      <a:pt x="90" y="2439"/>
                      <a:pt x="90" y="2439"/>
                    </a:cubicBezTo>
                    <a:cubicBezTo>
                      <a:pt x="67" y="2439"/>
                      <a:pt x="67" y="2439"/>
                      <a:pt x="67" y="2439"/>
                    </a:cubicBezTo>
                    <a:cubicBezTo>
                      <a:pt x="67" y="2439"/>
                      <a:pt x="44" y="2431"/>
                      <a:pt x="36" y="2423"/>
                    </a:cubicBezTo>
                    <a:cubicBezTo>
                      <a:pt x="32" y="2430"/>
                      <a:pt x="32" y="2439"/>
                      <a:pt x="32" y="2444"/>
                    </a:cubicBezTo>
                    <a:cubicBezTo>
                      <a:pt x="32" y="2451"/>
                      <a:pt x="21" y="2450"/>
                      <a:pt x="10" y="2467"/>
                    </a:cubicBezTo>
                    <a:cubicBezTo>
                      <a:pt x="0" y="2483"/>
                      <a:pt x="10" y="2504"/>
                      <a:pt x="11" y="2517"/>
                    </a:cubicBezTo>
                    <a:cubicBezTo>
                      <a:pt x="12" y="2529"/>
                      <a:pt x="31" y="2534"/>
                      <a:pt x="32" y="2544"/>
                    </a:cubicBezTo>
                    <a:cubicBezTo>
                      <a:pt x="33" y="2554"/>
                      <a:pt x="21" y="2559"/>
                      <a:pt x="21" y="2559"/>
                    </a:cubicBezTo>
                    <a:cubicBezTo>
                      <a:pt x="23" y="2587"/>
                      <a:pt x="23" y="2587"/>
                      <a:pt x="23" y="2587"/>
                    </a:cubicBezTo>
                    <a:cubicBezTo>
                      <a:pt x="23" y="2587"/>
                      <a:pt x="12" y="2591"/>
                      <a:pt x="11" y="2594"/>
                    </a:cubicBezTo>
                    <a:cubicBezTo>
                      <a:pt x="10" y="2597"/>
                      <a:pt x="4" y="2611"/>
                      <a:pt x="4" y="2611"/>
                    </a:cubicBezTo>
                    <a:cubicBezTo>
                      <a:pt x="4" y="2611"/>
                      <a:pt x="6" y="2621"/>
                      <a:pt x="20" y="2622"/>
                    </a:cubicBezTo>
                    <a:cubicBezTo>
                      <a:pt x="34" y="2623"/>
                      <a:pt x="32" y="2617"/>
                      <a:pt x="38" y="2611"/>
                    </a:cubicBezTo>
                    <a:cubicBezTo>
                      <a:pt x="44" y="2605"/>
                      <a:pt x="48" y="2613"/>
                      <a:pt x="48" y="2613"/>
                    </a:cubicBezTo>
                    <a:cubicBezTo>
                      <a:pt x="58" y="2615"/>
                      <a:pt x="58" y="2615"/>
                      <a:pt x="58" y="2615"/>
                    </a:cubicBezTo>
                    <a:cubicBezTo>
                      <a:pt x="62" y="2610"/>
                      <a:pt x="62" y="2610"/>
                      <a:pt x="62" y="2610"/>
                    </a:cubicBezTo>
                    <a:cubicBezTo>
                      <a:pt x="62" y="2610"/>
                      <a:pt x="66" y="2618"/>
                      <a:pt x="66" y="2619"/>
                    </a:cubicBezTo>
                    <a:cubicBezTo>
                      <a:pt x="72" y="2619"/>
                      <a:pt x="87" y="2613"/>
                      <a:pt x="87" y="2613"/>
                    </a:cubicBezTo>
                    <a:cubicBezTo>
                      <a:pt x="104" y="2599"/>
                      <a:pt x="105" y="2580"/>
                      <a:pt x="108" y="2570"/>
                    </a:cubicBezTo>
                    <a:cubicBezTo>
                      <a:pt x="111" y="2560"/>
                      <a:pt x="120" y="2545"/>
                      <a:pt x="127" y="2539"/>
                    </a:cubicBezTo>
                    <a:cubicBezTo>
                      <a:pt x="134" y="2533"/>
                      <a:pt x="139" y="2516"/>
                      <a:pt x="139" y="2516"/>
                    </a:cubicBezTo>
                    <a:cubicBezTo>
                      <a:pt x="137" y="2511"/>
                      <a:pt x="125" y="2479"/>
                      <a:pt x="125" y="2479"/>
                    </a:cubicBezTo>
                    <a:lnTo>
                      <a:pt x="106" y="2472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4" name="MCShape 146">
                <a:extLst>
                  <a:ext uri="{FF2B5EF4-FFF2-40B4-BE49-F238E27FC236}">
                    <a16:creationId xmlns:a16="http://schemas.microsoft.com/office/drawing/2014/main" id="{6E2ED55F-213B-496E-B9A6-4838C8BEB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00012" y="4918453"/>
                <a:ext cx="447008" cy="403698"/>
              </a:xfrm>
              <a:custGeom>
                <a:avLst/>
                <a:gdLst>
                  <a:gd name="T0" fmla="*/ 725 w 759"/>
                  <a:gd name="T1" fmla="*/ 254 h 682"/>
                  <a:gd name="T2" fmla="*/ 696 w 759"/>
                  <a:gd name="T3" fmla="*/ 278 h 682"/>
                  <a:gd name="T4" fmla="*/ 673 w 759"/>
                  <a:gd name="T5" fmla="*/ 221 h 682"/>
                  <a:gd name="T6" fmla="*/ 708 w 759"/>
                  <a:gd name="T7" fmla="*/ 206 h 682"/>
                  <a:gd name="T8" fmla="*/ 727 w 759"/>
                  <a:gd name="T9" fmla="*/ 125 h 682"/>
                  <a:gd name="T10" fmla="*/ 696 w 759"/>
                  <a:gd name="T11" fmla="*/ 15 h 682"/>
                  <a:gd name="T12" fmla="*/ 649 w 759"/>
                  <a:gd name="T13" fmla="*/ 8 h 682"/>
                  <a:gd name="T14" fmla="*/ 586 w 759"/>
                  <a:gd name="T15" fmla="*/ 2 h 682"/>
                  <a:gd name="T16" fmla="*/ 549 w 759"/>
                  <a:gd name="T17" fmla="*/ 25 h 682"/>
                  <a:gd name="T18" fmla="*/ 495 w 759"/>
                  <a:gd name="T19" fmla="*/ 77 h 682"/>
                  <a:gd name="T20" fmla="*/ 461 w 759"/>
                  <a:gd name="T21" fmla="*/ 137 h 682"/>
                  <a:gd name="T22" fmla="*/ 436 w 759"/>
                  <a:gd name="T23" fmla="*/ 152 h 682"/>
                  <a:gd name="T24" fmla="*/ 402 w 759"/>
                  <a:gd name="T25" fmla="*/ 192 h 682"/>
                  <a:gd name="T26" fmla="*/ 364 w 759"/>
                  <a:gd name="T27" fmla="*/ 190 h 682"/>
                  <a:gd name="T28" fmla="*/ 337 w 759"/>
                  <a:gd name="T29" fmla="*/ 179 h 682"/>
                  <a:gd name="T30" fmla="*/ 290 w 759"/>
                  <a:gd name="T31" fmla="*/ 212 h 682"/>
                  <a:gd name="T32" fmla="*/ 263 w 759"/>
                  <a:gd name="T33" fmla="*/ 240 h 682"/>
                  <a:gd name="T34" fmla="*/ 244 w 759"/>
                  <a:gd name="T35" fmla="*/ 251 h 682"/>
                  <a:gd name="T36" fmla="*/ 193 w 759"/>
                  <a:gd name="T37" fmla="*/ 231 h 682"/>
                  <a:gd name="T38" fmla="*/ 196 w 759"/>
                  <a:gd name="T39" fmla="*/ 189 h 682"/>
                  <a:gd name="T40" fmla="*/ 166 w 759"/>
                  <a:gd name="T41" fmla="*/ 143 h 682"/>
                  <a:gd name="T42" fmla="*/ 142 w 759"/>
                  <a:gd name="T43" fmla="*/ 343 h 682"/>
                  <a:gd name="T44" fmla="*/ 129 w 759"/>
                  <a:gd name="T45" fmla="*/ 353 h 682"/>
                  <a:gd name="T46" fmla="*/ 114 w 759"/>
                  <a:gd name="T47" fmla="*/ 367 h 682"/>
                  <a:gd name="T48" fmla="*/ 88 w 759"/>
                  <a:gd name="T49" fmla="*/ 369 h 682"/>
                  <a:gd name="T50" fmla="*/ 65 w 759"/>
                  <a:gd name="T51" fmla="*/ 357 h 682"/>
                  <a:gd name="T52" fmla="*/ 41 w 759"/>
                  <a:gd name="T53" fmla="*/ 330 h 682"/>
                  <a:gd name="T54" fmla="*/ 12 w 759"/>
                  <a:gd name="T55" fmla="*/ 340 h 682"/>
                  <a:gd name="T56" fmla="*/ 0 w 759"/>
                  <a:gd name="T57" fmla="*/ 345 h 682"/>
                  <a:gd name="T58" fmla="*/ 31 w 759"/>
                  <a:gd name="T59" fmla="*/ 407 h 682"/>
                  <a:gd name="T60" fmla="*/ 83 w 759"/>
                  <a:gd name="T61" fmla="*/ 523 h 682"/>
                  <a:gd name="T62" fmla="*/ 61 w 759"/>
                  <a:gd name="T63" fmla="*/ 572 h 682"/>
                  <a:gd name="T64" fmla="*/ 81 w 759"/>
                  <a:gd name="T65" fmla="*/ 649 h 682"/>
                  <a:gd name="T66" fmla="*/ 103 w 759"/>
                  <a:gd name="T67" fmla="*/ 650 h 682"/>
                  <a:gd name="T68" fmla="*/ 145 w 759"/>
                  <a:gd name="T69" fmla="*/ 679 h 682"/>
                  <a:gd name="T70" fmla="*/ 233 w 759"/>
                  <a:gd name="T71" fmla="*/ 662 h 682"/>
                  <a:gd name="T72" fmla="*/ 292 w 759"/>
                  <a:gd name="T73" fmla="*/ 646 h 682"/>
                  <a:gd name="T74" fmla="*/ 366 w 759"/>
                  <a:gd name="T75" fmla="*/ 646 h 682"/>
                  <a:gd name="T76" fmla="*/ 406 w 759"/>
                  <a:gd name="T77" fmla="*/ 637 h 682"/>
                  <a:gd name="T78" fmla="*/ 473 w 759"/>
                  <a:gd name="T79" fmla="*/ 617 h 682"/>
                  <a:gd name="T80" fmla="*/ 538 w 759"/>
                  <a:gd name="T81" fmla="*/ 565 h 682"/>
                  <a:gd name="T82" fmla="*/ 615 w 759"/>
                  <a:gd name="T83" fmla="*/ 500 h 682"/>
                  <a:gd name="T84" fmla="*/ 686 w 759"/>
                  <a:gd name="T85" fmla="*/ 379 h 682"/>
                  <a:gd name="T86" fmla="*/ 748 w 759"/>
                  <a:gd name="T87" fmla="*/ 297 h 682"/>
                  <a:gd name="T88" fmla="*/ 746 w 759"/>
                  <a:gd name="T89" fmla="*/ 250 h 682"/>
                  <a:gd name="T90" fmla="*/ 563 w 759"/>
                  <a:gd name="T91" fmla="*/ 428 h 682"/>
                  <a:gd name="T92" fmla="*/ 531 w 759"/>
                  <a:gd name="T93" fmla="*/ 456 h 682"/>
                  <a:gd name="T94" fmla="*/ 498 w 759"/>
                  <a:gd name="T95" fmla="*/ 437 h 682"/>
                  <a:gd name="T96" fmla="*/ 481 w 759"/>
                  <a:gd name="T97" fmla="*/ 401 h 682"/>
                  <a:gd name="T98" fmla="*/ 500 w 759"/>
                  <a:gd name="T99" fmla="*/ 389 h 682"/>
                  <a:gd name="T100" fmla="*/ 519 w 759"/>
                  <a:gd name="T101" fmla="*/ 362 h 682"/>
                  <a:gd name="T102" fmla="*/ 535 w 759"/>
                  <a:gd name="T103" fmla="*/ 351 h 682"/>
                  <a:gd name="T104" fmla="*/ 564 w 759"/>
                  <a:gd name="T105" fmla="*/ 349 h 682"/>
                  <a:gd name="T106" fmla="*/ 591 w 759"/>
                  <a:gd name="T107" fmla="*/ 377 h 682"/>
                  <a:gd name="T108" fmla="*/ 577 w 759"/>
                  <a:gd name="T109" fmla="*/ 406 h 6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59"/>
                  <a:gd name="T166" fmla="*/ 0 h 682"/>
                  <a:gd name="T167" fmla="*/ 759 w 759"/>
                  <a:gd name="T168" fmla="*/ 682 h 6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59" h="682">
                    <a:moveTo>
                      <a:pt x="746" y="250"/>
                    </a:moveTo>
                    <a:cubicBezTo>
                      <a:pt x="738" y="246"/>
                      <a:pt x="725" y="254"/>
                      <a:pt x="725" y="254"/>
                    </a:cubicBezTo>
                    <a:cubicBezTo>
                      <a:pt x="718" y="279"/>
                      <a:pt x="718" y="279"/>
                      <a:pt x="718" y="279"/>
                    </a:cubicBezTo>
                    <a:cubicBezTo>
                      <a:pt x="718" y="279"/>
                      <a:pt x="703" y="278"/>
                      <a:pt x="696" y="278"/>
                    </a:cubicBezTo>
                    <a:cubicBezTo>
                      <a:pt x="689" y="278"/>
                      <a:pt x="666" y="262"/>
                      <a:pt x="664" y="250"/>
                    </a:cubicBezTo>
                    <a:cubicBezTo>
                      <a:pt x="662" y="238"/>
                      <a:pt x="670" y="225"/>
                      <a:pt x="673" y="221"/>
                    </a:cubicBezTo>
                    <a:cubicBezTo>
                      <a:pt x="676" y="217"/>
                      <a:pt x="682" y="192"/>
                      <a:pt x="689" y="192"/>
                    </a:cubicBezTo>
                    <a:cubicBezTo>
                      <a:pt x="696" y="192"/>
                      <a:pt x="708" y="206"/>
                      <a:pt x="708" y="206"/>
                    </a:cubicBezTo>
                    <a:cubicBezTo>
                      <a:pt x="726" y="182"/>
                      <a:pt x="726" y="182"/>
                      <a:pt x="726" y="182"/>
                    </a:cubicBezTo>
                    <a:cubicBezTo>
                      <a:pt x="726" y="182"/>
                      <a:pt x="726" y="134"/>
                      <a:pt x="727" y="125"/>
                    </a:cubicBezTo>
                    <a:cubicBezTo>
                      <a:pt x="728" y="116"/>
                      <a:pt x="707" y="84"/>
                      <a:pt x="705" y="75"/>
                    </a:cubicBezTo>
                    <a:cubicBezTo>
                      <a:pt x="703" y="66"/>
                      <a:pt x="696" y="15"/>
                      <a:pt x="696" y="15"/>
                    </a:cubicBezTo>
                    <a:cubicBezTo>
                      <a:pt x="684" y="8"/>
                      <a:pt x="684" y="8"/>
                      <a:pt x="684" y="8"/>
                    </a:cubicBezTo>
                    <a:cubicBezTo>
                      <a:pt x="684" y="8"/>
                      <a:pt x="657" y="9"/>
                      <a:pt x="649" y="8"/>
                    </a:cubicBezTo>
                    <a:cubicBezTo>
                      <a:pt x="641" y="7"/>
                      <a:pt x="625" y="0"/>
                      <a:pt x="625" y="0"/>
                    </a:cubicBezTo>
                    <a:cubicBezTo>
                      <a:pt x="586" y="2"/>
                      <a:pt x="586" y="2"/>
                      <a:pt x="586" y="2"/>
                    </a:cubicBezTo>
                    <a:cubicBezTo>
                      <a:pt x="578" y="18"/>
                      <a:pt x="578" y="18"/>
                      <a:pt x="578" y="18"/>
                    </a:cubicBezTo>
                    <a:cubicBezTo>
                      <a:pt x="578" y="18"/>
                      <a:pt x="554" y="19"/>
                      <a:pt x="549" y="25"/>
                    </a:cubicBezTo>
                    <a:cubicBezTo>
                      <a:pt x="544" y="31"/>
                      <a:pt x="530" y="57"/>
                      <a:pt x="519" y="64"/>
                    </a:cubicBezTo>
                    <a:cubicBezTo>
                      <a:pt x="508" y="71"/>
                      <a:pt x="505" y="70"/>
                      <a:pt x="495" y="77"/>
                    </a:cubicBezTo>
                    <a:cubicBezTo>
                      <a:pt x="485" y="84"/>
                      <a:pt x="484" y="107"/>
                      <a:pt x="484" y="113"/>
                    </a:cubicBezTo>
                    <a:cubicBezTo>
                      <a:pt x="484" y="119"/>
                      <a:pt x="461" y="137"/>
                      <a:pt x="461" y="137"/>
                    </a:cubicBezTo>
                    <a:cubicBezTo>
                      <a:pt x="450" y="140"/>
                      <a:pt x="450" y="140"/>
                      <a:pt x="450" y="140"/>
                    </a:cubicBezTo>
                    <a:cubicBezTo>
                      <a:pt x="436" y="152"/>
                      <a:pt x="436" y="152"/>
                      <a:pt x="436" y="152"/>
                    </a:cubicBezTo>
                    <a:cubicBezTo>
                      <a:pt x="436" y="152"/>
                      <a:pt x="432" y="185"/>
                      <a:pt x="421" y="192"/>
                    </a:cubicBezTo>
                    <a:cubicBezTo>
                      <a:pt x="410" y="199"/>
                      <a:pt x="402" y="192"/>
                      <a:pt x="402" y="192"/>
                    </a:cubicBezTo>
                    <a:cubicBezTo>
                      <a:pt x="402" y="192"/>
                      <a:pt x="399" y="197"/>
                      <a:pt x="389" y="199"/>
                    </a:cubicBezTo>
                    <a:cubicBezTo>
                      <a:pt x="379" y="201"/>
                      <a:pt x="364" y="190"/>
                      <a:pt x="364" y="190"/>
                    </a:cubicBezTo>
                    <a:cubicBezTo>
                      <a:pt x="347" y="189"/>
                      <a:pt x="347" y="189"/>
                      <a:pt x="347" y="189"/>
                    </a:cubicBezTo>
                    <a:cubicBezTo>
                      <a:pt x="337" y="179"/>
                      <a:pt x="337" y="179"/>
                      <a:pt x="337" y="179"/>
                    </a:cubicBezTo>
                    <a:cubicBezTo>
                      <a:pt x="337" y="179"/>
                      <a:pt x="321" y="167"/>
                      <a:pt x="308" y="167"/>
                    </a:cubicBezTo>
                    <a:cubicBezTo>
                      <a:pt x="295" y="167"/>
                      <a:pt x="290" y="205"/>
                      <a:pt x="290" y="212"/>
                    </a:cubicBezTo>
                    <a:cubicBezTo>
                      <a:pt x="290" y="219"/>
                      <a:pt x="279" y="217"/>
                      <a:pt x="272" y="220"/>
                    </a:cubicBezTo>
                    <a:cubicBezTo>
                      <a:pt x="265" y="223"/>
                      <a:pt x="263" y="240"/>
                      <a:pt x="263" y="240"/>
                    </a:cubicBezTo>
                    <a:cubicBezTo>
                      <a:pt x="263" y="240"/>
                      <a:pt x="253" y="238"/>
                      <a:pt x="249" y="239"/>
                    </a:cubicBezTo>
                    <a:cubicBezTo>
                      <a:pt x="245" y="240"/>
                      <a:pt x="244" y="251"/>
                      <a:pt x="244" y="251"/>
                    </a:cubicBezTo>
                    <a:cubicBezTo>
                      <a:pt x="244" y="251"/>
                      <a:pt x="198" y="256"/>
                      <a:pt x="193" y="253"/>
                    </a:cubicBezTo>
                    <a:cubicBezTo>
                      <a:pt x="188" y="250"/>
                      <a:pt x="193" y="231"/>
                      <a:pt x="193" y="231"/>
                    </a:cubicBezTo>
                    <a:cubicBezTo>
                      <a:pt x="193" y="231"/>
                      <a:pt x="201" y="218"/>
                      <a:pt x="203" y="209"/>
                    </a:cubicBezTo>
                    <a:cubicBezTo>
                      <a:pt x="205" y="200"/>
                      <a:pt x="196" y="189"/>
                      <a:pt x="196" y="189"/>
                    </a:cubicBezTo>
                    <a:cubicBezTo>
                      <a:pt x="196" y="189"/>
                      <a:pt x="197" y="179"/>
                      <a:pt x="188" y="160"/>
                    </a:cubicBezTo>
                    <a:cubicBezTo>
                      <a:pt x="184" y="152"/>
                      <a:pt x="175" y="147"/>
                      <a:pt x="166" y="143"/>
                    </a:cubicBezTo>
                    <a:cubicBezTo>
                      <a:pt x="163" y="339"/>
                      <a:pt x="163" y="339"/>
                      <a:pt x="163" y="339"/>
                    </a:cubicBezTo>
                    <a:cubicBezTo>
                      <a:pt x="163" y="339"/>
                      <a:pt x="149" y="340"/>
                      <a:pt x="142" y="343"/>
                    </a:cubicBezTo>
                    <a:cubicBezTo>
                      <a:pt x="135" y="346"/>
                      <a:pt x="137" y="351"/>
                      <a:pt x="137" y="351"/>
                    </a:cubicBezTo>
                    <a:cubicBezTo>
                      <a:pt x="129" y="353"/>
                      <a:pt x="129" y="353"/>
                      <a:pt x="129" y="353"/>
                    </a:cubicBezTo>
                    <a:cubicBezTo>
                      <a:pt x="129" y="353"/>
                      <a:pt x="132" y="367"/>
                      <a:pt x="126" y="367"/>
                    </a:cubicBezTo>
                    <a:cubicBezTo>
                      <a:pt x="121" y="367"/>
                      <a:pt x="114" y="367"/>
                      <a:pt x="114" y="367"/>
                    </a:cubicBezTo>
                    <a:cubicBezTo>
                      <a:pt x="114" y="367"/>
                      <a:pt x="110" y="361"/>
                      <a:pt x="102" y="361"/>
                    </a:cubicBezTo>
                    <a:cubicBezTo>
                      <a:pt x="94" y="361"/>
                      <a:pt x="88" y="369"/>
                      <a:pt x="88" y="369"/>
                    </a:cubicBezTo>
                    <a:cubicBezTo>
                      <a:pt x="76" y="369"/>
                      <a:pt x="76" y="369"/>
                      <a:pt x="76" y="369"/>
                    </a:cubicBezTo>
                    <a:cubicBezTo>
                      <a:pt x="76" y="369"/>
                      <a:pt x="72" y="361"/>
                      <a:pt x="65" y="357"/>
                    </a:cubicBezTo>
                    <a:cubicBezTo>
                      <a:pt x="58" y="353"/>
                      <a:pt x="49" y="359"/>
                      <a:pt x="45" y="352"/>
                    </a:cubicBezTo>
                    <a:cubicBezTo>
                      <a:pt x="40" y="345"/>
                      <a:pt x="41" y="330"/>
                      <a:pt x="41" y="330"/>
                    </a:cubicBezTo>
                    <a:cubicBezTo>
                      <a:pt x="41" y="330"/>
                      <a:pt x="31" y="318"/>
                      <a:pt x="27" y="317"/>
                    </a:cubicBezTo>
                    <a:cubicBezTo>
                      <a:pt x="23" y="316"/>
                      <a:pt x="12" y="340"/>
                      <a:pt x="12" y="340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45"/>
                      <a:pt x="0" y="345"/>
                      <a:pt x="0" y="345"/>
                    </a:cubicBezTo>
                    <a:cubicBezTo>
                      <a:pt x="0" y="345"/>
                      <a:pt x="7" y="368"/>
                      <a:pt x="11" y="372"/>
                    </a:cubicBezTo>
                    <a:cubicBezTo>
                      <a:pt x="15" y="376"/>
                      <a:pt x="31" y="394"/>
                      <a:pt x="31" y="407"/>
                    </a:cubicBezTo>
                    <a:cubicBezTo>
                      <a:pt x="31" y="420"/>
                      <a:pt x="28" y="446"/>
                      <a:pt x="38" y="461"/>
                    </a:cubicBezTo>
                    <a:cubicBezTo>
                      <a:pt x="48" y="476"/>
                      <a:pt x="83" y="509"/>
                      <a:pt x="83" y="523"/>
                    </a:cubicBezTo>
                    <a:cubicBezTo>
                      <a:pt x="83" y="537"/>
                      <a:pt x="82" y="564"/>
                      <a:pt x="78" y="568"/>
                    </a:cubicBezTo>
                    <a:cubicBezTo>
                      <a:pt x="74" y="572"/>
                      <a:pt x="62" y="564"/>
                      <a:pt x="61" y="572"/>
                    </a:cubicBezTo>
                    <a:cubicBezTo>
                      <a:pt x="60" y="580"/>
                      <a:pt x="63" y="588"/>
                      <a:pt x="73" y="605"/>
                    </a:cubicBezTo>
                    <a:cubicBezTo>
                      <a:pt x="83" y="622"/>
                      <a:pt x="75" y="641"/>
                      <a:pt x="81" y="649"/>
                    </a:cubicBezTo>
                    <a:cubicBezTo>
                      <a:pt x="87" y="657"/>
                      <a:pt x="84" y="646"/>
                      <a:pt x="90" y="643"/>
                    </a:cubicBezTo>
                    <a:cubicBezTo>
                      <a:pt x="96" y="640"/>
                      <a:pt x="103" y="650"/>
                      <a:pt x="103" y="650"/>
                    </a:cubicBezTo>
                    <a:cubicBezTo>
                      <a:pt x="121" y="656"/>
                      <a:pt x="121" y="656"/>
                      <a:pt x="121" y="656"/>
                    </a:cubicBezTo>
                    <a:cubicBezTo>
                      <a:pt x="121" y="656"/>
                      <a:pt x="126" y="682"/>
                      <a:pt x="145" y="679"/>
                    </a:cubicBezTo>
                    <a:cubicBezTo>
                      <a:pt x="164" y="676"/>
                      <a:pt x="165" y="662"/>
                      <a:pt x="177" y="658"/>
                    </a:cubicBezTo>
                    <a:cubicBezTo>
                      <a:pt x="189" y="654"/>
                      <a:pt x="224" y="665"/>
                      <a:pt x="233" y="662"/>
                    </a:cubicBezTo>
                    <a:cubicBezTo>
                      <a:pt x="242" y="659"/>
                      <a:pt x="238" y="638"/>
                      <a:pt x="261" y="638"/>
                    </a:cubicBezTo>
                    <a:cubicBezTo>
                      <a:pt x="284" y="638"/>
                      <a:pt x="292" y="646"/>
                      <a:pt x="292" y="646"/>
                    </a:cubicBezTo>
                    <a:cubicBezTo>
                      <a:pt x="292" y="646"/>
                      <a:pt x="303" y="635"/>
                      <a:pt x="326" y="636"/>
                    </a:cubicBezTo>
                    <a:cubicBezTo>
                      <a:pt x="349" y="637"/>
                      <a:pt x="361" y="647"/>
                      <a:pt x="366" y="646"/>
                    </a:cubicBezTo>
                    <a:cubicBezTo>
                      <a:pt x="371" y="645"/>
                      <a:pt x="383" y="635"/>
                      <a:pt x="383" y="635"/>
                    </a:cubicBezTo>
                    <a:cubicBezTo>
                      <a:pt x="383" y="635"/>
                      <a:pt x="397" y="642"/>
                      <a:pt x="406" y="637"/>
                    </a:cubicBezTo>
                    <a:cubicBezTo>
                      <a:pt x="415" y="632"/>
                      <a:pt x="427" y="624"/>
                      <a:pt x="427" y="624"/>
                    </a:cubicBezTo>
                    <a:cubicBezTo>
                      <a:pt x="427" y="624"/>
                      <a:pt x="451" y="632"/>
                      <a:pt x="473" y="617"/>
                    </a:cubicBezTo>
                    <a:cubicBezTo>
                      <a:pt x="495" y="602"/>
                      <a:pt x="525" y="573"/>
                      <a:pt x="525" y="573"/>
                    </a:cubicBezTo>
                    <a:cubicBezTo>
                      <a:pt x="538" y="565"/>
                      <a:pt x="538" y="565"/>
                      <a:pt x="538" y="565"/>
                    </a:cubicBezTo>
                    <a:cubicBezTo>
                      <a:pt x="600" y="499"/>
                      <a:pt x="600" y="499"/>
                      <a:pt x="600" y="499"/>
                    </a:cubicBezTo>
                    <a:cubicBezTo>
                      <a:pt x="615" y="500"/>
                      <a:pt x="615" y="500"/>
                      <a:pt x="615" y="500"/>
                    </a:cubicBezTo>
                    <a:cubicBezTo>
                      <a:pt x="615" y="500"/>
                      <a:pt x="652" y="449"/>
                      <a:pt x="656" y="435"/>
                    </a:cubicBezTo>
                    <a:cubicBezTo>
                      <a:pt x="660" y="421"/>
                      <a:pt x="677" y="385"/>
                      <a:pt x="686" y="379"/>
                    </a:cubicBezTo>
                    <a:cubicBezTo>
                      <a:pt x="695" y="373"/>
                      <a:pt x="726" y="360"/>
                      <a:pt x="729" y="349"/>
                    </a:cubicBezTo>
                    <a:cubicBezTo>
                      <a:pt x="732" y="338"/>
                      <a:pt x="748" y="297"/>
                      <a:pt x="748" y="297"/>
                    </a:cubicBezTo>
                    <a:cubicBezTo>
                      <a:pt x="748" y="297"/>
                      <a:pt x="754" y="280"/>
                      <a:pt x="759" y="264"/>
                    </a:cubicBezTo>
                    <a:cubicBezTo>
                      <a:pt x="755" y="258"/>
                      <a:pt x="750" y="252"/>
                      <a:pt x="746" y="250"/>
                    </a:cubicBezTo>
                    <a:close/>
                    <a:moveTo>
                      <a:pt x="580" y="418"/>
                    </a:moveTo>
                    <a:cubicBezTo>
                      <a:pt x="580" y="418"/>
                      <a:pt x="571" y="426"/>
                      <a:pt x="563" y="428"/>
                    </a:cubicBezTo>
                    <a:cubicBezTo>
                      <a:pt x="555" y="430"/>
                      <a:pt x="552" y="428"/>
                      <a:pt x="542" y="432"/>
                    </a:cubicBezTo>
                    <a:cubicBezTo>
                      <a:pt x="532" y="436"/>
                      <a:pt x="531" y="456"/>
                      <a:pt x="531" y="456"/>
                    </a:cubicBezTo>
                    <a:cubicBezTo>
                      <a:pt x="516" y="457"/>
                      <a:pt x="516" y="457"/>
                      <a:pt x="516" y="457"/>
                    </a:cubicBezTo>
                    <a:cubicBezTo>
                      <a:pt x="498" y="437"/>
                      <a:pt x="498" y="437"/>
                      <a:pt x="498" y="437"/>
                    </a:cubicBezTo>
                    <a:cubicBezTo>
                      <a:pt x="498" y="426"/>
                      <a:pt x="498" y="426"/>
                      <a:pt x="498" y="426"/>
                    </a:cubicBezTo>
                    <a:cubicBezTo>
                      <a:pt x="481" y="401"/>
                      <a:pt x="481" y="401"/>
                      <a:pt x="481" y="401"/>
                    </a:cubicBezTo>
                    <a:cubicBezTo>
                      <a:pt x="498" y="399"/>
                      <a:pt x="498" y="399"/>
                      <a:pt x="498" y="399"/>
                    </a:cubicBezTo>
                    <a:cubicBezTo>
                      <a:pt x="500" y="389"/>
                      <a:pt x="500" y="389"/>
                      <a:pt x="500" y="389"/>
                    </a:cubicBezTo>
                    <a:cubicBezTo>
                      <a:pt x="512" y="376"/>
                      <a:pt x="512" y="376"/>
                      <a:pt x="512" y="376"/>
                    </a:cubicBezTo>
                    <a:cubicBezTo>
                      <a:pt x="512" y="376"/>
                      <a:pt x="514" y="366"/>
                      <a:pt x="519" y="362"/>
                    </a:cubicBezTo>
                    <a:cubicBezTo>
                      <a:pt x="524" y="358"/>
                      <a:pt x="534" y="361"/>
                      <a:pt x="534" y="361"/>
                    </a:cubicBezTo>
                    <a:cubicBezTo>
                      <a:pt x="535" y="351"/>
                      <a:pt x="535" y="351"/>
                      <a:pt x="535" y="351"/>
                    </a:cubicBezTo>
                    <a:cubicBezTo>
                      <a:pt x="543" y="348"/>
                      <a:pt x="543" y="348"/>
                      <a:pt x="543" y="348"/>
                    </a:cubicBezTo>
                    <a:cubicBezTo>
                      <a:pt x="543" y="348"/>
                      <a:pt x="559" y="343"/>
                      <a:pt x="564" y="349"/>
                    </a:cubicBezTo>
                    <a:cubicBezTo>
                      <a:pt x="569" y="355"/>
                      <a:pt x="581" y="374"/>
                      <a:pt x="581" y="374"/>
                    </a:cubicBezTo>
                    <a:cubicBezTo>
                      <a:pt x="591" y="377"/>
                      <a:pt x="591" y="377"/>
                      <a:pt x="591" y="377"/>
                    </a:cubicBezTo>
                    <a:cubicBezTo>
                      <a:pt x="592" y="393"/>
                      <a:pt x="592" y="393"/>
                      <a:pt x="592" y="393"/>
                    </a:cubicBezTo>
                    <a:cubicBezTo>
                      <a:pt x="577" y="406"/>
                      <a:pt x="577" y="406"/>
                      <a:pt x="577" y="406"/>
                    </a:cubicBezTo>
                    <a:lnTo>
                      <a:pt x="580" y="41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5" name="MCShape 147">
                <a:extLst>
                  <a:ext uri="{FF2B5EF4-FFF2-40B4-BE49-F238E27FC236}">
                    <a16:creationId xmlns:a16="http://schemas.microsoft.com/office/drawing/2014/main" id="{CC7D3DA1-F0B7-42F9-BF8D-B7C9C18044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5237" y="2309106"/>
                <a:ext cx="233557" cy="324815"/>
              </a:xfrm>
              <a:custGeom>
                <a:avLst/>
                <a:gdLst>
                  <a:gd name="T0" fmla="*/ 118 w 395"/>
                  <a:gd name="T1" fmla="*/ 256 h 549"/>
                  <a:gd name="T2" fmla="*/ 111 w 395"/>
                  <a:gd name="T3" fmla="*/ 221 h 549"/>
                  <a:gd name="T4" fmla="*/ 98 w 395"/>
                  <a:gd name="T5" fmla="*/ 248 h 549"/>
                  <a:gd name="T6" fmla="*/ 222 w 395"/>
                  <a:gd name="T7" fmla="*/ 93 h 549"/>
                  <a:gd name="T8" fmla="*/ 97 w 395"/>
                  <a:gd name="T9" fmla="*/ 159 h 549"/>
                  <a:gd name="T10" fmla="*/ 93 w 395"/>
                  <a:gd name="T11" fmla="*/ 183 h 549"/>
                  <a:gd name="T12" fmla="*/ 325 w 395"/>
                  <a:gd name="T13" fmla="*/ 1 h 549"/>
                  <a:gd name="T14" fmla="*/ 296 w 395"/>
                  <a:gd name="T15" fmla="*/ 36 h 549"/>
                  <a:gd name="T16" fmla="*/ 301 w 395"/>
                  <a:gd name="T17" fmla="*/ 12 h 549"/>
                  <a:gd name="T18" fmla="*/ 296 w 395"/>
                  <a:gd name="T19" fmla="*/ 36 h 549"/>
                  <a:gd name="T20" fmla="*/ 246 w 395"/>
                  <a:gd name="T21" fmla="*/ 96 h 549"/>
                  <a:gd name="T22" fmla="*/ 128 w 395"/>
                  <a:gd name="T23" fmla="*/ 258 h 549"/>
                  <a:gd name="T24" fmla="*/ 331 w 395"/>
                  <a:gd name="T25" fmla="*/ 402 h 549"/>
                  <a:gd name="T26" fmla="*/ 330 w 395"/>
                  <a:gd name="T27" fmla="*/ 357 h 549"/>
                  <a:gd name="T28" fmla="*/ 291 w 395"/>
                  <a:gd name="T29" fmla="*/ 314 h 549"/>
                  <a:gd name="T30" fmla="*/ 265 w 395"/>
                  <a:gd name="T31" fmla="*/ 261 h 549"/>
                  <a:gd name="T32" fmla="*/ 191 w 395"/>
                  <a:gd name="T33" fmla="*/ 235 h 549"/>
                  <a:gd name="T34" fmla="*/ 214 w 395"/>
                  <a:gd name="T35" fmla="*/ 222 h 549"/>
                  <a:gd name="T36" fmla="*/ 261 w 395"/>
                  <a:gd name="T37" fmla="*/ 177 h 549"/>
                  <a:gd name="T38" fmla="*/ 211 w 395"/>
                  <a:gd name="T39" fmla="*/ 154 h 549"/>
                  <a:gd name="T40" fmla="*/ 179 w 395"/>
                  <a:gd name="T41" fmla="*/ 147 h 549"/>
                  <a:gd name="T42" fmla="*/ 224 w 395"/>
                  <a:gd name="T43" fmla="*/ 112 h 549"/>
                  <a:gd name="T44" fmla="*/ 153 w 395"/>
                  <a:gd name="T45" fmla="*/ 110 h 549"/>
                  <a:gd name="T46" fmla="*/ 144 w 395"/>
                  <a:gd name="T47" fmla="*/ 148 h 549"/>
                  <a:gd name="T48" fmla="*/ 121 w 395"/>
                  <a:gd name="T49" fmla="*/ 162 h 549"/>
                  <a:gd name="T50" fmla="*/ 116 w 395"/>
                  <a:gd name="T51" fmla="*/ 198 h 549"/>
                  <a:gd name="T52" fmla="*/ 134 w 395"/>
                  <a:gd name="T53" fmla="*/ 202 h 549"/>
                  <a:gd name="T54" fmla="*/ 116 w 395"/>
                  <a:gd name="T55" fmla="*/ 250 h 549"/>
                  <a:gd name="T56" fmla="*/ 144 w 395"/>
                  <a:gd name="T57" fmla="*/ 251 h 549"/>
                  <a:gd name="T58" fmla="*/ 146 w 395"/>
                  <a:gd name="T59" fmla="*/ 306 h 549"/>
                  <a:gd name="T60" fmla="*/ 211 w 395"/>
                  <a:gd name="T61" fmla="*/ 295 h 549"/>
                  <a:gd name="T62" fmla="*/ 216 w 395"/>
                  <a:gd name="T63" fmla="*/ 349 h 549"/>
                  <a:gd name="T64" fmla="*/ 162 w 395"/>
                  <a:gd name="T65" fmla="*/ 377 h 549"/>
                  <a:gd name="T66" fmla="*/ 135 w 395"/>
                  <a:gd name="T67" fmla="*/ 402 h 549"/>
                  <a:gd name="T68" fmla="*/ 117 w 395"/>
                  <a:gd name="T69" fmla="*/ 448 h 549"/>
                  <a:gd name="T70" fmla="*/ 151 w 395"/>
                  <a:gd name="T71" fmla="*/ 466 h 549"/>
                  <a:gd name="T72" fmla="*/ 202 w 395"/>
                  <a:gd name="T73" fmla="*/ 467 h 549"/>
                  <a:gd name="T74" fmla="*/ 156 w 395"/>
                  <a:gd name="T75" fmla="*/ 485 h 549"/>
                  <a:gd name="T76" fmla="*/ 129 w 395"/>
                  <a:gd name="T77" fmla="*/ 516 h 549"/>
                  <a:gd name="T78" fmla="*/ 83 w 395"/>
                  <a:gd name="T79" fmla="*/ 545 h 549"/>
                  <a:gd name="T80" fmla="*/ 147 w 395"/>
                  <a:gd name="T81" fmla="*/ 530 h 549"/>
                  <a:gd name="T82" fmla="*/ 211 w 395"/>
                  <a:gd name="T83" fmla="*/ 519 h 549"/>
                  <a:gd name="T84" fmla="*/ 273 w 395"/>
                  <a:gd name="T85" fmla="*/ 520 h 549"/>
                  <a:gd name="T86" fmla="*/ 293 w 395"/>
                  <a:gd name="T87" fmla="*/ 508 h 549"/>
                  <a:gd name="T88" fmla="*/ 340 w 395"/>
                  <a:gd name="T89" fmla="*/ 474 h 549"/>
                  <a:gd name="T90" fmla="*/ 375 w 395"/>
                  <a:gd name="T91" fmla="*/ 447 h 549"/>
                  <a:gd name="T92" fmla="*/ 157 w 395"/>
                  <a:gd name="T93" fmla="*/ 325 h 549"/>
                  <a:gd name="T94" fmla="*/ 94 w 395"/>
                  <a:gd name="T95" fmla="*/ 338 h 549"/>
                  <a:gd name="T96" fmla="*/ 110 w 395"/>
                  <a:gd name="T97" fmla="*/ 308 h 549"/>
                  <a:gd name="T98" fmla="*/ 86 w 395"/>
                  <a:gd name="T99" fmla="*/ 281 h 549"/>
                  <a:gd name="T100" fmla="*/ 58 w 395"/>
                  <a:gd name="T101" fmla="*/ 288 h 549"/>
                  <a:gd name="T102" fmla="*/ 13 w 395"/>
                  <a:gd name="T103" fmla="*/ 325 h 549"/>
                  <a:gd name="T104" fmla="*/ 67 w 395"/>
                  <a:gd name="T105" fmla="*/ 335 h 549"/>
                  <a:gd name="T106" fmla="*/ 63 w 395"/>
                  <a:gd name="T107" fmla="*/ 155 h 549"/>
                  <a:gd name="T108" fmla="*/ 63 w 395"/>
                  <a:gd name="T109" fmla="*/ 155 h 549"/>
                  <a:gd name="T110" fmla="*/ 108 w 395"/>
                  <a:gd name="T111" fmla="*/ 115 h 549"/>
                  <a:gd name="T112" fmla="*/ 72 w 395"/>
                  <a:gd name="T113" fmla="*/ 128 h 549"/>
                  <a:gd name="T114" fmla="*/ 57 w 395"/>
                  <a:gd name="T115" fmla="*/ 169 h 549"/>
                  <a:gd name="T116" fmla="*/ 57 w 395"/>
                  <a:gd name="T117" fmla="*/ 169 h 54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95"/>
                  <a:gd name="T178" fmla="*/ 0 h 549"/>
                  <a:gd name="T179" fmla="*/ 395 w 395"/>
                  <a:gd name="T180" fmla="*/ 549 h 54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95" h="549">
                    <a:moveTo>
                      <a:pt x="118" y="256"/>
                    </a:moveTo>
                    <a:cubicBezTo>
                      <a:pt x="110" y="256"/>
                      <a:pt x="109" y="262"/>
                      <a:pt x="106" y="277"/>
                    </a:cubicBezTo>
                    <a:cubicBezTo>
                      <a:pt x="104" y="289"/>
                      <a:pt x="126" y="256"/>
                      <a:pt x="118" y="256"/>
                    </a:cubicBezTo>
                    <a:close/>
                    <a:moveTo>
                      <a:pt x="100" y="210"/>
                    </a:moveTo>
                    <a:cubicBezTo>
                      <a:pt x="96" y="210"/>
                      <a:pt x="90" y="222"/>
                      <a:pt x="94" y="225"/>
                    </a:cubicBezTo>
                    <a:cubicBezTo>
                      <a:pt x="98" y="228"/>
                      <a:pt x="111" y="221"/>
                      <a:pt x="111" y="221"/>
                    </a:cubicBezTo>
                    <a:cubicBezTo>
                      <a:pt x="111" y="221"/>
                      <a:pt x="104" y="210"/>
                      <a:pt x="100" y="210"/>
                    </a:cubicBezTo>
                    <a:close/>
                    <a:moveTo>
                      <a:pt x="87" y="261"/>
                    </a:moveTo>
                    <a:cubicBezTo>
                      <a:pt x="102" y="261"/>
                      <a:pt x="109" y="250"/>
                      <a:pt x="98" y="248"/>
                    </a:cubicBezTo>
                    <a:cubicBezTo>
                      <a:pt x="87" y="246"/>
                      <a:pt x="78" y="261"/>
                      <a:pt x="87" y="261"/>
                    </a:cubicBezTo>
                    <a:close/>
                    <a:moveTo>
                      <a:pt x="231" y="85"/>
                    </a:moveTo>
                    <a:cubicBezTo>
                      <a:pt x="223" y="78"/>
                      <a:pt x="222" y="93"/>
                      <a:pt x="222" y="93"/>
                    </a:cubicBezTo>
                    <a:cubicBezTo>
                      <a:pt x="229" y="99"/>
                      <a:pt x="239" y="92"/>
                      <a:pt x="231" y="85"/>
                    </a:cubicBezTo>
                    <a:close/>
                    <a:moveTo>
                      <a:pt x="103" y="176"/>
                    </a:moveTo>
                    <a:cubicBezTo>
                      <a:pt x="103" y="176"/>
                      <a:pt x="107" y="159"/>
                      <a:pt x="97" y="159"/>
                    </a:cubicBezTo>
                    <a:cubicBezTo>
                      <a:pt x="87" y="159"/>
                      <a:pt x="93" y="169"/>
                      <a:pt x="93" y="169"/>
                    </a:cubicBezTo>
                    <a:cubicBezTo>
                      <a:pt x="93" y="169"/>
                      <a:pt x="85" y="166"/>
                      <a:pt x="82" y="169"/>
                    </a:cubicBezTo>
                    <a:cubicBezTo>
                      <a:pt x="79" y="172"/>
                      <a:pt x="91" y="179"/>
                      <a:pt x="93" y="183"/>
                    </a:cubicBezTo>
                    <a:cubicBezTo>
                      <a:pt x="95" y="187"/>
                      <a:pt x="110" y="184"/>
                      <a:pt x="110" y="184"/>
                    </a:cubicBezTo>
                    <a:lnTo>
                      <a:pt x="103" y="176"/>
                    </a:lnTo>
                    <a:close/>
                    <a:moveTo>
                      <a:pt x="325" y="1"/>
                    </a:moveTo>
                    <a:cubicBezTo>
                      <a:pt x="318" y="2"/>
                      <a:pt x="316" y="11"/>
                      <a:pt x="316" y="11"/>
                    </a:cubicBezTo>
                    <a:cubicBezTo>
                      <a:pt x="327" y="16"/>
                      <a:pt x="332" y="0"/>
                      <a:pt x="325" y="1"/>
                    </a:cubicBezTo>
                    <a:close/>
                    <a:moveTo>
                      <a:pt x="296" y="36"/>
                    </a:moveTo>
                    <a:cubicBezTo>
                      <a:pt x="300" y="45"/>
                      <a:pt x="300" y="45"/>
                      <a:pt x="300" y="45"/>
                    </a:cubicBezTo>
                    <a:cubicBezTo>
                      <a:pt x="305" y="49"/>
                      <a:pt x="312" y="28"/>
                      <a:pt x="311" y="24"/>
                    </a:cubicBezTo>
                    <a:cubicBezTo>
                      <a:pt x="310" y="20"/>
                      <a:pt x="301" y="12"/>
                      <a:pt x="301" y="12"/>
                    </a:cubicBezTo>
                    <a:cubicBezTo>
                      <a:pt x="300" y="21"/>
                      <a:pt x="300" y="21"/>
                      <a:pt x="300" y="21"/>
                    </a:cubicBezTo>
                    <a:cubicBezTo>
                      <a:pt x="300" y="21"/>
                      <a:pt x="287" y="25"/>
                      <a:pt x="288" y="29"/>
                    </a:cubicBezTo>
                    <a:cubicBezTo>
                      <a:pt x="289" y="33"/>
                      <a:pt x="296" y="36"/>
                      <a:pt x="296" y="36"/>
                    </a:cubicBezTo>
                    <a:close/>
                    <a:moveTo>
                      <a:pt x="239" y="94"/>
                    </a:moveTo>
                    <a:cubicBezTo>
                      <a:pt x="237" y="104"/>
                      <a:pt x="237" y="104"/>
                      <a:pt x="237" y="104"/>
                    </a:cubicBezTo>
                    <a:cubicBezTo>
                      <a:pt x="246" y="96"/>
                      <a:pt x="246" y="96"/>
                      <a:pt x="246" y="96"/>
                    </a:cubicBezTo>
                    <a:lnTo>
                      <a:pt x="239" y="94"/>
                    </a:lnTo>
                    <a:close/>
                    <a:moveTo>
                      <a:pt x="137" y="269"/>
                    </a:moveTo>
                    <a:cubicBezTo>
                      <a:pt x="143" y="265"/>
                      <a:pt x="134" y="252"/>
                      <a:pt x="128" y="258"/>
                    </a:cubicBezTo>
                    <a:cubicBezTo>
                      <a:pt x="122" y="264"/>
                      <a:pt x="130" y="273"/>
                      <a:pt x="137" y="269"/>
                    </a:cubicBezTo>
                    <a:close/>
                    <a:moveTo>
                      <a:pt x="346" y="395"/>
                    </a:moveTo>
                    <a:cubicBezTo>
                      <a:pt x="346" y="395"/>
                      <a:pt x="341" y="409"/>
                      <a:pt x="331" y="402"/>
                    </a:cubicBezTo>
                    <a:cubicBezTo>
                      <a:pt x="321" y="394"/>
                      <a:pt x="341" y="387"/>
                      <a:pt x="340" y="378"/>
                    </a:cubicBezTo>
                    <a:cubicBezTo>
                      <a:pt x="339" y="369"/>
                      <a:pt x="308" y="364"/>
                      <a:pt x="308" y="359"/>
                    </a:cubicBezTo>
                    <a:cubicBezTo>
                      <a:pt x="308" y="354"/>
                      <a:pt x="330" y="357"/>
                      <a:pt x="330" y="357"/>
                    </a:cubicBezTo>
                    <a:cubicBezTo>
                      <a:pt x="321" y="349"/>
                      <a:pt x="321" y="349"/>
                      <a:pt x="321" y="349"/>
                    </a:cubicBezTo>
                    <a:cubicBezTo>
                      <a:pt x="321" y="349"/>
                      <a:pt x="312" y="328"/>
                      <a:pt x="308" y="321"/>
                    </a:cubicBezTo>
                    <a:cubicBezTo>
                      <a:pt x="304" y="314"/>
                      <a:pt x="291" y="314"/>
                      <a:pt x="291" y="314"/>
                    </a:cubicBezTo>
                    <a:cubicBezTo>
                      <a:pt x="291" y="314"/>
                      <a:pt x="283" y="305"/>
                      <a:pt x="275" y="299"/>
                    </a:cubicBezTo>
                    <a:cubicBezTo>
                      <a:pt x="267" y="293"/>
                      <a:pt x="273" y="261"/>
                      <a:pt x="273" y="261"/>
                    </a:cubicBezTo>
                    <a:cubicBezTo>
                      <a:pt x="265" y="261"/>
                      <a:pt x="265" y="261"/>
                      <a:pt x="265" y="261"/>
                    </a:cubicBezTo>
                    <a:cubicBezTo>
                      <a:pt x="265" y="261"/>
                      <a:pt x="264" y="255"/>
                      <a:pt x="250" y="245"/>
                    </a:cubicBezTo>
                    <a:cubicBezTo>
                      <a:pt x="235" y="235"/>
                      <a:pt x="216" y="245"/>
                      <a:pt x="208" y="246"/>
                    </a:cubicBezTo>
                    <a:cubicBezTo>
                      <a:pt x="200" y="247"/>
                      <a:pt x="191" y="235"/>
                      <a:pt x="191" y="235"/>
                    </a:cubicBezTo>
                    <a:cubicBezTo>
                      <a:pt x="191" y="235"/>
                      <a:pt x="205" y="240"/>
                      <a:pt x="209" y="239"/>
                    </a:cubicBezTo>
                    <a:cubicBezTo>
                      <a:pt x="213" y="238"/>
                      <a:pt x="231" y="234"/>
                      <a:pt x="232" y="228"/>
                    </a:cubicBezTo>
                    <a:cubicBezTo>
                      <a:pt x="233" y="223"/>
                      <a:pt x="214" y="222"/>
                      <a:pt x="214" y="222"/>
                    </a:cubicBezTo>
                    <a:cubicBezTo>
                      <a:pt x="230" y="218"/>
                      <a:pt x="230" y="218"/>
                      <a:pt x="230" y="218"/>
                    </a:cubicBezTo>
                    <a:cubicBezTo>
                      <a:pt x="230" y="218"/>
                      <a:pt x="239" y="211"/>
                      <a:pt x="245" y="206"/>
                    </a:cubicBezTo>
                    <a:cubicBezTo>
                      <a:pt x="250" y="201"/>
                      <a:pt x="261" y="177"/>
                      <a:pt x="261" y="177"/>
                    </a:cubicBezTo>
                    <a:cubicBezTo>
                      <a:pt x="261" y="177"/>
                      <a:pt x="276" y="168"/>
                      <a:pt x="276" y="161"/>
                    </a:cubicBezTo>
                    <a:cubicBezTo>
                      <a:pt x="276" y="154"/>
                      <a:pt x="222" y="159"/>
                      <a:pt x="222" y="159"/>
                    </a:cubicBezTo>
                    <a:cubicBezTo>
                      <a:pt x="222" y="159"/>
                      <a:pt x="223" y="154"/>
                      <a:pt x="211" y="154"/>
                    </a:cubicBezTo>
                    <a:cubicBezTo>
                      <a:pt x="199" y="154"/>
                      <a:pt x="177" y="162"/>
                      <a:pt x="177" y="162"/>
                    </a:cubicBezTo>
                    <a:cubicBezTo>
                      <a:pt x="185" y="155"/>
                      <a:pt x="185" y="155"/>
                      <a:pt x="185" y="155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91" y="145"/>
                      <a:pt x="191" y="145"/>
                      <a:pt x="191" y="145"/>
                    </a:cubicBezTo>
                    <a:cubicBezTo>
                      <a:pt x="212" y="132"/>
                      <a:pt x="212" y="132"/>
                      <a:pt x="212" y="132"/>
                    </a:cubicBezTo>
                    <a:cubicBezTo>
                      <a:pt x="212" y="132"/>
                      <a:pt x="223" y="123"/>
                      <a:pt x="224" y="112"/>
                    </a:cubicBezTo>
                    <a:cubicBezTo>
                      <a:pt x="225" y="105"/>
                      <a:pt x="211" y="107"/>
                      <a:pt x="203" y="108"/>
                    </a:cubicBezTo>
                    <a:cubicBezTo>
                      <a:pt x="195" y="109"/>
                      <a:pt x="183" y="115"/>
                      <a:pt x="175" y="115"/>
                    </a:cubicBezTo>
                    <a:cubicBezTo>
                      <a:pt x="167" y="115"/>
                      <a:pt x="160" y="106"/>
                      <a:pt x="153" y="110"/>
                    </a:cubicBezTo>
                    <a:cubicBezTo>
                      <a:pt x="146" y="114"/>
                      <a:pt x="153" y="124"/>
                      <a:pt x="153" y="124"/>
                    </a:cubicBezTo>
                    <a:cubicBezTo>
                      <a:pt x="153" y="124"/>
                      <a:pt x="146" y="125"/>
                      <a:pt x="141" y="129"/>
                    </a:cubicBezTo>
                    <a:cubicBezTo>
                      <a:pt x="136" y="133"/>
                      <a:pt x="144" y="148"/>
                      <a:pt x="144" y="148"/>
                    </a:cubicBezTo>
                    <a:cubicBezTo>
                      <a:pt x="115" y="151"/>
                      <a:pt x="115" y="151"/>
                      <a:pt x="115" y="151"/>
                    </a:cubicBezTo>
                    <a:cubicBezTo>
                      <a:pt x="115" y="157"/>
                      <a:pt x="115" y="157"/>
                      <a:pt x="115" y="157"/>
                    </a:cubicBezTo>
                    <a:cubicBezTo>
                      <a:pt x="121" y="162"/>
                      <a:pt x="121" y="162"/>
                      <a:pt x="121" y="162"/>
                    </a:cubicBezTo>
                    <a:cubicBezTo>
                      <a:pt x="130" y="180"/>
                      <a:pt x="130" y="180"/>
                      <a:pt x="130" y="180"/>
                    </a:cubicBezTo>
                    <a:cubicBezTo>
                      <a:pt x="130" y="180"/>
                      <a:pt x="124" y="185"/>
                      <a:pt x="121" y="188"/>
                    </a:cubicBezTo>
                    <a:cubicBezTo>
                      <a:pt x="118" y="191"/>
                      <a:pt x="116" y="198"/>
                      <a:pt x="116" y="198"/>
                    </a:cubicBezTo>
                    <a:cubicBezTo>
                      <a:pt x="105" y="203"/>
                      <a:pt x="105" y="203"/>
                      <a:pt x="105" y="203"/>
                    </a:cubicBezTo>
                    <a:cubicBezTo>
                      <a:pt x="105" y="203"/>
                      <a:pt x="111" y="212"/>
                      <a:pt x="119" y="211"/>
                    </a:cubicBezTo>
                    <a:cubicBezTo>
                      <a:pt x="127" y="210"/>
                      <a:pt x="134" y="202"/>
                      <a:pt x="134" y="202"/>
                    </a:cubicBezTo>
                    <a:cubicBezTo>
                      <a:pt x="133" y="214"/>
                      <a:pt x="133" y="214"/>
                      <a:pt x="133" y="214"/>
                    </a:cubicBezTo>
                    <a:cubicBezTo>
                      <a:pt x="133" y="214"/>
                      <a:pt x="120" y="220"/>
                      <a:pt x="115" y="228"/>
                    </a:cubicBezTo>
                    <a:cubicBezTo>
                      <a:pt x="110" y="237"/>
                      <a:pt x="116" y="250"/>
                      <a:pt x="116" y="250"/>
                    </a:cubicBezTo>
                    <a:cubicBezTo>
                      <a:pt x="116" y="250"/>
                      <a:pt x="127" y="242"/>
                      <a:pt x="134" y="247"/>
                    </a:cubicBezTo>
                    <a:cubicBezTo>
                      <a:pt x="140" y="252"/>
                      <a:pt x="153" y="241"/>
                      <a:pt x="153" y="241"/>
                    </a:cubicBezTo>
                    <a:cubicBezTo>
                      <a:pt x="144" y="251"/>
                      <a:pt x="144" y="251"/>
                      <a:pt x="144" y="251"/>
                    </a:cubicBezTo>
                    <a:cubicBezTo>
                      <a:pt x="149" y="269"/>
                      <a:pt x="149" y="269"/>
                      <a:pt x="149" y="269"/>
                    </a:cubicBezTo>
                    <a:cubicBezTo>
                      <a:pt x="149" y="269"/>
                      <a:pt x="138" y="282"/>
                      <a:pt x="130" y="296"/>
                    </a:cubicBezTo>
                    <a:cubicBezTo>
                      <a:pt x="123" y="309"/>
                      <a:pt x="146" y="306"/>
                      <a:pt x="146" y="306"/>
                    </a:cubicBezTo>
                    <a:cubicBezTo>
                      <a:pt x="146" y="306"/>
                      <a:pt x="159" y="300"/>
                      <a:pt x="166" y="303"/>
                    </a:cubicBezTo>
                    <a:cubicBezTo>
                      <a:pt x="173" y="306"/>
                      <a:pt x="189" y="293"/>
                      <a:pt x="189" y="293"/>
                    </a:cubicBezTo>
                    <a:cubicBezTo>
                      <a:pt x="211" y="295"/>
                      <a:pt x="211" y="295"/>
                      <a:pt x="211" y="295"/>
                    </a:cubicBezTo>
                    <a:cubicBezTo>
                      <a:pt x="211" y="295"/>
                      <a:pt x="188" y="308"/>
                      <a:pt x="186" y="318"/>
                    </a:cubicBezTo>
                    <a:cubicBezTo>
                      <a:pt x="185" y="328"/>
                      <a:pt x="215" y="335"/>
                      <a:pt x="215" y="335"/>
                    </a:cubicBezTo>
                    <a:cubicBezTo>
                      <a:pt x="216" y="349"/>
                      <a:pt x="216" y="349"/>
                      <a:pt x="216" y="349"/>
                    </a:cubicBezTo>
                    <a:cubicBezTo>
                      <a:pt x="208" y="361"/>
                      <a:pt x="208" y="361"/>
                      <a:pt x="208" y="361"/>
                    </a:cubicBezTo>
                    <a:cubicBezTo>
                      <a:pt x="208" y="361"/>
                      <a:pt x="210" y="375"/>
                      <a:pt x="207" y="379"/>
                    </a:cubicBezTo>
                    <a:cubicBezTo>
                      <a:pt x="204" y="383"/>
                      <a:pt x="162" y="377"/>
                      <a:pt x="162" y="377"/>
                    </a:cubicBezTo>
                    <a:cubicBezTo>
                      <a:pt x="162" y="377"/>
                      <a:pt x="152" y="374"/>
                      <a:pt x="143" y="376"/>
                    </a:cubicBezTo>
                    <a:cubicBezTo>
                      <a:pt x="134" y="378"/>
                      <a:pt x="149" y="389"/>
                      <a:pt x="149" y="389"/>
                    </a:cubicBezTo>
                    <a:cubicBezTo>
                      <a:pt x="135" y="402"/>
                      <a:pt x="135" y="402"/>
                      <a:pt x="135" y="402"/>
                    </a:cubicBezTo>
                    <a:cubicBezTo>
                      <a:pt x="163" y="400"/>
                      <a:pt x="163" y="400"/>
                      <a:pt x="163" y="400"/>
                    </a:cubicBezTo>
                    <a:cubicBezTo>
                      <a:pt x="163" y="400"/>
                      <a:pt x="163" y="423"/>
                      <a:pt x="156" y="430"/>
                    </a:cubicBezTo>
                    <a:cubicBezTo>
                      <a:pt x="149" y="437"/>
                      <a:pt x="121" y="445"/>
                      <a:pt x="117" y="448"/>
                    </a:cubicBezTo>
                    <a:cubicBezTo>
                      <a:pt x="113" y="451"/>
                      <a:pt x="118" y="466"/>
                      <a:pt x="122" y="468"/>
                    </a:cubicBezTo>
                    <a:cubicBezTo>
                      <a:pt x="126" y="470"/>
                      <a:pt x="144" y="456"/>
                      <a:pt x="144" y="456"/>
                    </a:cubicBezTo>
                    <a:cubicBezTo>
                      <a:pt x="144" y="456"/>
                      <a:pt x="147" y="462"/>
                      <a:pt x="151" y="466"/>
                    </a:cubicBezTo>
                    <a:cubicBezTo>
                      <a:pt x="155" y="470"/>
                      <a:pt x="165" y="466"/>
                      <a:pt x="165" y="466"/>
                    </a:cubicBezTo>
                    <a:cubicBezTo>
                      <a:pt x="165" y="466"/>
                      <a:pt x="173" y="475"/>
                      <a:pt x="181" y="476"/>
                    </a:cubicBezTo>
                    <a:cubicBezTo>
                      <a:pt x="190" y="477"/>
                      <a:pt x="197" y="472"/>
                      <a:pt x="202" y="467"/>
                    </a:cubicBezTo>
                    <a:cubicBezTo>
                      <a:pt x="207" y="462"/>
                      <a:pt x="220" y="463"/>
                      <a:pt x="220" y="463"/>
                    </a:cubicBezTo>
                    <a:cubicBezTo>
                      <a:pt x="220" y="463"/>
                      <a:pt x="204" y="478"/>
                      <a:pt x="194" y="485"/>
                    </a:cubicBezTo>
                    <a:cubicBezTo>
                      <a:pt x="183" y="492"/>
                      <a:pt x="163" y="485"/>
                      <a:pt x="156" y="485"/>
                    </a:cubicBezTo>
                    <a:cubicBezTo>
                      <a:pt x="149" y="485"/>
                      <a:pt x="151" y="495"/>
                      <a:pt x="151" y="495"/>
                    </a:cubicBezTo>
                    <a:cubicBezTo>
                      <a:pt x="151" y="495"/>
                      <a:pt x="142" y="495"/>
                      <a:pt x="135" y="498"/>
                    </a:cubicBezTo>
                    <a:cubicBezTo>
                      <a:pt x="127" y="501"/>
                      <a:pt x="135" y="507"/>
                      <a:pt x="129" y="516"/>
                    </a:cubicBezTo>
                    <a:cubicBezTo>
                      <a:pt x="124" y="524"/>
                      <a:pt x="117" y="520"/>
                      <a:pt x="110" y="520"/>
                    </a:cubicBezTo>
                    <a:cubicBezTo>
                      <a:pt x="103" y="520"/>
                      <a:pt x="106" y="530"/>
                      <a:pt x="99" y="536"/>
                    </a:cubicBezTo>
                    <a:cubicBezTo>
                      <a:pt x="92" y="542"/>
                      <a:pt x="83" y="541"/>
                      <a:pt x="83" y="545"/>
                    </a:cubicBezTo>
                    <a:cubicBezTo>
                      <a:pt x="83" y="549"/>
                      <a:pt x="102" y="549"/>
                      <a:pt x="105" y="549"/>
                    </a:cubicBezTo>
                    <a:cubicBezTo>
                      <a:pt x="108" y="549"/>
                      <a:pt x="116" y="539"/>
                      <a:pt x="122" y="534"/>
                    </a:cubicBezTo>
                    <a:cubicBezTo>
                      <a:pt x="128" y="529"/>
                      <a:pt x="138" y="530"/>
                      <a:pt x="147" y="530"/>
                    </a:cubicBezTo>
                    <a:cubicBezTo>
                      <a:pt x="156" y="530"/>
                      <a:pt x="159" y="540"/>
                      <a:pt x="165" y="540"/>
                    </a:cubicBezTo>
                    <a:cubicBezTo>
                      <a:pt x="171" y="540"/>
                      <a:pt x="184" y="515"/>
                      <a:pt x="191" y="512"/>
                    </a:cubicBezTo>
                    <a:cubicBezTo>
                      <a:pt x="197" y="508"/>
                      <a:pt x="211" y="519"/>
                      <a:pt x="211" y="519"/>
                    </a:cubicBezTo>
                    <a:cubicBezTo>
                      <a:pt x="228" y="520"/>
                      <a:pt x="228" y="520"/>
                      <a:pt x="228" y="520"/>
                    </a:cubicBezTo>
                    <a:cubicBezTo>
                      <a:pt x="248" y="512"/>
                      <a:pt x="248" y="512"/>
                      <a:pt x="248" y="512"/>
                    </a:cubicBezTo>
                    <a:cubicBezTo>
                      <a:pt x="248" y="512"/>
                      <a:pt x="267" y="521"/>
                      <a:pt x="273" y="520"/>
                    </a:cubicBezTo>
                    <a:cubicBezTo>
                      <a:pt x="279" y="519"/>
                      <a:pt x="265" y="508"/>
                      <a:pt x="271" y="503"/>
                    </a:cubicBezTo>
                    <a:cubicBezTo>
                      <a:pt x="277" y="498"/>
                      <a:pt x="286" y="513"/>
                      <a:pt x="286" y="513"/>
                    </a:cubicBezTo>
                    <a:cubicBezTo>
                      <a:pt x="293" y="508"/>
                      <a:pt x="293" y="508"/>
                      <a:pt x="293" y="508"/>
                    </a:cubicBezTo>
                    <a:cubicBezTo>
                      <a:pt x="293" y="508"/>
                      <a:pt x="346" y="508"/>
                      <a:pt x="359" y="501"/>
                    </a:cubicBezTo>
                    <a:cubicBezTo>
                      <a:pt x="371" y="494"/>
                      <a:pt x="379" y="479"/>
                      <a:pt x="379" y="479"/>
                    </a:cubicBezTo>
                    <a:cubicBezTo>
                      <a:pt x="340" y="474"/>
                      <a:pt x="340" y="474"/>
                      <a:pt x="340" y="474"/>
                    </a:cubicBezTo>
                    <a:cubicBezTo>
                      <a:pt x="358" y="471"/>
                      <a:pt x="358" y="471"/>
                      <a:pt x="358" y="471"/>
                    </a:cubicBezTo>
                    <a:cubicBezTo>
                      <a:pt x="354" y="461"/>
                      <a:pt x="354" y="461"/>
                      <a:pt x="354" y="461"/>
                    </a:cubicBezTo>
                    <a:cubicBezTo>
                      <a:pt x="354" y="461"/>
                      <a:pt x="368" y="448"/>
                      <a:pt x="375" y="447"/>
                    </a:cubicBezTo>
                    <a:cubicBezTo>
                      <a:pt x="382" y="446"/>
                      <a:pt x="393" y="435"/>
                      <a:pt x="394" y="415"/>
                    </a:cubicBezTo>
                    <a:cubicBezTo>
                      <a:pt x="395" y="394"/>
                      <a:pt x="346" y="395"/>
                      <a:pt x="346" y="395"/>
                    </a:cubicBezTo>
                    <a:close/>
                    <a:moveTo>
                      <a:pt x="157" y="325"/>
                    </a:moveTo>
                    <a:cubicBezTo>
                      <a:pt x="152" y="310"/>
                      <a:pt x="147" y="330"/>
                      <a:pt x="138" y="338"/>
                    </a:cubicBezTo>
                    <a:cubicBezTo>
                      <a:pt x="138" y="338"/>
                      <a:pt x="162" y="340"/>
                      <a:pt x="157" y="325"/>
                    </a:cubicBezTo>
                    <a:close/>
                    <a:moveTo>
                      <a:pt x="94" y="338"/>
                    </a:moveTo>
                    <a:cubicBezTo>
                      <a:pt x="97" y="335"/>
                      <a:pt x="99" y="329"/>
                      <a:pt x="99" y="329"/>
                    </a:cubicBezTo>
                    <a:cubicBezTo>
                      <a:pt x="99" y="329"/>
                      <a:pt x="104" y="336"/>
                      <a:pt x="107" y="330"/>
                    </a:cubicBezTo>
                    <a:cubicBezTo>
                      <a:pt x="110" y="324"/>
                      <a:pt x="117" y="314"/>
                      <a:pt x="110" y="308"/>
                    </a:cubicBezTo>
                    <a:cubicBezTo>
                      <a:pt x="103" y="302"/>
                      <a:pt x="103" y="293"/>
                      <a:pt x="103" y="293"/>
                    </a:cubicBezTo>
                    <a:cubicBezTo>
                      <a:pt x="98" y="295"/>
                      <a:pt x="98" y="295"/>
                      <a:pt x="98" y="295"/>
                    </a:cubicBezTo>
                    <a:cubicBezTo>
                      <a:pt x="98" y="295"/>
                      <a:pt x="93" y="283"/>
                      <a:pt x="86" y="281"/>
                    </a:cubicBezTo>
                    <a:cubicBezTo>
                      <a:pt x="79" y="279"/>
                      <a:pt x="61" y="282"/>
                      <a:pt x="61" y="282"/>
                    </a:cubicBezTo>
                    <a:cubicBezTo>
                      <a:pt x="61" y="282"/>
                      <a:pt x="61" y="282"/>
                      <a:pt x="61" y="281"/>
                    </a:cubicBezTo>
                    <a:cubicBezTo>
                      <a:pt x="58" y="288"/>
                      <a:pt x="58" y="288"/>
                      <a:pt x="58" y="288"/>
                    </a:cubicBezTo>
                    <a:cubicBezTo>
                      <a:pt x="28" y="302"/>
                      <a:pt x="28" y="302"/>
                      <a:pt x="28" y="302"/>
                    </a:cubicBezTo>
                    <a:cubicBezTo>
                      <a:pt x="29" y="312"/>
                      <a:pt x="29" y="312"/>
                      <a:pt x="29" y="312"/>
                    </a:cubicBezTo>
                    <a:cubicBezTo>
                      <a:pt x="29" y="312"/>
                      <a:pt x="0" y="318"/>
                      <a:pt x="13" y="325"/>
                    </a:cubicBezTo>
                    <a:cubicBezTo>
                      <a:pt x="26" y="333"/>
                      <a:pt x="38" y="335"/>
                      <a:pt x="38" y="335"/>
                    </a:cubicBezTo>
                    <a:cubicBezTo>
                      <a:pt x="55" y="319"/>
                      <a:pt x="55" y="319"/>
                      <a:pt x="55" y="319"/>
                    </a:cubicBezTo>
                    <a:cubicBezTo>
                      <a:pt x="67" y="335"/>
                      <a:pt x="67" y="335"/>
                      <a:pt x="67" y="335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91" y="340"/>
                      <a:pt x="93" y="339"/>
                      <a:pt x="94" y="338"/>
                    </a:cubicBezTo>
                    <a:close/>
                    <a:moveTo>
                      <a:pt x="63" y="155"/>
                    </a:moveTo>
                    <a:cubicBezTo>
                      <a:pt x="57" y="155"/>
                      <a:pt x="54" y="155"/>
                      <a:pt x="52" y="163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6" y="163"/>
                      <a:pt x="69" y="155"/>
                      <a:pt x="63" y="155"/>
                    </a:cubicBezTo>
                    <a:close/>
                    <a:moveTo>
                      <a:pt x="82" y="144"/>
                    </a:moveTo>
                    <a:cubicBezTo>
                      <a:pt x="82" y="144"/>
                      <a:pt x="88" y="146"/>
                      <a:pt x="94" y="145"/>
                    </a:cubicBezTo>
                    <a:cubicBezTo>
                      <a:pt x="100" y="144"/>
                      <a:pt x="108" y="115"/>
                      <a:pt x="108" y="115"/>
                    </a:cubicBezTo>
                    <a:cubicBezTo>
                      <a:pt x="108" y="115"/>
                      <a:pt x="100" y="117"/>
                      <a:pt x="94" y="122"/>
                    </a:cubicBezTo>
                    <a:cubicBezTo>
                      <a:pt x="88" y="126"/>
                      <a:pt x="86" y="133"/>
                      <a:pt x="86" y="133"/>
                    </a:cubicBezTo>
                    <a:cubicBezTo>
                      <a:pt x="86" y="133"/>
                      <a:pt x="78" y="125"/>
                      <a:pt x="72" y="128"/>
                    </a:cubicBezTo>
                    <a:cubicBezTo>
                      <a:pt x="67" y="131"/>
                      <a:pt x="73" y="153"/>
                      <a:pt x="73" y="153"/>
                    </a:cubicBezTo>
                    <a:lnTo>
                      <a:pt x="82" y="144"/>
                    </a:lnTo>
                    <a:close/>
                    <a:moveTo>
                      <a:pt x="57" y="169"/>
                    </a:moveTo>
                    <a:cubicBezTo>
                      <a:pt x="51" y="191"/>
                      <a:pt x="51" y="191"/>
                      <a:pt x="51" y="191"/>
                    </a:cubicBezTo>
                    <a:cubicBezTo>
                      <a:pt x="62" y="177"/>
                      <a:pt x="62" y="177"/>
                      <a:pt x="62" y="177"/>
                    </a:cubicBezTo>
                    <a:lnTo>
                      <a:pt x="57" y="169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6" name="MCShape 148">
                <a:extLst>
                  <a:ext uri="{FF2B5EF4-FFF2-40B4-BE49-F238E27FC236}">
                    <a16:creationId xmlns:a16="http://schemas.microsoft.com/office/drawing/2014/main" id="{0F735A52-FC27-4D9F-9251-6A9CBB734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007" y="2469966"/>
                <a:ext cx="109819" cy="120646"/>
              </a:xfrm>
              <a:custGeom>
                <a:avLst/>
                <a:gdLst>
                  <a:gd name="T0" fmla="*/ 186 w 189"/>
                  <a:gd name="T1" fmla="*/ 104 h 202"/>
                  <a:gd name="T2" fmla="*/ 177 w 189"/>
                  <a:gd name="T3" fmla="*/ 87 h 202"/>
                  <a:gd name="T4" fmla="*/ 175 w 189"/>
                  <a:gd name="T5" fmla="*/ 73 h 202"/>
                  <a:gd name="T6" fmla="*/ 189 w 189"/>
                  <a:gd name="T7" fmla="*/ 66 h 202"/>
                  <a:gd name="T8" fmla="*/ 167 w 189"/>
                  <a:gd name="T9" fmla="*/ 61 h 202"/>
                  <a:gd name="T10" fmla="*/ 155 w 189"/>
                  <a:gd name="T11" fmla="*/ 45 h 202"/>
                  <a:gd name="T12" fmla="*/ 138 w 189"/>
                  <a:gd name="T13" fmla="*/ 61 h 202"/>
                  <a:gd name="T14" fmla="*/ 113 w 189"/>
                  <a:gd name="T15" fmla="*/ 51 h 202"/>
                  <a:gd name="T16" fmla="*/ 129 w 189"/>
                  <a:gd name="T17" fmla="*/ 38 h 202"/>
                  <a:gd name="T18" fmla="*/ 128 w 189"/>
                  <a:gd name="T19" fmla="*/ 28 h 202"/>
                  <a:gd name="T20" fmla="*/ 158 w 189"/>
                  <a:gd name="T21" fmla="*/ 14 h 202"/>
                  <a:gd name="T22" fmla="*/ 161 w 189"/>
                  <a:gd name="T23" fmla="*/ 7 h 202"/>
                  <a:gd name="T24" fmla="*/ 153 w 189"/>
                  <a:gd name="T25" fmla="*/ 2 h 202"/>
                  <a:gd name="T26" fmla="*/ 138 w 189"/>
                  <a:gd name="T27" fmla="*/ 14 h 202"/>
                  <a:gd name="T28" fmla="*/ 134 w 189"/>
                  <a:gd name="T29" fmla="*/ 4 h 202"/>
                  <a:gd name="T30" fmla="*/ 107 w 189"/>
                  <a:gd name="T31" fmla="*/ 9 h 202"/>
                  <a:gd name="T32" fmla="*/ 99 w 189"/>
                  <a:gd name="T33" fmla="*/ 30 h 202"/>
                  <a:gd name="T34" fmla="*/ 84 w 189"/>
                  <a:gd name="T35" fmla="*/ 35 h 202"/>
                  <a:gd name="T36" fmla="*/ 102 w 189"/>
                  <a:gd name="T37" fmla="*/ 44 h 202"/>
                  <a:gd name="T38" fmla="*/ 92 w 189"/>
                  <a:gd name="T39" fmla="*/ 50 h 202"/>
                  <a:gd name="T40" fmla="*/ 87 w 189"/>
                  <a:gd name="T41" fmla="*/ 57 h 202"/>
                  <a:gd name="T42" fmla="*/ 69 w 189"/>
                  <a:gd name="T43" fmla="*/ 56 h 202"/>
                  <a:gd name="T44" fmla="*/ 69 w 189"/>
                  <a:gd name="T45" fmla="*/ 61 h 202"/>
                  <a:gd name="T46" fmla="*/ 48 w 189"/>
                  <a:gd name="T47" fmla="*/ 51 h 202"/>
                  <a:gd name="T48" fmla="*/ 30 w 189"/>
                  <a:gd name="T49" fmla="*/ 54 h 202"/>
                  <a:gd name="T50" fmla="*/ 33 w 189"/>
                  <a:gd name="T51" fmla="*/ 71 h 202"/>
                  <a:gd name="T52" fmla="*/ 42 w 189"/>
                  <a:gd name="T53" fmla="*/ 79 h 202"/>
                  <a:gd name="T54" fmla="*/ 31 w 189"/>
                  <a:gd name="T55" fmla="*/ 86 h 202"/>
                  <a:gd name="T56" fmla="*/ 25 w 189"/>
                  <a:gd name="T57" fmla="*/ 98 h 202"/>
                  <a:gd name="T58" fmla="*/ 48 w 189"/>
                  <a:gd name="T59" fmla="*/ 107 h 202"/>
                  <a:gd name="T60" fmla="*/ 66 w 189"/>
                  <a:gd name="T61" fmla="*/ 107 h 202"/>
                  <a:gd name="T62" fmla="*/ 50 w 189"/>
                  <a:gd name="T63" fmla="*/ 116 h 202"/>
                  <a:gd name="T64" fmla="*/ 50 w 189"/>
                  <a:gd name="T65" fmla="*/ 130 h 202"/>
                  <a:gd name="T66" fmla="*/ 35 w 189"/>
                  <a:gd name="T67" fmla="*/ 134 h 202"/>
                  <a:gd name="T68" fmla="*/ 30 w 189"/>
                  <a:gd name="T69" fmla="*/ 156 h 202"/>
                  <a:gd name="T70" fmla="*/ 4 w 189"/>
                  <a:gd name="T71" fmla="*/ 161 h 202"/>
                  <a:gd name="T72" fmla="*/ 15 w 189"/>
                  <a:gd name="T73" fmla="*/ 167 h 202"/>
                  <a:gd name="T74" fmla="*/ 0 w 189"/>
                  <a:gd name="T75" fmla="*/ 176 h 202"/>
                  <a:gd name="T76" fmla="*/ 7 w 189"/>
                  <a:gd name="T77" fmla="*/ 183 h 202"/>
                  <a:gd name="T78" fmla="*/ 30 w 189"/>
                  <a:gd name="T79" fmla="*/ 180 h 202"/>
                  <a:gd name="T80" fmla="*/ 19 w 189"/>
                  <a:gd name="T81" fmla="*/ 192 h 202"/>
                  <a:gd name="T82" fmla="*/ 35 w 189"/>
                  <a:gd name="T83" fmla="*/ 190 h 202"/>
                  <a:gd name="T84" fmla="*/ 29 w 189"/>
                  <a:gd name="T85" fmla="*/ 202 h 202"/>
                  <a:gd name="T86" fmla="*/ 74 w 189"/>
                  <a:gd name="T87" fmla="*/ 191 h 202"/>
                  <a:gd name="T88" fmla="*/ 83 w 189"/>
                  <a:gd name="T89" fmla="*/ 178 h 202"/>
                  <a:gd name="T90" fmla="*/ 102 w 189"/>
                  <a:gd name="T91" fmla="*/ 178 h 202"/>
                  <a:gd name="T92" fmla="*/ 124 w 189"/>
                  <a:gd name="T93" fmla="*/ 166 h 202"/>
                  <a:gd name="T94" fmla="*/ 140 w 189"/>
                  <a:gd name="T95" fmla="*/ 165 h 202"/>
                  <a:gd name="T96" fmla="*/ 143 w 189"/>
                  <a:gd name="T97" fmla="*/ 159 h 202"/>
                  <a:gd name="T98" fmla="*/ 168 w 189"/>
                  <a:gd name="T99" fmla="*/ 160 h 202"/>
                  <a:gd name="T100" fmla="*/ 167 w 189"/>
                  <a:gd name="T101" fmla="*/ 148 h 202"/>
                  <a:gd name="T102" fmla="*/ 179 w 189"/>
                  <a:gd name="T103" fmla="*/ 146 h 202"/>
                  <a:gd name="T104" fmla="*/ 178 w 189"/>
                  <a:gd name="T105" fmla="*/ 133 h 202"/>
                  <a:gd name="T106" fmla="*/ 186 w 189"/>
                  <a:gd name="T107" fmla="*/ 104 h 20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89"/>
                  <a:gd name="T163" fmla="*/ 0 h 202"/>
                  <a:gd name="T164" fmla="*/ 189 w 189"/>
                  <a:gd name="T165" fmla="*/ 202 h 20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89" h="202">
                    <a:moveTo>
                      <a:pt x="186" y="104"/>
                    </a:moveTo>
                    <a:cubicBezTo>
                      <a:pt x="186" y="94"/>
                      <a:pt x="177" y="87"/>
                      <a:pt x="177" y="87"/>
                    </a:cubicBezTo>
                    <a:cubicBezTo>
                      <a:pt x="177" y="87"/>
                      <a:pt x="177" y="78"/>
                      <a:pt x="175" y="73"/>
                    </a:cubicBezTo>
                    <a:cubicBezTo>
                      <a:pt x="175" y="69"/>
                      <a:pt x="184" y="68"/>
                      <a:pt x="189" y="66"/>
                    </a:cubicBezTo>
                    <a:cubicBezTo>
                      <a:pt x="167" y="61"/>
                      <a:pt x="167" y="61"/>
                      <a:pt x="167" y="61"/>
                    </a:cubicBezTo>
                    <a:cubicBezTo>
                      <a:pt x="155" y="45"/>
                      <a:pt x="155" y="45"/>
                      <a:pt x="155" y="45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61"/>
                      <a:pt x="126" y="59"/>
                      <a:pt x="113" y="51"/>
                    </a:cubicBezTo>
                    <a:cubicBezTo>
                      <a:pt x="100" y="44"/>
                      <a:pt x="129" y="38"/>
                      <a:pt x="129" y="38"/>
                    </a:cubicBezTo>
                    <a:cubicBezTo>
                      <a:pt x="128" y="28"/>
                      <a:pt x="128" y="28"/>
                      <a:pt x="128" y="28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0" y="6"/>
                      <a:pt x="158" y="4"/>
                      <a:pt x="153" y="2"/>
                    </a:cubicBezTo>
                    <a:cubicBezTo>
                      <a:pt x="146" y="0"/>
                      <a:pt x="138" y="14"/>
                      <a:pt x="138" y="14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4" y="4"/>
                      <a:pt x="111" y="4"/>
                      <a:pt x="107" y="9"/>
                    </a:cubicBezTo>
                    <a:cubicBezTo>
                      <a:pt x="103" y="15"/>
                      <a:pt x="99" y="30"/>
                      <a:pt x="99" y="30"/>
                    </a:cubicBezTo>
                    <a:cubicBezTo>
                      <a:pt x="99" y="30"/>
                      <a:pt x="84" y="29"/>
                      <a:pt x="84" y="35"/>
                    </a:cubicBezTo>
                    <a:cubicBezTo>
                      <a:pt x="84" y="41"/>
                      <a:pt x="106" y="37"/>
                      <a:pt x="102" y="44"/>
                    </a:cubicBezTo>
                    <a:cubicBezTo>
                      <a:pt x="98" y="51"/>
                      <a:pt x="94" y="47"/>
                      <a:pt x="92" y="50"/>
                    </a:cubicBezTo>
                    <a:cubicBezTo>
                      <a:pt x="90" y="53"/>
                      <a:pt x="87" y="57"/>
                      <a:pt x="87" y="57"/>
                    </a:cubicBezTo>
                    <a:cubicBezTo>
                      <a:pt x="69" y="56"/>
                      <a:pt x="69" y="56"/>
                      <a:pt x="69" y="56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69" y="61"/>
                      <a:pt x="56" y="47"/>
                      <a:pt x="48" y="51"/>
                    </a:cubicBezTo>
                    <a:cubicBezTo>
                      <a:pt x="40" y="55"/>
                      <a:pt x="30" y="54"/>
                      <a:pt x="30" y="54"/>
                    </a:cubicBezTo>
                    <a:cubicBezTo>
                      <a:pt x="30" y="54"/>
                      <a:pt x="28" y="71"/>
                      <a:pt x="33" y="71"/>
                    </a:cubicBezTo>
                    <a:cubicBezTo>
                      <a:pt x="38" y="71"/>
                      <a:pt x="42" y="79"/>
                      <a:pt x="42" y="79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31" y="86"/>
                      <a:pt x="20" y="90"/>
                      <a:pt x="25" y="98"/>
                    </a:cubicBezTo>
                    <a:cubicBezTo>
                      <a:pt x="30" y="106"/>
                      <a:pt x="48" y="107"/>
                      <a:pt x="48" y="107"/>
                    </a:cubicBezTo>
                    <a:cubicBezTo>
                      <a:pt x="48" y="107"/>
                      <a:pt x="67" y="99"/>
                      <a:pt x="66" y="107"/>
                    </a:cubicBezTo>
                    <a:cubicBezTo>
                      <a:pt x="65" y="115"/>
                      <a:pt x="50" y="116"/>
                      <a:pt x="50" y="116"/>
                    </a:cubicBezTo>
                    <a:cubicBezTo>
                      <a:pt x="50" y="130"/>
                      <a:pt x="50" y="130"/>
                      <a:pt x="50" y="130"/>
                    </a:cubicBezTo>
                    <a:cubicBezTo>
                      <a:pt x="50" y="130"/>
                      <a:pt x="37" y="125"/>
                      <a:pt x="35" y="134"/>
                    </a:cubicBezTo>
                    <a:cubicBezTo>
                      <a:pt x="33" y="143"/>
                      <a:pt x="30" y="156"/>
                      <a:pt x="30" y="156"/>
                    </a:cubicBezTo>
                    <a:cubicBezTo>
                      <a:pt x="30" y="156"/>
                      <a:pt x="5" y="156"/>
                      <a:pt x="4" y="161"/>
                    </a:cubicBezTo>
                    <a:cubicBezTo>
                      <a:pt x="3" y="166"/>
                      <a:pt x="15" y="167"/>
                      <a:pt x="15" y="167"/>
                    </a:cubicBezTo>
                    <a:cubicBezTo>
                      <a:pt x="15" y="167"/>
                      <a:pt x="0" y="169"/>
                      <a:pt x="0" y="176"/>
                    </a:cubicBezTo>
                    <a:cubicBezTo>
                      <a:pt x="0" y="184"/>
                      <a:pt x="7" y="183"/>
                      <a:pt x="7" y="183"/>
                    </a:cubicBezTo>
                    <a:cubicBezTo>
                      <a:pt x="30" y="180"/>
                      <a:pt x="30" y="180"/>
                      <a:pt x="30" y="180"/>
                    </a:cubicBezTo>
                    <a:cubicBezTo>
                      <a:pt x="19" y="192"/>
                      <a:pt x="19" y="192"/>
                      <a:pt x="19" y="192"/>
                    </a:cubicBezTo>
                    <a:cubicBezTo>
                      <a:pt x="19" y="192"/>
                      <a:pt x="36" y="187"/>
                      <a:pt x="35" y="190"/>
                    </a:cubicBezTo>
                    <a:cubicBezTo>
                      <a:pt x="34" y="193"/>
                      <a:pt x="14" y="202"/>
                      <a:pt x="29" y="202"/>
                    </a:cubicBezTo>
                    <a:cubicBezTo>
                      <a:pt x="44" y="202"/>
                      <a:pt x="65" y="196"/>
                      <a:pt x="74" y="191"/>
                    </a:cubicBezTo>
                    <a:cubicBezTo>
                      <a:pt x="83" y="186"/>
                      <a:pt x="83" y="178"/>
                      <a:pt x="83" y="178"/>
                    </a:cubicBezTo>
                    <a:cubicBezTo>
                      <a:pt x="83" y="178"/>
                      <a:pt x="93" y="184"/>
                      <a:pt x="102" y="178"/>
                    </a:cubicBezTo>
                    <a:cubicBezTo>
                      <a:pt x="111" y="173"/>
                      <a:pt x="112" y="167"/>
                      <a:pt x="124" y="166"/>
                    </a:cubicBezTo>
                    <a:cubicBezTo>
                      <a:pt x="135" y="165"/>
                      <a:pt x="140" y="165"/>
                      <a:pt x="140" y="165"/>
                    </a:cubicBezTo>
                    <a:cubicBezTo>
                      <a:pt x="143" y="159"/>
                      <a:pt x="143" y="159"/>
                      <a:pt x="143" y="159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7" y="148"/>
                      <a:pt x="167" y="148"/>
                      <a:pt x="167" y="148"/>
                    </a:cubicBezTo>
                    <a:cubicBezTo>
                      <a:pt x="167" y="148"/>
                      <a:pt x="179" y="150"/>
                      <a:pt x="179" y="146"/>
                    </a:cubicBezTo>
                    <a:cubicBezTo>
                      <a:pt x="179" y="142"/>
                      <a:pt x="174" y="138"/>
                      <a:pt x="178" y="133"/>
                    </a:cubicBezTo>
                    <a:cubicBezTo>
                      <a:pt x="181" y="128"/>
                      <a:pt x="186" y="114"/>
                      <a:pt x="186" y="10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7" name="MCShape 149">
                <a:extLst>
                  <a:ext uri="{FF2B5EF4-FFF2-40B4-BE49-F238E27FC236}">
                    <a16:creationId xmlns:a16="http://schemas.microsoft.com/office/drawing/2014/main" id="{E9E5D039-E792-4323-AD57-A5688835A7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35721" y="1736812"/>
                <a:ext cx="1559112" cy="757902"/>
              </a:xfrm>
              <a:custGeom>
                <a:avLst/>
                <a:gdLst>
                  <a:gd name="T0" fmla="*/ 1565 w 2644"/>
                  <a:gd name="T1" fmla="*/ 52 h 1282"/>
                  <a:gd name="T2" fmla="*/ 1392 w 2644"/>
                  <a:gd name="T3" fmla="*/ 47 h 1282"/>
                  <a:gd name="T4" fmla="*/ 1490 w 2644"/>
                  <a:gd name="T5" fmla="*/ 10 h 1282"/>
                  <a:gd name="T6" fmla="*/ 1129 w 2644"/>
                  <a:gd name="T7" fmla="*/ 20 h 1282"/>
                  <a:gd name="T8" fmla="*/ 1006 w 2644"/>
                  <a:gd name="T9" fmla="*/ 38 h 1282"/>
                  <a:gd name="T10" fmla="*/ 728 w 2644"/>
                  <a:gd name="T11" fmla="*/ 51 h 1282"/>
                  <a:gd name="T12" fmla="*/ 452 w 2644"/>
                  <a:gd name="T13" fmla="*/ 80 h 1282"/>
                  <a:gd name="T14" fmla="*/ 236 w 2644"/>
                  <a:gd name="T15" fmla="*/ 157 h 1282"/>
                  <a:gd name="T16" fmla="*/ 83 w 2644"/>
                  <a:gd name="T17" fmla="*/ 219 h 1282"/>
                  <a:gd name="T18" fmla="*/ 96 w 2644"/>
                  <a:gd name="T19" fmla="*/ 231 h 1282"/>
                  <a:gd name="T20" fmla="*/ 106 w 2644"/>
                  <a:gd name="T21" fmla="*/ 266 h 1282"/>
                  <a:gd name="T22" fmla="*/ 313 w 2644"/>
                  <a:gd name="T23" fmla="*/ 274 h 1282"/>
                  <a:gd name="T24" fmla="*/ 399 w 2644"/>
                  <a:gd name="T25" fmla="*/ 369 h 1282"/>
                  <a:gd name="T26" fmla="*/ 370 w 2644"/>
                  <a:gd name="T27" fmla="*/ 445 h 1282"/>
                  <a:gd name="T28" fmla="*/ 438 w 2644"/>
                  <a:gd name="T29" fmla="*/ 447 h 1282"/>
                  <a:gd name="T30" fmla="*/ 432 w 2644"/>
                  <a:gd name="T31" fmla="*/ 517 h 1282"/>
                  <a:gd name="T32" fmla="*/ 456 w 2644"/>
                  <a:gd name="T33" fmla="*/ 542 h 1282"/>
                  <a:gd name="T34" fmla="*/ 421 w 2644"/>
                  <a:gd name="T35" fmla="*/ 578 h 1282"/>
                  <a:gd name="T36" fmla="*/ 408 w 2644"/>
                  <a:gd name="T37" fmla="*/ 639 h 1282"/>
                  <a:gd name="T38" fmla="*/ 354 w 2644"/>
                  <a:gd name="T39" fmla="*/ 640 h 1282"/>
                  <a:gd name="T40" fmla="*/ 276 w 2644"/>
                  <a:gd name="T41" fmla="*/ 668 h 1282"/>
                  <a:gd name="T42" fmla="*/ 273 w 2644"/>
                  <a:gd name="T43" fmla="*/ 727 h 1282"/>
                  <a:gd name="T44" fmla="*/ 270 w 2644"/>
                  <a:gd name="T45" fmla="*/ 802 h 1282"/>
                  <a:gd name="T46" fmla="*/ 328 w 2644"/>
                  <a:gd name="T47" fmla="*/ 798 h 1282"/>
                  <a:gd name="T48" fmla="*/ 286 w 2644"/>
                  <a:gd name="T49" fmla="*/ 851 h 1282"/>
                  <a:gd name="T50" fmla="*/ 322 w 2644"/>
                  <a:gd name="T51" fmla="*/ 925 h 1282"/>
                  <a:gd name="T52" fmla="*/ 398 w 2644"/>
                  <a:gd name="T53" fmla="*/ 969 h 1282"/>
                  <a:gd name="T54" fmla="*/ 443 w 2644"/>
                  <a:gd name="T55" fmla="*/ 1000 h 1282"/>
                  <a:gd name="T56" fmla="*/ 540 w 2644"/>
                  <a:gd name="T57" fmla="*/ 948 h 1282"/>
                  <a:gd name="T58" fmla="*/ 585 w 2644"/>
                  <a:gd name="T59" fmla="*/ 903 h 1282"/>
                  <a:gd name="T60" fmla="*/ 625 w 2644"/>
                  <a:gd name="T61" fmla="*/ 858 h 1282"/>
                  <a:gd name="T62" fmla="*/ 673 w 2644"/>
                  <a:gd name="T63" fmla="*/ 802 h 1282"/>
                  <a:gd name="T64" fmla="*/ 752 w 2644"/>
                  <a:gd name="T65" fmla="*/ 741 h 1282"/>
                  <a:gd name="T66" fmla="*/ 841 w 2644"/>
                  <a:gd name="T67" fmla="*/ 727 h 1282"/>
                  <a:gd name="T68" fmla="*/ 1053 w 2644"/>
                  <a:gd name="T69" fmla="*/ 599 h 1282"/>
                  <a:gd name="T70" fmla="*/ 1317 w 2644"/>
                  <a:gd name="T71" fmla="*/ 578 h 1282"/>
                  <a:gd name="T72" fmla="*/ 1303 w 2644"/>
                  <a:gd name="T73" fmla="*/ 524 h 1282"/>
                  <a:gd name="T74" fmla="*/ 1217 w 2644"/>
                  <a:gd name="T75" fmla="*/ 512 h 1282"/>
                  <a:gd name="T76" fmla="*/ 1271 w 2644"/>
                  <a:gd name="T77" fmla="*/ 465 h 1282"/>
                  <a:gd name="T78" fmla="*/ 1427 w 2644"/>
                  <a:gd name="T79" fmla="*/ 502 h 1282"/>
                  <a:gd name="T80" fmla="*/ 1425 w 2644"/>
                  <a:gd name="T81" fmla="*/ 459 h 1282"/>
                  <a:gd name="T82" fmla="*/ 1303 w 2644"/>
                  <a:gd name="T83" fmla="*/ 412 h 1282"/>
                  <a:gd name="T84" fmla="*/ 1471 w 2644"/>
                  <a:gd name="T85" fmla="*/ 404 h 1282"/>
                  <a:gd name="T86" fmla="*/ 1535 w 2644"/>
                  <a:gd name="T87" fmla="*/ 368 h 1282"/>
                  <a:gd name="T88" fmla="*/ 1546 w 2644"/>
                  <a:gd name="T89" fmla="*/ 334 h 1282"/>
                  <a:gd name="T90" fmla="*/ 1594 w 2644"/>
                  <a:gd name="T91" fmla="*/ 289 h 1282"/>
                  <a:gd name="T92" fmla="*/ 1590 w 2644"/>
                  <a:gd name="T93" fmla="*/ 221 h 1282"/>
                  <a:gd name="T94" fmla="*/ 1627 w 2644"/>
                  <a:gd name="T95" fmla="*/ 165 h 1282"/>
                  <a:gd name="T96" fmla="*/ 1659 w 2644"/>
                  <a:gd name="T97" fmla="*/ 111 h 1282"/>
                  <a:gd name="T98" fmla="*/ 1807 w 2644"/>
                  <a:gd name="T99" fmla="*/ 79 h 1282"/>
                  <a:gd name="T100" fmla="*/ 371 w 2644"/>
                  <a:gd name="T101" fmla="*/ 534 h 1282"/>
                  <a:gd name="T102" fmla="*/ 2531 w 2644"/>
                  <a:gd name="T103" fmla="*/ 1160 h 1282"/>
                  <a:gd name="T104" fmla="*/ 2458 w 2644"/>
                  <a:gd name="T105" fmla="*/ 1164 h 1282"/>
                  <a:gd name="T106" fmla="*/ 2471 w 2644"/>
                  <a:gd name="T107" fmla="*/ 1249 h 1282"/>
                  <a:gd name="T108" fmla="*/ 2517 w 2644"/>
                  <a:gd name="T109" fmla="*/ 1268 h 1282"/>
                  <a:gd name="T110" fmla="*/ 2531 w 2644"/>
                  <a:gd name="T111" fmla="*/ 1179 h 1282"/>
                  <a:gd name="T112" fmla="*/ 2577 w 2644"/>
                  <a:gd name="T113" fmla="*/ 1240 h 1282"/>
                  <a:gd name="T114" fmla="*/ 2624 w 2644"/>
                  <a:gd name="T115" fmla="*/ 1211 h 1282"/>
                  <a:gd name="T116" fmla="*/ 2629 w 2644"/>
                  <a:gd name="T117" fmla="*/ 1260 h 128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644"/>
                  <a:gd name="T178" fmla="*/ 0 h 1282"/>
                  <a:gd name="T179" fmla="*/ 2644 w 2644"/>
                  <a:gd name="T180" fmla="*/ 1282 h 128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644" h="1282">
                    <a:moveTo>
                      <a:pt x="1845" y="57"/>
                    </a:moveTo>
                    <a:cubicBezTo>
                      <a:pt x="1825" y="57"/>
                      <a:pt x="1757" y="51"/>
                      <a:pt x="1752" y="57"/>
                    </a:cubicBezTo>
                    <a:cubicBezTo>
                      <a:pt x="1747" y="63"/>
                      <a:pt x="1722" y="69"/>
                      <a:pt x="1711" y="69"/>
                    </a:cubicBezTo>
                    <a:cubicBezTo>
                      <a:pt x="1700" y="69"/>
                      <a:pt x="1655" y="60"/>
                      <a:pt x="1647" y="64"/>
                    </a:cubicBezTo>
                    <a:cubicBezTo>
                      <a:pt x="1639" y="68"/>
                      <a:pt x="1587" y="83"/>
                      <a:pt x="1581" y="86"/>
                    </a:cubicBezTo>
                    <a:cubicBezTo>
                      <a:pt x="1575" y="89"/>
                      <a:pt x="1523" y="101"/>
                      <a:pt x="1532" y="94"/>
                    </a:cubicBezTo>
                    <a:cubicBezTo>
                      <a:pt x="1541" y="87"/>
                      <a:pt x="1615" y="71"/>
                      <a:pt x="1610" y="61"/>
                    </a:cubicBezTo>
                    <a:cubicBezTo>
                      <a:pt x="1605" y="51"/>
                      <a:pt x="1576" y="48"/>
                      <a:pt x="1565" y="52"/>
                    </a:cubicBezTo>
                    <a:cubicBezTo>
                      <a:pt x="1554" y="56"/>
                      <a:pt x="1536" y="63"/>
                      <a:pt x="1536" y="63"/>
                    </a:cubicBezTo>
                    <a:cubicBezTo>
                      <a:pt x="1457" y="73"/>
                      <a:pt x="1457" y="73"/>
                      <a:pt x="1457" y="73"/>
                    </a:cubicBezTo>
                    <a:cubicBezTo>
                      <a:pt x="1457" y="73"/>
                      <a:pt x="1531" y="55"/>
                      <a:pt x="1513" y="54"/>
                    </a:cubicBezTo>
                    <a:cubicBezTo>
                      <a:pt x="1495" y="53"/>
                      <a:pt x="1427" y="52"/>
                      <a:pt x="1427" y="52"/>
                    </a:cubicBezTo>
                    <a:cubicBezTo>
                      <a:pt x="1403" y="57"/>
                      <a:pt x="1403" y="57"/>
                      <a:pt x="1403" y="57"/>
                    </a:cubicBezTo>
                    <a:cubicBezTo>
                      <a:pt x="1358" y="53"/>
                      <a:pt x="1358" y="53"/>
                      <a:pt x="1358" y="53"/>
                    </a:cubicBezTo>
                    <a:cubicBezTo>
                      <a:pt x="1358" y="53"/>
                      <a:pt x="1307" y="68"/>
                      <a:pt x="1309" y="61"/>
                    </a:cubicBezTo>
                    <a:cubicBezTo>
                      <a:pt x="1311" y="54"/>
                      <a:pt x="1371" y="47"/>
                      <a:pt x="1392" y="47"/>
                    </a:cubicBezTo>
                    <a:cubicBezTo>
                      <a:pt x="1413" y="47"/>
                      <a:pt x="1548" y="45"/>
                      <a:pt x="1557" y="45"/>
                    </a:cubicBezTo>
                    <a:cubicBezTo>
                      <a:pt x="1566" y="45"/>
                      <a:pt x="1645" y="43"/>
                      <a:pt x="1636" y="35"/>
                    </a:cubicBezTo>
                    <a:cubicBezTo>
                      <a:pt x="1627" y="27"/>
                      <a:pt x="1577" y="24"/>
                      <a:pt x="1558" y="27"/>
                    </a:cubicBezTo>
                    <a:cubicBezTo>
                      <a:pt x="1539" y="30"/>
                      <a:pt x="1526" y="29"/>
                      <a:pt x="1526" y="29"/>
                    </a:cubicBezTo>
                    <a:cubicBezTo>
                      <a:pt x="1526" y="29"/>
                      <a:pt x="1551" y="18"/>
                      <a:pt x="1535" y="17"/>
                    </a:cubicBezTo>
                    <a:cubicBezTo>
                      <a:pt x="1519" y="16"/>
                      <a:pt x="1492" y="19"/>
                      <a:pt x="1492" y="19"/>
                    </a:cubicBezTo>
                    <a:cubicBezTo>
                      <a:pt x="1492" y="19"/>
                      <a:pt x="1462" y="18"/>
                      <a:pt x="1455" y="16"/>
                    </a:cubicBezTo>
                    <a:cubicBezTo>
                      <a:pt x="1448" y="14"/>
                      <a:pt x="1483" y="17"/>
                      <a:pt x="1490" y="10"/>
                    </a:cubicBezTo>
                    <a:cubicBezTo>
                      <a:pt x="1497" y="3"/>
                      <a:pt x="1454" y="5"/>
                      <a:pt x="1432" y="5"/>
                    </a:cubicBezTo>
                    <a:cubicBezTo>
                      <a:pt x="1410" y="5"/>
                      <a:pt x="1355" y="8"/>
                      <a:pt x="1355" y="8"/>
                    </a:cubicBezTo>
                    <a:cubicBezTo>
                      <a:pt x="1355" y="8"/>
                      <a:pt x="1315" y="4"/>
                      <a:pt x="1292" y="2"/>
                    </a:cubicBezTo>
                    <a:cubicBezTo>
                      <a:pt x="1269" y="0"/>
                      <a:pt x="1246" y="5"/>
                      <a:pt x="1237" y="6"/>
                    </a:cubicBezTo>
                    <a:cubicBezTo>
                      <a:pt x="1228" y="7"/>
                      <a:pt x="1210" y="7"/>
                      <a:pt x="1188" y="6"/>
                    </a:cubicBezTo>
                    <a:cubicBezTo>
                      <a:pt x="1166" y="5"/>
                      <a:pt x="1144" y="5"/>
                      <a:pt x="1146" y="10"/>
                    </a:cubicBezTo>
                    <a:cubicBezTo>
                      <a:pt x="1148" y="15"/>
                      <a:pt x="1177" y="16"/>
                      <a:pt x="1177" y="16"/>
                    </a:cubicBezTo>
                    <a:cubicBezTo>
                      <a:pt x="1177" y="16"/>
                      <a:pt x="1142" y="21"/>
                      <a:pt x="1129" y="20"/>
                    </a:cubicBezTo>
                    <a:cubicBezTo>
                      <a:pt x="1116" y="19"/>
                      <a:pt x="1061" y="13"/>
                      <a:pt x="1047" y="11"/>
                    </a:cubicBezTo>
                    <a:cubicBezTo>
                      <a:pt x="1033" y="9"/>
                      <a:pt x="995" y="13"/>
                      <a:pt x="990" y="13"/>
                    </a:cubicBezTo>
                    <a:cubicBezTo>
                      <a:pt x="985" y="13"/>
                      <a:pt x="935" y="19"/>
                      <a:pt x="956" y="24"/>
                    </a:cubicBezTo>
                    <a:cubicBezTo>
                      <a:pt x="977" y="29"/>
                      <a:pt x="1046" y="31"/>
                      <a:pt x="1046" y="31"/>
                    </a:cubicBezTo>
                    <a:cubicBezTo>
                      <a:pt x="1103" y="38"/>
                      <a:pt x="1103" y="38"/>
                      <a:pt x="1103" y="38"/>
                    </a:cubicBezTo>
                    <a:cubicBezTo>
                      <a:pt x="1103" y="38"/>
                      <a:pt x="1048" y="40"/>
                      <a:pt x="1040" y="40"/>
                    </a:cubicBezTo>
                    <a:cubicBezTo>
                      <a:pt x="1032" y="40"/>
                      <a:pt x="984" y="27"/>
                      <a:pt x="985" y="31"/>
                    </a:cubicBezTo>
                    <a:cubicBezTo>
                      <a:pt x="986" y="35"/>
                      <a:pt x="1006" y="38"/>
                      <a:pt x="1006" y="38"/>
                    </a:cubicBezTo>
                    <a:cubicBezTo>
                      <a:pt x="975" y="41"/>
                      <a:pt x="975" y="41"/>
                      <a:pt x="975" y="41"/>
                    </a:cubicBezTo>
                    <a:cubicBezTo>
                      <a:pt x="975" y="41"/>
                      <a:pt x="958" y="55"/>
                      <a:pt x="962" y="59"/>
                    </a:cubicBezTo>
                    <a:cubicBezTo>
                      <a:pt x="966" y="63"/>
                      <a:pt x="938" y="64"/>
                      <a:pt x="925" y="56"/>
                    </a:cubicBezTo>
                    <a:cubicBezTo>
                      <a:pt x="912" y="48"/>
                      <a:pt x="885" y="42"/>
                      <a:pt x="859" y="40"/>
                    </a:cubicBezTo>
                    <a:cubicBezTo>
                      <a:pt x="833" y="38"/>
                      <a:pt x="804" y="38"/>
                      <a:pt x="804" y="38"/>
                    </a:cubicBezTo>
                    <a:cubicBezTo>
                      <a:pt x="806" y="58"/>
                      <a:pt x="806" y="58"/>
                      <a:pt x="806" y="58"/>
                    </a:cubicBezTo>
                    <a:cubicBezTo>
                      <a:pt x="806" y="58"/>
                      <a:pt x="786" y="61"/>
                      <a:pt x="773" y="59"/>
                    </a:cubicBezTo>
                    <a:cubicBezTo>
                      <a:pt x="760" y="57"/>
                      <a:pt x="736" y="49"/>
                      <a:pt x="728" y="51"/>
                    </a:cubicBezTo>
                    <a:cubicBezTo>
                      <a:pt x="720" y="53"/>
                      <a:pt x="702" y="62"/>
                      <a:pt x="702" y="62"/>
                    </a:cubicBezTo>
                    <a:cubicBezTo>
                      <a:pt x="702" y="62"/>
                      <a:pt x="713" y="44"/>
                      <a:pt x="700" y="44"/>
                    </a:cubicBezTo>
                    <a:cubicBezTo>
                      <a:pt x="687" y="44"/>
                      <a:pt x="616" y="45"/>
                      <a:pt x="597" y="48"/>
                    </a:cubicBezTo>
                    <a:cubicBezTo>
                      <a:pt x="578" y="51"/>
                      <a:pt x="545" y="44"/>
                      <a:pt x="550" y="49"/>
                    </a:cubicBezTo>
                    <a:cubicBezTo>
                      <a:pt x="555" y="54"/>
                      <a:pt x="590" y="71"/>
                      <a:pt x="590" y="71"/>
                    </a:cubicBezTo>
                    <a:cubicBezTo>
                      <a:pt x="590" y="71"/>
                      <a:pt x="536" y="54"/>
                      <a:pt x="527" y="54"/>
                    </a:cubicBezTo>
                    <a:cubicBezTo>
                      <a:pt x="518" y="54"/>
                      <a:pt x="491" y="49"/>
                      <a:pt x="487" y="59"/>
                    </a:cubicBezTo>
                    <a:cubicBezTo>
                      <a:pt x="483" y="69"/>
                      <a:pt x="465" y="80"/>
                      <a:pt x="452" y="80"/>
                    </a:cubicBezTo>
                    <a:cubicBezTo>
                      <a:pt x="439" y="80"/>
                      <a:pt x="402" y="80"/>
                      <a:pt x="402" y="80"/>
                    </a:cubicBezTo>
                    <a:cubicBezTo>
                      <a:pt x="402" y="80"/>
                      <a:pt x="328" y="94"/>
                      <a:pt x="324" y="95"/>
                    </a:cubicBezTo>
                    <a:cubicBezTo>
                      <a:pt x="320" y="96"/>
                      <a:pt x="248" y="106"/>
                      <a:pt x="259" y="113"/>
                    </a:cubicBezTo>
                    <a:cubicBezTo>
                      <a:pt x="270" y="120"/>
                      <a:pt x="310" y="122"/>
                      <a:pt x="315" y="121"/>
                    </a:cubicBezTo>
                    <a:cubicBezTo>
                      <a:pt x="320" y="120"/>
                      <a:pt x="335" y="118"/>
                      <a:pt x="335" y="118"/>
                    </a:cubicBezTo>
                    <a:cubicBezTo>
                      <a:pt x="311" y="128"/>
                      <a:pt x="311" y="128"/>
                      <a:pt x="311" y="128"/>
                    </a:cubicBezTo>
                    <a:cubicBezTo>
                      <a:pt x="300" y="139"/>
                      <a:pt x="300" y="139"/>
                      <a:pt x="300" y="139"/>
                    </a:cubicBezTo>
                    <a:cubicBezTo>
                      <a:pt x="300" y="139"/>
                      <a:pt x="253" y="157"/>
                      <a:pt x="236" y="157"/>
                    </a:cubicBezTo>
                    <a:cubicBezTo>
                      <a:pt x="219" y="157"/>
                      <a:pt x="151" y="157"/>
                      <a:pt x="137" y="169"/>
                    </a:cubicBezTo>
                    <a:cubicBezTo>
                      <a:pt x="123" y="181"/>
                      <a:pt x="112" y="167"/>
                      <a:pt x="112" y="167"/>
                    </a:cubicBezTo>
                    <a:cubicBezTo>
                      <a:pt x="90" y="176"/>
                      <a:pt x="90" y="176"/>
                      <a:pt x="90" y="176"/>
                    </a:cubicBezTo>
                    <a:cubicBezTo>
                      <a:pt x="57" y="175"/>
                      <a:pt x="57" y="175"/>
                      <a:pt x="57" y="175"/>
                    </a:cubicBezTo>
                    <a:cubicBezTo>
                      <a:pt x="57" y="175"/>
                      <a:pt x="0" y="181"/>
                      <a:pt x="14" y="191"/>
                    </a:cubicBezTo>
                    <a:cubicBezTo>
                      <a:pt x="28" y="201"/>
                      <a:pt x="51" y="212"/>
                      <a:pt x="51" y="212"/>
                    </a:cubicBezTo>
                    <a:cubicBezTo>
                      <a:pt x="71" y="204"/>
                      <a:pt x="71" y="204"/>
                      <a:pt x="71" y="204"/>
                    </a:cubicBezTo>
                    <a:cubicBezTo>
                      <a:pt x="71" y="204"/>
                      <a:pt x="73" y="216"/>
                      <a:pt x="83" y="219"/>
                    </a:cubicBezTo>
                    <a:cubicBezTo>
                      <a:pt x="93" y="222"/>
                      <a:pt x="116" y="209"/>
                      <a:pt x="116" y="209"/>
                    </a:cubicBezTo>
                    <a:cubicBezTo>
                      <a:pt x="116" y="209"/>
                      <a:pt x="112" y="220"/>
                      <a:pt x="122" y="220"/>
                    </a:cubicBezTo>
                    <a:cubicBezTo>
                      <a:pt x="132" y="220"/>
                      <a:pt x="169" y="204"/>
                      <a:pt x="176" y="209"/>
                    </a:cubicBezTo>
                    <a:cubicBezTo>
                      <a:pt x="183" y="214"/>
                      <a:pt x="181" y="220"/>
                      <a:pt x="181" y="220"/>
                    </a:cubicBezTo>
                    <a:cubicBezTo>
                      <a:pt x="170" y="221"/>
                      <a:pt x="170" y="221"/>
                      <a:pt x="170" y="221"/>
                    </a:cubicBezTo>
                    <a:cubicBezTo>
                      <a:pt x="170" y="221"/>
                      <a:pt x="162" y="232"/>
                      <a:pt x="155" y="232"/>
                    </a:cubicBezTo>
                    <a:cubicBezTo>
                      <a:pt x="148" y="232"/>
                      <a:pt x="152" y="226"/>
                      <a:pt x="141" y="226"/>
                    </a:cubicBezTo>
                    <a:cubicBezTo>
                      <a:pt x="130" y="226"/>
                      <a:pt x="96" y="231"/>
                      <a:pt x="96" y="231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31" y="208"/>
                      <a:pt x="20" y="227"/>
                    </a:cubicBezTo>
                    <a:cubicBezTo>
                      <a:pt x="9" y="246"/>
                      <a:pt x="36" y="252"/>
                      <a:pt x="44" y="251"/>
                    </a:cubicBezTo>
                    <a:cubicBezTo>
                      <a:pt x="52" y="250"/>
                      <a:pt x="79" y="251"/>
                      <a:pt x="79" y="251"/>
                    </a:cubicBezTo>
                    <a:cubicBezTo>
                      <a:pt x="79" y="251"/>
                      <a:pt x="36" y="254"/>
                      <a:pt x="41" y="261"/>
                    </a:cubicBezTo>
                    <a:cubicBezTo>
                      <a:pt x="46" y="268"/>
                      <a:pt x="74" y="274"/>
                      <a:pt x="74" y="274"/>
                    </a:cubicBezTo>
                    <a:cubicBezTo>
                      <a:pt x="98" y="277"/>
                      <a:pt x="98" y="277"/>
                      <a:pt x="98" y="277"/>
                    </a:cubicBezTo>
                    <a:cubicBezTo>
                      <a:pt x="98" y="277"/>
                      <a:pt x="99" y="267"/>
                      <a:pt x="106" y="266"/>
                    </a:cubicBezTo>
                    <a:cubicBezTo>
                      <a:pt x="113" y="265"/>
                      <a:pt x="121" y="276"/>
                      <a:pt x="121" y="276"/>
                    </a:cubicBezTo>
                    <a:cubicBezTo>
                      <a:pt x="144" y="267"/>
                      <a:pt x="144" y="267"/>
                      <a:pt x="144" y="267"/>
                    </a:cubicBezTo>
                    <a:cubicBezTo>
                      <a:pt x="144" y="267"/>
                      <a:pt x="148" y="277"/>
                      <a:pt x="151" y="277"/>
                    </a:cubicBezTo>
                    <a:cubicBezTo>
                      <a:pt x="154" y="277"/>
                      <a:pt x="184" y="263"/>
                      <a:pt x="193" y="265"/>
                    </a:cubicBezTo>
                    <a:cubicBezTo>
                      <a:pt x="202" y="267"/>
                      <a:pt x="209" y="271"/>
                      <a:pt x="214" y="271"/>
                    </a:cubicBezTo>
                    <a:cubicBezTo>
                      <a:pt x="219" y="271"/>
                      <a:pt x="230" y="262"/>
                      <a:pt x="236" y="262"/>
                    </a:cubicBezTo>
                    <a:cubicBezTo>
                      <a:pt x="242" y="262"/>
                      <a:pt x="259" y="273"/>
                      <a:pt x="259" y="273"/>
                    </a:cubicBezTo>
                    <a:cubicBezTo>
                      <a:pt x="259" y="273"/>
                      <a:pt x="291" y="268"/>
                      <a:pt x="313" y="274"/>
                    </a:cubicBezTo>
                    <a:cubicBezTo>
                      <a:pt x="335" y="280"/>
                      <a:pt x="339" y="291"/>
                      <a:pt x="339" y="291"/>
                    </a:cubicBezTo>
                    <a:cubicBezTo>
                      <a:pt x="339" y="291"/>
                      <a:pt x="361" y="286"/>
                      <a:pt x="361" y="291"/>
                    </a:cubicBezTo>
                    <a:cubicBezTo>
                      <a:pt x="361" y="296"/>
                      <a:pt x="351" y="306"/>
                      <a:pt x="351" y="306"/>
                    </a:cubicBezTo>
                    <a:cubicBezTo>
                      <a:pt x="357" y="315"/>
                      <a:pt x="357" y="315"/>
                      <a:pt x="357" y="315"/>
                    </a:cubicBezTo>
                    <a:cubicBezTo>
                      <a:pt x="357" y="315"/>
                      <a:pt x="390" y="321"/>
                      <a:pt x="390" y="330"/>
                    </a:cubicBezTo>
                    <a:cubicBezTo>
                      <a:pt x="390" y="339"/>
                      <a:pt x="374" y="343"/>
                      <a:pt x="374" y="343"/>
                    </a:cubicBezTo>
                    <a:cubicBezTo>
                      <a:pt x="383" y="359"/>
                      <a:pt x="383" y="359"/>
                      <a:pt x="383" y="359"/>
                    </a:cubicBezTo>
                    <a:cubicBezTo>
                      <a:pt x="399" y="369"/>
                      <a:pt x="399" y="369"/>
                      <a:pt x="399" y="369"/>
                    </a:cubicBezTo>
                    <a:cubicBezTo>
                      <a:pt x="385" y="374"/>
                      <a:pt x="385" y="374"/>
                      <a:pt x="385" y="374"/>
                    </a:cubicBezTo>
                    <a:cubicBezTo>
                      <a:pt x="395" y="387"/>
                      <a:pt x="395" y="387"/>
                      <a:pt x="395" y="387"/>
                    </a:cubicBezTo>
                    <a:cubicBezTo>
                      <a:pt x="395" y="387"/>
                      <a:pt x="383" y="386"/>
                      <a:pt x="383" y="395"/>
                    </a:cubicBezTo>
                    <a:cubicBezTo>
                      <a:pt x="383" y="404"/>
                      <a:pt x="405" y="407"/>
                      <a:pt x="402" y="412"/>
                    </a:cubicBezTo>
                    <a:cubicBezTo>
                      <a:pt x="399" y="417"/>
                      <a:pt x="380" y="426"/>
                      <a:pt x="380" y="426"/>
                    </a:cubicBezTo>
                    <a:cubicBezTo>
                      <a:pt x="388" y="433"/>
                      <a:pt x="388" y="433"/>
                      <a:pt x="388" y="433"/>
                    </a:cubicBezTo>
                    <a:cubicBezTo>
                      <a:pt x="388" y="433"/>
                      <a:pt x="347" y="438"/>
                      <a:pt x="348" y="441"/>
                    </a:cubicBezTo>
                    <a:cubicBezTo>
                      <a:pt x="349" y="444"/>
                      <a:pt x="357" y="446"/>
                      <a:pt x="370" y="445"/>
                    </a:cubicBezTo>
                    <a:cubicBezTo>
                      <a:pt x="383" y="444"/>
                      <a:pt x="367" y="455"/>
                      <a:pt x="367" y="455"/>
                    </a:cubicBezTo>
                    <a:cubicBezTo>
                      <a:pt x="367" y="455"/>
                      <a:pt x="316" y="456"/>
                      <a:pt x="328" y="465"/>
                    </a:cubicBezTo>
                    <a:cubicBezTo>
                      <a:pt x="340" y="474"/>
                      <a:pt x="353" y="479"/>
                      <a:pt x="369" y="478"/>
                    </a:cubicBezTo>
                    <a:cubicBezTo>
                      <a:pt x="385" y="477"/>
                      <a:pt x="389" y="467"/>
                      <a:pt x="389" y="467"/>
                    </a:cubicBezTo>
                    <a:cubicBezTo>
                      <a:pt x="389" y="467"/>
                      <a:pt x="416" y="469"/>
                      <a:pt x="414" y="460"/>
                    </a:cubicBezTo>
                    <a:cubicBezTo>
                      <a:pt x="412" y="451"/>
                      <a:pt x="419" y="439"/>
                      <a:pt x="419" y="439"/>
                    </a:cubicBezTo>
                    <a:cubicBezTo>
                      <a:pt x="421" y="458"/>
                      <a:pt x="421" y="458"/>
                      <a:pt x="421" y="458"/>
                    </a:cubicBezTo>
                    <a:cubicBezTo>
                      <a:pt x="438" y="447"/>
                      <a:pt x="438" y="447"/>
                      <a:pt x="438" y="447"/>
                    </a:cubicBezTo>
                    <a:cubicBezTo>
                      <a:pt x="438" y="447"/>
                      <a:pt x="430" y="453"/>
                      <a:pt x="434" y="458"/>
                    </a:cubicBezTo>
                    <a:cubicBezTo>
                      <a:pt x="438" y="463"/>
                      <a:pt x="463" y="465"/>
                      <a:pt x="463" y="465"/>
                    </a:cubicBezTo>
                    <a:cubicBezTo>
                      <a:pt x="454" y="471"/>
                      <a:pt x="454" y="471"/>
                      <a:pt x="454" y="471"/>
                    </a:cubicBezTo>
                    <a:cubicBezTo>
                      <a:pt x="454" y="471"/>
                      <a:pt x="448" y="484"/>
                      <a:pt x="457" y="487"/>
                    </a:cubicBezTo>
                    <a:cubicBezTo>
                      <a:pt x="466" y="490"/>
                      <a:pt x="479" y="504"/>
                      <a:pt x="473" y="510"/>
                    </a:cubicBezTo>
                    <a:cubicBezTo>
                      <a:pt x="467" y="516"/>
                      <a:pt x="456" y="513"/>
                      <a:pt x="456" y="513"/>
                    </a:cubicBezTo>
                    <a:cubicBezTo>
                      <a:pt x="456" y="519"/>
                      <a:pt x="456" y="519"/>
                      <a:pt x="456" y="519"/>
                    </a:cubicBezTo>
                    <a:cubicBezTo>
                      <a:pt x="456" y="519"/>
                      <a:pt x="441" y="518"/>
                      <a:pt x="432" y="517"/>
                    </a:cubicBezTo>
                    <a:cubicBezTo>
                      <a:pt x="423" y="516"/>
                      <a:pt x="415" y="506"/>
                      <a:pt x="415" y="506"/>
                    </a:cubicBezTo>
                    <a:cubicBezTo>
                      <a:pt x="375" y="505"/>
                      <a:pt x="375" y="505"/>
                      <a:pt x="375" y="505"/>
                    </a:cubicBezTo>
                    <a:cubicBezTo>
                      <a:pt x="375" y="505"/>
                      <a:pt x="351" y="483"/>
                      <a:pt x="345" y="505"/>
                    </a:cubicBezTo>
                    <a:cubicBezTo>
                      <a:pt x="343" y="514"/>
                      <a:pt x="355" y="520"/>
                      <a:pt x="362" y="521"/>
                    </a:cubicBezTo>
                    <a:cubicBezTo>
                      <a:pt x="369" y="522"/>
                      <a:pt x="374" y="518"/>
                      <a:pt x="383" y="522"/>
                    </a:cubicBezTo>
                    <a:cubicBezTo>
                      <a:pt x="392" y="526"/>
                      <a:pt x="400" y="540"/>
                      <a:pt x="415" y="540"/>
                    </a:cubicBezTo>
                    <a:cubicBezTo>
                      <a:pt x="430" y="540"/>
                      <a:pt x="441" y="534"/>
                      <a:pt x="441" y="534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70" y="533"/>
                      <a:pt x="470" y="533"/>
                      <a:pt x="470" y="533"/>
                    </a:cubicBezTo>
                    <a:cubicBezTo>
                      <a:pt x="467" y="547"/>
                      <a:pt x="467" y="547"/>
                      <a:pt x="467" y="547"/>
                    </a:cubicBezTo>
                    <a:cubicBezTo>
                      <a:pt x="467" y="547"/>
                      <a:pt x="452" y="540"/>
                      <a:pt x="450" y="547"/>
                    </a:cubicBezTo>
                    <a:cubicBezTo>
                      <a:pt x="448" y="554"/>
                      <a:pt x="459" y="561"/>
                      <a:pt x="459" y="561"/>
                    </a:cubicBezTo>
                    <a:cubicBezTo>
                      <a:pt x="459" y="561"/>
                      <a:pt x="432" y="561"/>
                      <a:pt x="433" y="566"/>
                    </a:cubicBezTo>
                    <a:cubicBezTo>
                      <a:pt x="434" y="571"/>
                      <a:pt x="454" y="572"/>
                      <a:pt x="454" y="572"/>
                    </a:cubicBezTo>
                    <a:cubicBezTo>
                      <a:pt x="454" y="572"/>
                      <a:pt x="451" y="581"/>
                      <a:pt x="446" y="583"/>
                    </a:cubicBezTo>
                    <a:cubicBezTo>
                      <a:pt x="441" y="585"/>
                      <a:pt x="425" y="572"/>
                      <a:pt x="421" y="578"/>
                    </a:cubicBezTo>
                    <a:cubicBezTo>
                      <a:pt x="417" y="584"/>
                      <a:pt x="427" y="592"/>
                      <a:pt x="427" y="592"/>
                    </a:cubicBezTo>
                    <a:cubicBezTo>
                      <a:pt x="411" y="591"/>
                      <a:pt x="411" y="591"/>
                      <a:pt x="411" y="591"/>
                    </a:cubicBezTo>
                    <a:cubicBezTo>
                      <a:pt x="416" y="605"/>
                      <a:pt x="416" y="605"/>
                      <a:pt x="416" y="605"/>
                    </a:cubicBezTo>
                    <a:cubicBezTo>
                      <a:pt x="416" y="605"/>
                      <a:pt x="395" y="606"/>
                      <a:pt x="398" y="616"/>
                    </a:cubicBezTo>
                    <a:cubicBezTo>
                      <a:pt x="401" y="626"/>
                      <a:pt x="420" y="628"/>
                      <a:pt x="420" y="628"/>
                    </a:cubicBezTo>
                    <a:cubicBezTo>
                      <a:pt x="420" y="628"/>
                      <a:pt x="422" y="639"/>
                      <a:pt x="415" y="639"/>
                    </a:cubicBezTo>
                    <a:cubicBezTo>
                      <a:pt x="408" y="639"/>
                      <a:pt x="413" y="647"/>
                      <a:pt x="413" y="647"/>
                    </a:cubicBezTo>
                    <a:cubicBezTo>
                      <a:pt x="413" y="647"/>
                      <a:pt x="411" y="649"/>
                      <a:pt x="408" y="639"/>
                    </a:cubicBezTo>
                    <a:cubicBezTo>
                      <a:pt x="405" y="629"/>
                      <a:pt x="394" y="624"/>
                      <a:pt x="394" y="624"/>
                    </a:cubicBezTo>
                    <a:cubicBezTo>
                      <a:pt x="394" y="624"/>
                      <a:pt x="377" y="593"/>
                      <a:pt x="367" y="595"/>
                    </a:cubicBezTo>
                    <a:cubicBezTo>
                      <a:pt x="357" y="597"/>
                      <a:pt x="331" y="609"/>
                      <a:pt x="345" y="617"/>
                    </a:cubicBezTo>
                    <a:cubicBezTo>
                      <a:pt x="359" y="625"/>
                      <a:pt x="381" y="628"/>
                      <a:pt x="381" y="628"/>
                    </a:cubicBezTo>
                    <a:cubicBezTo>
                      <a:pt x="381" y="628"/>
                      <a:pt x="364" y="630"/>
                      <a:pt x="353" y="630"/>
                    </a:cubicBezTo>
                    <a:cubicBezTo>
                      <a:pt x="342" y="630"/>
                      <a:pt x="328" y="625"/>
                      <a:pt x="320" y="630"/>
                    </a:cubicBezTo>
                    <a:cubicBezTo>
                      <a:pt x="312" y="635"/>
                      <a:pt x="289" y="640"/>
                      <a:pt x="296" y="643"/>
                    </a:cubicBezTo>
                    <a:cubicBezTo>
                      <a:pt x="303" y="646"/>
                      <a:pt x="344" y="639"/>
                      <a:pt x="354" y="640"/>
                    </a:cubicBezTo>
                    <a:cubicBezTo>
                      <a:pt x="364" y="641"/>
                      <a:pt x="388" y="643"/>
                      <a:pt x="388" y="643"/>
                    </a:cubicBezTo>
                    <a:cubicBezTo>
                      <a:pt x="388" y="643"/>
                      <a:pt x="368" y="644"/>
                      <a:pt x="362" y="644"/>
                    </a:cubicBezTo>
                    <a:cubicBezTo>
                      <a:pt x="356" y="644"/>
                      <a:pt x="290" y="649"/>
                      <a:pt x="284" y="654"/>
                    </a:cubicBezTo>
                    <a:cubicBezTo>
                      <a:pt x="278" y="659"/>
                      <a:pt x="278" y="663"/>
                      <a:pt x="294" y="662"/>
                    </a:cubicBezTo>
                    <a:cubicBezTo>
                      <a:pt x="310" y="661"/>
                      <a:pt x="348" y="657"/>
                      <a:pt x="348" y="657"/>
                    </a:cubicBezTo>
                    <a:cubicBezTo>
                      <a:pt x="348" y="657"/>
                      <a:pt x="375" y="656"/>
                      <a:pt x="376" y="659"/>
                    </a:cubicBezTo>
                    <a:cubicBezTo>
                      <a:pt x="377" y="662"/>
                      <a:pt x="330" y="664"/>
                      <a:pt x="330" y="664"/>
                    </a:cubicBezTo>
                    <a:cubicBezTo>
                      <a:pt x="330" y="664"/>
                      <a:pt x="275" y="666"/>
                      <a:pt x="276" y="668"/>
                    </a:cubicBezTo>
                    <a:cubicBezTo>
                      <a:pt x="277" y="670"/>
                      <a:pt x="286" y="675"/>
                      <a:pt x="295" y="675"/>
                    </a:cubicBezTo>
                    <a:cubicBezTo>
                      <a:pt x="304" y="675"/>
                      <a:pt x="318" y="682"/>
                      <a:pt x="318" y="682"/>
                    </a:cubicBezTo>
                    <a:cubicBezTo>
                      <a:pt x="318" y="682"/>
                      <a:pt x="294" y="676"/>
                      <a:pt x="289" y="682"/>
                    </a:cubicBezTo>
                    <a:cubicBezTo>
                      <a:pt x="284" y="688"/>
                      <a:pt x="289" y="690"/>
                      <a:pt x="289" y="690"/>
                    </a:cubicBezTo>
                    <a:cubicBezTo>
                      <a:pt x="289" y="690"/>
                      <a:pt x="258" y="699"/>
                      <a:pt x="262" y="705"/>
                    </a:cubicBezTo>
                    <a:cubicBezTo>
                      <a:pt x="287" y="706"/>
                      <a:pt x="287" y="706"/>
                      <a:pt x="287" y="706"/>
                    </a:cubicBezTo>
                    <a:cubicBezTo>
                      <a:pt x="264" y="716"/>
                      <a:pt x="264" y="716"/>
                      <a:pt x="264" y="716"/>
                    </a:cubicBezTo>
                    <a:cubicBezTo>
                      <a:pt x="264" y="716"/>
                      <a:pt x="263" y="729"/>
                      <a:pt x="273" y="727"/>
                    </a:cubicBezTo>
                    <a:cubicBezTo>
                      <a:pt x="283" y="725"/>
                      <a:pt x="306" y="725"/>
                      <a:pt x="306" y="725"/>
                    </a:cubicBezTo>
                    <a:cubicBezTo>
                      <a:pt x="306" y="725"/>
                      <a:pt x="267" y="736"/>
                      <a:pt x="274" y="744"/>
                    </a:cubicBezTo>
                    <a:cubicBezTo>
                      <a:pt x="281" y="752"/>
                      <a:pt x="304" y="740"/>
                      <a:pt x="304" y="740"/>
                    </a:cubicBezTo>
                    <a:cubicBezTo>
                      <a:pt x="304" y="740"/>
                      <a:pt x="287" y="755"/>
                      <a:pt x="285" y="762"/>
                    </a:cubicBezTo>
                    <a:cubicBezTo>
                      <a:pt x="283" y="769"/>
                      <a:pt x="280" y="775"/>
                      <a:pt x="286" y="775"/>
                    </a:cubicBezTo>
                    <a:cubicBezTo>
                      <a:pt x="292" y="775"/>
                      <a:pt x="303" y="767"/>
                      <a:pt x="303" y="767"/>
                    </a:cubicBezTo>
                    <a:cubicBezTo>
                      <a:pt x="303" y="767"/>
                      <a:pt x="298" y="783"/>
                      <a:pt x="291" y="783"/>
                    </a:cubicBezTo>
                    <a:cubicBezTo>
                      <a:pt x="284" y="783"/>
                      <a:pt x="269" y="792"/>
                      <a:pt x="270" y="802"/>
                    </a:cubicBezTo>
                    <a:cubicBezTo>
                      <a:pt x="271" y="812"/>
                      <a:pt x="294" y="793"/>
                      <a:pt x="294" y="793"/>
                    </a:cubicBezTo>
                    <a:cubicBezTo>
                      <a:pt x="294" y="793"/>
                      <a:pt x="309" y="776"/>
                      <a:pt x="313" y="780"/>
                    </a:cubicBezTo>
                    <a:cubicBezTo>
                      <a:pt x="317" y="784"/>
                      <a:pt x="341" y="774"/>
                      <a:pt x="341" y="774"/>
                    </a:cubicBezTo>
                    <a:cubicBezTo>
                      <a:pt x="338" y="784"/>
                      <a:pt x="338" y="784"/>
                      <a:pt x="338" y="784"/>
                    </a:cubicBezTo>
                    <a:cubicBezTo>
                      <a:pt x="352" y="774"/>
                      <a:pt x="352" y="774"/>
                      <a:pt x="352" y="774"/>
                    </a:cubicBezTo>
                    <a:cubicBezTo>
                      <a:pt x="338" y="791"/>
                      <a:pt x="338" y="791"/>
                      <a:pt x="338" y="791"/>
                    </a:cubicBezTo>
                    <a:cubicBezTo>
                      <a:pt x="360" y="794"/>
                      <a:pt x="360" y="794"/>
                      <a:pt x="360" y="794"/>
                    </a:cubicBezTo>
                    <a:cubicBezTo>
                      <a:pt x="360" y="794"/>
                      <a:pt x="330" y="794"/>
                      <a:pt x="328" y="798"/>
                    </a:cubicBezTo>
                    <a:cubicBezTo>
                      <a:pt x="326" y="802"/>
                      <a:pt x="335" y="804"/>
                      <a:pt x="335" y="804"/>
                    </a:cubicBezTo>
                    <a:cubicBezTo>
                      <a:pt x="335" y="804"/>
                      <a:pt x="312" y="809"/>
                      <a:pt x="306" y="810"/>
                    </a:cubicBezTo>
                    <a:cubicBezTo>
                      <a:pt x="300" y="811"/>
                      <a:pt x="307" y="816"/>
                      <a:pt x="307" y="816"/>
                    </a:cubicBezTo>
                    <a:cubicBezTo>
                      <a:pt x="307" y="816"/>
                      <a:pt x="283" y="821"/>
                      <a:pt x="281" y="826"/>
                    </a:cubicBezTo>
                    <a:cubicBezTo>
                      <a:pt x="279" y="831"/>
                      <a:pt x="305" y="829"/>
                      <a:pt x="305" y="829"/>
                    </a:cubicBezTo>
                    <a:cubicBezTo>
                      <a:pt x="305" y="829"/>
                      <a:pt x="284" y="833"/>
                      <a:pt x="284" y="836"/>
                    </a:cubicBezTo>
                    <a:cubicBezTo>
                      <a:pt x="284" y="839"/>
                      <a:pt x="304" y="844"/>
                      <a:pt x="304" y="844"/>
                    </a:cubicBezTo>
                    <a:cubicBezTo>
                      <a:pt x="304" y="844"/>
                      <a:pt x="287" y="844"/>
                      <a:pt x="286" y="851"/>
                    </a:cubicBezTo>
                    <a:cubicBezTo>
                      <a:pt x="285" y="858"/>
                      <a:pt x="310" y="855"/>
                      <a:pt x="310" y="855"/>
                    </a:cubicBezTo>
                    <a:cubicBezTo>
                      <a:pt x="298" y="870"/>
                      <a:pt x="298" y="870"/>
                      <a:pt x="298" y="870"/>
                    </a:cubicBezTo>
                    <a:cubicBezTo>
                      <a:pt x="317" y="867"/>
                      <a:pt x="317" y="867"/>
                      <a:pt x="317" y="867"/>
                    </a:cubicBezTo>
                    <a:cubicBezTo>
                      <a:pt x="317" y="867"/>
                      <a:pt x="295" y="880"/>
                      <a:pt x="298" y="891"/>
                    </a:cubicBezTo>
                    <a:cubicBezTo>
                      <a:pt x="301" y="902"/>
                      <a:pt x="324" y="900"/>
                      <a:pt x="324" y="900"/>
                    </a:cubicBezTo>
                    <a:cubicBezTo>
                      <a:pt x="313" y="915"/>
                      <a:pt x="313" y="915"/>
                      <a:pt x="313" y="915"/>
                    </a:cubicBezTo>
                    <a:cubicBezTo>
                      <a:pt x="334" y="908"/>
                      <a:pt x="334" y="908"/>
                      <a:pt x="334" y="908"/>
                    </a:cubicBezTo>
                    <a:cubicBezTo>
                      <a:pt x="334" y="908"/>
                      <a:pt x="319" y="920"/>
                      <a:pt x="322" y="925"/>
                    </a:cubicBezTo>
                    <a:cubicBezTo>
                      <a:pt x="325" y="930"/>
                      <a:pt x="344" y="931"/>
                      <a:pt x="344" y="931"/>
                    </a:cubicBezTo>
                    <a:cubicBezTo>
                      <a:pt x="344" y="931"/>
                      <a:pt x="334" y="934"/>
                      <a:pt x="337" y="940"/>
                    </a:cubicBezTo>
                    <a:cubicBezTo>
                      <a:pt x="340" y="946"/>
                      <a:pt x="351" y="943"/>
                      <a:pt x="351" y="943"/>
                    </a:cubicBezTo>
                    <a:cubicBezTo>
                      <a:pt x="351" y="943"/>
                      <a:pt x="336" y="955"/>
                      <a:pt x="339" y="959"/>
                    </a:cubicBezTo>
                    <a:cubicBezTo>
                      <a:pt x="342" y="963"/>
                      <a:pt x="358" y="961"/>
                      <a:pt x="358" y="961"/>
                    </a:cubicBezTo>
                    <a:cubicBezTo>
                      <a:pt x="356" y="969"/>
                      <a:pt x="356" y="969"/>
                      <a:pt x="356" y="969"/>
                    </a:cubicBezTo>
                    <a:cubicBezTo>
                      <a:pt x="382" y="963"/>
                      <a:pt x="382" y="963"/>
                      <a:pt x="382" y="963"/>
                    </a:cubicBezTo>
                    <a:cubicBezTo>
                      <a:pt x="382" y="963"/>
                      <a:pt x="390" y="976"/>
                      <a:pt x="398" y="969"/>
                    </a:cubicBezTo>
                    <a:cubicBezTo>
                      <a:pt x="406" y="962"/>
                      <a:pt x="431" y="946"/>
                      <a:pt x="435" y="948"/>
                    </a:cubicBezTo>
                    <a:cubicBezTo>
                      <a:pt x="439" y="950"/>
                      <a:pt x="428" y="958"/>
                      <a:pt x="428" y="958"/>
                    </a:cubicBezTo>
                    <a:cubicBezTo>
                      <a:pt x="443" y="962"/>
                      <a:pt x="443" y="962"/>
                      <a:pt x="443" y="962"/>
                    </a:cubicBezTo>
                    <a:cubicBezTo>
                      <a:pt x="457" y="955"/>
                      <a:pt x="457" y="955"/>
                      <a:pt x="457" y="955"/>
                    </a:cubicBezTo>
                    <a:cubicBezTo>
                      <a:pt x="457" y="955"/>
                      <a:pt x="436" y="968"/>
                      <a:pt x="431" y="973"/>
                    </a:cubicBezTo>
                    <a:cubicBezTo>
                      <a:pt x="426" y="978"/>
                      <a:pt x="422" y="983"/>
                      <a:pt x="430" y="983"/>
                    </a:cubicBezTo>
                    <a:cubicBezTo>
                      <a:pt x="438" y="983"/>
                      <a:pt x="465" y="978"/>
                      <a:pt x="465" y="978"/>
                    </a:cubicBezTo>
                    <a:cubicBezTo>
                      <a:pt x="465" y="978"/>
                      <a:pt x="434" y="994"/>
                      <a:pt x="443" y="1000"/>
                    </a:cubicBezTo>
                    <a:cubicBezTo>
                      <a:pt x="452" y="1006"/>
                      <a:pt x="471" y="1000"/>
                      <a:pt x="471" y="1000"/>
                    </a:cubicBezTo>
                    <a:cubicBezTo>
                      <a:pt x="471" y="1000"/>
                      <a:pt x="481" y="1019"/>
                      <a:pt x="493" y="1012"/>
                    </a:cubicBezTo>
                    <a:cubicBezTo>
                      <a:pt x="505" y="1005"/>
                      <a:pt x="511" y="998"/>
                      <a:pt x="511" y="998"/>
                    </a:cubicBezTo>
                    <a:cubicBezTo>
                      <a:pt x="511" y="998"/>
                      <a:pt x="506" y="995"/>
                      <a:pt x="502" y="989"/>
                    </a:cubicBezTo>
                    <a:cubicBezTo>
                      <a:pt x="498" y="983"/>
                      <a:pt x="515" y="990"/>
                      <a:pt x="520" y="985"/>
                    </a:cubicBezTo>
                    <a:cubicBezTo>
                      <a:pt x="525" y="980"/>
                      <a:pt x="524" y="964"/>
                      <a:pt x="524" y="964"/>
                    </a:cubicBezTo>
                    <a:cubicBezTo>
                      <a:pt x="524" y="964"/>
                      <a:pt x="546" y="974"/>
                      <a:pt x="545" y="964"/>
                    </a:cubicBezTo>
                    <a:cubicBezTo>
                      <a:pt x="544" y="954"/>
                      <a:pt x="540" y="948"/>
                      <a:pt x="540" y="948"/>
                    </a:cubicBezTo>
                    <a:cubicBezTo>
                      <a:pt x="540" y="948"/>
                      <a:pt x="546" y="957"/>
                      <a:pt x="552" y="958"/>
                    </a:cubicBezTo>
                    <a:cubicBezTo>
                      <a:pt x="557" y="958"/>
                      <a:pt x="562" y="949"/>
                      <a:pt x="559" y="944"/>
                    </a:cubicBezTo>
                    <a:cubicBezTo>
                      <a:pt x="553" y="934"/>
                      <a:pt x="547" y="931"/>
                      <a:pt x="547" y="931"/>
                    </a:cubicBezTo>
                    <a:cubicBezTo>
                      <a:pt x="547" y="931"/>
                      <a:pt x="569" y="937"/>
                      <a:pt x="569" y="933"/>
                    </a:cubicBezTo>
                    <a:cubicBezTo>
                      <a:pt x="569" y="929"/>
                      <a:pt x="564" y="923"/>
                      <a:pt x="564" y="923"/>
                    </a:cubicBezTo>
                    <a:cubicBezTo>
                      <a:pt x="582" y="922"/>
                      <a:pt x="582" y="922"/>
                      <a:pt x="582" y="922"/>
                    </a:cubicBezTo>
                    <a:cubicBezTo>
                      <a:pt x="574" y="908"/>
                      <a:pt x="574" y="908"/>
                      <a:pt x="574" y="908"/>
                    </a:cubicBezTo>
                    <a:cubicBezTo>
                      <a:pt x="585" y="903"/>
                      <a:pt x="585" y="903"/>
                      <a:pt x="585" y="903"/>
                    </a:cubicBezTo>
                    <a:cubicBezTo>
                      <a:pt x="585" y="903"/>
                      <a:pt x="572" y="894"/>
                      <a:pt x="569" y="893"/>
                    </a:cubicBezTo>
                    <a:cubicBezTo>
                      <a:pt x="566" y="892"/>
                      <a:pt x="580" y="887"/>
                      <a:pt x="580" y="887"/>
                    </a:cubicBezTo>
                    <a:cubicBezTo>
                      <a:pt x="566" y="873"/>
                      <a:pt x="566" y="873"/>
                      <a:pt x="566" y="873"/>
                    </a:cubicBezTo>
                    <a:cubicBezTo>
                      <a:pt x="566" y="873"/>
                      <a:pt x="580" y="885"/>
                      <a:pt x="584" y="882"/>
                    </a:cubicBezTo>
                    <a:cubicBezTo>
                      <a:pt x="588" y="879"/>
                      <a:pt x="596" y="873"/>
                      <a:pt x="596" y="873"/>
                    </a:cubicBezTo>
                    <a:cubicBezTo>
                      <a:pt x="596" y="873"/>
                      <a:pt x="612" y="875"/>
                      <a:pt x="615" y="872"/>
                    </a:cubicBezTo>
                    <a:cubicBezTo>
                      <a:pt x="618" y="869"/>
                      <a:pt x="611" y="859"/>
                      <a:pt x="611" y="859"/>
                    </a:cubicBezTo>
                    <a:cubicBezTo>
                      <a:pt x="625" y="858"/>
                      <a:pt x="625" y="858"/>
                      <a:pt x="625" y="858"/>
                    </a:cubicBezTo>
                    <a:cubicBezTo>
                      <a:pt x="630" y="841"/>
                      <a:pt x="630" y="841"/>
                      <a:pt x="630" y="841"/>
                    </a:cubicBezTo>
                    <a:cubicBezTo>
                      <a:pt x="630" y="841"/>
                      <a:pt x="650" y="848"/>
                      <a:pt x="656" y="843"/>
                    </a:cubicBezTo>
                    <a:cubicBezTo>
                      <a:pt x="662" y="838"/>
                      <a:pt x="657" y="829"/>
                      <a:pt x="657" y="829"/>
                    </a:cubicBezTo>
                    <a:cubicBezTo>
                      <a:pt x="657" y="829"/>
                      <a:pt x="664" y="839"/>
                      <a:pt x="671" y="839"/>
                    </a:cubicBezTo>
                    <a:cubicBezTo>
                      <a:pt x="675" y="839"/>
                      <a:pt x="678" y="830"/>
                      <a:pt x="680" y="828"/>
                    </a:cubicBezTo>
                    <a:cubicBezTo>
                      <a:pt x="685" y="821"/>
                      <a:pt x="680" y="811"/>
                      <a:pt x="680" y="811"/>
                    </a:cubicBezTo>
                    <a:cubicBezTo>
                      <a:pt x="655" y="807"/>
                      <a:pt x="655" y="807"/>
                      <a:pt x="655" y="807"/>
                    </a:cubicBezTo>
                    <a:cubicBezTo>
                      <a:pt x="673" y="802"/>
                      <a:pt x="673" y="802"/>
                      <a:pt x="673" y="802"/>
                    </a:cubicBezTo>
                    <a:cubicBezTo>
                      <a:pt x="693" y="794"/>
                      <a:pt x="693" y="794"/>
                      <a:pt x="693" y="794"/>
                    </a:cubicBezTo>
                    <a:cubicBezTo>
                      <a:pt x="694" y="780"/>
                      <a:pt x="694" y="780"/>
                      <a:pt x="694" y="780"/>
                    </a:cubicBezTo>
                    <a:cubicBezTo>
                      <a:pt x="681" y="777"/>
                      <a:pt x="681" y="777"/>
                      <a:pt x="681" y="777"/>
                    </a:cubicBezTo>
                    <a:cubicBezTo>
                      <a:pt x="686" y="765"/>
                      <a:pt x="686" y="765"/>
                      <a:pt x="686" y="765"/>
                    </a:cubicBezTo>
                    <a:cubicBezTo>
                      <a:pt x="707" y="765"/>
                      <a:pt x="707" y="765"/>
                      <a:pt x="707" y="765"/>
                    </a:cubicBezTo>
                    <a:cubicBezTo>
                      <a:pt x="707" y="765"/>
                      <a:pt x="721" y="769"/>
                      <a:pt x="728" y="763"/>
                    </a:cubicBezTo>
                    <a:cubicBezTo>
                      <a:pt x="735" y="757"/>
                      <a:pt x="730" y="745"/>
                      <a:pt x="730" y="745"/>
                    </a:cubicBezTo>
                    <a:cubicBezTo>
                      <a:pt x="752" y="741"/>
                      <a:pt x="752" y="741"/>
                      <a:pt x="752" y="741"/>
                    </a:cubicBezTo>
                    <a:cubicBezTo>
                      <a:pt x="752" y="741"/>
                      <a:pt x="783" y="747"/>
                      <a:pt x="791" y="740"/>
                    </a:cubicBezTo>
                    <a:cubicBezTo>
                      <a:pt x="799" y="733"/>
                      <a:pt x="802" y="726"/>
                      <a:pt x="802" y="726"/>
                    </a:cubicBezTo>
                    <a:cubicBezTo>
                      <a:pt x="811" y="721"/>
                      <a:pt x="811" y="721"/>
                      <a:pt x="811" y="721"/>
                    </a:cubicBezTo>
                    <a:cubicBezTo>
                      <a:pt x="811" y="721"/>
                      <a:pt x="813" y="710"/>
                      <a:pt x="824" y="708"/>
                    </a:cubicBezTo>
                    <a:cubicBezTo>
                      <a:pt x="835" y="706"/>
                      <a:pt x="804" y="740"/>
                      <a:pt x="812" y="740"/>
                    </a:cubicBezTo>
                    <a:cubicBezTo>
                      <a:pt x="820" y="740"/>
                      <a:pt x="828" y="738"/>
                      <a:pt x="828" y="738"/>
                    </a:cubicBezTo>
                    <a:cubicBezTo>
                      <a:pt x="832" y="725"/>
                      <a:pt x="832" y="725"/>
                      <a:pt x="832" y="725"/>
                    </a:cubicBezTo>
                    <a:cubicBezTo>
                      <a:pt x="841" y="727"/>
                      <a:pt x="841" y="727"/>
                      <a:pt x="841" y="727"/>
                    </a:cubicBezTo>
                    <a:cubicBezTo>
                      <a:pt x="849" y="718"/>
                      <a:pt x="849" y="718"/>
                      <a:pt x="849" y="718"/>
                    </a:cubicBezTo>
                    <a:cubicBezTo>
                      <a:pt x="849" y="718"/>
                      <a:pt x="866" y="733"/>
                      <a:pt x="878" y="725"/>
                    </a:cubicBezTo>
                    <a:cubicBezTo>
                      <a:pt x="890" y="717"/>
                      <a:pt x="907" y="704"/>
                      <a:pt x="907" y="704"/>
                    </a:cubicBezTo>
                    <a:cubicBezTo>
                      <a:pt x="907" y="704"/>
                      <a:pt x="923" y="709"/>
                      <a:pt x="950" y="698"/>
                    </a:cubicBezTo>
                    <a:cubicBezTo>
                      <a:pt x="977" y="687"/>
                      <a:pt x="974" y="670"/>
                      <a:pt x="992" y="658"/>
                    </a:cubicBezTo>
                    <a:cubicBezTo>
                      <a:pt x="1010" y="646"/>
                      <a:pt x="1052" y="634"/>
                      <a:pt x="1052" y="634"/>
                    </a:cubicBezTo>
                    <a:cubicBezTo>
                      <a:pt x="1052" y="634"/>
                      <a:pt x="1055" y="625"/>
                      <a:pt x="1054" y="619"/>
                    </a:cubicBezTo>
                    <a:cubicBezTo>
                      <a:pt x="1053" y="613"/>
                      <a:pt x="1046" y="601"/>
                      <a:pt x="1053" y="599"/>
                    </a:cubicBezTo>
                    <a:cubicBezTo>
                      <a:pt x="1060" y="597"/>
                      <a:pt x="1071" y="625"/>
                      <a:pt x="1082" y="625"/>
                    </a:cubicBezTo>
                    <a:cubicBezTo>
                      <a:pt x="1082" y="625"/>
                      <a:pt x="1124" y="624"/>
                      <a:pt x="1135" y="622"/>
                    </a:cubicBezTo>
                    <a:cubicBezTo>
                      <a:pt x="1146" y="620"/>
                      <a:pt x="1167" y="609"/>
                      <a:pt x="1190" y="606"/>
                    </a:cubicBezTo>
                    <a:cubicBezTo>
                      <a:pt x="1213" y="603"/>
                      <a:pt x="1253" y="600"/>
                      <a:pt x="1260" y="598"/>
                    </a:cubicBezTo>
                    <a:cubicBezTo>
                      <a:pt x="1267" y="596"/>
                      <a:pt x="1273" y="589"/>
                      <a:pt x="1273" y="589"/>
                    </a:cubicBezTo>
                    <a:cubicBezTo>
                      <a:pt x="1291" y="589"/>
                      <a:pt x="1291" y="589"/>
                      <a:pt x="1291" y="589"/>
                    </a:cubicBezTo>
                    <a:cubicBezTo>
                      <a:pt x="1300" y="578"/>
                      <a:pt x="1300" y="578"/>
                      <a:pt x="1300" y="578"/>
                    </a:cubicBezTo>
                    <a:cubicBezTo>
                      <a:pt x="1317" y="578"/>
                      <a:pt x="1317" y="578"/>
                      <a:pt x="1317" y="578"/>
                    </a:cubicBezTo>
                    <a:cubicBezTo>
                      <a:pt x="1317" y="578"/>
                      <a:pt x="1335" y="561"/>
                      <a:pt x="1339" y="558"/>
                    </a:cubicBezTo>
                    <a:cubicBezTo>
                      <a:pt x="1343" y="555"/>
                      <a:pt x="1369" y="553"/>
                      <a:pt x="1369" y="553"/>
                    </a:cubicBezTo>
                    <a:cubicBezTo>
                      <a:pt x="1401" y="542"/>
                      <a:pt x="1401" y="542"/>
                      <a:pt x="1401" y="542"/>
                    </a:cubicBezTo>
                    <a:cubicBezTo>
                      <a:pt x="1422" y="537"/>
                      <a:pt x="1422" y="537"/>
                      <a:pt x="1422" y="537"/>
                    </a:cubicBezTo>
                    <a:cubicBezTo>
                      <a:pt x="1427" y="529"/>
                      <a:pt x="1427" y="529"/>
                      <a:pt x="1427" y="529"/>
                    </a:cubicBezTo>
                    <a:cubicBezTo>
                      <a:pt x="1427" y="529"/>
                      <a:pt x="1407" y="531"/>
                      <a:pt x="1395" y="531"/>
                    </a:cubicBezTo>
                    <a:cubicBezTo>
                      <a:pt x="1383" y="531"/>
                      <a:pt x="1375" y="524"/>
                      <a:pt x="1360" y="522"/>
                    </a:cubicBezTo>
                    <a:cubicBezTo>
                      <a:pt x="1345" y="520"/>
                      <a:pt x="1317" y="520"/>
                      <a:pt x="1303" y="524"/>
                    </a:cubicBezTo>
                    <a:cubicBezTo>
                      <a:pt x="1289" y="528"/>
                      <a:pt x="1269" y="528"/>
                      <a:pt x="1269" y="528"/>
                    </a:cubicBezTo>
                    <a:cubicBezTo>
                      <a:pt x="1259" y="537"/>
                      <a:pt x="1259" y="537"/>
                      <a:pt x="1259" y="537"/>
                    </a:cubicBezTo>
                    <a:cubicBezTo>
                      <a:pt x="1259" y="537"/>
                      <a:pt x="1214" y="541"/>
                      <a:pt x="1221" y="535"/>
                    </a:cubicBezTo>
                    <a:cubicBezTo>
                      <a:pt x="1228" y="529"/>
                      <a:pt x="1288" y="520"/>
                      <a:pt x="1288" y="520"/>
                    </a:cubicBezTo>
                    <a:cubicBezTo>
                      <a:pt x="1288" y="520"/>
                      <a:pt x="1348" y="508"/>
                      <a:pt x="1333" y="499"/>
                    </a:cubicBezTo>
                    <a:cubicBezTo>
                      <a:pt x="1318" y="490"/>
                      <a:pt x="1310" y="490"/>
                      <a:pt x="1310" y="490"/>
                    </a:cubicBezTo>
                    <a:cubicBezTo>
                      <a:pt x="1310" y="490"/>
                      <a:pt x="1255" y="508"/>
                      <a:pt x="1249" y="511"/>
                    </a:cubicBezTo>
                    <a:cubicBezTo>
                      <a:pt x="1243" y="514"/>
                      <a:pt x="1217" y="512"/>
                      <a:pt x="1217" y="512"/>
                    </a:cubicBezTo>
                    <a:cubicBezTo>
                      <a:pt x="1241" y="500"/>
                      <a:pt x="1241" y="500"/>
                      <a:pt x="1241" y="500"/>
                    </a:cubicBezTo>
                    <a:cubicBezTo>
                      <a:pt x="1255" y="489"/>
                      <a:pt x="1255" y="489"/>
                      <a:pt x="1255" y="489"/>
                    </a:cubicBezTo>
                    <a:cubicBezTo>
                      <a:pt x="1255" y="489"/>
                      <a:pt x="1279" y="493"/>
                      <a:pt x="1286" y="491"/>
                    </a:cubicBezTo>
                    <a:cubicBezTo>
                      <a:pt x="1293" y="489"/>
                      <a:pt x="1311" y="485"/>
                      <a:pt x="1319" y="485"/>
                    </a:cubicBezTo>
                    <a:cubicBezTo>
                      <a:pt x="1327" y="485"/>
                      <a:pt x="1349" y="483"/>
                      <a:pt x="1337" y="477"/>
                    </a:cubicBezTo>
                    <a:cubicBezTo>
                      <a:pt x="1325" y="471"/>
                      <a:pt x="1287" y="470"/>
                      <a:pt x="1287" y="470"/>
                    </a:cubicBezTo>
                    <a:cubicBezTo>
                      <a:pt x="1255" y="472"/>
                      <a:pt x="1255" y="472"/>
                      <a:pt x="1255" y="472"/>
                    </a:cubicBezTo>
                    <a:cubicBezTo>
                      <a:pt x="1271" y="465"/>
                      <a:pt x="1271" y="465"/>
                      <a:pt x="1271" y="465"/>
                    </a:cubicBezTo>
                    <a:cubicBezTo>
                      <a:pt x="1255" y="455"/>
                      <a:pt x="1255" y="455"/>
                      <a:pt x="1255" y="455"/>
                    </a:cubicBezTo>
                    <a:cubicBezTo>
                      <a:pt x="1255" y="455"/>
                      <a:pt x="1253" y="446"/>
                      <a:pt x="1257" y="446"/>
                    </a:cubicBezTo>
                    <a:cubicBezTo>
                      <a:pt x="1261" y="446"/>
                      <a:pt x="1281" y="463"/>
                      <a:pt x="1294" y="464"/>
                    </a:cubicBezTo>
                    <a:cubicBezTo>
                      <a:pt x="1307" y="465"/>
                      <a:pt x="1348" y="477"/>
                      <a:pt x="1348" y="477"/>
                    </a:cubicBezTo>
                    <a:cubicBezTo>
                      <a:pt x="1348" y="477"/>
                      <a:pt x="1366" y="469"/>
                      <a:pt x="1367" y="478"/>
                    </a:cubicBezTo>
                    <a:cubicBezTo>
                      <a:pt x="1368" y="487"/>
                      <a:pt x="1356" y="501"/>
                      <a:pt x="1377" y="507"/>
                    </a:cubicBezTo>
                    <a:cubicBezTo>
                      <a:pt x="1398" y="513"/>
                      <a:pt x="1421" y="514"/>
                      <a:pt x="1421" y="514"/>
                    </a:cubicBezTo>
                    <a:cubicBezTo>
                      <a:pt x="1421" y="514"/>
                      <a:pt x="1423" y="499"/>
                      <a:pt x="1427" y="502"/>
                    </a:cubicBezTo>
                    <a:cubicBezTo>
                      <a:pt x="1431" y="505"/>
                      <a:pt x="1427" y="520"/>
                      <a:pt x="1436" y="520"/>
                    </a:cubicBezTo>
                    <a:cubicBezTo>
                      <a:pt x="1445" y="520"/>
                      <a:pt x="1457" y="510"/>
                      <a:pt x="1457" y="510"/>
                    </a:cubicBezTo>
                    <a:cubicBezTo>
                      <a:pt x="1457" y="494"/>
                      <a:pt x="1457" y="494"/>
                      <a:pt x="1457" y="494"/>
                    </a:cubicBezTo>
                    <a:cubicBezTo>
                      <a:pt x="1451" y="492"/>
                      <a:pt x="1451" y="492"/>
                      <a:pt x="1451" y="492"/>
                    </a:cubicBezTo>
                    <a:cubicBezTo>
                      <a:pt x="1451" y="492"/>
                      <a:pt x="1465" y="481"/>
                      <a:pt x="1459" y="476"/>
                    </a:cubicBezTo>
                    <a:cubicBezTo>
                      <a:pt x="1453" y="471"/>
                      <a:pt x="1442" y="477"/>
                      <a:pt x="1442" y="477"/>
                    </a:cubicBezTo>
                    <a:cubicBezTo>
                      <a:pt x="1436" y="462"/>
                      <a:pt x="1436" y="462"/>
                      <a:pt x="1436" y="462"/>
                    </a:cubicBezTo>
                    <a:cubicBezTo>
                      <a:pt x="1425" y="459"/>
                      <a:pt x="1425" y="459"/>
                      <a:pt x="1425" y="459"/>
                    </a:cubicBezTo>
                    <a:cubicBezTo>
                      <a:pt x="1428" y="449"/>
                      <a:pt x="1428" y="449"/>
                      <a:pt x="1428" y="449"/>
                    </a:cubicBezTo>
                    <a:cubicBezTo>
                      <a:pt x="1380" y="430"/>
                      <a:pt x="1380" y="430"/>
                      <a:pt x="1380" y="430"/>
                    </a:cubicBezTo>
                    <a:cubicBezTo>
                      <a:pt x="1353" y="437"/>
                      <a:pt x="1353" y="437"/>
                      <a:pt x="1353" y="437"/>
                    </a:cubicBezTo>
                    <a:cubicBezTo>
                      <a:pt x="1347" y="434"/>
                      <a:pt x="1347" y="434"/>
                      <a:pt x="1347" y="434"/>
                    </a:cubicBezTo>
                    <a:cubicBezTo>
                      <a:pt x="1369" y="427"/>
                      <a:pt x="1369" y="427"/>
                      <a:pt x="1369" y="427"/>
                    </a:cubicBezTo>
                    <a:cubicBezTo>
                      <a:pt x="1371" y="424"/>
                      <a:pt x="1371" y="424"/>
                      <a:pt x="1371" y="424"/>
                    </a:cubicBezTo>
                    <a:cubicBezTo>
                      <a:pt x="1371" y="424"/>
                      <a:pt x="1370" y="415"/>
                      <a:pt x="1353" y="415"/>
                    </a:cubicBezTo>
                    <a:cubicBezTo>
                      <a:pt x="1336" y="415"/>
                      <a:pt x="1303" y="412"/>
                      <a:pt x="1303" y="412"/>
                    </a:cubicBezTo>
                    <a:cubicBezTo>
                      <a:pt x="1314" y="398"/>
                      <a:pt x="1314" y="398"/>
                      <a:pt x="1314" y="398"/>
                    </a:cubicBezTo>
                    <a:cubicBezTo>
                      <a:pt x="1314" y="398"/>
                      <a:pt x="1327" y="396"/>
                      <a:pt x="1337" y="400"/>
                    </a:cubicBezTo>
                    <a:cubicBezTo>
                      <a:pt x="1347" y="404"/>
                      <a:pt x="1363" y="393"/>
                      <a:pt x="1363" y="393"/>
                    </a:cubicBezTo>
                    <a:cubicBezTo>
                      <a:pt x="1381" y="390"/>
                      <a:pt x="1381" y="390"/>
                      <a:pt x="1381" y="390"/>
                    </a:cubicBezTo>
                    <a:cubicBezTo>
                      <a:pt x="1413" y="400"/>
                      <a:pt x="1413" y="400"/>
                      <a:pt x="1413" y="400"/>
                    </a:cubicBezTo>
                    <a:cubicBezTo>
                      <a:pt x="1427" y="397"/>
                      <a:pt x="1427" y="397"/>
                      <a:pt x="1427" y="397"/>
                    </a:cubicBezTo>
                    <a:cubicBezTo>
                      <a:pt x="1427" y="397"/>
                      <a:pt x="1453" y="418"/>
                      <a:pt x="1464" y="418"/>
                    </a:cubicBezTo>
                    <a:cubicBezTo>
                      <a:pt x="1475" y="418"/>
                      <a:pt x="1471" y="404"/>
                      <a:pt x="1471" y="404"/>
                    </a:cubicBezTo>
                    <a:cubicBezTo>
                      <a:pt x="1445" y="400"/>
                      <a:pt x="1445" y="400"/>
                      <a:pt x="1445" y="400"/>
                    </a:cubicBezTo>
                    <a:cubicBezTo>
                      <a:pt x="1425" y="390"/>
                      <a:pt x="1425" y="390"/>
                      <a:pt x="1425" y="390"/>
                    </a:cubicBezTo>
                    <a:cubicBezTo>
                      <a:pt x="1394" y="387"/>
                      <a:pt x="1394" y="387"/>
                      <a:pt x="1394" y="387"/>
                    </a:cubicBezTo>
                    <a:cubicBezTo>
                      <a:pt x="1394" y="387"/>
                      <a:pt x="1401" y="378"/>
                      <a:pt x="1408" y="375"/>
                    </a:cubicBezTo>
                    <a:cubicBezTo>
                      <a:pt x="1415" y="372"/>
                      <a:pt x="1432" y="390"/>
                      <a:pt x="1448" y="390"/>
                    </a:cubicBezTo>
                    <a:cubicBezTo>
                      <a:pt x="1464" y="390"/>
                      <a:pt x="1492" y="391"/>
                      <a:pt x="1492" y="391"/>
                    </a:cubicBezTo>
                    <a:cubicBezTo>
                      <a:pt x="1534" y="386"/>
                      <a:pt x="1534" y="386"/>
                      <a:pt x="1534" y="386"/>
                    </a:cubicBezTo>
                    <a:cubicBezTo>
                      <a:pt x="1535" y="368"/>
                      <a:pt x="1535" y="368"/>
                      <a:pt x="1535" y="368"/>
                    </a:cubicBezTo>
                    <a:cubicBezTo>
                      <a:pt x="1506" y="361"/>
                      <a:pt x="1506" y="361"/>
                      <a:pt x="1506" y="361"/>
                    </a:cubicBezTo>
                    <a:cubicBezTo>
                      <a:pt x="1491" y="371"/>
                      <a:pt x="1491" y="371"/>
                      <a:pt x="1491" y="371"/>
                    </a:cubicBezTo>
                    <a:cubicBezTo>
                      <a:pt x="1491" y="371"/>
                      <a:pt x="1477" y="359"/>
                      <a:pt x="1481" y="355"/>
                    </a:cubicBezTo>
                    <a:cubicBezTo>
                      <a:pt x="1485" y="351"/>
                      <a:pt x="1517" y="354"/>
                      <a:pt x="1517" y="354"/>
                    </a:cubicBezTo>
                    <a:cubicBezTo>
                      <a:pt x="1546" y="346"/>
                      <a:pt x="1546" y="346"/>
                      <a:pt x="1546" y="346"/>
                    </a:cubicBezTo>
                    <a:cubicBezTo>
                      <a:pt x="1546" y="346"/>
                      <a:pt x="1563" y="356"/>
                      <a:pt x="1576" y="352"/>
                    </a:cubicBezTo>
                    <a:cubicBezTo>
                      <a:pt x="1589" y="348"/>
                      <a:pt x="1602" y="339"/>
                      <a:pt x="1597" y="337"/>
                    </a:cubicBezTo>
                    <a:cubicBezTo>
                      <a:pt x="1592" y="335"/>
                      <a:pt x="1550" y="334"/>
                      <a:pt x="1546" y="334"/>
                    </a:cubicBezTo>
                    <a:cubicBezTo>
                      <a:pt x="1542" y="334"/>
                      <a:pt x="1550" y="326"/>
                      <a:pt x="1538" y="323"/>
                    </a:cubicBezTo>
                    <a:cubicBezTo>
                      <a:pt x="1526" y="320"/>
                      <a:pt x="1498" y="321"/>
                      <a:pt x="1498" y="321"/>
                    </a:cubicBezTo>
                    <a:cubicBezTo>
                      <a:pt x="1498" y="321"/>
                      <a:pt x="1532" y="320"/>
                      <a:pt x="1535" y="314"/>
                    </a:cubicBezTo>
                    <a:cubicBezTo>
                      <a:pt x="1538" y="308"/>
                      <a:pt x="1499" y="301"/>
                      <a:pt x="1499" y="301"/>
                    </a:cubicBezTo>
                    <a:cubicBezTo>
                      <a:pt x="1499" y="301"/>
                      <a:pt x="1521" y="296"/>
                      <a:pt x="1528" y="299"/>
                    </a:cubicBezTo>
                    <a:cubicBezTo>
                      <a:pt x="1535" y="302"/>
                      <a:pt x="1559" y="310"/>
                      <a:pt x="1565" y="308"/>
                    </a:cubicBezTo>
                    <a:cubicBezTo>
                      <a:pt x="1571" y="306"/>
                      <a:pt x="1573" y="320"/>
                      <a:pt x="1583" y="316"/>
                    </a:cubicBezTo>
                    <a:cubicBezTo>
                      <a:pt x="1593" y="312"/>
                      <a:pt x="1601" y="294"/>
                      <a:pt x="1594" y="289"/>
                    </a:cubicBezTo>
                    <a:cubicBezTo>
                      <a:pt x="1587" y="284"/>
                      <a:pt x="1570" y="272"/>
                      <a:pt x="1570" y="272"/>
                    </a:cubicBezTo>
                    <a:cubicBezTo>
                      <a:pt x="1531" y="264"/>
                      <a:pt x="1531" y="264"/>
                      <a:pt x="1531" y="264"/>
                    </a:cubicBezTo>
                    <a:cubicBezTo>
                      <a:pt x="1531" y="264"/>
                      <a:pt x="1513" y="256"/>
                      <a:pt x="1520" y="250"/>
                    </a:cubicBezTo>
                    <a:cubicBezTo>
                      <a:pt x="1527" y="244"/>
                      <a:pt x="1549" y="249"/>
                      <a:pt x="1549" y="249"/>
                    </a:cubicBezTo>
                    <a:cubicBezTo>
                      <a:pt x="1580" y="242"/>
                      <a:pt x="1580" y="242"/>
                      <a:pt x="1580" y="242"/>
                    </a:cubicBezTo>
                    <a:cubicBezTo>
                      <a:pt x="1580" y="242"/>
                      <a:pt x="1591" y="244"/>
                      <a:pt x="1623" y="246"/>
                    </a:cubicBezTo>
                    <a:cubicBezTo>
                      <a:pt x="1655" y="248"/>
                      <a:pt x="1670" y="225"/>
                      <a:pt x="1647" y="223"/>
                    </a:cubicBezTo>
                    <a:cubicBezTo>
                      <a:pt x="1624" y="221"/>
                      <a:pt x="1590" y="221"/>
                      <a:pt x="1590" y="221"/>
                    </a:cubicBezTo>
                    <a:cubicBezTo>
                      <a:pt x="1589" y="211"/>
                      <a:pt x="1589" y="211"/>
                      <a:pt x="1589" y="211"/>
                    </a:cubicBezTo>
                    <a:cubicBezTo>
                      <a:pt x="1609" y="210"/>
                      <a:pt x="1609" y="210"/>
                      <a:pt x="1609" y="210"/>
                    </a:cubicBezTo>
                    <a:cubicBezTo>
                      <a:pt x="1609" y="210"/>
                      <a:pt x="1603" y="195"/>
                      <a:pt x="1587" y="197"/>
                    </a:cubicBezTo>
                    <a:cubicBezTo>
                      <a:pt x="1571" y="199"/>
                      <a:pt x="1583" y="215"/>
                      <a:pt x="1574" y="216"/>
                    </a:cubicBezTo>
                    <a:cubicBezTo>
                      <a:pt x="1565" y="217"/>
                      <a:pt x="1540" y="204"/>
                      <a:pt x="1549" y="201"/>
                    </a:cubicBezTo>
                    <a:cubicBezTo>
                      <a:pt x="1558" y="198"/>
                      <a:pt x="1582" y="193"/>
                      <a:pt x="1585" y="185"/>
                    </a:cubicBezTo>
                    <a:cubicBezTo>
                      <a:pt x="1588" y="177"/>
                      <a:pt x="1598" y="165"/>
                      <a:pt x="1601" y="164"/>
                    </a:cubicBezTo>
                    <a:cubicBezTo>
                      <a:pt x="1604" y="163"/>
                      <a:pt x="1618" y="170"/>
                      <a:pt x="1627" y="165"/>
                    </a:cubicBezTo>
                    <a:cubicBezTo>
                      <a:pt x="1636" y="160"/>
                      <a:pt x="1649" y="151"/>
                      <a:pt x="1649" y="151"/>
                    </a:cubicBezTo>
                    <a:cubicBezTo>
                      <a:pt x="1639" y="141"/>
                      <a:pt x="1639" y="141"/>
                      <a:pt x="1639" y="141"/>
                    </a:cubicBezTo>
                    <a:cubicBezTo>
                      <a:pt x="1639" y="141"/>
                      <a:pt x="1665" y="128"/>
                      <a:pt x="1671" y="128"/>
                    </a:cubicBezTo>
                    <a:cubicBezTo>
                      <a:pt x="1677" y="128"/>
                      <a:pt x="1687" y="138"/>
                      <a:pt x="1695" y="132"/>
                    </a:cubicBezTo>
                    <a:cubicBezTo>
                      <a:pt x="1703" y="126"/>
                      <a:pt x="1723" y="122"/>
                      <a:pt x="1711" y="119"/>
                    </a:cubicBezTo>
                    <a:cubicBezTo>
                      <a:pt x="1699" y="116"/>
                      <a:pt x="1670" y="119"/>
                      <a:pt x="1670" y="119"/>
                    </a:cubicBezTo>
                    <a:cubicBezTo>
                      <a:pt x="1670" y="119"/>
                      <a:pt x="1615" y="134"/>
                      <a:pt x="1626" y="123"/>
                    </a:cubicBezTo>
                    <a:cubicBezTo>
                      <a:pt x="1637" y="112"/>
                      <a:pt x="1659" y="111"/>
                      <a:pt x="1659" y="111"/>
                    </a:cubicBezTo>
                    <a:cubicBezTo>
                      <a:pt x="1659" y="111"/>
                      <a:pt x="1700" y="113"/>
                      <a:pt x="1721" y="112"/>
                    </a:cubicBezTo>
                    <a:cubicBezTo>
                      <a:pt x="1742" y="111"/>
                      <a:pt x="1758" y="104"/>
                      <a:pt x="1758" y="104"/>
                    </a:cubicBezTo>
                    <a:cubicBezTo>
                      <a:pt x="1758" y="104"/>
                      <a:pt x="1723" y="95"/>
                      <a:pt x="1717" y="98"/>
                    </a:cubicBezTo>
                    <a:cubicBezTo>
                      <a:pt x="1711" y="101"/>
                      <a:pt x="1672" y="102"/>
                      <a:pt x="1672" y="102"/>
                    </a:cubicBezTo>
                    <a:cubicBezTo>
                      <a:pt x="1672" y="102"/>
                      <a:pt x="1625" y="105"/>
                      <a:pt x="1642" y="100"/>
                    </a:cubicBezTo>
                    <a:cubicBezTo>
                      <a:pt x="1659" y="95"/>
                      <a:pt x="1710" y="94"/>
                      <a:pt x="1710" y="94"/>
                    </a:cubicBezTo>
                    <a:cubicBezTo>
                      <a:pt x="1710" y="94"/>
                      <a:pt x="1776" y="95"/>
                      <a:pt x="1787" y="92"/>
                    </a:cubicBezTo>
                    <a:cubicBezTo>
                      <a:pt x="1798" y="89"/>
                      <a:pt x="1807" y="79"/>
                      <a:pt x="1807" y="79"/>
                    </a:cubicBezTo>
                    <a:cubicBezTo>
                      <a:pt x="1807" y="79"/>
                      <a:pt x="1834" y="80"/>
                      <a:pt x="1851" y="78"/>
                    </a:cubicBezTo>
                    <a:cubicBezTo>
                      <a:pt x="1868" y="76"/>
                      <a:pt x="1891" y="67"/>
                      <a:pt x="1891" y="67"/>
                    </a:cubicBezTo>
                    <a:cubicBezTo>
                      <a:pt x="1891" y="67"/>
                      <a:pt x="1865" y="57"/>
                      <a:pt x="1845" y="57"/>
                    </a:cubicBezTo>
                    <a:close/>
                    <a:moveTo>
                      <a:pt x="345" y="566"/>
                    </a:moveTo>
                    <a:cubicBezTo>
                      <a:pt x="353" y="568"/>
                      <a:pt x="353" y="568"/>
                      <a:pt x="353" y="568"/>
                    </a:cubicBezTo>
                    <a:cubicBezTo>
                      <a:pt x="353" y="568"/>
                      <a:pt x="371" y="564"/>
                      <a:pt x="377" y="564"/>
                    </a:cubicBezTo>
                    <a:cubicBezTo>
                      <a:pt x="383" y="564"/>
                      <a:pt x="397" y="554"/>
                      <a:pt x="395" y="546"/>
                    </a:cubicBezTo>
                    <a:cubicBezTo>
                      <a:pt x="393" y="538"/>
                      <a:pt x="371" y="534"/>
                      <a:pt x="371" y="534"/>
                    </a:cubicBezTo>
                    <a:cubicBezTo>
                      <a:pt x="371" y="534"/>
                      <a:pt x="361" y="526"/>
                      <a:pt x="351" y="526"/>
                    </a:cubicBezTo>
                    <a:cubicBezTo>
                      <a:pt x="341" y="526"/>
                      <a:pt x="337" y="532"/>
                      <a:pt x="321" y="526"/>
                    </a:cubicBezTo>
                    <a:cubicBezTo>
                      <a:pt x="317" y="542"/>
                      <a:pt x="317" y="542"/>
                      <a:pt x="317" y="542"/>
                    </a:cubicBezTo>
                    <a:cubicBezTo>
                      <a:pt x="317" y="542"/>
                      <a:pt x="309" y="546"/>
                      <a:pt x="309" y="552"/>
                    </a:cubicBezTo>
                    <a:cubicBezTo>
                      <a:pt x="309" y="558"/>
                      <a:pt x="321" y="564"/>
                      <a:pt x="321" y="564"/>
                    </a:cubicBezTo>
                    <a:cubicBezTo>
                      <a:pt x="317" y="572"/>
                      <a:pt x="317" y="572"/>
                      <a:pt x="317" y="572"/>
                    </a:cubicBezTo>
                    <a:lnTo>
                      <a:pt x="345" y="566"/>
                    </a:lnTo>
                    <a:close/>
                    <a:moveTo>
                      <a:pt x="2531" y="1160"/>
                    </a:moveTo>
                    <a:cubicBezTo>
                      <a:pt x="2535" y="1157"/>
                      <a:pt x="2548" y="1143"/>
                      <a:pt x="2545" y="1138"/>
                    </a:cubicBezTo>
                    <a:cubicBezTo>
                      <a:pt x="2542" y="1133"/>
                      <a:pt x="2538" y="1126"/>
                      <a:pt x="2538" y="1126"/>
                    </a:cubicBezTo>
                    <a:cubicBezTo>
                      <a:pt x="2538" y="1126"/>
                      <a:pt x="2520" y="1124"/>
                      <a:pt x="2519" y="1127"/>
                    </a:cubicBezTo>
                    <a:cubicBezTo>
                      <a:pt x="2518" y="1130"/>
                      <a:pt x="2498" y="1155"/>
                      <a:pt x="2498" y="1160"/>
                    </a:cubicBezTo>
                    <a:cubicBezTo>
                      <a:pt x="2498" y="1165"/>
                      <a:pt x="2501" y="1177"/>
                      <a:pt x="2501" y="1177"/>
                    </a:cubicBezTo>
                    <a:cubicBezTo>
                      <a:pt x="2488" y="1166"/>
                      <a:pt x="2488" y="1166"/>
                      <a:pt x="2488" y="1166"/>
                    </a:cubicBezTo>
                    <a:cubicBezTo>
                      <a:pt x="2482" y="1145"/>
                      <a:pt x="2482" y="1145"/>
                      <a:pt x="2482" y="1145"/>
                    </a:cubicBezTo>
                    <a:cubicBezTo>
                      <a:pt x="2482" y="1145"/>
                      <a:pt x="2457" y="1161"/>
                      <a:pt x="2458" y="1164"/>
                    </a:cubicBezTo>
                    <a:cubicBezTo>
                      <a:pt x="2459" y="1167"/>
                      <a:pt x="2472" y="1165"/>
                      <a:pt x="2473" y="1168"/>
                    </a:cubicBezTo>
                    <a:cubicBezTo>
                      <a:pt x="2474" y="1171"/>
                      <a:pt x="2483" y="1185"/>
                      <a:pt x="2483" y="1185"/>
                    </a:cubicBezTo>
                    <a:cubicBezTo>
                      <a:pt x="2460" y="1181"/>
                      <a:pt x="2460" y="1181"/>
                      <a:pt x="2460" y="1181"/>
                    </a:cubicBezTo>
                    <a:cubicBezTo>
                      <a:pt x="2460" y="1181"/>
                      <a:pt x="2448" y="1196"/>
                      <a:pt x="2449" y="1204"/>
                    </a:cubicBezTo>
                    <a:cubicBezTo>
                      <a:pt x="2450" y="1212"/>
                      <a:pt x="2466" y="1214"/>
                      <a:pt x="2466" y="1214"/>
                    </a:cubicBezTo>
                    <a:cubicBezTo>
                      <a:pt x="2466" y="1214"/>
                      <a:pt x="2452" y="1230"/>
                      <a:pt x="2455" y="1232"/>
                    </a:cubicBezTo>
                    <a:cubicBezTo>
                      <a:pt x="2458" y="1234"/>
                      <a:pt x="2472" y="1234"/>
                      <a:pt x="2472" y="1234"/>
                    </a:cubicBezTo>
                    <a:cubicBezTo>
                      <a:pt x="2471" y="1249"/>
                      <a:pt x="2471" y="1249"/>
                      <a:pt x="2471" y="1249"/>
                    </a:cubicBezTo>
                    <a:cubicBezTo>
                      <a:pt x="2463" y="1259"/>
                      <a:pt x="2463" y="1259"/>
                      <a:pt x="2463" y="1259"/>
                    </a:cubicBezTo>
                    <a:cubicBezTo>
                      <a:pt x="2473" y="1264"/>
                      <a:pt x="2473" y="1264"/>
                      <a:pt x="2473" y="1264"/>
                    </a:cubicBezTo>
                    <a:cubicBezTo>
                      <a:pt x="2473" y="1264"/>
                      <a:pt x="2480" y="1264"/>
                      <a:pt x="2484" y="1264"/>
                    </a:cubicBezTo>
                    <a:cubicBezTo>
                      <a:pt x="2488" y="1264"/>
                      <a:pt x="2496" y="1269"/>
                      <a:pt x="2496" y="1269"/>
                    </a:cubicBezTo>
                    <a:cubicBezTo>
                      <a:pt x="2496" y="1269"/>
                      <a:pt x="2498" y="1267"/>
                      <a:pt x="2506" y="1267"/>
                    </a:cubicBezTo>
                    <a:cubicBezTo>
                      <a:pt x="2513" y="1266"/>
                      <a:pt x="2514" y="1270"/>
                      <a:pt x="2514" y="1270"/>
                    </a:cubicBezTo>
                    <a:cubicBezTo>
                      <a:pt x="2514" y="1270"/>
                      <a:pt x="2515" y="1269"/>
                      <a:pt x="2517" y="1268"/>
                    </a:cubicBezTo>
                    <a:cubicBezTo>
                      <a:pt x="2517" y="1268"/>
                      <a:pt x="2517" y="1268"/>
                      <a:pt x="2517" y="1268"/>
                    </a:cubicBezTo>
                    <a:cubicBezTo>
                      <a:pt x="2513" y="1258"/>
                      <a:pt x="2510" y="1252"/>
                      <a:pt x="2510" y="1252"/>
                    </a:cubicBezTo>
                    <a:cubicBezTo>
                      <a:pt x="2521" y="1239"/>
                      <a:pt x="2521" y="1239"/>
                      <a:pt x="2521" y="1239"/>
                    </a:cubicBezTo>
                    <a:cubicBezTo>
                      <a:pt x="2521" y="1239"/>
                      <a:pt x="2503" y="1224"/>
                      <a:pt x="2513" y="1222"/>
                    </a:cubicBezTo>
                    <a:cubicBezTo>
                      <a:pt x="2523" y="1220"/>
                      <a:pt x="2531" y="1213"/>
                      <a:pt x="2531" y="1213"/>
                    </a:cubicBezTo>
                    <a:cubicBezTo>
                      <a:pt x="2535" y="1194"/>
                      <a:pt x="2535" y="1194"/>
                      <a:pt x="2535" y="1194"/>
                    </a:cubicBezTo>
                    <a:cubicBezTo>
                      <a:pt x="2549" y="1194"/>
                      <a:pt x="2549" y="1194"/>
                      <a:pt x="2549" y="1194"/>
                    </a:cubicBezTo>
                    <a:cubicBezTo>
                      <a:pt x="2554" y="1179"/>
                      <a:pt x="2554" y="1179"/>
                      <a:pt x="2554" y="1179"/>
                    </a:cubicBezTo>
                    <a:cubicBezTo>
                      <a:pt x="2531" y="1179"/>
                      <a:pt x="2531" y="1179"/>
                      <a:pt x="2531" y="1179"/>
                    </a:cubicBezTo>
                    <a:cubicBezTo>
                      <a:pt x="2531" y="1179"/>
                      <a:pt x="2527" y="1163"/>
                      <a:pt x="2531" y="1160"/>
                    </a:cubicBezTo>
                    <a:close/>
                    <a:moveTo>
                      <a:pt x="2525" y="1228"/>
                    </a:moveTo>
                    <a:cubicBezTo>
                      <a:pt x="2527" y="1252"/>
                      <a:pt x="2527" y="1252"/>
                      <a:pt x="2527" y="1252"/>
                    </a:cubicBezTo>
                    <a:cubicBezTo>
                      <a:pt x="2533" y="1252"/>
                      <a:pt x="2543" y="1262"/>
                      <a:pt x="2543" y="1262"/>
                    </a:cubicBezTo>
                    <a:cubicBezTo>
                      <a:pt x="2549" y="1244"/>
                      <a:pt x="2549" y="1244"/>
                      <a:pt x="2549" y="1244"/>
                    </a:cubicBezTo>
                    <a:cubicBezTo>
                      <a:pt x="2537" y="1230"/>
                      <a:pt x="2537" y="1230"/>
                      <a:pt x="2537" y="1230"/>
                    </a:cubicBezTo>
                    <a:lnTo>
                      <a:pt x="2525" y="1228"/>
                    </a:lnTo>
                    <a:close/>
                    <a:moveTo>
                      <a:pt x="2577" y="1240"/>
                    </a:moveTo>
                    <a:cubicBezTo>
                      <a:pt x="2576" y="1251"/>
                      <a:pt x="2567" y="1253"/>
                      <a:pt x="2579" y="1254"/>
                    </a:cubicBezTo>
                    <a:cubicBezTo>
                      <a:pt x="2591" y="1255"/>
                      <a:pt x="2596" y="1253"/>
                      <a:pt x="2596" y="1253"/>
                    </a:cubicBezTo>
                    <a:cubicBezTo>
                      <a:pt x="2596" y="1253"/>
                      <a:pt x="2604" y="1272"/>
                      <a:pt x="2605" y="1265"/>
                    </a:cubicBezTo>
                    <a:cubicBezTo>
                      <a:pt x="2607" y="1259"/>
                      <a:pt x="2617" y="1245"/>
                      <a:pt x="2619" y="1244"/>
                    </a:cubicBezTo>
                    <a:cubicBezTo>
                      <a:pt x="2621" y="1244"/>
                      <a:pt x="2630" y="1244"/>
                      <a:pt x="2622" y="1239"/>
                    </a:cubicBezTo>
                    <a:cubicBezTo>
                      <a:pt x="2614" y="1234"/>
                      <a:pt x="2607" y="1227"/>
                      <a:pt x="2610" y="1227"/>
                    </a:cubicBezTo>
                    <a:cubicBezTo>
                      <a:pt x="2613" y="1226"/>
                      <a:pt x="2620" y="1227"/>
                      <a:pt x="2615" y="1224"/>
                    </a:cubicBezTo>
                    <a:cubicBezTo>
                      <a:pt x="2610" y="1220"/>
                      <a:pt x="2624" y="1211"/>
                      <a:pt x="2624" y="1211"/>
                    </a:cubicBezTo>
                    <a:cubicBezTo>
                      <a:pt x="2624" y="1211"/>
                      <a:pt x="2616" y="1199"/>
                      <a:pt x="2615" y="1200"/>
                    </a:cubicBezTo>
                    <a:cubicBezTo>
                      <a:pt x="2614" y="1200"/>
                      <a:pt x="2601" y="1205"/>
                      <a:pt x="2601" y="1210"/>
                    </a:cubicBezTo>
                    <a:cubicBezTo>
                      <a:pt x="2601" y="1215"/>
                      <a:pt x="2601" y="1219"/>
                      <a:pt x="2601" y="1219"/>
                    </a:cubicBezTo>
                    <a:cubicBezTo>
                      <a:pt x="2601" y="1219"/>
                      <a:pt x="2592" y="1207"/>
                      <a:pt x="2590" y="1208"/>
                    </a:cubicBezTo>
                    <a:cubicBezTo>
                      <a:pt x="2588" y="1209"/>
                      <a:pt x="2585" y="1213"/>
                      <a:pt x="2585" y="1213"/>
                    </a:cubicBezTo>
                    <a:cubicBezTo>
                      <a:pt x="2569" y="1224"/>
                      <a:pt x="2569" y="1224"/>
                      <a:pt x="2569" y="1224"/>
                    </a:cubicBezTo>
                    <a:cubicBezTo>
                      <a:pt x="2569" y="1224"/>
                      <a:pt x="2578" y="1229"/>
                      <a:pt x="2577" y="1240"/>
                    </a:cubicBezTo>
                    <a:close/>
                    <a:moveTo>
                      <a:pt x="2629" y="1260"/>
                    </a:moveTo>
                    <a:cubicBezTo>
                      <a:pt x="2612" y="1266"/>
                      <a:pt x="2612" y="1266"/>
                      <a:pt x="2612" y="1266"/>
                    </a:cubicBezTo>
                    <a:cubicBezTo>
                      <a:pt x="2612" y="1266"/>
                      <a:pt x="2602" y="1270"/>
                      <a:pt x="2598" y="1269"/>
                    </a:cubicBezTo>
                    <a:cubicBezTo>
                      <a:pt x="2594" y="1269"/>
                      <a:pt x="2578" y="1262"/>
                      <a:pt x="2573" y="1262"/>
                    </a:cubicBezTo>
                    <a:cubicBezTo>
                      <a:pt x="2563" y="1262"/>
                      <a:pt x="2565" y="1273"/>
                      <a:pt x="2573" y="1272"/>
                    </a:cubicBezTo>
                    <a:cubicBezTo>
                      <a:pt x="2581" y="1270"/>
                      <a:pt x="2592" y="1282"/>
                      <a:pt x="2592" y="1282"/>
                    </a:cubicBezTo>
                    <a:cubicBezTo>
                      <a:pt x="2592" y="1282"/>
                      <a:pt x="2609" y="1279"/>
                      <a:pt x="2626" y="1275"/>
                    </a:cubicBezTo>
                    <a:cubicBezTo>
                      <a:pt x="2644" y="1272"/>
                      <a:pt x="2629" y="1260"/>
                      <a:pt x="2629" y="126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8" name="MCShape 150">
                <a:extLst>
                  <a:ext uri="{FF2B5EF4-FFF2-40B4-BE49-F238E27FC236}">
                    <a16:creationId xmlns:a16="http://schemas.microsoft.com/office/drawing/2014/main" id="{8AF4095E-CF57-460B-B696-2CB2C943E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815" y="2343133"/>
                <a:ext cx="140754" cy="63416"/>
              </a:xfrm>
              <a:custGeom>
                <a:avLst/>
                <a:gdLst>
                  <a:gd name="T0" fmla="*/ 228 w 237"/>
                  <a:gd name="T1" fmla="*/ 76 h 107"/>
                  <a:gd name="T2" fmla="*/ 221 w 237"/>
                  <a:gd name="T3" fmla="*/ 74 h 107"/>
                  <a:gd name="T4" fmla="*/ 226 w 237"/>
                  <a:gd name="T5" fmla="*/ 56 h 107"/>
                  <a:gd name="T6" fmla="*/ 217 w 237"/>
                  <a:gd name="T7" fmla="*/ 52 h 107"/>
                  <a:gd name="T8" fmla="*/ 220 w 237"/>
                  <a:gd name="T9" fmla="*/ 36 h 107"/>
                  <a:gd name="T10" fmla="*/ 231 w 237"/>
                  <a:gd name="T11" fmla="*/ 30 h 107"/>
                  <a:gd name="T12" fmla="*/ 228 w 237"/>
                  <a:gd name="T13" fmla="*/ 21 h 107"/>
                  <a:gd name="T14" fmla="*/ 231 w 237"/>
                  <a:gd name="T15" fmla="*/ 11 h 107"/>
                  <a:gd name="T16" fmla="*/ 170 w 237"/>
                  <a:gd name="T17" fmla="*/ 1 h 107"/>
                  <a:gd name="T18" fmla="*/ 110 w 237"/>
                  <a:gd name="T19" fmla="*/ 6 h 107"/>
                  <a:gd name="T20" fmla="*/ 60 w 237"/>
                  <a:gd name="T21" fmla="*/ 31 h 107"/>
                  <a:gd name="T22" fmla="*/ 66 w 237"/>
                  <a:gd name="T23" fmla="*/ 56 h 107"/>
                  <a:gd name="T24" fmla="*/ 105 w 237"/>
                  <a:gd name="T25" fmla="*/ 61 h 107"/>
                  <a:gd name="T26" fmla="*/ 98 w 237"/>
                  <a:gd name="T27" fmla="*/ 85 h 107"/>
                  <a:gd name="T28" fmla="*/ 102 w 237"/>
                  <a:gd name="T29" fmla="*/ 85 h 107"/>
                  <a:gd name="T30" fmla="*/ 123 w 237"/>
                  <a:gd name="T31" fmla="*/ 79 h 107"/>
                  <a:gd name="T32" fmla="*/ 144 w 237"/>
                  <a:gd name="T33" fmla="*/ 78 h 107"/>
                  <a:gd name="T34" fmla="*/ 172 w 237"/>
                  <a:gd name="T35" fmla="*/ 95 h 107"/>
                  <a:gd name="T36" fmla="*/ 192 w 237"/>
                  <a:gd name="T37" fmla="*/ 107 h 107"/>
                  <a:gd name="T38" fmla="*/ 203 w 237"/>
                  <a:gd name="T39" fmla="*/ 101 h 107"/>
                  <a:gd name="T40" fmla="*/ 216 w 237"/>
                  <a:gd name="T41" fmla="*/ 106 h 107"/>
                  <a:gd name="T42" fmla="*/ 224 w 237"/>
                  <a:gd name="T43" fmla="*/ 105 h 107"/>
                  <a:gd name="T44" fmla="*/ 224 w 237"/>
                  <a:gd name="T45" fmla="*/ 97 h 107"/>
                  <a:gd name="T46" fmla="*/ 237 w 237"/>
                  <a:gd name="T47" fmla="*/ 88 h 107"/>
                  <a:gd name="T48" fmla="*/ 228 w 237"/>
                  <a:gd name="T49" fmla="*/ 76 h 107"/>
                  <a:gd name="T50" fmla="*/ 27 w 237"/>
                  <a:gd name="T51" fmla="*/ 53 h 107"/>
                  <a:gd name="T52" fmla="*/ 7 w 237"/>
                  <a:gd name="T53" fmla="*/ 55 h 107"/>
                  <a:gd name="T54" fmla="*/ 9 w 237"/>
                  <a:gd name="T55" fmla="*/ 74 h 107"/>
                  <a:gd name="T56" fmla="*/ 14 w 237"/>
                  <a:gd name="T57" fmla="*/ 87 h 107"/>
                  <a:gd name="T58" fmla="*/ 34 w 237"/>
                  <a:gd name="T59" fmla="*/ 74 h 107"/>
                  <a:gd name="T60" fmla="*/ 55 w 237"/>
                  <a:gd name="T61" fmla="*/ 60 h 107"/>
                  <a:gd name="T62" fmla="*/ 51 w 237"/>
                  <a:gd name="T63" fmla="*/ 49 h 107"/>
                  <a:gd name="T64" fmla="*/ 27 w 237"/>
                  <a:gd name="T65" fmla="*/ 53 h 107"/>
                  <a:gd name="T66" fmla="*/ 29 w 237"/>
                  <a:gd name="T67" fmla="*/ 45 h 107"/>
                  <a:gd name="T68" fmla="*/ 35 w 237"/>
                  <a:gd name="T69" fmla="*/ 25 h 107"/>
                  <a:gd name="T70" fmla="*/ 29 w 237"/>
                  <a:gd name="T71" fmla="*/ 45 h 10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37"/>
                  <a:gd name="T109" fmla="*/ 0 h 107"/>
                  <a:gd name="T110" fmla="*/ 237 w 237"/>
                  <a:gd name="T111" fmla="*/ 107 h 10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37" h="107">
                    <a:moveTo>
                      <a:pt x="228" y="76"/>
                    </a:moveTo>
                    <a:cubicBezTo>
                      <a:pt x="221" y="74"/>
                      <a:pt x="221" y="74"/>
                      <a:pt x="221" y="74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17" y="52"/>
                      <a:pt x="217" y="52"/>
                      <a:pt x="217" y="52"/>
                    </a:cubicBezTo>
                    <a:cubicBezTo>
                      <a:pt x="217" y="52"/>
                      <a:pt x="216" y="38"/>
                      <a:pt x="220" y="36"/>
                    </a:cubicBezTo>
                    <a:cubicBezTo>
                      <a:pt x="224" y="34"/>
                      <a:pt x="231" y="30"/>
                      <a:pt x="231" y="30"/>
                    </a:cubicBezTo>
                    <a:cubicBezTo>
                      <a:pt x="228" y="21"/>
                      <a:pt x="228" y="21"/>
                      <a:pt x="228" y="21"/>
                    </a:cubicBezTo>
                    <a:cubicBezTo>
                      <a:pt x="231" y="11"/>
                      <a:pt x="231" y="11"/>
                      <a:pt x="231" y="11"/>
                    </a:cubicBezTo>
                    <a:cubicBezTo>
                      <a:pt x="215" y="8"/>
                      <a:pt x="180" y="2"/>
                      <a:pt x="170" y="1"/>
                    </a:cubicBezTo>
                    <a:cubicBezTo>
                      <a:pt x="157" y="0"/>
                      <a:pt x="110" y="6"/>
                      <a:pt x="110" y="6"/>
                    </a:cubicBezTo>
                    <a:cubicBezTo>
                      <a:pt x="110" y="6"/>
                      <a:pt x="60" y="24"/>
                      <a:pt x="60" y="31"/>
                    </a:cubicBezTo>
                    <a:cubicBezTo>
                      <a:pt x="60" y="38"/>
                      <a:pt x="66" y="56"/>
                      <a:pt x="66" y="56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98" y="85"/>
                      <a:pt x="98" y="85"/>
                      <a:pt x="98" y="85"/>
                    </a:cubicBezTo>
                    <a:cubicBezTo>
                      <a:pt x="102" y="85"/>
                      <a:pt x="102" y="85"/>
                      <a:pt x="102" y="85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3" y="79"/>
                      <a:pt x="129" y="75"/>
                      <a:pt x="144" y="78"/>
                    </a:cubicBezTo>
                    <a:cubicBezTo>
                      <a:pt x="159" y="81"/>
                      <a:pt x="161" y="86"/>
                      <a:pt x="172" y="95"/>
                    </a:cubicBezTo>
                    <a:cubicBezTo>
                      <a:pt x="183" y="104"/>
                      <a:pt x="186" y="107"/>
                      <a:pt x="192" y="107"/>
                    </a:cubicBezTo>
                    <a:cubicBezTo>
                      <a:pt x="198" y="107"/>
                      <a:pt x="200" y="100"/>
                      <a:pt x="203" y="101"/>
                    </a:cubicBezTo>
                    <a:cubicBezTo>
                      <a:pt x="206" y="102"/>
                      <a:pt x="216" y="106"/>
                      <a:pt x="216" y="106"/>
                    </a:cubicBezTo>
                    <a:cubicBezTo>
                      <a:pt x="224" y="105"/>
                      <a:pt x="224" y="105"/>
                      <a:pt x="224" y="105"/>
                    </a:cubicBezTo>
                    <a:cubicBezTo>
                      <a:pt x="224" y="97"/>
                      <a:pt x="224" y="97"/>
                      <a:pt x="224" y="97"/>
                    </a:cubicBezTo>
                    <a:cubicBezTo>
                      <a:pt x="237" y="88"/>
                      <a:pt x="237" y="88"/>
                      <a:pt x="237" y="88"/>
                    </a:cubicBezTo>
                    <a:lnTo>
                      <a:pt x="228" y="76"/>
                    </a:lnTo>
                    <a:close/>
                    <a:moveTo>
                      <a:pt x="27" y="53"/>
                    </a:moveTo>
                    <a:cubicBezTo>
                      <a:pt x="27" y="53"/>
                      <a:pt x="14" y="52"/>
                      <a:pt x="7" y="55"/>
                    </a:cubicBezTo>
                    <a:cubicBezTo>
                      <a:pt x="0" y="57"/>
                      <a:pt x="9" y="74"/>
                      <a:pt x="9" y="74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4" y="87"/>
                      <a:pt x="30" y="74"/>
                      <a:pt x="34" y="74"/>
                    </a:cubicBezTo>
                    <a:cubicBezTo>
                      <a:pt x="38" y="74"/>
                      <a:pt x="55" y="60"/>
                      <a:pt x="55" y="60"/>
                    </a:cubicBezTo>
                    <a:cubicBezTo>
                      <a:pt x="51" y="49"/>
                      <a:pt x="51" y="49"/>
                      <a:pt x="51" y="49"/>
                    </a:cubicBezTo>
                    <a:lnTo>
                      <a:pt x="27" y="53"/>
                    </a:lnTo>
                    <a:close/>
                    <a:moveTo>
                      <a:pt x="29" y="45"/>
                    </a:moveTo>
                    <a:cubicBezTo>
                      <a:pt x="44" y="45"/>
                      <a:pt x="48" y="23"/>
                      <a:pt x="35" y="25"/>
                    </a:cubicBezTo>
                    <a:cubicBezTo>
                      <a:pt x="22" y="28"/>
                      <a:pt x="15" y="45"/>
                      <a:pt x="29" y="4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59" name="MCShape 151">
                <a:extLst>
                  <a:ext uri="{FF2B5EF4-FFF2-40B4-BE49-F238E27FC236}">
                    <a16:creationId xmlns:a16="http://schemas.microsoft.com/office/drawing/2014/main" id="{0B6889E9-EE00-4FE1-8254-D0F047FD2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734" y="3979583"/>
                <a:ext cx="272226" cy="210357"/>
              </a:xfrm>
              <a:custGeom>
                <a:avLst/>
                <a:gdLst>
                  <a:gd name="T0" fmla="*/ 9 w 461"/>
                  <a:gd name="T1" fmla="*/ 338 h 355"/>
                  <a:gd name="T2" fmla="*/ 43 w 461"/>
                  <a:gd name="T3" fmla="*/ 352 h 355"/>
                  <a:gd name="T4" fmla="*/ 61 w 461"/>
                  <a:gd name="T5" fmla="*/ 342 h 355"/>
                  <a:gd name="T6" fmla="*/ 98 w 461"/>
                  <a:gd name="T7" fmla="*/ 345 h 355"/>
                  <a:gd name="T8" fmla="*/ 121 w 461"/>
                  <a:gd name="T9" fmla="*/ 318 h 355"/>
                  <a:gd name="T10" fmla="*/ 150 w 461"/>
                  <a:gd name="T11" fmla="*/ 318 h 355"/>
                  <a:gd name="T12" fmla="*/ 182 w 461"/>
                  <a:gd name="T13" fmla="*/ 335 h 355"/>
                  <a:gd name="T14" fmla="*/ 203 w 461"/>
                  <a:gd name="T15" fmla="*/ 322 h 355"/>
                  <a:gd name="T16" fmla="*/ 219 w 461"/>
                  <a:gd name="T17" fmla="*/ 322 h 355"/>
                  <a:gd name="T18" fmla="*/ 236 w 461"/>
                  <a:gd name="T19" fmla="*/ 299 h 355"/>
                  <a:gd name="T20" fmla="*/ 235 w 461"/>
                  <a:gd name="T21" fmla="*/ 287 h 355"/>
                  <a:gd name="T22" fmla="*/ 257 w 461"/>
                  <a:gd name="T23" fmla="*/ 268 h 355"/>
                  <a:gd name="T24" fmla="*/ 252 w 461"/>
                  <a:gd name="T25" fmla="*/ 243 h 355"/>
                  <a:gd name="T26" fmla="*/ 265 w 461"/>
                  <a:gd name="T27" fmla="*/ 235 h 355"/>
                  <a:gd name="T28" fmla="*/ 275 w 461"/>
                  <a:gd name="T29" fmla="*/ 204 h 355"/>
                  <a:gd name="T30" fmla="*/ 284 w 461"/>
                  <a:gd name="T31" fmla="*/ 165 h 355"/>
                  <a:gd name="T32" fmla="*/ 344 w 461"/>
                  <a:gd name="T33" fmla="*/ 166 h 355"/>
                  <a:gd name="T34" fmla="*/ 375 w 461"/>
                  <a:gd name="T35" fmla="*/ 190 h 355"/>
                  <a:gd name="T36" fmla="*/ 374 w 461"/>
                  <a:gd name="T37" fmla="*/ 189 h 355"/>
                  <a:gd name="T38" fmla="*/ 387 w 461"/>
                  <a:gd name="T39" fmla="*/ 186 h 355"/>
                  <a:gd name="T40" fmla="*/ 378 w 461"/>
                  <a:gd name="T41" fmla="*/ 144 h 355"/>
                  <a:gd name="T42" fmla="*/ 402 w 461"/>
                  <a:gd name="T43" fmla="*/ 162 h 355"/>
                  <a:gd name="T44" fmla="*/ 427 w 461"/>
                  <a:gd name="T45" fmla="*/ 160 h 355"/>
                  <a:gd name="T46" fmla="*/ 408 w 461"/>
                  <a:gd name="T47" fmla="*/ 126 h 355"/>
                  <a:gd name="T48" fmla="*/ 444 w 461"/>
                  <a:gd name="T49" fmla="*/ 131 h 355"/>
                  <a:gd name="T50" fmla="*/ 461 w 461"/>
                  <a:gd name="T51" fmla="*/ 111 h 355"/>
                  <a:gd name="T52" fmla="*/ 444 w 461"/>
                  <a:gd name="T53" fmla="*/ 105 h 355"/>
                  <a:gd name="T54" fmla="*/ 433 w 461"/>
                  <a:gd name="T55" fmla="*/ 88 h 355"/>
                  <a:gd name="T56" fmla="*/ 393 w 461"/>
                  <a:gd name="T57" fmla="*/ 77 h 355"/>
                  <a:gd name="T58" fmla="*/ 380 w 461"/>
                  <a:gd name="T59" fmla="*/ 46 h 355"/>
                  <a:gd name="T60" fmla="*/ 354 w 461"/>
                  <a:gd name="T61" fmla="*/ 42 h 355"/>
                  <a:gd name="T62" fmla="*/ 343 w 461"/>
                  <a:gd name="T63" fmla="*/ 1 h 355"/>
                  <a:gd name="T64" fmla="*/ 339 w 461"/>
                  <a:gd name="T65" fmla="*/ 14 h 355"/>
                  <a:gd name="T66" fmla="*/ 329 w 461"/>
                  <a:gd name="T67" fmla="*/ 0 h 355"/>
                  <a:gd name="T68" fmla="*/ 323 w 461"/>
                  <a:gd name="T69" fmla="*/ 41 h 355"/>
                  <a:gd name="T70" fmla="*/ 301 w 461"/>
                  <a:gd name="T71" fmla="*/ 50 h 355"/>
                  <a:gd name="T72" fmla="*/ 293 w 461"/>
                  <a:gd name="T73" fmla="*/ 77 h 355"/>
                  <a:gd name="T74" fmla="*/ 276 w 461"/>
                  <a:gd name="T75" fmla="*/ 83 h 355"/>
                  <a:gd name="T76" fmla="*/ 283 w 461"/>
                  <a:gd name="T77" fmla="*/ 107 h 355"/>
                  <a:gd name="T78" fmla="*/ 243 w 461"/>
                  <a:gd name="T79" fmla="*/ 101 h 355"/>
                  <a:gd name="T80" fmla="*/ 227 w 461"/>
                  <a:gd name="T81" fmla="*/ 136 h 355"/>
                  <a:gd name="T82" fmla="*/ 200 w 461"/>
                  <a:gd name="T83" fmla="*/ 166 h 355"/>
                  <a:gd name="T84" fmla="*/ 176 w 461"/>
                  <a:gd name="T85" fmla="*/ 213 h 355"/>
                  <a:gd name="T86" fmla="*/ 110 w 461"/>
                  <a:gd name="T87" fmla="*/ 235 h 355"/>
                  <a:gd name="T88" fmla="*/ 69 w 461"/>
                  <a:gd name="T89" fmla="*/ 262 h 355"/>
                  <a:gd name="T90" fmla="*/ 60 w 461"/>
                  <a:gd name="T91" fmla="*/ 285 h 355"/>
                  <a:gd name="T92" fmla="*/ 65 w 461"/>
                  <a:gd name="T93" fmla="*/ 317 h 355"/>
                  <a:gd name="T94" fmla="*/ 23 w 461"/>
                  <a:gd name="T95" fmla="*/ 305 h 355"/>
                  <a:gd name="T96" fmla="*/ 0 w 461"/>
                  <a:gd name="T97" fmla="*/ 322 h 355"/>
                  <a:gd name="T98" fmla="*/ 0 w 461"/>
                  <a:gd name="T99" fmla="*/ 322 h 355"/>
                  <a:gd name="T100" fmla="*/ 9 w 461"/>
                  <a:gd name="T101" fmla="*/ 338 h 35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61"/>
                  <a:gd name="T154" fmla="*/ 0 h 355"/>
                  <a:gd name="T155" fmla="*/ 461 w 461"/>
                  <a:gd name="T156" fmla="*/ 355 h 35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61" h="355">
                    <a:moveTo>
                      <a:pt x="9" y="338"/>
                    </a:moveTo>
                    <a:cubicBezTo>
                      <a:pt x="17" y="347"/>
                      <a:pt x="39" y="355"/>
                      <a:pt x="43" y="352"/>
                    </a:cubicBezTo>
                    <a:cubicBezTo>
                      <a:pt x="47" y="350"/>
                      <a:pt x="46" y="342"/>
                      <a:pt x="61" y="342"/>
                    </a:cubicBezTo>
                    <a:cubicBezTo>
                      <a:pt x="75" y="342"/>
                      <a:pt x="88" y="351"/>
                      <a:pt x="98" y="345"/>
                    </a:cubicBezTo>
                    <a:cubicBezTo>
                      <a:pt x="108" y="339"/>
                      <a:pt x="121" y="318"/>
                      <a:pt x="121" y="318"/>
                    </a:cubicBezTo>
                    <a:cubicBezTo>
                      <a:pt x="121" y="318"/>
                      <a:pt x="146" y="315"/>
                      <a:pt x="150" y="318"/>
                    </a:cubicBezTo>
                    <a:cubicBezTo>
                      <a:pt x="154" y="320"/>
                      <a:pt x="179" y="336"/>
                      <a:pt x="182" y="335"/>
                    </a:cubicBezTo>
                    <a:cubicBezTo>
                      <a:pt x="185" y="335"/>
                      <a:pt x="203" y="322"/>
                      <a:pt x="203" y="322"/>
                    </a:cubicBezTo>
                    <a:cubicBezTo>
                      <a:pt x="219" y="322"/>
                      <a:pt x="219" y="322"/>
                      <a:pt x="219" y="322"/>
                    </a:cubicBezTo>
                    <a:cubicBezTo>
                      <a:pt x="236" y="299"/>
                      <a:pt x="236" y="299"/>
                      <a:pt x="236" y="299"/>
                    </a:cubicBezTo>
                    <a:cubicBezTo>
                      <a:pt x="235" y="287"/>
                      <a:pt x="235" y="287"/>
                      <a:pt x="235" y="287"/>
                    </a:cubicBezTo>
                    <a:cubicBezTo>
                      <a:pt x="257" y="268"/>
                      <a:pt x="257" y="268"/>
                      <a:pt x="257" y="268"/>
                    </a:cubicBezTo>
                    <a:cubicBezTo>
                      <a:pt x="257" y="268"/>
                      <a:pt x="245" y="252"/>
                      <a:pt x="252" y="243"/>
                    </a:cubicBezTo>
                    <a:cubicBezTo>
                      <a:pt x="258" y="234"/>
                      <a:pt x="265" y="235"/>
                      <a:pt x="265" y="235"/>
                    </a:cubicBezTo>
                    <a:cubicBezTo>
                      <a:pt x="265" y="235"/>
                      <a:pt x="274" y="220"/>
                      <a:pt x="275" y="204"/>
                    </a:cubicBezTo>
                    <a:cubicBezTo>
                      <a:pt x="277" y="188"/>
                      <a:pt x="270" y="166"/>
                      <a:pt x="284" y="165"/>
                    </a:cubicBezTo>
                    <a:cubicBezTo>
                      <a:pt x="299" y="164"/>
                      <a:pt x="340" y="165"/>
                      <a:pt x="344" y="166"/>
                    </a:cubicBezTo>
                    <a:cubicBezTo>
                      <a:pt x="348" y="166"/>
                      <a:pt x="367" y="183"/>
                      <a:pt x="375" y="190"/>
                    </a:cubicBezTo>
                    <a:cubicBezTo>
                      <a:pt x="374" y="189"/>
                      <a:pt x="374" y="189"/>
                      <a:pt x="374" y="189"/>
                    </a:cubicBezTo>
                    <a:cubicBezTo>
                      <a:pt x="387" y="186"/>
                      <a:pt x="387" y="186"/>
                      <a:pt x="387" y="186"/>
                    </a:cubicBezTo>
                    <a:cubicBezTo>
                      <a:pt x="378" y="144"/>
                      <a:pt x="378" y="144"/>
                      <a:pt x="378" y="144"/>
                    </a:cubicBezTo>
                    <a:cubicBezTo>
                      <a:pt x="378" y="144"/>
                      <a:pt x="393" y="160"/>
                      <a:pt x="402" y="162"/>
                    </a:cubicBezTo>
                    <a:cubicBezTo>
                      <a:pt x="412" y="163"/>
                      <a:pt x="427" y="160"/>
                      <a:pt x="427" y="160"/>
                    </a:cubicBezTo>
                    <a:cubicBezTo>
                      <a:pt x="427" y="160"/>
                      <a:pt x="402" y="136"/>
                      <a:pt x="408" y="126"/>
                    </a:cubicBezTo>
                    <a:cubicBezTo>
                      <a:pt x="413" y="115"/>
                      <a:pt x="444" y="131"/>
                      <a:pt x="444" y="131"/>
                    </a:cubicBezTo>
                    <a:cubicBezTo>
                      <a:pt x="461" y="111"/>
                      <a:pt x="461" y="111"/>
                      <a:pt x="461" y="111"/>
                    </a:cubicBezTo>
                    <a:cubicBezTo>
                      <a:pt x="444" y="105"/>
                      <a:pt x="444" y="105"/>
                      <a:pt x="444" y="105"/>
                    </a:cubicBezTo>
                    <a:cubicBezTo>
                      <a:pt x="444" y="105"/>
                      <a:pt x="441" y="93"/>
                      <a:pt x="433" y="88"/>
                    </a:cubicBezTo>
                    <a:cubicBezTo>
                      <a:pt x="425" y="82"/>
                      <a:pt x="393" y="77"/>
                      <a:pt x="393" y="77"/>
                    </a:cubicBezTo>
                    <a:cubicBezTo>
                      <a:pt x="393" y="77"/>
                      <a:pt x="392" y="58"/>
                      <a:pt x="380" y="46"/>
                    </a:cubicBezTo>
                    <a:cubicBezTo>
                      <a:pt x="367" y="33"/>
                      <a:pt x="354" y="42"/>
                      <a:pt x="354" y="42"/>
                    </a:cubicBezTo>
                    <a:cubicBezTo>
                      <a:pt x="343" y="1"/>
                      <a:pt x="343" y="1"/>
                      <a:pt x="343" y="1"/>
                    </a:cubicBezTo>
                    <a:cubicBezTo>
                      <a:pt x="339" y="14"/>
                      <a:pt x="339" y="14"/>
                      <a:pt x="339" y="14"/>
                    </a:cubicBezTo>
                    <a:cubicBezTo>
                      <a:pt x="329" y="0"/>
                      <a:pt x="329" y="0"/>
                      <a:pt x="329" y="0"/>
                    </a:cubicBezTo>
                    <a:cubicBezTo>
                      <a:pt x="323" y="41"/>
                      <a:pt x="323" y="41"/>
                      <a:pt x="323" y="41"/>
                    </a:cubicBezTo>
                    <a:cubicBezTo>
                      <a:pt x="323" y="41"/>
                      <a:pt x="308" y="45"/>
                      <a:pt x="301" y="50"/>
                    </a:cubicBezTo>
                    <a:cubicBezTo>
                      <a:pt x="294" y="55"/>
                      <a:pt x="293" y="77"/>
                      <a:pt x="293" y="77"/>
                    </a:cubicBezTo>
                    <a:cubicBezTo>
                      <a:pt x="276" y="83"/>
                      <a:pt x="276" y="83"/>
                      <a:pt x="276" y="83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3" y="107"/>
                      <a:pt x="259" y="104"/>
                      <a:pt x="243" y="101"/>
                    </a:cubicBezTo>
                    <a:cubicBezTo>
                      <a:pt x="228" y="97"/>
                      <a:pt x="227" y="136"/>
                      <a:pt x="227" y="136"/>
                    </a:cubicBezTo>
                    <a:cubicBezTo>
                      <a:pt x="200" y="166"/>
                      <a:pt x="200" y="166"/>
                      <a:pt x="200" y="166"/>
                    </a:cubicBezTo>
                    <a:cubicBezTo>
                      <a:pt x="200" y="166"/>
                      <a:pt x="192" y="201"/>
                      <a:pt x="176" y="213"/>
                    </a:cubicBezTo>
                    <a:cubicBezTo>
                      <a:pt x="160" y="224"/>
                      <a:pt x="119" y="232"/>
                      <a:pt x="110" y="235"/>
                    </a:cubicBezTo>
                    <a:cubicBezTo>
                      <a:pt x="101" y="237"/>
                      <a:pt x="69" y="262"/>
                      <a:pt x="69" y="262"/>
                    </a:cubicBezTo>
                    <a:cubicBezTo>
                      <a:pt x="60" y="285"/>
                      <a:pt x="60" y="285"/>
                      <a:pt x="60" y="285"/>
                    </a:cubicBezTo>
                    <a:cubicBezTo>
                      <a:pt x="60" y="285"/>
                      <a:pt x="84" y="303"/>
                      <a:pt x="65" y="317"/>
                    </a:cubicBezTo>
                    <a:cubicBezTo>
                      <a:pt x="47" y="331"/>
                      <a:pt x="34" y="308"/>
                      <a:pt x="23" y="305"/>
                    </a:cubicBezTo>
                    <a:cubicBezTo>
                      <a:pt x="13" y="303"/>
                      <a:pt x="0" y="322"/>
                      <a:pt x="0" y="322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3" y="328"/>
                      <a:pt x="5" y="334"/>
                      <a:pt x="9" y="33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0" name="MCShape 152">
                <a:extLst>
                  <a:ext uri="{FF2B5EF4-FFF2-40B4-BE49-F238E27FC236}">
                    <a16:creationId xmlns:a16="http://schemas.microsoft.com/office/drawing/2014/main" id="{A09F785D-815D-4EC2-BAB0-5A163F07B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05325" y="4477633"/>
                <a:ext cx="98992" cy="44856"/>
              </a:xfrm>
              <a:custGeom>
                <a:avLst/>
                <a:gdLst>
                  <a:gd name="T0" fmla="*/ 53 w 168"/>
                  <a:gd name="T1" fmla="*/ 33 h 77"/>
                  <a:gd name="T2" fmla="*/ 53 w 168"/>
                  <a:gd name="T3" fmla="*/ 33 h 77"/>
                  <a:gd name="T4" fmla="*/ 53 w 168"/>
                  <a:gd name="T5" fmla="*/ 33 h 77"/>
                  <a:gd name="T6" fmla="*/ 53 w 168"/>
                  <a:gd name="T7" fmla="*/ 33 h 77"/>
                  <a:gd name="T8" fmla="*/ 152 w 168"/>
                  <a:gd name="T9" fmla="*/ 0 h 77"/>
                  <a:gd name="T10" fmla="*/ 139 w 168"/>
                  <a:gd name="T11" fmla="*/ 14 h 77"/>
                  <a:gd name="T12" fmla="*/ 84 w 168"/>
                  <a:gd name="T13" fmla="*/ 15 h 77"/>
                  <a:gd name="T14" fmla="*/ 67 w 168"/>
                  <a:gd name="T15" fmla="*/ 33 h 77"/>
                  <a:gd name="T16" fmla="*/ 53 w 168"/>
                  <a:gd name="T17" fmla="*/ 33 h 77"/>
                  <a:gd name="T18" fmla="*/ 60 w 168"/>
                  <a:gd name="T19" fmla="*/ 47 h 77"/>
                  <a:gd name="T20" fmla="*/ 50 w 168"/>
                  <a:gd name="T21" fmla="*/ 66 h 77"/>
                  <a:gd name="T22" fmla="*/ 52 w 168"/>
                  <a:gd name="T23" fmla="*/ 77 h 77"/>
                  <a:gd name="T24" fmla="*/ 57 w 168"/>
                  <a:gd name="T25" fmla="*/ 72 h 77"/>
                  <a:gd name="T26" fmla="*/ 67 w 168"/>
                  <a:gd name="T27" fmla="*/ 69 h 77"/>
                  <a:gd name="T28" fmla="*/ 89 w 168"/>
                  <a:gd name="T29" fmla="*/ 53 h 77"/>
                  <a:gd name="T30" fmla="*/ 111 w 168"/>
                  <a:gd name="T31" fmla="*/ 59 h 77"/>
                  <a:gd name="T32" fmla="*/ 168 w 168"/>
                  <a:gd name="T33" fmla="*/ 9 h 77"/>
                  <a:gd name="T34" fmla="*/ 152 w 168"/>
                  <a:gd name="T35" fmla="*/ 0 h 77"/>
                  <a:gd name="T36" fmla="*/ 0 w 168"/>
                  <a:gd name="T37" fmla="*/ 58 h 77"/>
                  <a:gd name="T38" fmla="*/ 4 w 168"/>
                  <a:gd name="T39" fmla="*/ 67 h 77"/>
                  <a:gd name="T40" fmla="*/ 24 w 168"/>
                  <a:gd name="T41" fmla="*/ 61 h 77"/>
                  <a:gd name="T42" fmla="*/ 28 w 168"/>
                  <a:gd name="T43" fmla="*/ 48 h 77"/>
                  <a:gd name="T44" fmla="*/ 11 w 168"/>
                  <a:gd name="T45" fmla="*/ 47 h 77"/>
                  <a:gd name="T46" fmla="*/ 0 w 168"/>
                  <a:gd name="T47" fmla="*/ 58 h 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68"/>
                  <a:gd name="T73" fmla="*/ 0 h 77"/>
                  <a:gd name="T74" fmla="*/ 168 w 168"/>
                  <a:gd name="T75" fmla="*/ 77 h 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68" h="77">
                    <a:moveTo>
                      <a:pt x="53" y="33"/>
                    </a:move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lose/>
                    <a:moveTo>
                      <a:pt x="152" y="0"/>
                    </a:move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96" y="15"/>
                      <a:pt x="84" y="15"/>
                    </a:cubicBezTo>
                    <a:cubicBezTo>
                      <a:pt x="73" y="15"/>
                      <a:pt x="67" y="33"/>
                      <a:pt x="67" y="33"/>
                    </a:cubicBezTo>
                    <a:cubicBezTo>
                      <a:pt x="67" y="33"/>
                      <a:pt x="61" y="32"/>
                      <a:pt x="53" y="33"/>
                    </a:cubicBezTo>
                    <a:cubicBezTo>
                      <a:pt x="60" y="47"/>
                      <a:pt x="60" y="47"/>
                      <a:pt x="60" y="47"/>
                    </a:cubicBezTo>
                    <a:cubicBezTo>
                      <a:pt x="60" y="47"/>
                      <a:pt x="56" y="54"/>
                      <a:pt x="50" y="66"/>
                    </a:cubicBezTo>
                    <a:cubicBezTo>
                      <a:pt x="46" y="72"/>
                      <a:pt x="49" y="76"/>
                      <a:pt x="52" y="77"/>
                    </a:cubicBezTo>
                    <a:cubicBezTo>
                      <a:pt x="55" y="74"/>
                      <a:pt x="57" y="72"/>
                      <a:pt x="57" y="72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89" y="53"/>
                      <a:pt x="89" y="53"/>
                      <a:pt x="89" y="53"/>
                    </a:cubicBezTo>
                    <a:cubicBezTo>
                      <a:pt x="89" y="53"/>
                      <a:pt x="98" y="62"/>
                      <a:pt x="111" y="59"/>
                    </a:cubicBezTo>
                    <a:cubicBezTo>
                      <a:pt x="124" y="56"/>
                      <a:pt x="168" y="9"/>
                      <a:pt x="168" y="9"/>
                    </a:cubicBezTo>
                    <a:lnTo>
                      <a:pt x="152" y="0"/>
                    </a:lnTo>
                    <a:close/>
                    <a:moveTo>
                      <a:pt x="0" y="58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15" y="58"/>
                      <a:pt x="24" y="61"/>
                      <a:pt x="24" y="61"/>
                    </a:cubicBezTo>
                    <a:cubicBezTo>
                      <a:pt x="24" y="61"/>
                      <a:pt x="24" y="54"/>
                      <a:pt x="28" y="48"/>
                    </a:cubicBezTo>
                    <a:cubicBezTo>
                      <a:pt x="11" y="47"/>
                      <a:pt x="11" y="47"/>
                      <a:pt x="11" y="47"/>
                    </a:cubicBez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1" name="MCShape 153">
                <a:extLst>
                  <a:ext uri="{FF2B5EF4-FFF2-40B4-BE49-F238E27FC236}">
                    <a16:creationId xmlns:a16="http://schemas.microsoft.com/office/drawing/2014/main" id="{348F1D19-211D-465C-BA3F-F140395F68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0893" y="4268823"/>
                <a:ext cx="431541" cy="289240"/>
              </a:xfrm>
              <a:custGeom>
                <a:avLst/>
                <a:gdLst>
                  <a:gd name="T0" fmla="*/ 296 w 730"/>
                  <a:gd name="T1" fmla="*/ 19 h 491"/>
                  <a:gd name="T2" fmla="*/ 331 w 730"/>
                  <a:gd name="T3" fmla="*/ 7 h 491"/>
                  <a:gd name="T4" fmla="*/ 521 w 730"/>
                  <a:gd name="T5" fmla="*/ 171 h 491"/>
                  <a:gd name="T6" fmla="*/ 476 w 730"/>
                  <a:gd name="T7" fmla="*/ 209 h 491"/>
                  <a:gd name="T8" fmla="*/ 404 w 730"/>
                  <a:gd name="T9" fmla="*/ 228 h 491"/>
                  <a:gd name="T10" fmla="*/ 398 w 730"/>
                  <a:gd name="T11" fmla="*/ 257 h 491"/>
                  <a:gd name="T12" fmla="*/ 474 w 730"/>
                  <a:gd name="T13" fmla="*/ 251 h 491"/>
                  <a:gd name="T14" fmla="*/ 523 w 730"/>
                  <a:gd name="T15" fmla="*/ 228 h 491"/>
                  <a:gd name="T16" fmla="*/ 536 w 730"/>
                  <a:gd name="T17" fmla="*/ 206 h 491"/>
                  <a:gd name="T18" fmla="*/ 555 w 730"/>
                  <a:gd name="T19" fmla="*/ 140 h 491"/>
                  <a:gd name="T20" fmla="*/ 564 w 730"/>
                  <a:gd name="T21" fmla="*/ 94 h 491"/>
                  <a:gd name="T22" fmla="*/ 520 w 730"/>
                  <a:gd name="T23" fmla="*/ 58 h 491"/>
                  <a:gd name="T24" fmla="*/ 494 w 730"/>
                  <a:gd name="T25" fmla="*/ 31 h 491"/>
                  <a:gd name="T26" fmla="*/ 516 w 730"/>
                  <a:gd name="T27" fmla="*/ 69 h 491"/>
                  <a:gd name="T28" fmla="*/ 576 w 730"/>
                  <a:gd name="T29" fmla="*/ 122 h 491"/>
                  <a:gd name="T30" fmla="*/ 599 w 730"/>
                  <a:gd name="T31" fmla="*/ 131 h 491"/>
                  <a:gd name="T32" fmla="*/ 728 w 730"/>
                  <a:gd name="T33" fmla="*/ 249 h 491"/>
                  <a:gd name="T34" fmla="*/ 664 w 730"/>
                  <a:gd name="T35" fmla="*/ 185 h 491"/>
                  <a:gd name="T36" fmla="*/ 670 w 730"/>
                  <a:gd name="T37" fmla="*/ 225 h 491"/>
                  <a:gd name="T38" fmla="*/ 730 w 730"/>
                  <a:gd name="T39" fmla="*/ 300 h 491"/>
                  <a:gd name="T40" fmla="*/ 17 w 730"/>
                  <a:gd name="T41" fmla="*/ 401 h 491"/>
                  <a:gd name="T42" fmla="*/ 17 w 730"/>
                  <a:gd name="T43" fmla="*/ 401 h 491"/>
                  <a:gd name="T44" fmla="*/ 452 w 730"/>
                  <a:gd name="T45" fmla="*/ 453 h 491"/>
                  <a:gd name="T46" fmla="*/ 437 w 730"/>
                  <a:gd name="T47" fmla="*/ 426 h 491"/>
                  <a:gd name="T48" fmla="*/ 408 w 730"/>
                  <a:gd name="T49" fmla="*/ 388 h 491"/>
                  <a:gd name="T50" fmla="*/ 374 w 730"/>
                  <a:gd name="T51" fmla="*/ 375 h 491"/>
                  <a:gd name="T52" fmla="*/ 357 w 730"/>
                  <a:gd name="T53" fmla="*/ 337 h 491"/>
                  <a:gd name="T54" fmla="*/ 304 w 730"/>
                  <a:gd name="T55" fmla="*/ 274 h 491"/>
                  <a:gd name="T56" fmla="*/ 308 w 730"/>
                  <a:gd name="T57" fmla="*/ 220 h 491"/>
                  <a:gd name="T58" fmla="*/ 256 w 730"/>
                  <a:gd name="T59" fmla="*/ 169 h 491"/>
                  <a:gd name="T60" fmla="*/ 200 w 730"/>
                  <a:gd name="T61" fmla="*/ 113 h 491"/>
                  <a:gd name="T62" fmla="*/ 151 w 730"/>
                  <a:gd name="T63" fmla="*/ 91 h 491"/>
                  <a:gd name="T64" fmla="*/ 49 w 730"/>
                  <a:gd name="T65" fmla="*/ 49 h 491"/>
                  <a:gd name="T66" fmla="*/ 6 w 730"/>
                  <a:gd name="T67" fmla="*/ 36 h 491"/>
                  <a:gd name="T68" fmla="*/ 30 w 730"/>
                  <a:gd name="T69" fmla="*/ 155 h 491"/>
                  <a:gd name="T70" fmla="*/ 27 w 730"/>
                  <a:gd name="T71" fmla="*/ 253 h 491"/>
                  <a:gd name="T72" fmla="*/ 26 w 730"/>
                  <a:gd name="T73" fmla="*/ 282 h 491"/>
                  <a:gd name="T74" fmla="*/ 15 w 730"/>
                  <a:gd name="T75" fmla="*/ 353 h 491"/>
                  <a:gd name="T76" fmla="*/ 17 w 730"/>
                  <a:gd name="T77" fmla="*/ 401 h 491"/>
                  <a:gd name="T78" fmla="*/ 88 w 730"/>
                  <a:gd name="T79" fmla="*/ 408 h 491"/>
                  <a:gd name="T80" fmla="*/ 71 w 730"/>
                  <a:gd name="T81" fmla="*/ 347 h 491"/>
                  <a:gd name="T82" fmla="*/ 130 w 730"/>
                  <a:gd name="T83" fmla="*/ 329 h 491"/>
                  <a:gd name="T84" fmla="*/ 146 w 730"/>
                  <a:gd name="T85" fmla="*/ 313 h 491"/>
                  <a:gd name="T86" fmla="*/ 185 w 730"/>
                  <a:gd name="T87" fmla="*/ 311 h 491"/>
                  <a:gd name="T88" fmla="*/ 258 w 730"/>
                  <a:gd name="T89" fmla="*/ 342 h 491"/>
                  <a:gd name="T90" fmla="*/ 302 w 730"/>
                  <a:gd name="T91" fmla="*/ 398 h 491"/>
                  <a:gd name="T92" fmla="*/ 418 w 730"/>
                  <a:gd name="T93" fmla="*/ 464 h 491"/>
                  <a:gd name="T94" fmla="*/ 450 w 730"/>
                  <a:gd name="T95" fmla="*/ 464 h 49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30"/>
                  <a:gd name="T145" fmla="*/ 0 h 491"/>
                  <a:gd name="T146" fmla="*/ 730 w 730"/>
                  <a:gd name="T147" fmla="*/ 491 h 49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30" h="491">
                    <a:moveTo>
                      <a:pt x="331" y="7"/>
                    </a:moveTo>
                    <a:cubicBezTo>
                      <a:pt x="318" y="0"/>
                      <a:pt x="296" y="19"/>
                      <a:pt x="296" y="19"/>
                    </a:cubicBezTo>
                    <a:cubicBezTo>
                      <a:pt x="315" y="31"/>
                      <a:pt x="315" y="31"/>
                      <a:pt x="315" y="31"/>
                    </a:cubicBezTo>
                    <a:cubicBezTo>
                      <a:pt x="333" y="35"/>
                      <a:pt x="344" y="14"/>
                      <a:pt x="331" y="7"/>
                    </a:cubicBezTo>
                    <a:close/>
                    <a:moveTo>
                      <a:pt x="508" y="150"/>
                    </a:moveTo>
                    <a:cubicBezTo>
                      <a:pt x="499" y="159"/>
                      <a:pt x="521" y="171"/>
                      <a:pt x="521" y="171"/>
                    </a:cubicBezTo>
                    <a:cubicBezTo>
                      <a:pt x="523" y="184"/>
                      <a:pt x="523" y="184"/>
                      <a:pt x="523" y="184"/>
                    </a:cubicBezTo>
                    <a:cubicBezTo>
                      <a:pt x="476" y="209"/>
                      <a:pt x="476" y="209"/>
                      <a:pt x="476" y="209"/>
                    </a:cubicBezTo>
                    <a:cubicBezTo>
                      <a:pt x="476" y="209"/>
                      <a:pt x="452" y="207"/>
                      <a:pt x="436" y="210"/>
                    </a:cubicBezTo>
                    <a:cubicBezTo>
                      <a:pt x="420" y="213"/>
                      <a:pt x="414" y="222"/>
                      <a:pt x="404" y="228"/>
                    </a:cubicBezTo>
                    <a:cubicBezTo>
                      <a:pt x="394" y="234"/>
                      <a:pt x="388" y="222"/>
                      <a:pt x="382" y="234"/>
                    </a:cubicBezTo>
                    <a:cubicBezTo>
                      <a:pt x="398" y="257"/>
                      <a:pt x="398" y="257"/>
                      <a:pt x="398" y="257"/>
                    </a:cubicBezTo>
                    <a:cubicBezTo>
                      <a:pt x="463" y="260"/>
                      <a:pt x="463" y="260"/>
                      <a:pt x="463" y="260"/>
                    </a:cubicBezTo>
                    <a:cubicBezTo>
                      <a:pt x="474" y="251"/>
                      <a:pt x="474" y="251"/>
                      <a:pt x="474" y="251"/>
                    </a:cubicBezTo>
                    <a:cubicBezTo>
                      <a:pt x="474" y="251"/>
                      <a:pt x="486" y="251"/>
                      <a:pt x="499" y="250"/>
                    </a:cubicBezTo>
                    <a:cubicBezTo>
                      <a:pt x="513" y="248"/>
                      <a:pt x="523" y="228"/>
                      <a:pt x="523" y="228"/>
                    </a:cubicBezTo>
                    <a:cubicBezTo>
                      <a:pt x="542" y="223"/>
                      <a:pt x="542" y="223"/>
                      <a:pt x="542" y="223"/>
                    </a:cubicBezTo>
                    <a:cubicBezTo>
                      <a:pt x="536" y="206"/>
                      <a:pt x="536" y="206"/>
                      <a:pt x="536" y="206"/>
                    </a:cubicBezTo>
                    <a:cubicBezTo>
                      <a:pt x="554" y="209"/>
                      <a:pt x="554" y="209"/>
                      <a:pt x="554" y="209"/>
                    </a:cubicBezTo>
                    <a:cubicBezTo>
                      <a:pt x="554" y="209"/>
                      <a:pt x="562" y="157"/>
                      <a:pt x="555" y="140"/>
                    </a:cubicBezTo>
                    <a:cubicBezTo>
                      <a:pt x="548" y="122"/>
                      <a:pt x="517" y="141"/>
                      <a:pt x="508" y="150"/>
                    </a:cubicBezTo>
                    <a:close/>
                    <a:moveTo>
                      <a:pt x="564" y="94"/>
                    </a:moveTo>
                    <a:cubicBezTo>
                      <a:pt x="555" y="94"/>
                      <a:pt x="555" y="94"/>
                      <a:pt x="555" y="94"/>
                    </a:cubicBezTo>
                    <a:cubicBezTo>
                      <a:pt x="555" y="94"/>
                      <a:pt x="524" y="60"/>
                      <a:pt x="520" y="58"/>
                    </a:cubicBezTo>
                    <a:cubicBezTo>
                      <a:pt x="516" y="55"/>
                      <a:pt x="508" y="55"/>
                      <a:pt x="508" y="55"/>
                    </a:cubicBezTo>
                    <a:cubicBezTo>
                      <a:pt x="494" y="31"/>
                      <a:pt x="494" y="31"/>
                      <a:pt x="494" y="31"/>
                    </a:cubicBezTo>
                    <a:cubicBezTo>
                      <a:pt x="486" y="63"/>
                      <a:pt x="486" y="63"/>
                      <a:pt x="486" y="63"/>
                    </a:cubicBezTo>
                    <a:cubicBezTo>
                      <a:pt x="516" y="69"/>
                      <a:pt x="516" y="69"/>
                      <a:pt x="516" y="69"/>
                    </a:cubicBezTo>
                    <a:cubicBezTo>
                      <a:pt x="516" y="69"/>
                      <a:pt x="539" y="96"/>
                      <a:pt x="545" y="102"/>
                    </a:cubicBezTo>
                    <a:cubicBezTo>
                      <a:pt x="551" y="107"/>
                      <a:pt x="571" y="109"/>
                      <a:pt x="576" y="122"/>
                    </a:cubicBezTo>
                    <a:cubicBezTo>
                      <a:pt x="580" y="135"/>
                      <a:pt x="562" y="179"/>
                      <a:pt x="589" y="181"/>
                    </a:cubicBezTo>
                    <a:cubicBezTo>
                      <a:pt x="604" y="182"/>
                      <a:pt x="612" y="150"/>
                      <a:pt x="599" y="131"/>
                    </a:cubicBezTo>
                    <a:cubicBezTo>
                      <a:pt x="586" y="112"/>
                      <a:pt x="564" y="94"/>
                      <a:pt x="564" y="94"/>
                    </a:cubicBezTo>
                    <a:close/>
                    <a:moveTo>
                      <a:pt x="728" y="249"/>
                    </a:moveTo>
                    <a:cubicBezTo>
                      <a:pt x="687" y="202"/>
                      <a:pt x="687" y="202"/>
                      <a:pt x="687" y="202"/>
                    </a:cubicBezTo>
                    <a:cubicBezTo>
                      <a:pt x="687" y="202"/>
                      <a:pt x="683" y="177"/>
                      <a:pt x="664" y="185"/>
                    </a:cubicBezTo>
                    <a:cubicBezTo>
                      <a:pt x="653" y="190"/>
                      <a:pt x="659" y="206"/>
                      <a:pt x="659" y="206"/>
                    </a:cubicBezTo>
                    <a:cubicBezTo>
                      <a:pt x="670" y="225"/>
                      <a:pt x="670" y="225"/>
                      <a:pt x="670" y="225"/>
                    </a:cubicBezTo>
                    <a:cubicBezTo>
                      <a:pt x="687" y="257"/>
                      <a:pt x="687" y="257"/>
                      <a:pt x="687" y="257"/>
                    </a:cubicBezTo>
                    <a:cubicBezTo>
                      <a:pt x="730" y="300"/>
                      <a:pt x="730" y="300"/>
                      <a:pt x="730" y="300"/>
                    </a:cubicBezTo>
                    <a:lnTo>
                      <a:pt x="728" y="249"/>
                    </a:lnTo>
                    <a:close/>
                    <a:moveTo>
                      <a:pt x="17" y="401"/>
                    </a:moveTo>
                    <a:cubicBezTo>
                      <a:pt x="17" y="401"/>
                      <a:pt x="17" y="401"/>
                      <a:pt x="17" y="401"/>
                    </a:cubicBezTo>
                    <a:cubicBezTo>
                      <a:pt x="17" y="401"/>
                      <a:pt x="17" y="401"/>
                      <a:pt x="17" y="401"/>
                    </a:cubicBezTo>
                    <a:cubicBezTo>
                      <a:pt x="17" y="401"/>
                      <a:pt x="17" y="401"/>
                      <a:pt x="17" y="401"/>
                    </a:cubicBezTo>
                    <a:close/>
                    <a:moveTo>
                      <a:pt x="452" y="453"/>
                    </a:moveTo>
                    <a:cubicBezTo>
                      <a:pt x="425" y="436"/>
                      <a:pt x="425" y="436"/>
                      <a:pt x="425" y="436"/>
                    </a:cubicBezTo>
                    <a:cubicBezTo>
                      <a:pt x="437" y="426"/>
                      <a:pt x="437" y="426"/>
                      <a:pt x="437" y="426"/>
                    </a:cubicBezTo>
                    <a:cubicBezTo>
                      <a:pt x="437" y="426"/>
                      <a:pt x="413" y="425"/>
                      <a:pt x="406" y="418"/>
                    </a:cubicBezTo>
                    <a:cubicBezTo>
                      <a:pt x="400" y="411"/>
                      <a:pt x="408" y="397"/>
                      <a:pt x="408" y="388"/>
                    </a:cubicBezTo>
                    <a:cubicBezTo>
                      <a:pt x="408" y="379"/>
                      <a:pt x="375" y="396"/>
                      <a:pt x="375" y="396"/>
                    </a:cubicBezTo>
                    <a:cubicBezTo>
                      <a:pt x="374" y="375"/>
                      <a:pt x="374" y="375"/>
                      <a:pt x="374" y="375"/>
                    </a:cubicBezTo>
                    <a:cubicBezTo>
                      <a:pt x="357" y="367"/>
                      <a:pt x="357" y="367"/>
                      <a:pt x="357" y="367"/>
                    </a:cubicBezTo>
                    <a:cubicBezTo>
                      <a:pt x="357" y="337"/>
                      <a:pt x="357" y="337"/>
                      <a:pt x="357" y="337"/>
                    </a:cubicBezTo>
                    <a:cubicBezTo>
                      <a:pt x="321" y="311"/>
                      <a:pt x="321" y="311"/>
                      <a:pt x="321" y="311"/>
                    </a:cubicBezTo>
                    <a:cubicBezTo>
                      <a:pt x="304" y="274"/>
                      <a:pt x="304" y="274"/>
                      <a:pt x="304" y="274"/>
                    </a:cubicBezTo>
                    <a:cubicBezTo>
                      <a:pt x="304" y="274"/>
                      <a:pt x="342" y="261"/>
                      <a:pt x="342" y="245"/>
                    </a:cubicBezTo>
                    <a:cubicBezTo>
                      <a:pt x="342" y="229"/>
                      <a:pt x="308" y="220"/>
                      <a:pt x="308" y="220"/>
                    </a:cubicBezTo>
                    <a:cubicBezTo>
                      <a:pt x="306" y="216"/>
                      <a:pt x="256" y="202"/>
                      <a:pt x="256" y="202"/>
                    </a:cubicBezTo>
                    <a:cubicBezTo>
                      <a:pt x="256" y="202"/>
                      <a:pt x="252" y="189"/>
                      <a:pt x="256" y="169"/>
                    </a:cubicBezTo>
                    <a:cubicBezTo>
                      <a:pt x="260" y="150"/>
                      <a:pt x="232" y="147"/>
                      <a:pt x="232" y="147"/>
                    </a:cubicBezTo>
                    <a:cubicBezTo>
                      <a:pt x="200" y="113"/>
                      <a:pt x="200" y="113"/>
                      <a:pt x="200" y="113"/>
                    </a:cubicBezTo>
                    <a:cubicBezTo>
                      <a:pt x="175" y="114"/>
                      <a:pt x="175" y="114"/>
                      <a:pt x="175" y="114"/>
                    </a:cubicBezTo>
                    <a:cubicBezTo>
                      <a:pt x="151" y="91"/>
                      <a:pt x="151" y="91"/>
                      <a:pt x="151" y="91"/>
                    </a:cubicBezTo>
                    <a:cubicBezTo>
                      <a:pt x="131" y="87"/>
                      <a:pt x="131" y="87"/>
                      <a:pt x="131" y="87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2" y="75"/>
                      <a:pt x="30" y="139"/>
                      <a:pt x="30" y="155"/>
                    </a:cubicBezTo>
                    <a:cubicBezTo>
                      <a:pt x="30" y="175"/>
                      <a:pt x="22" y="197"/>
                      <a:pt x="24" y="212"/>
                    </a:cubicBezTo>
                    <a:cubicBezTo>
                      <a:pt x="26" y="227"/>
                      <a:pt x="27" y="253"/>
                      <a:pt x="27" y="253"/>
                    </a:cubicBezTo>
                    <a:cubicBezTo>
                      <a:pt x="27" y="253"/>
                      <a:pt x="0" y="271"/>
                      <a:pt x="11" y="277"/>
                    </a:cubicBezTo>
                    <a:cubicBezTo>
                      <a:pt x="22" y="284"/>
                      <a:pt x="26" y="282"/>
                      <a:pt x="26" y="282"/>
                    </a:cubicBezTo>
                    <a:cubicBezTo>
                      <a:pt x="26" y="282"/>
                      <a:pt x="23" y="319"/>
                      <a:pt x="21" y="327"/>
                    </a:cubicBezTo>
                    <a:cubicBezTo>
                      <a:pt x="19" y="334"/>
                      <a:pt x="15" y="353"/>
                      <a:pt x="15" y="353"/>
                    </a:cubicBezTo>
                    <a:cubicBezTo>
                      <a:pt x="19" y="369"/>
                      <a:pt x="19" y="369"/>
                      <a:pt x="19" y="369"/>
                    </a:cubicBezTo>
                    <a:cubicBezTo>
                      <a:pt x="17" y="401"/>
                      <a:pt x="17" y="401"/>
                      <a:pt x="17" y="401"/>
                    </a:cubicBezTo>
                    <a:cubicBezTo>
                      <a:pt x="34" y="405"/>
                      <a:pt x="75" y="396"/>
                      <a:pt x="75" y="396"/>
                    </a:cubicBezTo>
                    <a:cubicBezTo>
                      <a:pt x="88" y="408"/>
                      <a:pt x="88" y="408"/>
                      <a:pt x="88" y="408"/>
                    </a:cubicBezTo>
                    <a:cubicBezTo>
                      <a:pt x="88" y="408"/>
                      <a:pt x="114" y="398"/>
                      <a:pt x="126" y="388"/>
                    </a:cubicBezTo>
                    <a:cubicBezTo>
                      <a:pt x="138" y="377"/>
                      <a:pt x="71" y="347"/>
                      <a:pt x="71" y="347"/>
                    </a:cubicBezTo>
                    <a:cubicBezTo>
                      <a:pt x="71" y="347"/>
                      <a:pt x="126" y="355"/>
                      <a:pt x="138" y="353"/>
                    </a:cubicBezTo>
                    <a:cubicBezTo>
                      <a:pt x="150" y="350"/>
                      <a:pt x="130" y="329"/>
                      <a:pt x="130" y="329"/>
                    </a:cubicBezTo>
                    <a:cubicBezTo>
                      <a:pt x="130" y="329"/>
                      <a:pt x="146" y="341"/>
                      <a:pt x="151" y="338"/>
                    </a:cubicBezTo>
                    <a:cubicBezTo>
                      <a:pt x="156" y="336"/>
                      <a:pt x="146" y="313"/>
                      <a:pt x="146" y="313"/>
                    </a:cubicBezTo>
                    <a:cubicBezTo>
                      <a:pt x="146" y="313"/>
                      <a:pt x="156" y="322"/>
                      <a:pt x="163" y="324"/>
                    </a:cubicBezTo>
                    <a:cubicBezTo>
                      <a:pt x="169" y="325"/>
                      <a:pt x="179" y="312"/>
                      <a:pt x="185" y="311"/>
                    </a:cubicBezTo>
                    <a:cubicBezTo>
                      <a:pt x="192" y="309"/>
                      <a:pt x="202" y="329"/>
                      <a:pt x="209" y="333"/>
                    </a:cubicBezTo>
                    <a:cubicBezTo>
                      <a:pt x="215" y="337"/>
                      <a:pt x="240" y="332"/>
                      <a:pt x="258" y="342"/>
                    </a:cubicBezTo>
                    <a:cubicBezTo>
                      <a:pt x="277" y="353"/>
                      <a:pt x="270" y="376"/>
                      <a:pt x="277" y="388"/>
                    </a:cubicBezTo>
                    <a:cubicBezTo>
                      <a:pt x="283" y="400"/>
                      <a:pt x="296" y="392"/>
                      <a:pt x="302" y="398"/>
                    </a:cubicBezTo>
                    <a:cubicBezTo>
                      <a:pt x="307" y="405"/>
                      <a:pt x="316" y="446"/>
                      <a:pt x="330" y="456"/>
                    </a:cubicBezTo>
                    <a:cubicBezTo>
                      <a:pt x="345" y="466"/>
                      <a:pt x="409" y="460"/>
                      <a:pt x="418" y="464"/>
                    </a:cubicBezTo>
                    <a:cubicBezTo>
                      <a:pt x="427" y="468"/>
                      <a:pt x="447" y="491"/>
                      <a:pt x="459" y="491"/>
                    </a:cubicBezTo>
                    <a:cubicBezTo>
                      <a:pt x="471" y="491"/>
                      <a:pt x="450" y="464"/>
                      <a:pt x="450" y="464"/>
                    </a:cubicBezTo>
                    <a:lnTo>
                      <a:pt x="452" y="45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2" name="MCShape 154">
                <a:extLst>
                  <a:ext uri="{FF2B5EF4-FFF2-40B4-BE49-F238E27FC236}">
                    <a16:creationId xmlns:a16="http://schemas.microsoft.com/office/drawing/2014/main" id="{C0F1EAF1-D6F6-4114-9B07-8B2BB94FB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5661" y="4033719"/>
                <a:ext cx="1286886" cy="518157"/>
              </a:xfrm>
              <a:custGeom>
                <a:avLst/>
                <a:gdLst>
                  <a:gd name="T0" fmla="*/ 455 w 2179"/>
                  <a:gd name="T1" fmla="*/ 287 h 879"/>
                  <a:gd name="T2" fmla="*/ 603 w 2179"/>
                  <a:gd name="T3" fmla="*/ 446 h 879"/>
                  <a:gd name="T4" fmla="*/ 558 w 2179"/>
                  <a:gd name="T5" fmla="*/ 443 h 879"/>
                  <a:gd name="T6" fmla="*/ 162 w 2179"/>
                  <a:gd name="T7" fmla="*/ 330 h 879"/>
                  <a:gd name="T8" fmla="*/ 40 w 2179"/>
                  <a:gd name="T9" fmla="*/ 174 h 879"/>
                  <a:gd name="T10" fmla="*/ 1708 w 2179"/>
                  <a:gd name="T11" fmla="*/ 314 h 879"/>
                  <a:gd name="T12" fmla="*/ 1627 w 2179"/>
                  <a:gd name="T13" fmla="*/ 412 h 879"/>
                  <a:gd name="T14" fmla="*/ 1950 w 2179"/>
                  <a:gd name="T15" fmla="*/ 413 h 879"/>
                  <a:gd name="T16" fmla="*/ 1124 w 2179"/>
                  <a:gd name="T17" fmla="*/ 485 h 879"/>
                  <a:gd name="T18" fmla="*/ 1210 w 2179"/>
                  <a:gd name="T19" fmla="*/ 476 h 879"/>
                  <a:gd name="T20" fmla="*/ 1285 w 2179"/>
                  <a:gd name="T21" fmla="*/ 614 h 879"/>
                  <a:gd name="T22" fmla="*/ 1291 w 2179"/>
                  <a:gd name="T23" fmla="*/ 446 h 879"/>
                  <a:gd name="T24" fmla="*/ 1240 w 2179"/>
                  <a:gd name="T25" fmla="*/ 370 h 879"/>
                  <a:gd name="T26" fmla="*/ 1415 w 2179"/>
                  <a:gd name="T27" fmla="*/ 258 h 879"/>
                  <a:gd name="T28" fmla="*/ 1253 w 2179"/>
                  <a:gd name="T29" fmla="*/ 232 h 879"/>
                  <a:gd name="T30" fmla="*/ 1328 w 2179"/>
                  <a:gd name="T31" fmla="*/ 387 h 879"/>
                  <a:gd name="T32" fmla="*/ 1127 w 2179"/>
                  <a:gd name="T33" fmla="*/ 743 h 879"/>
                  <a:gd name="T34" fmla="*/ 1542 w 2179"/>
                  <a:gd name="T35" fmla="*/ 370 h 879"/>
                  <a:gd name="T36" fmla="*/ 1603 w 2179"/>
                  <a:gd name="T37" fmla="*/ 288 h 879"/>
                  <a:gd name="T38" fmla="*/ 1548 w 2179"/>
                  <a:gd name="T39" fmla="*/ 230 h 879"/>
                  <a:gd name="T40" fmla="*/ 1517 w 2179"/>
                  <a:gd name="T41" fmla="*/ 471 h 879"/>
                  <a:gd name="T42" fmla="*/ 1634 w 2179"/>
                  <a:gd name="T43" fmla="*/ 448 h 879"/>
                  <a:gd name="T44" fmla="*/ 1654 w 2179"/>
                  <a:gd name="T45" fmla="*/ 509 h 879"/>
                  <a:gd name="T46" fmla="*/ 2007 w 2179"/>
                  <a:gd name="T47" fmla="*/ 423 h 879"/>
                  <a:gd name="T48" fmla="*/ 1820 w 2179"/>
                  <a:gd name="T49" fmla="*/ 350 h 879"/>
                  <a:gd name="T50" fmla="*/ 1749 w 2179"/>
                  <a:gd name="T51" fmla="*/ 393 h 879"/>
                  <a:gd name="T52" fmla="*/ 1790 w 2179"/>
                  <a:gd name="T53" fmla="*/ 530 h 879"/>
                  <a:gd name="T54" fmla="*/ 1964 w 2179"/>
                  <a:gd name="T55" fmla="*/ 567 h 879"/>
                  <a:gd name="T56" fmla="*/ 2077 w 2179"/>
                  <a:gd name="T57" fmla="*/ 729 h 879"/>
                  <a:gd name="T58" fmla="*/ 2168 w 2179"/>
                  <a:gd name="T59" fmla="*/ 726 h 879"/>
                  <a:gd name="T60" fmla="*/ 258 w 2179"/>
                  <a:gd name="T61" fmla="*/ 478 h 879"/>
                  <a:gd name="T62" fmla="*/ 2037 w 2179"/>
                  <a:gd name="T63" fmla="*/ 711 h 879"/>
                  <a:gd name="T64" fmla="*/ 1860 w 2179"/>
                  <a:gd name="T65" fmla="*/ 679 h 879"/>
                  <a:gd name="T66" fmla="*/ 1427 w 2179"/>
                  <a:gd name="T67" fmla="*/ 403 h 879"/>
                  <a:gd name="T68" fmla="*/ 863 w 2179"/>
                  <a:gd name="T69" fmla="*/ 677 h 879"/>
                  <a:gd name="T70" fmla="*/ 499 w 2179"/>
                  <a:gd name="T71" fmla="*/ 620 h 879"/>
                  <a:gd name="T72" fmla="*/ 450 w 2179"/>
                  <a:gd name="T73" fmla="*/ 413 h 879"/>
                  <a:gd name="T74" fmla="*/ 340 w 2179"/>
                  <a:gd name="T75" fmla="*/ 238 h 879"/>
                  <a:gd name="T76" fmla="*/ 151 w 2179"/>
                  <a:gd name="T77" fmla="*/ 72 h 879"/>
                  <a:gd name="T78" fmla="*/ 119 w 2179"/>
                  <a:gd name="T79" fmla="*/ 154 h 879"/>
                  <a:gd name="T80" fmla="*/ 275 w 2179"/>
                  <a:gd name="T81" fmla="*/ 408 h 879"/>
                  <a:gd name="T82" fmla="*/ 444 w 2179"/>
                  <a:gd name="T83" fmla="*/ 630 h 879"/>
                  <a:gd name="T84" fmla="*/ 1408 w 2179"/>
                  <a:gd name="T85" fmla="*/ 828 h 879"/>
                  <a:gd name="T86" fmla="*/ 778 w 2179"/>
                  <a:gd name="T87" fmla="*/ 674 h 879"/>
                  <a:gd name="T88" fmla="*/ 535 w 2179"/>
                  <a:gd name="T89" fmla="*/ 624 h 879"/>
                  <a:gd name="T90" fmla="*/ 705 w 2179"/>
                  <a:gd name="T91" fmla="*/ 728 h 879"/>
                  <a:gd name="T92" fmla="*/ 1004 w 2179"/>
                  <a:gd name="T93" fmla="*/ 484 h 879"/>
                  <a:gd name="T94" fmla="*/ 1139 w 2179"/>
                  <a:gd name="T95" fmla="*/ 271 h 879"/>
                  <a:gd name="T96" fmla="*/ 1086 w 2179"/>
                  <a:gd name="T97" fmla="*/ 110 h 879"/>
                  <a:gd name="T98" fmla="*/ 939 w 2179"/>
                  <a:gd name="T99" fmla="*/ 208 h 879"/>
                  <a:gd name="T100" fmla="*/ 712 w 2179"/>
                  <a:gd name="T101" fmla="*/ 247 h 879"/>
                  <a:gd name="T102" fmla="*/ 716 w 2179"/>
                  <a:gd name="T103" fmla="*/ 388 h 879"/>
                  <a:gd name="T104" fmla="*/ 822 w 2179"/>
                  <a:gd name="T105" fmla="*/ 472 h 879"/>
                  <a:gd name="T106" fmla="*/ 974 w 2179"/>
                  <a:gd name="T107" fmla="*/ 755 h 879"/>
                  <a:gd name="T108" fmla="*/ 1187 w 2179"/>
                  <a:gd name="T109" fmla="*/ 827 h 879"/>
                  <a:gd name="T110" fmla="*/ 1151 w 2179"/>
                  <a:gd name="T111" fmla="*/ 787 h 879"/>
                  <a:gd name="T112" fmla="*/ 1056 w 2179"/>
                  <a:gd name="T113" fmla="*/ 774 h 879"/>
                  <a:gd name="T114" fmla="*/ 1067 w 2179"/>
                  <a:gd name="T115" fmla="*/ 771 h 8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179"/>
                  <a:gd name="T175" fmla="*/ 0 h 879"/>
                  <a:gd name="T176" fmla="*/ 2179 w 2179"/>
                  <a:gd name="T177" fmla="*/ 879 h 8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179" h="879">
                    <a:moveTo>
                      <a:pt x="1196" y="656"/>
                    </a:moveTo>
                    <a:cubicBezTo>
                      <a:pt x="1210" y="655"/>
                      <a:pt x="1210" y="655"/>
                      <a:pt x="1210" y="655"/>
                    </a:cubicBezTo>
                    <a:cubicBezTo>
                      <a:pt x="1218" y="637"/>
                      <a:pt x="1218" y="637"/>
                      <a:pt x="1218" y="637"/>
                    </a:cubicBezTo>
                    <a:cubicBezTo>
                      <a:pt x="1215" y="622"/>
                      <a:pt x="1215" y="622"/>
                      <a:pt x="1215" y="622"/>
                    </a:cubicBezTo>
                    <a:lnTo>
                      <a:pt x="1196" y="656"/>
                    </a:lnTo>
                    <a:close/>
                    <a:moveTo>
                      <a:pt x="453" y="310"/>
                    </a:moveTo>
                    <a:cubicBezTo>
                      <a:pt x="472" y="321"/>
                      <a:pt x="472" y="321"/>
                      <a:pt x="472" y="321"/>
                    </a:cubicBezTo>
                    <a:cubicBezTo>
                      <a:pt x="472" y="300"/>
                      <a:pt x="472" y="300"/>
                      <a:pt x="472" y="300"/>
                    </a:cubicBezTo>
                    <a:cubicBezTo>
                      <a:pt x="455" y="287"/>
                      <a:pt x="455" y="287"/>
                      <a:pt x="455" y="287"/>
                    </a:cubicBezTo>
                    <a:lnTo>
                      <a:pt x="453" y="310"/>
                    </a:lnTo>
                    <a:close/>
                    <a:moveTo>
                      <a:pt x="455" y="331"/>
                    </a:moveTo>
                    <a:cubicBezTo>
                      <a:pt x="441" y="344"/>
                      <a:pt x="441" y="344"/>
                      <a:pt x="441" y="344"/>
                    </a:cubicBezTo>
                    <a:cubicBezTo>
                      <a:pt x="458" y="365"/>
                      <a:pt x="458" y="365"/>
                      <a:pt x="458" y="365"/>
                    </a:cubicBezTo>
                    <a:lnTo>
                      <a:pt x="455" y="331"/>
                    </a:lnTo>
                    <a:close/>
                    <a:moveTo>
                      <a:pt x="611" y="478"/>
                    </a:moveTo>
                    <a:cubicBezTo>
                      <a:pt x="624" y="491"/>
                      <a:pt x="624" y="491"/>
                      <a:pt x="624" y="491"/>
                    </a:cubicBezTo>
                    <a:cubicBezTo>
                      <a:pt x="630" y="474"/>
                      <a:pt x="630" y="474"/>
                      <a:pt x="630" y="474"/>
                    </a:cubicBezTo>
                    <a:cubicBezTo>
                      <a:pt x="630" y="474"/>
                      <a:pt x="622" y="444"/>
                      <a:pt x="603" y="446"/>
                    </a:cubicBezTo>
                    <a:cubicBezTo>
                      <a:pt x="584" y="447"/>
                      <a:pt x="590" y="466"/>
                      <a:pt x="596" y="484"/>
                    </a:cubicBezTo>
                    <a:lnTo>
                      <a:pt x="611" y="478"/>
                    </a:lnTo>
                    <a:close/>
                    <a:moveTo>
                      <a:pt x="459" y="249"/>
                    </a:moveTo>
                    <a:cubicBezTo>
                      <a:pt x="454" y="237"/>
                      <a:pt x="440" y="244"/>
                      <a:pt x="450" y="260"/>
                    </a:cubicBezTo>
                    <a:cubicBezTo>
                      <a:pt x="461" y="279"/>
                      <a:pt x="464" y="261"/>
                      <a:pt x="459" y="249"/>
                    </a:cubicBezTo>
                    <a:close/>
                    <a:moveTo>
                      <a:pt x="507" y="418"/>
                    </a:moveTo>
                    <a:cubicBezTo>
                      <a:pt x="507" y="418"/>
                      <a:pt x="512" y="447"/>
                      <a:pt x="523" y="459"/>
                    </a:cubicBezTo>
                    <a:cubicBezTo>
                      <a:pt x="533" y="471"/>
                      <a:pt x="559" y="471"/>
                      <a:pt x="559" y="471"/>
                    </a:cubicBezTo>
                    <a:cubicBezTo>
                      <a:pt x="558" y="443"/>
                      <a:pt x="558" y="443"/>
                      <a:pt x="558" y="443"/>
                    </a:cubicBezTo>
                    <a:cubicBezTo>
                      <a:pt x="546" y="435"/>
                      <a:pt x="546" y="435"/>
                      <a:pt x="546" y="435"/>
                    </a:cubicBezTo>
                    <a:cubicBezTo>
                      <a:pt x="545" y="415"/>
                      <a:pt x="545" y="415"/>
                      <a:pt x="545" y="415"/>
                    </a:cubicBezTo>
                    <a:cubicBezTo>
                      <a:pt x="545" y="415"/>
                      <a:pt x="530" y="390"/>
                      <a:pt x="508" y="384"/>
                    </a:cubicBezTo>
                    <a:cubicBezTo>
                      <a:pt x="486" y="378"/>
                      <a:pt x="487" y="403"/>
                      <a:pt x="487" y="403"/>
                    </a:cubicBezTo>
                    <a:cubicBezTo>
                      <a:pt x="487" y="403"/>
                      <a:pt x="473" y="399"/>
                      <a:pt x="480" y="419"/>
                    </a:cubicBezTo>
                    <a:lnTo>
                      <a:pt x="507" y="418"/>
                    </a:lnTo>
                    <a:close/>
                    <a:moveTo>
                      <a:pt x="169" y="296"/>
                    </a:moveTo>
                    <a:cubicBezTo>
                      <a:pt x="154" y="310"/>
                      <a:pt x="154" y="310"/>
                      <a:pt x="154" y="310"/>
                    </a:cubicBezTo>
                    <a:cubicBezTo>
                      <a:pt x="162" y="330"/>
                      <a:pt x="162" y="330"/>
                      <a:pt x="162" y="330"/>
                    </a:cubicBezTo>
                    <a:cubicBezTo>
                      <a:pt x="162" y="330"/>
                      <a:pt x="152" y="348"/>
                      <a:pt x="164" y="344"/>
                    </a:cubicBezTo>
                    <a:cubicBezTo>
                      <a:pt x="171" y="341"/>
                      <a:pt x="168" y="316"/>
                      <a:pt x="168" y="316"/>
                    </a:cubicBezTo>
                    <a:cubicBezTo>
                      <a:pt x="175" y="307"/>
                      <a:pt x="175" y="307"/>
                      <a:pt x="175" y="307"/>
                    </a:cubicBezTo>
                    <a:lnTo>
                      <a:pt x="169" y="296"/>
                    </a:lnTo>
                    <a:close/>
                    <a:moveTo>
                      <a:pt x="180" y="360"/>
                    </a:moveTo>
                    <a:cubicBezTo>
                      <a:pt x="170" y="372"/>
                      <a:pt x="176" y="414"/>
                      <a:pt x="198" y="410"/>
                    </a:cubicBezTo>
                    <a:cubicBezTo>
                      <a:pt x="207" y="408"/>
                      <a:pt x="191" y="348"/>
                      <a:pt x="180" y="360"/>
                    </a:cubicBezTo>
                    <a:close/>
                    <a:moveTo>
                      <a:pt x="35" y="152"/>
                    </a:moveTo>
                    <a:cubicBezTo>
                      <a:pt x="30" y="157"/>
                      <a:pt x="28" y="173"/>
                      <a:pt x="40" y="174"/>
                    </a:cubicBezTo>
                    <a:cubicBezTo>
                      <a:pt x="52" y="176"/>
                      <a:pt x="55" y="189"/>
                      <a:pt x="66" y="181"/>
                    </a:cubicBezTo>
                    <a:cubicBezTo>
                      <a:pt x="73" y="175"/>
                      <a:pt x="40" y="146"/>
                      <a:pt x="35" y="152"/>
                    </a:cubicBezTo>
                    <a:close/>
                    <a:moveTo>
                      <a:pt x="112" y="221"/>
                    </a:moveTo>
                    <a:cubicBezTo>
                      <a:pt x="104" y="221"/>
                      <a:pt x="94" y="234"/>
                      <a:pt x="106" y="242"/>
                    </a:cubicBezTo>
                    <a:cubicBezTo>
                      <a:pt x="118" y="250"/>
                      <a:pt x="122" y="280"/>
                      <a:pt x="134" y="280"/>
                    </a:cubicBezTo>
                    <a:cubicBezTo>
                      <a:pt x="141" y="280"/>
                      <a:pt x="142" y="249"/>
                      <a:pt x="138" y="245"/>
                    </a:cubicBezTo>
                    <a:cubicBezTo>
                      <a:pt x="134" y="241"/>
                      <a:pt x="120" y="221"/>
                      <a:pt x="112" y="221"/>
                    </a:cubicBezTo>
                    <a:close/>
                    <a:moveTo>
                      <a:pt x="1721" y="328"/>
                    </a:moveTo>
                    <a:cubicBezTo>
                      <a:pt x="1721" y="328"/>
                      <a:pt x="1725" y="316"/>
                      <a:pt x="1708" y="314"/>
                    </a:cubicBezTo>
                    <a:cubicBezTo>
                      <a:pt x="1691" y="311"/>
                      <a:pt x="1680" y="316"/>
                      <a:pt x="1680" y="316"/>
                    </a:cubicBezTo>
                    <a:cubicBezTo>
                      <a:pt x="1684" y="334"/>
                      <a:pt x="1684" y="334"/>
                      <a:pt x="1684" y="334"/>
                    </a:cubicBezTo>
                    <a:cubicBezTo>
                      <a:pt x="1693" y="333"/>
                      <a:pt x="1721" y="328"/>
                      <a:pt x="1721" y="328"/>
                    </a:cubicBezTo>
                    <a:close/>
                    <a:moveTo>
                      <a:pt x="230" y="434"/>
                    </a:moveTo>
                    <a:cubicBezTo>
                      <a:pt x="239" y="433"/>
                      <a:pt x="226" y="413"/>
                      <a:pt x="218" y="418"/>
                    </a:cubicBezTo>
                    <a:cubicBezTo>
                      <a:pt x="211" y="422"/>
                      <a:pt x="220" y="436"/>
                      <a:pt x="230" y="434"/>
                    </a:cubicBezTo>
                    <a:close/>
                    <a:moveTo>
                      <a:pt x="1652" y="438"/>
                    </a:moveTo>
                    <a:cubicBezTo>
                      <a:pt x="1674" y="429"/>
                      <a:pt x="1672" y="413"/>
                      <a:pt x="1672" y="413"/>
                    </a:cubicBezTo>
                    <a:cubicBezTo>
                      <a:pt x="1627" y="412"/>
                      <a:pt x="1627" y="412"/>
                      <a:pt x="1627" y="412"/>
                    </a:cubicBezTo>
                    <a:cubicBezTo>
                      <a:pt x="1627" y="412"/>
                      <a:pt x="1630" y="447"/>
                      <a:pt x="1652" y="438"/>
                    </a:cubicBezTo>
                    <a:close/>
                    <a:moveTo>
                      <a:pt x="1609" y="194"/>
                    </a:moveTo>
                    <a:cubicBezTo>
                      <a:pt x="1624" y="182"/>
                      <a:pt x="1618" y="175"/>
                      <a:pt x="1605" y="171"/>
                    </a:cubicBezTo>
                    <a:cubicBezTo>
                      <a:pt x="1592" y="167"/>
                      <a:pt x="1586" y="172"/>
                      <a:pt x="1586" y="172"/>
                    </a:cubicBezTo>
                    <a:cubicBezTo>
                      <a:pt x="1586" y="172"/>
                      <a:pt x="1601" y="202"/>
                      <a:pt x="1609" y="194"/>
                    </a:cubicBezTo>
                    <a:close/>
                    <a:moveTo>
                      <a:pt x="1918" y="353"/>
                    </a:moveTo>
                    <a:cubicBezTo>
                      <a:pt x="1937" y="362"/>
                      <a:pt x="1945" y="353"/>
                      <a:pt x="1930" y="346"/>
                    </a:cubicBezTo>
                    <a:cubicBezTo>
                      <a:pt x="1916" y="340"/>
                      <a:pt x="1910" y="349"/>
                      <a:pt x="1918" y="353"/>
                    </a:cubicBezTo>
                    <a:close/>
                    <a:moveTo>
                      <a:pt x="1950" y="413"/>
                    </a:moveTo>
                    <a:cubicBezTo>
                      <a:pt x="1959" y="413"/>
                      <a:pt x="1986" y="406"/>
                      <a:pt x="1986" y="406"/>
                    </a:cubicBezTo>
                    <a:cubicBezTo>
                      <a:pt x="1986" y="406"/>
                      <a:pt x="1962" y="396"/>
                      <a:pt x="1957" y="395"/>
                    </a:cubicBezTo>
                    <a:cubicBezTo>
                      <a:pt x="1953" y="394"/>
                      <a:pt x="1924" y="400"/>
                      <a:pt x="1924" y="400"/>
                    </a:cubicBezTo>
                    <a:cubicBezTo>
                      <a:pt x="1924" y="400"/>
                      <a:pt x="1940" y="413"/>
                      <a:pt x="1950" y="413"/>
                    </a:cubicBezTo>
                    <a:close/>
                    <a:moveTo>
                      <a:pt x="1145" y="370"/>
                    </a:moveTo>
                    <a:cubicBezTo>
                      <a:pt x="1142" y="380"/>
                      <a:pt x="1161" y="400"/>
                      <a:pt x="1153" y="409"/>
                    </a:cubicBezTo>
                    <a:cubicBezTo>
                      <a:pt x="1145" y="418"/>
                      <a:pt x="1122" y="424"/>
                      <a:pt x="1120" y="437"/>
                    </a:cubicBezTo>
                    <a:cubicBezTo>
                      <a:pt x="1119" y="451"/>
                      <a:pt x="1130" y="464"/>
                      <a:pt x="1130" y="464"/>
                    </a:cubicBezTo>
                    <a:cubicBezTo>
                      <a:pt x="1130" y="464"/>
                      <a:pt x="1114" y="478"/>
                      <a:pt x="1124" y="485"/>
                    </a:cubicBezTo>
                    <a:cubicBezTo>
                      <a:pt x="1135" y="492"/>
                      <a:pt x="1153" y="477"/>
                      <a:pt x="1157" y="489"/>
                    </a:cubicBezTo>
                    <a:cubicBezTo>
                      <a:pt x="1161" y="501"/>
                      <a:pt x="1153" y="510"/>
                      <a:pt x="1153" y="510"/>
                    </a:cubicBezTo>
                    <a:cubicBezTo>
                      <a:pt x="1164" y="524"/>
                      <a:pt x="1164" y="524"/>
                      <a:pt x="1164" y="524"/>
                    </a:cubicBezTo>
                    <a:cubicBezTo>
                      <a:pt x="1158" y="568"/>
                      <a:pt x="1158" y="568"/>
                      <a:pt x="1158" y="568"/>
                    </a:cubicBezTo>
                    <a:cubicBezTo>
                      <a:pt x="1158" y="568"/>
                      <a:pt x="1134" y="582"/>
                      <a:pt x="1146" y="606"/>
                    </a:cubicBezTo>
                    <a:cubicBezTo>
                      <a:pt x="1157" y="630"/>
                      <a:pt x="1173" y="630"/>
                      <a:pt x="1191" y="612"/>
                    </a:cubicBezTo>
                    <a:cubicBezTo>
                      <a:pt x="1208" y="595"/>
                      <a:pt x="1188" y="566"/>
                      <a:pt x="1188" y="566"/>
                    </a:cubicBezTo>
                    <a:cubicBezTo>
                      <a:pt x="1188" y="566"/>
                      <a:pt x="1209" y="551"/>
                      <a:pt x="1209" y="530"/>
                    </a:cubicBezTo>
                    <a:cubicBezTo>
                      <a:pt x="1208" y="508"/>
                      <a:pt x="1217" y="489"/>
                      <a:pt x="1210" y="476"/>
                    </a:cubicBezTo>
                    <a:cubicBezTo>
                      <a:pt x="1202" y="464"/>
                      <a:pt x="1198" y="439"/>
                      <a:pt x="1200" y="434"/>
                    </a:cubicBezTo>
                    <a:cubicBezTo>
                      <a:pt x="1201" y="429"/>
                      <a:pt x="1207" y="401"/>
                      <a:pt x="1217" y="419"/>
                    </a:cubicBezTo>
                    <a:cubicBezTo>
                      <a:pt x="1228" y="437"/>
                      <a:pt x="1228" y="468"/>
                      <a:pt x="1228" y="468"/>
                    </a:cubicBezTo>
                    <a:cubicBezTo>
                      <a:pt x="1251" y="494"/>
                      <a:pt x="1251" y="494"/>
                      <a:pt x="1251" y="494"/>
                    </a:cubicBezTo>
                    <a:cubicBezTo>
                      <a:pt x="1248" y="529"/>
                      <a:pt x="1248" y="529"/>
                      <a:pt x="1248" y="529"/>
                    </a:cubicBezTo>
                    <a:cubicBezTo>
                      <a:pt x="1265" y="551"/>
                      <a:pt x="1265" y="551"/>
                      <a:pt x="1265" y="551"/>
                    </a:cubicBezTo>
                    <a:cubicBezTo>
                      <a:pt x="1266" y="575"/>
                      <a:pt x="1266" y="575"/>
                      <a:pt x="1266" y="575"/>
                    </a:cubicBezTo>
                    <a:cubicBezTo>
                      <a:pt x="1275" y="624"/>
                      <a:pt x="1275" y="624"/>
                      <a:pt x="1275" y="624"/>
                    </a:cubicBezTo>
                    <a:cubicBezTo>
                      <a:pt x="1285" y="614"/>
                      <a:pt x="1285" y="614"/>
                      <a:pt x="1285" y="614"/>
                    </a:cubicBezTo>
                    <a:cubicBezTo>
                      <a:pt x="1312" y="622"/>
                      <a:pt x="1312" y="622"/>
                      <a:pt x="1312" y="622"/>
                    </a:cubicBezTo>
                    <a:cubicBezTo>
                      <a:pt x="1312" y="622"/>
                      <a:pt x="1314" y="605"/>
                      <a:pt x="1313" y="592"/>
                    </a:cubicBezTo>
                    <a:cubicBezTo>
                      <a:pt x="1312" y="579"/>
                      <a:pt x="1319" y="572"/>
                      <a:pt x="1319" y="572"/>
                    </a:cubicBezTo>
                    <a:cubicBezTo>
                      <a:pt x="1325" y="588"/>
                      <a:pt x="1325" y="588"/>
                      <a:pt x="1325" y="588"/>
                    </a:cubicBezTo>
                    <a:cubicBezTo>
                      <a:pt x="1325" y="588"/>
                      <a:pt x="1342" y="590"/>
                      <a:pt x="1344" y="574"/>
                    </a:cubicBezTo>
                    <a:cubicBezTo>
                      <a:pt x="1345" y="558"/>
                      <a:pt x="1341" y="546"/>
                      <a:pt x="1341" y="546"/>
                    </a:cubicBezTo>
                    <a:cubicBezTo>
                      <a:pt x="1341" y="546"/>
                      <a:pt x="1301" y="514"/>
                      <a:pt x="1303" y="502"/>
                    </a:cubicBezTo>
                    <a:cubicBezTo>
                      <a:pt x="1305" y="490"/>
                      <a:pt x="1324" y="477"/>
                      <a:pt x="1313" y="467"/>
                    </a:cubicBezTo>
                    <a:cubicBezTo>
                      <a:pt x="1301" y="457"/>
                      <a:pt x="1292" y="454"/>
                      <a:pt x="1291" y="446"/>
                    </a:cubicBezTo>
                    <a:cubicBezTo>
                      <a:pt x="1291" y="437"/>
                      <a:pt x="1304" y="418"/>
                      <a:pt x="1290" y="412"/>
                    </a:cubicBezTo>
                    <a:cubicBezTo>
                      <a:pt x="1277" y="407"/>
                      <a:pt x="1257" y="390"/>
                      <a:pt x="1257" y="390"/>
                    </a:cubicBezTo>
                    <a:cubicBezTo>
                      <a:pt x="1257" y="390"/>
                      <a:pt x="1279" y="395"/>
                      <a:pt x="1289" y="385"/>
                    </a:cubicBezTo>
                    <a:cubicBezTo>
                      <a:pt x="1298" y="376"/>
                      <a:pt x="1308" y="354"/>
                      <a:pt x="1308" y="354"/>
                    </a:cubicBezTo>
                    <a:cubicBezTo>
                      <a:pt x="1308" y="354"/>
                      <a:pt x="1347" y="356"/>
                      <a:pt x="1348" y="348"/>
                    </a:cubicBezTo>
                    <a:cubicBezTo>
                      <a:pt x="1349" y="339"/>
                      <a:pt x="1338" y="324"/>
                      <a:pt x="1328" y="323"/>
                    </a:cubicBezTo>
                    <a:cubicBezTo>
                      <a:pt x="1317" y="323"/>
                      <a:pt x="1310" y="341"/>
                      <a:pt x="1310" y="341"/>
                    </a:cubicBezTo>
                    <a:cubicBezTo>
                      <a:pt x="1310" y="341"/>
                      <a:pt x="1281" y="333"/>
                      <a:pt x="1269" y="337"/>
                    </a:cubicBezTo>
                    <a:cubicBezTo>
                      <a:pt x="1258" y="340"/>
                      <a:pt x="1252" y="369"/>
                      <a:pt x="1240" y="370"/>
                    </a:cubicBezTo>
                    <a:cubicBezTo>
                      <a:pt x="1229" y="370"/>
                      <a:pt x="1230" y="350"/>
                      <a:pt x="1213" y="340"/>
                    </a:cubicBezTo>
                    <a:cubicBezTo>
                      <a:pt x="1196" y="330"/>
                      <a:pt x="1188" y="333"/>
                      <a:pt x="1188" y="333"/>
                    </a:cubicBezTo>
                    <a:cubicBezTo>
                      <a:pt x="1188" y="333"/>
                      <a:pt x="1193" y="274"/>
                      <a:pt x="1209" y="273"/>
                    </a:cubicBezTo>
                    <a:cubicBezTo>
                      <a:pt x="1225" y="272"/>
                      <a:pt x="1255" y="283"/>
                      <a:pt x="1269" y="279"/>
                    </a:cubicBezTo>
                    <a:cubicBezTo>
                      <a:pt x="1282" y="276"/>
                      <a:pt x="1273" y="264"/>
                      <a:pt x="1284" y="266"/>
                    </a:cubicBezTo>
                    <a:cubicBezTo>
                      <a:pt x="1296" y="267"/>
                      <a:pt x="1349" y="293"/>
                      <a:pt x="1359" y="294"/>
                    </a:cubicBezTo>
                    <a:cubicBezTo>
                      <a:pt x="1370" y="294"/>
                      <a:pt x="1372" y="285"/>
                      <a:pt x="1379" y="281"/>
                    </a:cubicBezTo>
                    <a:cubicBezTo>
                      <a:pt x="1386" y="277"/>
                      <a:pt x="1399" y="283"/>
                      <a:pt x="1408" y="278"/>
                    </a:cubicBezTo>
                    <a:cubicBezTo>
                      <a:pt x="1417" y="272"/>
                      <a:pt x="1406" y="267"/>
                      <a:pt x="1415" y="258"/>
                    </a:cubicBezTo>
                    <a:cubicBezTo>
                      <a:pt x="1423" y="249"/>
                      <a:pt x="1443" y="240"/>
                      <a:pt x="1443" y="240"/>
                    </a:cubicBezTo>
                    <a:cubicBezTo>
                      <a:pt x="1436" y="220"/>
                      <a:pt x="1436" y="220"/>
                      <a:pt x="1436" y="220"/>
                    </a:cubicBezTo>
                    <a:cubicBezTo>
                      <a:pt x="1384" y="242"/>
                      <a:pt x="1384" y="242"/>
                      <a:pt x="1384" y="242"/>
                    </a:cubicBezTo>
                    <a:cubicBezTo>
                      <a:pt x="1384" y="242"/>
                      <a:pt x="1396" y="255"/>
                      <a:pt x="1381" y="256"/>
                    </a:cubicBezTo>
                    <a:cubicBezTo>
                      <a:pt x="1366" y="257"/>
                      <a:pt x="1353" y="248"/>
                      <a:pt x="1344" y="248"/>
                    </a:cubicBezTo>
                    <a:cubicBezTo>
                      <a:pt x="1336" y="248"/>
                      <a:pt x="1321" y="261"/>
                      <a:pt x="1311" y="259"/>
                    </a:cubicBezTo>
                    <a:cubicBezTo>
                      <a:pt x="1300" y="256"/>
                      <a:pt x="1275" y="244"/>
                      <a:pt x="1268" y="244"/>
                    </a:cubicBezTo>
                    <a:cubicBezTo>
                      <a:pt x="1261" y="244"/>
                      <a:pt x="1245" y="244"/>
                      <a:pt x="1245" y="244"/>
                    </a:cubicBezTo>
                    <a:cubicBezTo>
                      <a:pt x="1253" y="232"/>
                      <a:pt x="1253" y="232"/>
                      <a:pt x="1253" y="232"/>
                    </a:cubicBezTo>
                    <a:cubicBezTo>
                      <a:pt x="1253" y="232"/>
                      <a:pt x="1226" y="225"/>
                      <a:pt x="1223" y="228"/>
                    </a:cubicBezTo>
                    <a:cubicBezTo>
                      <a:pt x="1219" y="232"/>
                      <a:pt x="1224" y="249"/>
                      <a:pt x="1212" y="256"/>
                    </a:cubicBezTo>
                    <a:cubicBezTo>
                      <a:pt x="1201" y="263"/>
                      <a:pt x="1179" y="261"/>
                      <a:pt x="1179" y="267"/>
                    </a:cubicBezTo>
                    <a:cubicBezTo>
                      <a:pt x="1179" y="273"/>
                      <a:pt x="1178" y="287"/>
                      <a:pt x="1178" y="287"/>
                    </a:cubicBezTo>
                    <a:cubicBezTo>
                      <a:pt x="1164" y="289"/>
                      <a:pt x="1164" y="289"/>
                      <a:pt x="1164" y="289"/>
                    </a:cubicBezTo>
                    <a:cubicBezTo>
                      <a:pt x="1174" y="336"/>
                      <a:pt x="1174" y="336"/>
                      <a:pt x="1174" y="336"/>
                    </a:cubicBezTo>
                    <a:cubicBezTo>
                      <a:pt x="1164" y="335"/>
                      <a:pt x="1164" y="335"/>
                      <a:pt x="1164" y="335"/>
                    </a:cubicBezTo>
                    <a:cubicBezTo>
                      <a:pt x="1164" y="335"/>
                      <a:pt x="1147" y="360"/>
                      <a:pt x="1145" y="370"/>
                    </a:cubicBezTo>
                    <a:close/>
                    <a:moveTo>
                      <a:pt x="1328" y="387"/>
                    </a:moveTo>
                    <a:cubicBezTo>
                      <a:pt x="1328" y="400"/>
                      <a:pt x="1328" y="400"/>
                      <a:pt x="1328" y="400"/>
                    </a:cubicBezTo>
                    <a:cubicBezTo>
                      <a:pt x="1328" y="400"/>
                      <a:pt x="1343" y="412"/>
                      <a:pt x="1350" y="395"/>
                    </a:cubicBezTo>
                    <a:cubicBezTo>
                      <a:pt x="1358" y="379"/>
                      <a:pt x="1328" y="387"/>
                      <a:pt x="1328" y="387"/>
                    </a:cubicBezTo>
                    <a:close/>
                    <a:moveTo>
                      <a:pt x="1127" y="743"/>
                    </a:moveTo>
                    <a:cubicBezTo>
                      <a:pt x="1118" y="740"/>
                      <a:pt x="1111" y="746"/>
                      <a:pt x="1111" y="746"/>
                    </a:cubicBezTo>
                    <a:cubicBezTo>
                      <a:pt x="1080" y="739"/>
                      <a:pt x="1080" y="739"/>
                      <a:pt x="1080" y="739"/>
                    </a:cubicBezTo>
                    <a:cubicBezTo>
                      <a:pt x="1099" y="766"/>
                      <a:pt x="1099" y="766"/>
                      <a:pt x="1099" y="766"/>
                    </a:cubicBezTo>
                    <a:cubicBezTo>
                      <a:pt x="1099" y="766"/>
                      <a:pt x="1126" y="793"/>
                      <a:pt x="1132" y="775"/>
                    </a:cubicBezTo>
                    <a:cubicBezTo>
                      <a:pt x="1137" y="758"/>
                      <a:pt x="1136" y="746"/>
                      <a:pt x="1127" y="743"/>
                    </a:cubicBezTo>
                    <a:close/>
                    <a:moveTo>
                      <a:pt x="1400" y="740"/>
                    </a:moveTo>
                    <a:cubicBezTo>
                      <a:pt x="1379" y="754"/>
                      <a:pt x="1379" y="754"/>
                      <a:pt x="1379" y="754"/>
                    </a:cubicBezTo>
                    <a:cubicBezTo>
                      <a:pt x="1400" y="759"/>
                      <a:pt x="1400" y="759"/>
                      <a:pt x="1400" y="759"/>
                    </a:cubicBezTo>
                    <a:lnTo>
                      <a:pt x="1400" y="740"/>
                    </a:lnTo>
                    <a:close/>
                    <a:moveTo>
                      <a:pt x="327" y="200"/>
                    </a:moveTo>
                    <a:cubicBezTo>
                      <a:pt x="315" y="190"/>
                      <a:pt x="304" y="196"/>
                      <a:pt x="310" y="212"/>
                    </a:cubicBezTo>
                    <a:cubicBezTo>
                      <a:pt x="314" y="226"/>
                      <a:pt x="339" y="209"/>
                      <a:pt x="327" y="200"/>
                    </a:cubicBezTo>
                    <a:close/>
                    <a:moveTo>
                      <a:pt x="1569" y="393"/>
                    </a:moveTo>
                    <a:cubicBezTo>
                      <a:pt x="1561" y="383"/>
                      <a:pt x="1542" y="370"/>
                      <a:pt x="1542" y="370"/>
                    </a:cubicBezTo>
                    <a:cubicBezTo>
                      <a:pt x="1540" y="400"/>
                      <a:pt x="1540" y="400"/>
                      <a:pt x="1540" y="400"/>
                    </a:cubicBezTo>
                    <a:cubicBezTo>
                      <a:pt x="1552" y="408"/>
                      <a:pt x="1578" y="404"/>
                      <a:pt x="1569" y="393"/>
                    </a:cubicBezTo>
                    <a:close/>
                    <a:moveTo>
                      <a:pt x="1543" y="318"/>
                    </a:moveTo>
                    <a:cubicBezTo>
                      <a:pt x="1552" y="325"/>
                      <a:pt x="1590" y="359"/>
                      <a:pt x="1599" y="356"/>
                    </a:cubicBezTo>
                    <a:cubicBezTo>
                      <a:pt x="1608" y="353"/>
                      <a:pt x="1598" y="340"/>
                      <a:pt x="1587" y="334"/>
                    </a:cubicBezTo>
                    <a:cubicBezTo>
                      <a:pt x="1577" y="328"/>
                      <a:pt x="1571" y="316"/>
                      <a:pt x="1581" y="306"/>
                    </a:cubicBezTo>
                    <a:cubicBezTo>
                      <a:pt x="1592" y="296"/>
                      <a:pt x="1611" y="306"/>
                      <a:pt x="1611" y="306"/>
                    </a:cubicBezTo>
                    <a:cubicBezTo>
                      <a:pt x="1620" y="299"/>
                      <a:pt x="1620" y="299"/>
                      <a:pt x="1620" y="299"/>
                    </a:cubicBezTo>
                    <a:cubicBezTo>
                      <a:pt x="1603" y="288"/>
                      <a:pt x="1603" y="288"/>
                      <a:pt x="1603" y="288"/>
                    </a:cubicBezTo>
                    <a:cubicBezTo>
                      <a:pt x="1603" y="288"/>
                      <a:pt x="1617" y="281"/>
                      <a:pt x="1620" y="269"/>
                    </a:cubicBezTo>
                    <a:cubicBezTo>
                      <a:pt x="1623" y="258"/>
                      <a:pt x="1608" y="250"/>
                      <a:pt x="1598" y="249"/>
                    </a:cubicBezTo>
                    <a:cubicBezTo>
                      <a:pt x="1587" y="247"/>
                      <a:pt x="1577" y="274"/>
                      <a:pt x="1565" y="275"/>
                    </a:cubicBezTo>
                    <a:cubicBezTo>
                      <a:pt x="1554" y="277"/>
                      <a:pt x="1557" y="250"/>
                      <a:pt x="1557" y="250"/>
                    </a:cubicBezTo>
                    <a:cubicBezTo>
                      <a:pt x="1557" y="250"/>
                      <a:pt x="1567" y="237"/>
                      <a:pt x="1570" y="227"/>
                    </a:cubicBezTo>
                    <a:cubicBezTo>
                      <a:pt x="1573" y="216"/>
                      <a:pt x="1567" y="211"/>
                      <a:pt x="1567" y="211"/>
                    </a:cubicBezTo>
                    <a:cubicBezTo>
                      <a:pt x="1576" y="184"/>
                      <a:pt x="1576" y="184"/>
                      <a:pt x="1576" y="184"/>
                    </a:cubicBezTo>
                    <a:cubicBezTo>
                      <a:pt x="1548" y="211"/>
                      <a:pt x="1548" y="211"/>
                      <a:pt x="1548" y="211"/>
                    </a:cubicBezTo>
                    <a:cubicBezTo>
                      <a:pt x="1548" y="230"/>
                      <a:pt x="1548" y="230"/>
                      <a:pt x="1548" y="230"/>
                    </a:cubicBezTo>
                    <a:cubicBezTo>
                      <a:pt x="1548" y="230"/>
                      <a:pt x="1525" y="240"/>
                      <a:pt x="1527" y="265"/>
                    </a:cubicBezTo>
                    <a:cubicBezTo>
                      <a:pt x="1529" y="281"/>
                      <a:pt x="1540" y="284"/>
                      <a:pt x="1543" y="293"/>
                    </a:cubicBezTo>
                    <a:cubicBezTo>
                      <a:pt x="1546" y="302"/>
                      <a:pt x="1535" y="310"/>
                      <a:pt x="1543" y="318"/>
                    </a:cubicBezTo>
                    <a:close/>
                    <a:moveTo>
                      <a:pt x="1505" y="474"/>
                    </a:moveTo>
                    <a:cubicBezTo>
                      <a:pt x="1496" y="464"/>
                      <a:pt x="1496" y="464"/>
                      <a:pt x="1496" y="464"/>
                    </a:cubicBezTo>
                    <a:cubicBezTo>
                      <a:pt x="1482" y="475"/>
                      <a:pt x="1482" y="475"/>
                      <a:pt x="1482" y="475"/>
                    </a:cubicBezTo>
                    <a:cubicBezTo>
                      <a:pt x="1482" y="475"/>
                      <a:pt x="1475" y="494"/>
                      <a:pt x="1489" y="503"/>
                    </a:cubicBezTo>
                    <a:cubicBezTo>
                      <a:pt x="1502" y="513"/>
                      <a:pt x="1521" y="509"/>
                      <a:pt x="1521" y="509"/>
                    </a:cubicBezTo>
                    <a:cubicBezTo>
                      <a:pt x="1529" y="498"/>
                      <a:pt x="1517" y="471"/>
                      <a:pt x="1517" y="471"/>
                    </a:cubicBezTo>
                    <a:lnTo>
                      <a:pt x="1505" y="474"/>
                    </a:lnTo>
                    <a:close/>
                    <a:moveTo>
                      <a:pt x="1437" y="740"/>
                    </a:moveTo>
                    <a:cubicBezTo>
                      <a:pt x="1487" y="728"/>
                      <a:pt x="1487" y="728"/>
                      <a:pt x="1487" y="728"/>
                    </a:cubicBezTo>
                    <a:cubicBezTo>
                      <a:pt x="1449" y="718"/>
                      <a:pt x="1449" y="718"/>
                      <a:pt x="1449" y="718"/>
                    </a:cubicBezTo>
                    <a:lnTo>
                      <a:pt x="1437" y="740"/>
                    </a:lnTo>
                    <a:close/>
                    <a:moveTo>
                      <a:pt x="1700" y="502"/>
                    </a:moveTo>
                    <a:cubicBezTo>
                      <a:pt x="1686" y="490"/>
                      <a:pt x="1686" y="490"/>
                      <a:pt x="1686" y="490"/>
                    </a:cubicBezTo>
                    <a:cubicBezTo>
                      <a:pt x="1687" y="479"/>
                      <a:pt x="1687" y="479"/>
                      <a:pt x="1687" y="479"/>
                    </a:cubicBezTo>
                    <a:cubicBezTo>
                      <a:pt x="1687" y="479"/>
                      <a:pt x="1681" y="458"/>
                      <a:pt x="1634" y="448"/>
                    </a:cubicBezTo>
                    <a:cubicBezTo>
                      <a:pt x="1618" y="444"/>
                      <a:pt x="1608" y="454"/>
                      <a:pt x="1597" y="459"/>
                    </a:cubicBezTo>
                    <a:cubicBezTo>
                      <a:pt x="1591" y="461"/>
                      <a:pt x="1583" y="457"/>
                      <a:pt x="1579" y="460"/>
                    </a:cubicBezTo>
                    <a:cubicBezTo>
                      <a:pt x="1566" y="468"/>
                      <a:pt x="1562" y="484"/>
                      <a:pt x="1566" y="487"/>
                    </a:cubicBezTo>
                    <a:cubicBezTo>
                      <a:pt x="1573" y="493"/>
                      <a:pt x="1580" y="479"/>
                      <a:pt x="1580" y="479"/>
                    </a:cubicBezTo>
                    <a:cubicBezTo>
                      <a:pt x="1580" y="479"/>
                      <a:pt x="1580" y="495"/>
                      <a:pt x="1591" y="497"/>
                    </a:cubicBezTo>
                    <a:cubicBezTo>
                      <a:pt x="1602" y="498"/>
                      <a:pt x="1604" y="478"/>
                      <a:pt x="1604" y="478"/>
                    </a:cubicBezTo>
                    <a:cubicBezTo>
                      <a:pt x="1604" y="478"/>
                      <a:pt x="1612" y="489"/>
                      <a:pt x="1619" y="489"/>
                    </a:cubicBezTo>
                    <a:cubicBezTo>
                      <a:pt x="1626" y="489"/>
                      <a:pt x="1644" y="474"/>
                      <a:pt x="1644" y="474"/>
                    </a:cubicBezTo>
                    <a:cubicBezTo>
                      <a:pt x="1654" y="509"/>
                      <a:pt x="1654" y="509"/>
                      <a:pt x="1654" y="509"/>
                    </a:cubicBezTo>
                    <a:cubicBezTo>
                      <a:pt x="1673" y="495"/>
                      <a:pt x="1673" y="495"/>
                      <a:pt x="1673" y="495"/>
                    </a:cubicBezTo>
                    <a:cubicBezTo>
                      <a:pt x="1695" y="519"/>
                      <a:pt x="1695" y="519"/>
                      <a:pt x="1695" y="519"/>
                    </a:cubicBezTo>
                    <a:lnTo>
                      <a:pt x="1700" y="502"/>
                    </a:lnTo>
                    <a:close/>
                    <a:moveTo>
                      <a:pt x="2179" y="454"/>
                    </a:moveTo>
                    <a:cubicBezTo>
                      <a:pt x="2153" y="435"/>
                      <a:pt x="2153" y="435"/>
                      <a:pt x="2153" y="435"/>
                    </a:cubicBezTo>
                    <a:cubicBezTo>
                      <a:pt x="2153" y="435"/>
                      <a:pt x="2134" y="437"/>
                      <a:pt x="2124" y="437"/>
                    </a:cubicBezTo>
                    <a:cubicBezTo>
                      <a:pt x="2113" y="437"/>
                      <a:pt x="2045" y="394"/>
                      <a:pt x="2032" y="390"/>
                    </a:cubicBezTo>
                    <a:cubicBezTo>
                      <a:pt x="2019" y="386"/>
                      <a:pt x="1998" y="405"/>
                      <a:pt x="1998" y="405"/>
                    </a:cubicBezTo>
                    <a:cubicBezTo>
                      <a:pt x="2007" y="423"/>
                      <a:pt x="2007" y="423"/>
                      <a:pt x="2007" y="423"/>
                    </a:cubicBezTo>
                    <a:cubicBezTo>
                      <a:pt x="1956" y="428"/>
                      <a:pt x="1956" y="428"/>
                      <a:pt x="1956" y="428"/>
                    </a:cubicBezTo>
                    <a:cubicBezTo>
                      <a:pt x="1960" y="446"/>
                      <a:pt x="1960" y="446"/>
                      <a:pt x="1960" y="446"/>
                    </a:cubicBezTo>
                    <a:cubicBezTo>
                      <a:pt x="1960" y="446"/>
                      <a:pt x="1950" y="477"/>
                      <a:pt x="1913" y="484"/>
                    </a:cubicBezTo>
                    <a:cubicBezTo>
                      <a:pt x="1876" y="492"/>
                      <a:pt x="1886" y="443"/>
                      <a:pt x="1880" y="443"/>
                    </a:cubicBezTo>
                    <a:cubicBezTo>
                      <a:pt x="1875" y="443"/>
                      <a:pt x="1869" y="465"/>
                      <a:pt x="1869" y="465"/>
                    </a:cubicBezTo>
                    <a:cubicBezTo>
                      <a:pt x="1869" y="465"/>
                      <a:pt x="1861" y="448"/>
                      <a:pt x="1861" y="439"/>
                    </a:cubicBezTo>
                    <a:cubicBezTo>
                      <a:pt x="1861" y="429"/>
                      <a:pt x="1862" y="402"/>
                      <a:pt x="1859" y="385"/>
                    </a:cubicBezTo>
                    <a:cubicBezTo>
                      <a:pt x="1857" y="368"/>
                      <a:pt x="1846" y="350"/>
                      <a:pt x="1846" y="350"/>
                    </a:cubicBezTo>
                    <a:cubicBezTo>
                      <a:pt x="1820" y="350"/>
                      <a:pt x="1820" y="350"/>
                      <a:pt x="1820" y="350"/>
                    </a:cubicBezTo>
                    <a:cubicBezTo>
                      <a:pt x="1820" y="350"/>
                      <a:pt x="1799" y="326"/>
                      <a:pt x="1781" y="326"/>
                    </a:cubicBezTo>
                    <a:cubicBezTo>
                      <a:pt x="1763" y="326"/>
                      <a:pt x="1744" y="351"/>
                      <a:pt x="1744" y="351"/>
                    </a:cubicBezTo>
                    <a:cubicBezTo>
                      <a:pt x="1728" y="355"/>
                      <a:pt x="1728" y="355"/>
                      <a:pt x="1728" y="355"/>
                    </a:cubicBezTo>
                    <a:cubicBezTo>
                      <a:pt x="1723" y="367"/>
                      <a:pt x="1723" y="367"/>
                      <a:pt x="1723" y="367"/>
                    </a:cubicBezTo>
                    <a:cubicBezTo>
                      <a:pt x="1711" y="373"/>
                      <a:pt x="1711" y="373"/>
                      <a:pt x="1711" y="373"/>
                    </a:cubicBezTo>
                    <a:cubicBezTo>
                      <a:pt x="1711" y="364"/>
                      <a:pt x="1711" y="364"/>
                      <a:pt x="1711" y="364"/>
                    </a:cubicBezTo>
                    <a:cubicBezTo>
                      <a:pt x="1711" y="364"/>
                      <a:pt x="1704" y="352"/>
                      <a:pt x="1693" y="356"/>
                    </a:cubicBezTo>
                    <a:cubicBezTo>
                      <a:pt x="1693" y="356"/>
                      <a:pt x="1693" y="369"/>
                      <a:pt x="1702" y="382"/>
                    </a:cubicBezTo>
                    <a:cubicBezTo>
                      <a:pt x="1711" y="395"/>
                      <a:pt x="1732" y="388"/>
                      <a:pt x="1749" y="393"/>
                    </a:cubicBezTo>
                    <a:cubicBezTo>
                      <a:pt x="1766" y="398"/>
                      <a:pt x="1751" y="406"/>
                      <a:pt x="1760" y="422"/>
                    </a:cubicBezTo>
                    <a:cubicBezTo>
                      <a:pt x="1769" y="437"/>
                      <a:pt x="1799" y="424"/>
                      <a:pt x="1821" y="424"/>
                    </a:cubicBezTo>
                    <a:cubicBezTo>
                      <a:pt x="1844" y="424"/>
                      <a:pt x="1845" y="429"/>
                      <a:pt x="1845" y="440"/>
                    </a:cubicBezTo>
                    <a:cubicBezTo>
                      <a:pt x="1845" y="450"/>
                      <a:pt x="1819" y="440"/>
                      <a:pt x="1811" y="441"/>
                    </a:cubicBezTo>
                    <a:cubicBezTo>
                      <a:pt x="1803" y="443"/>
                      <a:pt x="1785" y="454"/>
                      <a:pt x="1785" y="454"/>
                    </a:cubicBezTo>
                    <a:cubicBezTo>
                      <a:pt x="1785" y="454"/>
                      <a:pt x="1757" y="454"/>
                      <a:pt x="1751" y="461"/>
                    </a:cubicBezTo>
                    <a:cubicBezTo>
                      <a:pt x="1744" y="467"/>
                      <a:pt x="1774" y="474"/>
                      <a:pt x="1781" y="478"/>
                    </a:cubicBezTo>
                    <a:cubicBezTo>
                      <a:pt x="1787" y="482"/>
                      <a:pt x="1797" y="498"/>
                      <a:pt x="1797" y="498"/>
                    </a:cubicBezTo>
                    <a:cubicBezTo>
                      <a:pt x="1797" y="498"/>
                      <a:pt x="1781" y="517"/>
                      <a:pt x="1790" y="530"/>
                    </a:cubicBezTo>
                    <a:cubicBezTo>
                      <a:pt x="1799" y="543"/>
                      <a:pt x="1819" y="508"/>
                      <a:pt x="1819" y="504"/>
                    </a:cubicBezTo>
                    <a:cubicBezTo>
                      <a:pt x="1819" y="500"/>
                      <a:pt x="1838" y="471"/>
                      <a:pt x="1838" y="471"/>
                    </a:cubicBezTo>
                    <a:cubicBezTo>
                      <a:pt x="1836" y="496"/>
                      <a:pt x="1836" y="496"/>
                      <a:pt x="1836" y="496"/>
                    </a:cubicBezTo>
                    <a:cubicBezTo>
                      <a:pt x="1836" y="496"/>
                      <a:pt x="1849" y="509"/>
                      <a:pt x="1859" y="518"/>
                    </a:cubicBezTo>
                    <a:cubicBezTo>
                      <a:pt x="1870" y="528"/>
                      <a:pt x="1891" y="520"/>
                      <a:pt x="1891" y="520"/>
                    </a:cubicBezTo>
                    <a:cubicBezTo>
                      <a:pt x="1882" y="529"/>
                      <a:pt x="1882" y="529"/>
                      <a:pt x="1882" y="529"/>
                    </a:cubicBezTo>
                    <a:cubicBezTo>
                      <a:pt x="1903" y="549"/>
                      <a:pt x="1903" y="549"/>
                      <a:pt x="1903" y="549"/>
                    </a:cubicBezTo>
                    <a:cubicBezTo>
                      <a:pt x="1941" y="550"/>
                      <a:pt x="1941" y="550"/>
                      <a:pt x="1941" y="550"/>
                    </a:cubicBezTo>
                    <a:cubicBezTo>
                      <a:pt x="1964" y="567"/>
                      <a:pt x="1964" y="567"/>
                      <a:pt x="1964" y="567"/>
                    </a:cubicBezTo>
                    <a:cubicBezTo>
                      <a:pt x="1964" y="567"/>
                      <a:pt x="2006" y="581"/>
                      <a:pt x="2030" y="598"/>
                    </a:cubicBezTo>
                    <a:cubicBezTo>
                      <a:pt x="2053" y="615"/>
                      <a:pt x="2048" y="621"/>
                      <a:pt x="2049" y="640"/>
                    </a:cubicBezTo>
                    <a:cubicBezTo>
                      <a:pt x="2051" y="660"/>
                      <a:pt x="2073" y="669"/>
                      <a:pt x="2073" y="669"/>
                    </a:cubicBezTo>
                    <a:cubicBezTo>
                      <a:pt x="2073" y="669"/>
                      <a:pt x="2056" y="672"/>
                      <a:pt x="2056" y="681"/>
                    </a:cubicBezTo>
                    <a:cubicBezTo>
                      <a:pt x="2056" y="690"/>
                      <a:pt x="2082" y="691"/>
                      <a:pt x="2082" y="691"/>
                    </a:cubicBezTo>
                    <a:cubicBezTo>
                      <a:pt x="2066" y="697"/>
                      <a:pt x="2066" y="697"/>
                      <a:pt x="2066" y="697"/>
                    </a:cubicBezTo>
                    <a:cubicBezTo>
                      <a:pt x="2067" y="705"/>
                      <a:pt x="2067" y="705"/>
                      <a:pt x="2067" y="705"/>
                    </a:cubicBezTo>
                    <a:cubicBezTo>
                      <a:pt x="2072" y="708"/>
                      <a:pt x="2072" y="708"/>
                      <a:pt x="2072" y="708"/>
                    </a:cubicBezTo>
                    <a:cubicBezTo>
                      <a:pt x="2077" y="729"/>
                      <a:pt x="2077" y="729"/>
                      <a:pt x="2077" y="729"/>
                    </a:cubicBezTo>
                    <a:cubicBezTo>
                      <a:pt x="2067" y="750"/>
                      <a:pt x="2067" y="750"/>
                      <a:pt x="2067" y="750"/>
                    </a:cubicBezTo>
                    <a:cubicBezTo>
                      <a:pt x="2073" y="749"/>
                      <a:pt x="2078" y="748"/>
                      <a:pt x="2081" y="749"/>
                    </a:cubicBezTo>
                    <a:cubicBezTo>
                      <a:pt x="2086" y="752"/>
                      <a:pt x="2120" y="737"/>
                      <a:pt x="2120" y="737"/>
                    </a:cubicBezTo>
                    <a:cubicBezTo>
                      <a:pt x="2120" y="755"/>
                      <a:pt x="2120" y="755"/>
                      <a:pt x="2120" y="755"/>
                    </a:cubicBezTo>
                    <a:cubicBezTo>
                      <a:pt x="2120" y="755"/>
                      <a:pt x="2147" y="788"/>
                      <a:pt x="2159" y="797"/>
                    </a:cubicBezTo>
                    <a:cubicBezTo>
                      <a:pt x="2161" y="798"/>
                      <a:pt x="2162" y="799"/>
                      <a:pt x="2164" y="800"/>
                    </a:cubicBezTo>
                    <a:cubicBezTo>
                      <a:pt x="2166" y="768"/>
                      <a:pt x="2166" y="768"/>
                      <a:pt x="2166" y="768"/>
                    </a:cubicBezTo>
                    <a:cubicBezTo>
                      <a:pt x="2162" y="752"/>
                      <a:pt x="2162" y="752"/>
                      <a:pt x="2162" y="752"/>
                    </a:cubicBezTo>
                    <a:cubicBezTo>
                      <a:pt x="2162" y="752"/>
                      <a:pt x="2166" y="733"/>
                      <a:pt x="2168" y="726"/>
                    </a:cubicBezTo>
                    <a:cubicBezTo>
                      <a:pt x="2170" y="718"/>
                      <a:pt x="2173" y="681"/>
                      <a:pt x="2173" y="681"/>
                    </a:cubicBezTo>
                    <a:cubicBezTo>
                      <a:pt x="2173" y="681"/>
                      <a:pt x="2169" y="683"/>
                      <a:pt x="2158" y="676"/>
                    </a:cubicBezTo>
                    <a:cubicBezTo>
                      <a:pt x="2147" y="670"/>
                      <a:pt x="2174" y="652"/>
                      <a:pt x="2174" y="652"/>
                    </a:cubicBezTo>
                    <a:cubicBezTo>
                      <a:pt x="2174" y="652"/>
                      <a:pt x="2173" y="626"/>
                      <a:pt x="2171" y="611"/>
                    </a:cubicBezTo>
                    <a:cubicBezTo>
                      <a:pt x="2169" y="596"/>
                      <a:pt x="2177" y="574"/>
                      <a:pt x="2177" y="554"/>
                    </a:cubicBezTo>
                    <a:cubicBezTo>
                      <a:pt x="2177" y="538"/>
                      <a:pt x="2179" y="474"/>
                      <a:pt x="2179" y="454"/>
                    </a:cubicBezTo>
                    <a:close/>
                    <a:moveTo>
                      <a:pt x="228" y="446"/>
                    </a:moveTo>
                    <a:cubicBezTo>
                      <a:pt x="220" y="453"/>
                      <a:pt x="238" y="462"/>
                      <a:pt x="238" y="462"/>
                    </a:cubicBezTo>
                    <a:cubicBezTo>
                      <a:pt x="238" y="462"/>
                      <a:pt x="250" y="486"/>
                      <a:pt x="258" y="478"/>
                    </a:cubicBezTo>
                    <a:cubicBezTo>
                      <a:pt x="266" y="470"/>
                      <a:pt x="234" y="442"/>
                      <a:pt x="228" y="446"/>
                    </a:cubicBezTo>
                    <a:close/>
                    <a:moveTo>
                      <a:pt x="1691" y="739"/>
                    </a:moveTo>
                    <a:cubicBezTo>
                      <a:pt x="1701" y="745"/>
                      <a:pt x="1701" y="745"/>
                      <a:pt x="1701" y="745"/>
                    </a:cubicBezTo>
                    <a:cubicBezTo>
                      <a:pt x="1720" y="730"/>
                      <a:pt x="1720" y="730"/>
                      <a:pt x="1720" y="730"/>
                    </a:cubicBezTo>
                    <a:cubicBezTo>
                      <a:pt x="1720" y="730"/>
                      <a:pt x="1742" y="738"/>
                      <a:pt x="1742" y="716"/>
                    </a:cubicBezTo>
                    <a:cubicBezTo>
                      <a:pt x="1742" y="694"/>
                      <a:pt x="1691" y="720"/>
                      <a:pt x="1691" y="739"/>
                    </a:cubicBezTo>
                    <a:close/>
                    <a:moveTo>
                      <a:pt x="2068" y="714"/>
                    </a:moveTo>
                    <a:cubicBezTo>
                      <a:pt x="2067" y="713"/>
                      <a:pt x="2067" y="713"/>
                      <a:pt x="2067" y="713"/>
                    </a:cubicBezTo>
                    <a:cubicBezTo>
                      <a:pt x="2065" y="710"/>
                      <a:pt x="2056" y="702"/>
                      <a:pt x="2037" y="711"/>
                    </a:cubicBezTo>
                    <a:cubicBezTo>
                      <a:pt x="2015" y="721"/>
                      <a:pt x="2011" y="759"/>
                      <a:pt x="2011" y="759"/>
                    </a:cubicBezTo>
                    <a:cubicBezTo>
                      <a:pt x="2053" y="754"/>
                      <a:pt x="2053" y="754"/>
                      <a:pt x="2053" y="754"/>
                    </a:cubicBezTo>
                    <a:cubicBezTo>
                      <a:pt x="2053" y="754"/>
                      <a:pt x="2059" y="752"/>
                      <a:pt x="2066" y="750"/>
                    </a:cubicBezTo>
                    <a:cubicBezTo>
                      <a:pt x="2072" y="728"/>
                      <a:pt x="2072" y="728"/>
                      <a:pt x="2072" y="728"/>
                    </a:cubicBezTo>
                    <a:lnTo>
                      <a:pt x="2068" y="714"/>
                    </a:lnTo>
                    <a:close/>
                    <a:moveTo>
                      <a:pt x="1857" y="631"/>
                    </a:moveTo>
                    <a:cubicBezTo>
                      <a:pt x="1847" y="641"/>
                      <a:pt x="1847" y="641"/>
                      <a:pt x="1847" y="641"/>
                    </a:cubicBezTo>
                    <a:cubicBezTo>
                      <a:pt x="1849" y="676"/>
                      <a:pt x="1849" y="676"/>
                      <a:pt x="1849" y="676"/>
                    </a:cubicBezTo>
                    <a:cubicBezTo>
                      <a:pt x="1860" y="679"/>
                      <a:pt x="1860" y="679"/>
                      <a:pt x="1860" y="679"/>
                    </a:cubicBezTo>
                    <a:cubicBezTo>
                      <a:pt x="1859" y="666"/>
                      <a:pt x="1859" y="666"/>
                      <a:pt x="1859" y="666"/>
                    </a:cubicBezTo>
                    <a:cubicBezTo>
                      <a:pt x="1866" y="663"/>
                      <a:pt x="1866" y="663"/>
                      <a:pt x="1866" y="663"/>
                    </a:cubicBezTo>
                    <a:cubicBezTo>
                      <a:pt x="1865" y="648"/>
                      <a:pt x="1865" y="648"/>
                      <a:pt x="1865" y="648"/>
                    </a:cubicBezTo>
                    <a:cubicBezTo>
                      <a:pt x="1856" y="648"/>
                      <a:pt x="1856" y="648"/>
                      <a:pt x="1856" y="648"/>
                    </a:cubicBezTo>
                    <a:cubicBezTo>
                      <a:pt x="1868" y="628"/>
                      <a:pt x="1868" y="628"/>
                      <a:pt x="1868" y="628"/>
                    </a:cubicBezTo>
                    <a:cubicBezTo>
                      <a:pt x="1881" y="606"/>
                      <a:pt x="1881" y="606"/>
                      <a:pt x="1881" y="606"/>
                    </a:cubicBezTo>
                    <a:cubicBezTo>
                      <a:pt x="1862" y="610"/>
                      <a:pt x="1862" y="610"/>
                      <a:pt x="1862" y="610"/>
                    </a:cubicBezTo>
                    <a:lnTo>
                      <a:pt x="1857" y="631"/>
                    </a:lnTo>
                    <a:close/>
                    <a:moveTo>
                      <a:pt x="1427" y="403"/>
                    </a:moveTo>
                    <a:cubicBezTo>
                      <a:pt x="1427" y="403"/>
                      <a:pt x="1405" y="391"/>
                      <a:pt x="1398" y="394"/>
                    </a:cubicBezTo>
                    <a:cubicBezTo>
                      <a:pt x="1392" y="397"/>
                      <a:pt x="1389" y="406"/>
                      <a:pt x="1389" y="406"/>
                    </a:cubicBezTo>
                    <a:cubicBezTo>
                      <a:pt x="1396" y="420"/>
                      <a:pt x="1427" y="415"/>
                      <a:pt x="1427" y="415"/>
                    </a:cubicBezTo>
                    <a:cubicBezTo>
                      <a:pt x="1480" y="405"/>
                      <a:pt x="1480" y="405"/>
                      <a:pt x="1480" y="405"/>
                    </a:cubicBezTo>
                    <a:lnTo>
                      <a:pt x="1427" y="403"/>
                    </a:lnTo>
                    <a:close/>
                    <a:moveTo>
                      <a:pt x="879" y="696"/>
                    </a:moveTo>
                    <a:cubicBezTo>
                      <a:pt x="917" y="669"/>
                      <a:pt x="917" y="669"/>
                      <a:pt x="917" y="669"/>
                    </a:cubicBezTo>
                    <a:cubicBezTo>
                      <a:pt x="914" y="663"/>
                      <a:pt x="914" y="663"/>
                      <a:pt x="914" y="663"/>
                    </a:cubicBezTo>
                    <a:cubicBezTo>
                      <a:pt x="914" y="663"/>
                      <a:pt x="864" y="667"/>
                      <a:pt x="863" y="677"/>
                    </a:cubicBezTo>
                    <a:cubicBezTo>
                      <a:pt x="858" y="702"/>
                      <a:pt x="879" y="696"/>
                      <a:pt x="879" y="696"/>
                    </a:cubicBezTo>
                    <a:close/>
                    <a:moveTo>
                      <a:pt x="959" y="747"/>
                    </a:moveTo>
                    <a:cubicBezTo>
                      <a:pt x="949" y="747"/>
                      <a:pt x="933" y="747"/>
                      <a:pt x="933" y="747"/>
                    </a:cubicBezTo>
                    <a:cubicBezTo>
                      <a:pt x="930" y="766"/>
                      <a:pt x="930" y="766"/>
                      <a:pt x="930" y="766"/>
                    </a:cubicBezTo>
                    <a:cubicBezTo>
                      <a:pt x="930" y="766"/>
                      <a:pt x="940" y="794"/>
                      <a:pt x="953" y="783"/>
                    </a:cubicBezTo>
                    <a:cubicBezTo>
                      <a:pt x="966" y="773"/>
                      <a:pt x="969" y="747"/>
                      <a:pt x="959" y="747"/>
                    </a:cubicBezTo>
                    <a:close/>
                    <a:moveTo>
                      <a:pt x="475" y="622"/>
                    </a:moveTo>
                    <a:cubicBezTo>
                      <a:pt x="480" y="617"/>
                      <a:pt x="480" y="602"/>
                      <a:pt x="480" y="602"/>
                    </a:cubicBezTo>
                    <a:cubicBezTo>
                      <a:pt x="499" y="620"/>
                      <a:pt x="499" y="620"/>
                      <a:pt x="499" y="620"/>
                    </a:cubicBezTo>
                    <a:cubicBezTo>
                      <a:pt x="499" y="620"/>
                      <a:pt x="507" y="597"/>
                      <a:pt x="507" y="581"/>
                    </a:cubicBezTo>
                    <a:cubicBezTo>
                      <a:pt x="507" y="565"/>
                      <a:pt x="516" y="521"/>
                      <a:pt x="516" y="521"/>
                    </a:cubicBezTo>
                    <a:cubicBezTo>
                      <a:pt x="516" y="521"/>
                      <a:pt x="507" y="516"/>
                      <a:pt x="507" y="506"/>
                    </a:cubicBezTo>
                    <a:cubicBezTo>
                      <a:pt x="507" y="497"/>
                      <a:pt x="526" y="482"/>
                      <a:pt x="520" y="477"/>
                    </a:cubicBezTo>
                    <a:cubicBezTo>
                      <a:pt x="515" y="472"/>
                      <a:pt x="510" y="468"/>
                      <a:pt x="510" y="468"/>
                    </a:cubicBezTo>
                    <a:cubicBezTo>
                      <a:pt x="502" y="437"/>
                      <a:pt x="502" y="437"/>
                      <a:pt x="502" y="437"/>
                    </a:cubicBezTo>
                    <a:cubicBezTo>
                      <a:pt x="474" y="438"/>
                      <a:pt x="474" y="438"/>
                      <a:pt x="474" y="438"/>
                    </a:cubicBezTo>
                    <a:cubicBezTo>
                      <a:pt x="474" y="438"/>
                      <a:pt x="478" y="420"/>
                      <a:pt x="471" y="416"/>
                    </a:cubicBezTo>
                    <a:cubicBezTo>
                      <a:pt x="464" y="412"/>
                      <a:pt x="450" y="413"/>
                      <a:pt x="450" y="413"/>
                    </a:cubicBezTo>
                    <a:cubicBezTo>
                      <a:pt x="444" y="366"/>
                      <a:pt x="444" y="366"/>
                      <a:pt x="444" y="366"/>
                    </a:cubicBezTo>
                    <a:cubicBezTo>
                      <a:pt x="444" y="366"/>
                      <a:pt x="402" y="370"/>
                      <a:pt x="399" y="357"/>
                    </a:cubicBezTo>
                    <a:cubicBezTo>
                      <a:pt x="396" y="344"/>
                      <a:pt x="410" y="328"/>
                      <a:pt x="410" y="328"/>
                    </a:cubicBezTo>
                    <a:cubicBezTo>
                      <a:pt x="394" y="326"/>
                      <a:pt x="394" y="326"/>
                      <a:pt x="394" y="326"/>
                    </a:cubicBezTo>
                    <a:cubicBezTo>
                      <a:pt x="394" y="326"/>
                      <a:pt x="419" y="297"/>
                      <a:pt x="410" y="289"/>
                    </a:cubicBezTo>
                    <a:cubicBezTo>
                      <a:pt x="400" y="281"/>
                      <a:pt x="358" y="300"/>
                      <a:pt x="358" y="300"/>
                    </a:cubicBezTo>
                    <a:cubicBezTo>
                      <a:pt x="358" y="300"/>
                      <a:pt x="383" y="276"/>
                      <a:pt x="375" y="272"/>
                    </a:cubicBezTo>
                    <a:cubicBezTo>
                      <a:pt x="367" y="268"/>
                      <a:pt x="343" y="264"/>
                      <a:pt x="343" y="264"/>
                    </a:cubicBezTo>
                    <a:cubicBezTo>
                      <a:pt x="343" y="264"/>
                      <a:pt x="354" y="256"/>
                      <a:pt x="340" y="238"/>
                    </a:cubicBezTo>
                    <a:cubicBezTo>
                      <a:pt x="327" y="221"/>
                      <a:pt x="304" y="220"/>
                      <a:pt x="304" y="220"/>
                    </a:cubicBezTo>
                    <a:cubicBezTo>
                      <a:pt x="304" y="220"/>
                      <a:pt x="298" y="200"/>
                      <a:pt x="291" y="192"/>
                    </a:cubicBezTo>
                    <a:cubicBezTo>
                      <a:pt x="284" y="184"/>
                      <a:pt x="275" y="190"/>
                      <a:pt x="275" y="190"/>
                    </a:cubicBezTo>
                    <a:cubicBezTo>
                      <a:pt x="279" y="205"/>
                      <a:pt x="279" y="205"/>
                      <a:pt x="279" y="205"/>
                    </a:cubicBezTo>
                    <a:cubicBezTo>
                      <a:pt x="279" y="205"/>
                      <a:pt x="254" y="186"/>
                      <a:pt x="248" y="180"/>
                    </a:cubicBezTo>
                    <a:cubicBezTo>
                      <a:pt x="243" y="173"/>
                      <a:pt x="232" y="146"/>
                      <a:pt x="232" y="146"/>
                    </a:cubicBezTo>
                    <a:cubicBezTo>
                      <a:pt x="232" y="146"/>
                      <a:pt x="202" y="125"/>
                      <a:pt x="188" y="113"/>
                    </a:cubicBezTo>
                    <a:cubicBezTo>
                      <a:pt x="175" y="101"/>
                      <a:pt x="152" y="82"/>
                      <a:pt x="152" y="82"/>
                    </a:cubicBezTo>
                    <a:cubicBezTo>
                      <a:pt x="152" y="82"/>
                      <a:pt x="156" y="77"/>
                      <a:pt x="151" y="72"/>
                    </a:cubicBezTo>
                    <a:cubicBezTo>
                      <a:pt x="146" y="66"/>
                      <a:pt x="139" y="60"/>
                      <a:pt x="139" y="60"/>
                    </a:cubicBezTo>
                    <a:cubicBezTo>
                      <a:pt x="139" y="60"/>
                      <a:pt x="128" y="41"/>
                      <a:pt x="120" y="34"/>
                    </a:cubicBezTo>
                    <a:cubicBezTo>
                      <a:pt x="112" y="28"/>
                      <a:pt x="104" y="29"/>
                      <a:pt x="104" y="29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7" y="25"/>
                      <a:pt x="27" y="0"/>
                      <a:pt x="16" y="2"/>
                    </a:cubicBezTo>
                    <a:cubicBezTo>
                      <a:pt x="6" y="5"/>
                      <a:pt x="0" y="29"/>
                      <a:pt x="7" y="41"/>
                    </a:cubicBezTo>
                    <a:cubicBezTo>
                      <a:pt x="14" y="53"/>
                      <a:pt x="88" y="121"/>
                      <a:pt x="88" y="121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9" y="154"/>
                      <a:pt x="119" y="154"/>
                      <a:pt x="119" y="154"/>
                    </a:cubicBezTo>
                    <a:cubicBezTo>
                      <a:pt x="119" y="154"/>
                      <a:pt x="122" y="178"/>
                      <a:pt x="128" y="184"/>
                    </a:cubicBezTo>
                    <a:cubicBezTo>
                      <a:pt x="135" y="189"/>
                      <a:pt x="170" y="202"/>
                      <a:pt x="178" y="218"/>
                    </a:cubicBezTo>
                    <a:cubicBezTo>
                      <a:pt x="186" y="234"/>
                      <a:pt x="194" y="266"/>
                      <a:pt x="194" y="266"/>
                    </a:cubicBezTo>
                    <a:cubicBezTo>
                      <a:pt x="194" y="266"/>
                      <a:pt x="191" y="301"/>
                      <a:pt x="199" y="301"/>
                    </a:cubicBezTo>
                    <a:cubicBezTo>
                      <a:pt x="207" y="301"/>
                      <a:pt x="219" y="293"/>
                      <a:pt x="222" y="302"/>
                    </a:cubicBezTo>
                    <a:cubicBezTo>
                      <a:pt x="224" y="312"/>
                      <a:pt x="230" y="328"/>
                      <a:pt x="230" y="328"/>
                    </a:cubicBezTo>
                    <a:cubicBezTo>
                      <a:pt x="255" y="349"/>
                      <a:pt x="255" y="349"/>
                      <a:pt x="255" y="349"/>
                    </a:cubicBezTo>
                    <a:cubicBezTo>
                      <a:pt x="254" y="365"/>
                      <a:pt x="254" y="365"/>
                      <a:pt x="254" y="365"/>
                    </a:cubicBezTo>
                    <a:cubicBezTo>
                      <a:pt x="275" y="408"/>
                      <a:pt x="275" y="408"/>
                      <a:pt x="275" y="408"/>
                    </a:cubicBezTo>
                    <a:cubicBezTo>
                      <a:pt x="275" y="408"/>
                      <a:pt x="268" y="421"/>
                      <a:pt x="278" y="436"/>
                    </a:cubicBezTo>
                    <a:cubicBezTo>
                      <a:pt x="287" y="450"/>
                      <a:pt x="296" y="453"/>
                      <a:pt x="296" y="453"/>
                    </a:cubicBezTo>
                    <a:cubicBezTo>
                      <a:pt x="296" y="453"/>
                      <a:pt x="306" y="477"/>
                      <a:pt x="314" y="485"/>
                    </a:cubicBezTo>
                    <a:cubicBezTo>
                      <a:pt x="322" y="493"/>
                      <a:pt x="343" y="501"/>
                      <a:pt x="343" y="501"/>
                    </a:cubicBezTo>
                    <a:cubicBezTo>
                      <a:pt x="343" y="526"/>
                      <a:pt x="343" y="526"/>
                      <a:pt x="343" y="526"/>
                    </a:cubicBezTo>
                    <a:cubicBezTo>
                      <a:pt x="343" y="526"/>
                      <a:pt x="392" y="568"/>
                      <a:pt x="395" y="572"/>
                    </a:cubicBezTo>
                    <a:cubicBezTo>
                      <a:pt x="398" y="576"/>
                      <a:pt x="411" y="577"/>
                      <a:pt x="411" y="577"/>
                    </a:cubicBezTo>
                    <a:cubicBezTo>
                      <a:pt x="411" y="577"/>
                      <a:pt x="422" y="602"/>
                      <a:pt x="430" y="606"/>
                    </a:cubicBezTo>
                    <a:cubicBezTo>
                      <a:pt x="438" y="610"/>
                      <a:pt x="440" y="632"/>
                      <a:pt x="444" y="630"/>
                    </a:cubicBezTo>
                    <a:cubicBezTo>
                      <a:pt x="448" y="629"/>
                      <a:pt x="442" y="608"/>
                      <a:pt x="447" y="605"/>
                    </a:cubicBezTo>
                    <a:cubicBezTo>
                      <a:pt x="452" y="602"/>
                      <a:pt x="470" y="628"/>
                      <a:pt x="475" y="622"/>
                    </a:cubicBezTo>
                    <a:close/>
                    <a:moveTo>
                      <a:pt x="1416" y="798"/>
                    </a:moveTo>
                    <a:cubicBezTo>
                      <a:pt x="1409" y="784"/>
                      <a:pt x="1409" y="784"/>
                      <a:pt x="1409" y="784"/>
                    </a:cubicBezTo>
                    <a:cubicBezTo>
                      <a:pt x="1404" y="785"/>
                      <a:pt x="1397" y="786"/>
                      <a:pt x="1392" y="790"/>
                    </a:cubicBezTo>
                    <a:cubicBezTo>
                      <a:pt x="1380" y="797"/>
                      <a:pt x="1380" y="812"/>
                      <a:pt x="1380" y="812"/>
                    </a:cubicBezTo>
                    <a:cubicBezTo>
                      <a:pt x="1380" y="812"/>
                      <a:pt x="1369" y="809"/>
                      <a:pt x="1357" y="820"/>
                    </a:cubicBezTo>
                    <a:cubicBezTo>
                      <a:pt x="1345" y="832"/>
                      <a:pt x="1322" y="855"/>
                      <a:pt x="1342" y="870"/>
                    </a:cubicBezTo>
                    <a:cubicBezTo>
                      <a:pt x="1353" y="879"/>
                      <a:pt x="1393" y="842"/>
                      <a:pt x="1408" y="828"/>
                    </a:cubicBezTo>
                    <a:cubicBezTo>
                      <a:pt x="1405" y="827"/>
                      <a:pt x="1402" y="823"/>
                      <a:pt x="1406" y="817"/>
                    </a:cubicBezTo>
                    <a:cubicBezTo>
                      <a:pt x="1412" y="805"/>
                      <a:pt x="1416" y="798"/>
                      <a:pt x="1416" y="798"/>
                    </a:cubicBezTo>
                    <a:close/>
                    <a:moveTo>
                      <a:pt x="921" y="753"/>
                    </a:moveTo>
                    <a:cubicBezTo>
                      <a:pt x="921" y="734"/>
                      <a:pt x="894" y="734"/>
                      <a:pt x="879" y="731"/>
                    </a:cubicBezTo>
                    <a:cubicBezTo>
                      <a:pt x="865" y="728"/>
                      <a:pt x="866" y="759"/>
                      <a:pt x="866" y="759"/>
                    </a:cubicBezTo>
                    <a:cubicBezTo>
                      <a:pt x="841" y="740"/>
                      <a:pt x="841" y="740"/>
                      <a:pt x="841" y="740"/>
                    </a:cubicBezTo>
                    <a:cubicBezTo>
                      <a:pt x="841" y="740"/>
                      <a:pt x="847" y="724"/>
                      <a:pt x="847" y="700"/>
                    </a:cubicBezTo>
                    <a:cubicBezTo>
                      <a:pt x="847" y="677"/>
                      <a:pt x="799" y="686"/>
                      <a:pt x="799" y="686"/>
                    </a:cubicBezTo>
                    <a:cubicBezTo>
                      <a:pt x="778" y="674"/>
                      <a:pt x="778" y="674"/>
                      <a:pt x="778" y="674"/>
                    </a:cubicBezTo>
                    <a:cubicBezTo>
                      <a:pt x="775" y="659"/>
                      <a:pt x="775" y="659"/>
                      <a:pt x="775" y="659"/>
                    </a:cubicBezTo>
                    <a:cubicBezTo>
                      <a:pt x="749" y="659"/>
                      <a:pt x="749" y="659"/>
                      <a:pt x="749" y="659"/>
                    </a:cubicBezTo>
                    <a:cubicBezTo>
                      <a:pt x="749" y="659"/>
                      <a:pt x="744" y="680"/>
                      <a:pt x="744" y="684"/>
                    </a:cubicBezTo>
                    <a:cubicBezTo>
                      <a:pt x="744" y="688"/>
                      <a:pt x="709" y="677"/>
                      <a:pt x="693" y="674"/>
                    </a:cubicBezTo>
                    <a:cubicBezTo>
                      <a:pt x="677" y="671"/>
                      <a:pt x="648" y="672"/>
                      <a:pt x="648" y="672"/>
                    </a:cubicBezTo>
                    <a:cubicBezTo>
                      <a:pt x="648" y="672"/>
                      <a:pt x="630" y="650"/>
                      <a:pt x="621" y="640"/>
                    </a:cubicBezTo>
                    <a:cubicBezTo>
                      <a:pt x="612" y="630"/>
                      <a:pt x="598" y="641"/>
                      <a:pt x="598" y="641"/>
                    </a:cubicBezTo>
                    <a:cubicBezTo>
                      <a:pt x="598" y="641"/>
                      <a:pt x="573" y="628"/>
                      <a:pt x="567" y="627"/>
                    </a:cubicBezTo>
                    <a:cubicBezTo>
                      <a:pt x="561" y="625"/>
                      <a:pt x="535" y="624"/>
                      <a:pt x="535" y="624"/>
                    </a:cubicBezTo>
                    <a:cubicBezTo>
                      <a:pt x="535" y="624"/>
                      <a:pt x="524" y="615"/>
                      <a:pt x="511" y="619"/>
                    </a:cubicBezTo>
                    <a:cubicBezTo>
                      <a:pt x="498" y="624"/>
                      <a:pt x="498" y="652"/>
                      <a:pt x="491" y="656"/>
                    </a:cubicBezTo>
                    <a:cubicBezTo>
                      <a:pt x="483" y="661"/>
                      <a:pt x="469" y="666"/>
                      <a:pt x="472" y="677"/>
                    </a:cubicBezTo>
                    <a:cubicBezTo>
                      <a:pt x="496" y="672"/>
                      <a:pt x="496" y="672"/>
                      <a:pt x="496" y="672"/>
                    </a:cubicBezTo>
                    <a:cubicBezTo>
                      <a:pt x="527" y="675"/>
                      <a:pt x="527" y="675"/>
                      <a:pt x="527" y="675"/>
                    </a:cubicBezTo>
                    <a:cubicBezTo>
                      <a:pt x="527" y="675"/>
                      <a:pt x="504" y="688"/>
                      <a:pt x="514" y="699"/>
                    </a:cubicBezTo>
                    <a:cubicBezTo>
                      <a:pt x="524" y="709"/>
                      <a:pt x="558" y="691"/>
                      <a:pt x="558" y="691"/>
                    </a:cubicBezTo>
                    <a:cubicBezTo>
                      <a:pt x="558" y="691"/>
                      <a:pt x="608" y="718"/>
                      <a:pt x="623" y="722"/>
                    </a:cubicBezTo>
                    <a:cubicBezTo>
                      <a:pt x="637" y="727"/>
                      <a:pt x="687" y="728"/>
                      <a:pt x="705" y="728"/>
                    </a:cubicBezTo>
                    <a:cubicBezTo>
                      <a:pt x="722" y="728"/>
                      <a:pt x="727" y="747"/>
                      <a:pt x="737" y="756"/>
                    </a:cubicBezTo>
                    <a:cubicBezTo>
                      <a:pt x="747" y="765"/>
                      <a:pt x="780" y="771"/>
                      <a:pt x="794" y="772"/>
                    </a:cubicBezTo>
                    <a:cubicBezTo>
                      <a:pt x="809" y="774"/>
                      <a:pt x="815" y="771"/>
                      <a:pt x="837" y="772"/>
                    </a:cubicBezTo>
                    <a:cubicBezTo>
                      <a:pt x="859" y="774"/>
                      <a:pt x="877" y="801"/>
                      <a:pt x="885" y="806"/>
                    </a:cubicBezTo>
                    <a:cubicBezTo>
                      <a:pt x="894" y="810"/>
                      <a:pt x="904" y="801"/>
                      <a:pt x="904" y="801"/>
                    </a:cubicBezTo>
                    <a:cubicBezTo>
                      <a:pt x="904" y="801"/>
                      <a:pt x="921" y="810"/>
                      <a:pt x="921" y="804"/>
                    </a:cubicBezTo>
                    <a:cubicBezTo>
                      <a:pt x="921" y="793"/>
                      <a:pt x="910" y="778"/>
                      <a:pt x="910" y="778"/>
                    </a:cubicBezTo>
                    <a:cubicBezTo>
                      <a:pt x="910" y="778"/>
                      <a:pt x="921" y="772"/>
                      <a:pt x="921" y="753"/>
                    </a:cubicBezTo>
                    <a:close/>
                    <a:moveTo>
                      <a:pt x="1004" y="484"/>
                    </a:moveTo>
                    <a:cubicBezTo>
                      <a:pt x="1004" y="484"/>
                      <a:pt x="1025" y="467"/>
                      <a:pt x="1031" y="460"/>
                    </a:cubicBezTo>
                    <a:cubicBezTo>
                      <a:pt x="1036" y="453"/>
                      <a:pt x="1055" y="403"/>
                      <a:pt x="1055" y="403"/>
                    </a:cubicBezTo>
                    <a:cubicBezTo>
                      <a:pt x="1055" y="403"/>
                      <a:pt x="1037" y="401"/>
                      <a:pt x="1034" y="388"/>
                    </a:cubicBezTo>
                    <a:cubicBezTo>
                      <a:pt x="1031" y="376"/>
                      <a:pt x="1037" y="361"/>
                      <a:pt x="1042" y="348"/>
                    </a:cubicBezTo>
                    <a:cubicBezTo>
                      <a:pt x="1048" y="334"/>
                      <a:pt x="1070" y="336"/>
                      <a:pt x="1083" y="334"/>
                    </a:cubicBezTo>
                    <a:cubicBezTo>
                      <a:pt x="1095" y="333"/>
                      <a:pt x="1102" y="309"/>
                      <a:pt x="1101" y="301"/>
                    </a:cubicBezTo>
                    <a:cubicBezTo>
                      <a:pt x="1099" y="293"/>
                      <a:pt x="1079" y="301"/>
                      <a:pt x="1079" y="301"/>
                    </a:cubicBezTo>
                    <a:cubicBezTo>
                      <a:pt x="1079" y="301"/>
                      <a:pt x="1076" y="288"/>
                      <a:pt x="1088" y="275"/>
                    </a:cubicBezTo>
                    <a:cubicBezTo>
                      <a:pt x="1101" y="264"/>
                      <a:pt x="1128" y="269"/>
                      <a:pt x="1139" y="271"/>
                    </a:cubicBezTo>
                    <a:cubicBezTo>
                      <a:pt x="1150" y="274"/>
                      <a:pt x="1150" y="257"/>
                      <a:pt x="1150" y="257"/>
                    </a:cubicBezTo>
                    <a:cubicBezTo>
                      <a:pt x="1124" y="235"/>
                      <a:pt x="1124" y="235"/>
                      <a:pt x="1124" y="235"/>
                    </a:cubicBezTo>
                    <a:cubicBezTo>
                      <a:pt x="1124" y="208"/>
                      <a:pt x="1124" y="208"/>
                      <a:pt x="1124" y="208"/>
                    </a:cubicBezTo>
                    <a:cubicBezTo>
                      <a:pt x="1124" y="208"/>
                      <a:pt x="1105" y="207"/>
                      <a:pt x="1105" y="199"/>
                    </a:cubicBezTo>
                    <a:cubicBezTo>
                      <a:pt x="1105" y="191"/>
                      <a:pt x="1117" y="179"/>
                      <a:pt x="1116" y="168"/>
                    </a:cubicBezTo>
                    <a:cubicBezTo>
                      <a:pt x="1115" y="156"/>
                      <a:pt x="1082" y="153"/>
                      <a:pt x="1082" y="153"/>
                    </a:cubicBezTo>
                    <a:cubicBezTo>
                      <a:pt x="1093" y="135"/>
                      <a:pt x="1093" y="135"/>
                      <a:pt x="1093" y="135"/>
                    </a:cubicBezTo>
                    <a:cubicBezTo>
                      <a:pt x="1082" y="130"/>
                      <a:pt x="1082" y="130"/>
                      <a:pt x="1082" y="130"/>
                    </a:cubicBezTo>
                    <a:cubicBezTo>
                      <a:pt x="1086" y="110"/>
                      <a:pt x="1086" y="110"/>
                      <a:pt x="1086" y="110"/>
                    </a:cubicBezTo>
                    <a:cubicBezTo>
                      <a:pt x="1078" y="99"/>
                      <a:pt x="1078" y="99"/>
                      <a:pt x="1078" y="99"/>
                    </a:cubicBezTo>
                    <a:cubicBezTo>
                      <a:pt x="1070" y="92"/>
                      <a:pt x="1051" y="75"/>
                      <a:pt x="1047" y="75"/>
                    </a:cubicBezTo>
                    <a:cubicBezTo>
                      <a:pt x="1043" y="74"/>
                      <a:pt x="1002" y="73"/>
                      <a:pt x="987" y="74"/>
                    </a:cubicBezTo>
                    <a:cubicBezTo>
                      <a:pt x="973" y="75"/>
                      <a:pt x="980" y="97"/>
                      <a:pt x="978" y="113"/>
                    </a:cubicBezTo>
                    <a:cubicBezTo>
                      <a:pt x="977" y="129"/>
                      <a:pt x="968" y="144"/>
                      <a:pt x="968" y="144"/>
                    </a:cubicBezTo>
                    <a:cubicBezTo>
                      <a:pt x="968" y="144"/>
                      <a:pt x="961" y="143"/>
                      <a:pt x="955" y="152"/>
                    </a:cubicBezTo>
                    <a:cubicBezTo>
                      <a:pt x="948" y="161"/>
                      <a:pt x="960" y="177"/>
                      <a:pt x="960" y="177"/>
                    </a:cubicBezTo>
                    <a:cubicBezTo>
                      <a:pt x="938" y="196"/>
                      <a:pt x="938" y="196"/>
                      <a:pt x="938" y="196"/>
                    </a:cubicBezTo>
                    <a:cubicBezTo>
                      <a:pt x="939" y="208"/>
                      <a:pt x="939" y="208"/>
                      <a:pt x="939" y="208"/>
                    </a:cubicBezTo>
                    <a:cubicBezTo>
                      <a:pt x="922" y="231"/>
                      <a:pt x="922" y="231"/>
                      <a:pt x="922" y="231"/>
                    </a:cubicBezTo>
                    <a:cubicBezTo>
                      <a:pt x="906" y="231"/>
                      <a:pt x="906" y="231"/>
                      <a:pt x="906" y="231"/>
                    </a:cubicBezTo>
                    <a:cubicBezTo>
                      <a:pt x="906" y="231"/>
                      <a:pt x="888" y="244"/>
                      <a:pt x="885" y="244"/>
                    </a:cubicBezTo>
                    <a:cubicBezTo>
                      <a:pt x="882" y="245"/>
                      <a:pt x="857" y="229"/>
                      <a:pt x="853" y="227"/>
                    </a:cubicBezTo>
                    <a:cubicBezTo>
                      <a:pt x="849" y="224"/>
                      <a:pt x="824" y="227"/>
                      <a:pt x="824" y="227"/>
                    </a:cubicBezTo>
                    <a:cubicBezTo>
                      <a:pt x="824" y="227"/>
                      <a:pt x="811" y="248"/>
                      <a:pt x="801" y="254"/>
                    </a:cubicBezTo>
                    <a:cubicBezTo>
                      <a:pt x="791" y="260"/>
                      <a:pt x="778" y="251"/>
                      <a:pt x="764" y="251"/>
                    </a:cubicBezTo>
                    <a:cubicBezTo>
                      <a:pt x="749" y="251"/>
                      <a:pt x="750" y="259"/>
                      <a:pt x="746" y="261"/>
                    </a:cubicBezTo>
                    <a:cubicBezTo>
                      <a:pt x="742" y="264"/>
                      <a:pt x="720" y="256"/>
                      <a:pt x="712" y="247"/>
                    </a:cubicBezTo>
                    <a:cubicBezTo>
                      <a:pt x="708" y="243"/>
                      <a:pt x="706" y="237"/>
                      <a:pt x="703" y="231"/>
                    </a:cubicBezTo>
                    <a:cubicBezTo>
                      <a:pt x="703" y="231"/>
                      <a:pt x="703" y="231"/>
                      <a:pt x="703" y="231"/>
                    </a:cubicBezTo>
                    <a:cubicBezTo>
                      <a:pt x="703" y="231"/>
                      <a:pt x="684" y="213"/>
                      <a:pt x="671" y="227"/>
                    </a:cubicBezTo>
                    <a:cubicBezTo>
                      <a:pt x="657" y="242"/>
                      <a:pt x="650" y="278"/>
                      <a:pt x="650" y="278"/>
                    </a:cubicBezTo>
                    <a:cubicBezTo>
                      <a:pt x="666" y="300"/>
                      <a:pt x="666" y="300"/>
                      <a:pt x="666" y="300"/>
                    </a:cubicBezTo>
                    <a:cubicBezTo>
                      <a:pt x="673" y="335"/>
                      <a:pt x="673" y="335"/>
                      <a:pt x="673" y="335"/>
                    </a:cubicBezTo>
                    <a:cubicBezTo>
                      <a:pt x="704" y="353"/>
                      <a:pt x="704" y="353"/>
                      <a:pt x="704" y="353"/>
                    </a:cubicBezTo>
                    <a:cubicBezTo>
                      <a:pt x="699" y="377"/>
                      <a:pt x="699" y="377"/>
                      <a:pt x="699" y="377"/>
                    </a:cubicBezTo>
                    <a:cubicBezTo>
                      <a:pt x="716" y="388"/>
                      <a:pt x="716" y="388"/>
                      <a:pt x="716" y="388"/>
                    </a:cubicBezTo>
                    <a:cubicBezTo>
                      <a:pt x="705" y="407"/>
                      <a:pt x="705" y="407"/>
                      <a:pt x="705" y="407"/>
                    </a:cubicBezTo>
                    <a:cubicBezTo>
                      <a:pt x="718" y="425"/>
                      <a:pt x="718" y="425"/>
                      <a:pt x="718" y="425"/>
                    </a:cubicBezTo>
                    <a:cubicBezTo>
                      <a:pt x="707" y="432"/>
                      <a:pt x="707" y="432"/>
                      <a:pt x="707" y="432"/>
                    </a:cubicBezTo>
                    <a:cubicBezTo>
                      <a:pt x="717" y="470"/>
                      <a:pt x="717" y="470"/>
                      <a:pt x="717" y="470"/>
                    </a:cubicBezTo>
                    <a:cubicBezTo>
                      <a:pt x="745" y="466"/>
                      <a:pt x="745" y="466"/>
                      <a:pt x="745" y="466"/>
                    </a:cubicBezTo>
                    <a:cubicBezTo>
                      <a:pt x="765" y="473"/>
                      <a:pt x="765" y="473"/>
                      <a:pt x="765" y="473"/>
                    </a:cubicBezTo>
                    <a:cubicBezTo>
                      <a:pt x="765" y="473"/>
                      <a:pt x="777" y="451"/>
                      <a:pt x="789" y="451"/>
                    </a:cubicBezTo>
                    <a:cubicBezTo>
                      <a:pt x="801" y="451"/>
                      <a:pt x="789" y="483"/>
                      <a:pt x="801" y="493"/>
                    </a:cubicBezTo>
                    <a:cubicBezTo>
                      <a:pt x="812" y="502"/>
                      <a:pt x="822" y="472"/>
                      <a:pt x="822" y="472"/>
                    </a:cubicBezTo>
                    <a:cubicBezTo>
                      <a:pt x="840" y="484"/>
                      <a:pt x="840" y="484"/>
                      <a:pt x="840" y="484"/>
                    </a:cubicBezTo>
                    <a:cubicBezTo>
                      <a:pt x="840" y="484"/>
                      <a:pt x="856" y="470"/>
                      <a:pt x="865" y="470"/>
                    </a:cubicBezTo>
                    <a:cubicBezTo>
                      <a:pt x="874" y="469"/>
                      <a:pt x="868" y="495"/>
                      <a:pt x="878" y="498"/>
                    </a:cubicBezTo>
                    <a:cubicBezTo>
                      <a:pt x="888" y="502"/>
                      <a:pt x="919" y="486"/>
                      <a:pt x="935" y="489"/>
                    </a:cubicBezTo>
                    <a:cubicBezTo>
                      <a:pt x="951" y="493"/>
                      <a:pt x="936" y="542"/>
                      <a:pt x="936" y="542"/>
                    </a:cubicBezTo>
                    <a:cubicBezTo>
                      <a:pt x="936" y="542"/>
                      <a:pt x="950" y="538"/>
                      <a:pt x="966" y="531"/>
                    </a:cubicBezTo>
                    <a:cubicBezTo>
                      <a:pt x="982" y="523"/>
                      <a:pt x="1004" y="484"/>
                      <a:pt x="1004" y="484"/>
                    </a:cubicBezTo>
                    <a:close/>
                    <a:moveTo>
                      <a:pt x="990" y="745"/>
                    </a:moveTo>
                    <a:cubicBezTo>
                      <a:pt x="980" y="744"/>
                      <a:pt x="974" y="755"/>
                      <a:pt x="974" y="755"/>
                    </a:cubicBezTo>
                    <a:cubicBezTo>
                      <a:pt x="974" y="755"/>
                      <a:pt x="991" y="770"/>
                      <a:pt x="1002" y="763"/>
                    </a:cubicBezTo>
                    <a:cubicBezTo>
                      <a:pt x="1012" y="755"/>
                      <a:pt x="1000" y="747"/>
                      <a:pt x="990" y="745"/>
                    </a:cubicBezTo>
                    <a:close/>
                    <a:moveTo>
                      <a:pt x="1148" y="822"/>
                    </a:moveTo>
                    <a:cubicBezTo>
                      <a:pt x="1125" y="815"/>
                      <a:pt x="1125" y="815"/>
                      <a:pt x="1125" y="815"/>
                    </a:cubicBezTo>
                    <a:cubicBezTo>
                      <a:pt x="1118" y="821"/>
                      <a:pt x="1119" y="822"/>
                      <a:pt x="1129" y="838"/>
                    </a:cubicBezTo>
                    <a:cubicBezTo>
                      <a:pt x="1140" y="854"/>
                      <a:pt x="1147" y="843"/>
                      <a:pt x="1160" y="843"/>
                    </a:cubicBezTo>
                    <a:cubicBezTo>
                      <a:pt x="1173" y="843"/>
                      <a:pt x="1163" y="852"/>
                      <a:pt x="1173" y="862"/>
                    </a:cubicBezTo>
                    <a:cubicBezTo>
                      <a:pt x="1184" y="872"/>
                      <a:pt x="1204" y="863"/>
                      <a:pt x="1204" y="863"/>
                    </a:cubicBezTo>
                    <a:cubicBezTo>
                      <a:pt x="1204" y="863"/>
                      <a:pt x="1200" y="844"/>
                      <a:pt x="1187" y="827"/>
                    </a:cubicBezTo>
                    <a:cubicBezTo>
                      <a:pt x="1173" y="809"/>
                      <a:pt x="1148" y="822"/>
                      <a:pt x="1148" y="822"/>
                    </a:cubicBezTo>
                    <a:close/>
                    <a:moveTo>
                      <a:pt x="1312" y="751"/>
                    </a:moveTo>
                    <a:cubicBezTo>
                      <a:pt x="1293" y="767"/>
                      <a:pt x="1293" y="767"/>
                      <a:pt x="1293" y="767"/>
                    </a:cubicBezTo>
                    <a:cubicBezTo>
                      <a:pt x="1293" y="767"/>
                      <a:pt x="1282" y="755"/>
                      <a:pt x="1271" y="756"/>
                    </a:cubicBezTo>
                    <a:cubicBezTo>
                      <a:pt x="1261" y="758"/>
                      <a:pt x="1249" y="771"/>
                      <a:pt x="1249" y="771"/>
                    </a:cubicBezTo>
                    <a:cubicBezTo>
                      <a:pt x="1249" y="771"/>
                      <a:pt x="1239" y="745"/>
                      <a:pt x="1221" y="748"/>
                    </a:cubicBezTo>
                    <a:cubicBezTo>
                      <a:pt x="1204" y="751"/>
                      <a:pt x="1182" y="777"/>
                      <a:pt x="1182" y="777"/>
                    </a:cubicBezTo>
                    <a:cubicBezTo>
                      <a:pt x="1158" y="775"/>
                      <a:pt x="1158" y="775"/>
                      <a:pt x="1158" y="775"/>
                    </a:cubicBezTo>
                    <a:cubicBezTo>
                      <a:pt x="1151" y="787"/>
                      <a:pt x="1151" y="787"/>
                      <a:pt x="1151" y="787"/>
                    </a:cubicBezTo>
                    <a:cubicBezTo>
                      <a:pt x="1167" y="784"/>
                      <a:pt x="1167" y="784"/>
                      <a:pt x="1167" y="784"/>
                    </a:cubicBezTo>
                    <a:cubicBezTo>
                      <a:pt x="1167" y="784"/>
                      <a:pt x="1179" y="790"/>
                      <a:pt x="1191" y="795"/>
                    </a:cubicBezTo>
                    <a:cubicBezTo>
                      <a:pt x="1202" y="799"/>
                      <a:pt x="1214" y="781"/>
                      <a:pt x="1214" y="781"/>
                    </a:cubicBezTo>
                    <a:cubicBezTo>
                      <a:pt x="1276" y="780"/>
                      <a:pt x="1276" y="780"/>
                      <a:pt x="1276" y="780"/>
                    </a:cubicBezTo>
                    <a:cubicBezTo>
                      <a:pt x="1308" y="775"/>
                      <a:pt x="1308" y="775"/>
                      <a:pt x="1308" y="775"/>
                    </a:cubicBezTo>
                    <a:cubicBezTo>
                      <a:pt x="1334" y="752"/>
                      <a:pt x="1334" y="752"/>
                      <a:pt x="1334" y="752"/>
                    </a:cubicBezTo>
                    <a:cubicBezTo>
                      <a:pt x="1333" y="742"/>
                      <a:pt x="1333" y="742"/>
                      <a:pt x="1333" y="742"/>
                    </a:cubicBezTo>
                    <a:lnTo>
                      <a:pt x="1312" y="751"/>
                    </a:lnTo>
                    <a:close/>
                    <a:moveTo>
                      <a:pt x="1056" y="774"/>
                    </a:moveTo>
                    <a:cubicBezTo>
                      <a:pt x="1056" y="774"/>
                      <a:pt x="1042" y="759"/>
                      <a:pt x="1034" y="761"/>
                    </a:cubicBezTo>
                    <a:cubicBezTo>
                      <a:pt x="1025" y="762"/>
                      <a:pt x="1006" y="791"/>
                      <a:pt x="1006" y="791"/>
                    </a:cubicBezTo>
                    <a:cubicBezTo>
                      <a:pt x="1041" y="796"/>
                      <a:pt x="1041" y="796"/>
                      <a:pt x="1041" y="796"/>
                    </a:cubicBezTo>
                    <a:cubicBezTo>
                      <a:pt x="1042" y="810"/>
                      <a:pt x="1042" y="810"/>
                      <a:pt x="1042" y="810"/>
                    </a:cubicBezTo>
                    <a:cubicBezTo>
                      <a:pt x="1057" y="808"/>
                      <a:pt x="1057" y="808"/>
                      <a:pt x="1057" y="808"/>
                    </a:cubicBezTo>
                    <a:cubicBezTo>
                      <a:pt x="1063" y="794"/>
                      <a:pt x="1063" y="794"/>
                      <a:pt x="1063" y="794"/>
                    </a:cubicBezTo>
                    <a:cubicBezTo>
                      <a:pt x="1082" y="805"/>
                      <a:pt x="1082" y="805"/>
                      <a:pt x="1082" y="805"/>
                    </a:cubicBezTo>
                    <a:cubicBezTo>
                      <a:pt x="1101" y="783"/>
                      <a:pt x="1101" y="783"/>
                      <a:pt x="1101" y="783"/>
                    </a:cubicBezTo>
                    <a:cubicBezTo>
                      <a:pt x="1067" y="771"/>
                      <a:pt x="1067" y="771"/>
                      <a:pt x="1067" y="771"/>
                    </a:cubicBezTo>
                    <a:lnTo>
                      <a:pt x="1056" y="774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3" name="MCShape 155">
                <a:extLst>
                  <a:ext uri="{FF2B5EF4-FFF2-40B4-BE49-F238E27FC236}">
                    <a16:creationId xmlns:a16="http://schemas.microsoft.com/office/drawing/2014/main" id="{22ACBE4E-E891-4909-B9E3-B8E4EA2F2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21465" y="5305138"/>
                <a:ext cx="502690" cy="386685"/>
              </a:xfrm>
              <a:custGeom>
                <a:avLst/>
                <a:gdLst>
                  <a:gd name="T0" fmla="*/ 489 w 851"/>
                  <a:gd name="T1" fmla="*/ 375 h 656"/>
                  <a:gd name="T2" fmla="*/ 477 w 851"/>
                  <a:gd name="T3" fmla="*/ 361 h 656"/>
                  <a:gd name="T4" fmla="*/ 456 w 851"/>
                  <a:gd name="T5" fmla="*/ 351 h 656"/>
                  <a:gd name="T6" fmla="*/ 425 w 851"/>
                  <a:gd name="T7" fmla="*/ 380 h 656"/>
                  <a:gd name="T8" fmla="*/ 360 w 851"/>
                  <a:gd name="T9" fmla="*/ 432 h 656"/>
                  <a:gd name="T10" fmla="*/ 261 w 851"/>
                  <a:gd name="T11" fmla="*/ 484 h 656"/>
                  <a:gd name="T12" fmla="*/ 177 w 851"/>
                  <a:gd name="T13" fmla="*/ 513 h 656"/>
                  <a:gd name="T14" fmla="*/ 112 w 851"/>
                  <a:gd name="T15" fmla="*/ 564 h 656"/>
                  <a:gd name="T16" fmla="*/ 56 w 851"/>
                  <a:gd name="T17" fmla="*/ 583 h 656"/>
                  <a:gd name="T18" fmla="*/ 0 w 851"/>
                  <a:gd name="T19" fmla="*/ 608 h 656"/>
                  <a:gd name="T20" fmla="*/ 12 w 851"/>
                  <a:gd name="T21" fmla="*/ 629 h 656"/>
                  <a:gd name="T22" fmla="*/ 47 w 851"/>
                  <a:gd name="T23" fmla="*/ 631 h 656"/>
                  <a:gd name="T24" fmla="*/ 65 w 851"/>
                  <a:gd name="T25" fmla="*/ 637 h 656"/>
                  <a:gd name="T26" fmla="*/ 96 w 851"/>
                  <a:gd name="T27" fmla="*/ 648 h 656"/>
                  <a:gd name="T28" fmla="*/ 152 w 851"/>
                  <a:gd name="T29" fmla="*/ 653 h 656"/>
                  <a:gd name="T30" fmla="*/ 215 w 851"/>
                  <a:gd name="T31" fmla="*/ 620 h 656"/>
                  <a:gd name="T32" fmla="*/ 265 w 851"/>
                  <a:gd name="T33" fmla="*/ 574 h 656"/>
                  <a:gd name="T34" fmla="*/ 279 w 851"/>
                  <a:gd name="T35" fmla="*/ 557 h 656"/>
                  <a:gd name="T36" fmla="*/ 306 w 851"/>
                  <a:gd name="T37" fmla="*/ 517 h 656"/>
                  <a:gd name="T38" fmla="*/ 343 w 851"/>
                  <a:gd name="T39" fmla="*/ 510 h 656"/>
                  <a:gd name="T40" fmla="*/ 388 w 851"/>
                  <a:gd name="T41" fmla="*/ 503 h 656"/>
                  <a:gd name="T42" fmla="*/ 395 w 851"/>
                  <a:gd name="T43" fmla="*/ 480 h 656"/>
                  <a:gd name="T44" fmla="*/ 430 w 851"/>
                  <a:gd name="T45" fmla="*/ 456 h 656"/>
                  <a:gd name="T46" fmla="*/ 468 w 851"/>
                  <a:gd name="T47" fmla="*/ 430 h 656"/>
                  <a:gd name="T48" fmla="*/ 518 w 851"/>
                  <a:gd name="T49" fmla="*/ 389 h 656"/>
                  <a:gd name="T50" fmla="*/ 498 w 851"/>
                  <a:gd name="T51" fmla="*/ 375 h 656"/>
                  <a:gd name="T52" fmla="*/ 841 w 851"/>
                  <a:gd name="T53" fmla="*/ 205 h 656"/>
                  <a:gd name="T54" fmla="*/ 821 w 851"/>
                  <a:gd name="T55" fmla="*/ 186 h 656"/>
                  <a:gd name="T56" fmla="*/ 768 w 851"/>
                  <a:gd name="T57" fmla="*/ 192 h 656"/>
                  <a:gd name="T58" fmla="*/ 777 w 851"/>
                  <a:gd name="T59" fmla="*/ 120 h 656"/>
                  <a:gd name="T60" fmla="*/ 756 w 851"/>
                  <a:gd name="T61" fmla="*/ 129 h 656"/>
                  <a:gd name="T62" fmla="*/ 740 w 851"/>
                  <a:gd name="T63" fmla="*/ 126 h 656"/>
                  <a:gd name="T64" fmla="*/ 750 w 851"/>
                  <a:gd name="T65" fmla="*/ 62 h 656"/>
                  <a:gd name="T66" fmla="*/ 720 w 851"/>
                  <a:gd name="T67" fmla="*/ 27 h 656"/>
                  <a:gd name="T68" fmla="*/ 692 w 851"/>
                  <a:gd name="T69" fmla="*/ 11 h 656"/>
                  <a:gd name="T70" fmla="*/ 679 w 851"/>
                  <a:gd name="T71" fmla="*/ 12 h 656"/>
                  <a:gd name="T72" fmla="*/ 686 w 851"/>
                  <a:gd name="T73" fmla="*/ 60 h 656"/>
                  <a:gd name="T74" fmla="*/ 692 w 851"/>
                  <a:gd name="T75" fmla="*/ 70 h 656"/>
                  <a:gd name="T76" fmla="*/ 712 w 851"/>
                  <a:gd name="T77" fmla="*/ 89 h 656"/>
                  <a:gd name="T78" fmla="*/ 705 w 851"/>
                  <a:gd name="T79" fmla="*/ 102 h 656"/>
                  <a:gd name="T80" fmla="*/ 715 w 851"/>
                  <a:gd name="T81" fmla="*/ 136 h 656"/>
                  <a:gd name="T82" fmla="*/ 694 w 851"/>
                  <a:gd name="T83" fmla="*/ 148 h 656"/>
                  <a:gd name="T84" fmla="*/ 682 w 851"/>
                  <a:gd name="T85" fmla="*/ 185 h 656"/>
                  <a:gd name="T86" fmla="*/ 656 w 851"/>
                  <a:gd name="T87" fmla="*/ 209 h 656"/>
                  <a:gd name="T88" fmla="*/ 578 w 851"/>
                  <a:gd name="T89" fmla="*/ 255 h 656"/>
                  <a:gd name="T90" fmla="*/ 609 w 851"/>
                  <a:gd name="T91" fmla="*/ 302 h 656"/>
                  <a:gd name="T92" fmla="*/ 576 w 851"/>
                  <a:gd name="T93" fmla="*/ 359 h 656"/>
                  <a:gd name="T94" fmla="*/ 557 w 851"/>
                  <a:gd name="T95" fmla="*/ 381 h 656"/>
                  <a:gd name="T96" fmla="*/ 644 w 851"/>
                  <a:gd name="T97" fmla="*/ 340 h 656"/>
                  <a:gd name="T98" fmla="*/ 697 w 851"/>
                  <a:gd name="T99" fmla="*/ 308 h 656"/>
                  <a:gd name="T100" fmla="*/ 715 w 851"/>
                  <a:gd name="T101" fmla="*/ 277 h 656"/>
                  <a:gd name="T102" fmla="*/ 774 w 851"/>
                  <a:gd name="T103" fmla="*/ 266 h 656"/>
                  <a:gd name="T104" fmla="*/ 805 w 851"/>
                  <a:gd name="T105" fmla="*/ 236 h 65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851"/>
                  <a:gd name="T160" fmla="*/ 0 h 656"/>
                  <a:gd name="T161" fmla="*/ 851 w 851"/>
                  <a:gd name="T162" fmla="*/ 656 h 65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851" h="656">
                    <a:moveTo>
                      <a:pt x="498" y="375"/>
                    </a:moveTo>
                    <a:cubicBezTo>
                      <a:pt x="489" y="375"/>
                      <a:pt x="489" y="375"/>
                      <a:pt x="489" y="375"/>
                    </a:cubicBezTo>
                    <a:cubicBezTo>
                      <a:pt x="495" y="350"/>
                      <a:pt x="495" y="350"/>
                      <a:pt x="495" y="350"/>
                    </a:cubicBezTo>
                    <a:cubicBezTo>
                      <a:pt x="477" y="361"/>
                      <a:pt x="477" y="361"/>
                      <a:pt x="477" y="361"/>
                    </a:cubicBezTo>
                    <a:cubicBezTo>
                      <a:pt x="477" y="361"/>
                      <a:pt x="490" y="335"/>
                      <a:pt x="478" y="335"/>
                    </a:cubicBezTo>
                    <a:cubicBezTo>
                      <a:pt x="466" y="334"/>
                      <a:pt x="456" y="351"/>
                      <a:pt x="456" y="351"/>
                    </a:cubicBezTo>
                    <a:cubicBezTo>
                      <a:pt x="445" y="358"/>
                      <a:pt x="445" y="358"/>
                      <a:pt x="445" y="358"/>
                    </a:cubicBezTo>
                    <a:cubicBezTo>
                      <a:pt x="445" y="358"/>
                      <a:pt x="434" y="369"/>
                      <a:pt x="425" y="380"/>
                    </a:cubicBezTo>
                    <a:cubicBezTo>
                      <a:pt x="417" y="391"/>
                      <a:pt x="396" y="393"/>
                      <a:pt x="381" y="403"/>
                    </a:cubicBezTo>
                    <a:cubicBezTo>
                      <a:pt x="366" y="414"/>
                      <a:pt x="360" y="432"/>
                      <a:pt x="360" y="432"/>
                    </a:cubicBezTo>
                    <a:cubicBezTo>
                      <a:pt x="360" y="432"/>
                      <a:pt x="313" y="446"/>
                      <a:pt x="300" y="455"/>
                    </a:cubicBezTo>
                    <a:cubicBezTo>
                      <a:pt x="285" y="464"/>
                      <a:pt x="261" y="484"/>
                      <a:pt x="261" y="484"/>
                    </a:cubicBezTo>
                    <a:cubicBezTo>
                      <a:pt x="261" y="484"/>
                      <a:pt x="234" y="488"/>
                      <a:pt x="217" y="495"/>
                    </a:cubicBezTo>
                    <a:cubicBezTo>
                      <a:pt x="201" y="503"/>
                      <a:pt x="192" y="505"/>
                      <a:pt x="177" y="513"/>
                    </a:cubicBezTo>
                    <a:cubicBezTo>
                      <a:pt x="161" y="522"/>
                      <a:pt x="131" y="533"/>
                      <a:pt x="119" y="539"/>
                    </a:cubicBezTo>
                    <a:cubicBezTo>
                      <a:pt x="106" y="545"/>
                      <a:pt x="112" y="564"/>
                      <a:pt x="112" y="564"/>
                    </a:cubicBezTo>
                    <a:cubicBezTo>
                      <a:pt x="102" y="555"/>
                      <a:pt x="102" y="555"/>
                      <a:pt x="102" y="555"/>
                    </a:cubicBezTo>
                    <a:cubicBezTo>
                      <a:pt x="102" y="555"/>
                      <a:pt x="67" y="577"/>
                      <a:pt x="56" y="583"/>
                    </a:cubicBezTo>
                    <a:cubicBezTo>
                      <a:pt x="44" y="590"/>
                      <a:pt x="39" y="587"/>
                      <a:pt x="23" y="593"/>
                    </a:cubicBezTo>
                    <a:cubicBezTo>
                      <a:pt x="7" y="599"/>
                      <a:pt x="0" y="608"/>
                      <a:pt x="0" y="608"/>
                    </a:cubicBezTo>
                    <a:cubicBezTo>
                      <a:pt x="0" y="608"/>
                      <a:pt x="20" y="607"/>
                      <a:pt x="18" y="611"/>
                    </a:cubicBezTo>
                    <a:cubicBezTo>
                      <a:pt x="16" y="615"/>
                      <a:pt x="8" y="620"/>
                      <a:pt x="12" y="629"/>
                    </a:cubicBezTo>
                    <a:cubicBezTo>
                      <a:pt x="17" y="638"/>
                      <a:pt x="40" y="624"/>
                      <a:pt x="40" y="624"/>
                    </a:cubicBezTo>
                    <a:cubicBezTo>
                      <a:pt x="47" y="631"/>
                      <a:pt x="47" y="631"/>
                      <a:pt x="47" y="631"/>
                    </a:cubicBezTo>
                    <a:cubicBezTo>
                      <a:pt x="63" y="631"/>
                      <a:pt x="63" y="631"/>
                      <a:pt x="63" y="631"/>
                    </a:cubicBezTo>
                    <a:cubicBezTo>
                      <a:pt x="65" y="637"/>
                      <a:pt x="65" y="637"/>
                      <a:pt x="65" y="637"/>
                    </a:cubicBezTo>
                    <a:cubicBezTo>
                      <a:pt x="87" y="634"/>
                      <a:pt x="87" y="634"/>
                      <a:pt x="87" y="634"/>
                    </a:cubicBezTo>
                    <a:cubicBezTo>
                      <a:pt x="96" y="648"/>
                      <a:pt x="96" y="648"/>
                      <a:pt x="96" y="648"/>
                    </a:cubicBezTo>
                    <a:cubicBezTo>
                      <a:pt x="118" y="645"/>
                      <a:pt x="118" y="645"/>
                      <a:pt x="118" y="645"/>
                    </a:cubicBezTo>
                    <a:cubicBezTo>
                      <a:pt x="118" y="645"/>
                      <a:pt x="136" y="656"/>
                      <a:pt x="152" y="653"/>
                    </a:cubicBezTo>
                    <a:cubicBezTo>
                      <a:pt x="167" y="650"/>
                      <a:pt x="172" y="634"/>
                      <a:pt x="182" y="627"/>
                    </a:cubicBezTo>
                    <a:cubicBezTo>
                      <a:pt x="192" y="620"/>
                      <a:pt x="200" y="630"/>
                      <a:pt x="215" y="620"/>
                    </a:cubicBezTo>
                    <a:cubicBezTo>
                      <a:pt x="230" y="610"/>
                      <a:pt x="220" y="597"/>
                      <a:pt x="232" y="586"/>
                    </a:cubicBezTo>
                    <a:cubicBezTo>
                      <a:pt x="243" y="574"/>
                      <a:pt x="257" y="582"/>
                      <a:pt x="265" y="574"/>
                    </a:cubicBezTo>
                    <a:cubicBezTo>
                      <a:pt x="273" y="567"/>
                      <a:pt x="265" y="558"/>
                      <a:pt x="265" y="558"/>
                    </a:cubicBezTo>
                    <a:cubicBezTo>
                      <a:pt x="279" y="557"/>
                      <a:pt x="279" y="557"/>
                      <a:pt x="279" y="557"/>
                    </a:cubicBezTo>
                    <a:cubicBezTo>
                      <a:pt x="318" y="527"/>
                      <a:pt x="318" y="527"/>
                      <a:pt x="318" y="527"/>
                    </a:cubicBezTo>
                    <a:cubicBezTo>
                      <a:pt x="306" y="517"/>
                      <a:pt x="306" y="517"/>
                      <a:pt x="306" y="517"/>
                    </a:cubicBezTo>
                    <a:cubicBezTo>
                      <a:pt x="333" y="527"/>
                      <a:pt x="333" y="527"/>
                      <a:pt x="333" y="527"/>
                    </a:cubicBezTo>
                    <a:cubicBezTo>
                      <a:pt x="333" y="527"/>
                      <a:pt x="334" y="511"/>
                      <a:pt x="343" y="510"/>
                    </a:cubicBezTo>
                    <a:cubicBezTo>
                      <a:pt x="352" y="509"/>
                      <a:pt x="360" y="517"/>
                      <a:pt x="372" y="520"/>
                    </a:cubicBezTo>
                    <a:cubicBezTo>
                      <a:pt x="383" y="522"/>
                      <a:pt x="388" y="503"/>
                      <a:pt x="388" y="503"/>
                    </a:cubicBezTo>
                    <a:cubicBezTo>
                      <a:pt x="378" y="495"/>
                      <a:pt x="378" y="495"/>
                      <a:pt x="378" y="495"/>
                    </a:cubicBezTo>
                    <a:cubicBezTo>
                      <a:pt x="395" y="480"/>
                      <a:pt x="395" y="480"/>
                      <a:pt x="395" y="480"/>
                    </a:cubicBezTo>
                    <a:cubicBezTo>
                      <a:pt x="407" y="466"/>
                      <a:pt x="407" y="466"/>
                      <a:pt x="407" y="466"/>
                    </a:cubicBezTo>
                    <a:cubicBezTo>
                      <a:pt x="407" y="466"/>
                      <a:pt x="418" y="459"/>
                      <a:pt x="430" y="456"/>
                    </a:cubicBezTo>
                    <a:cubicBezTo>
                      <a:pt x="442" y="453"/>
                      <a:pt x="447" y="436"/>
                      <a:pt x="447" y="436"/>
                    </a:cubicBezTo>
                    <a:cubicBezTo>
                      <a:pt x="447" y="436"/>
                      <a:pt x="458" y="434"/>
                      <a:pt x="468" y="430"/>
                    </a:cubicBezTo>
                    <a:cubicBezTo>
                      <a:pt x="479" y="426"/>
                      <a:pt x="488" y="408"/>
                      <a:pt x="488" y="408"/>
                    </a:cubicBezTo>
                    <a:cubicBezTo>
                      <a:pt x="488" y="408"/>
                      <a:pt x="508" y="401"/>
                      <a:pt x="518" y="389"/>
                    </a:cubicBezTo>
                    <a:cubicBezTo>
                      <a:pt x="529" y="376"/>
                      <a:pt x="516" y="353"/>
                      <a:pt x="516" y="353"/>
                    </a:cubicBezTo>
                    <a:lnTo>
                      <a:pt x="498" y="375"/>
                    </a:lnTo>
                    <a:close/>
                    <a:moveTo>
                      <a:pt x="815" y="215"/>
                    </a:moveTo>
                    <a:cubicBezTo>
                      <a:pt x="823" y="210"/>
                      <a:pt x="831" y="213"/>
                      <a:pt x="841" y="205"/>
                    </a:cubicBezTo>
                    <a:cubicBezTo>
                      <a:pt x="851" y="197"/>
                      <a:pt x="847" y="183"/>
                      <a:pt x="839" y="176"/>
                    </a:cubicBezTo>
                    <a:cubicBezTo>
                      <a:pt x="831" y="168"/>
                      <a:pt x="821" y="186"/>
                      <a:pt x="821" y="186"/>
                    </a:cubicBezTo>
                    <a:cubicBezTo>
                      <a:pt x="821" y="186"/>
                      <a:pt x="815" y="186"/>
                      <a:pt x="806" y="184"/>
                    </a:cubicBezTo>
                    <a:cubicBezTo>
                      <a:pt x="798" y="181"/>
                      <a:pt x="780" y="195"/>
                      <a:pt x="768" y="192"/>
                    </a:cubicBezTo>
                    <a:cubicBezTo>
                      <a:pt x="756" y="189"/>
                      <a:pt x="761" y="145"/>
                      <a:pt x="761" y="145"/>
                    </a:cubicBezTo>
                    <a:cubicBezTo>
                      <a:pt x="777" y="120"/>
                      <a:pt x="777" y="120"/>
                      <a:pt x="777" y="120"/>
                    </a:cubicBezTo>
                    <a:cubicBezTo>
                      <a:pt x="777" y="120"/>
                      <a:pt x="777" y="102"/>
                      <a:pt x="767" y="103"/>
                    </a:cubicBezTo>
                    <a:cubicBezTo>
                      <a:pt x="756" y="103"/>
                      <a:pt x="756" y="119"/>
                      <a:pt x="756" y="129"/>
                    </a:cubicBezTo>
                    <a:cubicBezTo>
                      <a:pt x="755" y="138"/>
                      <a:pt x="743" y="146"/>
                      <a:pt x="743" y="146"/>
                    </a:cubicBezTo>
                    <a:cubicBezTo>
                      <a:pt x="740" y="126"/>
                      <a:pt x="740" y="126"/>
                      <a:pt x="740" y="126"/>
                    </a:cubicBezTo>
                    <a:cubicBezTo>
                      <a:pt x="726" y="113"/>
                      <a:pt x="726" y="113"/>
                      <a:pt x="726" y="113"/>
                    </a:cubicBezTo>
                    <a:cubicBezTo>
                      <a:pt x="726" y="113"/>
                      <a:pt x="750" y="82"/>
                      <a:pt x="750" y="62"/>
                    </a:cubicBezTo>
                    <a:cubicBezTo>
                      <a:pt x="751" y="42"/>
                      <a:pt x="717" y="41"/>
                      <a:pt x="717" y="41"/>
                    </a:cubicBezTo>
                    <a:cubicBezTo>
                      <a:pt x="720" y="27"/>
                      <a:pt x="720" y="27"/>
                      <a:pt x="720" y="27"/>
                    </a:cubicBezTo>
                    <a:cubicBezTo>
                      <a:pt x="707" y="25"/>
                      <a:pt x="707" y="25"/>
                      <a:pt x="707" y="25"/>
                    </a:cubicBezTo>
                    <a:cubicBezTo>
                      <a:pt x="692" y="11"/>
                      <a:pt x="692" y="11"/>
                      <a:pt x="692" y="11"/>
                    </a:cubicBezTo>
                    <a:cubicBezTo>
                      <a:pt x="699" y="0"/>
                      <a:pt x="699" y="0"/>
                      <a:pt x="699" y="0"/>
                    </a:cubicBezTo>
                    <a:cubicBezTo>
                      <a:pt x="679" y="12"/>
                      <a:pt x="679" y="12"/>
                      <a:pt x="679" y="12"/>
                    </a:cubicBezTo>
                    <a:cubicBezTo>
                      <a:pt x="692" y="35"/>
                      <a:pt x="692" y="35"/>
                      <a:pt x="692" y="35"/>
                    </a:cubicBezTo>
                    <a:cubicBezTo>
                      <a:pt x="686" y="60"/>
                      <a:pt x="686" y="60"/>
                      <a:pt x="686" y="60"/>
                    </a:cubicBezTo>
                    <a:cubicBezTo>
                      <a:pt x="701" y="66"/>
                      <a:pt x="701" y="66"/>
                      <a:pt x="701" y="66"/>
                    </a:cubicBezTo>
                    <a:cubicBezTo>
                      <a:pt x="692" y="70"/>
                      <a:pt x="692" y="70"/>
                      <a:pt x="692" y="70"/>
                    </a:cubicBezTo>
                    <a:cubicBezTo>
                      <a:pt x="696" y="84"/>
                      <a:pt x="696" y="84"/>
                      <a:pt x="696" y="84"/>
                    </a:cubicBezTo>
                    <a:cubicBezTo>
                      <a:pt x="712" y="89"/>
                      <a:pt x="712" y="89"/>
                      <a:pt x="712" y="89"/>
                    </a:cubicBezTo>
                    <a:cubicBezTo>
                      <a:pt x="696" y="97"/>
                      <a:pt x="696" y="97"/>
                      <a:pt x="696" y="97"/>
                    </a:cubicBezTo>
                    <a:cubicBezTo>
                      <a:pt x="705" y="102"/>
                      <a:pt x="705" y="102"/>
                      <a:pt x="705" y="102"/>
                    </a:cubicBezTo>
                    <a:cubicBezTo>
                      <a:pt x="705" y="102"/>
                      <a:pt x="702" y="116"/>
                      <a:pt x="702" y="122"/>
                    </a:cubicBezTo>
                    <a:cubicBezTo>
                      <a:pt x="702" y="129"/>
                      <a:pt x="715" y="136"/>
                      <a:pt x="715" y="136"/>
                    </a:cubicBezTo>
                    <a:cubicBezTo>
                      <a:pt x="702" y="138"/>
                      <a:pt x="702" y="138"/>
                      <a:pt x="702" y="138"/>
                    </a:cubicBezTo>
                    <a:cubicBezTo>
                      <a:pt x="694" y="148"/>
                      <a:pt x="694" y="148"/>
                      <a:pt x="694" y="148"/>
                    </a:cubicBezTo>
                    <a:cubicBezTo>
                      <a:pt x="705" y="154"/>
                      <a:pt x="705" y="154"/>
                      <a:pt x="705" y="154"/>
                    </a:cubicBezTo>
                    <a:cubicBezTo>
                      <a:pt x="705" y="154"/>
                      <a:pt x="684" y="174"/>
                      <a:pt x="682" y="185"/>
                    </a:cubicBezTo>
                    <a:cubicBezTo>
                      <a:pt x="681" y="196"/>
                      <a:pt x="691" y="199"/>
                      <a:pt x="691" y="199"/>
                    </a:cubicBezTo>
                    <a:cubicBezTo>
                      <a:pt x="691" y="199"/>
                      <a:pt x="669" y="203"/>
                      <a:pt x="656" y="209"/>
                    </a:cubicBezTo>
                    <a:cubicBezTo>
                      <a:pt x="643" y="214"/>
                      <a:pt x="646" y="217"/>
                      <a:pt x="630" y="229"/>
                    </a:cubicBezTo>
                    <a:cubicBezTo>
                      <a:pt x="613" y="242"/>
                      <a:pt x="599" y="243"/>
                      <a:pt x="578" y="255"/>
                    </a:cubicBezTo>
                    <a:cubicBezTo>
                      <a:pt x="557" y="268"/>
                      <a:pt x="576" y="302"/>
                      <a:pt x="576" y="302"/>
                    </a:cubicBezTo>
                    <a:cubicBezTo>
                      <a:pt x="576" y="302"/>
                      <a:pt x="599" y="300"/>
                      <a:pt x="609" y="302"/>
                    </a:cubicBezTo>
                    <a:cubicBezTo>
                      <a:pt x="619" y="304"/>
                      <a:pt x="609" y="323"/>
                      <a:pt x="609" y="338"/>
                    </a:cubicBezTo>
                    <a:cubicBezTo>
                      <a:pt x="610" y="354"/>
                      <a:pt x="593" y="353"/>
                      <a:pt x="576" y="359"/>
                    </a:cubicBezTo>
                    <a:cubicBezTo>
                      <a:pt x="559" y="365"/>
                      <a:pt x="567" y="370"/>
                      <a:pt x="567" y="370"/>
                    </a:cubicBezTo>
                    <a:cubicBezTo>
                      <a:pt x="557" y="381"/>
                      <a:pt x="557" y="381"/>
                      <a:pt x="557" y="381"/>
                    </a:cubicBezTo>
                    <a:cubicBezTo>
                      <a:pt x="557" y="381"/>
                      <a:pt x="575" y="394"/>
                      <a:pt x="589" y="390"/>
                    </a:cubicBezTo>
                    <a:cubicBezTo>
                      <a:pt x="602" y="385"/>
                      <a:pt x="633" y="351"/>
                      <a:pt x="644" y="340"/>
                    </a:cubicBezTo>
                    <a:cubicBezTo>
                      <a:pt x="655" y="329"/>
                      <a:pt x="682" y="321"/>
                      <a:pt x="687" y="321"/>
                    </a:cubicBezTo>
                    <a:cubicBezTo>
                      <a:pt x="692" y="320"/>
                      <a:pt x="697" y="308"/>
                      <a:pt x="697" y="308"/>
                    </a:cubicBezTo>
                    <a:cubicBezTo>
                      <a:pt x="697" y="308"/>
                      <a:pt x="704" y="305"/>
                      <a:pt x="715" y="301"/>
                    </a:cubicBezTo>
                    <a:cubicBezTo>
                      <a:pt x="726" y="296"/>
                      <a:pt x="715" y="277"/>
                      <a:pt x="715" y="277"/>
                    </a:cubicBezTo>
                    <a:cubicBezTo>
                      <a:pt x="715" y="277"/>
                      <a:pt x="725" y="269"/>
                      <a:pt x="738" y="263"/>
                    </a:cubicBezTo>
                    <a:cubicBezTo>
                      <a:pt x="752" y="257"/>
                      <a:pt x="762" y="269"/>
                      <a:pt x="774" y="266"/>
                    </a:cubicBezTo>
                    <a:cubicBezTo>
                      <a:pt x="786" y="264"/>
                      <a:pt x="782" y="240"/>
                      <a:pt x="782" y="240"/>
                    </a:cubicBezTo>
                    <a:cubicBezTo>
                      <a:pt x="782" y="240"/>
                      <a:pt x="793" y="237"/>
                      <a:pt x="805" y="236"/>
                    </a:cubicBezTo>
                    <a:cubicBezTo>
                      <a:pt x="816" y="235"/>
                      <a:pt x="808" y="221"/>
                      <a:pt x="815" y="2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4" name="MCShape 156">
                <a:extLst>
                  <a:ext uri="{FF2B5EF4-FFF2-40B4-BE49-F238E27FC236}">
                    <a16:creationId xmlns:a16="http://schemas.microsoft.com/office/drawing/2014/main" id="{33BE967B-5F61-49F3-8054-72F7B600DE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90799" y="4551875"/>
                <a:ext cx="1118292" cy="1048688"/>
              </a:xfrm>
              <a:custGeom>
                <a:avLst/>
                <a:gdLst>
                  <a:gd name="T0" fmla="*/ 971 w 1898"/>
                  <a:gd name="T1" fmla="*/ 1367 h 1774"/>
                  <a:gd name="T2" fmla="*/ 1008 w 1898"/>
                  <a:gd name="T3" fmla="*/ 1349 h 1774"/>
                  <a:gd name="T4" fmla="*/ 1830 w 1898"/>
                  <a:gd name="T5" fmla="*/ 698 h 1774"/>
                  <a:gd name="T6" fmla="*/ 1797 w 1898"/>
                  <a:gd name="T7" fmla="*/ 622 h 1774"/>
                  <a:gd name="T8" fmla="*/ 1707 w 1898"/>
                  <a:gd name="T9" fmla="*/ 471 h 1774"/>
                  <a:gd name="T10" fmla="*/ 1649 w 1898"/>
                  <a:gd name="T11" fmla="*/ 192 h 1774"/>
                  <a:gd name="T12" fmla="*/ 1596 w 1898"/>
                  <a:gd name="T13" fmla="*/ 64 h 1774"/>
                  <a:gd name="T14" fmla="*/ 1541 w 1898"/>
                  <a:gd name="T15" fmla="*/ 18 h 1774"/>
                  <a:gd name="T16" fmla="*/ 1494 w 1898"/>
                  <a:gd name="T17" fmla="*/ 189 h 1774"/>
                  <a:gd name="T18" fmla="*/ 1283 w 1898"/>
                  <a:gd name="T19" fmla="*/ 306 h 1774"/>
                  <a:gd name="T20" fmla="*/ 1239 w 1898"/>
                  <a:gd name="T21" fmla="*/ 181 h 1774"/>
                  <a:gd name="T22" fmla="*/ 1269 w 1898"/>
                  <a:gd name="T23" fmla="*/ 69 h 1774"/>
                  <a:gd name="T24" fmla="*/ 1170 w 1898"/>
                  <a:gd name="T25" fmla="*/ 75 h 1774"/>
                  <a:gd name="T26" fmla="*/ 1050 w 1898"/>
                  <a:gd name="T27" fmla="*/ 42 h 1774"/>
                  <a:gd name="T28" fmla="*/ 1012 w 1898"/>
                  <a:gd name="T29" fmla="*/ 86 h 1774"/>
                  <a:gd name="T30" fmla="*/ 910 w 1898"/>
                  <a:gd name="T31" fmla="*/ 212 h 1774"/>
                  <a:gd name="T32" fmla="*/ 872 w 1898"/>
                  <a:gd name="T33" fmla="*/ 235 h 1774"/>
                  <a:gd name="T34" fmla="*/ 848 w 1898"/>
                  <a:gd name="T35" fmla="*/ 215 h 1774"/>
                  <a:gd name="T36" fmla="*/ 788 w 1898"/>
                  <a:gd name="T37" fmla="*/ 185 h 1774"/>
                  <a:gd name="T38" fmla="*/ 731 w 1898"/>
                  <a:gd name="T39" fmla="*/ 238 h 1774"/>
                  <a:gd name="T40" fmla="*/ 676 w 1898"/>
                  <a:gd name="T41" fmla="*/ 279 h 1774"/>
                  <a:gd name="T42" fmla="*/ 614 w 1898"/>
                  <a:gd name="T43" fmla="*/ 310 h 1774"/>
                  <a:gd name="T44" fmla="*/ 606 w 1898"/>
                  <a:gd name="T45" fmla="*/ 348 h 1774"/>
                  <a:gd name="T46" fmla="*/ 531 w 1898"/>
                  <a:gd name="T47" fmla="*/ 409 h 1774"/>
                  <a:gd name="T48" fmla="*/ 359 w 1898"/>
                  <a:gd name="T49" fmla="*/ 505 h 1774"/>
                  <a:gd name="T50" fmla="*/ 218 w 1898"/>
                  <a:gd name="T51" fmla="*/ 554 h 1774"/>
                  <a:gd name="T52" fmla="*/ 83 w 1898"/>
                  <a:gd name="T53" fmla="*/ 649 h 1774"/>
                  <a:gd name="T54" fmla="*/ 48 w 1898"/>
                  <a:gd name="T55" fmla="*/ 813 h 1774"/>
                  <a:gd name="T56" fmla="*/ 35 w 1898"/>
                  <a:gd name="T57" fmla="*/ 937 h 1774"/>
                  <a:gd name="T58" fmla="*/ 87 w 1898"/>
                  <a:gd name="T59" fmla="*/ 1141 h 1774"/>
                  <a:gd name="T60" fmla="*/ 56 w 1898"/>
                  <a:gd name="T61" fmla="*/ 1305 h 1774"/>
                  <a:gd name="T62" fmla="*/ 186 w 1898"/>
                  <a:gd name="T63" fmla="*/ 1285 h 1774"/>
                  <a:gd name="T64" fmla="*/ 384 w 1898"/>
                  <a:gd name="T65" fmla="*/ 1244 h 1774"/>
                  <a:gd name="T66" fmla="*/ 594 w 1898"/>
                  <a:gd name="T67" fmla="*/ 1153 h 1774"/>
                  <a:gd name="T68" fmla="*/ 896 w 1898"/>
                  <a:gd name="T69" fmla="*/ 1136 h 1774"/>
                  <a:gd name="T70" fmla="*/ 932 w 1898"/>
                  <a:gd name="T71" fmla="*/ 1225 h 1774"/>
                  <a:gd name="T72" fmla="*/ 962 w 1898"/>
                  <a:gd name="T73" fmla="*/ 1304 h 1774"/>
                  <a:gd name="T74" fmla="*/ 1060 w 1898"/>
                  <a:gd name="T75" fmla="*/ 1224 h 1774"/>
                  <a:gd name="T76" fmla="*/ 1083 w 1898"/>
                  <a:gd name="T77" fmla="*/ 1210 h 1774"/>
                  <a:gd name="T78" fmla="*/ 1011 w 1898"/>
                  <a:gd name="T79" fmla="*/ 1319 h 1774"/>
                  <a:gd name="T80" fmla="*/ 1072 w 1898"/>
                  <a:gd name="T81" fmla="*/ 1339 h 1774"/>
                  <a:gd name="T82" fmla="*/ 1118 w 1898"/>
                  <a:gd name="T83" fmla="*/ 1477 h 1774"/>
                  <a:gd name="T84" fmla="*/ 1319 w 1898"/>
                  <a:gd name="T85" fmla="*/ 1502 h 1774"/>
                  <a:gd name="T86" fmla="*/ 1360 w 1898"/>
                  <a:gd name="T87" fmla="*/ 1532 h 1774"/>
                  <a:gd name="T88" fmla="*/ 1533 w 1898"/>
                  <a:gd name="T89" fmla="*/ 1461 h 1774"/>
                  <a:gd name="T90" fmla="*/ 1641 w 1898"/>
                  <a:gd name="T91" fmla="*/ 1275 h 1774"/>
                  <a:gd name="T92" fmla="*/ 1874 w 1898"/>
                  <a:gd name="T93" fmla="*/ 952 h 1774"/>
                  <a:gd name="T94" fmla="*/ 1364 w 1898"/>
                  <a:gd name="T95" fmla="*/ 1612 h 1774"/>
                  <a:gd name="T96" fmla="*/ 1274 w 1898"/>
                  <a:gd name="T97" fmla="*/ 1651 h 1774"/>
                  <a:gd name="T98" fmla="*/ 1184 w 1898"/>
                  <a:gd name="T99" fmla="*/ 1616 h 1774"/>
                  <a:gd name="T100" fmla="*/ 1155 w 1898"/>
                  <a:gd name="T101" fmla="*/ 1713 h 1774"/>
                  <a:gd name="T102" fmla="*/ 1214 w 1898"/>
                  <a:gd name="T103" fmla="*/ 1769 h 1774"/>
                  <a:gd name="T104" fmla="*/ 1282 w 1898"/>
                  <a:gd name="T105" fmla="*/ 1706 h 1774"/>
                  <a:gd name="T106" fmla="*/ 1290 w 1898"/>
                  <a:gd name="T107" fmla="*/ 195 h 1774"/>
                  <a:gd name="T108" fmla="*/ 1209 w 1898"/>
                  <a:gd name="T109" fmla="*/ 1549 h 1774"/>
                  <a:gd name="T110" fmla="*/ 1357 w 1898"/>
                  <a:gd name="T111" fmla="*/ 1597 h 177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898"/>
                  <a:gd name="T169" fmla="*/ 0 h 1774"/>
                  <a:gd name="T170" fmla="*/ 1898 w 1898"/>
                  <a:gd name="T171" fmla="*/ 1774 h 177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898" h="1774">
                    <a:moveTo>
                      <a:pt x="1024" y="43"/>
                    </a:moveTo>
                    <a:cubicBezTo>
                      <a:pt x="1014" y="29"/>
                      <a:pt x="990" y="54"/>
                      <a:pt x="999" y="65"/>
                    </a:cubicBezTo>
                    <a:cubicBezTo>
                      <a:pt x="1008" y="75"/>
                      <a:pt x="1024" y="43"/>
                      <a:pt x="1024" y="43"/>
                    </a:cubicBezTo>
                    <a:close/>
                    <a:moveTo>
                      <a:pt x="986" y="1341"/>
                    </a:moveTo>
                    <a:cubicBezTo>
                      <a:pt x="972" y="1343"/>
                      <a:pt x="954" y="1348"/>
                      <a:pt x="961" y="1354"/>
                    </a:cubicBezTo>
                    <a:cubicBezTo>
                      <a:pt x="968" y="1360"/>
                      <a:pt x="971" y="1367"/>
                      <a:pt x="971" y="1367"/>
                    </a:cubicBezTo>
                    <a:cubicBezTo>
                      <a:pt x="985" y="1367"/>
                      <a:pt x="999" y="1359"/>
                      <a:pt x="999" y="1359"/>
                    </a:cubicBezTo>
                    <a:cubicBezTo>
                      <a:pt x="1007" y="1359"/>
                      <a:pt x="1007" y="1359"/>
                      <a:pt x="1007" y="1359"/>
                    </a:cubicBezTo>
                    <a:cubicBezTo>
                      <a:pt x="1011" y="1356"/>
                      <a:pt x="1011" y="1356"/>
                      <a:pt x="1011" y="1356"/>
                    </a:cubicBezTo>
                    <a:cubicBezTo>
                      <a:pt x="1022" y="1356"/>
                      <a:pt x="1022" y="1356"/>
                      <a:pt x="1022" y="1356"/>
                    </a:cubicBezTo>
                    <a:cubicBezTo>
                      <a:pt x="1026" y="1351"/>
                      <a:pt x="1026" y="1351"/>
                      <a:pt x="1026" y="1351"/>
                    </a:cubicBezTo>
                    <a:cubicBezTo>
                      <a:pt x="1008" y="1349"/>
                      <a:pt x="1008" y="1349"/>
                      <a:pt x="1008" y="1349"/>
                    </a:cubicBezTo>
                    <a:cubicBezTo>
                      <a:pt x="1008" y="1349"/>
                      <a:pt x="1000" y="1340"/>
                      <a:pt x="986" y="1341"/>
                    </a:cubicBezTo>
                    <a:close/>
                    <a:moveTo>
                      <a:pt x="1869" y="774"/>
                    </a:moveTo>
                    <a:cubicBezTo>
                      <a:pt x="1869" y="774"/>
                      <a:pt x="1866" y="733"/>
                      <a:pt x="1865" y="727"/>
                    </a:cubicBezTo>
                    <a:cubicBezTo>
                      <a:pt x="1863" y="721"/>
                      <a:pt x="1843" y="720"/>
                      <a:pt x="1843" y="720"/>
                    </a:cubicBezTo>
                    <a:cubicBezTo>
                      <a:pt x="1843" y="706"/>
                      <a:pt x="1843" y="706"/>
                      <a:pt x="1843" y="706"/>
                    </a:cubicBezTo>
                    <a:cubicBezTo>
                      <a:pt x="1830" y="698"/>
                      <a:pt x="1830" y="698"/>
                      <a:pt x="1830" y="698"/>
                    </a:cubicBezTo>
                    <a:cubicBezTo>
                      <a:pt x="1830" y="698"/>
                      <a:pt x="1835" y="681"/>
                      <a:pt x="1830" y="674"/>
                    </a:cubicBezTo>
                    <a:cubicBezTo>
                      <a:pt x="1825" y="667"/>
                      <a:pt x="1805" y="660"/>
                      <a:pt x="1805" y="660"/>
                    </a:cubicBezTo>
                    <a:cubicBezTo>
                      <a:pt x="1805" y="660"/>
                      <a:pt x="1840" y="654"/>
                      <a:pt x="1842" y="641"/>
                    </a:cubicBezTo>
                    <a:cubicBezTo>
                      <a:pt x="1844" y="627"/>
                      <a:pt x="1822" y="623"/>
                      <a:pt x="1822" y="623"/>
                    </a:cubicBezTo>
                    <a:cubicBezTo>
                      <a:pt x="1822" y="623"/>
                      <a:pt x="1815" y="602"/>
                      <a:pt x="1804" y="603"/>
                    </a:cubicBezTo>
                    <a:cubicBezTo>
                      <a:pt x="1792" y="604"/>
                      <a:pt x="1797" y="622"/>
                      <a:pt x="1797" y="622"/>
                    </a:cubicBezTo>
                    <a:cubicBezTo>
                      <a:pt x="1783" y="619"/>
                      <a:pt x="1783" y="619"/>
                      <a:pt x="1783" y="619"/>
                    </a:cubicBezTo>
                    <a:cubicBezTo>
                      <a:pt x="1783" y="619"/>
                      <a:pt x="1796" y="578"/>
                      <a:pt x="1796" y="568"/>
                    </a:cubicBezTo>
                    <a:cubicBezTo>
                      <a:pt x="1795" y="559"/>
                      <a:pt x="1775" y="557"/>
                      <a:pt x="1771" y="547"/>
                    </a:cubicBezTo>
                    <a:cubicBezTo>
                      <a:pt x="1768" y="538"/>
                      <a:pt x="1781" y="521"/>
                      <a:pt x="1777" y="507"/>
                    </a:cubicBezTo>
                    <a:cubicBezTo>
                      <a:pt x="1773" y="494"/>
                      <a:pt x="1713" y="465"/>
                      <a:pt x="1713" y="465"/>
                    </a:cubicBezTo>
                    <a:cubicBezTo>
                      <a:pt x="1707" y="471"/>
                      <a:pt x="1707" y="471"/>
                      <a:pt x="1707" y="471"/>
                    </a:cubicBezTo>
                    <a:cubicBezTo>
                      <a:pt x="1707" y="471"/>
                      <a:pt x="1679" y="439"/>
                      <a:pt x="1677" y="417"/>
                    </a:cubicBezTo>
                    <a:cubicBezTo>
                      <a:pt x="1676" y="394"/>
                      <a:pt x="1685" y="381"/>
                      <a:pt x="1685" y="361"/>
                    </a:cubicBezTo>
                    <a:cubicBezTo>
                      <a:pt x="1685" y="341"/>
                      <a:pt x="1666" y="298"/>
                      <a:pt x="1662" y="282"/>
                    </a:cubicBezTo>
                    <a:cubicBezTo>
                      <a:pt x="1658" y="266"/>
                      <a:pt x="1669" y="256"/>
                      <a:pt x="1671" y="247"/>
                    </a:cubicBezTo>
                    <a:cubicBezTo>
                      <a:pt x="1673" y="238"/>
                      <a:pt x="1666" y="200"/>
                      <a:pt x="1666" y="200"/>
                    </a:cubicBezTo>
                    <a:cubicBezTo>
                      <a:pt x="1649" y="192"/>
                      <a:pt x="1649" y="192"/>
                      <a:pt x="1649" y="192"/>
                    </a:cubicBezTo>
                    <a:cubicBezTo>
                      <a:pt x="1649" y="192"/>
                      <a:pt x="1635" y="177"/>
                      <a:pt x="1625" y="177"/>
                    </a:cubicBezTo>
                    <a:cubicBezTo>
                      <a:pt x="1615" y="176"/>
                      <a:pt x="1609" y="191"/>
                      <a:pt x="1609" y="191"/>
                    </a:cubicBezTo>
                    <a:cubicBezTo>
                      <a:pt x="1609" y="191"/>
                      <a:pt x="1602" y="176"/>
                      <a:pt x="1601" y="167"/>
                    </a:cubicBezTo>
                    <a:cubicBezTo>
                      <a:pt x="1600" y="159"/>
                      <a:pt x="1607" y="135"/>
                      <a:pt x="1607" y="135"/>
                    </a:cubicBezTo>
                    <a:cubicBezTo>
                      <a:pt x="1596" y="120"/>
                      <a:pt x="1596" y="120"/>
                      <a:pt x="1596" y="120"/>
                    </a:cubicBezTo>
                    <a:cubicBezTo>
                      <a:pt x="1596" y="64"/>
                      <a:pt x="1596" y="64"/>
                      <a:pt x="1596" y="64"/>
                    </a:cubicBezTo>
                    <a:cubicBezTo>
                      <a:pt x="1596" y="64"/>
                      <a:pt x="1575" y="50"/>
                      <a:pt x="1578" y="41"/>
                    </a:cubicBezTo>
                    <a:cubicBezTo>
                      <a:pt x="1582" y="32"/>
                      <a:pt x="1586" y="20"/>
                      <a:pt x="1581" y="15"/>
                    </a:cubicBezTo>
                    <a:cubicBezTo>
                      <a:pt x="1576" y="11"/>
                      <a:pt x="1564" y="9"/>
                      <a:pt x="1564" y="9"/>
                    </a:cubicBezTo>
                    <a:cubicBezTo>
                      <a:pt x="1565" y="0"/>
                      <a:pt x="1565" y="0"/>
                      <a:pt x="1565" y="0"/>
                    </a:cubicBezTo>
                    <a:cubicBezTo>
                      <a:pt x="1545" y="5"/>
                      <a:pt x="1545" y="5"/>
                      <a:pt x="1545" y="5"/>
                    </a:cubicBezTo>
                    <a:cubicBezTo>
                      <a:pt x="1541" y="18"/>
                      <a:pt x="1541" y="18"/>
                      <a:pt x="1541" y="18"/>
                    </a:cubicBezTo>
                    <a:cubicBezTo>
                      <a:pt x="1541" y="18"/>
                      <a:pt x="1529" y="26"/>
                      <a:pt x="1523" y="30"/>
                    </a:cubicBezTo>
                    <a:cubicBezTo>
                      <a:pt x="1518" y="34"/>
                      <a:pt x="1531" y="60"/>
                      <a:pt x="1531" y="70"/>
                    </a:cubicBezTo>
                    <a:cubicBezTo>
                      <a:pt x="1530" y="81"/>
                      <a:pt x="1496" y="118"/>
                      <a:pt x="1496" y="118"/>
                    </a:cubicBezTo>
                    <a:cubicBezTo>
                      <a:pt x="1507" y="127"/>
                      <a:pt x="1507" y="127"/>
                      <a:pt x="1507" y="127"/>
                    </a:cubicBezTo>
                    <a:cubicBezTo>
                      <a:pt x="1507" y="127"/>
                      <a:pt x="1492" y="147"/>
                      <a:pt x="1490" y="155"/>
                    </a:cubicBezTo>
                    <a:cubicBezTo>
                      <a:pt x="1488" y="163"/>
                      <a:pt x="1494" y="189"/>
                      <a:pt x="1494" y="189"/>
                    </a:cubicBezTo>
                    <a:cubicBezTo>
                      <a:pt x="1494" y="189"/>
                      <a:pt x="1473" y="273"/>
                      <a:pt x="1472" y="285"/>
                    </a:cubicBezTo>
                    <a:cubicBezTo>
                      <a:pt x="1471" y="296"/>
                      <a:pt x="1444" y="325"/>
                      <a:pt x="1444" y="325"/>
                    </a:cubicBezTo>
                    <a:cubicBezTo>
                      <a:pt x="1444" y="325"/>
                      <a:pt x="1445" y="358"/>
                      <a:pt x="1428" y="366"/>
                    </a:cubicBezTo>
                    <a:cubicBezTo>
                      <a:pt x="1411" y="373"/>
                      <a:pt x="1375" y="381"/>
                      <a:pt x="1375" y="381"/>
                    </a:cubicBezTo>
                    <a:cubicBezTo>
                      <a:pt x="1375" y="381"/>
                      <a:pt x="1354" y="347"/>
                      <a:pt x="1349" y="337"/>
                    </a:cubicBezTo>
                    <a:cubicBezTo>
                      <a:pt x="1344" y="328"/>
                      <a:pt x="1303" y="314"/>
                      <a:pt x="1283" y="306"/>
                    </a:cubicBezTo>
                    <a:cubicBezTo>
                      <a:pt x="1262" y="299"/>
                      <a:pt x="1249" y="266"/>
                      <a:pt x="1246" y="262"/>
                    </a:cubicBezTo>
                    <a:cubicBezTo>
                      <a:pt x="1243" y="259"/>
                      <a:pt x="1223" y="260"/>
                      <a:pt x="1223" y="260"/>
                    </a:cubicBezTo>
                    <a:cubicBezTo>
                      <a:pt x="1207" y="231"/>
                      <a:pt x="1207" y="231"/>
                      <a:pt x="1207" y="231"/>
                    </a:cubicBezTo>
                    <a:cubicBezTo>
                      <a:pt x="1220" y="217"/>
                      <a:pt x="1220" y="217"/>
                      <a:pt x="1220" y="217"/>
                    </a:cubicBezTo>
                    <a:cubicBezTo>
                      <a:pt x="1220" y="217"/>
                      <a:pt x="1213" y="206"/>
                      <a:pt x="1221" y="195"/>
                    </a:cubicBezTo>
                    <a:cubicBezTo>
                      <a:pt x="1229" y="184"/>
                      <a:pt x="1239" y="181"/>
                      <a:pt x="1239" y="181"/>
                    </a:cubicBezTo>
                    <a:cubicBezTo>
                      <a:pt x="1235" y="151"/>
                      <a:pt x="1235" y="151"/>
                      <a:pt x="1235" y="151"/>
                    </a:cubicBezTo>
                    <a:cubicBezTo>
                      <a:pt x="1248" y="139"/>
                      <a:pt x="1248" y="139"/>
                      <a:pt x="1248" y="139"/>
                    </a:cubicBezTo>
                    <a:cubicBezTo>
                      <a:pt x="1248" y="139"/>
                      <a:pt x="1262" y="146"/>
                      <a:pt x="1267" y="144"/>
                    </a:cubicBezTo>
                    <a:cubicBezTo>
                      <a:pt x="1273" y="142"/>
                      <a:pt x="1274" y="119"/>
                      <a:pt x="1274" y="119"/>
                    </a:cubicBezTo>
                    <a:cubicBezTo>
                      <a:pt x="1299" y="95"/>
                      <a:pt x="1299" y="95"/>
                      <a:pt x="1299" y="95"/>
                    </a:cubicBezTo>
                    <a:cubicBezTo>
                      <a:pt x="1299" y="95"/>
                      <a:pt x="1285" y="72"/>
                      <a:pt x="1269" y="69"/>
                    </a:cubicBezTo>
                    <a:cubicBezTo>
                      <a:pt x="1252" y="67"/>
                      <a:pt x="1231" y="92"/>
                      <a:pt x="1231" y="92"/>
                    </a:cubicBezTo>
                    <a:cubicBezTo>
                      <a:pt x="1229" y="78"/>
                      <a:pt x="1229" y="78"/>
                      <a:pt x="1229" y="78"/>
                    </a:cubicBezTo>
                    <a:cubicBezTo>
                      <a:pt x="1209" y="80"/>
                      <a:pt x="1209" y="80"/>
                      <a:pt x="1209" y="80"/>
                    </a:cubicBezTo>
                    <a:cubicBezTo>
                      <a:pt x="1200" y="89"/>
                      <a:pt x="1200" y="89"/>
                      <a:pt x="1200" y="89"/>
                    </a:cubicBezTo>
                    <a:cubicBezTo>
                      <a:pt x="1194" y="78"/>
                      <a:pt x="1194" y="78"/>
                      <a:pt x="1194" y="78"/>
                    </a:cubicBezTo>
                    <a:cubicBezTo>
                      <a:pt x="1170" y="75"/>
                      <a:pt x="1170" y="75"/>
                      <a:pt x="1170" y="75"/>
                    </a:cubicBezTo>
                    <a:cubicBezTo>
                      <a:pt x="1170" y="75"/>
                      <a:pt x="1144" y="56"/>
                      <a:pt x="1139" y="56"/>
                    </a:cubicBezTo>
                    <a:cubicBezTo>
                      <a:pt x="1135" y="57"/>
                      <a:pt x="1101" y="53"/>
                      <a:pt x="1101" y="53"/>
                    </a:cubicBezTo>
                    <a:cubicBezTo>
                      <a:pt x="1101" y="53"/>
                      <a:pt x="1093" y="31"/>
                      <a:pt x="1086" y="28"/>
                    </a:cubicBezTo>
                    <a:cubicBezTo>
                      <a:pt x="1080" y="24"/>
                      <a:pt x="1078" y="38"/>
                      <a:pt x="1078" y="38"/>
                    </a:cubicBezTo>
                    <a:cubicBezTo>
                      <a:pt x="1078" y="38"/>
                      <a:pt x="1053" y="25"/>
                      <a:pt x="1047" y="30"/>
                    </a:cubicBezTo>
                    <a:cubicBezTo>
                      <a:pt x="1041" y="34"/>
                      <a:pt x="1050" y="42"/>
                      <a:pt x="1050" y="42"/>
                    </a:cubicBezTo>
                    <a:cubicBezTo>
                      <a:pt x="1050" y="42"/>
                      <a:pt x="1037" y="41"/>
                      <a:pt x="1035" y="46"/>
                    </a:cubicBezTo>
                    <a:cubicBezTo>
                      <a:pt x="1032" y="52"/>
                      <a:pt x="1049" y="58"/>
                      <a:pt x="1060" y="61"/>
                    </a:cubicBezTo>
                    <a:cubicBezTo>
                      <a:pt x="1071" y="64"/>
                      <a:pt x="1077" y="56"/>
                      <a:pt x="1077" y="56"/>
                    </a:cubicBezTo>
                    <a:cubicBezTo>
                      <a:pt x="1099" y="65"/>
                      <a:pt x="1099" y="65"/>
                      <a:pt x="1099" y="65"/>
                    </a:cubicBezTo>
                    <a:cubicBezTo>
                      <a:pt x="1099" y="65"/>
                      <a:pt x="1077" y="78"/>
                      <a:pt x="1065" y="83"/>
                    </a:cubicBezTo>
                    <a:cubicBezTo>
                      <a:pt x="1054" y="88"/>
                      <a:pt x="1020" y="84"/>
                      <a:pt x="1012" y="86"/>
                    </a:cubicBezTo>
                    <a:cubicBezTo>
                      <a:pt x="1005" y="88"/>
                      <a:pt x="955" y="114"/>
                      <a:pt x="955" y="114"/>
                    </a:cubicBezTo>
                    <a:cubicBezTo>
                      <a:pt x="955" y="114"/>
                      <a:pt x="949" y="131"/>
                      <a:pt x="948" y="142"/>
                    </a:cubicBezTo>
                    <a:cubicBezTo>
                      <a:pt x="947" y="152"/>
                      <a:pt x="968" y="161"/>
                      <a:pt x="968" y="161"/>
                    </a:cubicBezTo>
                    <a:cubicBezTo>
                      <a:pt x="935" y="163"/>
                      <a:pt x="935" y="163"/>
                      <a:pt x="935" y="163"/>
                    </a:cubicBezTo>
                    <a:cubicBezTo>
                      <a:pt x="912" y="185"/>
                      <a:pt x="912" y="185"/>
                      <a:pt x="912" y="185"/>
                    </a:cubicBezTo>
                    <a:cubicBezTo>
                      <a:pt x="912" y="185"/>
                      <a:pt x="916" y="205"/>
                      <a:pt x="910" y="212"/>
                    </a:cubicBezTo>
                    <a:cubicBezTo>
                      <a:pt x="904" y="219"/>
                      <a:pt x="927" y="226"/>
                      <a:pt x="936" y="231"/>
                    </a:cubicBezTo>
                    <a:cubicBezTo>
                      <a:pt x="946" y="235"/>
                      <a:pt x="942" y="256"/>
                      <a:pt x="942" y="256"/>
                    </a:cubicBezTo>
                    <a:cubicBezTo>
                      <a:pt x="927" y="242"/>
                      <a:pt x="927" y="242"/>
                      <a:pt x="927" y="242"/>
                    </a:cubicBezTo>
                    <a:cubicBezTo>
                      <a:pt x="907" y="244"/>
                      <a:pt x="907" y="244"/>
                      <a:pt x="907" y="244"/>
                    </a:cubicBezTo>
                    <a:cubicBezTo>
                      <a:pt x="899" y="256"/>
                      <a:pt x="899" y="256"/>
                      <a:pt x="899" y="256"/>
                    </a:cubicBezTo>
                    <a:cubicBezTo>
                      <a:pt x="872" y="235"/>
                      <a:pt x="872" y="235"/>
                      <a:pt x="872" y="235"/>
                    </a:cubicBezTo>
                    <a:cubicBezTo>
                      <a:pt x="869" y="256"/>
                      <a:pt x="869" y="256"/>
                      <a:pt x="869" y="256"/>
                    </a:cubicBezTo>
                    <a:cubicBezTo>
                      <a:pt x="853" y="261"/>
                      <a:pt x="853" y="261"/>
                      <a:pt x="853" y="261"/>
                    </a:cubicBezTo>
                    <a:cubicBezTo>
                      <a:pt x="856" y="279"/>
                      <a:pt x="856" y="279"/>
                      <a:pt x="856" y="279"/>
                    </a:cubicBezTo>
                    <a:cubicBezTo>
                      <a:pt x="837" y="276"/>
                      <a:pt x="837" y="276"/>
                      <a:pt x="837" y="276"/>
                    </a:cubicBezTo>
                    <a:cubicBezTo>
                      <a:pt x="856" y="232"/>
                      <a:pt x="856" y="232"/>
                      <a:pt x="856" y="232"/>
                    </a:cubicBezTo>
                    <a:cubicBezTo>
                      <a:pt x="856" y="232"/>
                      <a:pt x="851" y="226"/>
                      <a:pt x="848" y="215"/>
                    </a:cubicBezTo>
                    <a:cubicBezTo>
                      <a:pt x="846" y="203"/>
                      <a:pt x="827" y="205"/>
                      <a:pt x="827" y="205"/>
                    </a:cubicBezTo>
                    <a:cubicBezTo>
                      <a:pt x="816" y="187"/>
                      <a:pt x="816" y="187"/>
                      <a:pt x="816" y="187"/>
                    </a:cubicBezTo>
                    <a:cubicBezTo>
                      <a:pt x="816" y="187"/>
                      <a:pt x="825" y="167"/>
                      <a:pt x="814" y="159"/>
                    </a:cubicBezTo>
                    <a:cubicBezTo>
                      <a:pt x="802" y="151"/>
                      <a:pt x="787" y="162"/>
                      <a:pt x="787" y="169"/>
                    </a:cubicBezTo>
                    <a:cubicBezTo>
                      <a:pt x="786" y="176"/>
                      <a:pt x="792" y="176"/>
                      <a:pt x="792" y="176"/>
                    </a:cubicBezTo>
                    <a:cubicBezTo>
                      <a:pt x="788" y="185"/>
                      <a:pt x="788" y="185"/>
                      <a:pt x="788" y="185"/>
                    </a:cubicBezTo>
                    <a:cubicBezTo>
                      <a:pt x="768" y="184"/>
                      <a:pt x="768" y="184"/>
                      <a:pt x="768" y="184"/>
                    </a:cubicBezTo>
                    <a:cubicBezTo>
                      <a:pt x="771" y="202"/>
                      <a:pt x="771" y="202"/>
                      <a:pt x="771" y="202"/>
                    </a:cubicBezTo>
                    <a:cubicBezTo>
                      <a:pt x="758" y="196"/>
                      <a:pt x="758" y="196"/>
                      <a:pt x="758" y="196"/>
                    </a:cubicBezTo>
                    <a:cubicBezTo>
                      <a:pt x="746" y="201"/>
                      <a:pt x="746" y="201"/>
                      <a:pt x="746" y="201"/>
                    </a:cubicBezTo>
                    <a:cubicBezTo>
                      <a:pt x="746" y="201"/>
                      <a:pt x="751" y="209"/>
                      <a:pt x="749" y="219"/>
                    </a:cubicBezTo>
                    <a:cubicBezTo>
                      <a:pt x="747" y="230"/>
                      <a:pt x="731" y="238"/>
                      <a:pt x="731" y="238"/>
                    </a:cubicBezTo>
                    <a:cubicBezTo>
                      <a:pt x="736" y="214"/>
                      <a:pt x="736" y="214"/>
                      <a:pt x="736" y="214"/>
                    </a:cubicBezTo>
                    <a:cubicBezTo>
                      <a:pt x="724" y="229"/>
                      <a:pt x="724" y="229"/>
                      <a:pt x="724" y="229"/>
                    </a:cubicBezTo>
                    <a:cubicBezTo>
                      <a:pt x="724" y="229"/>
                      <a:pt x="713" y="227"/>
                      <a:pt x="706" y="237"/>
                    </a:cubicBezTo>
                    <a:cubicBezTo>
                      <a:pt x="699" y="247"/>
                      <a:pt x="710" y="268"/>
                      <a:pt x="710" y="268"/>
                    </a:cubicBezTo>
                    <a:cubicBezTo>
                      <a:pt x="679" y="255"/>
                      <a:pt x="679" y="255"/>
                      <a:pt x="679" y="255"/>
                    </a:cubicBezTo>
                    <a:cubicBezTo>
                      <a:pt x="676" y="279"/>
                      <a:pt x="676" y="279"/>
                      <a:pt x="676" y="279"/>
                    </a:cubicBezTo>
                    <a:cubicBezTo>
                      <a:pt x="665" y="281"/>
                      <a:pt x="665" y="281"/>
                      <a:pt x="665" y="281"/>
                    </a:cubicBezTo>
                    <a:cubicBezTo>
                      <a:pt x="676" y="298"/>
                      <a:pt x="676" y="298"/>
                      <a:pt x="676" y="298"/>
                    </a:cubicBezTo>
                    <a:cubicBezTo>
                      <a:pt x="688" y="297"/>
                      <a:pt x="688" y="297"/>
                      <a:pt x="688" y="297"/>
                    </a:cubicBezTo>
                    <a:cubicBezTo>
                      <a:pt x="685" y="308"/>
                      <a:pt x="685" y="308"/>
                      <a:pt x="685" y="308"/>
                    </a:cubicBezTo>
                    <a:cubicBezTo>
                      <a:pt x="638" y="312"/>
                      <a:pt x="638" y="312"/>
                      <a:pt x="638" y="312"/>
                    </a:cubicBezTo>
                    <a:cubicBezTo>
                      <a:pt x="638" y="312"/>
                      <a:pt x="624" y="302"/>
                      <a:pt x="614" y="310"/>
                    </a:cubicBezTo>
                    <a:cubicBezTo>
                      <a:pt x="604" y="319"/>
                      <a:pt x="620" y="337"/>
                      <a:pt x="620" y="337"/>
                    </a:cubicBezTo>
                    <a:cubicBezTo>
                      <a:pt x="622" y="359"/>
                      <a:pt x="622" y="359"/>
                      <a:pt x="622" y="359"/>
                    </a:cubicBezTo>
                    <a:cubicBezTo>
                      <a:pt x="616" y="373"/>
                      <a:pt x="616" y="373"/>
                      <a:pt x="616" y="373"/>
                    </a:cubicBezTo>
                    <a:cubicBezTo>
                      <a:pt x="620" y="399"/>
                      <a:pt x="620" y="399"/>
                      <a:pt x="620" y="399"/>
                    </a:cubicBezTo>
                    <a:cubicBezTo>
                      <a:pt x="609" y="400"/>
                      <a:pt x="609" y="400"/>
                      <a:pt x="609" y="400"/>
                    </a:cubicBezTo>
                    <a:cubicBezTo>
                      <a:pt x="606" y="348"/>
                      <a:pt x="606" y="348"/>
                      <a:pt x="606" y="348"/>
                    </a:cubicBezTo>
                    <a:cubicBezTo>
                      <a:pt x="595" y="337"/>
                      <a:pt x="595" y="337"/>
                      <a:pt x="595" y="337"/>
                    </a:cubicBezTo>
                    <a:cubicBezTo>
                      <a:pt x="593" y="316"/>
                      <a:pt x="593" y="316"/>
                      <a:pt x="593" y="316"/>
                    </a:cubicBezTo>
                    <a:cubicBezTo>
                      <a:pt x="580" y="317"/>
                      <a:pt x="580" y="317"/>
                      <a:pt x="580" y="317"/>
                    </a:cubicBezTo>
                    <a:cubicBezTo>
                      <a:pt x="569" y="332"/>
                      <a:pt x="569" y="332"/>
                      <a:pt x="569" y="332"/>
                    </a:cubicBezTo>
                    <a:cubicBezTo>
                      <a:pt x="569" y="332"/>
                      <a:pt x="556" y="344"/>
                      <a:pt x="537" y="360"/>
                    </a:cubicBezTo>
                    <a:cubicBezTo>
                      <a:pt x="519" y="376"/>
                      <a:pt x="531" y="409"/>
                      <a:pt x="531" y="409"/>
                    </a:cubicBezTo>
                    <a:cubicBezTo>
                      <a:pt x="531" y="409"/>
                      <a:pt x="548" y="414"/>
                      <a:pt x="546" y="423"/>
                    </a:cubicBezTo>
                    <a:cubicBezTo>
                      <a:pt x="543" y="433"/>
                      <a:pt x="510" y="445"/>
                      <a:pt x="504" y="448"/>
                    </a:cubicBezTo>
                    <a:cubicBezTo>
                      <a:pt x="498" y="451"/>
                      <a:pt x="501" y="461"/>
                      <a:pt x="501" y="461"/>
                    </a:cubicBezTo>
                    <a:cubicBezTo>
                      <a:pt x="501" y="461"/>
                      <a:pt x="480" y="480"/>
                      <a:pt x="463" y="494"/>
                    </a:cubicBezTo>
                    <a:cubicBezTo>
                      <a:pt x="445" y="507"/>
                      <a:pt x="393" y="512"/>
                      <a:pt x="393" y="512"/>
                    </a:cubicBezTo>
                    <a:cubicBezTo>
                      <a:pt x="359" y="505"/>
                      <a:pt x="359" y="505"/>
                      <a:pt x="359" y="505"/>
                    </a:cubicBezTo>
                    <a:cubicBezTo>
                      <a:pt x="332" y="519"/>
                      <a:pt x="332" y="519"/>
                      <a:pt x="332" y="519"/>
                    </a:cubicBezTo>
                    <a:cubicBezTo>
                      <a:pt x="295" y="524"/>
                      <a:pt x="295" y="524"/>
                      <a:pt x="295" y="524"/>
                    </a:cubicBezTo>
                    <a:cubicBezTo>
                      <a:pt x="290" y="529"/>
                      <a:pt x="290" y="529"/>
                      <a:pt x="290" y="529"/>
                    </a:cubicBezTo>
                    <a:cubicBezTo>
                      <a:pt x="290" y="529"/>
                      <a:pt x="280" y="529"/>
                      <a:pt x="271" y="534"/>
                    </a:cubicBezTo>
                    <a:cubicBezTo>
                      <a:pt x="262" y="538"/>
                      <a:pt x="251" y="549"/>
                      <a:pt x="251" y="549"/>
                    </a:cubicBezTo>
                    <a:cubicBezTo>
                      <a:pt x="251" y="549"/>
                      <a:pt x="232" y="550"/>
                      <a:pt x="218" y="554"/>
                    </a:cubicBezTo>
                    <a:cubicBezTo>
                      <a:pt x="204" y="558"/>
                      <a:pt x="188" y="587"/>
                      <a:pt x="188" y="587"/>
                    </a:cubicBezTo>
                    <a:cubicBezTo>
                      <a:pt x="188" y="587"/>
                      <a:pt x="153" y="595"/>
                      <a:pt x="146" y="599"/>
                    </a:cubicBezTo>
                    <a:cubicBezTo>
                      <a:pt x="138" y="604"/>
                      <a:pt x="103" y="649"/>
                      <a:pt x="103" y="649"/>
                    </a:cubicBezTo>
                    <a:cubicBezTo>
                      <a:pt x="109" y="605"/>
                      <a:pt x="109" y="605"/>
                      <a:pt x="109" y="605"/>
                    </a:cubicBezTo>
                    <a:cubicBezTo>
                      <a:pt x="97" y="612"/>
                      <a:pt x="97" y="612"/>
                      <a:pt x="97" y="612"/>
                    </a:cubicBezTo>
                    <a:cubicBezTo>
                      <a:pt x="83" y="649"/>
                      <a:pt x="83" y="649"/>
                      <a:pt x="83" y="649"/>
                    </a:cubicBezTo>
                    <a:cubicBezTo>
                      <a:pt x="83" y="649"/>
                      <a:pt x="69" y="675"/>
                      <a:pt x="62" y="690"/>
                    </a:cubicBezTo>
                    <a:cubicBezTo>
                      <a:pt x="56" y="705"/>
                      <a:pt x="79" y="711"/>
                      <a:pt x="79" y="711"/>
                    </a:cubicBezTo>
                    <a:cubicBezTo>
                      <a:pt x="79" y="711"/>
                      <a:pt x="59" y="732"/>
                      <a:pt x="49" y="741"/>
                    </a:cubicBezTo>
                    <a:cubicBezTo>
                      <a:pt x="38" y="750"/>
                      <a:pt x="58" y="789"/>
                      <a:pt x="59" y="795"/>
                    </a:cubicBezTo>
                    <a:cubicBezTo>
                      <a:pt x="59" y="802"/>
                      <a:pt x="84" y="845"/>
                      <a:pt x="78" y="849"/>
                    </a:cubicBezTo>
                    <a:cubicBezTo>
                      <a:pt x="72" y="854"/>
                      <a:pt x="48" y="813"/>
                      <a:pt x="48" y="813"/>
                    </a:cubicBezTo>
                    <a:cubicBezTo>
                      <a:pt x="36" y="811"/>
                      <a:pt x="36" y="811"/>
                      <a:pt x="36" y="811"/>
                    </a:cubicBezTo>
                    <a:cubicBezTo>
                      <a:pt x="46" y="841"/>
                      <a:pt x="46" y="841"/>
                      <a:pt x="46" y="841"/>
                    </a:cubicBezTo>
                    <a:cubicBezTo>
                      <a:pt x="23" y="821"/>
                      <a:pt x="23" y="821"/>
                      <a:pt x="23" y="821"/>
                    </a:cubicBezTo>
                    <a:cubicBezTo>
                      <a:pt x="23" y="821"/>
                      <a:pt x="19" y="844"/>
                      <a:pt x="22" y="858"/>
                    </a:cubicBezTo>
                    <a:cubicBezTo>
                      <a:pt x="25" y="872"/>
                      <a:pt x="48" y="907"/>
                      <a:pt x="48" y="907"/>
                    </a:cubicBezTo>
                    <a:cubicBezTo>
                      <a:pt x="48" y="907"/>
                      <a:pt x="37" y="929"/>
                      <a:pt x="35" y="937"/>
                    </a:cubicBezTo>
                    <a:cubicBezTo>
                      <a:pt x="33" y="945"/>
                      <a:pt x="63" y="968"/>
                      <a:pt x="64" y="974"/>
                    </a:cubicBezTo>
                    <a:cubicBezTo>
                      <a:pt x="65" y="981"/>
                      <a:pt x="66" y="1003"/>
                      <a:pt x="60" y="1011"/>
                    </a:cubicBezTo>
                    <a:cubicBezTo>
                      <a:pt x="55" y="1019"/>
                      <a:pt x="68" y="1065"/>
                      <a:pt x="68" y="1065"/>
                    </a:cubicBezTo>
                    <a:cubicBezTo>
                      <a:pt x="68" y="1065"/>
                      <a:pt x="64" y="1067"/>
                      <a:pt x="56" y="1073"/>
                    </a:cubicBezTo>
                    <a:cubicBezTo>
                      <a:pt x="49" y="1079"/>
                      <a:pt x="65" y="1115"/>
                      <a:pt x="65" y="1115"/>
                    </a:cubicBezTo>
                    <a:cubicBezTo>
                      <a:pt x="65" y="1115"/>
                      <a:pt x="85" y="1124"/>
                      <a:pt x="87" y="1141"/>
                    </a:cubicBezTo>
                    <a:cubicBezTo>
                      <a:pt x="89" y="1157"/>
                      <a:pt x="60" y="1186"/>
                      <a:pt x="60" y="1186"/>
                    </a:cubicBezTo>
                    <a:cubicBezTo>
                      <a:pt x="60" y="1186"/>
                      <a:pt x="69" y="1219"/>
                      <a:pt x="52" y="1236"/>
                    </a:cubicBezTo>
                    <a:cubicBezTo>
                      <a:pt x="35" y="1252"/>
                      <a:pt x="4" y="1244"/>
                      <a:pt x="4" y="1244"/>
                    </a:cubicBezTo>
                    <a:cubicBezTo>
                      <a:pt x="0" y="1276"/>
                      <a:pt x="0" y="1276"/>
                      <a:pt x="0" y="1276"/>
                    </a:cubicBezTo>
                    <a:cubicBezTo>
                      <a:pt x="0" y="1276"/>
                      <a:pt x="32" y="1284"/>
                      <a:pt x="41" y="1289"/>
                    </a:cubicBezTo>
                    <a:cubicBezTo>
                      <a:pt x="50" y="1295"/>
                      <a:pt x="56" y="1305"/>
                      <a:pt x="56" y="1305"/>
                    </a:cubicBezTo>
                    <a:cubicBezTo>
                      <a:pt x="73" y="1303"/>
                      <a:pt x="73" y="1303"/>
                      <a:pt x="73" y="1303"/>
                    </a:cubicBezTo>
                    <a:cubicBezTo>
                      <a:pt x="73" y="1303"/>
                      <a:pt x="82" y="1312"/>
                      <a:pt x="96" y="1317"/>
                    </a:cubicBezTo>
                    <a:cubicBezTo>
                      <a:pt x="109" y="1322"/>
                      <a:pt x="140" y="1312"/>
                      <a:pt x="153" y="1311"/>
                    </a:cubicBezTo>
                    <a:cubicBezTo>
                      <a:pt x="165" y="1311"/>
                      <a:pt x="155" y="1295"/>
                      <a:pt x="155" y="1295"/>
                    </a:cubicBezTo>
                    <a:cubicBezTo>
                      <a:pt x="180" y="1297"/>
                      <a:pt x="180" y="1297"/>
                      <a:pt x="180" y="1297"/>
                    </a:cubicBezTo>
                    <a:cubicBezTo>
                      <a:pt x="186" y="1285"/>
                      <a:pt x="186" y="1285"/>
                      <a:pt x="186" y="1285"/>
                    </a:cubicBezTo>
                    <a:cubicBezTo>
                      <a:pt x="213" y="1281"/>
                      <a:pt x="213" y="1281"/>
                      <a:pt x="213" y="1281"/>
                    </a:cubicBezTo>
                    <a:cubicBezTo>
                      <a:pt x="213" y="1281"/>
                      <a:pt x="237" y="1256"/>
                      <a:pt x="250" y="1255"/>
                    </a:cubicBezTo>
                    <a:cubicBezTo>
                      <a:pt x="262" y="1255"/>
                      <a:pt x="274" y="1270"/>
                      <a:pt x="281" y="1268"/>
                    </a:cubicBezTo>
                    <a:cubicBezTo>
                      <a:pt x="289" y="1266"/>
                      <a:pt x="326" y="1248"/>
                      <a:pt x="326" y="1248"/>
                    </a:cubicBezTo>
                    <a:cubicBezTo>
                      <a:pt x="326" y="1248"/>
                      <a:pt x="348" y="1258"/>
                      <a:pt x="359" y="1256"/>
                    </a:cubicBezTo>
                    <a:cubicBezTo>
                      <a:pt x="370" y="1255"/>
                      <a:pt x="377" y="1245"/>
                      <a:pt x="384" y="1244"/>
                    </a:cubicBezTo>
                    <a:cubicBezTo>
                      <a:pt x="392" y="1244"/>
                      <a:pt x="411" y="1256"/>
                      <a:pt x="426" y="1253"/>
                    </a:cubicBezTo>
                    <a:cubicBezTo>
                      <a:pt x="441" y="1250"/>
                      <a:pt x="438" y="1231"/>
                      <a:pt x="438" y="1231"/>
                    </a:cubicBezTo>
                    <a:cubicBezTo>
                      <a:pt x="438" y="1231"/>
                      <a:pt x="450" y="1228"/>
                      <a:pt x="454" y="1225"/>
                    </a:cubicBezTo>
                    <a:cubicBezTo>
                      <a:pt x="459" y="1222"/>
                      <a:pt x="465" y="1195"/>
                      <a:pt x="478" y="1183"/>
                    </a:cubicBezTo>
                    <a:cubicBezTo>
                      <a:pt x="491" y="1171"/>
                      <a:pt x="524" y="1179"/>
                      <a:pt x="535" y="1176"/>
                    </a:cubicBezTo>
                    <a:cubicBezTo>
                      <a:pt x="545" y="1174"/>
                      <a:pt x="579" y="1155"/>
                      <a:pt x="594" y="1153"/>
                    </a:cubicBezTo>
                    <a:cubicBezTo>
                      <a:pt x="610" y="1151"/>
                      <a:pt x="612" y="1158"/>
                      <a:pt x="631" y="1161"/>
                    </a:cubicBezTo>
                    <a:cubicBezTo>
                      <a:pt x="650" y="1164"/>
                      <a:pt x="697" y="1131"/>
                      <a:pt x="716" y="1125"/>
                    </a:cubicBezTo>
                    <a:cubicBezTo>
                      <a:pt x="736" y="1119"/>
                      <a:pt x="819" y="1113"/>
                      <a:pt x="819" y="1113"/>
                    </a:cubicBezTo>
                    <a:cubicBezTo>
                      <a:pt x="826" y="1106"/>
                      <a:pt x="826" y="1106"/>
                      <a:pt x="826" y="1106"/>
                    </a:cubicBezTo>
                    <a:cubicBezTo>
                      <a:pt x="826" y="1106"/>
                      <a:pt x="854" y="1131"/>
                      <a:pt x="872" y="1138"/>
                    </a:cubicBezTo>
                    <a:cubicBezTo>
                      <a:pt x="889" y="1145"/>
                      <a:pt x="896" y="1136"/>
                      <a:pt x="896" y="1136"/>
                    </a:cubicBezTo>
                    <a:cubicBezTo>
                      <a:pt x="896" y="1136"/>
                      <a:pt x="899" y="1153"/>
                      <a:pt x="907" y="1156"/>
                    </a:cubicBezTo>
                    <a:cubicBezTo>
                      <a:pt x="915" y="1159"/>
                      <a:pt x="920" y="1152"/>
                      <a:pt x="920" y="1152"/>
                    </a:cubicBezTo>
                    <a:cubicBezTo>
                      <a:pt x="923" y="1167"/>
                      <a:pt x="923" y="1167"/>
                      <a:pt x="923" y="1167"/>
                    </a:cubicBezTo>
                    <a:cubicBezTo>
                      <a:pt x="923" y="1167"/>
                      <a:pt x="935" y="1165"/>
                      <a:pt x="936" y="1174"/>
                    </a:cubicBezTo>
                    <a:cubicBezTo>
                      <a:pt x="937" y="1182"/>
                      <a:pt x="918" y="1206"/>
                      <a:pt x="918" y="1206"/>
                    </a:cubicBezTo>
                    <a:cubicBezTo>
                      <a:pt x="932" y="1225"/>
                      <a:pt x="932" y="1225"/>
                      <a:pt x="932" y="1225"/>
                    </a:cubicBezTo>
                    <a:cubicBezTo>
                      <a:pt x="941" y="1216"/>
                      <a:pt x="941" y="1216"/>
                      <a:pt x="941" y="1216"/>
                    </a:cubicBezTo>
                    <a:cubicBezTo>
                      <a:pt x="954" y="1243"/>
                      <a:pt x="954" y="1243"/>
                      <a:pt x="954" y="1243"/>
                    </a:cubicBezTo>
                    <a:cubicBezTo>
                      <a:pt x="954" y="1243"/>
                      <a:pt x="963" y="1270"/>
                      <a:pt x="964" y="1279"/>
                    </a:cubicBezTo>
                    <a:cubicBezTo>
                      <a:pt x="965" y="1287"/>
                      <a:pt x="937" y="1280"/>
                      <a:pt x="937" y="1280"/>
                    </a:cubicBezTo>
                    <a:cubicBezTo>
                      <a:pt x="944" y="1303"/>
                      <a:pt x="944" y="1303"/>
                      <a:pt x="944" y="1303"/>
                    </a:cubicBezTo>
                    <a:cubicBezTo>
                      <a:pt x="944" y="1303"/>
                      <a:pt x="953" y="1303"/>
                      <a:pt x="962" y="1304"/>
                    </a:cubicBezTo>
                    <a:cubicBezTo>
                      <a:pt x="971" y="1304"/>
                      <a:pt x="970" y="1311"/>
                      <a:pt x="970" y="1311"/>
                    </a:cubicBezTo>
                    <a:cubicBezTo>
                      <a:pt x="983" y="1308"/>
                      <a:pt x="983" y="1308"/>
                      <a:pt x="983" y="1308"/>
                    </a:cubicBezTo>
                    <a:cubicBezTo>
                      <a:pt x="983" y="1308"/>
                      <a:pt x="979" y="1294"/>
                      <a:pt x="979" y="1283"/>
                    </a:cubicBezTo>
                    <a:cubicBezTo>
                      <a:pt x="980" y="1272"/>
                      <a:pt x="998" y="1263"/>
                      <a:pt x="1010" y="1261"/>
                    </a:cubicBezTo>
                    <a:cubicBezTo>
                      <a:pt x="1022" y="1258"/>
                      <a:pt x="1045" y="1222"/>
                      <a:pt x="1045" y="1222"/>
                    </a:cubicBezTo>
                    <a:cubicBezTo>
                      <a:pt x="1060" y="1224"/>
                      <a:pt x="1060" y="1224"/>
                      <a:pt x="1060" y="1224"/>
                    </a:cubicBezTo>
                    <a:cubicBezTo>
                      <a:pt x="1074" y="1191"/>
                      <a:pt x="1074" y="1191"/>
                      <a:pt x="1074" y="1191"/>
                    </a:cubicBezTo>
                    <a:cubicBezTo>
                      <a:pt x="1074" y="1191"/>
                      <a:pt x="1093" y="1188"/>
                      <a:pt x="1102" y="1187"/>
                    </a:cubicBezTo>
                    <a:cubicBezTo>
                      <a:pt x="1110" y="1186"/>
                      <a:pt x="1115" y="1156"/>
                      <a:pt x="1115" y="1156"/>
                    </a:cubicBezTo>
                    <a:cubicBezTo>
                      <a:pt x="1115" y="1156"/>
                      <a:pt x="1120" y="1180"/>
                      <a:pt x="1121" y="1187"/>
                    </a:cubicBezTo>
                    <a:cubicBezTo>
                      <a:pt x="1122" y="1195"/>
                      <a:pt x="1093" y="1209"/>
                      <a:pt x="1093" y="1209"/>
                    </a:cubicBezTo>
                    <a:cubicBezTo>
                      <a:pt x="1083" y="1210"/>
                      <a:pt x="1083" y="1210"/>
                      <a:pt x="1083" y="1210"/>
                    </a:cubicBezTo>
                    <a:cubicBezTo>
                      <a:pt x="1078" y="1217"/>
                      <a:pt x="1078" y="1217"/>
                      <a:pt x="1078" y="1217"/>
                    </a:cubicBezTo>
                    <a:cubicBezTo>
                      <a:pt x="1089" y="1240"/>
                      <a:pt x="1089" y="1240"/>
                      <a:pt x="1089" y="1240"/>
                    </a:cubicBezTo>
                    <a:cubicBezTo>
                      <a:pt x="1089" y="1240"/>
                      <a:pt x="1079" y="1244"/>
                      <a:pt x="1072" y="1248"/>
                    </a:cubicBezTo>
                    <a:cubicBezTo>
                      <a:pt x="1065" y="1253"/>
                      <a:pt x="1047" y="1276"/>
                      <a:pt x="1047" y="1276"/>
                    </a:cubicBezTo>
                    <a:cubicBezTo>
                      <a:pt x="1047" y="1276"/>
                      <a:pt x="1042" y="1295"/>
                      <a:pt x="1035" y="1299"/>
                    </a:cubicBezTo>
                    <a:cubicBezTo>
                      <a:pt x="1028" y="1304"/>
                      <a:pt x="1004" y="1313"/>
                      <a:pt x="1011" y="1319"/>
                    </a:cubicBezTo>
                    <a:cubicBezTo>
                      <a:pt x="1018" y="1326"/>
                      <a:pt x="1045" y="1316"/>
                      <a:pt x="1054" y="1313"/>
                    </a:cubicBezTo>
                    <a:cubicBezTo>
                      <a:pt x="1062" y="1309"/>
                      <a:pt x="1063" y="1296"/>
                      <a:pt x="1069" y="1287"/>
                    </a:cubicBezTo>
                    <a:cubicBezTo>
                      <a:pt x="1076" y="1277"/>
                      <a:pt x="1090" y="1267"/>
                      <a:pt x="1090" y="1267"/>
                    </a:cubicBezTo>
                    <a:cubicBezTo>
                      <a:pt x="1090" y="1267"/>
                      <a:pt x="1093" y="1292"/>
                      <a:pt x="1095" y="1298"/>
                    </a:cubicBezTo>
                    <a:cubicBezTo>
                      <a:pt x="1097" y="1304"/>
                      <a:pt x="1084" y="1315"/>
                      <a:pt x="1075" y="1320"/>
                    </a:cubicBezTo>
                    <a:cubicBezTo>
                      <a:pt x="1067" y="1325"/>
                      <a:pt x="1066" y="1333"/>
                      <a:pt x="1072" y="1339"/>
                    </a:cubicBezTo>
                    <a:cubicBezTo>
                      <a:pt x="1079" y="1344"/>
                      <a:pt x="1110" y="1344"/>
                      <a:pt x="1110" y="1344"/>
                    </a:cubicBezTo>
                    <a:cubicBezTo>
                      <a:pt x="1115" y="1351"/>
                      <a:pt x="1115" y="1351"/>
                      <a:pt x="1115" y="1351"/>
                    </a:cubicBezTo>
                    <a:cubicBezTo>
                      <a:pt x="1100" y="1364"/>
                      <a:pt x="1100" y="1364"/>
                      <a:pt x="1100" y="1364"/>
                    </a:cubicBezTo>
                    <a:cubicBezTo>
                      <a:pt x="1100" y="1364"/>
                      <a:pt x="1116" y="1393"/>
                      <a:pt x="1118" y="1403"/>
                    </a:cubicBezTo>
                    <a:cubicBezTo>
                      <a:pt x="1121" y="1414"/>
                      <a:pt x="1097" y="1430"/>
                      <a:pt x="1088" y="1441"/>
                    </a:cubicBezTo>
                    <a:cubicBezTo>
                      <a:pt x="1078" y="1452"/>
                      <a:pt x="1110" y="1474"/>
                      <a:pt x="1118" y="1477"/>
                    </a:cubicBezTo>
                    <a:cubicBezTo>
                      <a:pt x="1125" y="1480"/>
                      <a:pt x="1139" y="1500"/>
                      <a:pt x="1154" y="1505"/>
                    </a:cubicBezTo>
                    <a:cubicBezTo>
                      <a:pt x="1169" y="1510"/>
                      <a:pt x="1180" y="1501"/>
                      <a:pt x="1194" y="1504"/>
                    </a:cubicBezTo>
                    <a:cubicBezTo>
                      <a:pt x="1207" y="1507"/>
                      <a:pt x="1210" y="1524"/>
                      <a:pt x="1229" y="1527"/>
                    </a:cubicBezTo>
                    <a:cubicBezTo>
                      <a:pt x="1249" y="1531"/>
                      <a:pt x="1297" y="1498"/>
                      <a:pt x="1297" y="1498"/>
                    </a:cubicBezTo>
                    <a:cubicBezTo>
                      <a:pt x="1297" y="1498"/>
                      <a:pt x="1290" y="1484"/>
                      <a:pt x="1305" y="1475"/>
                    </a:cubicBezTo>
                    <a:cubicBezTo>
                      <a:pt x="1320" y="1466"/>
                      <a:pt x="1319" y="1502"/>
                      <a:pt x="1319" y="1502"/>
                    </a:cubicBezTo>
                    <a:cubicBezTo>
                      <a:pt x="1330" y="1501"/>
                      <a:pt x="1330" y="1501"/>
                      <a:pt x="1330" y="1501"/>
                    </a:cubicBezTo>
                    <a:cubicBezTo>
                      <a:pt x="1320" y="1517"/>
                      <a:pt x="1320" y="1517"/>
                      <a:pt x="1320" y="1517"/>
                    </a:cubicBezTo>
                    <a:cubicBezTo>
                      <a:pt x="1333" y="1518"/>
                      <a:pt x="1333" y="1518"/>
                      <a:pt x="1333" y="1518"/>
                    </a:cubicBezTo>
                    <a:cubicBezTo>
                      <a:pt x="1333" y="1518"/>
                      <a:pt x="1334" y="1530"/>
                      <a:pt x="1341" y="1539"/>
                    </a:cubicBezTo>
                    <a:cubicBezTo>
                      <a:pt x="1347" y="1547"/>
                      <a:pt x="1354" y="1543"/>
                      <a:pt x="1354" y="1543"/>
                    </a:cubicBezTo>
                    <a:cubicBezTo>
                      <a:pt x="1360" y="1532"/>
                      <a:pt x="1360" y="1532"/>
                      <a:pt x="1360" y="1532"/>
                    </a:cubicBezTo>
                    <a:cubicBezTo>
                      <a:pt x="1360" y="1532"/>
                      <a:pt x="1378" y="1530"/>
                      <a:pt x="1388" y="1521"/>
                    </a:cubicBezTo>
                    <a:cubicBezTo>
                      <a:pt x="1399" y="1513"/>
                      <a:pt x="1443" y="1482"/>
                      <a:pt x="1443" y="1482"/>
                    </a:cubicBezTo>
                    <a:cubicBezTo>
                      <a:pt x="1438" y="1472"/>
                      <a:pt x="1438" y="1472"/>
                      <a:pt x="1438" y="1472"/>
                    </a:cubicBezTo>
                    <a:cubicBezTo>
                      <a:pt x="1462" y="1468"/>
                      <a:pt x="1462" y="1468"/>
                      <a:pt x="1462" y="1468"/>
                    </a:cubicBezTo>
                    <a:cubicBezTo>
                      <a:pt x="1471" y="1476"/>
                      <a:pt x="1471" y="1476"/>
                      <a:pt x="1471" y="1476"/>
                    </a:cubicBezTo>
                    <a:cubicBezTo>
                      <a:pt x="1471" y="1476"/>
                      <a:pt x="1510" y="1469"/>
                      <a:pt x="1533" y="1461"/>
                    </a:cubicBezTo>
                    <a:cubicBezTo>
                      <a:pt x="1555" y="1452"/>
                      <a:pt x="1557" y="1408"/>
                      <a:pt x="1560" y="1396"/>
                    </a:cubicBezTo>
                    <a:cubicBezTo>
                      <a:pt x="1564" y="1385"/>
                      <a:pt x="1590" y="1370"/>
                      <a:pt x="1590" y="1370"/>
                    </a:cubicBezTo>
                    <a:cubicBezTo>
                      <a:pt x="1590" y="1355"/>
                      <a:pt x="1590" y="1355"/>
                      <a:pt x="1590" y="1355"/>
                    </a:cubicBezTo>
                    <a:cubicBezTo>
                      <a:pt x="1590" y="1355"/>
                      <a:pt x="1605" y="1349"/>
                      <a:pt x="1613" y="1338"/>
                    </a:cubicBezTo>
                    <a:cubicBezTo>
                      <a:pt x="1620" y="1328"/>
                      <a:pt x="1631" y="1314"/>
                      <a:pt x="1631" y="1314"/>
                    </a:cubicBezTo>
                    <a:cubicBezTo>
                      <a:pt x="1631" y="1314"/>
                      <a:pt x="1633" y="1285"/>
                      <a:pt x="1641" y="1275"/>
                    </a:cubicBezTo>
                    <a:cubicBezTo>
                      <a:pt x="1648" y="1266"/>
                      <a:pt x="1682" y="1228"/>
                      <a:pt x="1695" y="1222"/>
                    </a:cubicBezTo>
                    <a:cubicBezTo>
                      <a:pt x="1707" y="1216"/>
                      <a:pt x="1709" y="1185"/>
                      <a:pt x="1709" y="1185"/>
                    </a:cubicBezTo>
                    <a:cubicBezTo>
                      <a:pt x="1709" y="1185"/>
                      <a:pt x="1732" y="1189"/>
                      <a:pt x="1741" y="1179"/>
                    </a:cubicBezTo>
                    <a:cubicBezTo>
                      <a:pt x="1750" y="1170"/>
                      <a:pt x="1797" y="1111"/>
                      <a:pt x="1800" y="1104"/>
                    </a:cubicBezTo>
                    <a:cubicBezTo>
                      <a:pt x="1804" y="1098"/>
                      <a:pt x="1803" y="1067"/>
                      <a:pt x="1813" y="1060"/>
                    </a:cubicBezTo>
                    <a:cubicBezTo>
                      <a:pt x="1822" y="1053"/>
                      <a:pt x="1864" y="971"/>
                      <a:pt x="1874" y="952"/>
                    </a:cubicBezTo>
                    <a:cubicBezTo>
                      <a:pt x="1884" y="933"/>
                      <a:pt x="1872" y="920"/>
                      <a:pt x="1871" y="907"/>
                    </a:cubicBezTo>
                    <a:cubicBezTo>
                      <a:pt x="1870" y="894"/>
                      <a:pt x="1880" y="873"/>
                      <a:pt x="1889" y="859"/>
                    </a:cubicBezTo>
                    <a:cubicBezTo>
                      <a:pt x="1898" y="845"/>
                      <a:pt x="1888" y="783"/>
                      <a:pt x="1888" y="783"/>
                    </a:cubicBezTo>
                    <a:lnTo>
                      <a:pt x="1869" y="774"/>
                    </a:lnTo>
                    <a:close/>
                    <a:moveTo>
                      <a:pt x="1347" y="1624"/>
                    </a:moveTo>
                    <a:cubicBezTo>
                      <a:pt x="1349" y="1631"/>
                      <a:pt x="1373" y="1619"/>
                      <a:pt x="1364" y="1612"/>
                    </a:cubicBezTo>
                    <a:cubicBezTo>
                      <a:pt x="1355" y="1605"/>
                      <a:pt x="1347" y="1624"/>
                      <a:pt x="1347" y="1624"/>
                    </a:cubicBezTo>
                    <a:close/>
                    <a:moveTo>
                      <a:pt x="1332" y="1632"/>
                    </a:moveTo>
                    <a:cubicBezTo>
                      <a:pt x="1323" y="1626"/>
                      <a:pt x="1312" y="1646"/>
                      <a:pt x="1312" y="1646"/>
                    </a:cubicBezTo>
                    <a:cubicBezTo>
                      <a:pt x="1312" y="1646"/>
                      <a:pt x="1308" y="1640"/>
                      <a:pt x="1304" y="1640"/>
                    </a:cubicBezTo>
                    <a:cubicBezTo>
                      <a:pt x="1300" y="1639"/>
                      <a:pt x="1277" y="1643"/>
                      <a:pt x="1277" y="1643"/>
                    </a:cubicBezTo>
                    <a:cubicBezTo>
                      <a:pt x="1274" y="1651"/>
                      <a:pt x="1274" y="1651"/>
                      <a:pt x="1274" y="1651"/>
                    </a:cubicBezTo>
                    <a:cubicBezTo>
                      <a:pt x="1261" y="1640"/>
                      <a:pt x="1261" y="1640"/>
                      <a:pt x="1261" y="1640"/>
                    </a:cubicBezTo>
                    <a:cubicBezTo>
                      <a:pt x="1236" y="1638"/>
                      <a:pt x="1236" y="1638"/>
                      <a:pt x="1236" y="1638"/>
                    </a:cubicBezTo>
                    <a:cubicBezTo>
                      <a:pt x="1221" y="1620"/>
                      <a:pt x="1221" y="1620"/>
                      <a:pt x="1221" y="1620"/>
                    </a:cubicBezTo>
                    <a:cubicBezTo>
                      <a:pt x="1221" y="1620"/>
                      <a:pt x="1216" y="1623"/>
                      <a:pt x="1210" y="1624"/>
                    </a:cubicBezTo>
                    <a:cubicBezTo>
                      <a:pt x="1205" y="1625"/>
                      <a:pt x="1188" y="1605"/>
                      <a:pt x="1188" y="1605"/>
                    </a:cubicBezTo>
                    <a:cubicBezTo>
                      <a:pt x="1184" y="1616"/>
                      <a:pt x="1184" y="1616"/>
                      <a:pt x="1184" y="1616"/>
                    </a:cubicBezTo>
                    <a:cubicBezTo>
                      <a:pt x="1188" y="1629"/>
                      <a:pt x="1188" y="1629"/>
                      <a:pt x="1188" y="1629"/>
                    </a:cubicBezTo>
                    <a:cubicBezTo>
                      <a:pt x="1188" y="1629"/>
                      <a:pt x="1189" y="1645"/>
                      <a:pt x="1187" y="1650"/>
                    </a:cubicBezTo>
                    <a:cubicBezTo>
                      <a:pt x="1185" y="1655"/>
                      <a:pt x="1179" y="1663"/>
                      <a:pt x="1185" y="1674"/>
                    </a:cubicBezTo>
                    <a:cubicBezTo>
                      <a:pt x="1191" y="1685"/>
                      <a:pt x="1184" y="1691"/>
                      <a:pt x="1176" y="1694"/>
                    </a:cubicBezTo>
                    <a:cubicBezTo>
                      <a:pt x="1167" y="1696"/>
                      <a:pt x="1160" y="1686"/>
                      <a:pt x="1160" y="1686"/>
                    </a:cubicBezTo>
                    <a:cubicBezTo>
                      <a:pt x="1160" y="1686"/>
                      <a:pt x="1156" y="1700"/>
                      <a:pt x="1155" y="1713"/>
                    </a:cubicBezTo>
                    <a:cubicBezTo>
                      <a:pt x="1154" y="1727"/>
                      <a:pt x="1166" y="1748"/>
                      <a:pt x="1166" y="1748"/>
                    </a:cubicBezTo>
                    <a:cubicBezTo>
                      <a:pt x="1181" y="1750"/>
                      <a:pt x="1181" y="1750"/>
                      <a:pt x="1181" y="1750"/>
                    </a:cubicBezTo>
                    <a:cubicBezTo>
                      <a:pt x="1168" y="1757"/>
                      <a:pt x="1168" y="1757"/>
                      <a:pt x="1168" y="1757"/>
                    </a:cubicBezTo>
                    <a:cubicBezTo>
                      <a:pt x="1173" y="1774"/>
                      <a:pt x="1173" y="1774"/>
                      <a:pt x="1173" y="1774"/>
                    </a:cubicBezTo>
                    <a:cubicBezTo>
                      <a:pt x="1173" y="1774"/>
                      <a:pt x="1185" y="1769"/>
                      <a:pt x="1191" y="1766"/>
                    </a:cubicBezTo>
                    <a:cubicBezTo>
                      <a:pt x="1198" y="1763"/>
                      <a:pt x="1203" y="1773"/>
                      <a:pt x="1214" y="1769"/>
                    </a:cubicBezTo>
                    <a:cubicBezTo>
                      <a:pt x="1225" y="1764"/>
                      <a:pt x="1232" y="1748"/>
                      <a:pt x="1239" y="1752"/>
                    </a:cubicBezTo>
                    <a:cubicBezTo>
                      <a:pt x="1247" y="1757"/>
                      <a:pt x="1236" y="1768"/>
                      <a:pt x="1236" y="1768"/>
                    </a:cubicBezTo>
                    <a:cubicBezTo>
                      <a:pt x="1247" y="1772"/>
                      <a:pt x="1247" y="1772"/>
                      <a:pt x="1247" y="1772"/>
                    </a:cubicBezTo>
                    <a:cubicBezTo>
                      <a:pt x="1247" y="1772"/>
                      <a:pt x="1268" y="1744"/>
                      <a:pt x="1277" y="1738"/>
                    </a:cubicBezTo>
                    <a:cubicBezTo>
                      <a:pt x="1285" y="1733"/>
                      <a:pt x="1268" y="1726"/>
                      <a:pt x="1268" y="1726"/>
                    </a:cubicBezTo>
                    <a:cubicBezTo>
                      <a:pt x="1282" y="1706"/>
                      <a:pt x="1282" y="1706"/>
                      <a:pt x="1282" y="1706"/>
                    </a:cubicBezTo>
                    <a:cubicBezTo>
                      <a:pt x="1282" y="1706"/>
                      <a:pt x="1292" y="1710"/>
                      <a:pt x="1303" y="1704"/>
                    </a:cubicBezTo>
                    <a:cubicBezTo>
                      <a:pt x="1314" y="1699"/>
                      <a:pt x="1305" y="1678"/>
                      <a:pt x="1315" y="1667"/>
                    </a:cubicBezTo>
                    <a:cubicBezTo>
                      <a:pt x="1326" y="1656"/>
                      <a:pt x="1340" y="1638"/>
                      <a:pt x="1332" y="1632"/>
                    </a:cubicBezTo>
                    <a:close/>
                    <a:moveTo>
                      <a:pt x="1269" y="162"/>
                    </a:moveTo>
                    <a:cubicBezTo>
                      <a:pt x="1263" y="162"/>
                      <a:pt x="1259" y="193"/>
                      <a:pt x="1259" y="193"/>
                    </a:cubicBezTo>
                    <a:cubicBezTo>
                      <a:pt x="1269" y="207"/>
                      <a:pt x="1290" y="195"/>
                      <a:pt x="1290" y="195"/>
                    </a:cubicBezTo>
                    <a:cubicBezTo>
                      <a:pt x="1286" y="186"/>
                      <a:pt x="1286" y="186"/>
                      <a:pt x="1286" y="186"/>
                    </a:cubicBezTo>
                    <a:cubicBezTo>
                      <a:pt x="1290" y="167"/>
                      <a:pt x="1290" y="167"/>
                      <a:pt x="1290" y="167"/>
                    </a:cubicBezTo>
                    <a:cubicBezTo>
                      <a:pt x="1290" y="167"/>
                      <a:pt x="1274" y="162"/>
                      <a:pt x="1269" y="162"/>
                    </a:cubicBezTo>
                    <a:close/>
                    <a:moveTo>
                      <a:pt x="1182" y="1554"/>
                    </a:moveTo>
                    <a:cubicBezTo>
                      <a:pt x="1175" y="1581"/>
                      <a:pt x="1175" y="1581"/>
                      <a:pt x="1175" y="1581"/>
                    </a:cubicBezTo>
                    <a:cubicBezTo>
                      <a:pt x="1209" y="1549"/>
                      <a:pt x="1209" y="1549"/>
                      <a:pt x="1209" y="1549"/>
                    </a:cubicBezTo>
                    <a:lnTo>
                      <a:pt x="1182" y="1554"/>
                    </a:lnTo>
                    <a:close/>
                    <a:moveTo>
                      <a:pt x="1357" y="1597"/>
                    </a:moveTo>
                    <a:cubicBezTo>
                      <a:pt x="1345" y="1572"/>
                      <a:pt x="1345" y="1572"/>
                      <a:pt x="1345" y="1572"/>
                    </a:cubicBezTo>
                    <a:cubicBezTo>
                      <a:pt x="1345" y="1572"/>
                      <a:pt x="1333" y="1579"/>
                      <a:pt x="1332" y="1587"/>
                    </a:cubicBezTo>
                    <a:cubicBezTo>
                      <a:pt x="1332" y="1594"/>
                      <a:pt x="1334" y="1597"/>
                      <a:pt x="1343" y="1600"/>
                    </a:cubicBezTo>
                    <a:cubicBezTo>
                      <a:pt x="1352" y="1603"/>
                      <a:pt x="1357" y="1597"/>
                      <a:pt x="1357" y="159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65" name="MCShape 157">
                <a:extLst>
                  <a:ext uri="{FF2B5EF4-FFF2-40B4-BE49-F238E27FC236}">
                    <a16:creationId xmlns:a16="http://schemas.microsoft.com/office/drawing/2014/main" id="{A72EDCD5-E025-406B-BEE5-B094FDAC7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266" y="2859744"/>
                <a:ext cx="12374" cy="13921"/>
              </a:xfrm>
              <a:custGeom>
                <a:avLst/>
                <a:gdLst>
                  <a:gd name="T0" fmla="*/ 0 w 22"/>
                  <a:gd name="T1" fmla="*/ 15 h 25"/>
                  <a:gd name="T2" fmla="*/ 12 w 22"/>
                  <a:gd name="T3" fmla="*/ 22 h 25"/>
                  <a:gd name="T4" fmla="*/ 15 w 22"/>
                  <a:gd name="T5" fmla="*/ 9 h 25"/>
                  <a:gd name="T6" fmla="*/ 0 w 22"/>
                  <a:gd name="T7" fmla="*/ 15 h 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"/>
                  <a:gd name="T13" fmla="*/ 0 h 25"/>
                  <a:gd name="T14" fmla="*/ 22 w 22"/>
                  <a:gd name="T15" fmla="*/ 25 h 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" h="25">
                    <a:moveTo>
                      <a:pt x="0" y="15"/>
                    </a:moveTo>
                    <a:cubicBezTo>
                      <a:pt x="0" y="15"/>
                      <a:pt x="2" y="25"/>
                      <a:pt x="12" y="22"/>
                    </a:cubicBezTo>
                    <a:cubicBezTo>
                      <a:pt x="22" y="19"/>
                      <a:pt x="18" y="18"/>
                      <a:pt x="15" y="9"/>
                    </a:cubicBezTo>
                    <a:cubicBezTo>
                      <a:pt x="12" y="0"/>
                      <a:pt x="0" y="4"/>
                      <a:pt x="0" y="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grpSp>
            <p:nvGrpSpPr>
              <p:cNvPr id="1366" name="Gruppieren 1">
                <a:extLst>
                  <a:ext uri="{FF2B5EF4-FFF2-40B4-BE49-F238E27FC236}">
                    <a16:creationId xmlns:a16="http://schemas.microsoft.com/office/drawing/2014/main" id="{ACD96BD3-87A4-469A-9893-4DCBC5C876C8}"/>
                  </a:ext>
                </a:extLst>
              </p:cNvPr>
              <p:cNvGrpSpPr/>
              <p:nvPr/>
            </p:nvGrpSpPr>
            <p:grpSpPr>
              <a:xfrm>
                <a:off x="942513" y="1744546"/>
                <a:ext cx="2191729" cy="1138399"/>
                <a:chOff x="1163090" y="2240029"/>
                <a:chExt cx="2132511" cy="1107641"/>
              </a:xfrm>
              <a:solidFill>
                <a:srgbClr val="999999"/>
              </a:solidFill>
            </p:grpSpPr>
            <p:sp>
              <p:nvSpPr>
                <p:cNvPr id="1367" name="MCShape 9">
                  <a:extLst>
                    <a:ext uri="{FF2B5EF4-FFF2-40B4-BE49-F238E27FC236}">
                      <a16:creationId xmlns:a16="http://schemas.microsoft.com/office/drawing/2014/main" id="{6975F652-D8FD-48D3-A74B-AADC32B79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8433" y="3058721"/>
                  <a:ext cx="165544" cy="148989"/>
                </a:xfrm>
                <a:custGeom>
                  <a:avLst/>
                  <a:gdLst>
                    <a:gd name="T0" fmla="*/ 180 w 291"/>
                    <a:gd name="T1" fmla="*/ 17 h 260"/>
                    <a:gd name="T2" fmla="*/ 226 w 291"/>
                    <a:gd name="T3" fmla="*/ 5 h 260"/>
                    <a:gd name="T4" fmla="*/ 229 w 291"/>
                    <a:gd name="T5" fmla="*/ 20 h 260"/>
                    <a:gd name="T6" fmla="*/ 215 w 291"/>
                    <a:gd name="T7" fmla="*/ 29 h 260"/>
                    <a:gd name="T8" fmla="*/ 198 w 291"/>
                    <a:gd name="T9" fmla="*/ 60 h 260"/>
                    <a:gd name="T10" fmla="*/ 171 w 291"/>
                    <a:gd name="T11" fmla="*/ 72 h 260"/>
                    <a:gd name="T12" fmla="*/ 147 w 291"/>
                    <a:gd name="T13" fmla="*/ 101 h 260"/>
                    <a:gd name="T14" fmla="*/ 145 w 291"/>
                    <a:gd name="T15" fmla="*/ 119 h 260"/>
                    <a:gd name="T16" fmla="*/ 162 w 291"/>
                    <a:gd name="T17" fmla="*/ 106 h 260"/>
                    <a:gd name="T18" fmla="*/ 180 w 291"/>
                    <a:gd name="T19" fmla="*/ 76 h 260"/>
                    <a:gd name="T20" fmla="*/ 194 w 291"/>
                    <a:gd name="T21" fmla="*/ 88 h 260"/>
                    <a:gd name="T22" fmla="*/ 210 w 291"/>
                    <a:gd name="T23" fmla="*/ 94 h 260"/>
                    <a:gd name="T24" fmla="*/ 202 w 291"/>
                    <a:gd name="T25" fmla="*/ 115 h 260"/>
                    <a:gd name="T26" fmla="*/ 222 w 291"/>
                    <a:gd name="T27" fmla="*/ 113 h 260"/>
                    <a:gd name="T28" fmla="*/ 228 w 291"/>
                    <a:gd name="T29" fmla="*/ 132 h 260"/>
                    <a:gd name="T30" fmla="*/ 262 w 291"/>
                    <a:gd name="T31" fmla="*/ 111 h 260"/>
                    <a:gd name="T32" fmla="*/ 275 w 291"/>
                    <a:gd name="T33" fmla="*/ 120 h 260"/>
                    <a:gd name="T34" fmla="*/ 256 w 291"/>
                    <a:gd name="T35" fmla="*/ 138 h 260"/>
                    <a:gd name="T36" fmla="*/ 280 w 291"/>
                    <a:gd name="T37" fmla="*/ 144 h 260"/>
                    <a:gd name="T38" fmla="*/ 242 w 291"/>
                    <a:gd name="T39" fmla="*/ 197 h 260"/>
                    <a:gd name="T40" fmla="*/ 266 w 291"/>
                    <a:gd name="T41" fmla="*/ 198 h 260"/>
                    <a:gd name="T42" fmla="*/ 244 w 291"/>
                    <a:gd name="T43" fmla="*/ 212 h 260"/>
                    <a:gd name="T44" fmla="*/ 264 w 291"/>
                    <a:gd name="T45" fmla="*/ 213 h 260"/>
                    <a:gd name="T46" fmla="*/ 286 w 291"/>
                    <a:gd name="T47" fmla="*/ 204 h 260"/>
                    <a:gd name="T48" fmla="*/ 291 w 291"/>
                    <a:gd name="T49" fmla="*/ 219 h 260"/>
                    <a:gd name="T50" fmla="*/ 244 w 291"/>
                    <a:gd name="T51" fmla="*/ 260 h 260"/>
                    <a:gd name="T52" fmla="*/ 216 w 291"/>
                    <a:gd name="T53" fmla="*/ 256 h 260"/>
                    <a:gd name="T54" fmla="*/ 232 w 291"/>
                    <a:gd name="T55" fmla="*/ 240 h 260"/>
                    <a:gd name="T56" fmla="*/ 210 w 291"/>
                    <a:gd name="T57" fmla="*/ 242 h 260"/>
                    <a:gd name="T58" fmla="*/ 205 w 291"/>
                    <a:gd name="T59" fmla="*/ 237 h 260"/>
                    <a:gd name="T60" fmla="*/ 158 w 291"/>
                    <a:gd name="T61" fmla="*/ 243 h 260"/>
                    <a:gd name="T62" fmla="*/ 133 w 291"/>
                    <a:gd name="T63" fmla="*/ 239 h 260"/>
                    <a:gd name="T64" fmla="*/ 131 w 291"/>
                    <a:gd name="T65" fmla="*/ 236 h 260"/>
                    <a:gd name="T66" fmla="*/ 159 w 291"/>
                    <a:gd name="T67" fmla="*/ 228 h 260"/>
                    <a:gd name="T68" fmla="*/ 152 w 291"/>
                    <a:gd name="T69" fmla="*/ 217 h 260"/>
                    <a:gd name="T70" fmla="*/ 64 w 291"/>
                    <a:gd name="T71" fmla="*/ 199 h 260"/>
                    <a:gd name="T72" fmla="*/ 12 w 291"/>
                    <a:gd name="T73" fmla="*/ 201 h 260"/>
                    <a:gd name="T74" fmla="*/ 34 w 291"/>
                    <a:gd name="T75" fmla="*/ 186 h 260"/>
                    <a:gd name="T76" fmla="*/ 8 w 291"/>
                    <a:gd name="T77" fmla="*/ 176 h 260"/>
                    <a:gd name="T78" fmla="*/ 50 w 291"/>
                    <a:gd name="T79" fmla="*/ 153 h 260"/>
                    <a:gd name="T80" fmla="*/ 106 w 291"/>
                    <a:gd name="T81" fmla="*/ 101 h 260"/>
                    <a:gd name="T82" fmla="*/ 143 w 291"/>
                    <a:gd name="T83" fmla="*/ 65 h 260"/>
                    <a:gd name="T84" fmla="*/ 180 w 291"/>
                    <a:gd name="T85" fmla="*/ 17 h 2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91"/>
                    <a:gd name="T130" fmla="*/ 0 h 260"/>
                    <a:gd name="T131" fmla="*/ 291 w 291"/>
                    <a:gd name="T132" fmla="*/ 260 h 2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91" h="260">
                      <a:moveTo>
                        <a:pt x="180" y="17"/>
                      </a:moveTo>
                      <a:cubicBezTo>
                        <a:pt x="180" y="17"/>
                        <a:pt x="209" y="0"/>
                        <a:pt x="226" y="5"/>
                      </a:cubicBezTo>
                      <a:cubicBezTo>
                        <a:pt x="244" y="10"/>
                        <a:pt x="229" y="20"/>
                        <a:pt x="229" y="20"/>
                      </a:cubicBezTo>
                      <a:cubicBezTo>
                        <a:pt x="215" y="29"/>
                        <a:pt x="215" y="29"/>
                        <a:pt x="215" y="29"/>
                      </a:cubicBezTo>
                      <a:cubicBezTo>
                        <a:pt x="215" y="29"/>
                        <a:pt x="210" y="49"/>
                        <a:pt x="198" y="60"/>
                      </a:cubicBezTo>
                      <a:cubicBezTo>
                        <a:pt x="186" y="71"/>
                        <a:pt x="171" y="72"/>
                        <a:pt x="171" y="72"/>
                      </a:cubicBezTo>
                      <a:cubicBezTo>
                        <a:pt x="147" y="101"/>
                        <a:pt x="147" y="101"/>
                        <a:pt x="147" y="101"/>
                      </a:cubicBezTo>
                      <a:cubicBezTo>
                        <a:pt x="145" y="119"/>
                        <a:pt x="145" y="119"/>
                        <a:pt x="145" y="119"/>
                      </a:cubicBezTo>
                      <a:cubicBezTo>
                        <a:pt x="162" y="106"/>
                        <a:pt x="162" y="106"/>
                        <a:pt x="162" y="106"/>
                      </a:cubicBezTo>
                      <a:cubicBezTo>
                        <a:pt x="180" y="76"/>
                        <a:pt x="180" y="76"/>
                        <a:pt x="180" y="76"/>
                      </a:cubicBezTo>
                      <a:cubicBezTo>
                        <a:pt x="194" y="88"/>
                        <a:pt x="194" y="88"/>
                        <a:pt x="194" y="88"/>
                      </a:cubicBezTo>
                      <a:cubicBezTo>
                        <a:pt x="210" y="94"/>
                        <a:pt x="210" y="94"/>
                        <a:pt x="210" y="94"/>
                      </a:cubicBezTo>
                      <a:cubicBezTo>
                        <a:pt x="202" y="115"/>
                        <a:pt x="202" y="115"/>
                        <a:pt x="202" y="115"/>
                      </a:cubicBezTo>
                      <a:cubicBezTo>
                        <a:pt x="222" y="113"/>
                        <a:pt x="222" y="113"/>
                        <a:pt x="222" y="113"/>
                      </a:cubicBezTo>
                      <a:cubicBezTo>
                        <a:pt x="228" y="132"/>
                        <a:pt x="228" y="132"/>
                        <a:pt x="228" y="132"/>
                      </a:cubicBezTo>
                      <a:cubicBezTo>
                        <a:pt x="262" y="111"/>
                        <a:pt x="262" y="111"/>
                        <a:pt x="262" y="111"/>
                      </a:cubicBezTo>
                      <a:cubicBezTo>
                        <a:pt x="275" y="120"/>
                        <a:pt x="275" y="120"/>
                        <a:pt x="275" y="120"/>
                      </a:cubicBezTo>
                      <a:cubicBezTo>
                        <a:pt x="275" y="120"/>
                        <a:pt x="265" y="135"/>
                        <a:pt x="256" y="138"/>
                      </a:cubicBezTo>
                      <a:cubicBezTo>
                        <a:pt x="248" y="141"/>
                        <a:pt x="274" y="144"/>
                        <a:pt x="280" y="144"/>
                      </a:cubicBezTo>
                      <a:cubicBezTo>
                        <a:pt x="286" y="145"/>
                        <a:pt x="242" y="197"/>
                        <a:pt x="242" y="197"/>
                      </a:cubicBezTo>
                      <a:cubicBezTo>
                        <a:pt x="266" y="198"/>
                        <a:pt x="266" y="198"/>
                        <a:pt x="266" y="198"/>
                      </a:cubicBezTo>
                      <a:cubicBezTo>
                        <a:pt x="244" y="212"/>
                        <a:pt x="244" y="212"/>
                        <a:pt x="244" y="212"/>
                      </a:cubicBezTo>
                      <a:cubicBezTo>
                        <a:pt x="264" y="213"/>
                        <a:pt x="264" y="213"/>
                        <a:pt x="264" y="213"/>
                      </a:cubicBezTo>
                      <a:cubicBezTo>
                        <a:pt x="286" y="204"/>
                        <a:pt x="286" y="204"/>
                        <a:pt x="286" y="204"/>
                      </a:cubicBezTo>
                      <a:cubicBezTo>
                        <a:pt x="291" y="219"/>
                        <a:pt x="291" y="219"/>
                        <a:pt x="291" y="219"/>
                      </a:cubicBezTo>
                      <a:cubicBezTo>
                        <a:pt x="244" y="260"/>
                        <a:pt x="244" y="260"/>
                        <a:pt x="244" y="260"/>
                      </a:cubicBezTo>
                      <a:cubicBezTo>
                        <a:pt x="216" y="256"/>
                        <a:pt x="216" y="256"/>
                        <a:pt x="216" y="256"/>
                      </a:cubicBezTo>
                      <a:cubicBezTo>
                        <a:pt x="232" y="240"/>
                        <a:pt x="232" y="240"/>
                        <a:pt x="232" y="240"/>
                      </a:cubicBezTo>
                      <a:cubicBezTo>
                        <a:pt x="210" y="242"/>
                        <a:pt x="210" y="242"/>
                        <a:pt x="210" y="242"/>
                      </a:cubicBezTo>
                      <a:cubicBezTo>
                        <a:pt x="205" y="237"/>
                        <a:pt x="205" y="237"/>
                        <a:pt x="205" y="237"/>
                      </a:cubicBezTo>
                      <a:cubicBezTo>
                        <a:pt x="158" y="243"/>
                        <a:pt x="158" y="243"/>
                        <a:pt x="158" y="243"/>
                      </a:cubicBezTo>
                      <a:cubicBezTo>
                        <a:pt x="133" y="239"/>
                        <a:pt x="133" y="239"/>
                        <a:pt x="133" y="239"/>
                      </a:cubicBezTo>
                      <a:cubicBezTo>
                        <a:pt x="131" y="236"/>
                        <a:pt x="131" y="236"/>
                        <a:pt x="131" y="236"/>
                      </a:cubicBezTo>
                      <a:cubicBezTo>
                        <a:pt x="159" y="228"/>
                        <a:pt x="159" y="228"/>
                        <a:pt x="159" y="228"/>
                      </a:cubicBezTo>
                      <a:cubicBezTo>
                        <a:pt x="159" y="228"/>
                        <a:pt x="168" y="217"/>
                        <a:pt x="152" y="217"/>
                      </a:cubicBezTo>
                      <a:cubicBezTo>
                        <a:pt x="136" y="216"/>
                        <a:pt x="64" y="199"/>
                        <a:pt x="64" y="199"/>
                      </a:cubicBezTo>
                      <a:cubicBezTo>
                        <a:pt x="64" y="199"/>
                        <a:pt x="24" y="213"/>
                        <a:pt x="12" y="201"/>
                      </a:cubicBezTo>
                      <a:cubicBezTo>
                        <a:pt x="0" y="189"/>
                        <a:pt x="34" y="186"/>
                        <a:pt x="34" y="186"/>
                      </a:cubicBezTo>
                      <a:cubicBezTo>
                        <a:pt x="34" y="186"/>
                        <a:pt x="6" y="183"/>
                        <a:pt x="8" y="176"/>
                      </a:cubicBezTo>
                      <a:cubicBezTo>
                        <a:pt x="10" y="170"/>
                        <a:pt x="50" y="153"/>
                        <a:pt x="50" y="153"/>
                      </a:cubicBezTo>
                      <a:cubicBezTo>
                        <a:pt x="106" y="101"/>
                        <a:pt x="106" y="101"/>
                        <a:pt x="106" y="101"/>
                      </a:cubicBezTo>
                      <a:cubicBezTo>
                        <a:pt x="143" y="65"/>
                        <a:pt x="143" y="65"/>
                        <a:pt x="143" y="65"/>
                      </a:cubicBezTo>
                      <a:lnTo>
                        <a:pt x="180" y="17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accent1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600" dirty="0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1368" name="MCShape 158">
                  <a:extLst>
                    <a:ext uri="{FF2B5EF4-FFF2-40B4-BE49-F238E27FC236}">
                      <a16:creationId xmlns:a16="http://schemas.microsoft.com/office/drawing/2014/main" id="{B3F5ACB8-0668-49D3-A0B2-F91CC5AEBC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3090" y="2240029"/>
                  <a:ext cx="2132511" cy="1107641"/>
                </a:xfrm>
                <a:custGeom>
                  <a:avLst/>
                  <a:gdLst>
                    <a:gd name="T0" fmla="*/ 1824 w 3718"/>
                    <a:gd name="T1" fmla="*/ 304 h 1928"/>
                    <a:gd name="T2" fmla="*/ 1868 w 3718"/>
                    <a:gd name="T3" fmla="*/ 216 h 1928"/>
                    <a:gd name="T4" fmla="*/ 141 w 3718"/>
                    <a:gd name="T5" fmla="*/ 1354 h 1928"/>
                    <a:gd name="T6" fmla="*/ 138 w 3718"/>
                    <a:gd name="T7" fmla="*/ 1561 h 1928"/>
                    <a:gd name="T8" fmla="*/ 1554 w 3718"/>
                    <a:gd name="T9" fmla="*/ 213 h 1928"/>
                    <a:gd name="T10" fmla="*/ 34 w 3718"/>
                    <a:gd name="T11" fmla="*/ 1340 h 1928"/>
                    <a:gd name="T12" fmla="*/ 1227 w 3718"/>
                    <a:gd name="T13" fmla="*/ 437 h 1928"/>
                    <a:gd name="T14" fmla="*/ 2245 w 3718"/>
                    <a:gd name="T15" fmla="*/ 414 h 1928"/>
                    <a:gd name="T16" fmla="*/ 2627 w 3718"/>
                    <a:gd name="T17" fmla="*/ 171 h 1928"/>
                    <a:gd name="T18" fmla="*/ 2592 w 3718"/>
                    <a:gd name="T19" fmla="*/ 114 h 1928"/>
                    <a:gd name="T20" fmla="*/ 2731 w 3718"/>
                    <a:gd name="T21" fmla="*/ 327 h 1928"/>
                    <a:gd name="T22" fmla="*/ 2578 w 3718"/>
                    <a:gd name="T23" fmla="*/ 240 h 1928"/>
                    <a:gd name="T24" fmla="*/ 2488 w 3718"/>
                    <a:gd name="T25" fmla="*/ 156 h 1928"/>
                    <a:gd name="T26" fmla="*/ 1744 w 3718"/>
                    <a:gd name="T27" fmla="*/ 405 h 1928"/>
                    <a:gd name="T28" fmla="*/ 1851 w 3718"/>
                    <a:gd name="T29" fmla="*/ 586 h 1928"/>
                    <a:gd name="T30" fmla="*/ 2278 w 3718"/>
                    <a:gd name="T31" fmla="*/ 144 h 1928"/>
                    <a:gd name="T32" fmla="*/ 3024 w 3718"/>
                    <a:gd name="T33" fmla="*/ 564 h 1928"/>
                    <a:gd name="T34" fmla="*/ 2988 w 3718"/>
                    <a:gd name="T35" fmla="*/ 474 h 1928"/>
                    <a:gd name="T36" fmla="*/ 2753 w 3718"/>
                    <a:gd name="T37" fmla="*/ 381 h 1928"/>
                    <a:gd name="T38" fmla="*/ 2565 w 3718"/>
                    <a:gd name="T39" fmla="*/ 358 h 1928"/>
                    <a:gd name="T40" fmla="*/ 2816 w 3718"/>
                    <a:gd name="T41" fmla="*/ 590 h 1928"/>
                    <a:gd name="T42" fmla="*/ 2732 w 3718"/>
                    <a:gd name="T43" fmla="*/ 829 h 1928"/>
                    <a:gd name="T44" fmla="*/ 2995 w 3718"/>
                    <a:gd name="T45" fmla="*/ 792 h 1928"/>
                    <a:gd name="T46" fmla="*/ 3152 w 3718"/>
                    <a:gd name="T47" fmla="*/ 694 h 1928"/>
                    <a:gd name="T48" fmla="*/ 2821 w 3718"/>
                    <a:gd name="T49" fmla="*/ 613 h 1928"/>
                    <a:gd name="T50" fmla="*/ 3034 w 3718"/>
                    <a:gd name="T51" fmla="*/ 25 h 1928"/>
                    <a:gd name="T52" fmla="*/ 3027 w 3718"/>
                    <a:gd name="T53" fmla="*/ 92 h 1928"/>
                    <a:gd name="T54" fmla="*/ 2737 w 3718"/>
                    <a:gd name="T55" fmla="*/ 191 h 1928"/>
                    <a:gd name="T56" fmla="*/ 2975 w 3718"/>
                    <a:gd name="T57" fmla="*/ 248 h 1928"/>
                    <a:gd name="T58" fmla="*/ 3379 w 3718"/>
                    <a:gd name="T59" fmla="*/ 91 h 1928"/>
                    <a:gd name="T60" fmla="*/ 2747 w 3718"/>
                    <a:gd name="T61" fmla="*/ 549 h 1928"/>
                    <a:gd name="T62" fmla="*/ 2686 w 3718"/>
                    <a:gd name="T63" fmla="*/ 1536 h 1928"/>
                    <a:gd name="T64" fmla="*/ 2958 w 3718"/>
                    <a:gd name="T65" fmla="*/ 1304 h 1928"/>
                    <a:gd name="T66" fmla="*/ 2899 w 3718"/>
                    <a:gd name="T67" fmla="*/ 1093 h 1928"/>
                    <a:gd name="T68" fmla="*/ 2744 w 3718"/>
                    <a:gd name="T69" fmla="*/ 1079 h 1928"/>
                    <a:gd name="T70" fmla="*/ 2677 w 3718"/>
                    <a:gd name="T71" fmla="*/ 900 h 1928"/>
                    <a:gd name="T72" fmla="*/ 2180 w 3718"/>
                    <a:gd name="T73" fmla="*/ 1298 h 1928"/>
                    <a:gd name="T74" fmla="*/ 1908 w 3718"/>
                    <a:gd name="T75" fmla="*/ 1200 h 1928"/>
                    <a:gd name="T76" fmla="*/ 1986 w 3718"/>
                    <a:gd name="T77" fmla="*/ 814 h 1928"/>
                    <a:gd name="T78" fmla="*/ 2401 w 3718"/>
                    <a:gd name="T79" fmla="*/ 658 h 1928"/>
                    <a:gd name="T80" fmla="*/ 2262 w 3718"/>
                    <a:gd name="T81" fmla="*/ 563 h 1928"/>
                    <a:gd name="T82" fmla="*/ 2163 w 3718"/>
                    <a:gd name="T83" fmla="*/ 561 h 1928"/>
                    <a:gd name="T84" fmla="*/ 1863 w 3718"/>
                    <a:gd name="T85" fmla="*/ 625 h 1928"/>
                    <a:gd name="T86" fmla="*/ 1155 w 3718"/>
                    <a:gd name="T87" fmla="*/ 554 h 1928"/>
                    <a:gd name="T88" fmla="*/ 983 w 3718"/>
                    <a:gd name="T89" fmla="*/ 514 h 1928"/>
                    <a:gd name="T90" fmla="*/ 52 w 3718"/>
                    <a:gd name="T91" fmla="*/ 964 h 1928"/>
                    <a:gd name="T92" fmla="*/ 225 w 3718"/>
                    <a:gd name="T93" fmla="*/ 1187 h 1928"/>
                    <a:gd name="T94" fmla="*/ 184 w 3718"/>
                    <a:gd name="T95" fmla="*/ 1387 h 1928"/>
                    <a:gd name="T96" fmla="*/ 1394 w 3718"/>
                    <a:gd name="T97" fmla="*/ 1537 h 1928"/>
                    <a:gd name="T98" fmla="*/ 1727 w 3718"/>
                    <a:gd name="T99" fmla="*/ 1604 h 1928"/>
                    <a:gd name="T100" fmla="*/ 1868 w 3718"/>
                    <a:gd name="T101" fmla="*/ 1783 h 1928"/>
                    <a:gd name="T102" fmla="*/ 1928 w 3718"/>
                    <a:gd name="T103" fmla="*/ 1826 h 1928"/>
                    <a:gd name="T104" fmla="*/ 2453 w 3718"/>
                    <a:gd name="T105" fmla="*/ 1735 h 1928"/>
                    <a:gd name="T106" fmla="*/ 2655 w 3718"/>
                    <a:gd name="T107" fmla="*/ 1772 h 1928"/>
                    <a:gd name="T108" fmla="*/ 2574 w 3718"/>
                    <a:gd name="T109" fmla="*/ 1597 h 1928"/>
                    <a:gd name="T110" fmla="*/ 2967 w 3718"/>
                    <a:gd name="T111" fmla="*/ 1436 h 1928"/>
                    <a:gd name="T112" fmla="*/ 1119 w 3718"/>
                    <a:gd name="T113" fmla="*/ 664 h 1928"/>
                    <a:gd name="T114" fmla="*/ 990 w 3718"/>
                    <a:gd name="T115" fmla="*/ 760 h 1928"/>
                    <a:gd name="T116" fmla="*/ 985 w 3718"/>
                    <a:gd name="T117" fmla="*/ 939 h 1928"/>
                    <a:gd name="T118" fmla="*/ 1403 w 3718"/>
                    <a:gd name="T119" fmla="*/ 1433 h 1928"/>
                    <a:gd name="T120" fmla="*/ 2456 w 3718"/>
                    <a:gd name="T121" fmla="*/ 825 h 1928"/>
                    <a:gd name="T122" fmla="*/ 2386 w 3718"/>
                    <a:gd name="T123" fmla="*/ 823 h 192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718"/>
                    <a:gd name="T187" fmla="*/ 0 h 1928"/>
                    <a:gd name="T188" fmla="*/ 3718 w 3718"/>
                    <a:gd name="T189" fmla="*/ 1928 h 192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718" h="1928">
                      <a:moveTo>
                        <a:pt x="2074" y="170"/>
                      </a:moveTo>
                      <a:cubicBezTo>
                        <a:pt x="2084" y="169"/>
                        <a:pt x="2113" y="177"/>
                        <a:pt x="2115" y="169"/>
                      </a:cubicBezTo>
                      <a:cubicBezTo>
                        <a:pt x="2117" y="160"/>
                        <a:pt x="2107" y="154"/>
                        <a:pt x="2091" y="154"/>
                      </a:cubicBezTo>
                      <a:cubicBezTo>
                        <a:pt x="2074" y="154"/>
                        <a:pt x="2009" y="165"/>
                        <a:pt x="2009" y="165"/>
                      </a:cubicBezTo>
                      <a:cubicBezTo>
                        <a:pt x="2009" y="165"/>
                        <a:pt x="2065" y="171"/>
                        <a:pt x="2074" y="170"/>
                      </a:cubicBezTo>
                      <a:close/>
                      <a:moveTo>
                        <a:pt x="1990" y="214"/>
                      </a:moveTo>
                      <a:cubicBezTo>
                        <a:pt x="2052" y="218"/>
                        <a:pt x="2047" y="199"/>
                        <a:pt x="2047" y="199"/>
                      </a:cubicBezTo>
                      <a:cubicBezTo>
                        <a:pt x="2043" y="189"/>
                        <a:pt x="2043" y="189"/>
                        <a:pt x="2043" y="189"/>
                      </a:cubicBezTo>
                      <a:cubicBezTo>
                        <a:pt x="2089" y="184"/>
                        <a:pt x="2089" y="184"/>
                        <a:pt x="2089" y="184"/>
                      </a:cubicBezTo>
                      <a:cubicBezTo>
                        <a:pt x="2078" y="176"/>
                        <a:pt x="2078" y="176"/>
                        <a:pt x="2078" y="176"/>
                      </a:cubicBezTo>
                      <a:cubicBezTo>
                        <a:pt x="2033" y="178"/>
                        <a:pt x="2033" y="178"/>
                        <a:pt x="2033" y="178"/>
                      </a:cubicBezTo>
                      <a:cubicBezTo>
                        <a:pt x="2025" y="186"/>
                        <a:pt x="2025" y="186"/>
                        <a:pt x="2025" y="186"/>
                      </a:cubicBezTo>
                      <a:cubicBezTo>
                        <a:pt x="2025" y="186"/>
                        <a:pt x="1966" y="173"/>
                        <a:pt x="1959" y="189"/>
                      </a:cubicBezTo>
                      <a:cubicBezTo>
                        <a:pt x="1953" y="205"/>
                        <a:pt x="1990" y="214"/>
                        <a:pt x="1990" y="214"/>
                      </a:cubicBezTo>
                      <a:close/>
                      <a:moveTo>
                        <a:pt x="1785" y="257"/>
                      </a:moveTo>
                      <a:cubicBezTo>
                        <a:pt x="1749" y="275"/>
                        <a:pt x="1749" y="275"/>
                        <a:pt x="1749" y="275"/>
                      </a:cubicBezTo>
                      <a:cubicBezTo>
                        <a:pt x="1749" y="275"/>
                        <a:pt x="1784" y="281"/>
                        <a:pt x="1768" y="284"/>
                      </a:cubicBezTo>
                      <a:cubicBezTo>
                        <a:pt x="1752" y="288"/>
                        <a:pt x="1694" y="292"/>
                        <a:pt x="1694" y="292"/>
                      </a:cubicBezTo>
                      <a:cubicBezTo>
                        <a:pt x="1680" y="308"/>
                        <a:pt x="1680" y="308"/>
                        <a:pt x="1680" y="308"/>
                      </a:cubicBezTo>
                      <a:cubicBezTo>
                        <a:pt x="1717" y="303"/>
                        <a:pt x="1717" y="303"/>
                        <a:pt x="1717" y="303"/>
                      </a:cubicBezTo>
                      <a:cubicBezTo>
                        <a:pt x="1717" y="303"/>
                        <a:pt x="1732" y="308"/>
                        <a:pt x="1751" y="311"/>
                      </a:cubicBezTo>
                      <a:cubicBezTo>
                        <a:pt x="1770" y="314"/>
                        <a:pt x="1826" y="295"/>
                        <a:pt x="1826" y="295"/>
                      </a:cubicBezTo>
                      <a:cubicBezTo>
                        <a:pt x="1824" y="304"/>
                        <a:pt x="1824" y="304"/>
                        <a:pt x="1824" y="304"/>
                      </a:cubicBezTo>
                      <a:cubicBezTo>
                        <a:pt x="1824" y="304"/>
                        <a:pt x="1862" y="299"/>
                        <a:pt x="1892" y="297"/>
                      </a:cubicBezTo>
                      <a:cubicBezTo>
                        <a:pt x="1920" y="295"/>
                        <a:pt x="1895" y="302"/>
                        <a:pt x="1885" y="304"/>
                      </a:cubicBezTo>
                      <a:cubicBezTo>
                        <a:pt x="1875" y="305"/>
                        <a:pt x="1841" y="309"/>
                        <a:pt x="1816" y="312"/>
                      </a:cubicBezTo>
                      <a:cubicBezTo>
                        <a:pt x="1791" y="315"/>
                        <a:pt x="1760" y="326"/>
                        <a:pt x="1760" y="326"/>
                      </a:cubicBezTo>
                      <a:cubicBezTo>
                        <a:pt x="1760" y="326"/>
                        <a:pt x="1788" y="331"/>
                        <a:pt x="1838" y="333"/>
                      </a:cubicBezTo>
                      <a:cubicBezTo>
                        <a:pt x="1886" y="334"/>
                        <a:pt x="1920" y="313"/>
                        <a:pt x="1920" y="313"/>
                      </a:cubicBezTo>
                      <a:cubicBezTo>
                        <a:pt x="1970" y="300"/>
                        <a:pt x="1970" y="300"/>
                        <a:pt x="1970" y="300"/>
                      </a:cubicBezTo>
                      <a:cubicBezTo>
                        <a:pt x="1970" y="300"/>
                        <a:pt x="1987" y="306"/>
                        <a:pt x="2035" y="300"/>
                      </a:cubicBezTo>
                      <a:cubicBezTo>
                        <a:pt x="2081" y="294"/>
                        <a:pt x="2084" y="284"/>
                        <a:pt x="2103" y="279"/>
                      </a:cubicBezTo>
                      <a:cubicBezTo>
                        <a:pt x="2121" y="274"/>
                        <a:pt x="2106" y="254"/>
                        <a:pt x="2086" y="254"/>
                      </a:cubicBezTo>
                      <a:cubicBezTo>
                        <a:pt x="2066" y="255"/>
                        <a:pt x="2072" y="268"/>
                        <a:pt x="2072" y="268"/>
                      </a:cubicBezTo>
                      <a:cubicBezTo>
                        <a:pt x="2045" y="267"/>
                        <a:pt x="2045" y="267"/>
                        <a:pt x="2045" y="267"/>
                      </a:cubicBezTo>
                      <a:cubicBezTo>
                        <a:pt x="2045" y="267"/>
                        <a:pt x="2050" y="260"/>
                        <a:pt x="2055" y="252"/>
                      </a:cubicBezTo>
                      <a:cubicBezTo>
                        <a:pt x="2060" y="244"/>
                        <a:pt x="2073" y="229"/>
                        <a:pt x="2061" y="229"/>
                      </a:cubicBezTo>
                      <a:cubicBezTo>
                        <a:pt x="2049" y="228"/>
                        <a:pt x="2024" y="239"/>
                        <a:pt x="1991" y="249"/>
                      </a:cubicBezTo>
                      <a:cubicBezTo>
                        <a:pt x="1957" y="259"/>
                        <a:pt x="2012" y="256"/>
                        <a:pt x="2012" y="256"/>
                      </a:cubicBezTo>
                      <a:cubicBezTo>
                        <a:pt x="2009" y="272"/>
                        <a:pt x="2009" y="272"/>
                        <a:pt x="2009" y="272"/>
                      </a:cubicBezTo>
                      <a:cubicBezTo>
                        <a:pt x="1929" y="282"/>
                        <a:pt x="1929" y="282"/>
                        <a:pt x="1929" y="282"/>
                      </a:cubicBezTo>
                      <a:cubicBezTo>
                        <a:pt x="1929" y="282"/>
                        <a:pt x="1923" y="262"/>
                        <a:pt x="1928" y="253"/>
                      </a:cubicBezTo>
                      <a:cubicBezTo>
                        <a:pt x="1932" y="244"/>
                        <a:pt x="1875" y="240"/>
                        <a:pt x="1875" y="240"/>
                      </a:cubicBezTo>
                      <a:lnTo>
                        <a:pt x="1785" y="257"/>
                      </a:lnTo>
                      <a:close/>
                      <a:moveTo>
                        <a:pt x="1887" y="230"/>
                      </a:moveTo>
                      <a:cubicBezTo>
                        <a:pt x="1905" y="215"/>
                        <a:pt x="1886" y="206"/>
                        <a:pt x="1868" y="216"/>
                      </a:cubicBezTo>
                      <a:cubicBezTo>
                        <a:pt x="1849" y="226"/>
                        <a:pt x="1887" y="230"/>
                        <a:pt x="1887" y="230"/>
                      </a:cubicBezTo>
                      <a:close/>
                      <a:moveTo>
                        <a:pt x="2008" y="377"/>
                      </a:moveTo>
                      <a:cubicBezTo>
                        <a:pt x="1988" y="361"/>
                        <a:pt x="1988" y="361"/>
                        <a:pt x="1988" y="361"/>
                      </a:cubicBezTo>
                      <a:cubicBezTo>
                        <a:pt x="1969" y="363"/>
                        <a:pt x="1969" y="363"/>
                        <a:pt x="1969" y="363"/>
                      </a:cubicBezTo>
                      <a:cubicBezTo>
                        <a:pt x="1969" y="363"/>
                        <a:pt x="1957" y="348"/>
                        <a:pt x="1932" y="357"/>
                      </a:cubicBezTo>
                      <a:cubicBezTo>
                        <a:pt x="1906" y="365"/>
                        <a:pt x="1964" y="389"/>
                        <a:pt x="1964" y="389"/>
                      </a:cubicBezTo>
                      <a:lnTo>
                        <a:pt x="2008" y="377"/>
                      </a:lnTo>
                      <a:close/>
                      <a:moveTo>
                        <a:pt x="1638" y="280"/>
                      </a:moveTo>
                      <a:cubicBezTo>
                        <a:pt x="1598" y="290"/>
                        <a:pt x="1626" y="295"/>
                        <a:pt x="1626" y="295"/>
                      </a:cubicBezTo>
                      <a:cubicBezTo>
                        <a:pt x="1683" y="281"/>
                        <a:pt x="1679" y="269"/>
                        <a:pt x="1638" y="280"/>
                      </a:cubicBezTo>
                      <a:close/>
                      <a:moveTo>
                        <a:pt x="1978" y="572"/>
                      </a:moveTo>
                      <a:cubicBezTo>
                        <a:pt x="1997" y="574"/>
                        <a:pt x="2006" y="580"/>
                        <a:pt x="2022" y="588"/>
                      </a:cubicBezTo>
                      <a:cubicBezTo>
                        <a:pt x="2038" y="596"/>
                        <a:pt x="2092" y="587"/>
                        <a:pt x="2092" y="587"/>
                      </a:cubicBezTo>
                      <a:cubicBezTo>
                        <a:pt x="2078" y="542"/>
                        <a:pt x="2078" y="542"/>
                        <a:pt x="2078" y="542"/>
                      </a:cubicBezTo>
                      <a:cubicBezTo>
                        <a:pt x="2012" y="528"/>
                        <a:pt x="2012" y="528"/>
                        <a:pt x="2012" y="528"/>
                      </a:cubicBezTo>
                      <a:cubicBezTo>
                        <a:pt x="1990" y="553"/>
                        <a:pt x="1990" y="553"/>
                        <a:pt x="1990" y="553"/>
                      </a:cubicBezTo>
                      <a:cubicBezTo>
                        <a:pt x="1968" y="555"/>
                        <a:pt x="1968" y="555"/>
                        <a:pt x="1968" y="555"/>
                      </a:cubicBezTo>
                      <a:cubicBezTo>
                        <a:pt x="1968" y="555"/>
                        <a:pt x="1959" y="571"/>
                        <a:pt x="1978" y="572"/>
                      </a:cubicBezTo>
                      <a:close/>
                      <a:moveTo>
                        <a:pt x="109" y="1360"/>
                      </a:moveTo>
                      <a:cubicBezTo>
                        <a:pt x="109" y="1369"/>
                        <a:pt x="126" y="1366"/>
                        <a:pt x="126" y="1366"/>
                      </a:cubicBezTo>
                      <a:cubicBezTo>
                        <a:pt x="124" y="1383"/>
                        <a:pt x="124" y="1383"/>
                        <a:pt x="124" y="1383"/>
                      </a:cubicBezTo>
                      <a:cubicBezTo>
                        <a:pt x="143" y="1371"/>
                        <a:pt x="143" y="1371"/>
                        <a:pt x="143" y="1371"/>
                      </a:cubicBezTo>
                      <a:cubicBezTo>
                        <a:pt x="141" y="1354"/>
                        <a:pt x="141" y="1354"/>
                        <a:pt x="141" y="1354"/>
                      </a:cubicBezTo>
                      <a:cubicBezTo>
                        <a:pt x="141" y="1354"/>
                        <a:pt x="109" y="1351"/>
                        <a:pt x="109" y="1360"/>
                      </a:cubicBezTo>
                      <a:close/>
                      <a:moveTo>
                        <a:pt x="166" y="1535"/>
                      </a:moveTo>
                      <a:cubicBezTo>
                        <a:pt x="166" y="1535"/>
                        <a:pt x="163" y="1521"/>
                        <a:pt x="164" y="1514"/>
                      </a:cubicBezTo>
                      <a:cubicBezTo>
                        <a:pt x="165" y="1507"/>
                        <a:pt x="170" y="1495"/>
                        <a:pt x="162" y="1485"/>
                      </a:cubicBezTo>
                      <a:cubicBezTo>
                        <a:pt x="162" y="1485"/>
                        <a:pt x="136" y="1481"/>
                        <a:pt x="127" y="1479"/>
                      </a:cubicBezTo>
                      <a:cubicBezTo>
                        <a:pt x="118" y="1477"/>
                        <a:pt x="103" y="1453"/>
                        <a:pt x="91" y="1452"/>
                      </a:cubicBezTo>
                      <a:cubicBezTo>
                        <a:pt x="79" y="1451"/>
                        <a:pt x="59" y="1463"/>
                        <a:pt x="64" y="1471"/>
                      </a:cubicBezTo>
                      <a:cubicBezTo>
                        <a:pt x="69" y="1479"/>
                        <a:pt x="78" y="1477"/>
                        <a:pt x="78" y="1477"/>
                      </a:cubicBezTo>
                      <a:cubicBezTo>
                        <a:pt x="87" y="1471"/>
                        <a:pt x="87" y="1471"/>
                        <a:pt x="87" y="1471"/>
                      </a:cubicBezTo>
                      <a:cubicBezTo>
                        <a:pt x="94" y="1476"/>
                        <a:pt x="94" y="1476"/>
                        <a:pt x="94" y="1476"/>
                      </a:cubicBezTo>
                      <a:cubicBezTo>
                        <a:pt x="88" y="1483"/>
                        <a:pt x="88" y="1483"/>
                        <a:pt x="88" y="1483"/>
                      </a:cubicBezTo>
                      <a:cubicBezTo>
                        <a:pt x="88" y="1483"/>
                        <a:pt x="59" y="1488"/>
                        <a:pt x="67" y="1497"/>
                      </a:cubicBezTo>
                      <a:cubicBezTo>
                        <a:pt x="75" y="1506"/>
                        <a:pt x="90" y="1497"/>
                        <a:pt x="90" y="1497"/>
                      </a:cubicBezTo>
                      <a:cubicBezTo>
                        <a:pt x="85" y="1512"/>
                        <a:pt x="85" y="1512"/>
                        <a:pt x="85" y="1512"/>
                      </a:cubicBezTo>
                      <a:cubicBezTo>
                        <a:pt x="100" y="1511"/>
                        <a:pt x="100" y="1511"/>
                        <a:pt x="100" y="1511"/>
                      </a:cubicBezTo>
                      <a:cubicBezTo>
                        <a:pt x="86" y="1522"/>
                        <a:pt x="86" y="1522"/>
                        <a:pt x="86" y="1522"/>
                      </a:cubicBezTo>
                      <a:cubicBezTo>
                        <a:pt x="112" y="1520"/>
                        <a:pt x="112" y="1520"/>
                        <a:pt x="112" y="1520"/>
                      </a:cubicBezTo>
                      <a:cubicBezTo>
                        <a:pt x="112" y="1520"/>
                        <a:pt x="85" y="1531"/>
                        <a:pt x="91" y="1536"/>
                      </a:cubicBezTo>
                      <a:cubicBezTo>
                        <a:pt x="97" y="1541"/>
                        <a:pt x="109" y="1520"/>
                        <a:pt x="115" y="1531"/>
                      </a:cubicBezTo>
                      <a:cubicBezTo>
                        <a:pt x="121" y="1542"/>
                        <a:pt x="99" y="1546"/>
                        <a:pt x="105" y="1553"/>
                      </a:cubicBezTo>
                      <a:cubicBezTo>
                        <a:pt x="111" y="1560"/>
                        <a:pt x="137" y="1555"/>
                        <a:pt x="137" y="1555"/>
                      </a:cubicBezTo>
                      <a:cubicBezTo>
                        <a:pt x="150" y="1547"/>
                        <a:pt x="150" y="1547"/>
                        <a:pt x="150" y="1547"/>
                      </a:cubicBezTo>
                      <a:cubicBezTo>
                        <a:pt x="138" y="1561"/>
                        <a:pt x="138" y="1561"/>
                        <a:pt x="138" y="1561"/>
                      </a:cubicBezTo>
                      <a:cubicBezTo>
                        <a:pt x="138" y="1561"/>
                        <a:pt x="113" y="1561"/>
                        <a:pt x="124" y="1570"/>
                      </a:cubicBezTo>
                      <a:cubicBezTo>
                        <a:pt x="135" y="1579"/>
                        <a:pt x="144" y="1579"/>
                        <a:pt x="144" y="1579"/>
                      </a:cubicBezTo>
                      <a:cubicBezTo>
                        <a:pt x="144" y="1579"/>
                        <a:pt x="168" y="1596"/>
                        <a:pt x="180" y="1586"/>
                      </a:cubicBezTo>
                      <a:cubicBezTo>
                        <a:pt x="192" y="1576"/>
                        <a:pt x="201" y="1568"/>
                        <a:pt x="192" y="1557"/>
                      </a:cubicBezTo>
                      <a:cubicBezTo>
                        <a:pt x="183" y="1546"/>
                        <a:pt x="166" y="1535"/>
                        <a:pt x="166" y="1535"/>
                      </a:cubicBezTo>
                      <a:close/>
                      <a:moveTo>
                        <a:pt x="1536" y="249"/>
                      </a:moveTo>
                      <a:cubicBezTo>
                        <a:pt x="1536" y="249"/>
                        <a:pt x="1574" y="242"/>
                        <a:pt x="1583" y="248"/>
                      </a:cubicBezTo>
                      <a:cubicBezTo>
                        <a:pt x="1593" y="254"/>
                        <a:pt x="1587" y="264"/>
                        <a:pt x="1599" y="264"/>
                      </a:cubicBezTo>
                      <a:cubicBezTo>
                        <a:pt x="1612" y="264"/>
                        <a:pt x="1634" y="259"/>
                        <a:pt x="1634" y="259"/>
                      </a:cubicBezTo>
                      <a:cubicBezTo>
                        <a:pt x="1634" y="259"/>
                        <a:pt x="1650" y="268"/>
                        <a:pt x="1665" y="261"/>
                      </a:cubicBezTo>
                      <a:cubicBezTo>
                        <a:pt x="1681" y="255"/>
                        <a:pt x="1678" y="238"/>
                        <a:pt x="1678" y="238"/>
                      </a:cubicBezTo>
                      <a:cubicBezTo>
                        <a:pt x="1700" y="238"/>
                        <a:pt x="1700" y="238"/>
                        <a:pt x="1700" y="238"/>
                      </a:cubicBezTo>
                      <a:cubicBezTo>
                        <a:pt x="1744" y="224"/>
                        <a:pt x="1744" y="224"/>
                        <a:pt x="1744" y="224"/>
                      </a:cubicBezTo>
                      <a:cubicBezTo>
                        <a:pt x="1719" y="247"/>
                        <a:pt x="1719" y="247"/>
                        <a:pt x="1719" y="247"/>
                      </a:cubicBezTo>
                      <a:cubicBezTo>
                        <a:pt x="1754" y="253"/>
                        <a:pt x="1754" y="253"/>
                        <a:pt x="1754" y="253"/>
                      </a:cubicBezTo>
                      <a:cubicBezTo>
                        <a:pt x="1791" y="238"/>
                        <a:pt x="1791" y="238"/>
                        <a:pt x="1791" y="238"/>
                      </a:cubicBezTo>
                      <a:cubicBezTo>
                        <a:pt x="1854" y="209"/>
                        <a:pt x="1854" y="209"/>
                        <a:pt x="1854" y="209"/>
                      </a:cubicBezTo>
                      <a:cubicBezTo>
                        <a:pt x="1854" y="209"/>
                        <a:pt x="1806" y="194"/>
                        <a:pt x="1797" y="194"/>
                      </a:cubicBezTo>
                      <a:cubicBezTo>
                        <a:pt x="1787" y="194"/>
                        <a:pt x="1734" y="190"/>
                        <a:pt x="1734" y="190"/>
                      </a:cubicBezTo>
                      <a:cubicBezTo>
                        <a:pt x="1683" y="198"/>
                        <a:pt x="1683" y="198"/>
                        <a:pt x="1683" y="198"/>
                      </a:cubicBezTo>
                      <a:cubicBezTo>
                        <a:pt x="1680" y="212"/>
                        <a:pt x="1680" y="212"/>
                        <a:pt x="1680" y="212"/>
                      </a:cubicBezTo>
                      <a:cubicBezTo>
                        <a:pt x="1602" y="218"/>
                        <a:pt x="1602" y="218"/>
                        <a:pt x="1602" y="218"/>
                      </a:cubicBezTo>
                      <a:cubicBezTo>
                        <a:pt x="1602" y="218"/>
                        <a:pt x="1576" y="209"/>
                        <a:pt x="1554" y="213"/>
                      </a:cubicBezTo>
                      <a:cubicBezTo>
                        <a:pt x="1532" y="216"/>
                        <a:pt x="1535" y="224"/>
                        <a:pt x="1535" y="224"/>
                      </a:cubicBezTo>
                      <a:cubicBezTo>
                        <a:pt x="1535" y="229"/>
                        <a:pt x="1536" y="249"/>
                        <a:pt x="1536" y="249"/>
                      </a:cubicBezTo>
                      <a:close/>
                      <a:moveTo>
                        <a:pt x="100" y="1323"/>
                      </a:moveTo>
                      <a:cubicBezTo>
                        <a:pt x="102" y="1338"/>
                        <a:pt x="113" y="1344"/>
                        <a:pt x="113" y="1344"/>
                      </a:cubicBezTo>
                      <a:cubicBezTo>
                        <a:pt x="121" y="1323"/>
                        <a:pt x="121" y="1323"/>
                        <a:pt x="121" y="1323"/>
                      </a:cubicBezTo>
                      <a:cubicBezTo>
                        <a:pt x="121" y="1323"/>
                        <a:pt x="98" y="1308"/>
                        <a:pt x="100" y="1323"/>
                      </a:cubicBezTo>
                      <a:close/>
                      <a:moveTo>
                        <a:pt x="82" y="1291"/>
                      </a:moveTo>
                      <a:cubicBezTo>
                        <a:pt x="78" y="1290"/>
                        <a:pt x="62" y="1294"/>
                        <a:pt x="56" y="1297"/>
                      </a:cubicBezTo>
                      <a:cubicBezTo>
                        <a:pt x="50" y="1300"/>
                        <a:pt x="45" y="1315"/>
                        <a:pt x="35" y="1315"/>
                      </a:cubicBezTo>
                      <a:cubicBezTo>
                        <a:pt x="25" y="1315"/>
                        <a:pt x="24" y="1307"/>
                        <a:pt x="34" y="1307"/>
                      </a:cubicBezTo>
                      <a:cubicBezTo>
                        <a:pt x="44" y="1307"/>
                        <a:pt x="62" y="1294"/>
                        <a:pt x="48" y="1295"/>
                      </a:cubicBezTo>
                      <a:cubicBezTo>
                        <a:pt x="34" y="1296"/>
                        <a:pt x="32" y="1299"/>
                        <a:pt x="32" y="1299"/>
                      </a:cubicBezTo>
                      <a:cubicBezTo>
                        <a:pt x="32" y="1299"/>
                        <a:pt x="35" y="1285"/>
                        <a:pt x="24" y="1289"/>
                      </a:cubicBezTo>
                      <a:cubicBezTo>
                        <a:pt x="13" y="1293"/>
                        <a:pt x="11" y="1306"/>
                        <a:pt x="11" y="1306"/>
                      </a:cubicBezTo>
                      <a:cubicBezTo>
                        <a:pt x="3" y="1324"/>
                        <a:pt x="3" y="1324"/>
                        <a:pt x="3" y="1324"/>
                      </a:cubicBezTo>
                      <a:cubicBezTo>
                        <a:pt x="3" y="1324"/>
                        <a:pt x="0" y="1336"/>
                        <a:pt x="3" y="1337"/>
                      </a:cubicBezTo>
                      <a:cubicBezTo>
                        <a:pt x="6" y="1338"/>
                        <a:pt x="9" y="1347"/>
                        <a:pt x="9" y="1347"/>
                      </a:cubicBezTo>
                      <a:cubicBezTo>
                        <a:pt x="0" y="1351"/>
                        <a:pt x="0" y="1351"/>
                        <a:pt x="0" y="1351"/>
                      </a:cubicBezTo>
                      <a:cubicBezTo>
                        <a:pt x="5" y="1386"/>
                        <a:pt x="5" y="1386"/>
                        <a:pt x="5" y="1386"/>
                      </a:cubicBezTo>
                      <a:cubicBezTo>
                        <a:pt x="5" y="1386"/>
                        <a:pt x="0" y="1398"/>
                        <a:pt x="16" y="1397"/>
                      </a:cubicBezTo>
                      <a:cubicBezTo>
                        <a:pt x="27" y="1396"/>
                        <a:pt x="16" y="1379"/>
                        <a:pt x="13" y="1372"/>
                      </a:cubicBezTo>
                      <a:cubicBezTo>
                        <a:pt x="10" y="1365"/>
                        <a:pt x="18" y="1359"/>
                        <a:pt x="23" y="1356"/>
                      </a:cubicBezTo>
                      <a:cubicBezTo>
                        <a:pt x="28" y="1353"/>
                        <a:pt x="36" y="1344"/>
                        <a:pt x="34" y="1340"/>
                      </a:cubicBezTo>
                      <a:cubicBezTo>
                        <a:pt x="34" y="1340"/>
                        <a:pt x="32" y="1329"/>
                        <a:pt x="38" y="1324"/>
                      </a:cubicBezTo>
                      <a:cubicBezTo>
                        <a:pt x="44" y="1319"/>
                        <a:pt x="55" y="1308"/>
                        <a:pt x="64" y="1303"/>
                      </a:cubicBezTo>
                      <a:cubicBezTo>
                        <a:pt x="73" y="1298"/>
                        <a:pt x="86" y="1292"/>
                        <a:pt x="82" y="1291"/>
                      </a:cubicBezTo>
                      <a:close/>
                      <a:moveTo>
                        <a:pt x="1263" y="454"/>
                      </a:moveTo>
                      <a:cubicBezTo>
                        <a:pt x="1268" y="466"/>
                        <a:pt x="1238" y="482"/>
                        <a:pt x="1266" y="478"/>
                      </a:cubicBezTo>
                      <a:cubicBezTo>
                        <a:pt x="1294" y="474"/>
                        <a:pt x="1328" y="462"/>
                        <a:pt x="1328" y="462"/>
                      </a:cubicBezTo>
                      <a:cubicBezTo>
                        <a:pt x="1354" y="468"/>
                        <a:pt x="1354" y="468"/>
                        <a:pt x="1354" y="468"/>
                      </a:cubicBezTo>
                      <a:cubicBezTo>
                        <a:pt x="1405" y="430"/>
                        <a:pt x="1405" y="430"/>
                        <a:pt x="1405" y="430"/>
                      </a:cubicBezTo>
                      <a:cubicBezTo>
                        <a:pt x="1493" y="402"/>
                        <a:pt x="1493" y="402"/>
                        <a:pt x="1493" y="402"/>
                      </a:cubicBezTo>
                      <a:cubicBezTo>
                        <a:pt x="1576" y="379"/>
                        <a:pt x="1576" y="379"/>
                        <a:pt x="1576" y="379"/>
                      </a:cubicBezTo>
                      <a:cubicBezTo>
                        <a:pt x="1642" y="366"/>
                        <a:pt x="1642" y="366"/>
                        <a:pt x="1642" y="366"/>
                      </a:cubicBezTo>
                      <a:cubicBezTo>
                        <a:pt x="1642" y="366"/>
                        <a:pt x="1603" y="334"/>
                        <a:pt x="1600" y="330"/>
                      </a:cubicBezTo>
                      <a:cubicBezTo>
                        <a:pt x="1596" y="327"/>
                        <a:pt x="1549" y="333"/>
                        <a:pt x="1549" y="333"/>
                      </a:cubicBezTo>
                      <a:cubicBezTo>
                        <a:pt x="1505" y="339"/>
                        <a:pt x="1505" y="339"/>
                        <a:pt x="1505" y="339"/>
                      </a:cubicBezTo>
                      <a:cubicBezTo>
                        <a:pt x="1481" y="321"/>
                        <a:pt x="1481" y="321"/>
                        <a:pt x="1481" y="321"/>
                      </a:cubicBezTo>
                      <a:cubicBezTo>
                        <a:pt x="1427" y="328"/>
                        <a:pt x="1427" y="328"/>
                        <a:pt x="1427" y="328"/>
                      </a:cubicBezTo>
                      <a:cubicBezTo>
                        <a:pt x="1393" y="338"/>
                        <a:pt x="1393" y="338"/>
                        <a:pt x="1393" y="338"/>
                      </a:cubicBezTo>
                      <a:cubicBezTo>
                        <a:pt x="1383" y="351"/>
                        <a:pt x="1383" y="351"/>
                        <a:pt x="1383" y="351"/>
                      </a:cubicBezTo>
                      <a:cubicBezTo>
                        <a:pt x="1372" y="371"/>
                        <a:pt x="1372" y="371"/>
                        <a:pt x="1372" y="371"/>
                      </a:cubicBezTo>
                      <a:cubicBezTo>
                        <a:pt x="1340" y="380"/>
                        <a:pt x="1340" y="380"/>
                        <a:pt x="1340" y="380"/>
                      </a:cubicBezTo>
                      <a:cubicBezTo>
                        <a:pt x="1294" y="393"/>
                        <a:pt x="1294" y="393"/>
                        <a:pt x="1294" y="393"/>
                      </a:cubicBezTo>
                      <a:cubicBezTo>
                        <a:pt x="1307" y="401"/>
                        <a:pt x="1307" y="401"/>
                        <a:pt x="1307" y="401"/>
                      </a:cubicBezTo>
                      <a:cubicBezTo>
                        <a:pt x="1227" y="437"/>
                        <a:pt x="1227" y="437"/>
                        <a:pt x="1227" y="437"/>
                      </a:cubicBezTo>
                      <a:cubicBezTo>
                        <a:pt x="1227" y="437"/>
                        <a:pt x="1259" y="442"/>
                        <a:pt x="1263" y="454"/>
                      </a:cubicBezTo>
                      <a:close/>
                      <a:moveTo>
                        <a:pt x="132" y="1313"/>
                      </a:moveTo>
                      <a:cubicBezTo>
                        <a:pt x="125" y="1331"/>
                        <a:pt x="125" y="1331"/>
                        <a:pt x="125" y="1331"/>
                      </a:cubicBezTo>
                      <a:cubicBezTo>
                        <a:pt x="127" y="1343"/>
                        <a:pt x="127" y="1343"/>
                        <a:pt x="127" y="1343"/>
                      </a:cubicBezTo>
                      <a:cubicBezTo>
                        <a:pt x="143" y="1333"/>
                        <a:pt x="143" y="1333"/>
                        <a:pt x="143" y="1333"/>
                      </a:cubicBezTo>
                      <a:lnTo>
                        <a:pt x="132" y="1313"/>
                      </a:lnTo>
                      <a:close/>
                      <a:moveTo>
                        <a:pt x="2786" y="403"/>
                      </a:moveTo>
                      <a:cubicBezTo>
                        <a:pt x="2802" y="409"/>
                        <a:pt x="2824" y="395"/>
                        <a:pt x="2824" y="395"/>
                      </a:cubicBezTo>
                      <a:cubicBezTo>
                        <a:pt x="2865" y="394"/>
                        <a:pt x="2865" y="394"/>
                        <a:pt x="2865" y="394"/>
                      </a:cubicBezTo>
                      <a:cubicBezTo>
                        <a:pt x="2865" y="394"/>
                        <a:pt x="2891" y="404"/>
                        <a:pt x="2899" y="398"/>
                      </a:cubicBezTo>
                      <a:cubicBezTo>
                        <a:pt x="2906" y="393"/>
                        <a:pt x="2900" y="370"/>
                        <a:pt x="2883" y="366"/>
                      </a:cubicBezTo>
                      <a:cubicBezTo>
                        <a:pt x="2865" y="362"/>
                        <a:pt x="2849" y="367"/>
                        <a:pt x="2849" y="367"/>
                      </a:cubicBezTo>
                      <a:cubicBezTo>
                        <a:pt x="2823" y="367"/>
                        <a:pt x="2823" y="367"/>
                        <a:pt x="2823" y="367"/>
                      </a:cubicBezTo>
                      <a:cubicBezTo>
                        <a:pt x="2823" y="367"/>
                        <a:pt x="2793" y="355"/>
                        <a:pt x="2782" y="364"/>
                      </a:cubicBezTo>
                      <a:cubicBezTo>
                        <a:pt x="2772" y="372"/>
                        <a:pt x="2768" y="378"/>
                        <a:pt x="2768" y="378"/>
                      </a:cubicBezTo>
                      <a:cubicBezTo>
                        <a:pt x="2781" y="385"/>
                        <a:pt x="2781" y="385"/>
                        <a:pt x="2781" y="385"/>
                      </a:cubicBezTo>
                      <a:cubicBezTo>
                        <a:pt x="2781" y="385"/>
                        <a:pt x="2772" y="397"/>
                        <a:pt x="2786" y="403"/>
                      </a:cubicBezTo>
                      <a:close/>
                      <a:moveTo>
                        <a:pt x="2471" y="347"/>
                      </a:moveTo>
                      <a:cubicBezTo>
                        <a:pt x="2457" y="346"/>
                        <a:pt x="2380" y="337"/>
                        <a:pt x="2339" y="339"/>
                      </a:cubicBezTo>
                      <a:cubicBezTo>
                        <a:pt x="2300" y="340"/>
                        <a:pt x="2311" y="339"/>
                        <a:pt x="2310" y="347"/>
                      </a:cubicBezTo>
                      <a:cubicBezTo>
                        <a:pt x="2308" y="356"/>
                        <a:pt x="2294" y="359"/>
                        <a:pt x="2260" y="367"/>
                      </a:cubicBezTo>
                      <a:cubicBezTo>
                        <a:pt x="2227" y="374"/>
                        <a:pt x="2259" y="375"/>
                        <a:pt x="2257" y="397"/>
                      </a:cubicBezTo>
                      <a:cubicBezTo>
                        <a:pt x="2245" y="414"/>
                        <a:pt x="2245" y="414"/>
                        <a:pt x="2245" y="414"/>
                      </a:cubicBezTo>
                      <a:cubicBezTo>
                        <a:pt x="2265" y="426"/>
                        <a:pt x="2265" y="426"/>
                        <a:pt x="2265" y="426"/>
                      </a:cubicBezTo>
                      <a:cubicBezTo>
                        <a:pt x="2318" y="404"/>
                        <a:pt x="2318" y="404"/>
                        <a:pt x="2318" y="404"/>
                      </a:cubicBezTo>
                      <a:cubicBezTo>
                        <a:pt x="2318" y="404"/>
                        <a:pt x="2299" y="397"/>
                        <a:pt x="2323" y="390"/>
                      </a:cubicBezTo>
                      <a:cubicBezTo>
                        <a:pt x="2348" y="383"/>
                        <a:pt x="2365" y="403"/>
                        <a:pt x="2365" y="403"/>
                      </a:cubicBezTo>
                      <a:cubicBezTo>
                        <a:pt x="2403" y="398"/>
                        <a:pt x="2403" y="398"/>
                        <a:pt x="2403" y="398"/>
                      </a:cubicBezTo>
                      <a:cubicBezTo>
                        <a:pt x="2398" y="383"/>
                        <a:pt x="2398" y="383"/>
                        <a:pt x="2398" y="383"/>
                      </a:cubicBezTo>
                      <a:cubicBezTo>
                        <a:pt x="2398" y="383"/>
                        <a:pt x="2447" y="381"/>
                        <a:pt x="2457" y="369"/>
                      </a:cubicBezTo>
                      <a:cubicBezTo>
                        <a:pt x="2467" y="358"/>
                        <a:pt x="2484" y="347"/>
                        <a:pt x="2471" y="347"/>
                      </a:cubicBezTo>
                      <a:close/>
                      <a:moveTo>
                        <a:pt x="2526" y="101"/>
                      </a:moveTo>
                      <a:cubicBezTo>
                        <a:pt x="2489" y="105"/>
                        <a:pt x="2489" y="105"/>
                        <a:pt x="2489" y="105"/>
                      </a:cubicBezTo>
                      <a:cubicBezTo>
                        <a:pt x="2503" y="123"/>
                        <a:pt x="2503" y="123"/>
                        <a:pt x="2503" y="123"/>
                      </a:cubicBezTo>
                      <a:lnTo>
                        <a:pt x="2526" y="101"/>
                      </a:lnTo>
                      <a:close/>
                      <a:moveTo>
                        <a:pt x="2406" y="324"/>
                      </a:moveTo>
                      <a:cubicBezTo>
                        <a:pt x="2417" y="317"/>
                        <a:pt x="2442" y="298"/>
                        <a:pt x="2438" y="290"/>
                      </a:cubicBezTo>
                      <a:cubicBezTo>
                        <a:pt x="2434" y="281"/>
                        <a:pt x="2400" y="283"/>
                        <a:pt x="2389" y="284"/>
                      </a:cubicBezTo>
                      <a:cubicBezTo>
                        <a:pt x="2366" y="286"/>
                        <a:pt x="2322" y="301"/>
                        <a:pt x="2334" y="309"/>
                      </a:cubicBezTo>
                      <a:cubicBezTo>
                        <a:pt x="2346" y="316"/>
                        <a:pt x="2406" y="324"/>
                        <a:pt x="2406" y="324"/>
                      </a:cubicBezTo>
                      <a:close/>
                      <a:moveTo>
                        <a:pt x="2634" y="123"/>
                      </a:moveTo>
                      <a:cubicBezTo>
                        <a:pt x="2598" y="131"/>
                        <a:pt x="2598" y="131"/>
                        <a:pt x="2598" y="131"/>
                      </a:cubicBezTo>
                      <a:cubicBezTo>
                        <a:pt x="2623" y="142"/>
                        <a:pt x="2623" y="142"/>
                        <a:pt x="2623" y="142"/>
                      </a:cubicBezTo>
                      <a:cubicBezTo>
                        <a:pt x="2623" y="142"/>
                        <a:pt x="2609" y="146"/>
                        <a:pt x="2611" y="156"/>
                      </a:cubicBezTo>
                      <a:cubicBezTo>
                        <a:pt x="2613" y="165"/>
                        <a:pt x="2640" y="162"/>
                        <a:pt x="2640" y="162"/>
                      </a:cubicBezTo>
                      <a:cubicBezTo>
                        <a:pt x="2627" y="171"/>
                        <a:pt x="2627" y="171"/>
                        <a:pt x="2627" y="171"/>
                      </a:cubicBezTo>
                      <a:cubicBezTo>
                        <a:pt x="2627" y="171"/>
                        <a:pt x="2645" y="175"/>
                        <a:pt x="2659" y="184"/>
                      </a:cubicBezTo>
                      <a:cubicBezTo>
                        <a:pt x="2673" y="192"/>
                        <a:pt x="2698" y="172"/>
                        <a:pt x="2698" y="172"/>
                      </a:cubicBezTo>
                      <a:cubicBezTo>
                        <a:pt x="2714" y="164"/>
                        <a:pt x="2714" y="164"/>
                        <a:pt x="2714" y="164"/>
                      </a:cubicBezTo>
                      <a:cubicBezTo>
                        <a:pt x="2714" y="164"/>
                        <a:pt x="2719" y="170"/>
                        <a:pt x="2725" y="181"/>
                      </a:cubicBezTo>
                      <a:cubicBezTo>
                        <a:pt x="2732" y="191"/>
                        <a:pt x="2756" y="173"/>
                        <a:pt x="2765" y="171"/>
                      </a:cubicBezTo>
                      <a:cubicBezTo>
                        <a:pt x="2774" y="169"/>
                        <a:pt x="2787" y="155"/>
                        <a:pt x="2787" y="155"/>
                      </a:cubicBezTo>
                      <a:cubicBezTo>
                        <a:pt x="2795" y="164"/>
                        <a:pt x="2795" y="164"/>
                        <a:pt x="2795" y="164"/>
                      </a:cubicBezTo>
                      <a:cubicBezTo>
                        <a:pt x="2795" y="164"/>
                        <a:pt x="2808" y="151"/>
                        <a:pt x="2810" y="146"/>
                      </a:cubicBezTo>
                      <a:cubicBezTo>
                        <a:pt x="2812" y="141"/>
                        <a:pt x="2865" y="143"/>
                        <a:pt x="2877" y="143"/>
                      </a:cubicBezTo>
                      <a:cubicBezTo>
                        <a:pt x="2889" y="143"/>
                        <a:pt x="2886" y="129"/>
                        <a:pt x="2886" y="129"/>
                      </a:cubicBezTo>
                      <a:cubicBezTo>
                        <a:pt x="2844" y="128"/>
                        <a:pt x="2844" y="128"/>
                        <a:pt x="2844" y="128"/>
                      </a:cubicBezTo>
                      <a:cubicBezTo>
                        <a:pt x="2864" y="117"/>
                        <a:pt x="2864" y="117"/>
                        <a:pt x="2864" y="117"/>
                      </a:cubicBezTo>
                      <a:cubicBezTo>
                        <a:pt x="2864" y="117"/>
                        <a:pt x="2872" y="97"/>
                        <a:pt x="2867" y="90"/>
                      </a:cubicBezTo>
                      <a:cubicBezTo>
                        <a:pt x="2863" y="84"/>
                        <a:pt x="2829" y="102"/>
                        <a:pt x="2829" y="102"/>
                      </a:cubicBezTo>
                      <a:cubicBezTo>
                        <a:pt x="2826" y="85"/>
                        <a:pt x="2826" y="85"/>
                        <a:pt x="2826" y="85"/>
                      </a:cubicBezTo>
                      <a:cubicBezTo>
                        <a:pt x="2794" y="91"/>
                        <a:pt x="2794" y="91"/>
                        <a:pt x="2794" y="91"/>
                      </a:cubicBezTo>
                      <a:cubicBezTo>
                        <a:pt x="2794" y="91"/>
                        <a:pt x="2791" y="71"/>
                        <a:pt x="2781" y="60"/>
                      </a:cubicBezTo>
                      <a:cubicBezTo>
                        <a:pt x="2772" y="49"/>
                        <a:pt x="2730" y="72"/>
                        <a:pt x="2730" y="72"/>
                      </a:cubicBezTo>
                      <a:cubicBezTo>
                        <a:pt x="2678" y="75"/>
                        <a:pt x="2678" y="75"/>
                        <a:pt x="2678" y="75"/>
                      </a:cubicBezTo>
                      <a:cubicBezTo>
                        <a:pt x="2695" y="88"/>
                        <a:pt x="2695" y="88"/>
                        <a:pt x="2695" y="88"/>
                      </a:cubicBezTo>
                      <a:cubicBezTo>
                        <a:pt x="2695" y="88"/>
                        <a:pt x="2658" y="85"/>
                        <a:pt x="2645" y="89"/>
                      </a:cubicBezTo>
                      <a:cubicBezTo>
                        <a:pt x="2633" y="93"/>
                        <a:pt x="2653" y="106"/>
                        <a:pt x="2653" y="106"/>
                      </a:cubicBezTo>
                      <a:cubicBezTo>
                        <a:pt x="2653" y="106"/>
                        <a:pt x="2596" y="100"/>
                        <a:pt x="2592" y="114"/>
                      </a:cubicBezTo>
                      <a:cubicBezTo>
                        <a:pt x="2587" y="128"/>
                        <a:pt x="2634" y="123"/>
                        <a:pt x="2634" y="123"/>
                      </a:cubicBezTo>
                      <a:close/>
                      <a:moveTo>
                        <a:pt x="2644" y="199"/>
                      </a:moveTo>
                      <a:cubicBezTo>
                        <a:pt x="2622" y="203"/>
                        <a:pt x="2622" y="213"/>
                        <a:pt x="2622" y="213"/>
                      </a:cubicBezTo>
                      <a:cubicBezTo>
                        <a:pt x="2640" y="216"/>
                        <a:pt x="2640" y="216"/>
                        <a:pt x="2640" y="216"/>
                      </a:cubicBezTo>
                      <a:cubicBezTo>
                        <a:pt x="2655" y="216"/>
                        <a:pt x="2667" y="195"/>
                        <a:pt x="2644" y="199"/>
                      </a:cubicBezTo>
                      <a:close/>
                      <a:moveTo>
                        <a:pt x="2488" y="226"/>
                      </a:moveTo>
                      <a:cubicBezTo>
                        <a:pt x="2484" y="226"/>
                        <a:pt x="2476" y="222"/>
                        <a:pt x="2476" y="222"/>
                      </a:cubicBezTo>
                      <a:cubicBezTo>
                        <a:pt x="2476" y="222"/>
                        <a:pt x="2416" y="222"/>
                        <a:pt x="2416" y="230"/>
                      </a:cubicBezTo>
                      <a:cubicBezTo>
                        <a:pt x="2416" y="239"/>
                        <a:pt x="2435" y="241"/>
                        <a:pt x="2435" y="241"/>
                      </a:cubicBezTo>
                      <a:cubicBezTo>
                        <a:pt x="2436" y="253"/>
                        <a:pt x="2436" y="253"/>
                        <a:pt x="2436" y="253"/>
                      </a:cubicBezTo>
                      <a:cubicBezTo>
                        <a:pt x="2436" y="253"/>
                        <a:pt x="2486" y="258"/>
                        <a:pt x="2490" y="256"/>
                      </a:cubicBezTo>
                      <a:cubicBezTo>
                        <a:pt x="2494" y="254"/>
                        <a:pt x="2506" y="255"/>
                        <a:pt x="2512" y="255"/>
                      </a:cubicBezTo>
                      <a:cubicBezTo>
                        <a:pt x="2510" y="263"/>
                        <a:pt x="2508" y="274"/>
                        <a:pt x="2508" y="274"/>
                      </a:cubicBezTo>
                      <a:cubicBezTo>
                        <a:pt x="2471" y="301"/>
                        <a:pt x="2471" y="301"/>
                        <a:pt x="2471" y="301"/>
                      </a:cubicBezTo>
                      <a:cubicBezTo>
                        <a:pt x="2485" y="307"/>
                        <a:pt x="2485" y="307"/>
                        <a:pt x="2485" y="307"/>
                      </a:cubicBezTo>
                      <a:cubicBezTo>
                        <a:pt x="2485" y="307"/>
                        <a:pt x="2461" y="322"/>
                        <a:pt x="2473" y="322"/>
                      </a:cubicBezTo>
                      <a:cubicBezTo>
                        <a:pt x="2485" y="322"/>
                        <a:pt x="2503" y="312"/>
                        <a:pt x="2503" y="312"/>
                      </a:cubicBezTo>
                      <a:cubicBezTo>
                        <a:pt x="2503" y="312"/>
                        <a:pt x="2494" y="325"/>
                        <a:pt x="2513" y="324"/>
                      </a:cubicBezTo>
                      <a:cubicBezTo>
                        <a:pt x="2532" y="323"/>
                        <a:pt x="2568" y="311"/>
                        <a:pt x="2568" y="311"/>
                      </a:cubicBezTo>
                      <a:cubicBezTo>
                        <a:pt x="2569" y="325"/>
                        <a:pt x="2569" y="325"/>
                        <a:pt x="2569" y="325"/>
                      </a:cubicBezTo>
                      <a:cubicBezTo>
                        <a:pt x="2614" y="322"/>
                        <a:pt x="2614" y="322"/>
                        <a:pt x="2614" y="322"/>
                      </a:cubicBezTo>
                      <a:cubicBezTo>
                        <a:pt x="2667" y="332"/>
                        <a:pt x="2667" y="332"/>
                        <a:pt x="2667" y="332"/>
                      </a:cubicBezTo>
                      <a:cubicBezTo>
                        <a:pt x="2731" y="327"/>
                        <a:pt x="2731" y="327"/>
                        <a:pt x="2731" y="327"/>
                      </a:cubicBezTo>
                      <a:cubicBezTo>
                        <a:pt x="2749" y="312"/>
                        <a:pt x="2749" y="312"/>
                        <a:pt x="2749" y="312"/>
                      </a:cubicBezTo>
                      <a:cubicBezTo>
                        <a:pt x="2749" y="312"/>
                        <a:pt x="2738" y="326"/>
                        <a:pt x="2751" y="327"/>
                      </a:cubicBezTo>
                      <a:cubicBezTo>
                        <a:pt x="2764" y="328"/>
                        <a:pt x="2839" y="326"/>
                        <a:pt x="2839" y="326"/>
                      </a:cubicBezTo>
                      <a:cubicBezTo>
                        <a:pt x="2846" y="312"/>
                        <a:pt x="2846" y="312"/>
                        <a:pt x="2846" y="312"/>
                      </a:cubicBezTo>
                      <a:cubicBezTo>
                        <a:pt x="2890" y="294"/>
                        <a:pt x="2890" y="294"/>
                        <a:pt x="2890" y="294"/>
                      </a:cubicBezTo>
                      <a:cubicBezTo>
                        <a:pt x="2879" y="290"/>
                        <a:pt x="2879" y="290"/>
                        <a:pt x="2879" y="290"/>
                      </a:cubicBezTo>
                      <a:cubicBezTo>
                        <a:pt x="2879" y="281"/>
                        <a:pt x="2879" y="281"/>
                        <a:pt x="2879" y="281"/>
                      </a:cubicBezTo>
                      <a:cubicBezTo>
                        <a:pt x="2879" y="281"/>
                        <a:pt x="2834" y="270"/>
                        <a:pt x="2818" y="270"/>
                      </a:cubicBezTo>
                      <a:cubicBezTo>
                        <a:pt x="2802" y="270"/>
                        <a:pt x="2681" y="294"/>
                        <a:pt x="2681" y="294"/>
                      </a:cubicBezTo>
                      <a:cubicBezTo>
                        <a:pt x="2681" y="294"/>
                        <a:pt x="2666" y="283"/>
                        <a:pt x="2658" y="282"/>
                      </a:cubicBezTo>
                      <a:cubicBezTo>
                        <a:pt x="2651" y="281"/>
                        <a:pt x="2621" y="294"/>
                        <a:pt x="2621" y="294"/>
                      </a:cubicBezTo>
                      <a:cubicBezTo>
                        <a:pt x="2608" y="280"/>
                        <a:pt x="2608" y="280"/>
                        <a:pt x="2608" y="280"/>
                      </a:cubicBezTo>
                      <a:cubicBezTo>
                        <a:pt x="2596" y="286"/>
                        <a:pt x="2596" y="286"/>
                        <a:pt x="2596" y="286"/>
                      </a:cubicBezTo>
                      <a:cubicBezTo>
                        <a:pt x="2574" y="282"/>
                        <a:pt x="2574" y="282"/>
                        <a:pt x="2574" y="282"/>
                      </a:cubicBezTo>
                      <a:cubicBezTo>
                        <a:pt x="2596" y="274"/>
                        <a:pt x="2596" y="274"/>
                        <a:pt x="2596" y="274"/>
                      </a:cubicBezTo>
                      <a:cubicBezTo>
                        <a:pt x="2583" y="268"/>
                        <a:pt x="2583" y="268"/>
                        <a:pt x="2583" y="268"/>
                      </a:cubicBezTo>
                      <a:cubicBezTo>
                        <a:pt x="2546" y="272"/>
                        <a:pt x="2546" y="272"/>
                        <a:pt x="2546" y="272"/>
                      </a:cubicBezTo>
                      <a:cubicBezTo>
                        <a:pt x="2570" y="265"/>
                        <a:pt x="2570" y="265"/>
                        <a:pt x="2570" y="265"/>
                      </a:cubicBezTo>
                      <a:cubicBezTo>
                        <a:pt x="2569" y="260"/>
                        <a:pt x="2569" y="260"/>
                        <a:pt x="2569" y="260"/>
                      </a:cubicBezTo>
                      <a:cubicBezTo>
                        <a:pt x="2615" y="259"/>
                        <a:pt x="2615" y="259"/>
                        <a:pt x="2615" y="259"/>
                      </a:cubicBezTo>
                      <a:cubicBezTo>
                        <a:pt x="2592" y="251"/>
                        <a:pt x="2592" y="251"/>
                        <a:pt x="2592" y="251"/>
                      </a:cubicBezTo>
                      <a:cubicBezTo>
                        <a:pt x="2576" y="251"/>
                        <a:pt x="2576" y="251"/>
                        <a:pt x="2576" y="251"/>
                      </a:cubicBezTo>
                      <a:cubicBezTo>
                        <a:pt x="2576" y="251"/>
                        <a:pt x="2588" y="241"/>
                        <a:pt x="2578" y="240"/>
                      </a:cubicBezTo>
                      <a:cubicBezTo>
                        <a:pt x="2570" y="239"/>
                        <a:pt x="2539" y="241"/>
                        <a:pt x="2523" y="244"/>
                      </a:cubicBezTo>
                      <a:cubicBezTo>
                        <a:pt x="2521" y="237"/>
                        <a:pt x="2492" y="226"/>
                        <a:pt x="2488" y="226"/>
                      </a:cubicBezTo>
                      <a:close/>
                      <a:moveTo>
                        <a:pt x="2173" y="281"/>
                      </a:moveTo>
                      <a:cubicBezTo>
                        <a:pt x="2182" y="281"/>
                        <a:pt x="2226" y="288"/>
                        <a:pt x="2226" y="288"/>
                      </a:cubicBezTo>
                      <a:cubicBezTo>
                        <a:pt x="2226" y="288"/>
                        <a:pt x="2202" y="308"/>
                        <a:pt x="2217" y="308"/>
                      </a:cubicBezTo>
                      <a:cubicBezTo>
                        <a:pt x="2232" y="308"/>
                        <a:pt x="2270" y="308"/>
                        <a:pt x="2270" y="308"/>
                      </a:cubicBezTo>
                      <a:cubicBezTo>
                        <a:pt x="2284" y="308"/>
                        <a:pt x="2309" y="302"/>
                        <a:pt x="2305" y="294"/>
                      </a:cubicBezTo>
                      <a:cubicBezTo>
                        <a:pt x="2301" y="285"/>
                        <a:pt x="2341" y="282"/>
                        <a:pt x="2339" y="273"/>
                      </a:cubicBezTo>
                      <a:cubicBezTo>
                        <a:pt x="2338" y="265"/>
                        <a:pt x="2376" y="259"/>
                        <a:pt x="2362" y="247"/>
                      </a:cubicBezTo>
                      <a:cubicBezTo>
                        <a:pt x="2348" y="236"/>
                        <a:pt x="2329" y="244"/>
                        <a:pt x="2329" y="244"/>
                      </a:cubicBezTo>
                      <a:cubicBezTo>
                        <a:pt x="2329" y="244"/>
                        <a:pt x="2282" y="229"/>
                        <a:pt x="2279" y="238"/>
                      </a:cubicBezTo>
                      <a:cubicBezTo>
                        <a:pt x="2276" y="246"/>
                        <a:pt x="2276" y="267"/>
                        <a:pt x="2276" y="267"/>
                      </a:cubicBezTo>
                      <a:cubicBezTo>
                        <a:pt x="2276" y="267"/>
                        <a:pt x="2255" y="242"/>
                        <a:pt x="2244" y="251"/>
                      </a:cubicBezTo>
                      <a:cubicBezTo>
                        <a:pt x="2232" y="259"/>
                        <a:pt x="2222" y="283"/>
                        <a:pt x="2213" y="276"/>
                      </a:cubicBezTo>
                      <a:cubicBezTo>
                        <a:pt x="2205" y="270"/>
                        <a:pt x="2200" y="245"/>
                        <a:pt x="2191" y="243"/>
                      </a:cubicBezTo>
                      <a:cubicBezTo>
                        <a:pt x="2181" y="241"/>
                        <a:pt x="2155" y="243"/>
                        <a:pt x="2156" y="256"/>
                      </a:cubicBezTo>
                      <a:cubicBezTo>
                        <a:pt x="2157" y="269"/>
                        <a:pt x="2165" y="281"/>
                        <a:pt x="2173" y="281"/>
                      </a:cubicBezTo>
                      <a:close/>
                      <a:moveTo>
                        <a:pt x="2477" y="192"/>
                      </a:moveTo>
                      <a:cubicBezTo>
                        <a:pt x="2487" y="195"/>
                        <a:pt x="2490" y="205"/>
                        <a:pt x="2490" y="205"/>
                      </a:cubicBezTo>
                      <a:cubicBezTo>
                        <a:pt x="2490" y="205"/>
                        <a:pt x="2532" y="202"/>
                        <a:pt x="2552" y="201"/>
                      </a:cubicBezTo>
                      <a:cubicBezTo>
                        <a:pt x="2571" y="200"/>
                        <a:pt x="2528" y="189"/>
                        <a:pt x="2528" y="189"/>
                      </a:cubicBezTo>
                      <a:cubicBezTo>
                        <a:pt x="2528" y="189"/>
                        <a:pt x="2537" y="179"/>
                        <a:pt x="2547" y="177"/>
                      </a:cubicBezTo>
                      <a:cubicBezTo>
                        <a:pt x="2558" y="175"/>
                        <a:pt x="2518" y="162"/>
                        <a:pt x="2488" y="156"/>
                      </a:cubicBezTo>
                      <a:cubicBezTo>
                        <a:pt x="2488" y="156"/>
                        <a:pt x="2464" y="160"/>
                        <a:pt x="2460" y="164"/>
                      </a:cubicBezTo>
                      <a:cubicBezTo>
                        <a:pt x="2456" y="169"/>
                        <a:pt x="2468" y="190"/>
                        <a:pt x="2477" y="192"/>
                      </a:cubicBezTo>
                      <a:close/>
                      <a:moveTo>
                        <a:pt x="2188" y="339"/>
                      </a:moveTo>
                      <a:cubicBezTo>
                        <a:pt x="2188" y="339"/>
                        <a:pt x="2127" y="341"/>
                        <a:pt x="2093" y="352"/>
                      </a:cubicBezTo>
                      <a:cubicBezTo>
                        <a:pt x="2060" y="363"/>
                        <a:pt x="2112" y="372"/>
                        <a:pt x="2101" y="385"/>
                      </a:cubicBezTo>
                      <a:cubicBezTo>
                        <a:pt x="2090" y="399"/>
                        <a:pt x="2068" y="364"/>
                        <a:pt x="2030" y="380"/>
                      </a:cubicBezTo>
                      <a:cubicBezTo>
                        <a:pt x="2042" y="405"/>
                        <a:pt x="2042" y="405"/>
                        <a:pt x="2042" y="405"/>
                      </a:cubicBezTo>
                      <a:cubicBezTo>
                        <a:pt x="2042" y="405"/>
                        <a:pt x="2048" y="415"/>
                        <a:pt x="2065" y="418"/>
                      </a:cubicBezTo>
                      <a:cubicBezTo>
                        <a:pt x="2083" y="421"/>
                        <a:pt x="2082" y="456"/>
                        <a:pt x="2082" y="456"/>
                      </a:cubicBezTo>
                      <a:cubicBezTo>
                        <a:pt x="2082" y="456"/>
                        <a:pt x="2152" y="447"/>
                        <a:pt x="2174" y="442"/>
                      </a:cubicBezTo>
                      <a:cubicBezTo>
                        <a:pt x="2196" y="436"/>
                        <a:pt x="2196" y="395"/>
                        <a:pt x="2196" y="395"/>
                      </a:cubicBezTo>
                      <a:cubicBezTo>
                        <a:pt x="2152" y="385"/>
                        <a:pt x="2152" y="385"/>
                        <a:pt x="2152" y="385"/>
                      </a:cubicBezTo>
                      <a:cubicBezTo>
                        <a:pt x="2152" y="385"/>
                        <a:pt x="2205" y="367"/>
                        <a:pt x="2232" y="358"/>
                      </a:cubicBezTo>
                      <a:cubicBezTo>
                        <a:pt x="2258" y="348"/>
                        <a:pt x="2188" y="339"/>
                        <a:pt x="2188" y="339"/>
                      </a:cubicBezTo>
                      <a:close/>
                      <a:moveTo>
                        <a:pt x="1929" y="499"/>
                      </a:moveTo>
                      <a:cubicBezTo>
                        <a:pt x="1927" y="493"/>
                        <a:pt x="1862" y="494"/>
                        <a:pt x="1862" y="494"/>
                      </a:cubicBezTo>
                      <a:cubicBezTo>
                        <a:pt x="1915" y="466"/>
                        <a:pt x="1915" y="466"/>
                        <a:pt x="1915" y="466"/>
                      </a:cubicBezTo>
                      <a:cubicBezTo>
                        <a:pt x="1915" y="466"/>
                        <a:pt x="1947" y="392"/>
                        <a:pt x="1918" y="383"/>
                      </a:cubicBezTo>
                      <a:cubicBezTo>
                        <a:pt x="1891" y="375"/>
                        <a:pt x="1852" y="393"/>
                        <a:pt x="1852" y="393"/>
                      </a:cubicBezTo>
                      <a:cubicBezTo>
                        <a:pt x="1852" y="393"/>
                        <a:pt x="1826" y="447"/>
                        <a:pt x="1802" y="450"/>
                      </a:cubicBezTo>
                      <a:cubicBezTo>
                        <a:pt x="1778" y="453"/>
                        <a:pt x="1818" y="413"/>
                        <a:pt x="1816" y="403"/>
                      </a:cubicBezTo>
                      <a:cubicBezTo>
                        <a:pt x="1814" y="393"/>
                        <a:pt x="1750" y="392"/>
                        <a:pt x="1750" y="392"/>
                      </a:cubicBezTo>
                      <a:cubicBezTo>
                        <a:pt x="1744" y="405"/>
                        <a:pt x="1744" y="405"/>
                        <a:pt x="1744" y="405"/>
                      </a:cubicBezTo>
                      <a:cubicBezTo>
                        <a:pt x="1744" y="405"/>
                        <a:pt x="1708" y="420"/>
                        <a:pt x="1671" y="423"/>
                      </a:cubicBezTo>
                      <a:cubicBezTo>
                        <a:pt x="1635" y="425"/>
                        <a:pt x="1687" y="412"/>
                        <a:pt x="1723" y="400"/>
                      </a:cubicBezTo>
                      <a:cubicBezTo>
                        <a:pt x="1761" y="388"/>
                        <a:pt x="1704" y="386"/>
                        <a:pt x="1704" y="386"/>
                      </a:cubicBezTo>
                      <a:cubicBezTo>
                        <a:pt x="1664" y="398"/>
                        <a:pt x="1664" y="398"/>
                        <a:pt x="1664" y="398"/>
                      </a:cubicBezTo>
                      <a:cubicBezTo>
                        <a:pt x="1636" y="401"/>
                        <a:pt x="1636" y="401"/>
                        <a:pt x="1636" y="401"/>
                      </a:cubicBezTo>
                      <a:cubicBezTo>
                        <a:pt x="1636" y="401"/>
                        <a:pt x="1651" y="391"/>
                        <a:pt x="1667" y="380"/>
                      </a:cubicBezTo>
                      <a:cubicBezTo>
                        <a:pt x="1682" y="369"/>
                        <a:pt x="1663" y="371"/>
                        <a:pt x="1663" y="371"/>
                      </a:cubicBezTo>
                      <a:cubicBezTo>
                        <a:pt x="1564" y="402"/>
                        <a:pt x="1564" y="402"/>
                        <a:pt x="1564" y="402"/>
                      </a:cubicBezTo>
                      <a:cubicBezTo>
                        <a:pt x="1550" y="403"/>
                        <a:pt x="1550" y="403"/>
                        <a:pt x="1550" y="403"/>
                      </a:cubicBezTo>
                      <a:cubicBezTo>
                        <a:pt x="1494" y="420"/>
                        <a:pt x="1494" y="420"/>
                        <a:pt x="1494" y="420"/>
                      </a:cubicBezTo>
                      <a:cubicBezTo>
                        <a:pt x="1496" y="428"/>
                        <a:pt x="1496" y="428"/>
                        <a:pt x="1496" y="428"/>
                      </a:cubicBezTo>
                      <a:cubicBezTo>
                        <a:pt x="1456" y="443"/>
                        <a:pt x="1456" y="443"/>
                        <a:pt x="1456" y="443"/>
                      </a:cubicBezTo>
                      <a:cubicBezTo>
                        <a:pt x="1447" y="453"/>
                        <a:pt x="1447" y="453"/>
                        <a:pt x="1447" y="453"/>
                      </a:cubicBezTo>
                      <a:cubicBezTo>
                        <a:pt x="1465" y="461"/>
                        <a:pt x="1465" y="461"/>
                        <a:pt x="1465" y="461"/>
                      </a:cubicBezTo>
                      <a:cubicBezTo>
                        <a:pt x="1465" y="461"/>
                        <a:pt x="1487" y="446"/>
                        <a:pt x="1492" y="458"/>
                      </a:cubicBezTo>
                      <a:cubicBezTo>
                        <a:pt x="1497" y="470"/>
                        <a:pt x="1451" y="464"/>
                        <a:pt x="1440" y="483"/>
                      </a:cubicBezTo>
                      <a:cubicBezTo>
                        <a:pt x="1428" y="503"/>
                        <a:pt x="1587" y="484"/>
                        <a:pt x="1565" y="502"/>
                      </a:cubicBezTo>
                      <a:cubicBezTo>
                        <a:pt x="1544" y="519"/>
                        <a:pt x="1417" y="508"/>
                        <a:pt x="1406" y="525"/>
                      </a:cubicBezTo>
                      <a:cubicBezTo>
                        <a:pt x="1395" y="542"/>
                        <a:pt x="1427" y="540"/>
                        <a:pt x="1450" y="552"/>
                      </a:cubicBezTo>
                      <a:cubicBezTo>
                        <a:pt x="1473" y="564"/>
                        <a:pt x="1438" y="557"/>
                        <a:pt x="1434" y="574"/>
                      </a:cubicBezTo>
                      <a:cubicBezTo>
                        <a:pt x="1430" y="590"/>
                        <a:pt x="1533" y="582"/>
                        <a:pt x="1533" y="582"/>
                      </a:cubicBezTo>
                      <a:cubicBezTo>
                        <a:pt x="1533" y="582"/>
                        <a:pt x="1702" y="566"/>
                        <a:pt x="1741" y="554"/>
                      </a:cubicBezTo>
                      <a:cubicBezTo>
                        <a:pt x="1768" y="545"/>
                        <a:pt x="1819" y="583"/>
                        <a:pt x="1851" y="586"/>
                      </a:cubicBezTo>
                      <a:cubicBezTo>
                        <a:pt x="1884" y="588"/>
                        <a:pt x="1895" y="551"/>
                        <a:pt x="1895" y="551"/>
                      </a:cubicBezTo>
                      <a:cubicBezTo>
                        <a:pt x="1843" y="550"/>
                        <a:pt x="1843" y="550"/>
                        <a:pt x="1843" y="550"/>
                      </a:cubicBezTo>
                      <a:cubicBezTo>
                        <a:pt x="1865" y="533"/>
                        <a:pt x="1865" y="533"/>
                        <a:pt x="1865" y="533"/>
                      </a:cubicBezTo>
                      <a:cubicBezTo>
                        <a:pt x="1865" y="533"/>
                        <a:pt x="1897" y="539"/>
                        <a:pt x="1929" y="532"/>
                      </a:cubicBezTo>
                      <a:cubicBezTo>
                        <a:pt x="1962" y="525"/>
                        <a:pt x="1931" y="506"/>
                        <a:pt x="1929" y="499"/>
                      </a:cubicBezTo>
                      <a:close/>
                      <a:moveTo>
                        <a:pt x="1909" y="590"/>
                      </a:moveTo>
                      <a:cubicBezTo>
                        <a:pt x="1941" y="591"/>
                        <a:pt x="1947" y="573"/>
                        <a:pt x="1925" y="574"/>
                      </a:cubicBezTo>
                      <a:cubicBezTo>
                        <a:pt x="1903" y="574"/>
                        <a:pt x="1909" y="590"/>
                        <a:pt x="1909" y="590"/>
                      </a:cubicBezTo>
                      <a:close/>
                      <a:moveTo>
                        <a:pt x="2183" y="224"/>
                      </a:moveTo>
                      <a:cubicBezTo>
                        <a:pt x="2201" y="221"/>
                        <a:pt x="2202" y="193"/>
                        <a:pt x="2187" y="193"/>
                      </a:cubicBezTo>
                      <a:cubicBezTo>
                        <a:pt x="2173" y="193"/>
                        <a:pt x="2166" y="226"/>
                        <a:pt x="2183" y="224"/>
                      </a:cubicBezTo>
                      <a:close/>
                      <a:moveTo>
                        <a:pt x="2307" y="155"/>
                      </a:moveTo>
                      <a:cubicBezTo>
                        <a:pt x="2307" y="155"/>
                        <a:pt x="2289" y="172"/>
                        <a:pt x="2303" y="173"/>
                      </a:cubicBezTo>
                      <a:cubicBezTo>
                        <a:pt x="2317" y="174"/>
                        <a:pt x="2349" y="175"/>
                        <a:pt x="2349" y="175"/>
                      </a:cubicBezTo>
                      <a:cubicBezTo>
                        <a:pt x="2349" y="175"/>
                        <a:pt x="2363" y="191"/>
                        <a:pt x="2380" y="191"/>
                      </a:cubicBezTo>
                      <a:cubicBezTo>
                        <a:pt x="2398" y="191"/>
                        <a:pt x="2411" y="177"/>
                        <a:pt x="2411" y="177"/>
                      </a:cubicBezTo>
                      <a:cubicBezTo>
                        <a:pt x="2402" y="169"/>
                        <a:pt x="2402" y="169"/>
                        <a:pt x="2402" y="169"/>
                      </a:cubicBezTo>
                      <a:cubicBezTo>
                        <a:pt x="2423" y="165"/>
                        <a:pt x="2423" y="165"/>
                        <a:pt x="2423" y="165"/>
                      </a:cubicBezTo>
                      <a:cubicBezTo>
                        <a:pt x="2393" y="143"/>
                        <a:pt x="2393" y="143"/>
                        <a:pt x="2393" y="143"/>
                      </a:cubicBezTo>
                      <a:cubicBezTo>
                        <a:pt x="2365" y="147"/>
                        <a:pt x="2365" y="147"/>
                        <a:pt x="2365" y="147"/>
                      </a:cubicBezTo>
                      <a:cubicBezTo>
                        <a:pt x="2355" y="132"/>
                        <a:pt x="2355" y="132"/>
                        <a:pt x="2355" y="132"/>
                      </a:cubicBezTo>
                      <a:cubicBezTo>
                        <a:pt x="2336" y="132"/>
                        <a:pt x="2336" y="132"/>
                        <a:pt x="2336" y="132"/>
                      </a:cubicBezTo>
                      <a:cubicBezTo>
                        <a:pt x="2314" y="132"/>
                        <a:pt x="2279" y="132"/>
                        <a:pt x="2278" y="144"/>
                      </a:cubicBezTo>
                      <a:cubicBezTo>
                        <a:pt x="2277" y="156"/>
                        <a:pt x="2307" y="155"/>
                        <a:pt x="2307" y="155"/>
                      </a:cubicBezTo>
                      <a:close/>
                      <a:moveTo>
                        <a:pt x="2285" y="872"/>
                      </a:moveTo>
                      <a:cubicBezTo>
                        <a:pt x="2230" y="922"/>
                        <a:pt x="2320" y="886"/>
                        <a:pt x="2320" y="886"/>
                      </a:cubicBezTo>
                      <a:cubicBezTo>
                        <a:pt x="2366" y="843"/>
                        <a:pt x="2339" y="821"/>
                        <a:pt x="2285" y="872"/>
                      </a:cubicBezTo>
                      <a:close/>
                      <a:moveTo>
                        <a:pt x="2943" y="929"/>
                      </a:moveTo>
                      <a:cubicBezTo>
                        <a:pt x="2953" y="921"/>
                        <a:pt x="2946" y="918"/>
                        <a:pt x="2946" y="918"/>
                      </a:cubicBezTo>
                      <a:cubicBezTo>
                        <a:pt x="2946" y="918"/>
                        <a:pt x="2924" y="913"/>
                        <a:pt x="2921" y="922"/>
                      </a:cubicBezTo>
                      <a:cubicBezTo>
                        <a:pt x="2921" y="922"/>
                        <a:pt x="2932" y="936"/>
                        <a:pt x="2943" y="929"/>
                      </a:cubicBezTo>
                      <a:close/>
                      <a:moveTo>
                        <a:pt x="2077" y="1360"/>
                      </a:moveTo>
                      <a:cubicBezTo>
                        <a:pt x="2105" y="1356"/>
                        <a:pt x="2070" y="1342"/>
                        <a:pt x="2070" y="1342"/>
                      </a:cubicBezTo>
                      <a:cubicBezTo>
                        <a:pt x="2026" y="1351"/>
                        <a:pt x="2048" y="1363"/>
                        <a:pt x="2077" y="1360"/>
                      </a:cubicBezTo>
                      <a:close/>
                      <a:moveTo>
                        <a:pt x="3172" y="665"/>
                      </a:moveTo>
                      <a:cubicBezTo>
                        <a:pt x="3167" y="669"/>
                        <a:pt x="3155" y="660"/>
                        <a:pt x="3155" y="660"/>
                      </a:cubicBezTo>
                      <a:cubicBezTo>
                        <a:pt x="3133" y="673"/>
                        <a:pt x="3133" y="673"/>
                        <a:pt x="3133" y="673"/>
                      </a:cubicBezTo>
                      <a:cubicBezTo>
                        <a:pt x="3135" y="656"/>
                        <a:pt x="3135" y="656"/>
                        <a:pt x="3135" y="656"/>
                      </a:cubicBezTo>
                      <a:cubicBezTo>
                        <a:pt x="3107" y="656"/>
                        <a:pt x="3107" y="656"/>
                        <a:pt x="3107" y="656"/>
                      </a:cubicBezTo>
                      <a:cubicBezTo>
                        <a:pt x="3107" y="656"/>
                        <a:pt x="3139" y="646"/>
                        <a:pt x="3133" y="636"/>
                      </a:cubicBezTo>
                      <a:cubicBezTo>
                        <a:pt x="3128" y="625"/>
                        <a:pt x="3079" y="624"/>
                        <a:pt x="3079" y="624"/>
                      </a:cubicBezTo>
                      <a:cubicBezTo>
                        <a:pt x="3073" y="613"/>
                        <a:pt x="3073" y="613"/>
                        <a:pt x="3073" y="613"/>
                      </a:cubicBezTo>
                      <a:cubicBezTo>
                        <a:pt x="3041" y="612"/>
                        <a:pt x="3041" y="612"/>
                        <a:pt x="3041" y="612"/>
                      </a:cubicBezTo>
                      <a:cubicBezTo>
                        <a:pt x="2997" y="581"/>
                        <a:pt x="2997" y="581"/>
                        <a:pt x="2997" y="581"/>
                      </a:cubicBezTo>
                      <a:cubicBezTo>
                        <a:pt x="3044" y="578"/>
                        <a:pt x="3044" y="578"/>
                        <a:pt x="3044" y="578"/>
                      </a:cubicBezTo>
                      <a:cubicBezTo>
                        <a:pt x="3024" y="564"/>
                        <a:pt x="3024" y="564"/>
                        <a:pt x="3024" y="564"/>
                      </a:cubicBezTo>
                      <a:cubicBezTo>
                        <a:pt x="3024" y="564"/>
                        <a:pt x="3037" y="560"/>
                        <a:pt x="3041" y="560"/>
                      </a:cubicBezTo>
                      <a:cubicBezTo>
                        <a:pt x="3045" y="560"/>
                        <a:pt x="3097" y="572"/>
                        <a:pt x="3091" y="558"/>
                      </a:cubicBezTo>
                      <a:cubicBezTo>
                        <a:pt x="3084" y="545"/>
                        <a:pt x="3029" y="548"/>
                        <a:pt x="3029" y="548"/>
                      </a:cubicBezTo>
                      <a:cubicBezTo>
                        <a:pt x="3011" y="546"/>
                        <a:pt x="3011" y="546"/>
                        <a:pt x="3011" y="546"/>
                      </a:cubicBezTo>
                      <a:cubicBezTo>
                        <a:pt x="3011" y="546"/>
                        <a:pt x="3088" y="544"/>
                        <a:pt x="3091" y="534"/>
                      </a:cubicBezTo>
                      <a:cubicBezTo>
                        <a:pt x="3093" y="525"/>
                        <a:pt x="3069" y="525"/>
                        <a:pt x="3069" y="525"/>
                      </a:cubicBezTo>
                      <a:cubicBezTo>
                        <a:pt x="3000" y="536"/>
                        <a:pt x="3000" y="536"/>
                        <a:pt x="3000" y="536"/>
                      </a:cubicBezTo>
                      <a:cubicBezTo>
                        <a:pt x="3040" y="512"/>
                        <a:pt x="3040" y="512"/>
                        <a:pt x="3040" y="512"/>
                      </a:cubicBezTo>
                      <a:cubicBezTo>
                        <a:pt x="3040" y="512"/>
                        <a:pt x="3093" y="518"/>
                        <a:pt x="3077" y="504"/>
                      </a:cubicBezTo>
                      <a:cubicBezTo>
                        <a:pt x="3061" y="489"/>
                        <a:pt x="3035" y="489"/>
                        <a:pt x="3035" y="489"/>
                      </a:cubicBezTo>
                      <a:cubicBezTo>
                        <a:pt x="3009" y="504"/>
                        <a:pt x="3009" y="504"/>
                        <a:pt x="3009" y="504"/>
                      </a:cubicBezTo>
                      <a:cubicBezTo>
                        <a:pt x="2999" y="500"/>
                        <a:pt x="2999" y="500"/>
                        <a:pt x="2999" y="500"/>
                      </a:cubicBezTo>
                      <a:cubicBezTo>
                        <a:pt x="2971" y="520"/>
                        <a:pt x="2971" y="520"/>
                        <a:pt x="2971" y="520"/>
                      </a:cubicBezTo>
                      <a:cubicBezTo>
                        <a:pt x="2973" y="505"/>
                        <a:pt x="2973" y="505"/>
                        <a:pt x="2973" y="505"/>
                      </a:cubicBezTo>
                      <a:cubicBezTo>
                        <a:pt x="2959" y="517"/>
                        <a:pt x="2959" y="517"/>
                        <a:pt x="2959" y="517"/>
                      </a:cubicBezTo>
                      <a:cubicBezTo>
                        <a:pt x="2973" y="497"/>
                        <a:pt x="2973" y="497"/>
                        <a:pt x="2973" y="497"/>
                      </a:cubicBezTo>
                      <a:cubicBezTo>
                        <a:pt x="2973" y="497"/>
                        <a:pt x="2993" y="502"/>
                        <a:pt x="3003" y="493"/>
                      </a:cubicBezTo>
                      <a:cubicBezTo>
                        <a:pt x="3012" y="484"/>
                        <a:pt x="3012" y="470"/>
                        <a:pt x="3005" y="472"/>
                      </a:cubicBezTo>
                      <a:cubicBezTo>
                        <a:pt x="2999" y="473"/>
                        <a:pt x="2991" y="485"/>
                        <a:pt x="2991" y="485"/>
                      </a:cubicBezTo>
                      <a:cubicBezTo>
                        <a:pt x="2967" y="486"/>
                        <a:pt x="2967" y="486"/>
                        <a:pt x="2967" y="486"/>
                      </a:cubicBezTo>
                      <a:cubicBezTo>
                        <a:pt x="2952" y="493"/>
                        <a:pt x="2952" y="493"/>
                        <a:pt x="2952" y="493"/>
                      </a:cubicBezTo>
                      <a:cubicBezTo>
                        <a:pt x="2968" y="474"/>
                        <a:pt x="2968" y="474"/>
                        <a:pt x="2968" y="474"/>
                      </a:cubicBezTo>
                      <a:cubicBezTo>
                        <a:pt x="2988" y="474"/>
                        <a:pt x="2988" y="474"/>
                        <a:pt x="2988" y="474"/>
                      </a:cubicBezTo>
                      <a:cubicBezTo>
                        <a:pt x="2988" y="474"/>
                        <a:pt x="3012" y="465"/>
                        <a:pt x="2999" y="457"/>
                      </a:cubicBezTo>
                      <a:cubicBezTo>
                        <a:pt x="2985" y="449"/>
                        <a:pt x="2941" y="469"/>
                        <a:pt x="2941" y="469"/>
                      </a:cubicBezTo>
                      <a:cubicBezTo>
                        <a:pt x="2933" y="460"/>
                        <a:pt x="2933" y="460"/>
                        <a:pt x="2933" y="460"/>
                      </a:cubicBezTo>
                      <a:cubicBezTo>
                        <a:pt x="2917" y="472"/>
                        <a:pt x="2917" y="472"/>
                        <a:pt x="2917" y="472"/>
                      </a:cubicBezTo>
                      <a:cubicBezTo>
                        <a:pt x="2932" y="452"/>
                        <a:pt x="2932" y="452"/>
                        <a:pt x="2932" y="452"/>
                      </a:cubicBezTo>
                      <a:cubicBezTo>
                        <a:pt x="2895" y="465"/>
                        <a:pt x="2895" y="465"/>
                        <a:pt x="2895" y="465"/>
                      </a:cubicBezTo>
                      <a:cubicBezTo>
                        <a:pt x="2895" y="450"/>
                        <a:pt x="2895" y="450"/>
                        <a:pt x="2895" y="450"/>
                      </a:cubicBezTo>
                      <a:cubicBezTo>
                        <a:pt x="2895" y="450"/>
                        <a:pt x="2931" y="441"/>
                        <a:pt x="2931" y="437"/>
                      </a:cubicBezTo>
                      <a:cubicBezTo>
                        <a:pt x="2931" y="433"/>
                        <a:pt x="2881" y="442"/>
                        <a:pt x="2881" y="442"/>
                      </a:cubicBezTo>
                      <a:cubicBezTo>
                        <a:pt x="2880" y="434"/>
                        <a:pt x="2880" y="434"/>
                        <a:pt x="2880" y="434"/>
                      </a:cubicBezTo>
                      <a:cubicBezTo>
                        <a:pt x="2880" y="434"/>
                        <a:pt x="2928" y="424"/>
                        <a:pt x="2923" y="417"/>
                      </a:cubicBezTo>
                      <a:cubicBezTo>
                        <a:pt x="2917" y="410"/>
                        <a:pt x="2852" y="409"/>
                        <a:pt x="2844" y="406"/>
                      </a:cubicBezTo>
                      <a:cubicBezTo>
                        <a:pt x="2836" y="404"/>
                        <a:pt x="2820" y="406"/>
                        <a:pt x="2819" y="410"/>
                      </a:cubicBezTo>
                      <a:cubicBezTo>
                        <a:pt x="2817" y="414"/>
                        <a:pt x="2828" y="428"/>
                        <a:pt x="2828" y="428"/>
                      </a:cubicBezTo>
                      <a:cubicBezTo>
                        <a:pt x="2804" y="424"/>
                        <a:pt x="2804" y="424"/>
                        <a:pt x="2804" y="424"/>
                      </a:cubicBezTo>
                      <a:cubicBezTo>
                        <a:pt x="2807" y="442"/>
                        <a:pt x="2807" y="442"/>
                        <a:pt x="2807" y="442"/>
                      </a:cubicBezTo>
                      <a:cubicBezTo>
                        <a:pt x="2793" y="425"/>
                        <a:pt x="2793" y="425"/>
                        <a:pt x="2793" y="425"/>
                      </a:cubicBezTo>
                      <a:cubicBezTo>
                        <a:pt x="2768" y="441"/>
                        <a:pt x="2768" y="441"/>
                        <a:pt x="2768" y="441"/>
                      </a:cubicBezTo>
                      <a:cubicBezTo>
                        <a:pt x="2768" y="441"/>
                        <a:pt x="2773" y="426"/>
                        <a:pt x="2768" y="422"/>
                      </a:cubicBezTo>
                      <a:cubicBezTo>
                        <a:pt x="2763" y="418"/>
                        <a:pt x="2715" y="438"/>
                        <a:pt x="2715" y="438"/>
                      </a:cubicBezTo>
                      <a:cubicBezTo>
                        <a:pt x="2727" y="413"/>
                        <a:pt x="2727" y="413"/>
                        <a:pt x="2727" y="413"/>
                      </a:cubicBezTo>
                      <a:cubicBezTo>
                        <a:pt x="2727" y="413"/>
                        <a:pt x="2767" y="412"/>
                        <a:pt x="2767" y="402"/>
                      </a:cubicBezTo>
                      <a:cubicBezTo>
                        <a:pt x="2767" y="393"/>
                        <a:pt x="2753" y="381"/>
                        <a:pt x="2753" y="381"/>
                      </a:cubicBezTo>
                      <a:cubicBezTo>
                        <a:pt x="2753" y="381"/>
                        <a:pt x="2777" y="364"/>
                        <a:pt x="2761" y="361"/>
                      </a:cubicBezTo>
                      <a:cubicBezTo>
                        <a:pt x="2745" y="358"/>
                        <a:pt x="2699" y="362"/>
                        <a:pt x="2699" y="362"/>
                      </a:cubicBezTo>
                      <a:cubicBezTo>
                        <a:pt x="2684" y="373"/>
                        <a:pt x="2684" y="373"/>
                        <a:pt x="2684" y="373"/>
                      </a:cubicBezTo>
                      <a:cubicBezTo>
                        <a:pt x="2625" y="374"/>
                        <a:pt x="2625" y="374"/>
                        <a:pt x="2625" y="374"/>
                      </a:cubicBezTo>
                      <a:cubicBezTo>
                        <a:pt x="2632" y="385"/>
                        <a:pt x="2632" y="385"/>
                        <a:pt x="2632" y="385"/>
                      </a:cubicBezTo>
                      <a:cubicBezTo>
                        <a:pt x="2652" y="393"/>
                        <a:pt x="2652" y="393"/>
                        <a:pt x="2652" y="393"/>
                      </a:cubicBezTo>
                      <a:cubicBezTo>
                        <a:pt x="2623" y="385"/>
                        <a:pt x="2623" y="385"/>
                        <a:pt x="2623" y="385"/>
                      </a:cubicBezTo>
                      <a:cubicBezTo>
                        <a:pt x="2629" y="401"/>
                        <a:pt x="2629" y="401"/>
                        <a:pt x="2629" y="401"/>
                      </a:cubicBezTo>
                      <a:cubicBezTo>
                        <a:pt x="2629" y="401"/>
                        <a:pt x="2597" y="388"/>
                        <a:pt x="2588" y="400"/>
                      </a:cubicBezTo>
                      <a:cubicBezTo>
                        <a:pt x="2579" y="412"/>
                        <a:pt x="2596" y="424"/>
                        <a:pt x="2596" y="424"/>
                      </a:cubicBezTo>
                      <a:cubicBezTo>
                        <a:pt x="2599" y="441"/>
                        <a:pt x="2599" y="441"/>
                        <a:pt x="2599" y="441"/>
                      </a:cubicBezTo>
                      <a:cubicBezTo>
                        <a:pt x="2599" y="441"/>
                        <a:pt x="2579" y="429"/>
                        <a:pt x="2568" y="432"/>
                      </a:cubicBezTo>
                      <a:cubicBezTo>
                        <a:pt x="2557" y="434"/>
                        <a:pt x="2543" y="453"/>
                        <a:pt x="2555" y="454"/>
                      </a:cubicBezTo>
                      <a:cubicBezTo>
                        <a:pt x="2567" y="456"/>
                        <a:pt x="2571" y="462"/>
                        <a:pt x="2571" y="462"/>
                      </a:cubicBezTo>
                      <a:cubicBezTo>
                        <a:pt x="2540" y="477"/>
                        <a:pt x="2540" y="477"/>
                        <a:pt x="2540" y="477"/>
                      </a:cubicBezTo>
                      <a:cubicBezTo>
                        <a:pt x="2500" y="481"/>
                        <a:pt x="2500" y="481"/>
                        <a:pt x="2500" y="481"/>
                      </a:cubicBezTo>
                      <a:cubicBezTo>
                        <a:pt x="2500" y="481"/>
                        <a:pt x="2539" y="473"/>
                        <a:pt x="2539" y="464"/>
                      </a:cubicBezTo>
                      <a:cubicBezTo>
                        <a:pt x="2539" y="454"/>
                        <a:pt x="2515" y="453"/>
                        <a:pt x="2525" y="440"/>
                      </a:cubicBezTo>
                      <a:cubicBezTo>
                        <a:pt x="2536" y="426"/>
                        <a:pt x="2549" y="425"/>
                        <a:pt x="2549" y="425"/>
                      </a:cubicBezTo>
                      <a:cubicBezTo>
                        <a:pt x="2549" y="406"/>
                        <a:pt x="2549" y="406"/>
                        <a:pt x="2549" y="406"/>
                      </a:cubicBezTo>
                      <a:cubicBezTo>
                        <a:pt x="2549" y="406"/>
                        <a:pt x="2584" y="384"/>
                        <a:pt x="2596" y="378"/>
                      </a:cubicBezTo>
                      <a:cubicBezTo>
                        <a:pt x="2608" y="373"/>
                        <a:pt x="2653" y="366"/>
                        <a:pt x="2645" y="362"/>
                      </a:cubicBezTo>
                      <a:cubicBezTo>
                        <a:pt x="2637" y="358"/>
                        <a:pt x="2591" y="357"/>
                        <a:pt x="2565" y="358"/>
                      </a:cubicBezTo>
                      <a:cubicBezTo>
                        <a:pt x="2540" y="360"/>
                        <a:pt x="2472" y="401"/>
                        <a:pt x="2472" y="401"/>
                      </a:cubicBezTo>
                      <a:cubicBezTo>
                        <a:pt x="2472" y="401"/>
                        <a:pt x="2443" y="414"/>
                        <a:pt x="2433" y="416"/>
                      </a:cubicBezTo>
                      <a:cubicBezTo>
                        <a:pt x="2424" y="417"/>
                        <a:pt x="2420" y="428"/>
                        <a:pt x="2420" y="428"/>
                      </a:cubicBezTo>
                      <a:cubicBezTo>
                        <a:pt x="2420" y="428"/>
                        <a:pt x="2373" y="454"/>
                        <a:pt x="2391" y="461"/>
                      </a:cubicBezTo>
                      <a:cubicBezTo>
                        <a:pt x="2408" y="468"/>
                        <a:pt x="2460" y="464"/>
                        <a:pt x="2453" y="473"/>
                      </a:cubicBezTo>
                      <a:cubicBezTo>
                        <a:pt x="2447" y="482"/>
                        <a:pt x="2360" y="481"/>
                        <a:pt x="2381" y="496"/>
                      </a:cubicBezTo>
                      <a:cubicBezTo>
                        <a:pt x="2403" y="510"/>
                        <a:pt x="2429" y="513"/>
                        <a:pt x="2429" y="513"/>
                      </a:cubicBezTo>
                      <a:cubicBezTo>
                        <a:pt x="2460" y="501"/>
                        <a:pt x="2460" y="501"/>
                        <a:pt x="2460" y="501"/>
                      </a:cubicBezTo>
                      <a:cubicBezTo>
                        <a:pt x="2460" y="501"/>
                        <a:pt x="2451" y="517"/>
                        <a:pt x="2473" y="517"/>
                      </a:cubicBezTo>
                      <a:cubicBezTo>
                        <a:pt x="2496" y="517"/>
                        <a:pt x="2584" y="536"/>
                        <a:pt x="2595" y="530"/>
                      </a:cubicBezTo>
                      <a:cubicBezTo>
                        <a:pt x="2605" y="525"/>
                        <a:pt x="2581" y="513"/>
                        <a:pt x="2581" y="513"/>
                      </a:cubicBezTo>
                      <a:cubicBezTo>
                        <a:pt x="2581" y="513"/>
                        <a:pt x="2648" y="520"/>
                        <a:pt x="2659" y="521"/>
                      </a:cubicBezTo>
                      <a:cubicBezTo>
                        <a:pt x="2669" y="522"/>
                        <a:pt x="2696" y="533"/>
                        <a:pt x="2705" y="528"/>
                      </a:cubicBezTo>
                      <a:cubicBezTo>
                        <a:pt x="2715" y="522"/>
                        <a:pt x="2696" y="502"/>
                        <a:pt x="2696" y="502"/>
                      </a:cubicBezTo>
                      <a:cubicBezTo>
                        <a:pt x="2727" y="496"/>
                        <a:pt x="2727" y="496"/>
                        <a:pt x="2727" y="496"/>
                      </a:cubicBezTo>
                      <a:cubicBezTo>
                        <a:pt x="2727" y="496"/>
                        <a:pt x="2735" y="518"/>
                        <a:pt x="2739" y="517"/>
                      </a:cubicBezTo>
                      <a:cubicBezTo>
                        <a:pt x="2743" y="516"/>
                        <a:pt x="2757" y="532"/>
                        <a:pt x="2757" y="532"/>
                      </a:cubicBezTo>
                      <a:cubicBezTo>
                        <a:pt x="2777" y="525"/>
                        <a:pt x="2777" y="525"/>
                        <a:pt x="2777" y="525"/>
                      </a:cubicBezTo>
                      <a:cubicBezTo>
                        <a:pt x="2777" y="525"/>
                        <a:pt x="2769" y="545"/>
                        <a:pt x="2773" y="546"/>
                      </a:cubicBezTo>
                      <a:cubicBezTo>
                        <a:pt x="2777" y="548"/>
                        <a:pt x="2807" y="554"/>
                        <a:pt x="2807" y="554"/>
                      </a:cubicBezTo>
                      <a:cubicBezTo>
                        <a:pt x="2807" y="554"/>
                        <a:pt x="2785" y="573"/>
                        <a:pt x="2793" y="573"/>
                      </a:cubicBezTo>
                      <a:cubicBezTo>
                        <a:pt x="2801" y="573"/>
                        <a:pt x="2820" y="573"/>
                        <a:pt x="2820" y="573"/>
                      </a:cubicBezTo>
                      <a:cubicBezTo>
                        <a:pt x="2816" y="590"/>
                        <a:pt x="2816" y="590"/>
                        <a:pt x="2816" y="590"/>
                      </a:cubicBezTo>
                      <a:cubicBezTo>
                        <a:pt x="2816" y="590"/>
                        <a:pt x="2849" y="594"/>
                        <a:pt x="2849" y="610"/>
                      </a:cubicBezTo>
                      <a:cubicBezTo>
                        <a:pt x="2849" y="626"/>
                        <a:pt x="2827" y="660"/>
                        <a:pt x="2821" y="661"/>
                      </a:cubicBezTo>
                      <a:cubicBezTo>
                        <a:pt x="2816" y="662"/>
                        <a:pt x="2728" y="701"/>
                        <a:pt x="2728" y="701"/>
                      </a:cubicBezTo>
                      <a:cubicBezTo>
                        <a:pt x="2728" y="701"/>
                        <a:pt x="2756" y="720"/>
                        <a:pt x="2741" y="726"/>
                      </a:cubicBezTo>
                      <a:cubicBezTo>
                        <a:pt x="2727" y="733"/>
                        <a:pt x="2707" y="734"/>
                        <a:pt x="2707" y="734"/>
                      </a:cubicBezTo>
                      <a:cubicBezTo>
                        <a:pt x="2655" y="741"/>
                        <a:pt x="2655" y="741"/>
                        <a:pt x="2655" y="741"/>
                      </a:cubicBezTo>
                      <a:cubicBezTo>
                        <a:pt x="2649" y="756"/>
                        <a:pt x="2649" y="756"/>
                        <a:pt x="2649" y="756"/>
                      </a:cubicBezTo>
                      <a:cubicBezTo>
                        <a:pt x="2640" y="742"/>
                        <a:pt x="2640" y="742"/>
                        <a:pt x="2640" y="742"/>
                      </a:cubicBezTo>
                      <a:cubicBezTo>
                        <a:pt x="2640" y="742"/>
                        <a:pt x="2613" y="733"/>
                        <a:pt x="2600" y="736"/>
                      </a:cubicBezTo>
                      <a:cubicBezTo>
                        <a:pt x="2587" y="738"/>
                        <a:pt x="2588" y="750"/>
                        <a:pt x="2588" y="750"/>
                      </a:cubicBezTo>
                      <a:cubicBezTo>
                        <a:pt x="2588" y="750"/>
                        <a:pt x="2543" y="760"/>
                        <a:pt x="2543" y="776"/>
                      </a:cubicBezTo>
                      <a:cubicBezTo>
                        <a:pt x="2543" y="800"/>
                        <a:pt x="2577" y="794"/>
                        <a:pt x="2604" y="785"/>
                      </a:cubicBezTo>
                      <a:cubicBezTo>
                        <a:pt x="2631" y="776"/>
                        <a:pt x="2637" y="777"/>
                        <a:pt x="2637" y="777"/>
                      </a:cubicBezTo>
                      <a:cubicBezTo>
                        <a:pt x="2637" y="777"/>
                        <a:pt x="2656" y="790"/>
                        <a:pt x="2663" y="785"/>
                      </a:cubicBezTo>
                      <a:cubicBezTo>
                        <a:pt x="2669" y="780"/>
                        <a:pt x="2665" y="769"/>
                        <a:pt x="2665" y="769"/>
                      </a:cubicBezTo>
                      <a:cubicBezTo>
                        <a:pt x="2681" y="754"/>
                        <a:pt x="2681" y="754"/>
                        <a:pt x="2681" y="754"/>
                      </a:cubicBezTo>
                      <a:cubicBezTo>
                        <a:pt x="2681" y="754"/>
                        <a:pt x="2668" y="766"/>
                        <a:pt x="2677" y="769"/>
                      </a:cubicBezTo>
                      <a:cubicBezTo>
                        <a:pt x="2687" y="772"/>
                        <a:pt x="2721" y="772"/>
                        <a:pt x="2721" y="772"/>
                      </a:cubicBezTo>
                      <a:cubicBezTo>
                        <a:pt x="2721" y="772"/>
                        <a:pt x="2707" y="778"/>
                        <a:pt x="2708" y="785"/>
                      </a:cubicBezTo>
                      <a:cubicBezTo>
                        <a:pt x="2709" y="792"/>
                        <a:pt x="2731" y="796"/>
                        <a:pt x="2731" y="796"/>
                      </a:cubicBezTo>
                      <a:cubicBezTo>
                        <a:pt x="2731" y="796"/>
                        <a:pt x="2717" y="805"/>
                        <a:pt x="2728" y="812"/>
                      </a:cubicBezTo>
                      <a:cubicBezTo>
                        <a:pt x="2739" y="818"/>
                        <a:pt x="2763" y="818"/>
                        <a:pt x="2763" y="818"/>
                      </a:cubicBezTo>
                      <a:cubicBezTo>
                        <a:pt x="2732" y="829"/>
                        <a:pt x="2732" y="829"/>
                        <a:pt x="2732" y="829"/>
                      </a:cubicBezTo>
                      <a:cubicBezTo>
                        <a:pt x="2732" y="829"/>
                        <a:pt x="2737" y="850"/>
                        <a:pt x="2743" y="849"/>
                      </a:cubicBezTo>
                      <a:cubicBezTo>
                        <a:pt x="2748" y="848"/>
                        <a:pt x="2759" y="841"/>
                        <a:pt x="2759" y="841"/>
                      </a:cubicBezTo>
                      <a:cubicBezTo>
                        <a:pt x="2759" y="841"/>
                        <a:pt x="2761" y="856"/>
                        <a:pt x="2771" y="857"/>
                      </a:cubicBezTo>
                      <a:cubicBezTo>
                        <a:pt x="2780" y="858"/>
                        <a:pt x="2801" y="861"/>
                        <a:pt x="2801" y="861"/>
                      </a:cubicBezTo>
                      <a:cubicBezTo>
                        <a:pt x="2801" y="861"/>
                        <a:pt x="2800" y="878"/>
                        <a:pt x="2816" y="882"/>
                      </a:cubicBezTo>
                      <a:cubicBezTo>
                        <a:pt x="2832" y="886"/>
                        <a:pt x="2843" y="878"/>
                        <a:pt x="2857" y="886"/>
                      </a:cubicBezTo>
                      <a:cubicBezTo>
                        <a:pt x="2872" y="894"/>
                        <a:pt x="2908" y="909"/>
                        <a:pt x="2908" y="909"/>
                      </a:cubicBezTo>
                      <a:cubicBezTo>
                        <a:pt x="2908" y="909"/>
                        <a:pt x="2919" y="889"/>
                        <a:pt x="2907" y="876"/>
                      </a:cubicBezTo>
                      <a:cubicBezTo>
                        <a:pt x="2895" y="862"/>
                        <a:pt x="2875" y="850"/>
                        <a:pt x="2875" y="850"/>
                      </a:cubicBezTo>
                      <a:cubicBezTo>
                        <a:pt x="2875" y="850"/>
                        <a:pt x="2855" y="825"/>
                        <a:pt x="2860" y="817"/>
                      </a:cubicBezTo>
                      <a:cubicBezTo>
                        <a:pt x="2865" y="809"/>
                        <a:pt x="2888" y="832"/>
                        <a:pt x="2888" y="832"/>
                      </a:cubicBezTo>
                      <a:cubicBezTo>
                        <a:pt x="2888" y="812"/>
                        <a:pt x="2888" y="812"/>
                        <a:pt x="2888" y="812"/>
                      </a:cubicBezTo>
                      <a:cubicBezTo>
                        <a:pt x="2888" y="812"/>
                        <a:pt x="2897" y="837"/>
                        <a:pt x="2907" y="837"/>
                      </a:cubicBezTo>
                      <a:cubicBezTo>
                        <a:pt x="2916" y="837"/>
                        <a:pt x="2931" y="833"/>
                        <a:pt x="2931" y="833"/>
                      </a:cubicBezTo>
                      <a:cubicBezTo>
                        <a:pt x="2931" y="833"/>
                        <a:pt x="2927" y="854"/>
                        <a:pt x="2937" y="853"/>
                      </a:cubicBezTo>
                      <a:cubicBezTo>
                        <a:pt x="2948" y="852"/>
                        <a:pt x="2952" y="864"/>
                        <a:pt x="2952" y="864"/>
                      </a:cubicBezTo>
                      <a:cubicBezTo>
                        <a:pt x="2965" y="849"/>
                        <a:pt x="2965" y="849"/>
                        <a:pt x="2965" y="849"/>
                      </a:cubicBezTo>
                      <a:cubicBezTo>
                        <a:pt x="2965" y="849"/>
                        <a:pt x="2975" y="861"/>
                        <a:pt x="2980" y="858"/>
                      </a:cubicBezTo>
                      <a:cubicBezTo>
                        <a:pt x="2985" y="856"/>
                        <a:pt x="2979" y="840"/>
                        <a:pt x="2979" y="840"/>
                      </a:cubicBezTo>
                      <a:cubicBezTo>
                        <a:pt x="2989" y="809"/>
                        <a:pt x="2989" y="809"/>
                        <a:pt x="2989" y="809"/>
                      </a:cubicBezTo>
                      <a:cubicBezTo>
                        <a:pt x="2989" y="809"/>
                        <a:pt x="2989" y="836"/>
                        <a:pt x="2997" y="836"/>
                      </a:cubicBezTo>
                      <a:cubicBezTo>
                        <a:pt x="3005" y="836"/>
                        <a:pt x="3009" y="808"/>
                        <a:pt x="3009" y="808"/>
                      </a:cubicBezTo>
                      <a:cubicBezTo>
                        <a:pt x="2995" y="792"/>
                        <a:pt x="2995" y="792"/>
                        <a:pt x="2995" y="792"/>
                      </a:cubicBezTo>
                      <a:cubicBezTo>
                        <a:pt x="3009" y="788"/>
                        <a:pt x="3009" y="788"/>
                        <a:pt x="3009" y="788"/>
                      </a:cubicBezTo>
                      <a:cubicBezTo>
                        <a:pt x="2997" y="778"/>
                        <a:pt x="2997" y="778"/>
                        <a:pt x="2997" y="778"/>
                      </a:cubicBezTo>
                      <a:cubicBezTo>
                        <a:pt x="2999" y="765"/>
                        <a:pt x="2999" y="765"/>
                        <a:pt x="2999" y="765"/>
                      </a:cubicBezTo>
                      <a:cubicBezTo>
                        <a:pt x="2979" y="768"/>
                        <a:pt x="2979" y="768"/>
                        <a:pt x="2979" y="768"/>
                      </a:cubicBezTo>
                      <a:cubicBezTo>
                        <a:pt x="2979" y="757"/>
                        <a:pt x="2979" y="757"/>
                        <a:pt x="2979" y="757"/>
                      </a:cubicBezTo>
                      <a:cubicBezTo>
                        <a:pt x="2964" y="757"/>
                        <a:pt x="2964" y="757"/>
                        <a:pt x="2964" y="757"/>
                      </a:cubicBezTo>
                      <a:cubicBezTo>
                        <a:pt x="2963" y="724"/>
                        <a:pt x="2963" y="724"/>
                        <a:pt x="2963" y="724"/>
                      </a:cubicBezTo>
                      <a:cubicBezTo>
                        <a:pt x="2941" y="725"/>
                        <a:pt x="2941" y="725"/>
                        <a:pt x="2941" y="725"/>
                      </a:cubicBezTo>
                      <a:cubicBezTo>
                        <a:pt x="2941" y="725"/>
                        <a:pt x="2929" y="705"/>
                        <a:pt x="2941" y="702"/>
                      </a:cubicBezTo>
                      <a:cubicBezTo>
                        <a:pt x="2953" y="700"/>
                        <a:pt x="2961" y="717"/>
                        <a:pt x="2969" y="714"/>
                      </a:cubicBezTo>
                      <a:cubicBezTo>
                        <a:pt x="2977" y="712"/>
                        <a:pt x="2976" y="686"/>
                        <a:pt x="2976" y="686"/>
                      </a:cubicBezTo>
                      <a:cubicBezTo>
                        <a:pt x="2991" y="690"/>
                        <a:pt x="2991" y="690"/>
                        <a:pt x="2991" y="690"/>
                      </a:cubicBezTo>
                      <a:cubicBezTo>
                        <a:pt x="3016" y="678"/>
                        <a:pt x="3016" y="678"/>
                        <a:pt x="3016" y="678"/>
                      </a:cubicBezTo>
                      <a:cubicBezTo>
                        <a:pt x="3016" y="678"/>
                        <a:pt x="3017" y="710"/>
                        <a:pt x="3024" y="704"/>
                      </a:cubicBezTo>
                      <a:cubicBezTo>
                        <a:pt x="3031" y="697"/>
                        <a:pt x="3044" y="697"/>
                        <a:pt x="3044" y="697"/>
                      </a:cubicBezTo>
                      <a:cubicBezTo>
                        <a:pt x="3036" y="709"/>
                        <a:pt x="3036" y="709"/>
                        <a:pt x="3036" y="709"/>
                      </a:cubicBezTo>
                      <a:cubicBezTo>
                        <a:pt x="3051" y="710"/>
                        <a:pt x="3051" y="710"/>
                        <a:pt x="3051" y="710"/>
                      </a:cubicBezTo>
                      <a:cubicBezTo>
                        <a:pt x="3044" y="729"/>
                        <a:pt x="3044" y="729"/>
                        <a:pt x="3044" y="729"/>
                      </a:cubicBezTo>
                      <a:cubicBezTo>
                        <a:pt x="3044" y="729"/>
                        <a:pt x="3067" y="770"/>
                        <a:pt x="3083" y="760"/>
                      </a:cubicBezTo>
                      <a:cubicBezTo>
                        <a:pt x="3099" y="749"/>
                        <a:pt x="3101" y="724"/>
                        <a:pt x="3101" y="724"/>
                      </a:cubicBezTo>
                      <a:cubicBezTo>
                        <a:pt x="3108" y="714"/>
                        <a:pt x="3108" y="714"/>
                        <a:pt x="3108" y="714"/>
                      </a:cubicBezTo>
                      <a:cubicBezTo>
                        <a:pt x="3108" y="714"/>
                        <a:pt x="3127" y="730"/>
                        <a:pt x="3140" y="721"/>
                      </a:cubicBezTo>
                      <a:cubicBezTo>
                        <a:pt x="3153" y="712"/>
                        <a:pt x="3152" y="694"/>
                        <a:pt x="3152" y="694"/>
                      </a:cubicBezTo>
                      <a:cubicBezTo>
                        <a:pt x="3152" y="694"/>
                        <a:pt x="3187" y="704"/>
                        <a:pt x="3201" y="688"/>
                      </a:cubicBezTo>
                      <a:cubicBezTo>
                        <a:pt x="3216" y="672"/>
                        <a:pt x="3177" y="661"/>
                        <a:pt x="3172" y="665"/>
                      </a:cubicBezTo>
                      <a:close/>
                      <a:moveTo>
                        <a:pt x="2983" y="872"/>
                      </a:moveTo>
                      <a:cubicBezTo>
                        <a:pt x="2963" y="876"/>
                        <a:pt x="2963" y="876"/>
                        <a:pt x="2963" y="876"/>
                      </a:cubicBezTo>
                      <a:cubicBezTo>
                        <a:pt x="2960" y="885"/>
                        <a:pt x="2960" y="885"/>
                        <a:pt x="2960" y="885"/>
                      </a:cubicBezTo>
                      <a:cubicBezTo>
                        <a:pt x="2983" y="882"/>
                        <a:pt x="2983" y="882"/>
                        <a:pt x="2983" y="882"/>
                      </a:cubicBezTo>
                      <a:lnTo>
                        <a:pt x="2983" y="872"/>
                      </a:lnTo>
                      <a:close/>
                      <a:moveTo>
                        <a:pt x="2758" y="861"/>
                      </a:moveTo>
                      <a:cubicBezTo>
                        <a:pt x="2746" y="862"/>
                        <a:pt x="2747" y="878"/>
                        <a:pt x="2761" y="878"/>
                      </a:cubicBezTo>
                      <a:cubicBezTo>
                        <a:pt x="2785" y="878"/>
                        <a:pt x="2771" y="859"/>
                        <a:pt x="2758" y="861"/>
                      </a:cubicBezTo>
                      <a:close/>
                      <a:moveTo>
                        <a:pt x="2555" y="832"/>
                      </a:moveTo>
                      <a:cubicBezTo>
                        <a:pt x="2565" y="822"/>
                        <a:pt x="2540" y="818"/>
                        <a:pt x="2540" y="818"/>
                      </a:cubicBezTo>
                      <a:cubicBezTo>
                        <a:pt x="2540" y="818"/>
                        <a:pt x="2540" y="847"/>
                        <a:pt x="2555" y="832"/>
                      </a:cubicBezTo>
                      <a:close/>
                      <a:moveTo>
                        <a:pt x="2800" y="969"/>
                      </a:moveTo>
                      <a:cubicBezTo>
                        <a:pt x="2777" y="971"/>
                        <a:pt x="2777" y="971"/>
                        <a:pt x="2777" y="971"/>
                      </a:cubicBezTo>
                      <a:cubicBezTo>
                        <a:pt x="2801" y="987"/>
                        <a:pt x="2801" y="987"/>
                        <a:pt x="2801" y="987"/>
                      </a:cubicBezTo>
                      <a:cubicBezTo>
                        <a:pt x="2820" y="978"/>
                        <a:pt x="2800" y="969"/>
                        <a:pt x="2800" y="969"/>
                      </a:cubicBezTo>
                      <a:close/>
                      <a:moveTo>
                        <a:pt x="2779" y="582"/>
                      </a:moveTo>
                      <a:cubicBezTo>
                        <a:pt x="2752" y="576"/>
                        <a:pt x="2779" y="594"/>
                        <a:pt x="2779" y="594"/>
                      </a:cubicBezTo>
                      <a:cubicBezTo>
                        <a:pt x="2795" y="592"/>
                        <a:pt x="2807" y="588"/>
                        <a:pt x="2779" y="582"/>
                      </a:cubicBezTo>
                      <a:close/>
                      <a:moveTo>
                        <a:pt x="2779" y="626"/>
                      </a:moveTo>
                      <a:cubicBezTo>
                        <a:pt x="2821" y="624"/>
                        <a:pt x="2821" y="624"/>
                        <a:pt x="2821" y="624"/>
                      </a:cubicBezTo>
                      <a:cubicBezTo>
                        <a:pt x="2821" y="613"/>
                        <a:pt x="2821" y="613"/>
                        <a:pt x="2821" y="613"/>
                      </a:cubicBezTo>
                      <a:cubicBezTo>
                        <a:pt x="2791" y="615"/>
                        <a:pt x="2791" y="615"/>
                        <a:pt x="2791" y="615"/>
                      </a:cubicBezTo>
                      <a:lnTo>
                        <a:pt x="2779" y="626"/>
                      </a:lnTo>
                      <a:close/>
                      <a:moveTo>
                        <a:pt x="3715" y="26"/>
                      </a:moveTo>
                      <a:cubicBezTo>
                        <a:pt x="3713" y="23"/>
                        <a:pt x="3658" y="28"/>
                        <a:pt x="3658" y="28"/>
                      </a:cubicBezTo>
                      <a:cubicBezTo>
                        <a:pt x="3660" y="18"/>
                        <a:pt x="3660" y="18"/>
                        <a:pt x="3660" y="18"/>
                      </a:cubicBezTo>
                      <a:cubicBezTo>
                        <a:pt x="3660" y="18"/>
                        <a:pt x="3625" y="10"/>
                        <a:pt x="3612" y="10"/>
                      </a:cubicBezTo>
                      <a:cubicBezTo>
                        <a:pt x="3599" y="10"/>
                        <a:pt x="3527" y="25"/>
                        <a:pt x="3527" y="25"/>
                      </a:cubicBezTo>
                      <a:cubicBezTo>
                        <a:pt x="3560" y="10"/>
                        <a:pt x="3560" y="10"/>
                        <a:pt x="3560" y="10"/>
                      </a:cubicBezTo>
                      <a:cubicBezTo>
                        <a:pt x="3515" y="12"/>
                        <a:pt x="3515" y="12"/>
                        <a:pt x="3515" y="12"/>
                      </a:cubicBezTo>
                      <a:cubicBezTo>
                        <a:pt x="3515" y="12"/>
                        <a:pt x="3479" y="0"/>
                        <a:pt x="3469" y="2"/>
                      </a:cubicBezTo>
                      <a:cubicBezTo>
                        <a:pt x="3458" y="4"/>
                        <a:pt x="3453" y="15"/>
                        <a:pt x="3453" y="15"/>
                      </a:cubicBezTo>
                      <a:cubicBezTo>
                        <a:pt x="3453" y="15"/>
                        <a:pt x="3427" y="3"/>
                        <a:pt x="3418" y="3"/>
                      </a:cubicBezTo>
                      <a:cubicBezTo>
                        <a:pt x="3409" y="3"/>
                        <a:pt x="3389" y="18"/>
                        <a:pt x="3389" y="18"/>
                      </a:cubicBezTo>
                      <a:cubicBezTo>
                        <a:pt x="3363" y="10"/>
                        <a:pt x="3363" y="10"/>
                        <a:pt x="3363" y="10"/>
                      </a:cubicBezTo>
                      <a:cubicBezTo>
                        <a:pt x="3290" y="7"/>
                        <a:pt x="3290" y="7"/>
                        <a:pt x="3290" y="7"/>
                      </a:cubicBezTo>
                      <a:cubicBezTo>
                        <a:pt x="3308" y="25"/>
                        <a:pt x="3308" y="25"/>
                        <a:pt x="3308" y="25"/>
                      </a:cubicBezTo>
                      <a:cubicBezTo>
                        <a:pt x="3266" y="11"/>
                        <a:pt x="3266" y="11"/>
                        <a:pt x="3266" y="11"/>
                      </a:cubicBezTo>
                      <a:cubicBezTo>
                        <a:pt x="3225" y="18"/>
                        <a:pt x="3225" y="18"/>
                        <a:pt x="3225" y="18"/>
                      </a:cubicBezTo>
                      <a:cubicBezTo>
                        <a:pt x="3225" y="18"/>
                        <a:pt x="3195" y="12"/>
                        <a:pt x="3179" y="12"/>
                      </a:cubicBezTo>
                      <a:cubicBezTo>
                        <a:pt x="3163" y="12"/>
                        <a:pt x="3114" y="24"/>
                        <a:pt x="3114" y="24"/>
                      </a:cubicBezTo>
                      <a:cubicBezTo>
                        <a:pt x="3172" y="42"/>
                        <a:pt x="3172" y="42"/>
                        <a:pt x="3172" y="42"/>
                      </a:cubicBezTo>
                      <a:cubicBezTo>
                        <a:pt x="3114" y="34"/>
                        <a:pt x="3114" y="34"/>
                        <a:pt x="3114" y="34"/>
                      </a:cubicBezTo>
                      <a:cubicBezTo>
                        <a:pt x="3114" y="34"/>
                        <a:pt x="3059" y="23"/>
                        <a:pt x="3034" y="25"/>
                      </a:cubicBezTo>
                      <a:cubicBezTo>
                        <a:pt x="3010" y="28"/>
                        <a:pt x="3018" y="42"/>
                        <a:pt x="3018" y="42"/>
                      </a:cubicBezTo>
                      <a:cubicBezTo>
                        <a:pt x="3018" y="42"/>
                        <a:pt x="2956" y="36"/>
                        <a:pt x="2943" y="36"/>
                      </a:cubicBezTo>
                      <a:cubicBezTo>
                        <a:pt x="2930" y="36"/>
                        <a:pt x="2830" y="46"/>
                        <a:pt x="2826" y="48"/>
                      </a:cubicBezTo>
                      <a:cubicBezTo>
                        <a:pt x="2823" y="50"/>
                        <a:pt x="2849" y="56"/>
                        <a:pt x="2849" y="56"/>
                      </a:cubicBezTo>
                      <a:cubicBezTo>
                        <a:pt x="2905" y="59"/>
                        <a:pt x="2905" y="59"/>
                        <a:pt x="2905" y="59"/>
                      </a:cubicBezTo>
                      <a:cubicBezTo>
                        <a:pt x="2850" y="67"/>
                        <a:pt x="2850" y="67"/>
                        <a:pt x="2850" y="67"/>
                      </a:cubicBezTo>
                      <a:cubicBezTo>
                        <a:pt x="2850" y="67"/>
                        <a:pt x="2870" y="76"/>
                        <a:pt x="2884" y="76"/>
                      </a:cubicBezTo>
                      <a:cubicBezTo>
                        <a:pt x="2898" y="76"/>
                        <a:pt x="2935" y="70"/>
                        <a:pt x="2935" y="70"/>
                      </a:cubicBezTo>
                      <a:cubicBezTo>
                        <a:pt x="2935" y="70"/>
                        <a:pt x="2960" y="62"/>
                        <a:pt x="2978" y="62"/>
                      </a:cubicBezTo>
                      <a:cubicBezTo>
                        <a:pt x="2997" y="62"/>
                        <a:pt x="3040" y="71"/>
                        <a:pt x="3040" y="71"/>
                      </a:cubicBezTo>
                      <a:cubicBezTo>
                        <a:pt x="3040" y="71"/>
                        <a:pt x="2989" y="72"/>
                        <a:pt x="2977" y="73"/>
                      </a:cubicBezTo>
                      <a:cubicBezTo>
                        <a:pt x="2965" y="74"/>
                        <a:pt x="2930" y="87"/>
                        <a:pt x="2930" y="87"/>
                      </a:cubicBezTo>
                      <a:cubicBezTo>
                        <a:pt x="2930" y="87"/>
                        <a:pt x="2958" y="87"/>
                        <a:pt x="2979" y="89"/>
                      </a:cubicBezTo>
                      <a:cubicBezTo>
                        <a:pt x="3001" y="91"/>
                        <a:pt x="3006" y="83"/>
                        <a:pt x="3006" y="83"/>
                      </a:cubicBezTo>
                      <a:cubicBezTo>
                        <a:pt x="3050" y="83"/>
                        <a:pt x="3050" y="83"/>
                        <a:pt x="3050" y="83"/>
                      </a:cubicBezTo>
                      <a:cubicBezTo>
                        <a:pt x="3050" y="83"/>
                        <a:pt x="3064" y="84"/>
                        <a:pt x="3081" y="84"/>
                      </a:cubicBezTo>
                      <a:cubicBezTo>
                        <a:pt x="3098" y="84"/>
                        <a:pt x="3138" y="73"/>
                        <a:pt x="3142" y="70"/>
                      </a:cubicBezTo>
                      <a:cubicBezTo>
                        <a:pt x="3147" y="66"/>
                        <a:pt x="3173" y="63"/>
                        <a:pt x="3186" y="59"/>
                      </a:cubicBezTo>
                      <a:cubicBezTo>
                        <a:pt x="3199" y="54"/>
                        <a:pt x="3220" y="59"/>
                        <a:pt x="3220" y="59"/>
                      </a:cubicBezTo>
                      <a:cubicBezTo>
                        <a:pt x="3162" y="76"/>
                        <a:pt x="3162" y="76"/>
                        <a:pt x="3162" y="76"/>
                      </a:cubicBezTo>
                      <a:cubicBezTo>
                        <a:pt x="3185" y="77"/>
                        <a:pt x="3185" y="77"/>
                        <a:pt x="3185" y="77"/>
                      </a:cubicBezTo>
                      <a:cubicBezTo>
                        <a:pt x="3153" y="87"/>
                        <a:pt x="3153" y="87"/>
                        <a:pt x="3153" y="87"/>
                      </a:cubicBezTo>
                      <a:cubicBezTo>
                        <a:pt x="3153" y="87"/>
                        <a:pt x="3040" y="92"/>
                        <a:pt x="3027" y="92"/>
                      </a:cubicBezTo>
                      <a:cubicBezTo>
                        <a:pt x="3014" y="92"/>
                        <a:pt x="3014" y="104"/>
                        <a:pt x="3014" y="104"/>
                      </a:cubicBezTo>
                      <a:cubicBezTo>
                        <a:pt x="3065" y="119"/>
                        <a:pt x="3065" y="119"/>
                        <a:pt x="3065" y="119"/>
                      </a:cubicBezTo>
                      <a:cubicBezTo>
                        <a:pt x="3065" y="119"/>
                        <a:pt x="3045" y="125"/>
                        <a:pt x="3033" y="125"/>
                      </a:cubicBezTo>
                      <a:cubicBezTo>
                        <a:pt x="3022" y="125"/>
                        <a:pt x="2974" y="99"/>
                        <a:pt x="2974" y="99"/>
                      </a:cubicBezTo>
                      <a:cubicBezTo>
                        <a:pt x="2974" y="99"/>
                        <a:pt x="2925" y="100"/>
                        <a:pt x="2912" y="100"/>
                      </a:cubicBezTo>
                      <a:cubicBezTo>
                        <a:pt x="2899" y="100"/>
                        <a:pt x="2891" y="115"/>
                        <a:pt x="2891" y="115"/>
                      </a:cubicBezTo>
                      <a:cubicBezTo>
                        <a:pt x="2912" y="126"/>
                        <a:pt x="2912" y="126"/>
                        <a:pt x="2912" y="126"/>
                      </a:cubicBezTo>
                      <a:cubicBezTo>
                        <a:pt x="2912" y="126"/>
                        <a:pt x="2923" y="142"/>
                        <a:pt x="2940" y="145"/>
                      </a:cubicBezTo>
                      <a:cubicBezTo>
                        <a:pt x="2956" y="148"/>
                        <a:pt x="2989" y="144"/>
                        <a:pt x="2989" y="144"/>
                      </a:cubicBezTo>
                      <a:cubicBezTo>
                        <a:pt x="2989" y="144"/>
                        <a:pt x="2981" y="153"/>
                        <a:pt x="2964" y="155"/>
                      </a:cubicBezTo>
                      <a:cubicBezTo>
                        <a:pt x="2948" y="157"/>
                        <a:pt x="2917" y="151"/>
                        <a:pt x="2909" y="149"/>
                      </a:cubicBezTo>
                      <a:cubicBezTo>
                        <a:pt x="2902" y="147"/>
                        <a:pt x="2846" y="157"/>
                        <a:pt x="2828" y="157"/>
                      </a:cubicBezTo>
                      <a:cubicBezTo>
                        <a:pt x="2809" y="157"/>
                        <a:pt x="2774" y="182"/>
                        <a:pt x="2774" y="182"/>
                      </a:cubicBezTo>
                      <a:cubicBezTo>
                        <a:pt x="2823" y="174"/>
                        <a:pt x="2823" y="174"/>
                        <a:pt x="2823" y="174"/>
                      </a:cubicBezTo>
                      <a:cubicBezTo>
                        <a:pt x="2821" y="186"/>
                        <a:pt x="2821" y="186"/>
                        <a:pt x="2821" y="186"/>
                      </a:cubicBezTo>
                      <a:cubicBezTo>
                        <a:pt x="2863" y="174"/>
                        <a:pt x="2863" y="174"/>
                        <a:pt x="2863" y="174"/>
                      </a:cubicBezTo>
                      <a:cubicBezTo>
                        <a:pt x="2816" y="192"/>
                        <a:pt x="2816" y="192"/>
                        <a:pt x="2816" y="192"/>
                      </a:cubicBezTo>
                      <a:cubicBezTo>
                        <a:pt x="2816" y="192"/>
                        <a:pt x="2824" y="203"/>
                        <a:pt x="2840" y="203"/>
                      </a:cubicBezTo>
                      <a:cubicBezTo>
                        <a:pt x="2857" y="203"/>
                        <a:pt x="2902" y="186"/>
                        <a:pt x="2902" y="186"/>
                      </a:cubicBezTo>
                      <a:cubicBezTo>
                        <a:pt x="2834" y="212"/>
                        <a:pt x="2834" y="212"/>
                        <a:pt x="2834" y="212"/>
                      </a:cubicBezTo>
                      <a:cubicBezTo>
                        <a:pt x="2789" y="209"/>
                        <a:pt x="2789" y="209"/>
                        <a:pt x="2789" y="209"/>
                      </a:cubicBezTo>
                      <a:cubicBezTo>
                        <a:pt x="2780" y="192"/>
                        <a:pt x="2780" y="192"/>
                        <a:pt x="2780" y="192"/>
                      </a:cubicBezTo>
                      <a:cubicBezTo>
                        <a:pt x="2780" y="192"/>
                        <a:pt x="2747" y="189"/>
                        <a:pt x="2737" y="191"/>
                      </a:cubicBezTo>
                      <a:cubicBezTo>
                        <a:pt x="2727" y="193"/>
                        <a:pt x="2741" y="218"/>
                        <a:pt x="2741" y="218"/>
                      </a:cubicBezTo>
                      <a:cubicBezTo>
                        <a:pt x="2741" y="218"/>
                        <a:pt x="2697" y="222"/>
                        <a:pt x="2691" y="222"/>
                      </a:cubicBezTo>
                      <a:cubicBezTo>
                        <a:pt x="2684" y="222"/>
                        <a:pt x="2654" y="237"/>
                        <a:pt x="2634" y="239"/>
                      </a:cubicBezTo>
                      <a:cubicBezTo>
                        <a:pt x="2622" y="240"/>
                        <a:pt x="2613" y="241"/>
                        <a:pt x="2610" y="241"/>
                      </a:cubicBezTo>
                      <a:cubicBezTo>
                        <a:pt x="2607" y="241"/>
                        <a:pt x="2626" y="247"/>
                        <a:pt x="2641" y="247"/>
                      </a:cubicBezTo>
                      <a:cubicBezTo>
                        <a:pt x="2656" y="247"/>
                        <a:pt x="2663" y="240"/>
                        <a:pt x="2663" y="240"/>
                      </a:cubicBezTo>
                      <a:cubicBezTo>
                        <a:pt x="2655" y="252"/>
                        <a:pt x="2655" y="252"/>
                        <a:pt x="2655" y="252"/>
                      </a:cubicBezTo>
                      <a:cubicBezTo>
                        <a:pt x="2680" y="247"/>
                        <a:pt x="2680" y="247"/>
                        <a:pt x="2680" y="247"/>
                      </a:cubicBezTo>
                      <a:cubicBezTo>
                        <a:pt x="2695" y="240"/>
                        <a:pt x="2695" y="240"/>
                        <a:pt x="2695" y="240"/>
                      </a:cubicBezTo>
                      <a:cubicBezTo>
                        <a:pt x="2695" y="248"/>
                        <a:pt x="2695" y="248"/>
                        <a:pt x="2695" y="248"/>
                      </a:cubicBezTo>
                      <a:cubicBezTo>
                        <a:pt x="2712" y="246"/>
                        <a:pt x="2712" y="246"/>
                        <a:pt x="2712" y="246"/>
                      </a:cubicBezTo>
                      <a:cubicBezTo>
                        <a:pt x="2728" y="244"/>
                        <a:pt x="2728" y="244"/>
                        <a:pt x="2728" y="244"/>
                      </a:cubicBezTo>
                      <a:cubicBezTo>
                        <a:pt x="2728" y="244"/>
                        <a:pt x="2729" y="253"/>
                        <a:pt x="2740" y="254"/>
                      </a:cubicBezTo>
                      <a:cubicBezTo>
                        <a:pt x="2751" y="255"/>
                        <a:pt x="2773" y="241"/>
                        <a:pt x="2773" y="241"/>
                      </a:cubicBezTo>
                      <a:cubicBezTo>
                        <a:pt x="2778" y="250"/>
                        <a:pt x="2778" y="250"/>
                        <a:pt x="2778" y="250"/>
                      </a:cubicBezTo>
                      <a:cubicBezTo>
                        <a:pt x="2796" y="240"/>
                        <a:pt x="2796" y="240"/>
                        <a:pt x="2796" y="240"/>
                      </a:cubicBezTo>
                      <a:cubicBezTo>
                        <a:pt x="2796" y="240"/>
                        <a:pt x="2802" y="248"/>
                        <a:pt x="2810" y="251"/>
                      </a:cubicBezTo>
                      <a:cubicBezTo>
                        <a:pt x="2819" y="253"/>
                        <a:pt x="2828" y="242"/>
                        <a:pt x="2828" y="242"/>
                      </a:cubicBezTo>
                      <a:cubicBezTo>
                        <a:pt x="2828" y="242"/>
                        <a:pt x="2837" y="250"/>
                        <a:pt x="2850" y="250"/>
                      </a:cubicBezTo>
                      <a:cubicBezTo>
                        <a:pt x="2863" y="250"/>
                        <a:pt x="2853" y="238"/>
                        <a:pt x="2853" y="238"/>
                      </a:cubicBezTo>
                      <a:cubicBezTo>
                        <a:pt x="2891" y="252"/>
                        <a:pt x="2891" y="252"/>
                        <a:pt x="2891" y="252"/>
                      </a:cubicBezTo>
                      <a:cubicBezTo>
                        <a:pt x="2891" y="252"/>
                        <a:pt x="2898" y="261"/>
                        <a:pt x="2902" y="261"/>
                      </a:cubicBezTo>
                      <a:cubicBezTo>
                        <a:pt x="2906" y="261"/>
                        <a:pt x="2964" y="248"/>
                        <a:pt x="2975" y="248"/>
                      </a:cubicBezTo>
                      <a:cubicBezTo>
                        <a:pt x="2986" y="248"/>
                        <a:pt x="3011" y="238"/>
                        <a:pt x="3015" y="231"/>
                      </a:cubicBezTo>
                      <a:cubicBezTo>
                        <a:pt x="3019" y="225"/>
                        <a:pt x="2973" y="230"/>
                        <a:pt x="2973" y="230"/>
                      </a:cubicBezTo>
                      <a:cubicBezTo>
                        <a:pt x="2973" y="230"/>
                        <a:pt x="2982" y="223"/>
                        <a:pt x="2975" y="220"/>
                      </a:cubicBezTo>
                      <a:cubicBezTo>
                        <a:pt x="2969" y="218"/>
                        <a:pt x="2943" y="220"/>
                        <a:pt x="2943" y="220"/>
                      </a:cubicBezTo>
                      <a:cubicBezTo>
                        <a:pt x="2905" y="214"/>
                        <a:pt x="2905" y="214"/>
                        <a:pt x="2905" y="214"/>
                      </a:cubicBezTo>
                      <a:cubicBezTo>
                        <a:pt x="2917" y="201"/>
                        <a:pt x="2917" y="201"/>
                        <a:pt x="2917" y="201"/>
                      </a:cubicBezTo>
                      <a:cubicBezTo>
                        <a:pt x="2959" y="215"/>
                        <a:pt x="2959" y="215"/>
                        <a:pt x="2959" y="215"/>
                      </a:cubicBezTo>
                      <a:cubicBezTo>
                        <a:pt x="2959" y="215"/>
                        <a:pt x="3014" y="212"/>
                        <a:pt x="3034" y="211"/>
                      </a:cubicBezTo>
                      <a:cubicBezTo>
                        <a:pt x="3055" y="210"/>
                        <a:pt x="3050" y="192"/>
                        <a:pt x="3050" y="192"/>
                      </a:cubicBezTo>
                      <a:cubicBezTo>
                        <a:pt x="3050" y="192"/>
                        <a:pt x="3075" y="187"/>
                        <a:pt x="3094" y="187"/>
                      </a:cubicBezTo>
                      <a:cubicBezTo>
                        <a:pt x="3112" y="187"/>
                        <a:pt x="3150" y="178"/>
                        <a:pt x="3150" y="178"/>
                      </a:cubicBezTo>
                      <a:cubicBezTo>
                        <a:pt x="3132" y="167"/>
                        <a:pt x="3132" y="167"/>
                        <a:pt x="3132" y="167"/>
                      </a:cubicBezTo>
                      <a:cubicBezTo>
                        <a:pt x="3132" y="167"/>
                        <a:pt x="3155" y="167"/>
                        <a:pt x="3180" y="161"/>
                      </a:cubicBezTo>
                      <a:cubicBezTo>
                        <a:pt x="3205" y="156"/>
                        <a:pt x="3147" y="146"/>
                        <a:pt x="3147" y="146"/>
                      </a:cubicBezTo>
                      <a:cubicBezTo>
                        <a:pt x="3147" y="146"/>
                        <a:pt x="3115" y="147"/>
                        <a:pt x="3104" y="143"/>
                      </a:cubicBezTo>
                      <a:cubicBezTo>
                        <a:pt x="3094" y="139"/>
                        <a:pt x="3152" y="125"/>
                        <a:pt x="3155" y="126"/>
                      </a:cubicBezTo>
                      <a:cubicBezTo>
                        <a:pt x="3158" y="127"/>
                        <a:pt x="3200" y="131"/>
                        <a:pt x="3200" y="131"/>
                      </a:cubicBezTo>
                      <a:cubicBezTo>
                        <a:pt x="3200" y="131"/>
                        <a:pt x="3248" y="129"/>
                        <a:pt x="3263" y="126"/>
                      </a:cubicBezTo>
                      <a:cubicBezTo>
                        <a:pt x="3278" y="122"/>
                        <a:pt x="3229" y="120"/>
                        <a:pt x="3247" y="113"/>
                      </a:cubicBezTo>
                      <a:cubicBezTo>
                        <a:pt x="3264" y="105"/>
                        <a:pt x="3296" y="119"/>
                        <a:pt x="3316" y="119"/>
                      </a:cubicBezTo>
                      <a:cubicBezTo>
                        <a:pt x="3335" y="119"/>
                        <a:pt x="3328" y="102"/>
                        <a:pt x="3328" y="102"/>
                      </a:cubicBezTo>
                      <a:cubicBezTo>
                        <a:pt x="3376" y="105"/>
                        <a:pt x="3376" y="105"/>
                        <a:pt x="3376" y="105"/>
                      </a:cubicBezTo>
                      <a:cubicBezTo>
                        <a:pt x="3379" y="91"/>
                        <a:pt x="3379" y="91"/>
                        <a:pt x="3379" y="91"/>
                      </a:cubicBezTo>
                      <a:cubicBezTo>
                        <a:pt x="3379" y="91"/>
                        <a:pt x="3392" y="95"/>
                        <a:pt x="3401" y="95"/>
                      </a:cubicBezTo>
                      <a:cubicBezTo>
                        <a:pt x="3409" y="95"/>
                        <a:pt x="3440" y="83"/>
                        <a:pt x="3440" y="83"/>
                      </a:cubicBezTo>
                      <a:cubicBezTo>
                        <a:pt x="3440" y="83"/>
                        <a:pt x="3499" y="73"/>
                        <a:pt x="3531" y="67"/>
                      </a:cubicBezTo>
                      <a:cubicBezTo>
                        <a:pt x="3564" y="62"/>
                        <a:pt x="3567" y="57"/>
                        <a:pt x="3562" y="57"/>
                      </a:cubicBezTo>
                      <a:cubicBezTo>
                        <a:pt x="3558" y="57"/>
                        <a:pt x="3491" y="60"/>
                        <a:pt x="3491" y="60"/>
                      </a:cubicBezTo>
                      <a:cubicBezTo>
                        <a:pt x="3474" y="67"/>
                        <a:pt x="3474" y="67"/>
                        <a:pt x="3474" y="67"/>
                      </a:cubicBezTo>
                      <a:cubicBezTo>
                        <a:pt x="3428" y="64"/>
                        <a:pt x="3428" y="64"/>
                        <a:pt x="3428" y="64"/>
                      </a:cubicBezTo>
                      <a:cubicBezTo>
                        <a:pt x="3481" y="61"/>
                        <a:pt x="3481" y="61"/>
                        <a:pt x="3481" y="61"/>
                      </a:cubicBezTo>
                      <a:cubicBezTo>
                        <a:pt x="3479" y="52"/>
                        <a:pt x="3479" y="52"/>
                        <a:pt x="3479" y="52"/>
                      </a:cubicBezTo>
                      <a:cubicBezTo>
                        <a:pt x="3512" y="57"/>
                        <a:pt x="3512" y="57"/>
                        <a:pt x="3512" y="57"/>
                      </a:cubicBezTo>
                      <a:cubicBezTo>
                        <a:pt x="3512" y="57"/>
                        <a:pt x="3517" y="49"/>
                        <a:pt x="3526" y="49"/>
                      </a:cubicBezTo>
                      <a:cubicBezTo>
                        <a:pt x="3534" y="49"/>
                        <a:pt x="3635" y="45"/>
                        <a:pt x="3653" y="44"/>
                      </a:cubicBezTo>
                      <a:cubicBezTo>
                        <a:pt x="3671" y="43"/>
                        <a:pt x="3718" y="30"/>
                        <a:pt x="3715" y="26"/>
                      </a:cubicBezTo>
                      <a:close/>
                      <a:moveTo>
                        <a:pt x="2687" y="644"/>
                      </a:moveTo>
                      <a:cubicBezTo>
                        <a:pt x="2722" y="650"/>
                        <a:pt x="2732" y="643"/>
                        <a:pt x="2747" y="633"/>
                      </a:cubicBezTo>
                      <a:cubicBezTo>
                        <a:pt x="2763" y="624"/>
                        <a:pt x="2759" y="608"/>
                        <a:pt x="2745" y="604"/>
                      </a:cubicBezTo>
                      <a:cubicBezTo>
                        <a:pt x="2731" y="601"/>
                        <a:pt x="2698" y="610"/>
                        <a:pt x="2698" y="610"/>
                      </a:cubicBezTo>
                      <a:cubicBezTo>
                        <a:pt x="2660" y="634"/>
                        <a:pt x="2652" y="639"/>
                        <a:pt x="2687" y="644"/>
                      </a:cubicBezTo>
                      <a:close/>
                      <a:moveTo>
                        <a:pt x="2674" y="560"/>
                      </a:moveTo>
                      <a:cubicBezTo>
                        <a:pt x="2658" y="565"/>
                        <a:pt x="2633" y="576"/>
                        <a:pt x="2657" y="571"/>
                      </a:cubicBezTo>
                      <a:cubicBezTo>
                        <a:pt x="2680" y="566"/>
                        <a:pt x="2700" y="558"/>
                        <a:pt x="2700" y="558"/>
                      </a:cubicBezTo>
                      <a:cubicBezTo>
                        <a:pt x="2724" y="540"/>
                        <a:pt x="2690" y="555"/>
                        <a:pt x="2674" y="560"/>
                      </a:cubicBezTo>
                      <a:close/>
                      <a:moveTo>
                        <a:pt x="2747" y="549"/>
                      </a:moveTo>
                      <a:cubicBezTo>
                        <a:pt x="2733" y="543"/>
                        <a:pt x="2722" y="562"/>
                        <a:pt x="2735" y="566"/>
                      </a:cubicBezTo>
                      <a:cubicBezTo>
                        <a:pt x="2735" y="566"/>
                        <a:pt x="2761" y="555"/>
                        <a:pt x="2747" y="549"/>
                      </a:cubicBezTo>
                      <a:close/>
                      <a:moveTo>
                        <a:pt x="2349" y="710"/>
                      </a:moveTo>
                      <a:cubicBezTo>
                        <a:pt x="2337" y="712"/>
                        <a:pt x="2327" y="729"/>
                        <a:pt x="2346" y="729"/>
                      </a:cubicBezTo>
                      <a:cubicBezTo>
                        <a:pt x="2357" y="729"/>
                        <a:pt x="2362" y="708"/>
                        <a:pt x="2349" y="710"/>
                      </a:cubicBezTo>
                      <a:close/>
                      <a:moveTo>
                        <a:pt x="2390" y="712"/>
                      </a:moveTo>
                      <a:cubicBezTo>
                        <a:pt x="2374" y="710"/>
                        <a:pt x="2385" y="727"/>
                        <a:pt x="2385" y="727"/>
                      </a:cubicBezTo>
                      <a:cubicBezTo>
                        <a:pt x="2396" y="726"/>
                        <a:pt x="2405" y="713"/>
                        <a:pt x="2390" y="712"/>
                      </a:cubicBezTo>
                      <a:close/>
                      <a:moveTo>
                        <a:pt x="2500" y="829"/>
                      </a:moveTo>
                      <a:cubicBezTo>
                        <a:pt x="2477" y="841"/>
                        <a:pt x="2509" y="849"/>
                        <a:pt x="2509" y="849"/>
                      </a:cubicBezTo>
                      <a:cubicBezTo>
                        <a:pt x="2532" y="836"/>
                        <a:pt x="2524" y="816"/>
                        <a:pt x="2500" y="829"/>
                      </a:cubicBezTo>
                      <a:close/>
                      <a:moveTo>
                        <a:pt x="2653" y="1691"/>
                      </a:moveTo>
                      <a:cubicBezTo>
                        <a:pt x="2633" y="1687"/>
                        <a:pt x="2622" y="1678"/>
                        <a:pt x="2622" y="1678"/>
                      </a:cubicBezTo>
                      <a:cubicBezTo>
                        <a:pt x="2612" y="1687"/>
                        <a:pt x="2612" y="1687"/>
                        <a:pt x="2612" y="1687"/>
                      </a:cubicBezTo>
                      <a:cubicBezTo>
                        <a:pt x="2612" y="1687"/>
                        <a:pt x="2629" y="1696"/>
                        <a:pt x="2633" y="1699"/>
                      </a:cubicBezTo>
                      <a:cubicBezTo>
                        <a:pt x="2637" y="1702"/>
                        <a:pt x="2656" y="1701"/>
                        <a:pt x="2656" y="1701"/>
                      </a:cubicBezTo>
                      <a:cubicBezTo>
                        <a:pt x="2656" y="1701"/>
                        <a:pt x="2666" y="1706"/>
                        <a:pt x="2676" y="1705"/>
                      </a:cubicBezTo>
                      <a:cubicBezTo>
                        <a:pt x="2687" y="1704"/>
                        <a:pt x="2691" y="1693"/>
                        <a:pt x="2691" y="1693"/>
                      </a:cubicBezTo>
                      <a:cubicBezTo>
                        <a:pt x="2691" y="1693"/>
                        <a:pt x="2674" y="1695"/>
                        <a:pt x="2653" y="1691"/>
                      </a:cubicBezTo>
                      <a:close/>
                      <a:moveTo>
                        <a:pt x="2731" y="1524"/>
                      </a:moveTo>
                      <a:cubicBezTo>
                        <a:pt x="2731" y="1524"/>
                        <a:pt x="2698" y="1516"/>
                        <a:pt x="2671" y="1515"/>
                      </a:cubicBezTo>
                      <a:cubicBezTo>
                        <a:pt x="2644" y="1514"/>
                        <a:pt x="2686" y="1526"/>
                        <a:pt x="2686" y="1526"/>
                      </a:cubicBezTo>
                      <a:cubicBezTo>
                        <a:pt x="2686" y="1536"/>
                        <a:pt x="2686" y="1536"/>
                        <a:pt x="2686" y="1536"/>
                      </a:cubicBezTo>
                      <a:cubicBezTo>
                        <a:pt x="2686" y="1536"/>
                        <a:pt x="2719" y="1541"/>
                        <a:pt x="2748" y="1546"/>
                      </a:cubicBezTo>
                      <a:cubicBezTo>
                        <a:pt x="2777" y="1551"/>
                        <a:pt x="2804" y="1540"/>
                        <a:pt x="2731" y="1524"/>
                      </a:cubicBezTo>
                      <a:close/>
                      <a:moveTo>
                        <a:pt x="2793" y="1702"/>
                      </a:moveTo>
                      <a:cubicBezTo>
                        <a:pt x="2780" y="1699"/>
                        <a:pt x="2766" y="1706"/>
                        <a:pt x="2761" y="1709"/>
                      </a:cubicBezTo>
                      <a:cubicBezTo>
                        <a:pt x="2765" y="1706"/>
                        <a:pt x="2774" y="1700"/>
                        <a:pt x="2783" y="1690"/>
                      </a:cubicBezTo>
                      <a:cubicBezTo>
                        <a:pt x="2795" y="1677"/>
                        <a:pt x="2764" y="1676"/>
                        <a:pt x="2750" y="1692"/>
                      </a:cubicBezTo>
                      <a:cubicBezTo>
                        <a:pt x="2744" y="1706"/>
                        <a:pt x="2744" y="1706"/>
                        <a:pt x="2744" y="1706"/>
                      </a:cubicBezTo>
                      <a:cubicBezTo>
                        <a:pt x="2736" y="1720"/>
                        <a:pt x="2736" y="1720"/>
                        <a:pt x="2736" y="1720"/>
                      </a:cubicBezTo>
                      <a:cubicBezTo>
                        <a:pt x="2773" y="1715"/>
                        <a:pt x="2773" y="1715"/>
                        <a:pt x="2773" y="1715"/>
                      </a:cubicBezTo>
                      <a:cubicBezTo>
                        <a:pt x="2773" y="1715"/>
                        <a:pt x="2810" y="1706"/>
                        <a:pt x="2793" y="1702"/>
                      </a:cubicBezTo>
                      <a:close/>
                      <a:moveTo>
                        <a:pt x="3058" y="1312"/>
                      </a:moveTo>
                      <a:cubicBezTo>
                        <a:pt x="3051" y="1320"/>
                        <a:pt x="3052" y="1335"/>
                        <a:pt x="3037" y="1324"/>
                      </a:cubicBezTo>
                      <a:cubicBezTo>
                        <a:pt x="3022" y="1313"/>
                        <a:pt x="3046" y="1306"/>
                        <a:pt x="3046" y="1306"/>
                      </a:cubicBezTo>
                      <a:cubicBezTo>
                        <a:pt x="3043" y="1289"/>
                        <a:pt x="3043" y="1289"/>
                        <a:pt x="3043" y="1289"/>
                      </a:cubicBezTo>
                      <a:cubicBezTo>
                        <a:pt x="3023" y="1288"/>
                        <a:pt x="3023" y="1288"/>
                        <a:pt x="3023" y="1288"/>
                      </a:cubicBezTo>
                      <a:cubicBezTo>
                        <a:pt x="3023" y="1288"/>
                        <a:pt x="2977" y="1308"/>
                        <a:pt x="2974" y="1312"/>
                      </a:cubicBezTo>
                      <a:cubicBezTo>
                        <a:pt x="2971" y="1316"/>
                        <a:pt x="2935" y="1320"/>
                        <a:pt x="2935" y="1320"/>
                      </a:cubicBezTo>
                      <a:cubicBezTo>
                        <a:pt x="2914" y="1334"/>
                        <a:pt x="2914" y="1334"/>
                        <a:pt x="2914" y="1334"/>
                      </a:cubicBezTo>
                      <a:cubicBezTo>
                        <a:pt x="2922" y="1319"/>
                        <a:pt x="2922" y="1319"/>
                        <a:pt x="2922" y="1319"/>
                      </a:cubicBezTo>
                      <a:cubicBezTo>
                        <a:pt x="2907" y="1308"/>
                        <a:pt x="2907" y="1308"/>
                        <a:pt x="2907" y="1308"/>
                      </a:cubicBezTo>
                      <a:cubicBezTo>
                        <a:pt x="2930" y="1313"/>
                        <a:pt x="2930" y="1313"/>
                        <a:pt x="2930" y="1313"/>
                      </a:cubicBezTo>
                      <a:cubicBezTo>
                        <a:pt x="2940" y="1305"/>
                        <a:pt x="2940" y="1305"/>
                        <a:pt x="2940" y="1305"/>
                      </a:cubicBezTo>
                      <a:cubicBezTo>
                        <a:pt x="2958" y="1304"/>
                        <a:pt x="2958" y="1304"/>
                        <a:pt x="2958" y="1304"/>
                      </a:cubicBezTo>
                      <a:cubicBezTo>
                        <a:pt x="2960" y="1291"/>
                        <a:pt x="2960" y="1291"/>
                        <a:pt x="2960" y="1291"/>
                      </a:cubicBezTo>
                      <a:cubicBezTo>
                        <a:pt x="2960" y="1291"/>
                        <a:pt x="2981" y="1294"/>
                        <a:pt x="2993" y="1289"/>
                      </a:cubicBezTo>
                      <a:cubicBezTo>
                        <a:pt x="3005" y="1284"/>
                        <a:pt x="3022" y="1275"/>
                        <a:pt x="3022" y="1275"/>
                      </a:cubicBezTo>
                      <a:cubicBezTo>
                        <a:pt x="3022" y="1275"/>
                        <a:pt x="3070" y="1280"/>
                        <a:pt x="3069" y="1275"/>
                      </a:cubicBezTo>
                      <a:cubicBezTo>
                        <a:pt x="3068" y="1270"/>
                        <a:pt x="3050" y="1262"/>
                        <a:pt x="3050" y="1262"/>
                      </a:cubicBezTo>
                      <a:cubicBezTo>
                        <a:pt x="3049" y="1246"/>
                        <a:pt x="3049" y="1246"/>
                        <a:pt x="3049" y="1246"/>
                      </a:cubicBezTo>
                      <a:cubicBezTo>
                        <a:pt x="3049" y="1246"/>
                        <a:pt x="3021" y="1255"/>
                        <a:pt x="3015" y="1254"/>
                      </a:cubicBezTo>
                      <a:cubicBezTo>
                        <a:pt x="3009" y="1253"/>
                        <a:pt x="3007" y="1241"/>
                        <a:pt x="3007" y="1241"/>
                      </a:cubicBezTo>
                      <a:cubicBezTo>
                        <a:pt x="2967" y="1253"/>
                        <a:pt x="2967" y="1253"/>
                        <a:pt x="2967" y="1253"/>
                      </a:cubicBezTo>
                      <a:cubicBezTo>
                        <a:pt x="2969" y="1233"/>
                        <a:pt x="2969" y="1233"/>
                        <a:pt x="2969" y="1233"/>
                      </a:cubicBezTo>
                      <a:cubicBezTo>
                        <a:pt x="2940" y="1243"/>
                        <a:pt x="2940" y="1243"/>
                        <a:pt x="2940" y="1243"/>
                      </a:cubicBezTo>
                      <a:cubicBezTo>
                        <a:pt x="2940" y="1243"/>
                        <a:pt x="2971" y="1208"/>
                        <a:pt x="2963" y="1204"/>
                      </a:cubicBezTo>
                      <a:cubicBezTo>
                        <a:pt x="2955" y="1200"/>
                        <a:pt x="2930" y="1200"/>
                        <a:pt x="2930" y="1200"/>
                      </a:cubicBezTo>
                      <a:cubicBezTo>
                        <a:pt x="2933" y="1184"/>
                        <a:pt x="2933" y="1184"/>
                        <a:pt x="2933" y="1184"/>
                      </a:cubicBezTo>
                      <a:cubicBezTo>
                        <a:pt x="2911" y="1184"/>
                        <a:pt x="2911" y="1184"/>
                        <a:pt x="2911" y="1184"/>
                      </a:cubicBezTo>
                      <a:cubicBezTo>
                        <a:pt x="2920" y="1170"/>
                        <a:pt x="2920" y="1170"/>
                        <a:pt x="2920" y="1170"/>
                      </a:cubicBezTo>
                      <a:cubicBezTo>
                        <a:pt x="2902" y="1154"/>
                        <a:pt x="2902" y="1154"/>
                        <a:pt x="2902" y="1154"/>
                      </a:cubicBezTo>
                      <a:cubicBezTo>
                        <a:pt x="2902" y="1154"/>
                        <a:pt x="2932" y="1161"/>
                        <a:pt x="2940" y="1155"/>
                      </a:cubicBezTo>
                      <a:cubicBezTo>
                        <a:pt x="2948" y="1149"/>
                        <a:pt x="2959" y="1144"/>
                        <a:pt x="2959" y="1144"/>
                      </a:cubicBezTo>
                      <a:cubicBezTo>
                        <a:pt x="2929" y="1126"/>
                        <a:pt x="2929" y="1126"/>
                        <a:pt x="2929" y="1126"/>
                      </a:cubicBezTo>
                      <a:cubicBezTo>
                        <a:pt x="2962" y="1107"/>
                        <a:pt x="2962" y="1107"/>
                        <a:pt x="2962" y="1107"/>
                      </a:cubicBezTo>
                      <a:cubicBezTo>
                        <a:pt x="2929" y="1092"/>
                        <a:pt x="2929" y="1092"/>
                        <a:pt x="2929" y="1092"/>
                      </a:cubicBezTo>
                      <a:cubicBezTo>
                        <a:pt x="2899" y="1093"/>
                        <a:pt x="2899" y="1093"/>
                        <a:pt x="2899" y="1093"/>
                      </a:cubicBezTo>
                      <a:cubicBezTo>
                        <a:pt x="2935" y="1080"/>
                        <a:pt x="2935" y="1080"/>
                        <a:pt x="2935" y="1080"/>
                      </a:cubicBezTo>
                      <a:cubicBezTo>
                        <a:pt x="2910" y="1074"/>
                        <a:pt x="2910" y="1074"/>
                        <a:pt x="2910" y="1074"/>
                      </a:cubicBezTo>
                      <a:cubicBezTo>
                        <a:pt x="2940" y="1060"/>
                        <a:pt x="2940" y="1060"/>
                        <a:pt x="2940" y="1060"/>
                      </a:cubicBezTo>
                      <a:cubicBezTo>
                        <a:pt x="2935" y="1044"/>
                        <a:pt x="2935" y="1044"/>
                        <a:pt x="2935" y="1044"/>
                      </a:cubicBezTo>
                      <a:cubicBezTo>
                        <a:pt x="2913" y="1042"/>
                        <a:pt x="2913" y="1042"/>
                        <a:pt x="2913" y="1042"/>
                      </a:cubicBezTo>
                      <a:cubicBezTo>
                        <a:pt x="2913" y="1042"/>
                        <a:pt x="2931" y="1032"/>
                        <a:pt x="2923" y="1013"/>
                      </a:cubicBezTo>
                      <a:cubicBezTo>
                        <a:pt x="2915" y="994"/>
                        <a:pt x="2907" y="997"/>
                        <a:pt x="2907" y="997"/>
                      </a:cubicBezTo>
                      <a:cubicBezTo>
                        <a:pt x="2916" y="983"/>
                        <a:pt x="2916" y="983"/>
                        <a:pt x="2916" y="983"/>
                      </a:cubicBezTo>
                      <a:cubicBezTo>
                        <a:pt x="2916" y="983"/>
                        <a:pt x="2892" y="994"/>
                        <a:pt x="2887" y="1001"/>
                      </a:cubicBezTo>
                      <a:cubicBezTo>
                        <a:pt x="2882" y="1008"/>
                        <a:pt x="2886" y="1014"/>
                        <a:pt x="2886" y="1014"/>
                      </a:cubicBezTo>
                      <a:cubicBezTo>
                        <a:pt x="2867" y="1008"/>
                        <a:pt x="2867" y="1008"/>
                        <a:pt x="2867" y="1008"/>
                      </a:cubicBezTo>
                      <a:cubicBezTo>
                        <a:pt x="2871" y="1030"/>
                        <a:pt x="2871" y="1030"/>
                        <a:pt x="2871" y="1030"/>
                      </a:cubicBezTo>
                      <a:cubicBezTo>
                        <a:pt x="2853" y="1029"/>
                        <a:pt x="2853" y="1029"/>
                        <a:pt x="2853" y="1029"/>
                      </a:cubicBezTo>
                      <a:cubicBezTo>
                        <a:pt x="2845" y="1043"/>
                        <a:pt x="2845" y="1043"/>
                        <a:pt x="2845" y="1043"/>
                      </a:cubicBezTo>
                      <a:cubicBezTo>
                        <a:pt x="2850" y="1049"/>
                        <a:pt x="2850" y="1049"/>
                        <a:pt x="2850" y="1049"/>
                      </a:cubicBezTo>
                      <a:cubicBezTo>
                        <a:pt x="2834" y="1050"/>
                        <a:pt x="2834" y="1050"/>
                        <a:pt x="2834" y="1050"/>
                      </a:cubicBezTo>
                      <a:cubicBezTo>
                        <a:pt x="2819" y="1080"/>
                        <a:pt x="2819" y="1080"/>
                        <a:pt x="2819" y="1080"/>
                      </a:cubicBezTo>
                      <a:cubicBezTo>
                        <a:pt x="2811" y="1080"/>
                        <a:pt x="2811" y="1080"/>
                        <a:pt x="2811" y="1080"/>
                      </a:cubicBezTo>
                      <a:cubicBezTo>
                        <a:pt x="2821" y="1055"/>
                        <a:pt x="2821" y="1055"/>
                        <a:pt x="2821" y="1055"/>
                      </a:cubicBezTo>
                      <a:cubicBezTo>
                        <a:pt x="2821" y="1055"/>
                        <a:pt x="2811" y="1040"/>
                        <a:pt x="2802" y="1049"/>
                      </a:cubicBezTo>
                      <a:cubicBezTo>
                        <a:pt x="2793" y="1058"/>
                        <a:pt x="2781" y="1071"/>
                        <a:pt x="2774" y="1072"/>
                      </a:cubicBezTo>
                      <a:cubicBezTo>
                        <a:pt x="2767" y="1073"/>
                        <a:pt x="2739" y="1094"/>
                        <a:pt x="2739" y="1094"/>
                      </a:cubicBezTo>
                      <a:cubicBezTo>
                        <a:pt x="2744" y="1079"/>
                        <a:pt x="2744" y="1079"/>
                        <a:pt x="2744" y="1079"/>
                      </a:cubicBezTo>
                      <a:cubicBezTo>
                        <a:pt x="2743" y="1068"/>
                        <a:pt x="2743" y="1068"/>
                        <a:pt x="2743" y="1068"/>
                      </a:cubicBezTo>
                      <a:cubicBezTo>
                        <a:pt x="2718" y="1089"/>
                        <a:pt x="2718" y="1089"/>
                        <a:pt x="2718" y="1089"/>
                      </a:cubicBezTo>
                      <a:cubicBezTo>
                        <a:pt x="2674" y="1099"/>
                        <a:pt x="2674" y="1099"/>
                        <a:pt x="2674" y="1099"/>
                      </a:cubicBezTo>
                      <a:cubicBezTo>
                        <a:pt x="2715" y="1085"/>
                        <a:pt x="2715" y="1085"/>
                        <a:pt x="2715" y="1085"/>
                      </a:cubicBezTo>
                      <a:cubicBezTo>
                        <a:pt x="2715" y="1085"/>
                        <a:pt x="2739" y="1058"/>
                        <a:pt x="2726" y="1052"/>
                      </a:cubicBezTo>
                      <a:cubicBezTo>
                        <a:pt x="2713" y="1046"/>
                        <a:pt x="2698" y="1052"/>
                        <a:pt x="2698" y="1052"/>
                      </a:cubicBezTo>
                      <a:cubicBezTo>
                        <a:pt x="2698" y="1052"/>
                        <a:pt x="2665" y="1067"/>
                        <a:pt x="2667" y="1056"/>
                      </a:cubicBezTo>
                      <a:cubicBezTo>
                        <a:pt x="2669" y="1045"/>
                        <a:pt x="2686" y="1042"/>
                        <a:pt x="2686" y="1042"/>
                      </a:cubicBezTo>
                      <a:cubicBezTo>
                        <a:pt x="2685" y="1049"/>
                        <a:pt x="2685" y="1049"/>
                        <a:pt x="2685" y="1049"/>
                      </a:cubicBezTo>
                      <a:cubicBezTo>
                        <a:pt x="2699" y="1044"/>
                        <a:pt x="2699" y="1044"/>
                        <a:pt x="2699" y="1044"/>
                      </a:cubicBezTo>
                      <a:cubicBezTo>
                        <a:pt x="2696" y="1025"/>
                        <a:pt x="2696" y="1025"/>
                        <a:pt x="2696" y="1025"/>
                      </a:cubicBezTo>
                      <a:cubicBezTo>
                        <a:pt x="2696" y="1025"/>
                        <a:pt x="2721" y="1011"/>
                        <a:pt x="2712" y="1004"/>
                      </a:cubicBezTo>
                      <a:cubicBezTo>
                        <a:pt x="2703" y="997"/>
                        <a:pt x="2676" y="993"/>
                        <a:pt x="2676" y="993"/>
                      </a:cubicBezTo>
                      <a:cubicBezTo>
                        <a:pt x="2676" y="993"/>
                        <a:pt x="2721" y="995"/>
                        <a:pt x="2724" y="983"/>
                      </a:cubicBezTo>
                      <a:cubicBezTo>
                        <a:pt x="2727" y="971"/>
                        <a:pt x="2730" y="968"/>
                        <a:pt x="2736" y="964"/>
                      </a:cubicBezTo>
                      <a:cubicBezTo>
                        <a:pt x="2742" y="960"/>
                        <a:pt x="2762" y="959"/>
                        <a:pt x="2752" y="950"/>
                      </a:cubicBezTo>
                      <a:cubicBezTo>
                        <a:pt x="2742" y="941"/>
                        <a:pt x="2732" y="957"/>
                        <a:pt x="2732" y="957"/>
                      </a:cubicBezTo>
                      <a:cubicBezTo>
                        <a:pt x="2726" y="940"/>
                        <a:pt x="2726" y="940"/>
                        <a:pt x="2726" y="940"/>
                      </a:cubicBezTo>
                      <a:cubicBezTo>
                        <a:pt x="2726" y="940"/>
                        <a:pt x="2695" y="941"/>
                        <a:pt x="2686" y="941"/>
                      </a:cubicBezTo>
                      <a:cubicBezTo>
                        <a:pt x="2677" y="941"/>
                        <a:pt x="2675" y="926"/>
                        <a:pt x="2683" y="923"/>
                      </a:cubicBezTo>
                      <a:cubicBezTo>
                        <a:pt x="2691" y="920"/>
                        <a:pt x="2692" y="913"/>
                        <a:pt x="2685" y="911"/>
                      </a:cubicBezTo>
                      <a:cubicBezTo>
                        <a:pt x="2678" y="909"/>
                        <a:pt x="2672" y="916"/>
                        <a:pt x="2672" y="916"/>
                      </a:cubicBezTo>
                      <a:cubicBezTo>
                        <a:pt x="2677" y="900"/>
                        <a:pt x="2677" y="900"/>
                        <a:pt x="2677" y="900"/>
                      </a:cubicBezTo>
                      <a:cubicBezTo>
                        <a:pt x="2653" y="904"/>
                        <a:pt x="2653" y="904"/>
                        <a:pt x="2653" y="904"/>
                      </a:cubicBezTo>
                      <a:cubicBezTo>
                        <a:pt x="2653" y="904"/>
                        <a:pt x="2657" y="875"/>
                        <a:pt x="2640" y="875"/>
                      </a:cubicBezTo>
                      <a:cubicBezTo>
                        <a:pt x="2623" y="875"/>
                        <a:pt x="2595" y="892"/>
                        <a:pt x="2595" y="892"/>
                      </a:cubicBezTo>
                      <a:cubicBezTo>
                        <a:pt x="2595" y="892"/>
                        <a:pt x="2587" y="881"/>
                        <a:pt x="2579" y="881"/>
                      </a:cubicBezTo>
                      <a:cubicBezTo>
                        <a:pt x="2571" y="881"/>
                        <a:pt x="2554" y="890"/>
                        <a:pt x="2554" y="890"/>
                      </a:cubicBezTo>
                      <a:cubicBezTo>
                        <a:pt x="2554" y="890"/>
                        <a:pt x="2508" y="868"/>
                        <a:pt x="2492" y="871"/>
                      </a:cubicBezTo>
                      <a:cubicBezTo>
                        <a:pt x="2476" y="874"/>
                        <a:pt x="2470" y="886"/>
                        <a:pt x="2470" y="886"/>
                      </a:cubicBezTo>
                      <a:cubicBezTo>
                        <a:pt x="2470" y="886"/>
                        <a:pt x="2449" y="896"/>
                        <a:pt x="2456" y="904"/>
                      </a:cubicBezTo>
                      <a:cubicBezTo>
                        <a:pt x="2463" y="912"/>
                        <a:pt x="2476" y="913"/>
                        <a:pt x="2470" y="921"/>
                      </a:cubicBezTo>
                      <a:cubicBezTo>
                        <a:pt x="2464" y="929"/>
                        <a:pt x="2439" y="945"/>
                        <a:pt x="2439" y="945"/>
                      </a:cubicBezTo>
                      <a:cubicBezTo>
                        <a:pt x="2421" y="952"/>
                        <a:pt x="2421" y="952"/>
                        <a:pt x="2421" y="952"/>
                      </a:cubicBezTo>
                      <a:cubicBezTo>
                        <a:pt x="2438" y="961"/>
                        <a:pt x="2438" y="961"/>
                        <a:pt x="2438" y="961"/>
                      </a:cubicBezTo>
                      <a:cubicBezTo>
                        <a:pt x="2438" y="961"/>
                        <a:pt x="2423" y="968"/>
                        <a:pt x="2422" y="977"/>
                      </a:cubicBezTo>
                      <a:cubicBezTo>
                        <a:pt x="2421" y="986"/>
                        <a:pt x="2429" y="993"/>
                        <a:pt x="2421" y="1003"/>
                      </a:cubicBezTo>
                      <a:cubicBezTo>
                        <a:pt x="2413" y="1013"/>
                        <a:pt x="2406" y="1005"/>
                        <a:pt x="2393" y="1013"/>
                      </a:cubicBezTo>
                      <a:cubicBezTo>
                        <a:pt x="2380" y="1021"/>
                        <a:pt x="2382" y="1034"/>
                        <a:pt x="2382" y="1034"/>
                      </a:cubicBezTo>
                      <a:cubicBezTo>
                        <a:pt x="2382" y="1034"/>
                        <a:pt x="2366" y="1037"/>
                        <a:pt x="2360" y="1043"/>
                      </a:cubicBezTo>
                      <a:cubicBezTo>
                        <a:pt x="2354" y="1049"/>
                        <a:pt x="2334" y="1054"/>
                        <a:pt x="2336" y="1062"/>
                      </a:cubicBezTo>
                      <a:cubicBezTo>
                        <a:pt x="2338" y="1070"/>
                        <a:pt x="2375" y="1084"/>
                        <a:pt x="2375" y="1093"/>
                      </a:cubicBezTo>
                      <a:cubicBezTo>
                        <a:pt x="2375" y="1102"/>
                        <a:pt x="2374" y="1167"/>
                        <a:pt x="2339" y="1187"/>
                      </a:cubicBezTo>
                      <a:cubicBezTo>
                        <a:pt x="2304" y="1207"/>
                        <a:pt x="2259" y="1242"/>
                        <a:pt x="2241" y="1243"/>
                      </a:cubicBezTo>
                      <a:cubicBezTo>
                        <a:pt x="2223" y="1244"/>
                        <a:pt x="2174" y="1247"/>
                        <a:pt x="2171" y="1256"/>
                      </a:cubicBezTo>
                      <a:cubicBezTo>
                        <a:pt x="2168" y="1265"/>
                        <a:pt x="2180" y="1293"/>
                        <a:pt x="2180" y="1298"/>
                      </a:cubicBezTo>
                      <a:cubicBezTo>
                        <a:pt x="2180" y="1303"/>
                        <a:pt x="2159" y="1324"/>
                        <a:pt x="2155" y="1339"/>
                      </a:cubicBezTo>
                      <a:cubicBezTo>
                        <a:pt x="2151" y="1354"/>
                        <a:pt x="2154" y="1387"/>
                        <a:pt x="2154" y="1387"/>
                      </a:cubicBezTo>
                      <a:cubicBezTo>
                        <a:pt x="2154" y="1387"/>
                        <a:pt x="2120" y="1404"/>
                        <a:pt x="2119" y="1409"/>
                      </a:cubicBezTo>
                      <a:cubicBezTo>
                        <a:pt x="2118" y="1414"/>
                        <a:pt x="2117" y="1431"/>
                        <a:pt x="2117" y="1431"/>
                      </a:cubicBezTo>
                      <a:cubicBezTo>
                        <a:pt x="2104" y="1447"/>
                        <a:pt x="2104" y="1447"/>
                        <a:pt x="2104" y="1447"/>
                      </a:cubicBezTo>
                      <a:cubicBezTo>
                        <a:pt x="2104" y="1447"/>
                        <a:pt x="2111" y="1423"/>
                        <a:pt x="2100" y="1422"/>
                      </a:cubicBezTo>
                      <a:cubicBezTo>
                        <a:pt x="2089" y="1421"/>
                        <a:pt x="2067" y="1435"/>
                        <a:pt x="2072" y="1446"/>
                      </a:cubicBezTo>
                      <a:cubicBezTo>
                        <a:pt x="2077" y="1457"/>
                        <a:pt x="2071" y="1466"/>
                        <a:pt x="2071" y="1466"/>
                      </a:cubicBezTo>
                      <a:cubicBezTo>
                        <a:pt x="2071" y="1466"/>
                        <a:pt x="2069" y="1446"/>
                        <a:pt x="2063" y="1441"/>
                      </a:cubicBezTo>
                      <a:cubicBezTo>
                        <a:pt x="2057" y="1436"/>
                        <a:pt x="2019" y="1447"/>
                        <a:pt x="2019" y="1447"/>
                      </a:cubicBezTo>
                      <a:cubicBezTo>
                        <a:pt x="2019" y="1447"/>
                        <a:pt x="2055" y="1426"/>
                        <a:pt x="2051" y="1413"/>
                      </a:cubicBezTo>
                      <a:cubicBezTo>
                        <a:pt x="2047" y="1400"/>
                        <a:pt x="2011" y="1389"/>
                        <a:pt x="2011" y="1389"/>
                      </a:cubicBezTo>
                      <a:cubicBezTo>
                        <a:pt x="2011" y="1389"/>
                        <a:pt x="2028" y="1386"/>
                        <a:pt x="2028" y="1379"/>
                      </a:cubicBezTo>
                      <a:cubicBezTo>
                        <a:pt x="2028" y="1372"/>
                        <a:pt x="2016" y="1346"/>
                        <a:pt x="2016" y="1346"/>
                      </a:cubicBezTo>
                      <a:cubicBezTo>
                        <a:pt x="2038" y="1331"/>
                        <a:pt x="2038" y="1331"/>
                        <a:pt x="2038" y="1331"/>
                      </a:cubicBezTo>
                      <a:cubicBezTo>
                        <a:pt x="2037" y="1316"/>
                        <a:pt x="2037" y="1316"/>
                        <a:pt x="2037" y="1316"/>
                      </a:cubicBezTo>
                      <a:cubicBezTo>
                        <a:pt x="2054" y="1305"/>
                        <a:pt x="2054" y="1305"/>
                        <a:pt x="2054" y="1305"/>
                      </a:cubicBezTo>
                      <a:cubicBezTo>
                        <a:pt x="2053" y="1280"/>
                        <a:pt x="2053" y="1280"/>
                        <a:pt x="2053" y="1280"/>
                      </a:cubicBezTo>
                      <a:cubicBezTo>
                        <a:pt x="2053" y="1280"/>
                        <a:pt x="2102" y="1253"/>
                        <a:pt x="2078" y="1241"/>
                      </a:cubicBezTo>
                      <a:cubicBezTo>
                        <a:pt x="2054" y="1229"/>
                        <a:pt x="1982" y="1233"/>
                        <a:pt x="1982" y="1233"/>
                      </a:cubicBezTo>
                      <a:cubicBezTo>
                        <a:pt x="1958" y="1241"/>
                        <a:pt x="1958" y="1241"/>
                        <a:pt x="1958" y="1241"/>
                      </a:cubicBezTo>
                      <a:cubicBezTo>
                        <a:pt x="1958" y="1241"/>
                        <a:pt x="1976" y="1220"/>
                        <a:pt x="1966" y="1215"/>
                      </a:cubicBezTo>
                      <a:cubicBezTo>
                        <a:pt x="1956" y="1210"/>
                        <a:pt x="1908" y="1200"/>
                        <a:pt x="1908" y="1200"/>
                      </a:cubicBezTo>
                      <a:cubicBezTo>
                        <a:pt x="1908" y="1200"/>
                        <a:pt x="1913" y="1178"/>
                        <a:pt x="1894" y="1164"/>
                      </a:cubicBezTo>
                      <a:cubicBezTo>
                        <a:pt x="1875" y="1150"/>
                        <a:pt x="1850" y="1149"/>
                        <a:pt x="1850" y="1149"/>
                      </a:cubicBezTo>
                      <a:cubicBezTo>
                        <a:pt x="1850" y="1149"/>
                        <a:pt x="1851" y="1137"/>
                        <a:pt x="1823" y="1136"/>
                      </a:cubicBezTo>
                      <a:cubicBezTo>
                        <a:pt x="1795" y="1135"/>
                        <a:pt x="1726" y="1147"/>
                        <a:pt x="1726" y="1147"/>
                      </a:cubicBezTo>
                      <a:cubicBezTo>
                        <a:pt x="1726" y="1147"/>
                        <a:pt x="1759" y="1137"/>
                        <a:pt x="1760" y="1125"/>
                      </a:cubicBezTo>
                      <a:cubicBezTo>
                        <a:pt x="1761" y="1113"/>
                        <a:pt x="1779" y="1061"/>
                        <a:pt x="1779" y="1061"/>
                      </a:cubicBezTo>
                      <a:cubicBezTo>
                        <a:pt x="1779" y="1061"/>
                        <a:pt x="1749" y="1055"/>
                        <a:pt x="1746" y="1057"/>
                      </a:cubicBezTo>
                      <a:cubicBezTo>
                        <a:pt x="1743" y="1059"/>
                        <a:pt x="1720" y="1075"/>
                        <a:pt x="1720" y="1075"/>
                      </a:cubicBezTo>
                      <a:cubicBezTo>
                        <a:pt x="1730" y="1056"/>
                        <a:pt x="1730" y="1056"/>
                        <a:pt x="1730" y="1056"/>
                      </a:cubicBezTo>
                      <a:cubicBezTo>
                        <a:pt x="1726" y="1041"/>
                        <a:pt x="1726" y="1041"/>
                        <a:pt x="1726" y="1041"/>
                      </a:cubicBezTo>
                      <a:cubicBezTo>
                        <a:pt x="1726" y="1041"/>
                        <a:pt x="1752" y="1019"/>
                        <a:pt x="1764" y="998"/>
                      </a:cubicBezTo>
                      <a:cubicBezTo>
                        <a:pt x="1776" y="977"/>
                        <a:pt x="1844" y="940"/>
                        <a:pt x="1844" y="940"/>
                      </a:cubicBezTo>
                      <a:cubicBezTo>
                        <a:pt x="1838" y="929"/>
                        <a:pt x="1838" y="929"/>
                        <a:pt x="1838" y="929"/>
                      </a:cubicBezTo>
                      <a:cubicBezTo>
                        <a:pt x="1881" y="915"/>
                        <a:pt x="1881" y="915"/>
                        <a:pt x="1881" y="915"/>
                      </a:cubicBezTo>
                      <a:cubicBezTo>
                        <a:pt x="1882" y="904"/>
                        <a:pt x="1882" y="904"/>
                        <a:pt x="1882" y="904"/>
                      </a:cubicBezTo>
                      <a:cubicBezTo>
                        <a:pt x="1909" y="900"/>
                        <a:pt x="1909" y="900"/>
                        <a:pt x="1909" y="900"/>
                      </a:cubicBezTo>
                      <a:cubicBezTo>
                        <a:pt x="1911" y="887"/>
                        <a:pt x="1911" y="887"/>
                        <a:pt x="1911" y="887"/>
                      </a:cubicBezTo>
                      <a:cubicBezTo>
                        <a:pt x="1932" y="884"/>
                        <a:pt x="1932" y="884"/>
                        <a:pt x="1932" y="884"/>
                      </a:cubicBezTo>
                      <a:cubicBezTo>
                        <a:pt x="1966" y="857"/>
                        <a:pt x="1966" y="857"/>
                        <a:pt x="1966" y="857"/>
                      </a:cubicBezTo>
                      <a:cubicBezTo>
                        <a:pt x="1966" y="857"/>
                        <a:pt x="2040" y="860"/>
                        <a:pt x="2040" y="847"/>
                      </a:cubicBezTo>
                      <a:cubicBezTo>
                        <a:pt x="2040" y="834"/>
                        <a:pt x="2020" y="819"/>
                        <a:pt x="2020" y="819"/>
                      </a:cubicBezTo>
                      <a:cubicBezTo>
                        <a:pt x="1980" y="824"/>
                        <a:pt x="1980" y="824"/>
                        <a:pt x="1980" y="824"/>
                      </a:cubicBezTo>
                      <a:cubicBezTo>
                        <a:pt x="1986" y="814"/>
                        <a:pt x="1986" y="814"/>
                        <a:pt x="1986" y="814"/>
                      </a:cubicBezTo>
                      <a:cubicBezTo>
                        <a:pt x="1950" y="800"/>
                        <a:pt x="1950" y="800"/>
                        <a:pt x="1950" y="800"/>
                      </a:cubicBezTo>
                      <a:cubicBezTo>
                        <a:pt x="1966" y="795"/>
                        <a:pt x="1966" y="795"/>
                        <a:pt x="1966" y="795"/>
                      </a:cubicBezTo>
                      <a:cubicBezTo>
                        <a:pt x="2021" y="811"/>
                        <a:pt x="2021" y="811"/>
                        <a:pt x="2021" y="811"/>
                      </a:cubicBezTo>
                      <a:cubicBezTo>
                        <a:pt x="2021" y="811"/>
                        <a:pt x="2042" y="833"/>
                        <a:pt x="2061" y="825"/>
                      </a:cubicBezTo>
                      <a:cubicBezTo>
                        <a:pt x="2080" y="817"/>
                        <a:pt x="2096" y="784"/>
                        <a:pt x="2103" y="789"/>
                      </a:cubicBezTo>
                      <a:cubicBezTo>
                        <a:pt x="2110" y="794"/>
                        <a:pt x="2131" y="804"/>
                        <a:pt x="2140" y="802"/>
                      </a:cubicBezTo>
                      <a:cubicBezTo>
                        <a:pt x="2140" y="802"/>
                        <a:pt x="2185" y="783"/>
                        <a:pt x="2203" y="776"/>
                      </a:cubicBezTo>
                      <a:cubicBezTo>
                        <a:pt x="2221" y="769"/>
                        <a:pt x="2255" y="750"/>
                        <a:pt x="2243" y="747"/>
                      </a:cubicBezTo>
                      <a:cubicBezTo>
                        <a:pt x="2231" y="744"/>
                        <a:pt x="2175" y="744"/>
                        <a:pt x="2175" y="744"/>
                      </a:cubicBezTo>
                      <a:cubicBezTo>
                        <a:pt x="2171" y="728"/>
                        <a:pt x="2171" y="728"/>
                        <a:pt x="2171" y="728"/>
                      </a:cubicBezTo>
                      <a:cubicBezTo>
                        <a:pt x="2115" y="708"/>
                        <a:pt x="2115" y="708"/>
                        <a:pt x="2115" y="708"/>
                      </a:cubicBezTo>
                      <a:cubicBezTo>
                        <a:pt x="2115" y="708"/>
                        <a:pt x="2171" y="700"/>
                        <a:pt x="2186" y="706"/>
                      </a:cubicBezTo>
                      <a:cubicBezTo>
                        <a:pt x="2201" y="712"/>
                        <a:pt x="2215" y="738"/>
                        <a:pt x="2230" y="738"/>
                      </a:cubicBezTo>
                      <a:cubicBezTo>
                        <a:pt x="2245" y="738"/>
                        <a:pt x="2324" y="700"/>
                        <a:pt x="2324" y="700"/>
                      </a:cubicBezTo>
                      <a:cubicBezTo>
                        <a:pt x="2305" y="692"/>
                        <a:pt x="2305" y="692"/>
                        <a:pt x="2305" y="692"/>
                      </a:cubicBezTo>
                      <a:cubicBezTo>
                        <a:pt x="2305" y="692"/>
                        <a:pt x="2319" y="680"/>
                        <a:pt x="2337" y="680"/>
                      </a:cubicBezTo>
                      <a:cubicBezTo>
                        <a:pt x="2355" y="680"/>
                        <a:pt x="2360" y="694"/>
                        <a:pt x="2360" y="694"/>
                      </a:cubicBezTo>
                      <a:cubicBezTo>
                        <a:pt x="2380" y="701"/>
                        <a:pt x="2380" y="701"/>
                        <a:pt x="2380" y="701"/>
                      </a:cubicBezTo>
                      <a:cubicBezTo>
                        <a:pt x="2381" y="688"/>
                        <a:pt x="2381" y="688"/>
                        <a:pt x="2381" y="688"/>
                      </a:cubicBezTo>
                      <a:cubicBezTo>
                        <a:pt x="2381" y="688"/>
                        <a:pt x="2395" y="705"/>
                        <a:pt x="2400" y="696"/>
                      </a:cubicBezTo>
                      <a:cubicBezTo>
                        <a:pt x="2405" y="687"/>
                        <a:pt x="2388" y="669"/>
                        <a:pt x="2388" y="669"/>
                      </a:cubicBezTo>
                      <a:cubicBezTo>
                        <a:pt x="2374" y="663"/>
                        <a:pt x="2374" y="663"/>
                        <a:pt x="2374" y="663"/>
                      </a:cubicBezTo>
                      <a:cubicBezTo>
                        <a:pt x="2401" y="658"/>
                        <a:pt x="2401" y="658"/>
                        <a:pt x="2401" y="658"/>
                      </a:cubicBezTo>
                      <a:cubicBezTo>
                        <a:pt x="2401" y="658"/>
                        <a:pt x="2415" y="697"/>
                        <a:pt x="2424" y="695"/>
                      </a:cubicBezTo>
                      <a:cubicBezTo>
                        <a:pt x="2433" y="693"/>
                        <a:pt x="2546" y="660"/>
                        <a:pt x="2532" y="641"/>
                      </a:cubicBezTo>
                      <a:cubicBezTo>
                        <a:pt x="2518" y="622"/>
                        <a:pt x="2507" y="607"/>
                        <a:pt x="2518" y="600"/>
                      </a:cubicBezTo>
                      <a:cubicBezTo>
                        <a:pt x="2529" y="593"/>
                        <a:pt x="2579" y="591"/>
                        <a:pt x="2580" y="585"/>
                      </a:cubicBezTo>
                      <a:cubicBezTo>
                        <a:pt x="2581" y="579"/>
                        <a:pt x="2570" y="553"/>
                        <a:pt x="2570" y="553"/>
                      </a:cubicBezTo>
                      <a:cubicBezTo>
                        <a:pt x="2558" y="538"/>
                        <a:pt x="2558" y="538"/>
                        <a:pt x="2558" y="538"/>
                      </a:cubicBezTo>
                      <a:cubicBezTo>
                        <a:pt x="2558" y="538"/>
                        <a:pt x="2496" y="520"/>
                        <a:pt x="2470" y="538"/>
                      </a:cubicBezTo>
                      <a:cubicBezTo>
                        <a:pt x="2444" y="556"/>
                        <a:pt x="2466" y="568"/>
                        <a:pt x="2466" y="568"/>
                      </a:cubicBezTo>
                      <a:cubicBezTo>
                        <a:pt x="2442" y="583"/>
                        <a:pt x="2442" y="583"/>
                        <a:pt x="2442" y="583"/>
                      </a:cubicBezTo>
                      <a:cubicBezTo>
                        <a:pt x="2428" y="583"/>
                        <a:pt x="2428" y="583"/>
                        <a:pt x="2428" y="583"/>
                      </a:cubicBezTo>
                      <a:cubicBezTo>
                        <a:pt x="2383" y="614"/>
                        <a:pt x="2383" y="614"/>
                        <a:pt x="2383" y="614"/>
                      </a:cubicBezTo>
                      <a:cubicBezTo>
                        <a:pt x="2366" y="621"/>
                        <a:pt x="2366" y="621"/>
                        <a:pt x="2366" y="621"/>
                      </a:cubicBezTo>
                      <a:cubicBezTo>
                        <a:pt x="2366" y="621"/>
                        <a:pt x="2354" y="639"/>
                        <a:pt x="2350" y="642"/>
                      </a:cubicBezTo>
                      <a:cubicBezTo>
                        <a:pt x="2346" y="645"/>
                        <a:pt x="2327" y="646"/>
                        <a:pt x="2327" y="646"/>
                      </a:cubicBezTo>
                      <a:cubicBezTo>
                        <a:pt x="2304" y="658"/>
                        <a:pt x="2304" y="658"/>
                        <a:pt x="2304" y="658"/>
                      </a:cubicBezTo>
                      <a:cubicBezTo>
                        <a:pt x="2304" y="658"/>
                        <a:pt x="2293" y="624"/>
                        <a:pt x="2299" y="613"/>
                      </a:cubicBezTo>
                      <a:cubicBezTo>
                        <a:pt x="2305" y="602"/>
                        <a:pt x="2336" y="607"/>
                        <a:pt x="2341" y="591"/>
                      </a:cubicBezTo>
                      <a:cubicBezTo>
                        <a:pt x="2346" y="575"/>
                        <a:pt x="2330" y="558"/>
                        <a:pt x="2327" y="558"/>
                      </a:cubicBezTo>
                      <a:cubicBezTo>
                        <a:pt x="2324" y="558"/>
                        <a:pt x="2271" y="582"/>
                        <a:pt x="2271" y="582"/>
                      </a:cubicBezTo>
                      <a:cubicBezTo>
                        <a:pt x="2252" y="603"/>
                        <a:pt x="2252" y="603"/>
                        <a:pt x="2252" y="603"/>
                      </a:cubicBezTo>
                      <a:cubicBezTo>
                        <a:pt x="2246" y="594"/>
                        <a:pt x="2246" y="594"/>
                        <a:pt x="2246" y="594"/>
                      </a:cubicBezTo>
                      <a:cubicBezTo>
                        <a:pt x="2264" y="576"/>
                        <a:pt x="2264" y="576"/>
                        <a:pt x="2264" y="576"/>
                      </a:cubicBezTo>
                      <a:cubicBezTo>
                        <a:pt x="2262" y="563"/>
                        <a:pt x="2262" y="563"/>
                        <a:pt x="2262" y="563"/>
                      </a:cubicBezTo>
                      <a:cubicBezTo>
                        <a:pt x="2292" y="552"/>
                        <a:pt x="2292" y="552"/>
                        <a:pt x="2292" y="552"/>
                      </a:cubicBezTo>
                      <a:cubicBezTo>
                        <a:pt x="2265" y="547"/>
                        <a:pt x="2265" y="547"/>
                        <a:pt x="2265" y="547"/>
                      </a:cubicBezTo>
                      <a:cubicBezTo>
                        <a:pt x="2270" y="537"/>
                        <a:pt x="2270" y="537"/>
                        <a:pt x="2270" y="537"/>
                      </a:cubicBezTo>
                      <a:cubicBezTo>
                        <a:pt x="2238" y="547"/>
                        <a:pt x="2238" y="547"/>
                        <a:pt x="2238" y="547"/>
                      </a:cubicBezTo>
                      <a:cubicBezTo>
                        <a:pt x="2224" y="539"/>
                        <a:pt x="2224" y="539"/>
                        <a:pt x="2224" y="539"/>
                      </a:cubicBezTo>
                      <a:cubicBezTo>
                        <a:pt x="2249" y="530"/>
                        <a:pt x="2249" y="530"/>
                        <a:pt x="2249" y="530"/>
                      </a:cubicBezTo>
                      <a:cubicBezTo>
                        <a:pt x="2250" y="520"/>
                        <a:pt x="2250" y="520"/>
                        <a:pt x="2250" y="520"/>
                      </a:cubicBezTo>
                      <a:cubicBezTo>
                        <a:pt x="2250" y="520"/>
                        <a:pt x="2286" y="528"/>
                        <a:pt x="2284" y="515"/>
                      </a:cubicBezTo>
                      <a:cubicBezTo>
                        <a:pt x="2282" y="502"/>
                        <a:pt x="2254" y="505"/>
                        <a:pt x="2266" y="488"/>
                      </a:cubicBezTo>
                      <a:cubicBezTo>
                        <a:pt x="2278" y="471"/>
                        <a:pt x="2289" y="446"/>
                        <a:pt x="2273" y="445"/>
                      </a:cubicBezTo>
                      <a:cubicBezTo>
                        <a:pt x="2248" y="435"/>
                        <a:pt x="2248" y="435"/>
                        <a:pt x="2248" y="435"/>
                      </a:cubicBezTo>
                      <a:cubicBezTo>
                        <a:pt x="2229" y="443"/>
                        <a:pt x="2229" y="443"/>
                        <a:pt x="2229" y="443"/>
                      </a:cubicBezTo>
                      <a:cubicBezTo>
                        <a:pt x="2229" y="443"/>
                        <a:pt x="2202" y="445"/>
                        <a:pt x="2201" y="449"/>
                      </a:cubicBezTo>
                      <a:cubicBezTo>
                        <a:pt x="2200" y="453"/>
                        <a:pt x="2208" y="462"/>
                        <a:pt x="2202" y="463"/>
                      </a:cubicBezTo>
                      <a:cubicBezTo>
                        <a:pt x="2196" y="464"/>
                        <a:pt x="2160" y="457"/>
                        <a:pt x="2152" y="466"/>
                      </a:cubicBezTo>
                      <a:cubicBezTo>
                        <a:pt x="2144" y="475"/>
                        <a:pt x="2127" y="484"/>
                        <a:pt x="2136" y="488"/>
                      </a:cubicBezTo>
                      <a:cubicBezTo>
                        <a:pt x="2145" y="492"/>
                        <a:pt x="2156" y="494"/>
                        <a:pt x="2156" y="494"/>
                      </a:cubicBezTo>
                      <a:cubicBezTo>
                        <a:pt x="2156" y="494"/>
                        <a:pt x="2107" y="507"/>
                        <a:pt x="2109" y="520"/>
                      </a:cubicBezTo>
                      <a:cubicBezTo>
                        <a:pt x="2111" y="533"/>
                        <a:pt x="2138" y="543"/>
                        <a:pt x="2138" y="543"/>
                      </a:cubicBezTo>
                      <a:cubicBezTo>
                        <a:pt x="2154" y="536"/>
                        <a:pt x="2154" y="536"/>
                        <a:pt x="2154" y="536"/>
                      </a:cubicBezTo>
                      <a:cubicBezTo>
                        <a:pt x="2154" y="536"/>
                        <a:pt x="2153" y="557"/>
                        <a:pt x="2159" y="554"/>
                      </a:cubicBezTo>
                      <a:cubicBezTo>
                        <a:pt x="2165" y="551"/>
                        <a:pt x="2194" y="546"/>
                        <a:pt x="2183" y="554"/>
                      </a:cubicBezTo>
                      <a:cubicBezTo>
                        <a:pt x="2172" y="562"/>
                        <a:pt x="2163" y="561"/>
                        <a:pt x="2163" y="561"/>
                      </a:cubicBezTo>
                      <a:cubicBezTo>
                        <a:pt x="2150" y="556"/>
                        <a:pt x="2150" y="556"/>
                        <a:pt x="2150" y="556"/>
                      </a:cubicBezTo>
                      <a:cubicBezTo>
                        <a:pt x="2148" y="565"/>
                        <a:pt x="2148" y="565"/>
                        <a:pt x="2148" y="565"/>
                      </a:cubicBezTo>
                      <a:cubicBezTo>
                        <a:pt x="2148" y="565"/>
                        <a:pt x="2112" y="571"/>
                        <a:pt x="2124" y="575"/>
                      </a:cubicBezTo>
                      <a:cubicBezTo>
                        <a:pt x="2136" y="579"/>
                        <a:pt x="2163" y="559"/>
                        <a:pt x="2157" y="572"/>
                      </a:cubicBezTo>
                      <a:cubicBezTo>
                        <a:pt x="2151" y="585"/>
                        <a:pt x="2132" y="594"/>
                        <a:pt x="2119" y="598"/>
                      </a:cubicBezTo>
                      <a:cubicBezTo>
                        <a:pt x="2106" y="602"/>
                        <a:pt x="2086" y="617"/>
                        <a:pt x="2086" y="617"/>
                      </a:cubicBezTo>
                      <a:cubicBezTo>
                        <a:pt x="2086" y="617"/>
                        <a:pt x="2064" y="605"/>
                        <a:pt x="2060" y="612"/>
                      </a:cubicBezTo>
                      <a:cubicBezTo>
                        <a:pt x="2056" y="619"/>
                        <a:pt x="2035" y="625"/>
                        <a:pt x="2036" y="635"/>
                      </a:cubicBezTo>
                      <a:cubicBezTo>
                        <a:pt x="2037" y="645"/>
                        <a:pt x="2030" y="654"/>
                        <a:pt x="2030" y="654"/>
                      </a:cubicBezTo>
                      <a:cubicBezTo>
                        <a:pt x="2026" y="645"/>
                        <a:pt x="2026" y="645"/>
                        <a:pt x="2026" y="645"/>
                      </a:cubicBezTo>
                      <a:cubicBezTo>
                        <a:pt x="2026" y="645"/>
                        <a:pt x="2001" y="644"/>
                        <a:pt x="2003" y="638"/>
                      </a:cubicBezTo>
                      <a:cubicBezTo>
                        <a:pt x="2005" y="632"/>
                        <a:pt x="2047" y="604"/>
                        <a:pt x="2047" y="604"/>
                      </a:cubicBezTo>
                      <a:cubicBezTo>
                        <a:pt x="2022" y="604"/>
                        <a:pt x="2022" y="604"/>
                        <a:pt x="2022" y="604"/>
                      </a:cubicBezTo>
                      <a:cubicBezTo>
                        <a:pt x="2022" y="604"/>
                        <a:pt x="2015" y="590"/>
                        <a:pt x="2008" y="590"/>
                      </a:cubicBezTo>
                      <a:cubicBezTo>
                        <a:pt x="2001" y="590"/>
                        <a:pt x="1985" y="596"/>
                        <a:pt x="1985" y="596"/>
                      </a:cubicBezTo>
                      <a:cubicBezTo>
                        <a:pt x="1985" y="596"/>
                        <a:pt x="1964" y="589"/>
                        <a:pt x="1961" y="597"/>
                      </a:cubicBezTo>
                      <a:cubicBezTo>
                        <a:pt x="1958" y="605"/>
                        <a:pt x="1956" y="612"/>
                        <a:pt x="1960" y="613"/>
                      </a:cubicBezTo>
                      <a:cubicBezTo>
                        <a:pt x="1964" y="614"/>
                        <a:pt x="1993" y="627"/>
                        <a:pt x="1983" y="630"/>
                      </a:cubicBezTo>
                      <a:cubicBezTo>
                        <a:pt x="1973" y="633"/>
                        <a:pt x="1955" y="618"/>
                        <a:pt x="1955" y="618"/>
                      </a:cubicBezTo>
                      <a:cubicBezTo>
                        <a:pt x="1941" y="609"/>
                        <a:pt x="1941" y="609"/>
                        <a:pt x="1941" y="609"/>
                      </a:cubicBezTo>
                      <a:cubicBezTo>
                        <a:pt x="1940" y="629"/>
                        <a:pt x="1940" y="629"/>
                        <a:pt x="1940" y="629"/>
                      </a:cubicBezTo>
                      <a:cubicBezTo>
                        <a:pt x="1940" y="629"/>
                        <a:pt x="1925" y="638"/>
                        <a:pt x="1916" y="636"/>
                      </a:cubicBezTo>
                      <a:cubicBezTo>
                        <a:pt x="1907" y="634"/>
                        <a:pt x="1874" y="625"/>
                        <a:pt x="1863" y="625"/>
                      </a:cubicBezTo>
                      <a:cubicBezTo>
                        <a:pt x="1852" y="625"/>
                        <a:pt x="1830" y="629"/>
                        <a:pt x="1819" y="628"/>
                      </a:cubicBezTo>
                      <a:cubicBezTo>
                        <a:pt x="1808" y="627"/>
                        <a:pt x="1791" y="610"/>
                        <a:pt x="1791" y="610"/>
                      </a:cubicBezTo>
                      <a:cubicBezTo>
                        <a:pt x="1752" y="613"/>
                        <a:pt x="1752" y="613"/>
                        <a:pt x="1752" y="613"/>
                      </a:cubicBezTo>
                      <a:cubicBezTo>
                        <a:pt x="1752" y="613"/>
                        <a:pt x="1737" y="599"/>
                        <a:pt x="1729" y="597"/>
                      </a:cubicBezTo>
                      <a:cubicBezTo>
                        <a:pt x="1721" y="595"/>
                        <a:pt x="1704" y="595"/>
                        <a:pt x="1692" y="601"/>
                      </a:cubicBezTo>
                      <a:cubicBezTo>
                        <a:pt x="1680" y="607"/>
                        <a:pt x="1685" y="609"/>
                        <a:pt x="1672" y="609"/>
                      </a:cubicBezTo>
                      <a:cubicBezTo>
                        <a:pt x="1659" y="609"/>
                        <a:pt x="1631" y="602"/>
                        <a:pt x="1624" y="611"/>
                      </a:cubicBezTo>
                      <a:cubicBezTo>
                        <a:pt x="1617" y="620"/>
                        <a:pt x="1605" y="646"/>
                        <a:pt x="1605" y="646"/>
                      </a:cubicBezTo>
                      <a:cubicBezTo>
                        <a:pt x="1597" y="666"/>
                        <a:pt x="1597" y="666"/>
                        <a:pt x="1597" y="666"/>
                      </a:cubicBezTo>
                      <a:cubicBezTo>
                        <a:pt x="1576" y="668"/>
                        <a:pt x="1576" y="668"/>
                        <a:pt x="1576" y="668"/>
                      </a:cubicBezTo>
                      <a:cubicBezTo>
                        <a:pt x="1571" y="687"/>
                        <a:pt x="1571" y="687"/>
                        <a:pt x="1571" y="687"/>
                      </a:cubicBezTo>
                      <a:cubicBezTo>
                        <a:pt x="1556" y="654"/>
                        <a:pt x="1556" y="654"/>
                        <a:pt x="1556" y="654"/>
                      </a:cubicBezTo>
                      <a:cubicBezTo>
                        <a:pt x="1556" y="654"/>
                        <a:pt x="1598" y="665"/>
                        <a:pt x="1587" y="646"/>
                      </a:cubicBezTo>
                      <a:cubicBezTo>
                        <a:pt x="1576" y="627"/>
                        <a:pt x="1544" y="625"/>
                        <a:pt x="1544" y="625"/>
                      </a:cubicBezTo>
                      <a:cubicBezTo>
                        <a:pt x="1546" y="616"/>
                        <a:pt x="1546" y="616"/>
                        <a:pt x="1546" y="616"/>
                      </a:cubicBezTo>
                      <a:cubicBezTo>
                        <a:pt x="1546" y="616"/>
                        <a:pt x="1477" y="629"/>
                        <a:pt x="1440" y="629"/>
                      </a:cubicBezTo>
                      <a:cubicBezTo>
                        <a:pt x="1403" y="629"/>
                        <a:pt x="1337" y="625"/>
                        <a:pt x="1350" y="619"/>
                      </a:cubicBezTo>
                      <a:cubicBezTo>
                        <a:pt x="1363" y="613"/>
                        <a:pt x="1447" y="616"/>
                        <a:pt x="1427" y="594"/>
                      </a:cubicBezTo>
                      <a:cubicBezTo>
                        <a:pt x="1407" y="572"/>
                        <a:pt x="1388" y="570"/>
                        <a:pt x="1364" y="572"/>
                      </a:cubicBezTo>
                      <a:cubicBezTo>
                        <a:pt x="1340" y="574"/>
                        <a:pt x="1301" y="560"/>
                        <a:pt x="1295" y="557"/>
                      </a:cubicBezTo>
                      <a:cubicBezTo>
                        <a:pt x="1289" y="554"/>
                        <a:pt x="1271" y="554"/>
                        <a:pt x="1271" y="554"/>
                      </a:cubicBezTo>
                      <a:cubicBezTo>
                        <a:pt x="1271" y="554"/>
                        <a:pt x="1223" y="527"/>
                        <a:pt x="1205" y="528"/>
                      </a:cubicBezTo>
                      <a:cubicBezTo>
                        <a:pt x="1187" y="529"/>
                        <a:pt x="1155" y="554"/>
                        <a:pt x="1155" y="554"/>
                      </a:cubicBezTo>
                      <a:cubicBezTo>
                        <a:pt x="1119" y="554"/>
                        <a:pt x="1119" y="554"/>
                        <a:pt x="1119" y="554"/>
                      </a:cubicBezTo>
                      <a:cubicBezTo>
                        <a:pt x="1139" y="542"/>
                        <a:pt x="1139" y="542"/>
                        <a:pt x="1139" y="542"/>
                      </a:cubicBezTo>
                      <a:cubicBezTo>
                        <a:pt x="1139" y="534"/>
                        <a:pt x="1139" y="534"/>
                        <a:pt x="1139" y="534"/>
                      </a:cubicBezTo>
                      <a:cubicBezTo>
                        <a:pt x="1156" y="514"/>
                        <a:pt x="1156" y="514"/>
                        <a:pt x="1156" y="514"/>
                      </a:cubicBezTo>
                      <a:cubicBezTo>
                        <a:pt x="1156" y="514"/>
                        <a:pt x="1117" y="532"/>
                        <a:pt x="1110" y="539"/>
                      </a:cubicBezTo>
                      <a:cubicBezTo>
                        <a:pt x="1103" y="546"/>
                        <a:pt x="1087" y="568"/>
                        <a:pt x="1072" y="553"/>
                      </a:cubicBezTo>
                      <a:cubicBezTo>
                        <a:pt x="1057" y="538"/>
                        <a:pt x="1078" y="522"/>
                        <a:pt x="1075" y="511"/>
                      </a:cubicBezTo>
                      <a:cubicBezTo>
                        <a:pt x="1072" y="500"/>
                        <a:pt x="1049" y="489"/>
                        <a:pt x="1046" y="498"/>
                      </a:cubicBezTo>
                      <a:cubicBezTo>
                        <a:pt x="1043" y="507"/>
                        <a:pt x="1056" y="513"/>
                        <a:pt x="1056" y="513"/>
                      </a:cubicBezTo>
                      <a:cubicBezTo>
                        <a:pt x="1056" y="513"/>
                        <a:pt x="1036" y="511"/>
                        <a:pt x="1025" y="515"/>
                      </a:cubicBezTo>
                      <a:cubicBezTo>
                        <a:pt x="1014" y="519"/>
                        <a:pt x="998" y="530"/>
                        <a:pt x="993" y="534"/>
                      </a:cubicBezTo>
                      <a:cubicBezTo>
                        <a:pt x="988" y="538"/>
                        <a:pt x="970" y="533"/>
                        <a:pt x="970" y="533"/>
                      </a:cubicBezTo>
                      <a:cubicBezTo>
                        <a:pt x="970" y="533"/>
                        <a:pt x="923" y="543"/>
                        <a:pt x="919" y="544"/>
                      </a:cubicBezTo>
                      <a:cubicBezTo>
                        <a:pt x="915" y="545"/>
                        <a:pt x="890" y="560"/>
                        <a:pt x="890" y="560"/>
                      </a:cubicBezTo>
                      <a:cubicBezTo>
                        <a:pt x="876" y="547"/>
                        <a:pt x="876" y="547"/>
                        <a:pt x="876" y="547"/>
                      </a:cubicBezTo>
                      <a:cubicBezTo>
                        <a:pt x="876" y="547"/>
                        <a:pt x="843" y="564"/>
                        <a:pt x="833" y="565"/>
                      </a:cubicBezTo>
                      <a:cubicBezTo>
                        <a:pt x="823" y="566"/>
                        <a:pt x="805" y="578"/>
                        <a:pt x="805" y="578"/>
                      </a:cubicBezTo>
                      <a:cubicBezTo>
                        <a:pt x="783" y="580"/>
                        <a:pt x="783" y="580"/>
                        <a:pt x="783" y="580"/>
                      </a:cubicBezTo>
                      <a:cubicBezTo>
                        <a:pt x="783" y="580"/>
                        <a:pt x="800" y="562"/>
                        <a:pt x="815" y="559"/>
                      </a:cubicBezTo>
                      <a:cubicBezTo>
                        <a:pt x="830" y="556"/>
                        <a:pt x="864" y="543"/>
                        <a:pt x="864" y="543"/>
                      </a:cubicBezTo>
                      <a:cubicBezTo>
                        <a:pt x="864" y="543"/>
                        <a:pt x="895" y="546"/>
                        <a:pt x="906" y="541"/>
                      </a:cubicBezTo>
                      <a:cubicBezTo>
                        <a:pt x="917" y="536"/>
                        <a:pt x="978" y="522"/>
                        <a:pt x="978" y="522"/>
                      </a:cubicBezTo>
                      <a:cubicBezTo>
                        <a:pt x="978" y="522"/>
                        <a:pt x="990" y="519"/>
                        <a:pt x="983" y="514"/>
                      </a:cubicBezTo>
                      <a:cubicBezTo>
                        <a:pt x="976" y="509"/>
                        <a:pt x="955" y="516"/>
                        <a:pt x="955" y="516"/>
                      </a:cubicBezTo>
                      <a:cubicBezTo>
                        <a:pt x="955" y="516"/>
                        <a:pt x="937" y="515"/>
                        <a:pt x="930" y="517"/>
                      </a:cubicBezTo>
                      <a:cubicBezTo>
                        <a:pt x="923" y="519"/>
                        <a:pt x="916" y="527"/>
                        <a:pt x="911" y="528"/>
                      </a:cubicBezTo>
                      <a:cubicBezTo>
                        <a:pt x="906" y="529"/>
                        <a:pt x="887" y="529"/>
                        <a:pt x="887" y="529"/>
                      </a:cubicBezTo>
                      <a:cubicBezTo>
                        <a:pt x="872" y="532"/>
                        <a:pt x="872" y="532"/>
                        <a:pt x="872" y="532"/>
                      </a:cubicBezTo>
                      <a:cubicBezTo>
                        <a:pt x="872" y="532"/>
                        <a:pt x="855" y="532"/>
                        <a:pt x="843" y="535"/>
                      </a:cubicBezTo>
                      <a:cubicBezTo>
                        <a:pt x="831" y="538"/>
                        <a:pt x="820" y="550"/>
                        <a:pt x="820" y="550"/>
                      </a:cubicBezTo>
                      <a:cubicBezTo>
                        <a:pt x="806" y="552"/>
                        <a:pt x="806" y="552"/>
                        <a:pt x="806" y="552"/>
                      </a:cubicBezTo>
                      <a:cubicBezTo>
                        <a:pt x="771" y="565"/>
                        <a:pt x="771" y="565"/>
                        <a:pt x="771" y="565"/>
                      </a:cubicBezTo>
                      <a:cubicBezTo>
                        <a:pt x="771" y="565"/>
                        <a:pt x="756" y="568"/>
                        <a:pt x="753" y="571"/>
                      </a:cubicBezTo>
                      <a:cubicBezTo>
                        <a:pt x="750" y="574"/>
                        <a:pt x="748" y="590"/>
                        <a:pt x="741" y="586"/>
                      </a:cubicBezTo>
                      <a:cubicBezTo>
                        <a:pt x="734" y="582"/>
                        <a:pt x="733" y="567"/>
                        <a:pt x="744" y="565"/>
                      </a:cubicBezTo>
                      <a:cubicBezTo>
                        <a:pt x="755" y="563"/>
                        <a:pt x="784" y="553"/>
                        <a:pt x="793" y="547"/>
                      </a:cubicBezTo>
                      <a:cubicBezTo>
                        <a:pt x="802" y="541"/>
                        <a:pt x="760" y="535"/>
                        <a:pt x="753" y="544"/>
                      </a:cubicBezTo>
                      <a:cubicBezTo>
                        <a:pt x="746" y="553"/>
                        <a:pt x="719" y="558"/>
                        <a:pt x="712" y="558"/>
                      </a:cubicBezTo>
                      <a:cubicBezTo>
                        <a:pt x="705" y="558"/>
                        <a:pt x="705" y="585"/>
                        <a:pt x="705" y="585"/>
                      </a:cubicBezTo>
                      <a:cubicBezTo>
                        <a:pt x="689" y="576"/>
                        <a:pt x="689" y="576"/>
                        <a:pt x="689" y="576"/>
                      </a:cubicBezTo>
                      <a:cubicBezTo>
                        <a:pt x="647" y="570"/>
                        <a:pt x="647" y="570"/>
                        <a:pt x="647" y="570"/>
                      </a:cubicBezTo>
                      <a:cubicBezTo>
                        <a:pt x="647" y="570"/>
                        <a:pt x="621" y="558"/>
                        <a:pt x="623" y="553"/>
                      </a:cubicBezTo>
                      <a:cubicBezTo>
                        <a:pt x="625" y="548"/>
                        <a:pt x="629" y="539"/>
                        <a:pt x="629" y="539"/>
                      </a:cubicBezTo>
                      <a:cubicBezTo>
                        <a:pt x="555" y="540"/>
                        <a:pt x="555" y="540"/>
                        <a:pt x="555" y="540"/>
                      </a:cubicBezTo>
                      <a:cubicBezTo>
                        <a:pt x="567" y="540"/>
                        <a:pt x="567" y="540"/>
                        <a:pt x="567" y="540"/>
                      </a:cubicBezTo>
                      <a:cubicBezTo>
                        <a:pt x="52" y="964"/>
                        <a:pt x="52" y="964"/>
                        <a:pt x="52" y="964"/>
                      </a:cubicBezTo>
                      <a:cubicBezTo>
                        <a:pt x="52" y="964"/>
                        <a:pt x="26" y="978"/>
                        <a:pt x="32" y="984"/>
                      </a:cubicBezTo>
                      <a:cubicBezTo>
                        <a:pt x="38" y="990"/>
                        <a:pt x="67" y="984"/>
                        <a:pt x="67" y="984"/>
                      </a:cubicBezTo>
                      <a:cubicBezTo>
                        <a:pt x="70" y="984"/>
                        <a:pt x="79" y="979"/>
                        <a:pt x="79" y="979"/>
                      </a:cubicBezTo>
                      <a:cubicBezTo>
                        <a:pt x="103" y="979"/>
                        <a:pt x="103" y="979"/>
                        <a:pt x="103" y="979"/>
                      </a:cubicBezTo>
                      <a:cubicBezTo>
                        <a:pt x="88" y="994"/>
                        <a:pt x="88" y="994"/>
                        <a:pt x="88" y="994"/>
                      </a:cubicBezTo>
                      <a:cubicBezTo>
                        <a:pt x="88" y="994"/>
                        <a:pt x="88" y="1003"/>
                        <a:pt x="88" y="1013"/>
                      </a:cubicBezTo>
                      <a:cubicBezTo>
                        <a:pt x="88" y="1024"/>
                        <a:pt x="107" y="1032"/>
                        <a:pt x="107" y="1032"/>
                      </a:cubicBezTo>
                      <a:cubicBezTo>
                        <a:pt x="107" y="1032"/>
                        <a:pt x="88" y="1051"/>
                        <a:pt x="93" y="1051"/>
                      </a:cubicBezTo>
                      <a:cubicBezTo>
                        <a:pt x="99" y="1051"/>
                        <a:pt x="115" y="1038"/>
                        <a:pt x="115" y="1038"/>
                      </a:cubicBezTo>
                      <a:cubicBezTo>
                        <a:pt x="115" y="1038"/>
                        <a:pt x="136" y="1031"/>
                        <a:pt x="143" y="1031"/>
                      </a:cubicBezTo>
                      <a:cubicBezTo>
                        <a:pt x="151" y="1031"/>
                        <a:pt x="157" y="1021"/>
                        <a:pt x="157" y="1021"/>
                      </a:cubicBezTo>
                      <a:cubicBezTo>
                        <a:pt x="169" y="1021"/>
                        <a:pt x="169" y="1021"/>
                        <a:pt x="169" y="1021"/>
                      </a:cubicBezTo>
                      <a:cubicBezTo>
                        <a:pt x="171" y="1013"/>
                        <a:pt x="171" y="1013"/>
                        <a:pt x="171" y="1013"/>
                      </a:cubicBezTo>
                      <a:cubicBezTo>
                        <a:pt x="171" y="1013"/>
                        <a:pt x="199" y="1003"/>
                        <a:pt x="217" y="1008"/>
                      </a:cubicBezTo>
                      <a:cubicBezTo>
                        <a:pt x="236" y="1014"/>
                        <a:pt x="209" y="1024"/>
                        <a:pt x="209" y="1024"/>
                      </a:cubicBezTo>
                      <a:cubicBezTo>
                        <a:pt x="209" y="1041"/>
                        <a:pt x="209" y="1041"/>
                        <a:pt x="209" y="1041"/>
                      </a:cubicBezTo>
                      <a:cubicBezTo>
                        <a:pt x="203" y="1052"/>
                        <a:pt x="203" y="1052"/>
                        <a:pt x="203" y="1052"/>
                      </a:cubicBezTo>
                      <a:cubicBezTo>
                        <a:pt x="203" y="1052"/>
                        <a:pt x="210" y="1054"/>
                        <a:pt x="216" y="1072"/>
                      </a:cubicBezTo>
                      <a:cubicBezTo>
                        <a:pt x="223" y="1089"/>
                        <a:pt x="206" y="1108"/>
                        <a:pt x="206" y="1108"/>
                      </a:cubicBezTo>
                      <a:cubicBezTo>
                        <a:pt x="206" y="1132"/>
                        <a:pt x="206" y="1132"/>
                        <a:pt x="206" y="1132"/>
                      </a:cubicBezTo>
                      <a:cubicBezTo>
                        <a:pt x="206" y="1132"/>
                        <a:pt x="200" y="1149"/>
                        <a:pt x="195" y="1162"/>
                      </a:cubicBezTo>
                      <a:cubicBezTo>
                        <a:pt x="190" y="1175"/>
                        <a:pt x="218" y="1176"/>
                        <a:pt x="218" y="1180"/>
                      </a:cubicBezTo>
                      <a:cubicBezTo>
                        <a:pt x="218" y="1185"/>
                        <a:pt x="225" y="1187"/>
                        <a:pt x="225" y="1187"/>
                      </a:cubicBezTo>
                      <a:cubicBezTo>
                        <a:pt x="225" y="1187"/>
                        <a:pt x="235" y="1186"/>
                        <a:pt x="235" y="1194"/>
                      </a:cubicBezTo>
                      <a:cubicBezTo>
                        <a:pt x="235" y="1202"/>
                        <a:pt x="208" y="1213"/>
                        <a:pt x="208" y="1213"/>
                      </a:cubicBezTo>
                      <a:cubicBezTo>
                        <a:pt x="208" y="1213"/>
                        <a:pt x="208" y="1229"/>
                        <a:pt x="198" y="1239"/>
                      </a:cubicBezTo>
                      <a:cubicBezTo>
                        <a:pt x="194" y="1243"/>
                        <a:pt x="173" y="1254"/>
                        <a:pt x="152" y="1264"/>
                      </a:cubicBezTo>
                      <a:cubicBezTo>
                        <a:pt x="150" y="1269"/>
                        <a:pt x="149" y="1274"/>
                        <a:pt x="148" y="1278"/>
                      </a:cubicBezTo>
                      <a:cubicBezTo>
                        <a:pt x="147" y="1285"/>
                        <a:pt x="142" y="1299"/>
                        <a:pt x="142" y="1299"/>
                      </a:cubicBezTo>
                      <a:cubicBezTo>
                        <a:pt x="133" y="1305"/>
                        <a:pt x="133" y="1305"/>
                        <a:pt x="133" y="1305"/>
                      </a:cubicBezTo>
                      <a:cubicBezTo>
                        <a:pt x="133" y="1305"/>
                        <a:pt x="142" y="1309"/>
                        <a:pt x="143" y="1316"/>
                      </a:cubicBezTo>
                      <a:cubicBezTo>
                        <a:pt x="144" y="1323"/>
                        <a:pt x="151" y="1326"/>
                        <a:pt x="151" y="1326"/>
                      </a:cubicBezTo>
                      <a:cubicBezTo>
                        <a:pt x="151" y="1326"/>
                        <a:pt x="201" y="1287"/>
                        <a:pt x="201" y="1296"/>
                      </a:cubicBezTo>
                      <a:cubicBezTo>
                        <a:pt x="201" y="1305"/>
                        <a:pt x="185" y="1306"/>
                        <a:pt x="183" y="1311"/>
                      </a:cubicBezTo>
                      <a:cubicBezTo>
                        <a:pt x="181" y="1316"/>
                        <a:pt x="185" y="1326"/>
                        <a:pt x="185" y="1326"/>
                      </a:cubicBezTo>
                      <a:cubicBezTo>
                        <a:pt x="194" y="1333"/>
                        <a:pt x="194" y="1333"/>
                        <a:pt x="194" y="1333"/>
                      </a:cubicBezTo>
                      <a:cubicBezTo>
                        <a:pt x="165" y="1332"/>
                        <a:pt x="165" y="1332"/>
                        <a:pt x="165" y="1332"/>
                      </a:cubicBezTo>
                      <a:cubicBezTo>
                        <a:pt x="165" y="1332"/>
                        <a:pt x="143" y="1359"/>
                        <a:pt x="153" y="1360"/>
                      </a:cubicBezTo>
                      <a:cubicBezTo>
                        <a:pt x="163" y="1361"/>
                        <a:pt x="169" y="1367"/>
                        <a:pt x="169" y="1367"/>
                      </a:cubicBezTo>
                      <a:cubicBezTo>
                        <a:pt x="169" y="1367"/>
                        <a:pt x="157" y="1388"/>
                        <a:pt x="164" y="1385"/>
                      </a:cubicBezTo>
                      <a:cubicBezTo>
                        <a:pt x="171" y="1382"/>
                        <a:pt x="212" y="1354"/>
                        <a:pt x="212" y="1354"/>
                      </a:cubicBezTo>
                      <a:cubicBezTo>
                        <a:pt x="211" y="1363"/>
                        <a:pt x="211" y="1363"/>
                        <a:pt x="211" y="1363"/>
                      </a:cubicBezTo>
                      <a:cubicBezTo>
                        <a:pt x="192" y="1374"/>
                        <a:pt x="192" y="1374"/>
                        <a:pt x="192" y="1374"/>
                      </a:cubicBezTo>
                      <a:cubicBezTo>
                        <a:pt x="207" y="1380"/>
                        <a:pt x="207" y="1380"/>
                        <a:pt x="207" y="1380"/>
                      </a:cubicBezTo>
                      <a:cubicBezTo>
                        <a:pt x="207" y="1380"/>
                        <a:pt x="202" y="1400"/>
                        <a:pt x="194" y="1398"/>
                      </a:cubicBezTo>
                      <a:cubicBezTo>
                        <a:pt x="186" y="1396"/>
                        <a:pt x="184" y="1387"/>
                        <a:pt x="184" y="1387"/>
                      </a:cubicBezTo>
                      <a:cubicBezTo>
                        <a:pt x="184" y="1387"/>
                        <a:pt x="151" y="1397"/>
                        <a:pt x="145" y="1403"/>
                      </a:cubicBezTo>
                      <a:cubicBezTo>
                        <a:pt x="139" y="1409"/>
                        <a:pt x="133" y="1417"/>
                        <a:pt x="133" y="1417"/>
                      </a:cubicBezTo>
                      <a:cubicBezTo>
                        <a:pt x="133" y="1417"/>
                        <a:pt x="151" y="1412"/>
                        <a:pt x="156" y="1412"/>
                      </a:cubicBezTo>
                      <a:cubicBezTo>
                        <a:pt x="161" y="1412"/>
                        <a:pt x="182" y="1412"/>
                        <a:pt x="182" y="1412"/>
                      </a:cubicBezTo>
                      <a:cubicBezTo>
                        <a:pt x="182" y="1412"/>
                        <a:pt x="146" y="1421"/>
                        <a:pt x="140" y="1424"/>
                      </a:cubicBezTo>
                      <a:cubicBezTo>
                        <a:pt x="134" y="1427"/>
                        <a:pt x="138" y="1435"/>
                        <a:pt x="138" y="1435"/>
                      </a:cubicBezTo>
                      <a:cubicBezTo>
                        <a:pt x="138" y="1435"/>
                        <a:pt x="105" y="1423"/>
                        <a:pt x="114" y="1437"/>
                      </a:cubicBezTo>
                      <a:cubicBezTo>
                        <a:pt x="123" y="1451"/>
                        <a:pt x="132" y="1455"/>
                        <a:pt x="132" y="1455"/>
                      </a:cubicBezTo>
                      <a:cubicBezTo>
                        <a:pt x="164" y="1444"/>
                        <a:pt x="164" y="1444"/>
                        <a:pt x="164" y="1444"/>
                      </a:cubicBezTo>
                      <a:cubicBezTo>
                        <a:pt x="173" y="1459"/>
                        <a:pt x="173" y="1459"/>
                        <a:pt x="173" y="1459"/>
                      </a:cubicBezTo>
                      <a:cubicBezTo>
                        <a:pt x="198" y="1445"/>
                        <a:pt x="198" y="1445"/>
                        <a:pt x="198" y="1445"/>
                      </a:cubicBezTo>
                      <a:cubicBezTo>
                        <a:pt x="198" y="1445"/>
                        <a:pt x="165" y="1479"/>
                        <a:pt x="176" y="1478"/>
                      </a:cubicBezTo>
                      <a:cubicBezTo>
                        <a:pt x="187" y="1477"/>
                        <a:pt x="217" y="1454"/>
                        <a:pt x="217" y="1454"/>
                      </a:cubicBezTo>
                      <a:cubicBezTo>
                        <a:pt x="217" y="1454"/>
                        <a:pt x="190" y="1484"/>
                        <a:pt x="194" y="1484"/>
                      </a:cubicBezTo>
                      <a:cubicBezTo>
                        <a:pt x="198" y="1484"/>
                        <a:pt x="216" y="1479"/>
                        <a:pt x="216" y="1479"/>
                      </a:cubicBezTo>
                      <a:cubicBezTo>
                        <a:pt x="216" y="1479"/>
                        <a:pt x="178" y="1508"/>
                        <a:pt x="190" y="1509"/>
                      </a:cubicBezTo>
                      <a:cubicBezTo>
                        <a:pt x="202" y="1510"/>
                        <a:pt x="229" y="1490"/>
                        <a:pt x="229" y="1490"/>
                      </a:cubicBezTo>
                      <a:cubicBezTo>
                        <a:pt x="229" y="1490"/>
                        <a:pt x="203" y="1518"/>
                        <a:pt x="210" y="1520"/>
                      </a:cubicBezTo>
                      <a:cubicBezTo>
                        <a:pt x="217" y="1522"/>
                        <a:pt x="233" y="1526"/>
                        <a:pt x="233" y="1529"/>
                      </a:cubicBezTo>
                      <a:cubicBezTo>
                        <a:pt x="233" y="1531"/>
                        <a:pt x="231" y="1548"/>
                        <a:pt x="228" y="1561"/>
                      </a:cubicBezTo>
                      <a:cubicBezTo>
                        <a:pt x="228" y="1561"/>
                        <a:pt x="228" y="1561"/>
                        <a:pt x="228" y="1561"/>
                      </a:cubicBezTo>
                      <a:cubicBezTo>
                        <a:pt x="1370" y="1561"/>
                        <a:pt x="1370" y="1561"/>
                        <a:pt x="1370" y="1561"/>
                      </a:cubicBezTo>
                      <a:cubicBezTo>
                        <a:pt x="1370" y="1561"/>
                        <a:pt x="1384" y="1526"/>
                        <a:pt x="1394" y="1537"/>
                      </a:cubicBezTo>
                      <a:cubicBezTo>
                        <a:pt x="1404" y="1547"/>
                        <a:pt x="1379" y="1557"/>
                        <a:pt x="1388" y="1566"/>
                      </a:cubicBezTo>
                      <a:cubicBezTo>
                        <a:pt x="1396" y="1574"/>
                        <a:pt x="1415" y="1575"/>
                        <a:pt x="1415" y="1575"/>
                      </a:cubicBezTo>
                      <a:cubicBezTo>
                        <a:pt x="1415" y="1575"/>
                        <a:pt x="1422" y="1585"/>
                        <a:pt x="1430" y="1585"/>
                      </a:cubicBezTo>
                      <a:cubicBezTo>
                        <a:pt x="1438" y="1585"/>
                        <a:pt x="1436" y="1573"/>
                        <a:pt x="1449" y="1573"/>
                      </a:cubicBezTo>
                      <a:cubicBezTo>
                        <a:pt x="1462" y="1573"/>
                        <a:pt x="1465" y="1593"/>
                        <a:pt x="1471" y="1593"/>
                      </a:cubicBezTo>
                      <a:cubicBezTo>
                        <a:pt x="1477" y="1593"/>
                        <a:pt x="1484" y="1596"/>
                        <a:pt x="1487" y="1593"/>
                      </a:cubicBezTo>
                      <a:cubicBezTo>
                        <a:pt x="1490" y="1590"/>
                        <a:pt x="1503" y="1614"/>
                        <a:pt x="1509" y="1608"/>
                      </a:cubicBezTo>
                      <a:cubicBezTo>
                        <a:pt x="1515" y="1602"/>
                        <a:pt x="1531" y="1591"/>
                        <a:pt x="1531" y="1591"/>
                      </a:cubicBezTo>
                      <a:cubicBezTo>
                        <a:pt x="1531" y="1601"/>
                        <a:pt x="1531" y="1601"/>
                        <a:pt x="1531" y="1601"/>
                      </a:cubicBezTo>
                      <a:cubicBezTo>
                        <a:pt x="1561" y="1600"/>
                        <a:pt x="1561" y="1600"/>
                        <a:pt x="1561" y="1600"/>
                      </a:cubicBezTo>
                      <a:cubicBezTo>
                        <a:pt x="1561" y="1600"/>
                        <a:pt x="1558" y="1606"/>
                        <a:pt x="1586" y="1606"/>
                      </a:cubicBezTo>
                      <a:cubicBezTo>
                        <a:pt x="1598" y="1598"/>
                        <a:pt x="1605" y="1585"/>
                        <a:pt x="1606" y="1582"/>
                      </a:cubicBezTo>
                      <a:cubicBezTo>
                        <a:pt x="1607" y="1578"/>
                        <a:pt x="1626" y="1586"/>
                        <a:pt x="1626" y="1586"/>
                      </a:cubicBezTo>
                      <a:cubicBezTo>
                        <a:pt x="1634" y="1580"/>
                        <a:pt x="1634" y="1580"/>
                        <a:pt x="1634" y="1580"/>
                      </a:cubicBezTo>
                      <a:cubicBezTo>
                        <a:pt x="1634" y="1580"/>
                        <a:pt x="1641" y="1568"/>
                        <a:pt x="1642" y="1565"/>
                      </a:cubicBezTo>
                      <a:cubicBezTo>
                        <a:pt x="1643" y="1562"/>
                        <a:pt x="1651" y="1575"/>
                        <a:pt x="1651" y="1575"/>
                      </a:cubicBezTo>
                      <a:cubicBezTo>
                        <a:pt x="1668" y="1572"/>
                        <a:pt x="1668" y="1572"/>
                        <a:pt x="1668" y="1572"/>
                      </a:cubicBezTo>
                      <a:cubicBezTo>
                        <a:pt x="1668" y="1572"/>
                        <a:pt x="1659" y="1562"/>
                        <a:pt x="1668" y="1555"/>
                      </a:cubicBezTo>
                      <a:cubicBezTo>
                        <a:pt x="1677" y="1548"/>
                        <a:pt x="1686" y="1563"/>
                        <a:pt x="1686" y="1563"/>
                      </a:cubicBezTo>
                      <a:cubicBezTo>
                        <a:pt x="1704" y="1563"/>
                        <a:pt x="1704" y="1563"/>
                        <a:pt x="1704" y="1563"/>
                      </a:cubicBezTo>
                      <a:cubicBezTo>
                        <a:pt x="1708" y="1567"/>
                        <a:pt x="1708" y="1567"/>
                        <a:pt x="1708" y="1567"/>
                      </a:cubicBezTo>
                      <a:cubicBezTo>
                        <a:pt x="1708" y="1567"/>
                        <a:pt x="1728" y="1568"/>
                        <a:pt x="1733" y="1573"/>
                      </a:cubicBezTo>
                      <a:cubicBezTo>
                        <a:pt x="1738" y="1578"/>
                        <a:pt x="1727" y="1604"/>
                        <a:pt x="1727" y="1604"/>
                      </a:cubicBezTo>
                      <a:cubicBezTo>
                        <a:pt x="1733" y="1611"/>
                        <a:pt x="1733" y="1611"/>
                        <a:pt x="1733" y="1611"/>
                      </a:cubicBezTo>
                      <a:cubicBezTo>
                        <a:pt x="1727" y="1626"/>
                        <a:pt x="1727" y="1626"/>
                        <a:pt x="1727" y="1626"/>
                      </a:cubicBezTo>
                      <a:cubicBezTo>
                        <a:pt x="1727" y="1626"/>
                        <a:pt x="1766" y="1603"/>
                        <a:pt x="1777" y="1610"/>
                      </a:cubicBezTo>
                      <a:cubicBezTo>
                        <a:pt x="1788" y="1617"/>
                        <a:pt x="1760" y="1627"/>
                        <a:pt x="1759" y="1631"/>
                      </a:cubicBezTo>
                      <a:cubicBezTo>
                        <a:pt x="1758" y="1635"/>
                        <a:pt x="1773" y="1638"/>
                        <a:pt x="1773" y="1643"/>
                      </a:cubicBezTo>
                      <a:cubicBezTo>
                        <a:pt x="1773" y="1648"/>
                        <a:pt x="1757" y="1654"/>
                        <a:pt x="1757" y="1659"/>
                      </a:cubicBezTo>
                      <a:cubicBezTo>
                        <a:pt x="1757" y="1664"/>
                        <a:pt x="1770" y="1664"/>
                        <a:pt x="1767" y="1671"/>
                      </a:cubicBezTo>
                      <a:cubicBezTo>
                        <a:pt x="1764" y="1678"/>
                        <a:pt x="1758" y="1679"/>
                        <a:pt x="1758" y="1679"/>
                      </a:cubicBezTo>
                      <a:cubicBezTo>
                        <a:pt x="1756" y="1685"/>
                        <a:pt x="1756" y="1685"/>
                        <a:pt x="1756" y="1685"/>
                      </a:cubicBezTo>
                      <a:cubicBezTo>
                        <a:pt x="1769" y="1685"/>
                        <a:pt x="1769" y="1685"/>
                        <a:pt x="1769" y="1685"/>
                      </a:cubicBezTo>
                      <a:cubicBezTo>
                        <a:pt x="1765" y="1700"/>
                        <a:pt x="1765" y="1700"/>
                        <a:pt x="1765" y="1700"/>
                      </a:cubicBezTo>
                      <a:cubicBezTo>
                        <a:pt x="1771" y="1700"/>
                        <a:pt x="1778" y="1701"/>
                        <a:pt x="1781" y="1701"/>
                      </a:cubicBezTo>
                      <a:cubicBezTo>
                        <a:pt x="1786" y="1700"/>
                        <a:pt x="1794" y="1703"/>
                        <a:pt x="1806" y="1704"/>
                      </a:cubicBezTo>
                      <a:cubicBezTo>
                        <a:pt x="1818" y="1705"/>
                        <a:pt x="1825" y="1703"/>
                        <a:pt x="1825" y="1703"/>
                      </a:cubicBezTo>
                      <a:cubicBezTo>
                        <a:pt x="1837" y="1703"/>
                        <a:pt x="1852" y="1715"/>
                        <a:pt x="1863" y="1715"/>
                      </a:cubicBezTo>
                      <a:cubicBezTo>
                        <a:pt x="1874" y="1715"/>
                        <a:pt x="1884" y="1715"/>
                        <a:pt x="1884" y="1715"/>
                      </a:cubicBezTo>
                      <a:cubicBezTo>
                        <a:pt x="1906" y="1715"/>
                        <a:pt x="1904" y="1729"/>
                        <a:pt x="1904" y="1738"/>
                      </a:cubicBezTo>
                      <a:cubicBezTo>
                        <a:pt x="1904" y="1747"/>
                        <a:pt x="1914" y="1736"/>
                        <a:pt x="1914" y="1746"/>
                      </a:cubicBezTo>
                      <a:cubicBezTo>
                        <a:pt x="1914" y="1756"/>
                        <a:pt x="1910" y="1759"/>
                        <a:pt x="1905" y="1764"/>
                      </a:cubicBezTo>
                      <a:cubicBezTo>
                        <a:pt x="1900" y="1769"/>
                        <a:pt x="1918" y="1777"/>
                        <a:pt x="1918" y="1777"/>
                      </a:cubicBezTo>
                      <a:cubicBezTo>
                        <a:pt x="1903" y="1776"/>
                        <a:pt x="1903" y="1776"/>
                        <a:pt x="1903" y="1776"/>
                      </a:cubicBezTo>
                      <a:cubicBezTo>
                        <a:pt x="1903" y="1776"/>
                        <a:pt x="1903" y="1785"/>
                        <a:pt x="1896" y="1793"/>
                      </a:cubicBezTo>
                      <a:cubicBezTo>
                        <a:pt x="1888" y="1800"/>
                        <a:pt x="1887" y="1793"/>
                        <a:pt x="1868" y="1783"/>
                      </a:cubicBezTo>
                      <a:cubicBezTo>
                        <a:pt x="1849" y="1773"/>
                        <a:pt x="1855" y="1754"/>
                        <a:pt x="1855" y="1754"/>
                      </a:cubicBezTo>
                      <a:cubicBezTo>
                        <a:pt x="1844" y="1749"/>
                        <a:pt x="1844" y="1749"/>
                        <a:pt x="1844" y="1749"/>
                      </a:cubicBezTo>
                      <a:cubicBezTo>
                        <a:pt x="1846" y="1761"/>
                        <a:pt x="1846" y="1761"/>
                        <a:pt x="1846" y="1761"/>
                      </a:cubicBezTo>
                      <a:cubicBezTo>
                        <a:pt x="1846" y="1761"/>
                        <a:pt x="1854" y="1774"/>
                        <a:pt x="1846" y="1788"/>
                      </a:cubicBezTo>
                      <a:cubicBezTo>
                        <a:pt x="1838" y="1802"/>
                        <a:pt x="1820" y="1806"/>
                        <a:pt x="1812" y="1819"/>
                      </a:cubicBezTo>
                      <a:cubicBezTo>
                        <a:pt x="1804" y="1832"/>
                        <a:pt x="1801" y="1844"/>
                        <a:pt x="1793" y="1853"/>
                      </a:cubicBezTo>
                      <a:cubicBezTo>
                        <a:pt x="1785" y="1861"/>
                        <a:pt x="1769" y="1868"/>
                        <a:pt x="1762" y="1864"/>
                      </a:cubicBezTo>
                      <a:cubicBezTo>
                        <a:pt x="1758" y="1869"/>
                        <a:pt x="1755" y="1873"/>
                        <a:pt x="1755" y="1873"/>
                      </a:cubicBezTo>
                      <a:cubicBezTo>
                        <a:pt x="1755" y="1873"/>
                        <a:pt x="1757" y="1894"/>
                        <a:pt x="1749" y="1894"/>
                      </a:cubicBezTo>
                      <a:cubicBezTo>
                        <a:pt x="1741" y="1894"/>
                        <a:pt x="1696" y="1916"/>
                        <a:pt x="1706" y="1926"/>
                      </a:cubicBezTo>
                      <a:cubicBezTo>
                        <a:pt x="1707" y="1926"/>
                        <a:pt x="1707" y="1927"/>
                        <a:pt x="1708" y="1928"/>
                      </a:cubicBezTo>
                      <a:cubicBezTo>
                        <a:pt x="1716" y="1924"/>
                        <a:pt x="1723" y="1921"/>
                        <a:pt x="1724" y="1921"/>
                      </a:cubicBezTo>
                      <a:cubicBezTo>
                        <a:pt x="1727" y="1921"/>
                        <a:pt x="1731" y="1926"/>
                        <a:pt x="1731" y="1926"/>
                      </a:cubicBezTo>
                      <a:cubicBezTo>
                        <a:pt x="1731" y="1926"/>
                        <a:pt x="1746" y="1912"/>
                        <a:pt x="1754" y="1910"/>
                      </a:cubicBezTo>
                      <a:cubicBezTo>
                        <a:pt x="1762" y="1908"/>
                        <a:pt x="1770" y="1911"/>
                        <a:pt x="1770" y="1911"/>
                      </a:cubicBezTo>
                      <a:cubicBezTo>
                        <a:pt x="1770" y="1911"/>
                        <a:pt x="1775" y="1890"/>
                        <a:pt x="1800" y="1889"/>
                      </a:cubicBezTo>
                      <a:cubicBezTo>
                        <a:pt x="1825" y="1888"/>
                        <a:pt x="1842" y="1895"/>
                        <a:pt x="1842" y="1895"/>
                      </a:cubicBezTo>
                      <a:cubicBezTo>
                        <a:pt x="1858" y="1881"/>
                        <a:pt x="1858" y="1881"/>
                        <a:pt x="1858" y="1881"/>
                      </a:cubicBezTo>
                      <a:cubicBezTo>
                        <a:pt x="1900" y="1883"/>
                        <a:pt x="1900" y="1883"/>
                        <a:pt x="1900" y="1883"/>
                      </a:cubicBezTo>
                      <a:cubicBezTo>
                        <a:pt x="1903" y="1880"/>
                        <a:pt x="1905" y="1878"/>
                        <a:pt x="1906" y="1876"/>
                      </a:cubicBezTo>
                      <a:cubicBezTo>
                        <a:pt x="1908" y="1870"/>
                        <a:pt x="1908" y="1866"/>
                        <a:pt x="1907" y="1862"/>
                      </a:cubicBezTo>
                      <a:cubicBezTo>
                        <a:pt x="1889" y="1866"/>
                        <a:pt x="1883" y="1865"/>
                        <a:pt x="1882" y="1858"/>
                      </a:cubicBezTo>
                      <a:cubicBezTo>
                        <a:pt x="1881" y="1848"/>
                        <a:pt x="1915" y="1826"/>
                        <a:pt x="1928" y="1826"/>
                      </a:cubicBezTo>
                      <a:cubicBezTo>
                        <a:pt x="1941" y="1826"/>
                        <a:pt x="1960" y="1821"/>
                        <a:pt x="1964" y="1821"/>
                      </a:cubicBezTo>
                      <a:cubicBezTo>
                        <a:pt x="1968" y="1821"/>
                        <a:pt x="1985" y="1815"/>
                        <a:pt x="1985" y="1815"/>
                      </a:cubicBezTo>
                      <a:cubicBezTo>
                        <a:pt x="1985" y="1815"/>
                        <a:pt x="2012" y="1825"/>
                        <a:pt x="2016" y="1825"/>
                      </a:cubicBezTo>
                      <a:cubicBezTo>
                        <a:pt x="2020" y="1825"/>
                        <a:pt x="2020" y="1809"/>
                        <a:pt x="2020" y="1809"/>
                      </a:cubicBezTo>
                      <a:cubicBezTo>
                        <a:pt x="2020" y="1809"/>
                        <a:pt x="2027" y="1800"/>
                        <a:pt x="2037" y="1803"/>
                      </a:cubicBezTo>
                      <a:cubicBezTo>
                        <a:pt x="2040" y="1804"/>
                        <a:pt x="2042" y="1805"/>
                        <a:pt x="2043" y="1806"/>
                      </a:cubicBezTo>
                      <a:cubicBezTo>
                        <a:pt x="2045" y="1805"/>
                        <a:pt x="2047" y="1804"/>
                        <a:pt x="2048" y="1804"/>
                      </a:cubicBezTo>
                      <a:cubicBezTo>
                        <a:pt x="2054" y="1804"/>
                        <a:pt x="2056" y="1802"/>
                        <a:pt x="2064" y="1802"/>
                      </a:cubicBezTo>
                      <a:cubicBezTo>
                        <a:pt x="2072" y="1802"/>
                        <a:pt x="2106" y="1764"/>
                        <a:pt x="2123" y="1764"/>
                      </a:cubicBezTo>
                      <a:cubicBezTo>
                        <a:pt x="2140" y="1764"/>
                        <a:pt x="2271" y="1764"/>
                        <a:pt x="2271" y="1764"/>
                      </a:cubicBezTo>
                      <a:cubicBezTo>
                        <a:pt x="2271" y="1764"/>
                        <a:pt x="2271" y="1749"/>
                        <a:pt x="2283" y="1749"/>
                      </a:cubicBezTo>
                      <a:cubicBezTo>
                        <a:pt x="2295" y="1749"/>
                        <a:pt x="2303" y="1748"/>
                        <a:pt x="2303" y="1748"/>
                      </a:cubicBezTo>
                      <a:cubicBezTo>
                        <a:pt x="2303" y="1748"/>
                        <a:pt x="2314" y="1727"/>
                        <a:pt x="2323" y="1727"/>
                      </a:cubicBezTo>
                      <a:cubicBezTo>
                        <a:pt x="2333" y="1727"/>
                        <a:pt x="2340" y="1734"/>
                        <a:pt x="2340" y="1727"/>
                      </a:cubicBezTo>
                      <a:cubicBezTo>
                        <a:pt x="2340" y="1720"/>
                        <a:pt x="2343" y="1698"/>
                        <a:pt x="2349" y="1698"/>
                      </a:cubicBezTo>
                      <a:cubicBezTo>
                        <a:pt x="2355" y="1698"/>
                        <a:pt x="2363" y="1690"/>
                        <a:pt x="2363" y="1690"/>
                      </a:cubicBezTo>
                      <a:cubicBezTo>
                        <a:pt x="2363" y="1676"/>
                        <a:pt x="2363" y="1676"/>
                        <a:pt x="2363" y="1676"/>
                      </a:cubicBezTo>
                      <a:cubicBezTo>
                        <a:pt x="2390" y="1657"/>
                        <a:pt x="2390" y="1657"/>
                        <a:pt x="2390" y="1657"/>
                      </a:cubicBezTo>
                      <a:cubicBezTo>
                        <a:pt x="2390" y="1657"/>
                        <a:pt x="2401" y="1636"/>
                        <a:pt x="2414" y="1636"/>
                      </a:cubicBezTo>
                      <a:cubicBezTo>
                        <a:pt x="2427" y="1636"/>
                        <a:pt x="2418" y="1645"/>
                        <a:pt x="2430" y="1645"/>
                      </a:cubicBezTo>
                      <a:cubicBezTo>
                        <a:pt x="2442" y="1645"/>
                        <a:pt x="2469" y="1634"/>
                        <a:pt x="2469" y="1651"/>
                      </a:cubicBezTo>
                      <a:cubicBezTo>
                        <a:pt x="2469" y="1668"/>
                        <a:pt x="2439" y="1725"/>
                        <a:pt x="2442" y="1728"/>
                      </a:cubicBezTo>
                      <a:cubicBezTo>
                        <a:pt x="2445" y="1731"/>
                        <a:pt x="2453" y="1735"/>
                        <a:pt x="2453" y="1735"/>
                      </a:cubicBezTo>
                      <a:cubicBezTo>
                        <a:pt x="2453" y="1735"/>
                        <a:pt x="2439" y="1748"/>
                        <a:pt x="2444" y="1753"/>
                      </a:cubicBezTo>
                      <a:cubicBezTo>
                        <a:pt x="2449" y="1758"/>
                        <a:pt x="2457" y="1755"/>
                        <a:pt x="2457" y="1755"/>
                      </a:cubicBezTo>
                      <a:cubicBezTo>
                        <a:pt x="2458" y="1759"/>
                        <a:pt x="2458" y="1759"/>
                        <a:pt x="2458" y="1759"/>
                      </a:cubicBezTo>
                      <a:cubicBezTo>
                        <a:pt x="2462" y="1761"/>
                        <a:pt x="2472" y="1765"/>
                        <a:pt x="2484" y="1760"/>
                      </a:cubicBezTo>
                      <a:cubicBezTo>
                        <a:pt x="2499" y="1754"/>
                        <a:pt x="2511" y="1738"/>
                        <a:pt x="2511" y="1738"/>
                      </a:cubicBezTo>
                      <a:cubicBezTo>
                        <a:pt x="2517" y="1752"/>
                        <a:pt x="2517" y="1752"/>
                        <a:pt x="2517" y="1752"/>
                      </a:cubicBezTo>
                      <a:cubicBezTo>
                        <a:pt x="2517" y="1752"/>
                        <a:pt x="2549" y="1738"/>
                        <a:pt x="2554" y="1734"/>
                      </a:cubicBezTo>
                      <a:cubicBezTo>
                        <a:pt x="2559" y="1730"/>
                        <a:pt x="2580" y="1724"/>
                        <a:pt x="2580" y="1724"/>
                      </a:cubicBezTo>
                      <a:cubicBezTo>
                        <a:pt x="2590" y="1725"/>
                        <a:pt x="2590" y="1725"/>
                        <a:pt x="2590" y="1725"/>
                      </a:cubicBezTo>
                      <a:cubicBezTo>
                        <a:pt x="2561" y="1748"/>
                        <a:pt x="2561" y="1748"/>
                        <a:pt x="2561" y="1748"/>
                      </a:cubicBezTo>
                      <a:cubicBezTo>
                        <a:pt x="2622" y="1742"/>
                        <a:pt x="2622" y="1742"/>
                        <a:pt x="2622" y="1742"/>
                      </a:cubicBezTo>
                      <a:cubicBezTo>
                        <a:pt x="2622" y="1742"/>
                        <a:pt x="2593" y="1745"/>
                        <a:pt x="2592" y="1751"/>
                      </a:cubicBezTo>
                      <a:cubicBezTo>
                        <a:pt x="2591" y="1757"/>
                        <a:pt x="2587" y="1764"/>
                        <a:pt x="2587" y="1764"/>
                      </a:cubicBezTo>
                      <a:cubicBezTo>
                        <a:pt x="2587" y="1764"/>
                        <a:pt x="2568" y="1753"/>
                        <a:pt x="2561" y="1756"/>
                      </a:cubicBezTo>
                      <a:cubicBezTo>
                        <a:pt x="2554" y="1759"/>
                        <a:pt x="2486" y="1793"/>
                        <a:pt x="2483" y="1801"/>
                      </a:cubicBezTo>
                      <a:cubicBezTo>
                        <a:pt x="2480" y="1809"/>
                        <a:pt x="2474" y="1833"/>
                        <a:pt x="2479" y="1834"/>
                      </a:cubicBezTo>
                      <a:cubicBezTo>
                        <a:pt x="2484" y="1835"/>
                        <a:pt x="2491" y="1829"/>
                        <a:pt x="2491" y="1829"/>
                      </a:cubicBezTo>
                      <a:cubicBezTo>
                        <a:pt x="2491" y="1829"/>
                        <a:pt x="2489" y="1845"/>
                        <a:pt x="2498" y="1843"/>
                      </a:cubicBezTo>
                      <a:cubicBezTo>
                        <a:pt x="2507" y="1841"/>
                        <a:pt x="2513" y="1828"/>
                        <a:pt x="2513" y="1828"/>
                      </a:cubicBezTo>
                      <a:cubicBezTo>
                        <a:pt x="2513" y="1828"/>
                        <a:pt x="2539" y="1825"/>
                        <a:pt x="2553" y="1813"/>
                      </a:cubicBezTo>
                      <a:cubicBezTo>
                        <a:pt x="2567" y="1801"/>
                        <a:pt x="2582" y="1780"/>
                        <a:pt x="2582" y="1780"/>
                      </a:cubicBezTo>
                      <a:cubicBezTo>
                        <a:pt x="2582" y="1780"/>
                        <a:pt x="2582" y="1796"/>
                        <a:pt x="2596" y="1793"/>
                      </a:cubicBezTo>
                      <a:cubicBezTo>
                        <a:pt x="2610" y="1790"/>
                        <a:pt x="2644" y="1775"/>
                        <a:pt x="2655" y="1772"/>
                      </a:cubicBezTo>
                      <a:cubicBezTo>
                        <a:pt x="2666" y="1769"/>
                        <a:pt x="2718" y="1756"/>
                        <a:pt x="2718" y="1756"/>
                      </a:cubicBezTo>
                      <a:cubicBezTo>
                        <a:pt x="2709" y="1746"/>
                        <a:pt x="2709" y="1746"/>
                        <a:pt x="2709" y="1746"/>
                      </a:cubicBezTo>
                      <a:cubicBezTo>
                        <a:pt x="2713" y="1733"/>
                        <a:pt x="2713" y="1733"/>
                        <a:pt x="2713" y="1733"/>
                      </a:cubicBezTo>
                      <a:cubicBezTo>
                        <a:pt x="2692" y="1737"/>
                        <a:pt x="2692" y="1737"/>
                        <a:pt x="2692" y="1737"/>
                      </a:cubicBezTo>
                      <a:cubicBezTo>
                        <a:pt x="2691" y="1721"/>
                        <a:pt x="2691" y="1721"/>
                        <a:pt x="2691" y="1721"/>
                      </a:cubicBezTo>
                      <a:cubicBezTo>
                        <a:pt x="2691" y="1721"/>
                        <a:pt x="2667" y="1735"/>
                        <a:pt x="2661" y="1734"/>
                      </a:cubicBezTo>
                      <a:cubicBezTo>
                        <a:pt x="2655" y="1733"/>
                        <a:pt x="2657" y="1724"/>
                        <a:pt x="2657" y="1724"/>
                      </a:cubicBezTo>
                      <a:cubicBezTo>
                        <a:pt x="2657" y="1724"/>
                        <a:pt x="2625" y="1727"/>
                        <a:pt x="2619" y="1722"/>
                      </a:cubicBezTo>
                      <a:cubicBezTo>
                        <a:pt x="2613" y="1717"/>
                        <a:pt x="2605" y="1707"/>
                        <a:pt x="2614" y="1707"/>
                      </a:cubicBezTo>
                      <a:cubicBezTo>
                        <a:pt x="2623" y="1707"/>
                        <a:pt x="2610" y="1694"/>
                        <a:pt x="2599" y="1697"/>
                      </a:cubicBezTo>
                      <a:cubicBezTo>
                        <a:pt x="2588" y="1700"/>
                        <a:pt x="2584" y="1681"/>
                        <a:pt x="2584" y="1676"/>
                      </a:cubicBezTo>
                      <a:cubicBezTo>
                        <a:pt x="2584" y="1671"/>
                        <a:pt x="2596" y="1658"/>
                        <a:pt x="2596" y="1658"/>
                      </a:cubicBezTo>
                      <a:cubicBezTo>
                        <a:pt x="2580" y="1657"/>
                        <a:pt x="2580" y="1657"/>
                        <a:pt x="2580" y="1657"/>
                      </a:cubicBezTo>
                      <a:cubicBezTo>
                        <a:pt x="2580" y="1657"/>
                        <a:pt x="2599" y="1642"/>
                        <a:pt x="2606" y="1634"/>
                      </a:cubicBezTo>
                      <a:cubicBezTo>
                        <a:pt x="2613" y="1626"/>
                        <a:pt x="2632" y="1607"/>
                        <a:pt x="2632" y="1607"/>
                      </a:cubicBezTo>
                      <a:cubicBezTo>
                        <a:pt x="2622" y="1604"/>
                        <a:pt x="2622" y="1604"/>
                        <a:pt x="2622" y="1604"/>
                      </a:cubicBezTo>
                      <a:cubicBezTo>
                        <a:pt x="2608" y="1622"/>
                        <a:pt x="2608" y="1622"/>
                        <a:pt x="2608" y="1622"/>
                      </a:cubicBezTo>
                      <a:cubicBezTo>
                        <a:pt x="2593" y="1614"/>
                        <a:pt x="2593" y="1614"/>
                        <a:pt x="2593" y="1614"/>
                      </a:cubicBezTo>
                      <a:cubicBezTo>
                        <a:pt x="2574" y="1628"/>
                        <a:pt x="2574" y="1628"/>
                        <a:pt x="2574" y="1628"/>
                      </a:cubicBezTo>
                      <a:cubicBezTo>
                        <a:pt x="2571" y="1615"/>
                        <a:pt x="2571" y="1615"/>
                        <a:pt x="2571" y="1615"/>
                      </a:cubicBezTo>
                      <a:cubicBezTo>
                        <a:pt x="2552" y="1608"/>
                        <a:pt x="2552" y="1608"/>
                        <a:pt x="2552" y="1608"/>
                      </a:cubicBezTo>
                      <a:cubicBezTo>
                        <a:pt x="2537" y="1610"/>
                        <a:pt x="2537" y="1610"/>
                        <a:pt x="2537" y="1610"/>
                      </a:cubicBezTo>
                      <a:cubicBezTo>
                        <a:pt x="2574" y="1597"/>
                        <a:pt x="2574" y="1597"/>
                        <a:pt x="2574" y="1597"/>
                      </a:cubicBezTo>
                      <a:cubicBezTo>
                        <a:pt x="2574" y="1597"/>
                        <a:pt x="2581" y="1607"/>
                        <a:pt x="2591" y="1606"/>
                      </a:cubicBezTo>
                      <a:cubicBezTo>
                        <a:pt x="2601" y="1605"/>
                        <a:pt x="2624" y="1587"/>
                        <a:pt x="2624" y="1587"/>
                      </a:cubicBezTo>
                      <a:cubicBezTo>
                        <a:pt x="2624" y="1587"/>
                        <a:pt x="2650" y="1592"/>
                        <a:pt x="2651" y="1585"/>
                      </a:cubicBezTo>
                      <a:cubicBezTo>
                        <a:pt x="2652" y="1578"/>
                        <a:pt x="2644" y="1567"/>
                        <a:pt x="2644" y="1567"/>
                      </a:cubicBezTo>
                      <a:cubicBezTo>
                        <a:pt x="2660" y="1566"/>
                        <a:pt x="2660" y="1566"/>
                        <a:pt x="2660" y="1566"/>
                      </a:cubicBezTo>
                      <a:cubicBezTo>
                        <a:pt x="2660" y="1566"/>
                        <a:pt x="2651" y="1543"/>
                        <a:pt x="2609" y="1543"/>
                      </a:cubicBezTo>
                      <a:cubicBezTo>
                        <a:pt x="2567" y="1543"/>
                        <a:pt x="2517" y="1564"/>
                        <a:pt x="2494" y="1569"/>
                      </a:cubicBezTo>
                      <a:cubicBezTo>
                        <a:pt x="2471" y="1574"/>
                        <a:pt x="2434" y="1597"/>
                        <a:pt x="2427" y="1603"/>
                      </a:cubicBezTo>
                      <a:cubicBezTo>
                        <a:pt x="2420" y="1609"/>
                        <a:pt x="2378" y="1642"/>
                        <a:pt x="2368" y="1650"/>
                      </a:cubicBezTo>
                      <a:cubicBezTo>
                        <a:pt x="2358" y="1658"/>
                        <a:pt x="2322" y="1663"/>
                        <a:pt x="2322" y="1663"/>
                      </a:cubicBezTo>
                      <a:cubicBezTo>
                        <a:pt x="2322" y="1663"/>
                        <a:pt x="2372" y="1635"/>
                        <a:pt x="2381" y="1626"/>
                      </a:cubicBezTo>
                      <a:cubicBezTo>
                        <a:pt x="2390" y="1617"/>
                        <a:pt x="2403" y="1603"/>
                        <a:pt x="2403" y="1603"/>
                      </a:cubicBezTo>
                      <a:cubicBezTo>
                        <a:pt x="2388" y="1594"/>
                        <a:pt x="2388" y="1594"/>
                        <a:pt x="2388" y="1594"/>
                      </a:cubicBezTo>
                      <a:cubicBezTo>
                        <a:pt x="2388" y="1594"/>
                        <a:pt x="2409" y="1602"/>
                        <a:pt x="2414" y="1597"/>
                      </a:cubicBezTo>
                      <a:cubicBezTo>
                        <a:pt x="2419" y="1592"/>
                        <a:pt x="2469" y="1559"/>
                        <a:pt x="2481" y="1550"/>
                      </a:cubicBezTo>
                      <a:cubicBezTo>
                        <a:pt x="2493" y="1541"/>
                        <a:pt x="2531" y="1535"/>
                        <a:pt x="2535" y="1537"/>
                      </a:cubicBezTo>
                      <a:cubicBezTo>
                        <a:pt x="2539" y="1539"/>
                        <a:pt x="2561" y="1501"/>
                        <a:pt x="2591" y="1496"/>
                      </a:cubicBezTo>
                      <a:cubicBezTo>
                        <a:pt x="2621" y="1491"/>
                        <a:pt x="2697" y="1487"/>
                        <a:pt x="2713" y="1487"/>
                      </a:cubicBezTo>
                      <a:cubicBezTo>
                        <a:pt x="2729" y="1487"/>
                        <a:pt x="2788" y="1504"/>
                        <a:pt x="2798" y="1502"/>
                      </a:cubicBezTo>
                      <a:cubicBezTo>
                        <a:pt x="2808" y="1500"/>
                        <a:pt x="2829" y="1489"/>
                        <a:pt x="2839" y="1488"/>
                      </a:cubicBezTo>
                      <a:cubicBezTo>
                        <a:pt x="2849" y="1487"/>
                        <a:pt x="2880" y="1482"/>
                        <a:pt x="2892" y="1473"/>
                      </a:cubicBezTo>
                      <a:cubicBezTo>
                        <a:pt x="2904" y="1464"/>
                        <a:pt x="2930" y="1439"/>
                        <a:pt x="2940" y="1437"/>
                      </a:cubicBezTo>
                      <a:cubicBezTo>
                        <a:pt x="2950" y="1435"/>
                        <a:pt x="2967" y="1436"/>
                        <a:pt x="2967" y="1436"/>
                      </a:cubicBezTo>
                      <a:cubicBezTo>
                        <a:pt x="2967" y="1436"/>
                        <a:pt x="2980" y="1424"/>
                        <a:pt x="2990" y="1424"/>
                      </a:cubicBezTo>
                      <a:cubicBezTo>
                        <a:pt x="3000" y="1424"/>
                        <a:pt x="3001" y="1429"/>
                        <a:pt x="3018" y="1421"/>
                      </a:cubicBezTo>
                      <a:cubicBezTo>
                        <a:pt x="3018" y="1421"/>
                        <a:pt x="3083" y="1404"/>
                        <a:pt x="3077" y="1394"/>
                      </a:cubicBezTo>
                      <a:cubicBezTo>
                        <a:pt x="3071" y="1384"/>
                        <a:pt x="3052" y="1371"/>
                        <a:pt x="3052" y="1371"/>
                      </a:cubicBezTo>
                      <a:cubicBezTo>
                        <a:pt x="3052" y="1371"/>
                        <a:pt x="3076" y="1373"/>
                        <a:pt x="3076" y="1364"/>
                      </a:cubicBezTo>
                      <a:cubicBezTo>
                        <a:pt x="3076" y="1355"/>
                        <a:pt x="3072" y="1343"/>
                        <a:pt x="3072" y="1343"/>
                      </a:cubicBezTo>
                      <a:cubicBezTo>
                        <a:pt x="3072" y="1343"/>
                        <a:pt x="3100" y="1347"/>
                        <a:pt x="3094" y="1331"/>
                      </a:cubicBezTo>
                      <a:cubicBezTo>
                        <a:pt x="3088" y="1315"/>
                        <a:pt x="3065" y="1304"/>
                        <a:pt x="3058" y="1312"/>
                      </a:cubicBezTo>
                      <a:close/>
                      <a:moveTo>
                        <a:pt x="969" y="735"/>
                      </a:moveTo>
                      <a:cubicBezTo>
                        <a:pt x="976" y="730"/>
                        <a:pt x="1004" y="720"/>
                        <a:pt x="1004" y="720"/>
                      </a:cubicBezTo>
                      <a:cubicBezTo>
                        <a:pt x="1004" y="720"/>
                        <a:pt x="999" y="712"/>
                        <a:pt x="1005" y="709"/>
                      </a:cubicBezTo>
                      <a:cubicBezTo>
                        <a:pt x="1011" y="706"/>
                        <a:pt x="1029" y="715"/>
                        <a:pt x="1051" y="709"/>
                      </a:cubicBezTo>
                      <a:cubicBezTo>
                        <a:pt x="1073" y="703"/>
                        <a:pt x="1053" y="691"/>
                        <a:pt x="1034" y="691"/>
                      </a:cubicBezTo>
                      <a:cubicBezTo>
                        <a:pt x="1015" y="691"/>
                        <a:pt x="1010" y="698"/>
                        <a:pt x="999" y="703"/>
                      </a:cubicBezTo>
                      <a:cubicBezTo>
                        <a:pt x="988" y="708"/>
                        <a:pt x="989" y="698"/>
                        <a:pt x="989" y="698"/>
                      </a:cubicBezTo>
                      <a:cubicBezTo>
                        <a:pt x="977" y="703"/>
                        <a:pt x="977" y="703"/>
                        <a:pt x="977" y="703"/>
                      </a:cubicBezTo>
                      <a:cubicBezTo>
                        <a:pt x="954" y="700"/>
                        <a:pt x="954" y="700"/>
                        <a:pt x="954" y="700"/>
                      </a:cubicBezTo>
                      <a:cubicBezTo>
                        <a:pt x="954" y="700"/>
                        <a:pt x="933" y="710"/>
                        <a:pt x="924" y="707"/>
                      </a:cubicBezTo>
                      <a:cubicBezTo>
                        <a:pt x="915" y="704"/>
                        <a:pt x="950" y="694"/>
                        <a:pt x="960" y="689"/>
                      </a:cubicBezTo>
                      <a:cubicBezTo>
                        <a:pt x="970" y="684"/>
                        <a:pt x="979" y="690"/>
                        <a:pt x="992" y="690"/>
                      </a:cubicBezTo>
                      <a:cubicBezTo>
                        <a:pt x="1005" y="690"/>
                        <a:pt x="1001" y="681"/>
                        <a:pt x="1001" y="681"/>
                      </a:cubicBezTo>
                      <a:cubicBezTo>
                        <a:pt x="1071" y="676"/>
                        <a:pt x="1071" y="676"/>
                        <a:pt x="1071" y="676"/>
                      </a:cubicBezTo>
                      <a:cubicBezTo>
                        <a:pt x="1071" y="676"/>
                        <a:pt x="1106" y="666"/>
                        <a:pt x="1119" y="664"/>
                      </a:cubicBezTo>
                      <a:cubicBezTo>
                        <a:pt x="1132" y="662"/>
                        <a:pt x="1140" y="669"/>
                        <a:pt x="1140" y="669"/>
                      </a:cubicBezTo>
                      <a:cubicBezTo>
                        <a:pt x="1140" y="669"/>
                        <a:pt x="1143" y="663"/>
                        <a:pt x="1150" y="660"/>
                      </a:cubicBezTo>
                      <a:cubicBezTo>
                        <a:pt x="1157" y="657"/>
                        <a:pt x="1179" y="667"/>
                        <a:pt x="1179" y="667"/>
                      </a:cubicBezTo>
                      <a:cubicBezTo>
                        <a:pt x="1179" y="667"/>
                        <a:pt x="1157" y="673"/>
                        <a:pt x="1149" y="677"/>
                      </a:cubicBezTo>
                      <a:cubicBezTo>
                        <a:pt x="1141" y="681"/>
                        <a:pt x="1107" y="683"/>
                        <a:pt x="1107" y="683"/>
                      </a:cubicBezTo>
                      <a:cubicBezTo>
                        <a:pt x="1105" y="691"/>
                        <a:pt x="1105" y="691"/>
                        <a:pt x="1105" y="691"/>
                      </a:cubicBezTo>
                      <a:cubicBezTo>
                        <a:pt x="1123" y="691"/>
                        <a:pt x="1123" y="691"/>
                        <a:pt x="1123" y="691"/>
                      </a:cubicBezTo>
                      <a:cubicBezTo>
                        <a:pt x="1123" y="691"/>
                        <a:pt x="1134" y="694"/>
                        <a:pt x="1138" y="694"/>
                      </a:cubicBezTo>
                      <a:cubicBezTo>
                        <a:pt x="1142" y="694"/>
                        <a:pt x="1168" y="691"/>
                        <a:pt x="1182" y="690"/>
                      </a:cubicBezTo>
                      <a:cubicBezTo>
                        <a:pt x="1196" y="689"/>
                        <a:pt x="1176" y="680"/>
                        <a:pt x="1176" y="680"/>
                      </a:cubicBezTo>
                      <a:cubicBezTo>
                        <a:pt x="1213" y="679"/>
                        <a:pt x="1213" y="679"/>
                        <a:pt x="1213" y="679"/>
                      </a:cubicBezTo>
                      <a:cubicBezTo>
                        <a:pt x="1213" y="679"/>
                        <a:pt x="1208" y="692"/>
                        <a:pt x="1189" y="698"/>
                      </a:cubicBezTo>
                      <a:cubicBezTo>
                        <a:pt x="1170" y="704"/>
                        <a:pt x="1158" y="711"/>
                        <a:pt x="1158" y="711"/>
                      </a:cubicBezTo>
                      <a:cubicBezTo>
                        <a:pt x="1158" y="711"/>
                        <a:pt x="1157" y="723"/>
                        <a:pt x="1149" y="725"/>
                      </a:cubicBezTo>
                      <a:cubicBezTo>
                        <a:pt x="1141" y="727"/>
                        <a:pt x="1119" y="716"/>
                        <a:pt x="1119" y="716"/>
                      </a:cubicBezTo>
                      <a:cubicBezTo>
                        <a:pt x="1114" y="723"/>
                        <a:pt x="1114" y="723"/>
                        <a:pt x="1114" y="723"/>
                      </a:cubicBezTo>
                      <a:cubicBezTo>
                        <a:pt x="1104" y="714"/>
                        <a:pt x="1104" y="714"/>
                        <a:pt x="1104" y="714"/>
                      </a:cubicBezTo>
                      <a:cubicBezTo>
                        <a:pt x="1094" y="724"/>
                        <a:pt x="1094" y="724"/>
                        <a:pt x="1094" y="724"/>
                      </a:cubicBezTo>
                      <a:cubicBezTo>
                        <a:pt x="1094" y="724"/>
                        <a:pt x="1086" y="718"/>
                        <a:pt x="1080" y="725"/>
                      </a:cubicBezTo>
                      <a:cubicBezTo>
                        <a:pt x="1074" y="732"/>
                        <a:pt x="1086" y="738"/>
                        <a:pt x="1086" y="738"/>
                      </a:cubicBezTo>
                      <a:cubicBezTo>
                        <a:pt x="1065" y="741"/>
                        <a:pt x="1065" y="741"/>
                        <a:pt x="1065" y="741"/>
                      </a:cubicBezTo>
                      <a:cubicBezTo>
                        <a:pt x="1065" y="741"/>
                        <a:pt x="1050" y="751"/>
                        <a:pt x="1047" y="751"/>
                      </a:cubicBezTo>
                      <a:cubicBezTo>
                        <a:pt x="1044" y="751"/>
                        <a:pt x="1001" y="764"/>
                        <a:pt x="990" y="760"/>
                      </a:cubicBezTo>
                      <a:cubicBezTo>
                        <a:pt x="979" y="756"/>
                        <a:pt x="1018" y="749"/>
                        <a:pt x="1033" y="746"/>
                      </a:cubicBezTo>
                      <a:cubicBezTo>
                        <a:pt x="1048" y="743"/>
                        <a:pt x="1070" y="726"/>
                        <a:pt x="1057" y="724"/>
                      </a:cubicBezTo>
                      <a:cubicBezTo>
                        <a:pt x="1044" y="722"/>
                        <a:pt x="992" y="751"/>
                        <a:pt x="979" y="753"/>
                      </a:cubicBezTo>
                      <a:cubicBezTo>
                        <a:pt x="966" y="755"/>
                        <a:pt x="940" y="751"/>
                        <a:pt x="931" y="746"/>
                      </a:cubicBezTo>
                      <a:cubicBezTo>
                        <a:pt x="922" y="741"/>
                        <a:pt x="962" y="740"/>
                        <a:pt x="969" y="735"/>
                      </a:cubicBezTo>
                      <a:close/>
                      <a:moveTo>
                        <a:pt x="1324" y="872"/>
                      </a:moveTo>
                      <a:cubicBezTo>
                        <a:pt x="1324" y="869"/>
                        <a:pt x="1312" y="855"/>
                        <a:pt x="1308" y="862"/>
                      </a:cubicBezTo>
                      <a:cubicBezTo>
                        <a:pt x="1304" y="869"/>
                        <a:pt x="1305" y="876"/>
                        <a:pt x="1305" y="876"/>
                      </a:cubicBezTo>
                      <a:cubicBezTo>
                        <a:pt x="1305" y="876"/>
                        <a:pt x="1291" y="868"/>
                        <a:pt x="1285" y="870"/>
                      </a:cubicBezTo>
                      <a:cubicBezTo>
                        <a:pt x="1279" y="872"/>
                        <a:pt x="1283" y="879"/>
                        <a:pt x="1283" y="879"/>
                      </a:cubicBezTo>
                      <a:cubicBezTo>
                        <a:pt x="1266" y="881"/>
                        <a:pt x="1266" y="881"/>
                        <a:pt x="1266" y="881"/>
                      </a:cubicBezTo>
                      <a:cubicBezTo>
                        <a:pt x="1266" y="881"/>
                        <a:pt x="1254" y="877"/>
                        <a:pt x="1239" y="887"/>
                      </a:cubicBezTo>
                      <a:cubicBezTo>
                        <a:pt x="1224" y="897"/>
                        <a:pt x="1195" y="916"/>
                        <a:pt x="1181" y="919"/>
                      </a:cubicBezTo>
                      <a:cubicBezTo>
                        <a:pt x="1167" y="922"/>
                        <a:pt x="1147" y="928"/>
                        <a:pt x="1147" y="928"/>
                      </a:cubicBezTo>
                      <a:cubicBezTo>
                        <a:pt x="1147" y="928"/>
                        <a:pt x="1116" y="920"/>
                        <a:pt x="1108" y="928"/>
                      </a:cubicBezTo>
                      <a:cubicBezTo>
                        <a:pt x="1100" y="936"/>
                        <a:pt x="1094" y="947"/>
                        <a:pt x="1094" y="947"/>
                      </a:cubicBezTo>
                      <a:cubicBezTo>
                        <a:pt x="1065" y="947"/>
                        <a:pt x="1065" y="947"/>
                        <a:pt x="1065" y="947"/>
                      </a:cubicBezTo>
                      <a:cubicBezTo>
                        <a:pt x="1059" y="953"/>
                        <a:pt x="1059" y="953"/>
                        <a:pt x="1059" y="953"/>
                      </a:cubicBezTo>
                      <a:cubicBezTo>
                        <a:pt x="1059" y="953"/>
                        <a:pt x="1045" y="950"/>
                        <a:pt x="1038" y="952"/>
                      </a:cubicBezTo>
                      <a:cubicBezTo>
                        <a:pt x="1031" y="954"/>
                        <a:pt x="1012" y="957"/>
                        <a:pt x="1005" y="956"/>
                      </a:cubicBezTo>
                      <a:cubicBezTo>
                        <a:pt x="998" y="955"/>
                        <a:pt x="987" y="947"/>
                        <a:pt x="984" y="948"/>
                      </a:cubicBezTo>
                      <a:cubicBezTo>
                        <a:pt x="981" y="949"/>
                        <a:pt x="963" y="946"/>
                        <a:pt x="963" y="942"/>
                      </a:cubicBezTo>
                      <a:cubicBezTo>
                        <a:pt x="963" y="938"/>
                        <a:pt x="985" y="939"/>
                        <a:pt x="985" y="939"/>
                      </a:cubicBezTo>
                      <a:cubicBezTo>
                        <a:pt x="985" y="939"/>
                        <a:pt x="994" y="929"/>
                        <a:pt x="997" y="929"/>
                      </a:cubicBezTo>
                      <a:cubicBezTo>
                        <a:pt x="1000" y="929"/>
                        <a:pt x="1008" y="937"/>
                        <a:pt x="1018" y="937"/>
                      </a:cubicBezTo>
                      <a:cubicBezTo>
                        <a:pt x="1028" y="937"/>
                        <a:pt x="1028" y="929"/>
                        <a:pt x="1028" y="929"/>
                      </a:cubicBezTo>
                      <a:cubicBezTo>
                        <a:pt x="1039" y="929"/>
                        <a:pt x="1039" y="929"/>
                        <a:pt x="1039" y="929"/>
                      </a:cubicBezTo>
                      <a:cubicBezTo>
                        <a:pt x="1039" y="929"/>
                        <a:pt x="1049" y="911"/>
                        <a:pt x="1059" y="910"/>
                      </a:cubicBezTo>
                      <a:cubicBezTo>
                        <a:pt x="1069" y="909"/>
                        <a:pt x="1072" y="918"/>
                        <a:pt x="1090" y="911"/>
                      </a:cubicBezTo>
                      <a:cubicBezTo>
                        <a:pt x="1108" y="904"/>
                        <a:pt x="1093" y="882"/>
                        <a:pt x="1093" y="882"/>
                      </a:cubicBezTo>
                      <a:cubicBezTo>
                        <a:pt x="1093" y="882"/>
                        <a:pt x="1071" y="868"/>
                        <a:pt x="1085" y="862"/>
                      </a:cubicBezTo>
                      <a:cubicBezTo>
                        <a:pt x="1091" y="859"/>
                        <a:pt x="1099" y="872"/>
                        <a:pt x="1099" y="872"/>
                      </a:cubicBezTo>
                      <a:cubicBezTo>
                        <a:pt x="1107" y="871"/>
                        <a:pt x="1107" y="871"/>
                        <a:pt x="1107" y="871"/>
                      </a:cubicBezTo>
                      <a:cubicBezTo>
                        <a:pt x="1119" y="882"/>
                        <a:pt x="1119" y="882"/>
                        <a:pt x="1119" y="882"/>
                      </a:cubicBezTo>
                      <a:cubicBezTo>
                        <a:pt x="1119" y="882"/>
                        <a:pt x="1133" y="881"/>
                        <a:pt x="1137" y="884"/>
                      </a:cubicBezTo>
                      <a:cubicBezTo>
                        <a:pt x="1141" y="887"/>
                        <a:pt x="1130" y="902"/>
                        <a:pt x="1153" y="901"/>
                      </a:cubicBezTo>
                      <a:cubicBezTo>
                        <a:pt x="1176" y="900"/>
                        <a:pt x="1176" y="895"/>
                        <a:pt x="1176" y="895"/>
                      </a:cubicBezTo>
                      <a:cubicBezTo>
                        <a:pt x="1187" y="896"/>
                        <a:pt x="1187" y="896"/>
                        <a:pt x="1187" y="896"/>
                      </a:cubicBezTo>
                      <a:cubicBezTo>
                        <a:pt x="1187" y="896"/>
                        <a:pt x="1227" y="880"/>
                        <a:pt x="1241" y="871"/>
                      </a:cubicBezTo>
                      <a:cubicBezTo>
                        <a:pt x="1255" y="862"/>
                        <a:pt x="1277" y="855"/>
                        <a:pt x="1295" y="854"/>
                      </a:cubicBezTo>
                      <a:cubicBezTo>
                        <a:pt x="1313" y="853"/>
                        <a:pt x="1351" y="857"/>
                        <a:pt x="1348" y="861"/>
                      </a:cubicBezTo>
                      <a:cubicBezTo>
                        <a:pt x="1345" y="865"/>
                        <a:pt x="1324" y="875"/>
                        <a:pt x="1324" y="872"/>
                      </a:cubicBezTo>
                      <a:close/>
                      <a:moveTo>
                        <a:pt x="1405" y="1355"/>
                      </a:moveTo>
                      <a:cubicBezTo>
                        <a:pt x="1405" y="1355"/>
                        <a:pt x="1402" y="1384"/>
                        <a:pt x="1403" y="1393"/>
                      </a:cubicBezTo>
                      <a:cubicBezTo>
                        <a:pt x="1404" y="1402"/>
                        <a:pt x="1399" y="1411"/>
                        <a:pt x="1396" y="1416"/>
                      </a:cubicBezTo>
                      <a:cubicBezTo>
                        <a:pt x="1393" y="1421"/>
                        <a:pt x="1400" y="1422"/>
                        <a:pt x="1403" y="1433"/>
                      </a:cubicBezTo>
                      <a:cubicBezTo>
                        <a:pt x="1406" y="1444"/>
                        <a:pt x="1382" y="1471"/>
                        <a:pt x="1382" y="1471"/>
                      </a:cubicBezTo>
                      <a:cubicBezTo>
                        <a:pt x="1368" y="1466"/>
                        <a:pt x="1368" y="1466"/>
                        <a:pt x="1368" y="1466"/>
                      </a:cubicBezTo>
                      <a:cubicBezTo>
                        <a:pt x="1368" y="1466"/>
                        <a:pt x="1365" y="1485"/>
                        <a:pt x="1348" y="1482"/>
                      </a:cubicBezTo>
                      <a:cubicBezTo>
                        <a:pt x="1331" y="1479"/>
                        <a:pt x="1387" y="1431"/>
                        <a:pt x="1387" y="1419"/>
                      </a:cubicBezTo>
                      <a:cubicBezTo>
                        <a:pt x="1387" y="1407"/>
                        <a:pt x="1366" y="1427"/>
                        <a:pt x="1366" y="1427"/>
                      </a:cubicBezTo>
                      <a:cubicBezTo>
                        <a:pt x="1379" y="1406"/>
                        <a:pt x="1379" y="1406"/>
                        <a:pt x="1379" y="1406"/>
                      </a:cubicBezTo>
                      <a:cubicBezTo>
                        <a:pt x="1379" y="1406"/>
                        <a:pt x="1383" y="1393"/>
                        <a:pt x="1372" y="1390"/>
                      </a:cubicBezTo>
                      <a:cubicBezTo>
                        <a:pt x="1361" y="1387"/>
                        <a:pt x="1367" y="1407"/>
                        <a:pt x="1354" y="1407"/>
                      </a:cubicBezTo>
                      <a:cubicBezTo>
                        <a:pt x="1341" y="1407"/>
                        <a:pt x="1351" y="1376"/>
                        <a:pt x="1351" y="1376"/>
                      </a:cubicBezTo>
                      <a:cubicBezTo>
                        <a:pt x="1351" y="1376"/>
                        <a:pt x="1345" y="1370"/>
                        <a:pt x="1343" y="1361"/>
                      </a:cubicBezTo>
                      <a:cubicBezTo>
                        <a:pt x="1341" y="1352"/>
                        <a:pt x="1365" y="1352"/>
                        <a:pt x="1367" y="1346"/>
                      </a:cubicBezTo>
                      <a:cubicBezTo>
                        <a:pt x="1369" y="1340"/>
                        <a:pt x="1347" y="1349"/>
                        <a:pt x="1343" y="1340"/>
                      </a:cubicBezTo>
                      <a:cubicBezTo>
                        <a:pt x="1342" y="1338"/>
                        <a:pt x="1372" y="1307"/>
                        <a:pt x="1382" y="1303"/>
                      </a:cubicBezTo>
                      <a:cubicBezTo>
                        <a:pt x="1392" y="1299"/>
                        <a:pt x="1391" y="1306"/>
                        <a:pt x="1395" y="1307"/>
                      </a:cubicBezTo>
                      <a:cubicBezTo>
                        <a:pt x="1399" y="1308"/>
                        <a:pt x="1410" y="1305"/>
                        <a:pt x="1418" y="1322"/>
                      </a:cubicBezTo>
                      <a:cubicBezTo>
                        <a:pt x="1426" y="1339"/>
                        <a:pt x="1405" y="1355"/>
                        <a:pt x="1405" y="1355"/>
                      </a:cubicBezTo>
                      <a:close/>
                      <a:moveTo>
                        <a:pt x="156" y="1459"/>
                      </a:moveTo>
                      <a:cubicBezTo>
                        <a:pt x="146" y="1456"/>
                        <a:pt x="147" y="1473"/>
                        <a:pt x="147" y="1473"/>
                      </a:cubicBezTo>
                      <a:cubicBezTo>
                        <a:pt x="155" y="1473"/>
                        <a:pt x="166" y="1462"/>
                        <a:pt x="156" y="1459"/>
                      </a:cubicBezTo>
                      <a:close/>
                      <a:moveTo>
                        <a:pt x="2216" y="1197"/>
                      </a:moveTo>
                      <a:cubicBezTo>
                        <a:pt x="2248" y="1196"/>
                        <a:pt x="2259" y="1170"/>
                        <a:pt x="2228" y="1170"/>
                      </a:cubicBezTo>
                      <a:cubicBezTo>
                        <a:pt x="2196" y="1171"/>
                        <a:pt x="2216" y="1197"/>
                        <a:pt x="2216" y="1197"/>
                      </a:cubicBezTo>
                      <a:close/>
                      <a:moveTo>
                        <a:pt x="2456" y="825"/>
                      </a:moveTo>
                      <a:cubicBezTo>
                        <a:pt x="2456" y="825"/>
                        <a:pt x="2433" y="822"/>
                        <a:pt x="2423" y="814"/>
                      </a:cubicBezTo>
                      <a:cubicBezTo>
                        <a:pt x="2413" y="806"/>
                        <a:pt x="2418" y="785"/>
                        <a:pt x="2418" y="785"/>
                      </a:cubicBezTo>
                      <a:cubicBezTo>
                        <a:pt x="2397" y="769"/>
                        <a:pt x="2397" y="769"/>
                        <a:pt x="2397" y="769"/>
                      </a:cubicBezTo>
                      <a:cubicBezTo>
                        <a:pt x="2370" y="772"/>
                        <a:pt x="2370" y="772"/>
                        <a:pt x="2370" y="772"/>
                      </a:cubicBezTo>
                      <a:cubicBezTo>
                        <a:pt x="2366" y="763"/>
                        <a:pt x="2366" y="763"/>
                        <a:pt x="2366" y="763"/>
                      </a:cubicBezTo>
                      <a:cubicBezTo>
                        <a:pt x="2353" y="741"/>
                        <a:pt x="2353" y="741"/>
                        <a:pt x="2353" y="741"/>
                      </a:cubicBezTo>
                      <a:cubicBezTo>
                        <a:pt x="2330" y="745"/>
                        <a:pt x="2330" y="745"/>
                        <a:pt x="2330" y="745"/>
                      </a:cubicBezTo>
                      <a:cubicBezTo>
                        <a:pt x="2317" y="738"/>
                        <a:pt x="2317" y="738"/>
                        <a:pt x="2317" y="738"/>
                      </a:cubicBezTo>
                      <a:cubicBezTo>
                        <a:pt x="2329" y="727"/>
                        <a:pt x="2329" y="727"/>
                        <a:pt x="2329" y="727"/>
                      </a:cubicBezTo>
                      <a:cubicBezTo>
                        <a:pt x="2327" y="710"/>
                        <a:pt x="2327" y="710"/>
                        <a:pt x="2327" y="710"/>
                      </a:cubicBezTo>
                      <a:cubicBezTo>
                        <a:pt x="2293" y="728"/>
                        <a:pt x="2293" y="728"/>
                        <a:pt x="2293" y="728"/>
                      </a:cubicBezTo>
                      <a:cubicBezTo>
                        <a:pt x="2276" y="736"/>
                        <a:pt x="2276" y="736"/>
                        <a:pt x="2276" y="736"/>
                      </a:cubicBezTo>
                      <a:cubicBezTo>
                        <a:pt x="2257" y="764"/>
                        <a:pt x="2257" y="764"/>
                        <a:pt x="2257" y="764"/>
                      </a:cubicBezTo>
                      <a:cubicBezTo>
                        <a:pt x="2257" y="764"/>
                        <a:pt x="2226" y="771"/>
                        <a:pt x="2224" y="777"/>
                      </a:cubicBezTo>
                      <a:cubicBezTo>
                        <a:pt x="2222" y="783"/>
                        <a:pt x="2234" y="790"/>
                        <a:pt x="2224" y="793"/>
                      </a:cubicBezTo>
                      <a:cubicBezTo>
                        <a:pt x="2215" y="797"/>
                        <a:pt x="2186" y="807"/>
                        <a:pt x="2186" y="807"/>
                      </a:cubicBezTo>
                      <a:cubicBezTo>
                        <a:pt x="2203" y="815"/>
                        <a:pt x="2203" y="815"/>
                        <a:pt x="2203" y="815"/>
                      </a:cubicBezTo>
                      <a:cubicBezTo>
                        <a:pt x="2203" y="815"/>
                        <a:pt x="2230" y="811"/>
                        <a:pt x="2231" y="814"/>
                      </a:cubicBezTo>
                      <a:cubicBezTo>
                        <a:pt x="2231" y="817"/>
                        <a:pt x="2225" y="822"/>
                        <a:pt x="2225" y="833"/>
                      </a:cubicBezTo>
                      <a:cubicBezTo>
                        <a:pt x="2225" y="844"/>
                        <a:pt x="2268" y="845"/>
                        <a:pt x="2287" y="835"/>
                      </a:cubicBezTo>
                      <a:cubicBezTo>
                        <a:pt x="2306" y="826"/>
                        <a:pt x="2296" y="808"/>
                        <a:pt x="2324" y="809"/>
                      </a:cubicBezTo>
                      <a:cubicBezTo>
                        <a:pt x="2351" y="809"/>
                        <a:pt x="2355" y="818"/>
                        <a:pt x="2355" y="818"/>
                      </a:cubicBezTo>
                      <a:cubicBezTo>
                        <a:pt x="2386" y="823"/>
                        <a:pt x="2386" y="823"/>
                        <a:pt x="2386" y="823"/>
                      </a:cubicBezTo>
                      <a:cubicBezTo>
                        <a:pt x="2390" y="834"/>
                        <a:pt x="2390" y="834"/>
                        <a:pt x="2390" y="834"/>
                      </a:cubicBezTo>
                      <a:cubicBezTo>
                        <a:pt x="2452" y="838"/>
                        <a:pt x="2452" y="838"/>
                        <a:pt x="2452" y="838"/>
                      </a:cubicBezTo>
                      <a:lnTo>
                        <a:pt x="2456" y="825"/>
                      </a:lnTo>
                      <a:close/>
                      <a:moveTo>
                        <a:pt x="2393" y="886"/>
                      </a:moveTo>
                      <a:cubicBezTo>
                        <a:pt x="2352" y="899"/>
                        <a:pt x="2393" y="913"/>
                        <a:pt x="2393" y="913"/>
                      </a:cubicBezTo>
                      <a:cubicBezTo>
                        <a:pt x="2415" y="897"/>
                        <a:pt x="2434" y="872"/>
                        <a:pt x="2393" y="886"/>
                      </a:cubicBezTo>
                      <a:close/>
                    </a:path>
                  </a:pathLst>
                </a:custGeom>
                <a:grpFill/>
                <a:ln w="3175">
                  <a:solidFill>
                    <a:schemeClr val="accent1">
                      <a:lumMod val="40000"/>
                      <a:lumOff val="6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de-DE" sz="1600" dirty="0">
                    <a:solidFill>
                      <a:srgbClr val="646464"/>
                    </a:solidFill>
                  </a:endParaRPr>
                </a:p>
              </p:txBody>
            </p:sp>
          </p:grpSp>
          <p:sp>
            <p:nvSpPr>
              <p:cNvPr id="1369" name="MCShape 159">
                <a:extLst>
                  <a:ext uri="{FF2B5EF4-FFF2-40B4-BE49-F238E27FC236}">
                    <a16:creationId xmlns:a16="http://schemas.microsoft.com/office/drawing/2014/main" id="{C865489D-544A-4438-8E0F-A9ECB46C5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1565" y="4213140"/>
                <a:ext cx="371217" cy="586214"/>
              </a:xfrm>
              <a:custGeom>
                <a:avLst/>
                <a:gdLst>
                  <a:gd name="T0" fmla="*/ 604 w 630"/>
                  <a:gd name="T1" fmla="*/ 869 h 993"/>
                  <a:gd name="T2" fmla="*/ 575 w 630"/>
                  <a:gd name="T3" fmla="*/ 854 h 993"/>
                  <a:gd name="T4" fmla="*/ 581 w 630"/>
                  <a:gd name="T5" fmla="*/ 821 h 993"/>
                  <a:gd name="T6" fmla="*/ 607 w 630"/>
                  <a:gd name="T7" fmla="*/ 835 h 993"/>
                  <a:gd name="T8" fmla="*/ 603 w 630"/>
                  <a:gd name="T9" fmla="*/ 799 h 993"/>
                  <a:gd name="T10" fmla="*/ 605 w 630"/>
                  <a:gd name="T11" fmla="*/ 744 h 993"/>
                  <a:gd name="T12" fmla="*/ 609 w 630"/>
                  <a:gd name="T13" fmla="*/ 694 h 993"/>
                  <a:gd name="T14" fmla="*/ 597 w 630"/>
                  <a:gd name="T15" fmla="*/ 632 h 993"/>
                  <a:gd name="T16" fmla="*/ 556 w 630"/>
                  <a:gd name="T17" fmla="*/ 590 h 993"/>
                  <a:gd name="T18" fmla="*/ 533 w 630"/>
                  <a:gd name="T19" fmla="*/ 591 h 993"/>
                  <a:gd name="T20" fmla="*/ 523 w 630"/>
                  <a:gd name="T21" fmla="*/ 562 h 993"/>
                  <a:gd name="T22" fmla="*/ 525 w 630"/>
                  <a:gd name="T23" fmla="*/ 507 h 993"/>
                  <a:gd name="T24" fmla="*/ 449 w 630"/>
                  <a:gd name="T25" fmla="*/ 541 h 993"/>
                  <a:gd name="T26" fmla="*/ 399 w 630"/>
                  <a:gd name="T27" fmla="*/ 509 h 993"/>
                  <a:gd name="T28" fmla="*/ 391 w 630"/>
                  <a:gd name="T29" fmla="*/ 465 h 993"/>
                  <a:gd name="T30" fmla="*/ 371 w 630"/>
                  <a:gd name="T31" fmla="*/ 420 h 993"/>
                  <a:gd name="T32" fmla="*/ 371 w 630"/>
                  <a:gd name="T33" fmla="*/ 396 h 993"/>
                  <a:gd name="T34" fmla="*/ 368 w 630"/>
                  <a:gd name="T35" fmla="*/ 370 h 993"/>
                  <a:gd name="T36" fmla="*/ 389 w 630"/>
                  <a:gd name="T37" fmla="*/ 331 h 993"/>
                  <a:gd name="T38" fmla="*/ 403 w 630"/>
                  <a:gd name="T39" fmla="*/ 277 h 993"/>
                  <a:gd name="T40" fmla="*/ 422 w 630"/>
                  <a:gd name="T41" fmla="*/ 265 h 993"/>
                  <a:gd name="T42" fmla="*/ 471 w 630"/>
                  <a:gd name="T43" fmla="*/ 244 h 993"/>
                  <a:gd name="T44" fmla="*/ 492 w 630"/>
                  <a:gd name="T45" fmla="*/ 240 h 993"/>
                  <a:gd name="T46" fmla="*/ 527 w 630"/>
                  <a:gd name="T47" fmla="*/ 236 h 993"/>
                  <a:gd name="T48" fmla="*/ 543 w 630"/>
                  <a:gd name="T49" fmla="*/ 227 h 993"/>
                  <a:gd name="T50" fmla="*/ 526 w 630"/>
                  <a:gd name="T51" fmla="*/ 207 h 993"/>
                  <a:gd name="T52" fmla="*/ 520 w 630"/>
                  <a:gd name="T53" fmla="*/ 171 h 993"/>
                  <a:gd name="T54" fmla="*/ 505 w 630"/>
                  <a:gd name="T55" fmla="*/ 135 h 993"/>
                  <a:gd name="T56" fmla="*/ 472 w 630"/>
                  <a:gd name="T57" fmla="*/ 130 h 993"/>
                  <a:gd name="T58" fmla="*/ 434 w 630"/>
                  <a:gd name="T59" fmla="*/ 138 h 993"/>
                  <a:gd name="T60" fmla="*/ 388 w 630"/>
                  <a:gd name="T61" fmla="*/ 106 h 993"/>
                  <a:gd name="T62" fmla="*/ 364 w 630"/>
                  <a:gd name="T63" fmla="*/ 73 h 993"/>
                  <a:gd name="T64" fmla="*/ 343 w 630"/>
                  <a:gd name="T65" fmla="*/ 57 h 993"/>
                  <a:gd name="T66" fmla="*/ 327 w 630"/>
                  <a:gd name="T67" fmla="*/ 33 h 993"/>
                  <a:gd name="T68" fmla="*/ 264 w 630"/>
                  <a:gd name="T69" fmla="*/ 0 h 993"/>
                  <a:gd name="T70" fmla="*/ 278 w 630"/>
                  <a:gd name="T71" fmla="*/ 1 h 993"/>
                  <a:gd name="T72" fmla="*/ 284 w 630"/>
                  <a:gd name="T73" fmla="*/ 31 h 993"/>
                  <a:gd name="T74" fmla="*/ 277 w 630"/>
                  <a:gd name="T75" fmla="*/ 58 h 993"/>
                  <a:gd name="T76" fmla="*/ 218 w 630"/>
                  <a:gd name="T77" fmla="*/ 143 h 993"/>
                  <a:gd name="T78" fmla="*/ 147 w 630"/>
                  <a:gd name="T79" fmla="*/ 186 h 993"/>
                  <a:gd name="T80" fmla="*/ 142 w 630"/>
                  <a:gd name="T81" fmla="*/ 201 h 993"/>
                  <a:gd name="T82" fmla="*/ 128 w 630"/>
                  <a:gd name="T83" fmla="*/ 252 h 993"/>
                  <a:gd name="T84" fmla="*/ 103 w 630"/>
                  <a:gd name="T85" fmla="*/ 270 h 993"/>
                  <a:gd name="T86" fmla="*/ 69 w 630"/>
                  <a:gd name="T87" fmla="*/ 243 h 993"/>
                  <a:gd name="T88" fmla="*/ 40 w 630"/>
                  <a:gd name="T89" fmla="*/ 246 h 993"/>
                  <a:gd name="T90" fmla="*/ 37 w 630"/>
                  <a:gd name="T91" fmla="*/ 224 h 993"/>
                  <a:gd name="T92" fmla="*/ 43 w 630"/>
                  <a:gd name="T93" fmla="*/ 188 h 993"/>
                  <a:gd name="T94" fmla="*/ 0 w 630"/>
                  <a:gd name="T95" fmla="*/ 254 h 993"/>
                  <a:gd name="T96" fmla="*/ 9 w 630"/>
                  <a:gd name="T97" fmla="*/ 282 h 993"/>
                  <a:gd name="T98" fmla="*/ 8 w 630"/>
                  <a:gd name="T99" fmla="*/ 331 h 993"/>
                  <a:gd name="T100" fmla="*/ 85 w 630"/>
                  <a:gd name="T101" fmla="*/ 394 h 993"/>
                  <a:gd name="T102" fmla="*/ 126 w 630"/>
                  <a:gd name="T103" fmla="*/ 462 h 993"/>
                  <a:gd name="T104" fmla="*/ 169 w 630"/>
                  <a:gd name="T105" fmla="*/ 547 h 993"/>
                  <a:gd name="T106" fmla="*/ 214 w 630"/>
                  <a:gd name="T107" fmla="*/ 622 h 993"/>
                  <a:gd name="T108" fmla="*/ 267 w 630"/>
                  <a:gd name="T109" fmla="*/ 715 h 993"/>
                  <a:gd name="T110" fmla="*/ 304 w 630"/>
                  <a:gd name="T111" fmla="*/ 803 h 993"/>
                  <a:gd name="T112" fmla="*/ 400 w 630"/>
                  <a:gd name="T113" fmla="*/ 869 h 993"/>
                  <a:gd name="T114" fmla="*/ 516 w 630"/>
                  <a:gd name="T115" fmla="*/ 939 h 993"/>
                  <a:gd name="T116" fmla="*/ 540 w 630"/>
                  <a:gd name="T117" fmla="*/ 968 h 993"/>
                  <a:gd name="T118" fmla="*/ 574 w 630"/>
                  <a:gd name="T119" fmla="*/ 993 h 993"/>
                  <a:gd name="T120" fmla="*/ 596 w 630"/>
                  <a:gd name="T121" fmla="*/ 954 h 993"/>
                  <a:gd name="T122" fmla="*/ 601 w 630"/>
                  <a:gd name="T123" fmla="*/ 929 h 993"/>
                  <a:gd name="T124" fmla="*/ 630 w 630"/>
                  <a:gd name="T125" fmla="*/ 889 h 99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30"/>
                  <a:gd name="T190" fmla="*/ 0 h 993"/>
                  <a:gd name="T191" fmla="*/ 630 w 630"/>
                  <a:gd name="T192" fmla="*/ 993 h 99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30" h="993">
                    <a:moveTo>
                      <a:pt x="622" y="880"/>
                    </a:moveTo>
                    <a:cubicBezTo>
                      <a:pt x="622" y="880"/>
                      <a:pt x="612" y="873"/>
                      <a:pt x="604" y="869"/>
                    </a:cubicBezTo>
                    <a:cubicBezTo>
                      <a:pt x="596" y="865"/>
                      <a:pt x="593" y="857"/>
                      <a:pt x="593" y="857"/>
                    </a:cubicBezTo>
                    <a:cubicBezTo>
                      <a:pt x="593" y="857"/>
                      <a:pt x="579" y="859"/>
                      <a:pt x="575" y="854"/>
                    </a:cubicBezTo>
                    <a:cubicBezTo>
                      <a:pt x="580" y="840"/>
                      <a:pt x="580" y="840"/>
                      <a:pt x="580" y="840"/>
                    </a:cubicBezTo>
                    <a:cubicBezTo>
                      <a:pt x="580" y="840"/>
                      <a:pt x="576" y="825"/>
                      <a:pt x="581" y="821"/>
                    </a:cubicBezTo>
                    <a:cubicBezTo>
                      <a:pt x="584" y="818"/>
                      <a:pt x="598" y="830"/>
                      <a:pt x="607" y="838"/>
                    </a:cubicBezTo>
                    <a:cubicBezTo>
                      <a:pt x="607" y="836"/>
                      <a:pt x="607" y="835"/>
                      <a:pt x="607" y="835"/>
                    </a:cubicBezTo>
                    <a:cubicBezTo>
                      <a:pt x="612" y="824"/>
                      <a:pt x="612" y="824"/>
                      <a:pt x="612" y="824"/>
                    </a:cubicBezTo>
                    <a:cubicBezTo>
                      <a:pt x="612" y="824"/>
                      <a:pt x="604" y="813"/>
                      <a:pt x="603" y="799"/>
                    </a:cubicBezTo>
                    <a:cubicBezTo>
                      <a:pt x="601" y="784"/>
                      <a:pt x="616" y="776"/>
                      <a:pt x="620" y="766"/>
                    </a:cubicBezTo>
                    <a:cubicBezTo>
                      <a:pt x="624" y="757"/>
                      <a:pt x="605" y="744"/>
                      <a:pt x="605" y="744"/>
                    </a:cubicBezTo>
                    <a:cubicBezTo>
                      <a:pt x="618" y="724"/>
                      <a:pt x="618" y="724"/>
                      <a:pt x="618" y="724"/>
                    </a:cubicBezTo>
                    <a:cubicBezTo>
                      <a:pt x="609" y="694"/>
                      <a:pt x="609" y="694"/>
                      <a:pt x="609" y="694"/>
                    </a:cubicBezTo>
                    <a:cubicBezTo>
                      <a:pt x="609" y="694"/>
                      <a:pt x="619" y="683"/>
                      <a:pt x="620" y="677"/>
                    </a:cubicBezTo>
                    <a:cubicBezTo>
                      <a:pt x="622" y="670"/>
                      <a:pt x="612" y="645"/>
                      <a:pt x="597" y="632"/>
                    </a:cubicBezTo>
                    <a:cubicBezTo>
                      <a:pt x="586" y="621"/>
                      <a:pt x="579" y="600"/>
                      <a:pt x="577" y="591"/>
                    </a:cubicBezTo>
                    <a:cubicBezTo>
                      <a:pt x="568" y="590"/>
                      <a:pt x="560" y="590"/>
                      <a:pt x="556" y="590"/>
                    </a:cubicBezTo>
                    <a:cubicBezTo>
                      <a:pt x="545" y="590"/>
                      <a:pt x="549" y="599"/>
                      <a:pt x="541" y="599"/>
                    </a:cubicBezTo>
                    <a:cubicBezTo>
                      <a:pt x="533" y="599"/>
                      <a:pt x="533" y="591"/>
                      <a:pt x="533" y="591"/>
                    </a:cubicBezTo>
                    <a:cubicBezTo>
                      <a:pt x="526" y="592"/>
                      <a:pt x="526" y="592"/>
                      <a:pt x="526" y="592"/>
                    </a:cubicBezTo>
                    <a:cubicBezTo>
                      <a:pt x="526" y="592"/>
                      <a:pt x="525" y="572"/>
                      <a:pt x="523" y="562"/>
                    </a:cubicBezTo>
                    <a:cubicBezTo>
                      <a:pt x="521" y="552"/>
                      <a:pt x="526" y="538"/>
                      <a:pt x="528" y="534"/>
                    </a:cubicBezTo>
                    <a:cubicBezTo>
                      <a:pt x="530" y="530"/>
                      <a:pt x="525" y="507"/>
                      <a:pt x="525" y="507"/>
                    </a:cubicBezTo>
                    <a:cubicBezTo>
                      <a:pt x="491" y="537"/>
                      <a:pt x="491" y="537"/>
                      <a:pt x="491" y="537"/>
                    </a:cubicBezTo>
                    <a:cubicBezTo>
                      <a:pt x="449" y="541"/>
                      <a:pt x="449" y="541"/>
                      <a:pt x="449" y="541"/>
                    </a:cubicBezTo>
                    <a:cubicBezTo>
                      <a:pt x="449" y="541"/>
                      <a:pt x="441" y="522"/>
                      <a:pt x="438" y="515"/>
                    </a:cubicBezTo>
                    <a:cubicBezTo>
                      <a:pt x="435" y="508"/>
                      <a:pt x="399" y="509"/>
                      <a:pt x="399" y="509"/>
                    </a:cubicBezTo>
                    <a:cubicBezTo>
                      <a:pt x="399" y="509"/>
                      <a:pt x="414" y="496"/>
                      <a:pt x="416" y="491"/>
                    </a:cubicBezTo>
                    <a:cubicBezTo>
                      <a:pt x="418" y="486"/>
                      <a:pt x="396" y="471"/>
                      <a:pt x="391" y="465"/>
                    </a:cubicBezTo>
                    <a:cubicBezTo>
                      <a:pt x="386" y="459"/>
                      <a:pt x="373" y="438"/>
                      <a:pt x="373" y="438"/>
                    </a:cubicBezTo>
                    <a:cubicBezTo>
                      <a:pt x="371" y="420"/>
                      <a:pt x="371" y="420"/>
                      <a:pt x="371" y="420"/>
                    </a:cubicBezTo>
                    <a:cubicBezTo>
                      <a:pt x="371" y="420"/>
                      <a:pt x="356" y="414"/>
                      <a:pt x="356" y="409"/>
                    </a:cubicBezTo>
                    <a:cubicBezTo>
                      <a:pt x="356" y="404"/>
                      <a:pt x="371" y="396"/>
                      <a:pt x="371" y="396"/>
                    </a:cubicBezTo>
                    <a:cubicBezTo>
                      <a:pt x="365" y="392"/>
                      <a:pt x="365" y="392"/>
                      <a:pt x="365" y="392"/>
                    </a:cubicBezTo>
                    <a:cubicBezTo>
                      <a:pt x="365" y="392"/>
                      <a:pt x="360" y="378"/>
                      <a:pt x="368" y="370"/>
                    </a:cubicBezTo>
                    <a:cubicBezTo>
                      <a:pt x="376" y="362"/>
                      <a:pt x="389" y="345"/>
                      <a:pt x="395" y="354"/>
                    </a:cubicBezTo>
                    <a:cubicBezTo>
                      <a:pt x="401" y="363"/>
                      <a:pt x="391" y="338"/>
                      <a:pt x="389" y="331"/>
                    </a:cubicBezTo>
                    <a:cubicBezTo>
                      <a:pt x="387" y="324"/>
                      <a:pt x="402" y="315"/>
                      <a:pt x="402" y="315"/>
                    </a:cubicBezTo>
                    <a:cubicBezTo>
                      <a:pt x="403" y="277"/>
                      <a:pt x="403" y="277"/>
                      <a:pt x="403" y="277"/>
                    </a:cubicBezTo>
                    <a:cubicBezTo>
                      <a:pt x="419" y="277"/>
                      <a:pt x="419" y="277"/>
                      <a:pt x="419" y="277"/>
                    </a:cubicBezTo>
                    <a:cubicBezTo>
                      <a:pt x="419" y="277"/>
                      <a:pt x="420" y="269"/>
                      <a:pt x="422" y="265"/>
                    </a:cubicBezTo>
                    <a:cubicBezTo>
                      <a:pt x="424" y="261"/>
                      <a:pt x="450" y="244"/>
                      <a:pt x="450" y="244"/>
                    </a:cubicBezTo>
                    <a:cubicBezTo>
                      <a:pt x="471" y="244"/>
                      <a:pt x="471" y="244"/>
                      <a:pt x="471" y="244"/>
                    </a:cubicBezTo>
                    <a:cubicBezTo>
                      <a:pt x="473" y="237"/>
                      <a:pt x="473" y="237"/>
                      <a:pt x="473" y="237"/>
                    </a:cubicBezTo>
                    <a:cubicBezTo>
                      <a:pt x="492" y="240"/>
                      <a:pt x="492" y="240"/>
                      <a:pt x="492" y="240"/>
                    </a:cubicBezTo>
                    <a:cubicBezTo>
                      <a:pt x="492" y="240"/>
                      <a:pt x="503" y="225"/>
                      <a:pt x="513" y="224"/>
                    </a:cubicBezTo>
                    <a:cubicBezTo>
                      <a:pt x="523" y="223"/>
                      <a:pt x="527" y="236"/>
                      <a:pt x="527" y="236"/>
                    </a:cubicBezTo>
                    <a:cubicBezTo>
                      <a:pt x="527" y="236"/>
                      <a:pt x="534" y="239"/>
                      <a:pt x="539" y="236"/>
                    </a:cubicBezTo>
                    <a:cubicBezTo>
                      <a:pt x="541" y="235"/>
                      <a:pt x="542" y="231"/>
                      <a:pt x="543" y="227"/>
                    </a:cubicBezTo>
                    <a:cubicBezTo>
                      <a:pt x="532" y="223"/>
                      <a:pt x="532" y="223"/>
                      <a:pt x="532" y="223"/>
                    </a:cubicBezTo>
                    <a:cubicBezTo>
                      <a:pt x="526" y="207"/>
                      <a:pt x="526" y="207"/>
                      <a:pt x="526" y="207"/>
                    </a:cubicBezTo>
                    <a:cubicBezTo>
                      <a:pt x="526" y="207"/>
                      <a:pt x="512" y="212"/>
                      <a:pt x="509" y="206"/>
                    </a:cubicBezTo>
                    <a:cubicBezTo>
                      <a:pt x="506" y="201"/>
                      <a:pt x="515" y="171"/>
                      <a:pt x="520" y="171"/>
                    </a:cubicBezTo>
                    <a:cubicBezTo>
                      <a:pt x="525" y="171"/>
                      <a:pt x="533" y="163"/>
                      <a:pt x="533" y="148"/>
                    </a:cubicBezTo>
                    <a:cubicBezTo>
                      <a:pt x="533" y="134"/>
                      <a:pt x="505" y="135"/>
                      <a:pt x="505" y="135"/>
                    </a:cubicBezTo>
                    <a:cubicBezTo>
                      <a:pt x="505" y="135"/>
                      <a:pt x="497" y="123"/>
                      <a:pt x="493" y="122"/>
                    </a:cubicBezTo>
                    <a:cubicBezTo>
                      <a:pt x="489" y="121"/>
                      <a:pt x="481" y="130"/>
                      <a:pt x="472" y="130"/>
                    </a:cubicBezTo>
                    <a:cubicBezTo>
                      <a:pt x="464" y="130"/>
                      <a:pt x="463" y="123"/>
                      <a:pt x="449" y="120"/>
                    </a:cubicBezTo>
                    <a:cubicBezTo>
                      <a:pt x="435" y="117"/>
                      <a:pt x="434" y="138"/>
                      <a:pt x="434" y="138"/>
                    </a:cubicBezTo>
                    <a:cubicBezTo>
                      <a:pt x="434" y="138"/>
                      <a:pt x="412" y="138"/>
                      <a:pt x="393" y="133"/>
                    </a:cubicBezTo>
                    <a:cubicBezTo>
                      <a:pt x="374" y="128"/>
                      <a:pt x="389" y="113"/>
                      <a:pt x="388" y="106"/>
                    </a:cubicBezTo>
                    <a:cubicBezTo>
                      <a:pt x="387" y="98"/>
                      <a:pt x="369" y="97"/>
                      <a:pt x="369" y="97"/>
                    </a:cubicBezTo>
                    <a:cubicBezTo>
                      <a:pt x="369" y="97"/>
                      <a:pt x="367" y="79"/>
                      <a:pt x="364" y="73"/>
                    </a:cubicBezTo>
                    <a:cubicBezTo>
                      <a:pt x="362" y="67"/>
                      <a:pt x="354" y="70"/>
                      <a:pt x="354" y="70"/>
                    </a:cubicBezTo>
                    <a:cubicBezTo>
                      <a:pt x="343" y="57"/>
                      <a:pt x="343" y="57"/>
                      <a:pt x="343" y="57"/>
                    </a:cubicBezTo>
                    <a:cubicBezTo>
                      <a:pt x="335" y="57"/>
                      <a:pt x="335" y="57"/>
                      <a:pt x="335" y="57"/>
                    </a:cubicBezTo>
                    <a:cubicBezTo>
                      <a:pt x="327" y="33"/>
                      <a:pt x="327" y="33"/>
                      <a:pt x="327" y="33"/>
                    </a:cubicBezTo>
                    <a:cubicBezTo>
                      <a:pt x="327" y="33"/>
                      <a:pt x="297" y="9"/>
                      <a:pt x="290" y="5"/>
                    </a:cubicBezTo>
                    <a:cubicBezTo>
                      <a:pt x="284" y="1"/>
                      <a:pt x="274" y="1"/>
                      <a:pt x="264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69" y="0"/>
                      <a:pt x="273" y="1"/>
                      <a:pt x="278" y="1"/>
                    </a:cubicBezTo>
                    <a:cubicBezTo>
                      <a:pt x="279" y="19"/>
                      <a:pt x="268" y="19"/>
                      <a:pt x="268" y="19"/>
                    </a:cubicBezTo>
                    <a:cubicBezTo>
                      <a:pt x="284" y="31"/>
                      <a:pt x="284" y="31"/>
                      <a:pt x="284" y="31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77" y="58"/>
                      <a:pt x="277" y="58"/>
                      <a:pt x="277" y="58"/>
                    </a:cubicBezTo>
                    <a:cubicBezTo>
                      <a:pt x="269" y="87"/>
                      <a:pt x="269" y="87"/>
                      <a:pt x="269" y="87"/>
                    </a:cubicBezTo>
                    <a:cubicBezTo>
                      <a:pt x="269" y="87"/>
                      <a:pt x="241" y="128"/>
                      <a:pt x="218" y="143"/>
                    </a:cubicBezTo>
                    <a:cubicBezTo>
                      <a:pt x="195" y="157"/>
                      <a:pt x="174" y="157"/>
                      <a:pt x="161" y="168"/>
                    </a:cubicBezTo>
                    <a:cubicBezTo>
                      <a:pt x="147" y="179"/>
                      <a:pt x="147" y="186"/>
                      <a:pt x="147" y="186"/>
                    </a:cubicBezTo>
                    <a:cubicBezTo>
                      <a:pt x="139" y="189"/>
                      <a:pt x="139" y="189"/>
                      <a:pt x="139" y="189"/>
                    </a:cubicBezTo>
                    <a:cubicBezTo>
                      <a:pt x="142" y="201"/>
                      <a:pt x="142" y="201"/>
                      <a:pt x="142" y="201"/>
                    </a:cubicBezTo>
                    <a:cubicBezTo>
                      <a:pt x="142" y="201"/>
                      <a:pt x="134" y="206"/>
                      <a:pt x="132" y="216"/>
                    </a:cubicBezTo>
                    <a:cubicBezTo>
                      <a:pt x="131" y="225"/>
                      <a:pt x="128" y="252"/>
                      <a:pt x="128" y="252"/>
                    </a:cubicBezTo>
                    <a:cubicBezTo>
                      <a:pt x="128" y="252"/>
                      <a:pt x="119" y="254"/>
                      <a:pt x="115" y="256"/>
                    </a:cubicBezTo>
                    <a:cubicBezTo>
                      <a:pt x="111" y="259"/>
                      <a:pt x="116" y="270"/>
                      <a:pt x="103" y="270"/>
                    </a:cubicBezTo>
                    <a:cubicBezTo>
                      <a:pt x="89" y="270"/>
                      <a:pt x="93" y="246"/>
                      <a:pt x="88" y="241"/>
                    </a:cubicBezTo>
                    <a:cubicBezTo>
                      <a:pt x="82" y="237"/>
                      <a:pt x="69" y="243"/>
                      <a:pt x="69" y="243"/>
                    </a:cubicBezTo>
                    <a:cubicBezTo>
                      <a:pt x="60" y="232"/>
                      <a:pt x="60" y="232"/>
                      <a:pt x="60" y="232"/>
                    </a:cubicBezTo>
                    <a:cubicBezTo>
                      <a:pt x="60" y="232"/>
                      <a:pt x="50" y="250"/>
                      <a:pt x="40" y="246"/>
                    </a:cubicBezTo>
                    <a:cubicBezTo>
                      <a:pt x="31" y="241"/>
                      <a:pt x="47" y="232"/>
                      <a:pt x="47" y="232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37" y="224"/>
                      <a:pt x="50" y="212"/>
                      <a:pt x="58" y="203"/>
                    </a:cubicBezTo>
                    <a:cubicBezTo>
                      <a:pt x="67" y="194"/>
                      <a:pt x="43" y="188"/>
                      <a:pt x="43" y="188"/>
                    </a:cubicBezTo>
                    <a:cubicBezTo>
                      <a:pt x="43" y="188"/>
                      <a:pt x="17" y="216"/>
                      <a:pt x="9" y="223"/>
                    </a:cubicBezTo>
                    <a:cubicBezTo>
                      <a:pt x="1" y="230"/>
                      <a:pt x="0" y="241"/>
                      <a:pt x="0" y="254"/>
                    </a:cubicBezTo>
                    <a:cubicBezTo>
                      <a:pt x="0" y="267"/>
                      <a:pt x="12" y="264"/>
                      <a:pt x="12" y="264"/>
                    </a:cubicBezTo>
                    <a:cubicBezTo>
                      <a:pt x="9" y="282"/>
                      <a:pt x="9" y="282"/>
                      <a:pt x="9" y="282"/>
                    </a:cubicBezTo>
                    <a:cubicBezTo>
                      <a:pt x="9" y="282"/>
                      <a:pt x="26" y="292"/>
                      <a:pt x="27" y="304"/>
                    </a:cubicBezTo>
                    <a:cubicBezTo>
                      <a:pt x="28" y="316"/>
                      <a:pt x="8" y="317"/>
                      <a:pt x="8" y="331"/>
                    </a:cubicBezTo>
                    <a:cubicBezTo>
                      <a:pt x="8" y="345"/>
                      <a:pt x="42" y="347"/>
                      <a:pt x="51" y="352"/>
                    </a:cubicBezTo>
                    <a:cubicBezTo>
                      <a:pt x="59" y="357"/>
                      <a:pt x="82" y="389"/>
                      <a:pt x="85" y="394"/>
                    </a:cubicBezTo>
                    <a:cubicBezTo>
                      <a:pt x="87" y="398"/>
                      <a:pt x="99" y="418"/>
                      <a:pt x="99" y="424"/>
                    </a:cubicBezTo>
                    <a:cubicBezTo>
                      <a:pt x="99" y="430"/>
                      <a:pt x="123" y="456"/>
                      <a:pt x="126" y="462"/>
                    </a:cubicBezTo>
                    <a:cubicBezTo>
                      <a:pt x="130" y="468"/>
                      <a:pt x="164" y="522"/>
                      <a:pt x="164" y="522"/>
                    </a:cubicBezTo>
                    <a:cubicBezTo>
                      <a:pt x="169" y="547"/>
                      <a:pt x="169" y="547"/>
                      <a:pt x="169" y="547"/>
                    </a:cubicBezTo>
                    <a:cubicBezTo>
                      <a:pt x="169" y="547"/>
                      <a:pt x="197" y="602"/>
                      <a:pt x="197" y="609"/>
                    </a:cubicBezTo>
                    <a:cubicBezTo>
                      <a:pt x="197" y="616"/>
                      <a:pt x="205" y="616"/>
                      <a:pt x="214" y="622"/>
                    </a:cubicBezTo>
                    <a:cubicBezTo>
                      <a:pt x="222" y="628"/>
                      <a:pt x="218" y="635"/>
                      <a:pt x="220" y="647"/>
                    </a:cubicBezTo>
                    <a:cubicBezTo>
                      <a:pt x="221" y="658"/>
                      <a:pt x="255" y="699"/>
                      <a:pt x="267" y="715"/>
                    </a:cubicBezTo>
                    <a:cubicBezTo>
                      <a:pt x="279" y="732"/>
                      <a:pt x="270" y="754"/>
                      <a:pt x="270" y="762"/>
                    </a:cubicBezTo>
                    <a:cubicBezTo>
                      <a:pt x="270" y="771"/>
                      <a:pt x="293" y="796"/>
                      <a:pt x="304" y="803"/>
                    </a:cubicBezTo>
                    <a:cubicBezTo>
                      <a:pt x="314" y="810"/>
                      <a:pt x="324" y="826"/>
                      <a:pt x="332" y="835"/>
                    </a:cubicBezTo>
                    <a:cubicBezTo>
                      <a:pt x="340" y="843"/>
                      <a:pt x="386" y="861"/>
                      <a:pt x="400" y="869"/>
                    </a:cubicBezTo>
                    <a:cubicBezTo>
                      <a:pt x="415" y="877"/>
                      <a:pt x="442" y="883"/>
                      <a:pt x="463" y="901"/>
                    </a:cubicBezTo>
                    <a:cubicBezTo>
                      <a:pt x="484" y="919"/>
                      <a:pt x="516" y="939"/>
                      <a:pt x="516" y="939"/>
                    </a:cubicBezTo>
                    <a:cubicBezTo>
                      <a:pt x="522" y="954"/>
                      <a:pt x="522" y="954"/>
                      <a:pt x="522" y="954"/>
                    </a:cubicBezTo>
                    <a:cubicBezTo>
                      <a:pt x="522" y="954"/>
                      <a:pt x="533" y="962"/>
                      <a:pt x="540" y="968"/>
                    </a:cubicBezTo>
                    <a:cubicBezTo>
                      <a:pt x="547" y="974"/>
                      <a:pt x="574" y="992"/>
                      <a:pt x="574" y="992"/>
                    </a:cubicBezTo>
                    <a:cubicBezTo>
                      <a:pt x="574" y="993"/>
                      <a:pt x="574" y="993"/>
                      <a:pt x="574" y="993"/>
                    </a:cubicBezTo>
                    <a:cubicBezTo>
                      <a:pt x="580" y="989"/>
                      <a:pt x="589" y="983"/>
                      <a:pt x="596" y="977"/>
                    </a:cubicBezTo>
                    <a:cubicBezTo>
                      <a:pt x="608" y="968"/>
                      <a:pt x="596" y="954"/>
                      <a:pt x="596" y="954"/>
                    </a:cubicBezTo>
                    <a:cubicBezTo>
                      <a:pt x="608" y="946"/>
                      <a:pt x="608" y="946"/>
                      <a:pt x="608" y="946"/>
                    </a:cubicBezTo>
                    <a:cubicBezTo>
                      <a:pt x="601" y="929"/>
                      <a:pt x="601" y="929"/>
                      <a:pt x="601" y="929"/>
                    </a:cubicBezTo>
                    <a:cubicBezTo>
                      <a:pt x="601" y="929"/>
                      <a:pt x="611" y="919"/>
                      <a:pt x="620" y="912"/>
                    </a:cubicBezTo>
                    <a:cubicBezTo>
                      <a:pt x="626" y="908"/>
                      <a:pt x="629" y="897"/>
                      <a:pt x="630" y="889"/>
                    </a:cubicBezTo>
                    <a:lnTo>
                      <a:pt x="622" y="88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0" name="MCShape 160">
                <a:extLst>
                  <a:ext uri="{FF2B5EF4-FFF2-40B4-BE49-F238E27FC236}">
                    <a16:creationId xmlns:a16="http://schemas.microsoft.com/office/drawing/2014/main" id="{AD0048A2-ACC5-4D52-8469-36183CC0FE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5661" y="4520941"/>
                <a:ext cx="355750" cy="420713"/>
              </a:xfrm>
              <a:custGeom>
                <a:avLst/>
                <a:gdLst>
                  <a:gd name="T0" fmla="*/ 1 w 604"/>
                  <a:gd name="T1" fmla="*/ 70 h 712"/>
                  <a:gd name="T2" fmla="*/ 599 w 604"/>
                  <a:gd name="T3" fmla="*/ 500 h 712"/>
                  <a:gd name="T4" fmla="*/ 584 w 604"/>
                  <a:gd name="T5" fmla="*/ 421 h 712"/>
                  <a:gd name="T6" fmla="*/ 561 w 604"/>
                  <a:gd name="T7" fmla="*/ 361 h 712"/>
                  <a:gd name="T8" fmla="*/ 468 w 604"/>
                  <a:gd name="T9" fmla="*/ 314 h 712"/>
                  <a:gd name="T10" fmla="*/ 463 w 604"/>
                  <a:gd name="T11" fmla="*/ 290 h 712"/>
                  <a:gd name="T12" fmla="*/ 450 w 604"/>
                  <a:gd name="T13" fmla="*/ 250 h 712"/>
                  <a:gd name="T14" fmla="*/ 418 w 604"/>
                  <a:gd name="T15" fmla="*/ 209 h 712"/>
                  <a:gd name="T16" fmla="*/ 367 w 604"/>
                  <a:gd name="T17" fmla="*/ 190 h 712"/>
                  <a:gd name="T18" fmla="*/ 320 w 604"/>
                  <a:gd name="T19" fmla="*/ 163 h 712"/>
                  <a:gd name="T20" fmla="*/ 290 w 604"/>
                  <a:gd name="T21" fmla="*/ 152 h 712"/>
                  <a:gd name="T22" fmla="*/ 258 w 604"/>
                  <a:gd name="T23" fmla="*/ 153 h 712"/>
                  <a:gd name="T24" fmla="*/ 230 w 604"/>
                  <a:gd name="T25" fmla="*/ 130 h 712"/>
                  <a:gd name="T26" fmla="*/ 210 w 604"/>
                  <a:gd name="T27" fmla="*/ 97 h 712"/>
                  <a:gd name="T28" fmla="*/ 200 w 604"/>
                  <a:gd name="T29" fmla="*/ 52 h 712"/>
                  <a:gd name="T30" fmla="*/ 211 w 604"/>
                  <a:gd name="T31" fmla="*/ 4 h 712"/>
                  <a:gd name="T32" fmla="*/ 183 w 604"/>
                  <a:gd name="T33" fmla="*/ 6 h 712"/>
                  <a:gd name="T34" fmla="*/ 151 w 604"/>
                  <a:gd name="T35" fmla="*/ 13 h 712"/>
                  <a:gd name="T36" fmla="*/ 104 w 604"/>
                  <a:gd name="T37" fmla="*/ 38 h 712"/>
                  <a:gd name="T38" fmla="*/ 76 w 604"/>
                  <a:gd name="T39" fmla="*/ 57 h 712"/>
                  <a:gd name="T40" fmla="*/ 50 w 604"/>
                  <a:gd name="T41" fmla="*/ 81 h 712"/>
                  <a:gd name="T42" fmla="*/ 9 w 604"/>
                  <a:gd name="T43" fmla="*/ 71 h 712"/>
                  <a:gd name="T44" fmla="*/ 52 w 604"/>
                  <a:gd name="T45" fmla="*/ 157 h 712"/>
                  <a:gd name="T46" fmla="*/ 50 w 604"/>
                  <a:gd name="T47" fmla="*/ 204 h 712"/>
                  <a:gd name="T48" fmla="*/ 52 w 604"/>
                  <a:gd name="T49" fmla="*/ 246 h 712"/>
                  <a:gd name="T50" fmla="*/ 44 w 604"/>
                  <a:gd name="T51" fmla="*/ 304 h 712"/>
                  <a:gd name="T52" fmla="*/ 39 w 604"/>
                  <a:gd name="T53" fmla="*/ 318 h 712"/>
                  <a:gd name="T54" fmla="*/ 62 w 604"/>
                  <a:gd name="T55" fmla="*/ 339 h 712"/>
                  <a:gd name="T56" fmla="*/ 76 w 604"/>
                  <a:gd name="T57" fmla="*/ 359 h 712"/>
                  <a:gd name="T58" fmla="*/ 62 w 604"/>
                  <a:gd name="T59" fmla="*/ 369 h 712"/>
                  <a:gd name="T60" fmla="*/ 33 w 604"/>
                  <a:gd name="T61" fmla="*/ 409 h 712"/>
                  <a:gd name="T62" fmla="*/ 39 w 604"/>
                  <a:gd name="T63" fmla="*/ 427 h 712"/>
                  <a:gd name="T64" fmla="*/ 64 w 604"/>
                  <a:gd name="T65" fmla="*/ 449 h 712"/>
                  <a:gd name="T66" fmla="*/ 105 w 604"/>
                  <a:gd name="T67" fmla="*/ 525 h 712"/>
                  <a:gd name="T68" fmla="*/ 104 w 604"/>
                  <a:gd name="T69" fmla="*/ 554 h 712"/>
                  <a:gd name="T70" fmla="*/ 102 w 604"/>
                  <a:gd name="T71" fmla="*/ 588 h 712"/>
                  <a:gd name="T72" fmla="*/ 134 w 604"/>
                  <a:gd name="T73" fmla="*/ 627 h 712"/>
                  <a:gd name="T74" fmla="*/ 147 w 604"/>
                  <a:gd name="T75" fmla="*/ 684 h 712"/>
                  <a:gd name="T76" fmla="*/ 188 w 604"/>
                  <a:gd name="T77" fmla="*/ 708 h 712"/>
                  <a:gd name="T78" fmla="*/ 199 w 604"/>
                  <a:gd name="T79" fmla="*/ 691 h 712"/>
                  <a:gd name="T80" fmla="*/ 214 w 604"/>
                  <a:gd name="T81" fmla="*/ 674 h 712"/>
                  <a:gd name="T82" fmla="*/ 241 w 604"/>
                  <a:gd name="T83" fmla="*/ 670 h 712"/>
                  <a:gd name="T84" fmla="*/ 318 w 604"/>
                  <a:gd name="T85" fmla="*/ 707 h 712"/>
                  <a:gd name="T86" fmla="*/ 374 w 604"/>
                  <a:gd name="T87" fmla="*/ 664 h 712"/>
                  <a:gd name="T88" fmla="*/ 403 w 604"/>
                  <a:gd name="T89" fmla="*/ 607 h 712"/>
                  <a:gd name="T90" fmla="*/ 413 w 604"/>
                  <a:gd name="T91" fmla="*/ 558 h 712"/>
                  <a:gd name="T92" fmla="*/ 486 w 604"/>
                  <a:gd name="T93" fmla="*/ 527 h 712"/>
                  <a:gd name="T94" fmla="*/ 574 w 604"/>
                  <a:gd name="T95" fmla="*/ 546 h 712"/>
                  <a:gd name="T96" fmla="*/ 602 w 604"/>
                  <a:gd name="T97" fmla="*/ 555 h 712"/>
                  <a:gd name="T98" fmla="*/ 603 w 604"/>
                  <a:gd name="T99" fmla="*/ 508 h 71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04"/>
                  <a:gd name="T151" fmla="*/ 0 h 712"/>
                  <a:gd name="T152" fmla="*/ 604 w 604"/>
                  <a:gd name="T153" fmla="*/ 712 h 71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04" h="712">
                    <a:moveTo>
                      <a:pt x="0" y="70"/>
                    </a:move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1" y="70"/>
                      <a:pt x="0" y="70"/>
                    </a:cubicBezTo>
                    <a:close/>
                    <a:moveTo>
                      <a:pt x="599" y="500"/>
                    </a:moveTo>
                    <a:cubicBezTo>
                      <a:pt x="599" y="500"/>
                      <a:pt x="604" y="474"/>
                      <a:pt x="604" y="460"/>
                    </a:cubicBezTo>
                    <a:cubicBezTo>
                      <a:pt x="604" y="446"/>
                      <a:pt x="595" y="428"/>
                      <a:pt x="584" y="421"/>
                    </a:cubicBezTo>
                    <a:cubicBezTo>
                      <a:pt x="573" y="414"/>
                      <a:pt x="564" y="413"/>
                      <a:pt x="557" y="404"/>
                    </a:cubicBezTo>
                    <a:cubicBezTo>
                      <a:pt x="550" y="395"/>
                      <a:pt x="561" y="361"/>
                      <a:pt x="561" y="361"/>
                    </a:cubicBezTo>
                    <a:cubicBezTo>
                      <a:pt x="561" y="361"/>
                      <a:pt x="484" y="363"/>
                      <a:pt x="471" y="354"/>
                    </a:cubicBezTo>
                    <a:cubicBezTo>
                      <a:pt x="458" y="345"/>
                      <a:pt x="468" y="314"/>
                      <a:pt x="468" y="314"/>
                    </a:cubicBezTo>
                    <a:cubicBezTo>
                      <a:pt x="468" y="314"/>
                      <a:pt x="452" y="300"/>
                      <a:pt x="450" y="294"/>
                    </a:cubicBezTo>
                    <a:cubicBezTo>
                      <a:pt x="448" y="288"/>
                      <a:pt x="463" y="290"/>
                      <a:pt x="463" y="290"/>
                    </a:cubicBezTo>
                    <a:cubicBezTo>
                      <a:pt x="461" y="269"/>
                      <a:pt x="461" y="269"/>
                      <a:pt x="461" y="269"/>
                    </a:cubicBezTo>
                    <a:cubicBezTo>
                      <a:pt x="461" y="269"/>
                      <a:pt x="454" y="257"/>
                      <a:pt x="450" y="250"/>
                    </a:cubicBezTo>
                    <a:cubicBezTo>
                      <a:pt x="446" y="243"/>
                      <a:pt x="451" y="240"/>
                      <a:pt x="450" y="230"/>
                    </a:cubicBezTo>
                    <a:cubicBezTo>
                      <a:pt x="449" y="220"/>
                      <a:pt x="429" y="211"/>
                      <a:pt x="418" y="209"/>
                    </a:cubicBezTo>
                    <a:cubicBezTo>
                      <a:pt x="407" y="207"/>
                      <a:pt x="396" y="212"/>
                      <a:pt x="386" y="211"/>
                    </a:cubicBezTo>
                    <a:cubicBezTo>
                      <a:pt x="376" y="210"/>
                      <a:pt x="367" y="190"/>
                      <a:pt x="367" y="190"/>
                    </a:cubicBezTo>
                    <a:cubicBezTo>
                      <a:pt x="367" y="190"/>
                      <a:pt x="351" y="189"/>
                      <a:pt x="340" y="184"/>
                    </a:cubicBezTo>
                    <a:cubicBezTo>
                      <a:pt x="329" y="179"/>
                      <a:pt x="321" y="167"/>
                      <a:pt x="320" y="163"/>
                    </a:cubicBezTo>
                    <a:cubicBezTo>
                      <a:pt x="319" y="159"/>
                      <a:pt x="312" y="166"/>
                      <a:pt x="304" y="166"/>
                    </a:cubicBezTo>
                    <a:cubicBezTo>
                      <a:pt x="296" y="166"/>
                      <a:pt x="290" y="152"/>
                      <a:pt x="290" y="152"/>
                    </a:cubicBezTo>
                    <a:cubicBezTo>
                      <a:pt x="290" y="152"/>
                      <a:pt x="280" y="159"/>
                      <a:pt x="276" y="158"/>
                    </a:cubicBezTo>
                    <a:cubicBezTo>
                      <a:pt x="272" y="157"/>
                      <a:pt x="268" y="157"/>
                      <a:pt x="258" y="153"/>
                    </a:cubicBezTo>
                    <a:cubicBezTo>
                      <a:pt x="248" y="149"/>
                      <a:pt x="252" y="138"/>
                      <a:pt x="249" y="133"/>
                    </a:cubicBezTo>
                    <a:cubicBezTo>
                      <a:pt x="246" y="128"/>
                      <a:pt x="230" y="130"/>
                      <a:pt x="230" y="130"/>
                    </a:cubicBezTo>
                    <a:cubicBezTo>
                      <a:pt x="224" y="110"/>
                      <a:pt x="224" y="110"/>
                      <a:pt x="224" y="110"/>
                    </a:cubicBezTo>
                    <a:cubicBezTo>
                      <a:pt x="224" y="110"/>
                      <a:pt x="217" y="106"/>
                      <a:pt x="210" y="97"/>
                    </a:cubicBezTo>
                    <a:cubicBezTo>
                      <a:pt x="203" y="88"/>
                      <a:pt x="210" y="82"/>
                      <a:pt x="210" y="73"/>
                    </a:cubicBezTo>
                    <a:cubicBezTo>
                      <a:pt x="210" y="64"/>
                      <a:pt x="201" y="56"/>
                      <a:pt x="200" y="52"/>
                    </a:cubicBezTo>
                    <a:cubicBezTo>
                      <a:pt x="199" y="48"/>
                      <a:pt x="207" y="35"/>
                      <a:pt x="207" y="35"/>
                    </a:cubicBezTo>
                    <a:cubicBezTo>
                      <a:pt x="207" y="35"/>
                      <a:pt x="215" y="8"/>
                      <a:pt x="211" y="4"/>
                    </a:cubicBezTo>
                    <a:cubicBezTo>
                      <a:pt x="207" y="0"/>
                      <a:pt x="194" y="8"/>
                      <a:pt x="193" y="12"/>
                    </a:cubicBezTo>
                    <a:cubicBezTo>
                      <a:pt x="192" y="16"/>
                      <a:pt x="183" y="6"/>
                      <a:pt x="183" y="6"/>
                    </a:cubicBezTo>
                    <a:cubicBezTo>
                      <a:pt x="174" y="14"/>
                      <a:pt x="174" y="14"/>
                      <a:pt x="174" y="14"/>
                    </a:cubicBezTo>
                    <a:cubicBezTo>
                      <a:pt x="174" y="14"/>
                      <a:pt x="164" y="13"/>
                      <a:pt x="151" y="13"/>
                    </a:cubicBezTo>
                    <a:cubicBezTo>
                      <a:pt x="138" y="13"/>
                      <a:pt x="128" y="39"/>
                      <a:pt x="128" y="39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0" y="56"/>
                      <a:pt x="100" y="56"/>
                      <a:pt x="100" y="56"/>
                    </a:cubicBezTo>
                    <a:cubicBezTo>
                      <a:pt x="76" y="57"/>
                      <a:pt x="76" y="57"/>
                      <a:pt x="76" y="57"/>
                    </a:cubicBezTo>
                    <a:cubicBezTo>
                      <a:pt x="71" y="69"/>
                      <a:pt x="71" y="69"/>
                      <a:pt x="71" y="69"/>
                    </a:cubicBezTo>
                    <a:cubicBezTo>
                      <a:pt x="71" y="69"/>
                      <a:pt x="63" y="78"/>
                      <a:pt x="50" y="81"/>
                    </a:cubicBezTo>
                    <a:cubicBezTo>
                      <a:pt x="37" y="84"/>
                      <a:pt x="34" y="73"/>
                      <a:pt x="34" y="73"/>
                    </a:cubicBezTo>
                    <a:cubicBezTo>
                      <a:pt x="34" y="73"/>
                      <a:pt x="21" y="72"/>
                      <a:pt x="9" y="71"/>
                    </a:cubicBezTo>
                    <a:cubicBezTo>
                      <a:pt x="11" y="80"/>
                      <a:pt x="18" y="101"/>
                      <a:pt x="29" y="112"/>
                    </a:cubicBezTo>
                    <a:cubicBezTo>
                      <a:pt x="44" y="125"/>
                      <a:pt x="54" y="150"/>
                      <a:pt x="52" y="157"/>
                    </a:cubicBezTo>
                    <a:cubicBezTo>
                      <a:pt x="51" y="163"/>
                      <a:pt x="41" y="174"/>
                      <a:pt x="41" y="174"/>
                    </a:cubicBezTo>
                    <a:cubicBezTo>
                      <a:pt x="50" y="204"/>
                      <a:pt x="50" y="204"/>
                      <a:pt x="50" y="20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37" y="224"/>
                      <a:pt x="56" y="237"/>
                      <a:pt x="52" y="246"/>
                    </a:cubicBezTo>
                    <a:cubicBezTo>
                      <a:pt x="48" y="256"/>
                      <a:pt x="33" y="264"/>
                      <a:pt x="35" y="279"/>
                    </a:cubicBezTo>
                    <a:cubicBezTo>
                      <a:pt x="36" y="293"/>
                      <a:pt x="44" y="304"/>
                      <a:pt x="44" y="304"/>
                    </a:cubicBezTo>
                    <a:cubicBezTo>
                      <a:pt x="39" y="315"/>
                      <a:pt x="39" y="315"/>
                      <a:pt x="39" y="315"/>
                    </a:cubicBezTo>
                    <a:cubicBezTo>
                      <a:pt x="39" y="315"/>
                      <a:pt x="39" y="316"/>
                      <a:pt x="39" y="318"/>
                    </a:cubicBezTo>
                    <a:cubicBezTo>
                      <a:pt x="44" y="322"/>
                      <a:pt x="47" y="326"/>
                      <a:pt x="47" y="326"/>
                    </a:cubicBezTo>
                    <a:cubicBezTo>
                      <a:pt x="62" y="339"/>
                      <a:pt x="62" y="339"/>
                      <a:pt x="62" y="339"/>
                    </a:cubicBezTo>
                    <a:cubicBezTo>
                      <a:pt x="63" y="351"/>
                      <a:pt x="63" y="351"/>
                      <a:pt x="63" y="351"/>
                    </a:cubicBezTo>
                    <a:cubicBezTo>
                      <a:pt x="76" y="359"/>
                      <a:pt x="76" y="359"/>
                      <a:pt x="76" y="359"/>
                    </a:cubicBezTo>
                    <a:cubicBezTo>
                      <a:pt x="68" y="376"/>
                      <a:pt x="68" y="376"/>
                      <a:pt x="68" y="376"/>
                    </a:cubicBezTo>
                    <a:cubicBezTo>
                      <a:pt x="62" y="369"/>
                      <a:pt x="62" y="369"/>
                      <a:pt x="62" y="369"/>
                    </a:cubicBezTo>
                    <a:cubicBezTo>
                      <a:pt x="61" y="377"/>
                      <a:pt x="58" y="388"/>
                      <a:pt x="52" y="392"/>
                    </a:cubicBezTo>
                    <a:cubicBezTo>
                      <a:pt x="43" y="399"/>
                      <a:pt x="33" y="409"/>
                      <a:pt x="33" y="409"/>
                    </a:cubicBezTo>
                    <a:cubicBezTo>
                      <a:pt x="40" y="426"/>
                      <a:pt x="40" y="426"/>
                      <a:pt x="40" y="426"/>
                    </a:cubicBezTo>
                    <a:cubicBezTo>
                      <a:pt x="39" y="427"/>
                      <a:pt x="39" y="427"/>
                      <a:pt x="39" y="427"/>
                    </a:cubicBezTo>
                    <a:cubicBezTo>
                      <a:pt x="50" y="449"/>
                      <a:pt x="50" y="449"/>
                      <a:pt x="50" y="449"/>
                    </a:cubicBezTo>
                    <a:cubicBezTo>
                      <a:pt x="64" y="449"/>
                      <a:pt x="64" y="449"/>
                      <a:pt x="64" y="449"/>
                    </a:cubicBezTo>
                    <a:cubicBezTo>
                      <a:pt x="73" y="501"/>
                      <a:pt x="73" y="501"/>
                      <a:pt x="73" y="501"/>
                    </a:cubicBezTo>
                    <a:cubicBezTo>
                      <a:pt x="73" y="501"/>
                      <a:pt x="109" y="513"/>
                      <a:pt x="105" y="525"/>
                    </a:cubicBezTo>
                    <a:cubicBezTo>
                      <a:pt x="101" y="537"/>
                      <a:pt x="93" y="543"/>
                      <a:pt x="93" y="543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4" y="554"/>
                      <a:pt x="89" y="566"/>
                      <a:pt x="93" y="575"/>
                    </a:cubicBezTo>
                    <a:cubicBezTo>
                      <a:pt x="97" y="585"/>
                      <a:pt x="102" y="588"/>
                      <a:pt x="102" y="588"/>
                    </a:cubicBezTo>
                    <a:cubicBezTo>
                      <a:pt x="102" y="605"/>
                      <a:pt x="102" y="605"/>
                      <a:pt x="102" y="605"/>
                    </a:cubicBezTo>
                    <a:cubicBezTo>
                      <a:pt x="102" y="605"/>
                      <a:pt x="131" y="616"/>
                      <a:pt x="134" y="627"/>
                    </a:cubicBezTo>
                    <a:cubicBezTo>
                      <a:pt x="136" y="638"/>
                      <a:pt x="134" y="668"/>
                      <a:pt x="134" y="668"/>
                    </a:cubicBezTo>
                    <a:cubicBezTo>
                      <a:pt x="147" y="684"/>
                      <a:pt x="147" y="684"/>
                      <a:pt x="147" y="684"/>
                    </a:cubicBezTo>
                    <a:cubicBezTo>
                      <a:pt x="147" y="684"/>
                      <a:pt x="146" y="710"/>
                      <a:pt x="158" y="711"/>
                    </a:cubicBezTo>
                    <a:cubicBezTo>
                      <a:pt x="170" y="712"/>
                      <a:pt x="188" y="708"/>
                      <a:pt x="188" y="708"/>
                    </a:cubicBezTo>
                    <a:cubicBezTo>
                      <a:pt x="188" y="689"/>
                      <a:pt x="188" y="689"/>
                      <a:pt x="188" y="689"/>
                    </a:cubicBezTo>
                    <a:cubicBezTo>
                      <a:pt x="199" y="691"/>
                      <a:pt x="199" y="691"/>
                      <a:pt x="199" y="691"/>
                    </a:cubicBezTo>
                    <a:cubicBezTo>
                      <a:pt x="199" y="677"/>
                      <a:pt x="199" y="677"/>
                      <a:pt x="199" y="677"/>
                    </a:cubicBezTo>
                    <a:cubicBezTo>
                      <a:pt x="214" y="674"/>
                      <a:pt x="214" y="674"/>
                      <a:pt x="214" y="674"/>
                    </a:cubicBezTo>
                    <a:cubicBezTo>
                      <a:pt x="222" y="657"/>
                      <a:pt x="222" y="657"/>
                      <a:pt x="222" y="657"/>
                    </a:cubicBezTo>
                    <a:cubicBezTo>
                      <a:pt x="222" y="657"/>
                      <a:pt x="227" y="666"/>
                      <a:pt x="241" y="670"/>
                    </a:cubicBezTo>
                    <a:cubicBezTo>
                      <a:pt x="254" y="674"/>
                      <a:pt x="296" y="673"/>
                      <a:pt x="296" y="673"/>
                    </a:cubicBezTo>
                    <a:cubicBezTo>
                      <a:pt x="318" y="707"/>
                      <a:pt x="318" y="707"/>
                      <a:pt x="318" y="707"/>
                    </a:cubicBezTo>
                    <a:cubicBezTo>
                      <a:pt x="323" y="670"/>
                      <a:pt x="323" y="670"/>
                      <a:pt x="323" y="670"/>
                    </a:cubicBezTo>
                    <a:cubicBezTo>
                      <a:pt x="374" y="664"/>
                      <a:pt x="374" y="664"/>
                      <a:pt x="374" y="664"/>
                    </a:cubicBezTo>
                    <a:cubicBezTo>
                      <a:pt x="397" y="681"/>
                      <a:pt x="397" y="681"/>
                      <a:pt x="397" y="681"/>
                    </a:cubicBezTo>
                    <a:cubicBezTo>
                      <a:pt x="397" y="681"/>
                      <a:pt x="405" y="613"/>
                      <a:pt x="403" y="607"/>
                    </a:cubicBezTo>
                    <a:cubicBezTo>
                      <a:pt x="402" y="600"/>
                      <a:pt x="387" y="578"/>
                      <a:pt x="394" y="574"/>
                    </a:cubicBezTo>
                    <a:cubicBezTo>
                      <a:pt x="401" y="570"/>
                      <a:pt x="413" y="558"/>
                      <a:pt x="413" y="558"/>
                    </a:cubicBezTo>
                    <a:cubicBezTo>
                      <a:pt x="417" y="539"/>
                      <a:pt x="417" y="539"/>
                      <a:pt x="417" y="539"/>
                    </a:cubicBezTo>
                    <a:cubicBezTo>
                      <a:pt x="486" y="527"/>
                      <a:pt x="486" y="527"/>
                      <a:pt x="486" y="527"/>
                    </a:cubicBezTo>
                    <a:cubicBezTo>
                      <a:pt x="539" y="518"/>
                      <a:pt x="539" y="518"/>
                      <a:pt x="539" y="518"/>
                    </a:cubicBezTo>
                    <a:cubicBezTo>
                      <a:pt x="574" y="546"/>
                      <a:pt x="574" y="546"/>
                      <a:pt x="574" y="546"/>
                    </a:cubicBezTo>
                    <a:cubicBezTo>
                      <a:pt x="587" y="569"/>
                      <a:pt x="587" y="569"/>
                      <a:pt x="587" y="569"/>
                    </a:cubicBezTo>
                    <a:cubicBezTo>
                      <a:pt x="587" y="563"/>
                      <a:pt x="602" y="555"/>
                      <a:pt x="602" y="555"/>
                    </a:cubicBezTo>
                    <a:cubicBezTo>
                      <a:pt x="602" y="555"/>
                      <a:pt x="590" y="545"/>
                      <a:pt x="588" y="540"/>
                    </a:cubicBezTo>
                    <a:cubicBezTo>
                      <a:pt x="586" y="535"/>
                      <a:pt x="603" y="508"/>
                      <a:pt x="603" y="508"/>
                    </a:cubicBezTo>
                    <a:lnTo>
                      <a:pt x="599" y="50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1" name="MCShape 161">
                <a:extLst>
                  <a:ext uri="{FF2B5EF4-FFF2-40B4-BE49-F238E27FC236}">
                    <a16:creationId xmlns:a16="http://schemas.microsoft.com/office/drawing/2014/main" id="{7A7D9531-67BE-467F-9DCA-1B31F42FE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0643" y="2771580"/>
                <a:ext cx="471756" cy="262945"/>
              </a:xfrm>
              <a:custGeom>
                <a:avLst/>
                <a:gdLst>
                  <a:gd name="T0" fmla="*/ 764 w 798"/>
                  <a:gd name="T1" fmla="*/ 243 h 447"/>
                  <a:gd name="T2" fmla="*/ 745 w 798"/>
                  <a:gd name="T3" fmla="*/ 230 h 447"/>
                  <a:gd name="T4" fmla="*/ 721 w 798"/>
                  <a:gd name="T5" fmla="*/ 212 h 447"/>
                  <a:gd name="T6" fmla="*/ 712 w 798"/>
                  <a:gd name="T7" fmla="*/ 222 h 447"/>
                  <a:gd name="T8" fmla="*/ 689 w 798"/>
                  <a:gd name="T9" fmla="*/ 229 h 447"/>
                  <a:gd name="T10" fmla="*/ 660 w 798"/>
                  <a:gd name="T11" fmla="*/ 212 h 447"/>
                  <a:gd name="T12" fmla="*/ 690 w 798"/>
                  <a:gd name="T13" fmla="*/ 175 h 447"/>
                  <a:gd name="T14" fmla="*/ 653 w 798"/>
                  <a:gd name="T15" fmla="*/ 185 h 447"/>
                  <a:gd name="T16" fmla="*/ 623 w 798"/>
                  <a:gd name="T17" fmla="*/ 208 h 447"/>
                  <a:gd name="T18" fmla="*/ 596 w 798"/>
                  <a:gd name="T19" fmla="*/ 236 h 447"/>
                  <a:gd name="T20" fmla="*/ 573 w 798"/>
                  <a:gd name="T21" fmla="*/ 259 h 447"/>
                  <a:gd name="T22" fmla="*/ 509 w 798"/>
                  <a:gd name="T23" fmla="*/ 228 h 447"/>
                  <a:gd name="T24" fmla="*/ 469 w 798"/>
                  <a:gd name="T25" fmla="*/ 188 h 447"/>
                  <a:gd name="T26" fmla="*/ 441 w 798"/>
                  <a:gd name="T27" fmla="*/ 136 h 447"/>
                  <a:gd name="T28" fmla="*/ 379 w 798"/>
                  <a:gd name="T29" fmla="*/ 105 h 447"/>
                  <a:gd name="T30" fmla="*/ 272 w 798"/>
                  <a:gd name="T31" fmla="*/ 108 h 447"/>
                  <a:gd name="T32" fmla="*/ 177 w 798"/>
                  <a:gd name="T33" fmla="*/ 38 h 447"/>
                  <a:gd name="T34" fmla="*/ 174 w 798"/>
                  <a:gd name="T35" fmla="*/ 75 h 447"/>
                  <a:gd name="T36" fmla="*/ 149 w 798"/>
                  <a:gd name="T37" fmla="*/ 55 h 447"/>
                  <a:gd name="T38" fmla="*/ 145 w 798"/>
                  <a:gd name="T39" fmla="*/ 23 h 447"/>
                  <a:gd name="T40" fmla="*/ 106 w 798"/>
                  <a:gd name="T41" fmla="*/ 20 h 447"/>
                  <a:gd name="T42" fmla="*/ 116 w 798"/>
                  <a:gd name="T43" fmla="*/ 45 h 447"/>
                  <a:gd name="T44" fmla="*/ 92 w 798"/>
                  <a:gd name="T45" fmla="*/ 37 h 447"/>
                  <a:gd name="T46" fmla="*/ 103 w 798"/>
                  <a:gd name="T47" fmla="*/ 3 h 447"/>
                  <a:gd name="T48" fmla="*/ 0 w 798"/>
                  <a:gd name="T49" fmla="*/ 31 h 447"/>
                  <a:gd name="T50" fmla="*/ 37 w 798"/>
                  <a:gd name="T51" fmla="*/ 217 h 447"/>
                  <a:gd name="T52" fmla="*/ 92 w 798"/>
                  <a:gd name="T53" fmla="*/ 224 h 447"/>
                  <a:gd name="T54" fmla="*/ 112 w 798"/>
                  <a:gd name="T55" fmla="*/ 175 h 447"/>
                  <a:gd name="T56" fmla="*/ 139 w 798"/>
                  <a:gd name="T57" fmla="*/ 169 h 447"/>
                  <a:gd name="T58" fmla="*/ 139 w 798"/>
                  <a:gd name="T59" fmla="*/ 152 h 447"/>
                  <a:gd name="T60" fmla="*/ 155 w 798"/>
                  <a:gd name="T61" fmla="*/ 161 h 447"/>
                  <a:gd name="T62" fmla="*/ 169 w 798"/>
                  <a:gd name="T63" fmla="*/ 168 h 447"/>
                  <a:gd name="T64" fmla="*/ 201 w 798"/>
                  <a:gd name="T65" fmla="*/ 173 h 447"/>
                  <a:gd name="T66" fmla="*/ 219 w 798"/>
                  <a:gd name="T67" fmla="*/ 197 h 447"/>
                  <a:gd name="T68" fmla="*/ 243 w 798"/>
                  <a:gd name="T69" fmla="*/ 227 h 447"/>
                  <a:gd name="T70" fmla="*/ 279 w 798"/>
                  <a:gd name="T71" fmla="*/ 225 h 447"/>
                  <a:gd name="T72" fmla="*/ 312 w 798"/>
                  <a:gd name="T73" fmla="*/ 256 h 447"/>
                  <a:gd name="T74" fmla="*/ 336 w 798"/>
                  <a:gd name="T75" fmla="*/ 293 h 447"/>
                  <a:gd name="T76" fmla="*/ 381 w 798"/>
                  <a:gd name="T77" fmla="*/ 319 h 447"/>
                  <a:gd name="T78" fmla="*/ 417 w 798"/>
                  <a:gd name="T79" fmla="*/ 348 h 447"/>
                  <a:gd name="T80" fmla="*/ 444 w 798"/>
                  <a:gd name="T81" fmla="*/ 357 h 447"/>
                  <a:gd name="T82" fmla="*/ 476 w 798"/>
                  <a:gd name="T83" fmla="*/ 376 h 447"/>
                  <a:gd name="T84" fmla="*/ 516 w 798"/>
                  <a:gd name="T85" fmla="*/ 387 h 447"/>
                  <a:gd name="T86" fmla="*/ 548 w 798"/>
                  <a:gd name="T87" fmla="*/ 425 h 447"/>
                  <a:gd name="T88" fmla="*/ 563 w 798"/>
                  <a:gd name="T89" fmla="*/ 437 h 447"/>
                  <a:gd name="T90" fmla="*/ 580 w 798"/>
                  <a:gd name="T91" fmla="*/ 445 h 447"/>
                  <a:gd name="T92" fmla="*/ 596 w 798"/>
                  <a:gd name="T93" fmla="*/ 440 h 447"/>
                  <a:gd name="T94" fmla="*/ 603 w 798"/>
                  <a:gd name="T95" fmla="*/ 445 h 447"/>
                  <a:gd name="T96" fmla="*/ 622 w 798"/>
                  <a:gd name="T97" fmla="*/ 397 h 447"/>
                  <a:gd name="T98" fmla="*/ 603 w 798"/>
                  <a:gd name="T99" fmla="*/ 353 h 447"/>
                  <a:gd name="T100" fmla="*/ 575 w 798"/>
                  <a:gd name="T101" fmla="*/ 339 h 447"/>
                  <a:gd name="T102" fmla="*/ 567 w 798"/>
                  <a:gd name="T103" fmla="*/ 321 h 447"/>
                  <a:gd name="T104" fmla="*/ 610 w 798"/>
                  <a:gd name="T105" fmla="*/ 305 h 447"/>
                  <a:gd name="T106" fmla="*/ 607 w 798"/>
                  <a:gd name="T107" fmla="*/ 282 h 447"/>
                  <a:gd name="T108" fmla="*/ 626 w 798"/>
                  <a:gd name="T109" fmla="*/ 264 h 447"/>
                  <a:gd name="T110" fmla="*/ 652 w 798"/>
                  <a:gd name="T111" fmla="*/ 260 h 447"/>
                  <a:gd name="T112" fmla="*/ 694 w 798"/>
                  <a:gd name="T113" fmla="*/ 251 h 447"/>
                  <a:gd name="T114" fmla="*/ 701 w 798"/>
                  <a:gd name="T115" fmla="*/ 283 h 447"/>
                  <a:gd name="T116" fmla="*/ 741 w 798"/>
                  <a:gd name="T117" fmla="*/ 286 h 447"/>
                  <a:gd name="T118" fmla="*/ 766 w 798"/>
                  <a:gd name="T119" fmla="*/ 271 h 447"/>
                  <a:gd name="T120" fmla="*/ 788 w 798"/>
                  <a:gd name="T121" fmla="*/ 254 h 44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98"/>
                  <a:gd name="T184" fmla="*/ 0 h 447"/>
                  <a:gd name="T185" fmla="*/ 798 w 798"/>
                  <a:gd name="T186" fmla="*/ 447 h 44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98" h="447">
                    <a:moveTo>
                      <a:pt x="769" y="248"/>
                    </a:moveTo>
                    <a:cubicBezTo>
                      <a:pt x="764" y="243"/>
                      <a:pt x="764" y="243"/>
                      <a:pt x="764" y="243"/>
                    </a:cubicBezTo>
                    <a:cubicBezTo>
                      <a:pt x="751" y="241"/>
                      <a:pt x="751" y="241"/>
                      <a:pt x="751" y="241"/>
                    </a:cubicBezTo>
                    <a:cubicBezTo>
                      <a:pt x="745" y="230"/>
                      <a:pt x="745" y="230"/>
                      <a:pt x="745" y="230"/>
                    </a:cubicBezTo>
                    <a:cubicBezTo>
                      <a:pt x="732" y="230"/>
                      <a:pt x="732" y="230"/>
                      <a:pt x="732" y="230"/>
                    </a:cubicBezTo>
                    <a:cubicBezTo>
                      <a:pt x="721" y="212"/>
                      <a:pt x="721" y="212"/>
                      <a:pt x="721" y="212"/>
                    </a:cubicBezTo>
                    <a:cubicBezTo>
                      <a:pt x="721" y="222"/>
                      <a:pt x="721" y="222"/>
                      <a:pt x="721" y="222"/>
                    </a:cubicBezTo>
                    <a:cubicBezTo>
                      <a:pt x="712" y="222"/>
                      <a:pt x="712" y="222"/>
                      <a:pt x="712" y="222"/>
                    </a:cubicBezTo>
                    <a:cubicBezTo>
                      <a:pt x="713" y="231"/>
                      <a:pt x="713" y="231"/>
                      <a:pt x="713" y="231"/>
                    </a:cubicBezTo>
                    <a:cubicBezTo>
                      <a:pt x="713" y="231"/>
                      <a:pt x="694" y="233"/>
                      <a:pt x="689" y="229"/>
                    </a:cubicBezTo>
                    <a:cubicBezTo>
                      <a:pt x="684" y="225"/>
                      <a:pt x="683" y="220"/>
                      <a:pt x="683" y="220"/>
                    </a:cubicBezTo>
                    <a:cubicBezTo>
                      <a:pt x="660" y="212"/>
                      <a:pt x="660" y="212"/>
                      <a:pt x="660" y="212"/>
                    </a:cubicBezTo>
                    <a:cubicBezTo>
                      <a:pt x="660" y="212"/>
                      <a:pt x="696" y="183"/>
                      <a:pt x="694" y="178"/>
                    </a:cubicBezTo>
                    <a:cubicBezTo>
                      <a:pt x="693" y="177"/>
                      <a:pt x="692" y="176"/>
                      <a:pt x="690" y="175"/>
                    </a:cubicBezTo>
                    <a:cubicBezTo>
                      <a:pt x="671" y="184"/>
                      <a:pt x="671" y="184"/>
                      <a:pt x="671" y="184"/>
                    </a:cubicBezTo>
                    <a:cubicBezTo>
                      <a:pt x="653" y="185"/>
                      <a:pt x="653" y="185"/>
                      <a:pt x="653" y="185"/>
                    </a:cubicBezTo>
                    <a:cubicBezTo>
                      <a:pt x="645" y="203"/>
                      <a:pt x="645" y="203"/>
                      <a:pt x="645" y="203"/>
                    </a:cubicBezTo>
                    <a:cubicBezTo>
                      <a:pt x="645" y="203"/>
                      <a:pt x="633" y="205"/>
                      <a:pt x="623" y="208"/>
                    </a:cubicBezTo>
                    <a:cubicBezTo>
                      <a:pt x="612" y="211"/>
                      <a:pt x="613" y="229"/>
                      <a:pt x="613" y="229"/>
                    </a:cubicBezTo>
                    <a:cubicBezTo>
                      <a:pt x="613" y="229"/>
                      <a:pt x="605" y="229"/>
                      <a:pt x="596" y="236"/>
                    </a:cubicBezTo>
                    <a:cubicBezTo>
                      <a:pt x="587" y="243"/>
                      <a:pt x="595" y="267"/>
                      <a:pt x="595" y="267"/>
                    </a:cubicBezTo>
                    <a:cubicBezTo>
                      <a:pt x="595" y="267"/>
                      <a:pt x="584" y="261"/>
                      <a:pt x="573" y="259"/>
                    </a:cubicBezTo>
                    <a:cubicBezTo>
                      <a:pt x="563" y="256"/>
                      <a:pt x="580" y="243"/>
                      <a:pt x="573" y="233"/>
                    </a:cubicBezTo>
                    <a:cubicBezTo>
                      <a:pt x="567" y="224"/>
                      <a:pt x="520" y="233"/>
                      <a:pt x="509" y="228"/>
                    </a:cubicBezTo>
                    <a:cubicBezTo>
                      <a:pt x="499" y="223"/>
                      <a:pt x="497" y="199"/>
                      <a:pt x="488" y="188"/>
                    </a:cubicBezTo>
                    <a:cubicBezTo>
                      <a:pt x="479" y="177"/>
                      <a:pt x="479" y="191"/>
                      <a:pt x="469" y="188"/>
                    </a:cubicBezTo>
                    <a:cubicBezTo>
                      <a:pt x="460" y="185"/>
                      <a:pt x="467" y="137"/>
                      <a:pt x="461" y="136"/>
                    </a:cubicBezTo>
                    <a:cubicBezTo>
                      <a:pt x="456" y="135"/>
                      <a:pt x="441" y="136"/>
                      <a:pt x="441" y="136"/>
                    </a:cubicBezTo>
                    <a:cubicBezTo>
                      <a:pt x="441" y="136"/>
                      <a:pt x="411" y="93"/>
                      <a:pt x="404" y="93"/>
                    </a:cubicBezTo>
                    <a:cubicBezTo>
                      <a:pt x="397" y="93"/>
                      <a:pt x="379" y="105"/>
                      <a:pt x="379" y="105"/>
                    </a:cubicBezTo>
                    <a:cubicBezTo>
                      <a:pt x="379" y="105"/>
                      <a:pt x="341" y="101"/>
                      <a:pt x="325" y="101"/>
                    </a:cubicBezTo>
                    <a:cubicBezTo>
                      <a:pt x="309" y="101"/>
                      <a:pt x="272" y="108"/>
                      <a:pt x="272" y="108"/>
                    </a:cubicBezTo>
                    <a:cubicBezTo>
                      <a:pt x="223" y="60"/>
                      <a:pt x="223" y="60"/>
                      <a:pt x="223" y="60"/>
                    </a:cubicBezTo>
                    <a:cubicBezTo>
                      <a:pt x="177" y="38"/>
                      <a:pt x="177" y="38"/>
                      <a:pt x="177" y="38"/>
                    </a:cubicBezTo>
                    <a:cubicBezTo>
                      <a:pt x="181" y="47"/>
                      <a:pt x="186" y="56"/>
                      <a:pt x="183" y="61"/>
                    </a:cubicBezTo>
                    <a:cubicBezTo>
                      <a:pt x="178" y="70"/>
                      <a:pt x="174" y="75"/>
                      <a:pt x="174" y="75"/>
                    </a:cubicBezTo>
                    <a:cubicBezTo>
                      <a:pt x="174" y="75"/>
                      <a:pt x="162" y="76"/>
                      <a:pt x="154" y="70"/>
                    </a:cubicBezTo>
                    <a:cubicBezTo>
                      <a:pt x="146" y="64"/>
                      <a:pt x="149" y="55"/>
                      <a:pt x="149" y="55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5" y="23"/>
                      <a:pt x="145" y="23"/>
                      <a:pt x="145" y="23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06" y="20"/>
                      <a:pt x="106" y="20"/>
                      <a:pt x="106" y="20"/>
                    </a:cubicBezTo>
                    <a:cubicBezTo>
                      <a:pt x="106" y="20"/>
                      <a:pt x="119" y="28"/>
                      <a:pt x="119" y="37"/>
                    </a:cubicBezTo>
                    <a:cubicBezTo>
                      <a:pt x="119" y="46"/>
                      <a:pt x="116" y="45"/>
                      <a:pt x="116" y="45"/>
                    </a:cubicBezTo>
                    <a:cubicBezTo>
                      <a:pt x="116" y="45"/>
                      <a:pt x="117" y="55"/>
                      <a:pt x="106" y="57"/>
                    </a:cubicBezTo>
                    <a:cubicBezTo>
                      <a:pt x="95" y="59"/>
                      <a:pt x="98" y="39"/>
                      <a:pt x="92" y="37"/>
                    </a:cubicBezTo>
                    <a:cubicBezTo>
                      <a:pt x="86" y="35"/>
                      <a:pt x="99" y="21"/>
                      <a:pt x="99" y="21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35" y="218"/>
                      <a:pt x="35" y="218"/>
                      <a:pt x="35" y="218"/>
                    </a:cubicBezTo>
                    <a:cubicBezTo>
                      <a:pt x="36" y="218"/>
                      <a:pt x="36" y="217"/>
                      <a:pt x="37" y="217"/>
                    </a:cubicBezTo>
                    <a:cubicBezTo>
                      <a:pt x="44" y="217"/>
                      <a:pt x="48" y="224"/>
                      <a:pt x="48" y="224"/>
                    </a:cubicBezTo>
                    <a:cubicBezTo>
                      <a:pt x="92" y="224"/>
                      <a:pt x="92" y="224"/>
                      <a:pt x="92" y="224"/>
                    </a:cubicBezTo>
                    <a:cubicBezTo>
                      <a:pt x="92" y="224"/>
                      <a:pt x="77" y="208"/>
                      <a:pt x="79" y="195"/>
                    </a:cubicBezTo>
                    <a:cubicBezTo>
                      <a:pt x="80" y="181"/>
                      <a:pt x="112" y="175"/>
                      <a:pt x="112" y="175"/>
                    </a:cubicBezTo>
                    <a:cubicBezTo>
                      <a:pt x="112" y="175"/>
                      <a:pt x="112" y="164"/>
                      <a:pt x="116" y="163"/>
                    </a:cubicBezTo>
                    <a:cubicBezTo>
                      <a:pt x="120" y="161"/>
                      <a:pt x="139" y="169"/>
                      <a:pt x="139" y="169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43" y="145"/>
                      <a:pt x="143" y="145"/>
                      <a:pt x="143" y="145"/>
                    </a:cubicBezTo>
                    <a:cubicBezTo>
                      <a:pt x="155" y="161"/>
                      <a:pt x="155" y="161"/>
                      <a:pt x="155" y="161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79" y="172"/>
                      <a:pt x="179" y="172"/>
                      <a:pt x="179" y="172"/>
                    </a:cubicBezTo>
                    <a:cubicBezTo>
                      <a:pt x="179" y="172"/>
                      <a:pt x="192" y="169"/>
                      <a:pt x="201" y="173"/>
                    </a:cubicBezTo>
                    <a:cubicBezTo>
                      <a:pt x="211" y="177"/>
                      <a:pt x="209" y="192"/>
                      <a:pt x="209" y="192"/>
                    </a:cubicBezTo>
                    <a:cubicBezTo>
                      <a:pt x="219" y="197"/>
                      <a:pt x="219" y="197"/>
                      <a:pt x="219" y="197"/>
                    </a:cubicBezTo>
                    <a:cubicBezTo>
                      <a:pt x="219" y="197"/>
                      <a:pt x="207" y="209"/>
                      <a:pt x="212" y="219"/>
                    </a:cubicBezTo>
                    <a:cubicBezTo>
                      <a:pt x="217" y="228"/>
                      <a:pt x="243" y="227"/>
                      <a:pt x="243" y="227"/>
                    </a:cubicBezTo>
                    <a:cubicBezTo>
                      <a:pt x="279" y="231"/>
                      <a:pt x="279" y="231"/>
                      <a:pt x="279" y="231"/>
                    </a:cubicBezTo>
                    <a:cubicBezTo>
                      <a:pt x="279" y="225"/>
                      <a:pt x="279" y="225"/>
                      <a:pt x="279" y="225"/>
                    </a:cubicBezTo>
                    <a:cubicBezTo>
                      <a:pt x="303" y="237"/>
                      <a:pt x="303" y="237"/>
                      <a:pt x="303" y="237"/>
                    </a:cubicBezTo>
                    <a:cubicBezTo>
                      <a:pt x="312" y="256"/>
                      <a:pt x="312" y="256"/>
                      <a:pt x="312" y="256"/>
                    </a:cubicBezTo>
                    <a:cubicBezTo>
                      <a:pt x="325" y="271"/>
                      <a:pt x="325" y="271"/>
                      <a:pt x="325" y="271"/>
                    </a:cubicBezTo>
                    <a:cubicBezTo>
                      <a:pt x="325" y="271"/>
                      <a:pt x="333" y="283"/>
                      <a:pt x="336" y="293"/>
                    </a:cubicBezTo>
                    <a:cubicBezTo>
                      <a:pt x="339" y="304"/>
                      <a:pt x="351" y="309"/>
                      <a:pt x="357" y="312"/>
                    </a:cubicBezTo>
                    <a:cubicBezTo>
                      <a:pt x="364" y="315"/>
                      <a:pt x="377" y="317"/>
                      <a:pt x="381" y="319"/>
                    </a:cubicBezTo>
                    <a:cubicBezTo>
                      <a:pt x="385" y="320"/>
                      <a:pt x="397" y="336"/>
                      <a:pt x="397" y="336"/>
                    </a:cubicBezTo>
                    <a:cubicBezTo>
                      <a:pt x="417" y="348"/>
                      <a:pt x="417" y="348"/>
                      <a:pt x="417" y="348"/>
                    </a:cubicBezTo>
                    <a:cubicBezTo>
                      <a:pt x="435" y="349"/>
                      <a:pt x="435" y="349"/>
                      <a:pt x="435" y="349"/>
                    </a:cubicBezTo>
                    <a:cubicBezTo>
                      <a:pt x="444" y="357"/>
                      <a:pt x="444" y="357"/>
                      <a:pt x="444" y="357"/>
                    </a:cubicBezTo>
                    <a:cubicBezTo>
                      <a:pt x="455" y="360"/>
                      <a:pt x="455" y="360"/>
                      <a:pt x="455" y="360"/>
                    </a:cubicBezTo>
                    <a:cubicBezTo>
                      <a:pt x="455" y="360"/>
                      <a:pt x="469" y="371"/>
                      <a:pt x="476" y="376"/>
                    </a:cubicBezTo>
                    <a:cubicBezTo>
                      <a:pt x="483" y="381"/>
                      <a:pt x="501" y="389"/>
                      <a:pt x="501" y="389"/>
                    </a:cubicBezTo>
                    <a:cubicBezTo>
                      <a:pt x="516" y="387"/>
                      <a:pt x="516" y="387"/>
                      <a:pt x="516" y="387"/>
                    </a:cubicBezTo>
                    <a:cubicBezTo>
                      <a:pt x="549" y="405"/>
                      <a:pt x="549" y="405"/>
                      <a:pt x="549" y="405"/>
                    </a:cubicBezTo>
                    <a:cubicBezTo>
                      <a:pt x="549" y="405"/>
                      <a:pt x="537" y="417"/>
                      <a:pt x="548" y="425"/>
                    </a:cubicBezTo>
                    <a:cubicBezTo>
                      <a:pt x="554" y="430"/>
                      <a:pt x="555" y="434"/>
                      <a:pt x="555" y="437"/>
                    </a:cubicBezTo>
                    <a:cubicBezTo>
                      <a:pt x="563" y="437"/>
                      <a:pt x="563" y="437"/>
                      <a:pt x="563" y="437"/>
                    </a:cubicBezTo>
                    <a:cubicBezTo>
                      <a:pt x="571" y="431"/>
                      <a:pt x="571" y="431"/>
                      <a:pt x="571" y="431"/>
                    </a:cubicBezTo>
                    <a:cubicBezTo>
                      <a:pt x="580" y="445"/>
                      <a:pt x="580" y="445"/>
                      <a:pt x="580" y="445"/>
                    </a:cubicBezTo>
                    <a:cubicBezTo>
                      <a:pt x="591" y="440"/>
                      <a:pt x="591" y="440"/>
                      <a:pt x="591" y="440"/>
                    </a:cubicBezTo>
                    <a:cubicBezTo>
                      <a:pt x="596" y="440"/>
                      <a:pt x="596" y="440"/>
                      <a:pt x="596" y="440"/>
                    </a:cubicBezTo>
                    <a:cubicBezTo>
                      <a:pt x="596" y="440"/>
                      <a:pt x="600" y="443"/>
                      <a:pt x="605" y="447"/>
                    </a:cubicBezTo>
                    <a:cubicBezTo>
                      <a:pt x="604" y="446"/>
                      <a:pt x="603" y="446"/>
                      <a:pt x="603" y="445"/>
                    </a:cubicBezTo>
                    <a:cubicBezTo>
                      <a:pt x="602" y="439"/>
                      <a:pt x="601" y="430"/>
                      <a:pt x="605" y="426"/>
                    </a:cubicBezTo>
                    <a:cubicBezTo>
                      <a:pt x="612" y="418"/>
                      <a:pt x="622" y="408"/>
                      <a:pt x="622" y="397"/>
                    </a:cubicBezTo>
                    <a:cubicBezTo>
                      <a:pt x="622" y="386"/>
                      <a:pt x="609" y="387"/>
                      <a:pt x="603" y="377"/>
                    </a:cubicBezTo>
                    <a:cubicBezTo>
                      <a:pt x="597" y="367"/>
                      <a:pt x="608" y="358"/>
                      <a:pt x="603" y="353"/>
                    </a:cubicBezTo>
                    <a:cubicBezTo>
                      <a:pt x="598" y="348"/>
                      <a:pt x="582" y="347"/>
                      <a:pt x="582" y="347"/>
                    </a:cubicBezTo>
                    <a:cubicBezTo>
                      <a:pt x="575" y="339"/>
                      <a:pt x="575" y="339"/>
                      <a:pt x="575" y="339"/>
                    </a:cubicBezTo>
                    <a:cubicBezTo>
                      <a:pt x="561" y="336"/>
                      <a:pt x="561" y="336"/>
                      <a:pt x="561" y="336"/>
                    </a:cubicBezTo>
                    <a:cubicBezTo>
                      <a:pt x="561" y="336"/>
                      <a:pt x="561" y="326"/>
                      <a:pt x="567" y="321"/>
                    </a:cubicBezTo>
                    <a:cubicBezTo>
                      <a:pt x="573" y="316"/>
                      <a:pt x="592" y="328"/>
                      <a:pt x="607" y="319"/>
                    </a:cubicBezTo>
                    <a:cubicBezTo>
                      <a:pt x="622" y="310"/>
                      <a:pt x="610" y="305"/>
                      <a:pt x="610" y="305"/>
                    </a:cubicBezTo>
                    <a:cubicBezTo>
                      <a:pt x="620" y="296"/>
                      <a:pt x="620" y="296"/>
                      <a:pt x="620" y="296"/>
                    </a:cubicBezTo>
                    <a:cubicBezTo>
                      <a:pt x="607" y="282"/>
                      <a:pt x="607" y="282"/>
                      <a:pt x="607" y="282"/>
                    </a:cubicBezTo>
                    <a:cubicBezTo>
                      <a:pt x="607" y="282"/>
                      <a:pt x="626" y="287"/>
                      <a:pt x="632" y="281"/>
                    </a:cubicBezTo>
                    <a:cubicBezTo>
                      <a:pt x="638" y="275"/>
                      <a:pt x="625" y="268"/>
                      <a:pt x="626" y="264"/>
                    </a:cubicBezTo>
                    <a:cubicBezTo>
                      <a:pt x="627" y="260"/>
                      <a:pt x="629" y="251"/>
                      <a:pt x="635" y="251"/>
                    </a:cubicBezTo>
                    <a:cubicBezTo>
                      <a:pt x="641" y="251"/>
                      <a:pt x="644" y="265"/>
                      <a:pt x="652" y="260"/>
                    </a:cubicBezTo>
                    <a:cubicBezTo>
                      <a:pt x="660" y="255"/>
                      <a:pt x="671" y="243"/>
                      <a:pt x="675" y="241"/>
                    </a:cubicBezTo>
                    <a:cubicBezTo>
                      <a:pt x="679" y="239"/>
                      <a:pt x="694" y="251"/>
                      <a:pt x="694" y="251"/>
                    </a:cubicBezTo>
                    <a:cubicBezTo>
                      <a:pt x="678" y="272"/>
                      <a:pt x="678" y="272"/>
                      <a:pt x="678" y="272"/>
                    </a:cubicBezTo>
                    <a:cubicBezTo>
                      <a:pt x="678" y="272"/>
                      <a:pt x="698" y="278"/>
                      <a:pt x="701" y="283"/>
                    </a:cubicBezTo>
                    <a:cubicBezTo>
                      <a:pt x="708" y="280"/>
                      <a:pt x="717" y="277"/>
                      <a:pt x="721" y="276"/>
                    </a:cubicBezTo>
                    <a:cubicBezTo>
                      <a:pt x="728" y="274"/>
                      <a:pt x="732" y="290"/>
                      <a:pt x="741" y="286"/>
                    </a:cubicBezTo>
                    <a:cubicBezTo>
                      <a:pt x="750" y="282"/>
                      <a:pt x="752" y="273"/>
                      <a:pt x="752" y="273"/>
                    </a:cubicBezTo>
                    <a:cubicBezTo>
                      <a:pt x="766" y="271"/>
                      <a:pt x="766" y="271"/>
                      <a:pt x="766" y="271"/>
                    </a:cubicBezTo>
                    <a:cubicBezTo>
                      <a:pt x="766" y="265"/>
                      <a:pt x="766" y="265"/>
                      <a:pt x="766" y="265"/>
                    </a:cubicBezTo>
                    <a:cubicBezTo>
                      <a:pt x="766" y="265"/>
                      <a:pt x="778" y="266"/>
                      <a:pt x="788" y="254"/>
                    </a:cubicBezTo>
                    <a:cubicBezTo>
                      <a:pt x="798" y="242"/>
                      <a:pt x="769" y="248"/>
                      <a:pt x="769" y="24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2" name="MCShape 162">
                <a:extLst>
                  <a:ext uri="{FF2B5EF4-FFF2-40B4-BE49-F238E27FC236}">
                    <a16:creationId xmlns:a16="http://schemas.microsoft.com/office/drawing/2014/main" id="{E69EFC3B-80CA-4058-BC04-F28EE7BE4A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5432" y="2468420"/>
                <a:ext cx="988365" cy="460928"/>
              </a:xfrm>
              <a:custGeom>
                <a:avLst/>
                <a:gdLst>
                  <a:gd name="T0" fmla="*/ 545 w 1673"/>
                  <a:gd name="T1" fmla="*/ 518 h 778"/>
                  <a:gd name="T2" fmla="*/ 1655 w 1673"/>
                  <a:gd name="T3" fmla="*/ 327 h 778"/>
                  <a:gd name="T4" fmla="*/ 1625 w 1673"/>
                  <a:gd name="T5" fmla="*/ 304 h 778"/>
                  <a:gd name="T6" fmla="*/ 1481 w 1673"/>
                  <a:gd name="T7" fmla="*/ 226 h 778"/>
                  <a:gd name="T8" fmla="*/ 1372 w 1673"/>
                  <a:gd name="T9" fmla="*/ 207 h 778"/>
                  <a:gd name="T10" fmla="*/ 1126 w 1673"/>
                  <a:gd name="T11" fmla="*/ 70 h 778"/>
                  <a:gd name="T12" fmla="*/ 1085 w 1673"/>
                  <a:gd name="T13" fmla="*/ 76 h 778"/>
                  <a:gd name="T14" fmla="*/ 1016 w 1673"/>
                  <a:gd name="T15" fmla="*/ 98 h 778"/>
                  <a:gd name="T16" fmla="*/ 972 w 1673"/>
                  <a:gd name="T17" fmla="*/ 71 h 778"/>
                  <a:gd name="T18" fmla="*/ 909 w 1673"/>
                  <a:gd name="T19" fmla="*/ 36 h 778"/>
                  <a:gd name="T20" fmla="*/ 812 w 1673"/>
                  <a:gd name="T21" fmla="*/ 2 h 778"/>
                  <a:gd name="T22" fmla="*/ 674 w 1673"/>
                  <a:gd name="T23" fmla="*/ 52 h 778"/>
                  <a:gd name="T24" fmla="*/ 521 w 1673"/>
                  <a:gd name="T25" fmla="*/ 95 h 778"/>
                  <a:gd name="T26" fmla="*/ 534 w 1673"/>
                  <a:gd name="T27" fmla="*/ 123 h 778"/>
                  <a:gd name="T28" fmla="*/ 528 w 1673"/>
                  <a:gd name="T29" fmla="*/ 190 h 778"/>
                  <a:gd name="T30" fmla="*/ 486 w 1673"/>
                  <a:gd name="T31" fmla="*/ 244 h 778"/>
                  <a:gd name="T32" fmla="*/ 356 w 1673"/>
                  <a:gd name="T33" fmla="*/ 247 h 778"/>
                  <a:gd name="T34" fmla="*/ 282 w 1673"/>
                  <a:gd name="T35" fmla="*/ 216 h 778"/>
                  <a:gd name="T36" fmla="*/ 197 w 1673"/>
                  <a:gd name="T37" fmla="*/ 187 h 778"/>
                  <a:gd name="T38" fmla="*/ 86 w 1673"/>
                  <a:gd name="T39" fmla="*/ 224 h 778"/>
                  <a:gd name="T40" fmla="*/ 17 w 1673"/>
                  <a:gd name="T41" fmla="*/ 251 h 778"/>
                  <a:gd name="T42" fmla="*/ 8 w 1673"/>
                  <a:gd name="T43" fmla="*/ 322 h 778"/>
                  <a:gd name="T44" fmla="*/ 73 w 1673"/>
                  <a:gd name="T45" fmla="*/ 394 h 778"/>
                  <a:gd name="T46" fmla="*/ 136 w 1673"/>
                  <a:gd name="T47" fmla="*/ 460 h 778"/>
                  <a:gd name="T48" fmla="*/ 289 w 1673"/>
                  <a:gd name="T49" fmla="*/ 455 h 778"/>
                  <a:gd name="T50" fmla="*/ 352 w 1673"/>
                  <a:gd name="T51" fmla="*/ 524 h 778"/>
                  <a:gd name="T52" fmla="*/ 338 w 1673"/>
                  <a:gd name="T53" fmla="*/ 531 h 778"/>
                  <a:gd name="T54" fmla="*/ 218 w 1673"/>
                  <a:gd name="T55" fmla="*/ 544 h 778"/>
                  <a:gd name="T56" fmla="*/ 228 w 1673"/>
                  <a:gd name="T57" fmla="*/ 598 h 778"/>
                  <a:gd name="T58" fmla="*/ 274 w 1673"/>
                  <a:gd name="T59" fmla="*/ 654 h 778"/>
                  <a:gd name="T60" fmla="*/ 328 w 1673"/>
                  <a:gd name="T61" fmla="*/ 709 h 778"/>
                  <a:gd name="T62" fmla="*/ 408 w 1673"/>
                  <a:gd name="T63" fmla="*/ 690 h 778"/>
                  <a:gd name="T64" fmla="*/ 468 w 1673"/>
                  <a:gd name="T65" fmla="*/ 729 h 778"/>
                  <a:gd name="T66" fmla="*/ 536 w 1673"/>
                  <a:gd name="T67" fmla="*/ 513 h 778"/>
                  <a:gd name="T68" fmla="*/ 582 w 1673"/>
                  <a:gd name="T69" fmla="*/ 492 h 778"/>
                  <a:gd name="T70" fmla="*/ 604 w 1673"/>
                  <a:gd name="T71" fmla="*/ 479 h 778"/>
                  <a:gd name="T72" fmla="*/ 584 w 1673"/>
                  <a:gd name="T73" fmla="*/ 460 h 778"/>
                  <a:gd name="T74" fmla="*/ 636 w 1673"/>
                  <a:gd name="T75" fmla="*/ 455 h 778"/>
                  <a:gd name="T76" fmla="*/ 590 w 1673"/>
                  <a:gd name="T77" fmla="*/ 493 h 778"/>
                  <a:gd name="T78" fmla="*/ 610 w 1673"/>
                  <a:gd name="T79" fmla="*/ 549 h 778"/>
                  <a:gd name="T80" fmla="*/ 812 w 1673"/>
                  <a:gd name="T81" fmla="*/ 616 h 778"/>
                  <a:gd name="T82" fmla="*/ 902 w 1673"/>
                  <a:gd name="T83" fmla="*/ 699 h 778"/>
                  <a:gd name="T84" fmla="*/ 1006 w 1673"/>
                  <a:gd name="T85" fmla="*/ 770 h 778"/>
                  <a:gd name="T86" fmla="*/ 1056 w 1673"/>
                  <a:gd name="T87" fmla="*/ 719 h 778"/>
                  <a:gd name="T88" fmla="*/ 1123 w 1673"/>
                  <a:gd name="T89" fmla="*/ 686 h 778"/>
                  <a:gd name="T90" fmla="*/ 1208 w 1673"/>
                  <a:gd name="T91" fmla="*/ 672 h 778"/>
                  <a:gd name="T92" fmla="*/ 1264 w 1673"/>
                  <a:gd name="T93" fmla="*/ 647 h 778"/>
                  <a:gd name="T94" fmla="*/ 1402 w 1673"/>
                  <a:gd name="T95" fmla="*/ 651 h 778"/>
                  <a:gd name="T96" fmla="*/ 1471 w 1673"/>
                  <a:gd name="T97" fmla="*/ 676 h 778"/>
                  <a:gd name="T98" fmla="*/ 1503 w 1673"/>
                  <a:gd name="T99" fmla="*/ 659 h 778"/>
                  <a:gd name="T100" fmla="*/ 1484 w 1673"/>
                  <a:gd name="T101" fmla="*/ 587 h 778"/>
                  <a:gd name="T102" fmla="*/ 1516 w 1673"/>
                  <a:gd name="T103" fmla="*/ 518 h 778"/>
                  <a:gd name="T104" fmla="*/ 1541 w 1673"/>
                  <a:gd name="T105" fmla="*/ 513 h 778"/>
                  <a:gd name="T106" fmla="*/ 1614 w 1673"/>
                  <a:gd name="T107" fmla="*/ 434 h 778"/>
                  <a:gd name="T108" fmla="*/ 1641 w 1673"/>
                  <a:gd name="T109" fmla="*/ 397 h 778"/>
                  <a:gd name="T110" fmla="*/ 1385 w 1673"/>
                  <a:gd name="T111" fmla="*/ 465 h 778"/>
                  <a:gd name="T112" fmla="*/ 1320 w 1673"/>
                  <a:gd name="T113" fmla="*/ 467 h 778"/>
                  <a:gd name="T114" fmla="*/ 1246 w 1673"/>
                  <a:gd name="T115" fmla="*/ 460 h 778"/>
                  <a:gd name="T116" fmla="*/ 1195 w 1673"/>
                  <a:gd name="T117" fmla="*/ 489 h 778"/>
                  <a:gd name="T118" fmla="*/ 1200 w 1673"/>
                  <a:gd name="T119" fmla="*/ 542 h 778"/>
                  <a:gd name="T120" fmla="*/ 1193 w 1673"/>
                  <a:gd name="T121" fmla="*/ 448 h 778"/>
                  <a:gd name="T122" fmla="*/ 1306 w 1673"/>
                  <a:gd name="T123" fmla="*/ 458 h 778"/>
                  <a:gd name="T124" fmla="*/ 1385 w 1673"/>
                  <a:gd name="T125" fmla="*/ 465 h 77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73"/>
                  <a:gd name="T190" fmla="*/ 0 h 778"/>
                  <a:gd name="T191" fmla="*/ 1673 w 1673"/>
                  <a:gd name="T192" fmla="*/ 778 h 77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73" h="778">
                    <a:moveTo>
                      <a:pt x="565" y="505"/>
                    </a:moveTo>
                    <a:cubicBezTo>
                      <a:pt x="558" y="500"/>
                      <a:pt x="557" y="497"/>
                      <a:pt x="557" y="497"/>
                    </a:cubicBezTo>
                    <a:cubicBezTo>
                      <a:pt x="548" y="511"/>
                      <a:pt x="548" y="511"/>
                      <a:pt x="548" y="511"/>
                    </a:cubicBezTo>
                    <a:cubicBezTo>
                      <a:pt x="545" y="518"/>
                      <a:pt x="545" y="518"/>
                      <a:pt x="545" y="518"/>
                    </a:cubicBezTo>
                    <a:cubicBezTo>
                      <a:pt x="578" y="534"/>
                      <a:pt x="578" y="534"/>
                      <a:pt x="578" y="534"/>
                    </a:cubicBezTo>
                    <a:cubicBezTo>
                      <a:pt x="580" y="525"/>
                      <a:pt x="580" y="525"/>
                      <a:pt x="580" y="525"/>
                    </a:cubicBezTo>
                    <a:cubicBezTo>
                      <a:pt x="580" y="525"/>
                      <a:pt x="572" y="510"/>
                      <a:pt x="565" y="505"/>
                    </a:cubicBezTo>
                    <a:close/>
                    <a:moveTo>
                      <a:pt x="1655" y="327"/>
                    </a:moveTo>
                    <a:cubicBezTo>
                      <a:pt x="1656" y="321"/>
                      <a:pt x="1666" y="322"/>
                      <a:pt x="1673" y="324"/>
                    </a:cubicBezTo>
                    <a:cubicBezTo>
                      <a:pt x="1649" y="298"/>
                      <a:pt x="1649" y="298"/>
                      <a:pt x="1649" y="298"/>
                    </a:cubicBezTo>
                    <a:cubicBezTo>
                      <a:pt x="1636" y="282"/>
                      <a:pt x="1636" y="282"/>
                      <a:pt x="1636" y="282"/>
                    </a:cubicBezTo>
                    <a:cubicBezTo>
                      <a:pt x="1625" y="304"/>
                      <a:pt x="1625" y="304"/>
                      <a:pt x="1625" y="304"/>
                    </a:cubicBezTo>
                    <a:cubicBezTo>
                      <a:pt x="1578" y="300"/>
                      <a:pt x="1578" y="300"/>
                      <a:pt x="1578" y="300"/>
                    </a:cubicBezTo>
                    <a:cubicBezTo>
                      <a:pt x="1578" y="300"/>
                      <a:pt x="1562" y="272"/>
                      <a:pt x="1561" y="268"/>
                    </a:cubicBezTo>
                    <a:cubicBezTo>
                      <a:pt x="1560" y="264"/>
                      <a:pt x="1525" y="259"/>
                      <a:pt x="1525" y="259"/>
                    </a:cubicBezTo>
                    <a:cubicBezTo>
                      <a:pt x="1525" y="259"/>
                      <a:pt x="1504" y="230"/>
                      <a:pt x="1481" y="226"/>
                    </a:cubicBezTo>
                    <a:cubicBezTo>
                      <a:pt x="1458" y="222"/>
                      <a:pt x="1442" y="243"/>
                      <a:pt x="1430" y="244"/>
                    </a:cubicBezTo>
                    <a:cubicBezTo>
                      <a:pt x="1418" y="246"/>
                      <a:pt x="1404" y="230"/>
                      <a:pt x="1404" y="230"/>
                    </a:cubicBezTo>
                    <a:cubicBezTo>
                      <a:pt x="1404" y="230"/>
                      <a:pt x="1386" y="228"/>
                      <a:pt x="1382" y="227"/>
                    </a:cubicBezTo>
                    <a:cubicBezTo>
                      <a:pt x="1378" y="226"/>
                      <a:pt x="1382" y="210"/>
                      <a:pt x="1372" y="207"/>
                    </a:cubicBezTo>
                    <a:cubicBezTo>
                      <a:pt x="1361" y="204"/>
                      <a:pt x="1365" y="234"/>
                      <a:pt x="1348" y="236"/>
                    </a:cubicBezTo>
                    <a:cubicBezTo>
                      <a:pt x="1330" y="239"/>
                      <a:pt x="1306" y="200"/>
                      <a:pt x="1292" y="187"/>
                    </a:cubicBezTo>
                    <a:cubicBezTo>
                      <a:pt x="1277" y="174"/>
                      <a:pt x="1205" y="107"/>
                      <a:pt x="1200" y="104"/>
                    </a:cubicBezTo>
                    <a:cubicBezTo>
                      <a:pt x="1194" y="102"/>
                      <a:pt x="1126" y="70"/>
                      <a:pt x="1126" y="70"/>
                    </a:cubicBezTo>
                    <a:cubicBezTo>
                      <a:pt x="1126" y="70"/>
                      <a:pt x="1146" y="58"/>
                      <a:pt x="1138" y="47"/>
                    </a:cubicBezTo>
                    <a:cubicBezTo>
                      <a:pt x="1130" y="36"/>
                      <a:pt x="1118" y="58"/>
                      <a:pt x="1118" y="58"/>
                    </a:cubicBezTo>
                    <a:cubicBezTo>
                      <a:pt x="1094" y="66"/>
                      <a:pt x="1094" y="66"/>
                      <a:pt x="1094" y="66"/>
                    </a:cubicBezTo>
                    <a:cubicBezTo>
                      <a:pt x="1085" y="76"/>
                      <a:pt x="1085" y="76"/>
                      <a:pt x="1085" y="76"/>
                    </a:cubicBezTo>
                    <a:cubicBezTo>
                      <a:pt x="1085" y="76"/>
                      <a:pt x="1077" y="78"/>
                      <a:pt x="1070" y="82"/>
                    </a:cubicBezTo>
                    <a:cubicBezTo>
                      <a:pt x="1064" y="86"/>
                      <a:pt x="1072" y="94"/>
                      <a:pt x="1064" y="100"/>
                    </a:cubicBezTo>
                    <a:cubicBezTo>
                      <a:pt x="1056" y="107"/>
                      <a:pt x="1041" y="91"/>
                      <a:pt x="1034" y="88"/>
                    </a:cubicBezTo>
                    <a:cubicBezTo>
                      <a:pt x="1028" y="86"/>
                      <a:pt x="1026" y="99"/>
                      <a:pt x="1016" y="98"/>
                    </a:cubicBezTo>
                    <a:cubicBezTo>
                      <a:pt x="1005" y="96"/>
                      <a:pt x="1026" y="80"/>
                      <a:pt x="1017" y="71"/>
                    </a:cubicBezTo>
                    <a:cubicBezTo>
                      <a:pt x="1008" y="62"/>
                      <a:pt x="1002" y="74"/>
                      <a:pt x="1002" y="74"/>
                    </a:cubicBezTo>
                    <a:cubicBezTo>
                      <a:pt x="985" y="63"/>
                      <a:pt x="985" y="63"/>
                      <a:pt x="985" y="63"/>
                    </a:cubicBezTo>
                    <a:cubicBezTo>
                      <a:pt x="972" y="71"/>
                      <a:pt x="972" y="71"/>
                      <a:pt x="972" y="71"/>
                    </a:cubicBezTo>
                    <a:cubicBezTo>
                      <a:pt x="953" y="50"/>
                      <a:pt x="953" y="50"/>
                      <a:pt x="953" y="50"/>
                    </a:cubicBezTo>
                    <a:cubicBezTo>
                      <a:pt x="946" y="60"/>
                      <a:pt x="946" y="60"/>
                      <a:pt x="946" y="60"/>
                    </a:cubicBezTo>
                    <a:cubicBezTo>
                      <a:pt x="946" y="60"/>
                      <a:pt x="918" y="64"/>
                      <a:pt x="913" y="64"/>
                    </a:cubicBezTo>
                    <a:cubicBezTo>
                      <a:pt x="908" y="64"/>
                      <a:pt x="909" y="43"/>
                      <a:pt x="909" y="36"/>
                    </a:cubicBezTo>
                    <a:cubicBezTo>
                      <a:pt x="909" y="30"/>
                      <a:pt x="897" y="30"/>
                      <a:pt x="897" y="30"/>
                    </a:cubicBezTo>
                    <a:cubicBezTo>
                      <a:pt x="897" y="30"/>
                      <a:pt x="892" y="12"/>
                      <a:pt x="884" y="7"/>
                    </a:cubicBezTo>
                    <a:cubicBezTo>
                      <a:pt x="876" y="2"/>
                      <a:pt x="869" y="11"/>
                      <a:pt x="864" y="11"/>
                    </a:cubicBezTo>
                    <a:cubicBezTo>
                      <a:pt x="858" y="11"/>
                      <a:pt x="845" y="0"/>
                      <a:pt x="812" y="2"/>
                    </a:cubicBezTo>
                    <a:cubicBezTo>
                      <a:pt x="778" y="3"/>
                      <a:pt x="781" y="23"/>
                      <a:pt x="781" y="23"/>
                    </a:cubicBezTo>
                    <a:cubicBezTo>
                      <a:pt x="781" y="23"/>
                      <a:pt x="761" y="30"/>
                      <a:pt x="740" y="35"/>
                    </a:cubicBezTo>
                    <a:cubicBezTo>
                      <a:pt x="718" y="40"/>
                      <a:pt x="690" y="36"/>
                      <a:pt x="682" y="36"/>
                    </a:cubicBezTo>
                    <a:cubicBezTo>
                      <a:pt x="674" y="36"/>
                      <a:pt x="674" y="52"/>
                      <a:pt x="674" y="52"/>
                    </a:cubicBezTo>
                    <a:cubicBezTo>
                      <a:pt x="632" y="52"/>
                      <a:pt x="632" y="52"/>
                      <a:pt x="632" y="52"/>
                    </a:cubicBezTo>
                    <a:cubicBezTo>
                      <a:pt x="628" y="64"/>
                      <a:pt x="628" y="64"/>
                      <a:pt x="628" y="64"/>
                    </a:cubicBezTo>
                    <a:cubicBezTo>
                      <a:pt x="628" y="64"/>
                      <a:pt x="596" y="63"/>
                      <a:pt x="550" y="70"/>
                    </a:cubicBezTo>
                    <a:cubicBezTo>
                      <a:pt x="505" y="76"/>
                      <a:pt x="521" y="95"/>
                      <a:pt x="521" y="95"/>
                    </a:cubicBezTo>
                    <a:cubicBezTo>
                      <a:pt x="540" y="96"/>
                      <a:pt x="540" y="96"/>
                      <a:pt x="540" y="96"/>
                    </a:cubicBezTo>
                    <a:cubicBezTo>
                      <a:pt x="529" y="108"/>
                      <a:pt x="529" y="108"/>
                      <a:pt x="529" y="108"/>
                    </a:cubicBezTo>
                    <a:cubicBezTo>
                      <a:pt x="529" y="108"/>
                      <a:pt x="572" y="116"/>
                      <a:pt x="572" y="123"/>
                    </a:cubicBezTo>
                    <a:cubicBezTo>
                      <a:pt x="572" y="130"/>
                      <a:pt x="534" y="123"/>
                      <a:pt x="534" y="123"/>
                    </a:cubicBezTo>
                    <a:cubicBezTo>
                      <a:pt x="528" y="134"/>
                      <a:pt x="528" y="134"/>
                      <a:pt x="528" y="134"/>
                    </a:cubicBezTo>
                    <a:cubicBezTo>
                      <a:pt x="528" y="134"/>
                      <a:pt x="541" y="151"/>
                      <a:pt x="540" y="158"/>
                    </a:cubicBezTo>
                    <a:cubicBezTo>
                      <a:pt x="538" y="164"/>
                      <a:pt x="505" y="170"/>
                      <a:pt x="505" y="170"/>
                    </a:cubicBezTo>
                    <a:cubicBezTo>
                      <a:pt x="528" y="190"/>
                      <a:pt x="528" y="190"/>
                      <a:pt x="528" y="190"/>
                    </a:cubicBezTo>
                    <a:cubicBezTo>
                      <a:pt x="528" y="190"/>
                      <a:pt x="578" y="187"/>
                      <a:pt x="582" y="226"/>
                    </a:cubicBezTo>
                    <a:cubicBezTo>
                      <a:pt x="586" y="264"/>
                      <a:pt x="526" y="234"/>
                      <a:pt x="526" y="234"/>
                    </a:cubicBezTo>
                    <a:cubicBezTo>
                      <a:pt x="520" y="250"/>
                      <a:pt x="520" y="250"/>
                      <a:pt x="520" y="250"/>
                    </a:cubicBezTo>
                    <a:cubicBezTo>
                      <a:pt x="520" y="250"/>
                      <a:pt x="497" y="246"/>
                      <a:pt x="486" y="244"/>
                    </a:cubicBezTo>
                    <a:cubicBezTo>
                      <a:pt x="476" y="243"/>
                      <a:pt x="464" y="222"/>
                      <a:pt x="456" y="220"/>
                    </a:cubicBezTo>
                    <a:cubicBezTo>
                      <a:pt x="448" y="219"/>
                      <a:pt x="437" y="228"/>
                      <a:pt x="421" y="232"/>
                    </a:cubicBezTo>
                    <a:cubicBezTo>
                      <a:pt x="405" y="236"/>
                      <a:pt x="394" y="220"/>
                      <a:pt x="385" y="222"/>
                    </a:cubicBezTo>
                    <a:cubicBezTo>
                      <a:pt x="376" y="223"/>
                      <a:pt x="358" y="243"/>
                      <a:pt x="356" y="247"/>
                    </a:cubicBezTo>
                    <a:cubicBezTo>
                      <a:pt x="353" y="251"/>
                      <a:pt x="312" y="220"/>
                      <a:pt x="301" y="223"/>
                    </a:cubicBezTo>
                    <a:cubicBezTo>
                      <a:pt x="290" y="226"/>
                      <a:pt x="313" y="243"/>
                      <a:pt x="305" y="250"/>
                    </a:cubicBezTo>
                    <a:cubicBezTo>
                      <a:pt x="297" y="256"/>
                      <a:pt x="289" y="236"/>
                      <a:pt x="289" y="236"/>
                    </a:cubicBezTo>
                    <a:cubicBezTo>
                      <a:pt x="282" y="216"/>
                      <a:pt x="282" y="216"/>
                      <a:pt x="282" y="216"/>
                    </a:cubicBezTo>
                    <a:cubicBezTo>
                      <a:pt x="258" y="218"/>
                      <a:pt x="258" y="218"/>
                      <a:pt x="258" y="218"/>
                    </a:cubicBezTo>
                    <a:cubicBezTo>
                      <a:pt x="258" y="218"/>
                      <a:pt x="256" y="206"/>
                      <a:pt x="252" y="202"/>
                    </a:cubicBezTo>
                    <a:cubicBezTo>
                      <a:pt x="248" y="198"/>
                      <a:pt x="224" y="203"/>
                      <a:pt x="214" y="202"/>
                    </a:cubicBezTo>
                    <a:cubicBezTo>
                      <a:pt x="205" y="200"/>
                      <a:pt x="204" y="187"/>
                      <a:pt x="197" y="187"/>
                    </a:cubicBezTo>
                    <a:cubicBezTo>
                      <a:pt x="190" y="187"/>
                      <a:pt x="177" y="200"/>
                      <a:pt x="161" y="200"/>
                    </a:cubicBezTo>
                    <a:cubicBezTo>
                      <a:pt x="145" y="200"/>
                      <a:pt x="153" y="187"/>
                      <a:pt x="130" y="188"/>
                    </a:cubicBezTo>
                    <a:cubicBezTo>
                      <a:pt x="108" y="190"/>
                      <a:pt x="130" y="198"/>
                      <a:pt x="122" y="208"/>
                    </a:cubicBezTo>
                    <a:cubicBezTo>
                      <a:pt x="114" y="219"/>
                      <a:pt x="86" y="224"/>
                      <a:pt x="86" y="224"/>
                    </a:cubicBezTo>
                    <a:cubicBezTo>
                      <a:pt x="86" y="239"/>
                      <a:pt x="86" y="239"/>
                      <a:pt x="86" y="239"/>
                    </a:cubicBezTo>
                    <a:cubicBezTo>
                      <a:pt x="68" y="248"/>
                      <a:pt x="68" y="248"/>
                      <a:pt x="68" y="248"/>
                    </a:cubicBezTo>
                    <a:cubicBezTo>
                      <a:pt x="68" y="248"/>
                      <a:pt x="86" y="263"/>
                      <a:pt x="72" y="278"/>
                    </a:cubicBezTo>
                    <a:cubicBezTo>
                      <a:pt x="57" y="292"/>
                      <a:pt x="29" y="250"/>
                      <a:pt x="17" y="251"/>
                    </a:cubicBezTo>
                    <a:cubicBezTo>
                      <a:pt x="5" y="252"/>
                      <a:pt x="13" y="271"/>
                      <a:pt x="13" y="279"/>
                    </a:cubicBezTo>
                    <a:cubicBezTo>
                      <a:pt x="13" y="287"/>
                      <a:pt x="0" y="284"/>
                      <a:pt x="0" y="284"/>
                    </a:cubicBezTo>
                    <a:cubicBezTo>
                      <a:pt x="2" y="308"/>
                      <a:pt x="2" y="308"/>
                      <a:pt x="2" y="308"/>
                    </a:cubicBezTo>
                    <a:cubicBezTo>
                      <a:pt x="2" y="308"/>
                      <a:pt x="8" y="314"/>
                      <a:pt x="8" y="322"/>
                    </a:cubicBezTo>
                    <a:cubicBezTo>
                      <a:pt x="8" y="330"/>
                      <a:pt x="0" y="342"/>
                      <a:pt x="0" y="358"/>
                    </a:cubicBezTo>
                    <a:cubicBezTo>
                      <a:pt x="0" y="374"/>
                      <a:pt x="10" y="364"/>
                      <a:pt x="22" y="370"/>
                    </a:cubicBezTo>
                    <a:cubicBezTo>
                      <a:pt x="34" y="375"/>
                      <a:pt x="20" y="390"/>
                      <a:pt x="32" y="395"/>
                    </a:cubicBezTo>
                    <a:cubicBezTo>
                      <a:pt x="44" y="400"/>
                      <a:pt x="68" y="391"/>
                      <a:pt x="73" y="394"/>
                    </a:cubicBezTo>
                    <a:cubicBezTo>
                      <a:pt x="78" y="396"/>
                      <a:pt x="117" y="436"/>
                      <a:pt x="117" y="444"/>
                    </a:cubicBezTo>
                    <a:cubicBezTo>
                      <a:pt x="117" y="452"/>
                      <a:pt x="94" y="443"/>
                      <a:pt x="94" y="451"/>
                    </a:cubicBezTo>
                    <a:cubicBezTo>
                      <a:pt x="94" y="459"/>
                      <a:pt x="129" y="470"/>
                      <a:pt x="129" y="470"/>
                    </a:cubicBezTo>
                    <a:cubicBezTo>
                      <a:pt x="136" y="460"/>
                      <a:pt x="136" y="460"/>
                      <a:pt x="136" y="460"/>
                    </a:cubicBezTo>
                    <a:cubicBezTo>
                      <a:pt x="136" y="460"/>
                      <a:pt x="145" y="462"/>
                      <a:pt x="152" y="455"/>
                    </a:cubicBezTo>
                    <a:cubicBezTo>
                      <a:pt x="158" y="448"/>
                      <a:pt x="208" y="427"/>
                      <a:pt x="214" y="430"/>
                    </a:cubicBezTo>
                    <a:cubicBezTo>
                      <a:pt x="221" y="432"/>
                      <a:pt x="242" y="448"/>
                      <a:pt x="252" y="448"/>
                    </a:cubicBezTo>
                    <a:cubicBezTo>
                      <a:pt x="261" y="448"/>
                      <a:pt x="269" y="430"/>
                      <a:pt x="289" y="455"/>
                    </a:cubicBezTo>
                    <a:cubicBezTo>
                      <a:pt x="309" y="480"/>
                      <a:pt x="293" y="488"/>
                      <a:pt x="290" y="496"/>
                    </a:cubicBezTo>
                    <a:cubicBezTo>
                      <a:pt x="288" y="504"/>
                      <a:pt x="309" y="520"/>
                      <a:pt x="316" y="523"/>
                    </a:cubicBezTo>
                    <a:cubicBezTo>
                      <a:pt x="322" y="526"/>
                      <a:pt x="333" y="511"/>
                      <a:pt x="341" y="507"/>
                    </a:cubicBezTo>
                    <a:cubicBezTo>
                      <a:pt x="349" y="503"/>
                      <a:pt x="352" y="516"/>
                      <a:pt x="352" y="524"/>
                    </a:cubicBezTo>
                    <a:cubicBezTo>
                      <a:pt x="352" y="532"/>
                      <a:pt x="364" y="542"/>
                      <a:pt x="364" y="542"/>
                    </a:cubicBezTo>
                    <a:cubicBezTo>
                      <a:pt x="337" y="543"/>
                      <a:pt x="337" y="543"/>
                      <a:pt x="337" y="543"/>
                    </a:cubicBezTo>
                    <a:cubicBezTo>
                      <a:pt x="337" y="543"/>
                      <a:pt x="338" y="563"/>
                      <a:pt x="325" y="554"/>
                    </a:cubicBezTo>
                    <a:cubicBezTo>
                      <a:pt x="312" y="544"/>
                      <a:pt x="338" y="531"/>
                      <a:pt x="338" y="531"/>
                    </a:cubicBezTo>
                    <a:cubicBezTo>
                      <a:pt x="338" y="531"/>
                      <a:pt x="290" y="528"/>
                      <a:pt x="282" y="526"/>
                    </a:cubicBezTo>
                    <a:cubicBezTo>
                      <a:pt x="274" y="523"/>
                      <a:pt x="232" y="515"/>
                      <a:pt x="232" y="515"/>
                    </a:cubicBezTo>
                    <a:cubicBezTo>
                      <a:pt x="240" y="538"/>
                      <a:pt x="240" y="538"/>
                      <a:pt x="240" y="538"/>
                    </a:cubicBezTo>
                    <a:cubicBezTo>
                      <a:pt x="240" y="538"/>
                      <a:pt x="224" y="531"/>
                      <a:pt x="218" y="544"/>
                    </a:cubicBezTo>
                    <a:cubicBezTo>
                      <a:pt x="213" y="558"/>
                      <a:pt x="249" y="559"/>
                      <a:pt x="248" y="567"/>
                    </a:cubicBezTo>
                    <a:cubicBezTo>
                      <a:pt x="246" y="575"/>
                      <a:pt x="198" y="550"/>
                      <a:pt x="193" y="562"/>
                    </a:cubicBezTo>
                    <a:cubicBezTo>
                      <a:pt x="188" y="574"/>
                      <a:pt x="221" y="582"/>
                      <a:pt x="221" y="582"/>
                    </a:cubicBezTo>
                    <a:cubicBezTo>
                      <a:pt x="221" y="582"/>
                      <a:pt x="221" y="590"/>
                      <a:pt x="228" y="598"/>
                    </a:cubicBezTo>
                    <a:cubicBezTo>
                      <a:pt x="234" y="606"/>
                      <a:pt x="248" y="622"/>
                      <a:pt x="248" y="622"/>
                    </a:cubicBezTo>
                    <a:cubicBezTo>
                      <a:pt x="246" y="636"/>
                      <a:pt x="246" y="636"/>
                      <a:pt x="246" y="636"/>
                    </a:cubicBezTo>
                    <a:cubicBezTo>
                      <a:pt x="269" y="639"/>
                      <a:pt x="269" y="639"/>
                      <a:pt x="269" y="639"/>
                    </a:cubicBezTo>
                    <a:cubicBezTo>
                      <a:pt x="274" y="654"/>
                      <a:pt x="274" y="654"/>
                      <a:pt x="274" y="654"/>
                    </a:cubicBezTo>
                    <a:cubicBezTo>
                      <a:pt x="274" y="654"/>
                      <a:pt x="309" y="654"/>
                      <a:pt x="320" y="664"/>
                    </a:cubicBezTo>
                    <a:cubicBezTo>
                      <a:pt x="330" y="675"/>
                      <a:pt x="308" y="686"/>
                      <a:pt x="306" y="696"/>
                    </a:cubicBezTo>
                    <a:cubicBezTo>
                      <a:pt x="305" y="707"/>
                      <a:pt x="316" y="708"/>
                      <a:pt x="316" y="708"/>
                    </a:cubicBezTo>
                    <a:cubicBezTo>
                      <a:pt x="317" y="704"/>
                      <a:pt x="323" y="707"/>
                      <a:pt x="328" y="709"/>
                    </a:cubicBezTo>
                    <a:cubicBezTo>
                      <a:pt x="330" y="703"/>
                      <a:pt x="336" y="683"/>
                      <a:pt x="344" y="682"/>
                    </a:cubicBezTo>
                    <a:cubicBezTo>
                      <a:pt x="349" y="681"/>
                      <a:pt x="357" y="682"/>
                      <a:pt x="363" y="683"/>
                    </a:cubicBezTo>
                    <a:cubicBezTo>
                      <a:pt x="364" y="681"/>
                      <a:pt x="364" y="679"/>
                      <a:pt x="365" y="678"/>
                    </a:cubicBezTo>
                    <a:cubicBezTo>
                      <a:pt x="368" y="674"/>
                      <a:pt x="400" y="686"/>
                      <a:pt x="408" y="690"/>
                    </a:cubicBezTo>
                    <a:cubicBezTo>
                      <a:pt x="416" y="694"/>
                      <a:pt x="426" y="707"/>
                      <a:pt x="426" y="707"/>
                    </a:cubicBezTo>
                    <a:cubicBezTo>
                      <a:pt x="426" y="707"/>
                      <a:pt x="444" y="732"/>
                      <a:pt x="454" y="738"/>
                    </a:cubicBezTo>
                    <a:cubicBezTo>
                      <a:pt x="463" y="742"/>
                      <a:pt x="464" y="732"/>
                      <a:pt x="468" y="729"/>
                    </a:cubicBezTo>
                    <a:cubicBezTo>
                      <a:pt x="468" y="729"/>
                      <a:pt x="468" y="729"/>
                      <a:pt x="468" y="729"/>
                    </a:cubicBezTo>
                    <a:cubicBezTo>
                      <a:pt x="433" y="542"/>
                      <a:pt x="433" y="542"/>
                      <a:pt x="433" y="542"/>
                    </a:cubicBezTo>
                    <a:cubicBezTo>
                      <a:pt x="529" y="511"/>
                      <a:pt x="529" y="511"/>
                      <a:pt x="529" y="511"/>
                    </a:cubicBezTo>
                    <a:cubicBezTo>
                      <a:pt x="536" y="514"/>
                      <a:pt x="536" y="514"/>
                      <a:pt x="536" y="514"/>
                    </a:cubicBezTo>
                    <a:cubicBezTo>
                      <a:pt x="536" y="513"/>
                      <a:pt x="536" y="513"/>
                      <a:pt x="536" y="513"/>
                    </a:cubicBezTo>
                    <a:cubicBezTo>
                      <a:pt x="536" y="513"/>
                      <a:pt x="540" y="501"/>
                      <a:pt x="541" y="491"/>
                    </a:cubicBezTo>
                    <a:cubicBezTo>
                      <a:pt x="542" y="481"/>
                      <a:pt x="561" y="486"/>
                      <a:pt x="561" y="486"/>
                    </a:cubicBezTo>
                    <a:cubicBezTo>
                      <a:pt x="566" y="501"/>
                      <a:pt x="566" y="501"/>
                      <a:pt x="566" y="501"/>
                    </a:cubicBezTo>
                    <a:cubicBezTo>
                      <a:pt x="566" y="501"/>
                      <a:pt x="580" y="495"/>
                      <a:pt x="582" y="492"/>
                    </a:cubicBezTo>
                    <a:cubicBezTo>
                      <a:pt x="584" y="489"/>
                      <a:pt x="568" y="471"/>
                      <a:pt x="568" y="471"/>
                    </a:cubicBezTo>
                    <a:cubicBezTo>
                      <a:pt x="578" y="471"/>
                      <a:pt x="578" y="471"/>
                      <a:pt x="578" y="471"/>
                    </a:cubicBezTo>
                    <a:cubicBezTo>
                      <a:pt x="587" y="480"/>
                      <a:pt x="587" y="480"/>
                      <a:pt x="587" y="480"/>
                    </a:cubicBezTo>
                    <a:cubicBezTo>
                      <a:pt x="604" y="479"/>
                      <a:pt x="604" y="479"/>
                      <a:pt x="604" y="479"/>
                    </a:cubicBezTo>
                    <a:cubicBezTo>
                      <a:pt x="604" y="479"/>
                      <a:pt x="618" y="483"/>
                      <a:pt x="621" y="479"/>
                    </a:cubicBezTo>
                    <a:cubicBezTo>
                      <a:pt x="624" y="475"/>
                      <a:pt x="619" y="471"/>
                      <a:pt x="615" y="471"/>
                    </a:cubicBezTo>
                    <a:cubicBezTo>
                      <a:pt x="611" y="471"/>
                      <a:pt x="603" y="466"/>
                      <a:pt x="603" y="466"/>
                    </a:cubicBezTo>
                    <a:cubicBezTo>
                      <a:pt x="603" y="466"/>
                      <a:pt x="587" y="470"/>
                      <a:pt x="584" y="460"/>
                    </a:cubicBezTo>
                    <a:cubicBezTo>
                      <a:pt x="581" y="450"/>
                      <a:pt x="604" y="452"/>
                      <a:pt x="604" y="452"/>
                    </a:cubicBezTo>
                    <a:cubicBezTo>
                      <a:pt x="613" y="444"/>
                      <a:pt x="613" y="444"/>
                      <a:pt x="613" y="444"/>
                    </a:cubicBezTo>
                    <a:cubicBezTo>
                      <a:pt x="613" y="444"/>
                      <a:pt x="625" y="461"/>
                      <a:pt x="628" y="461"/>
                    </a:cubicBezTo>
                    <a:cubicBezTo>
                      <a:pt x="631" y="461"/>
                      <a:pt x="636" y="455"/>
                      <a:pt x="636" y="455"/>
                    </a:cubicBezTo>
                    <a:cubicBezTo>
                      <a:pt x="636" y="455"/>
                      <a:pt x="645" y="465"/>
                      <a:pt x="642" y="471"/>
                    </a:cubicBezTo>
                    <a:cubicBezTo>
                      <a:pt x="639" y="477"/>
                      <a:pt x="625" y="481"/>
                      <a:pt x="625" y="481"/>
                    </a:cubicBezTo>
                    <a:cubicBezTo>
                      <a:pt x="625" y="481"/>
                      <a:pt x="617" y="488"/>
                      <a:pt x="613" y="492"/>
                    </a:cubicBezTo>
                    <a:cubicBezTo>
                      <a:pt x="609" y="496"/>
                      <a:pt x="593" y="491"/>
                      <a:pt x="590" y="493"/>
                    </a:cubicBezTo>
                    <a:cubicBezTo>
                      <a:pt x="587" y="495"/>
                      <a:pt x="587" y="506"/>
                      <a:pt x="587" y="506"/>
                    </a:cubicBezTo>
                    <a:cubicBezTo>
                      <a:pt x="587" y="506"/>
                      <a:pt x="602" y="512"/>
                      <a:pt x="606" y="513"/>
                    </a:cubicBezTo>
                    <a:cubicBezTo>
                      <a:pt x="610" y="514"/>
                      <a:pt x="613" y="523"/>
                      <a:pt x="607" y="532"/>
                    </a:cubicBezTo>
                    <a:cubicBezTo>
                      <a:pt x="604" y="536"/>
                      <a:pt x="607" y="542"/>
                      <a:pt x="610" y="549"/>
                    </a:cubicBezTo>
                    <a:cubicBezTo>
                      <a:pt x="656" y="571"/>
                      <a:pt x="656" y="571"/>
                      <a:pt x="656" y="571"/>
                    </a:cubicBezTo>
                    <a:cubicBezTo>
                      <a:pt x="705" y="619"/>
                      <a:pt x="705" y="619"/>
                      <a:pt x="705" y="619"/>
                    </a:cubicBezTo>
                    <a:cubicBezTo>
                      <a:pt x="705" y="619"/>
                      <a:pt x="742" y="612"/>
                      <a:pt x="758" y="612"/>
                    </a:cubicBezTo>
                    <a:cubicBezTo>
                      <a:pt x="774" y="612"/>
                      <a:pt x="812" y="616"/>
                      <a:pt x="812" y="616"/>
                    </a:cubicBezTo>
                    <a:cubicBezTo>
                      <a:pt x="812" y="616"/>
                      <a:pt x="830" y="604"/>
                      <a:pt x="837" y="604"/>
                    </a:cubicBezTo>
                    <a:cubicBezTo>
                      <a:pt x="844" y="604"/>
                      <a:pt x="874" y="647"/>
                      <a:pt x="874" y="647"/>
                    </a:cubicBezTo>
                    <a:cubicBezTo>
                      <a:pt x="874" y="647"/>
                      <a:pt x="889" y="646"/>
                      <a:pt x="894" y="647"/>
                    </a:cubicBezTo>
                    <a:cubicBezTo>
                      <a:pt x="900" y="648"/>
                      <a:pt x="893" y="696"/>
                      <a:pt x="902" y="699"/>
                    </a:cubicBezTo>
                    <a:cubicBezTo>
                      <a:pt x="912" y="702"/>
                      <a:pt x="912" y="688"/>
                      <a:pt x="921" y="699"/>
                    </a:cubicBezTo>
                    <a:cubicBezTo>
                      <a:pt x="930" y="710"/>
                      <a:pt x="932" y="734"/>
                      <a:pt x="942" y="739"/>
                    </a:cubicBezTo>
                    <a:cubicBezTo>
                      <a:pt x="953" y="744"/>
                      <a:pt x="1000" y="735"/>
                      <a:pt x="1006" y="744"/>
                    </a:cubicBezTo>
                    <a:cubicBezTo>
                      <a:pt x="1013" y="754"/>
                      <a:pt x="996" y="767"/>
                      <a:pt x="1006" y="770"/>
                    </a:cubicBezTo>
                    <a:cubicBezTo>
                      <a:pt x="1017" y="772"/>
                      <a:pt x="1028" y="778"/>
                      <a:pt x="1028" y="778"/>
                    </a:cubicBezTo>
                    <a:cubicBezTo>
                      <a:pt x="1028" y="778"/>
                      <a:pt x="1020" y="754"/>
                      <a:pt x="1029" y="747"/>
                    </a:cubicBezTo>
                    <a:cubicBezTo>
                      <a:pt x="1038" y="740"/>
                      <a:pt x="1046" y="740"/>
                      <a:pt x="1046" y="740"/>
                    </a:cubicBezTo>
                    <a:cubicBezTo>
                      <a:pt x="1046" y="740"/>
                      <a:pt x="1045" y="722"/>
                      <a:pt x="1056" y="719"/>
                    </a:cubicBezTo>
                    <a:cubicBezTo>
                      <a:pt x="1066" y="716"/>
                      <a:pt x="1078" y="714"/>
                      <a:pt x="1078" y="714"/>
                    </a:cubicBezTo>
                    <a:cubicBezTo>
                      <a:pt x="1086" y="696"/>
                      <a:pt x="1086" y="696"/>
                      <a:pt x="1086" y="696"/>
                    </a:cubicBezTo>
                    <a:cubicBezTo>
                      <a:pt x="1104" y="695"/>
                      <a:pt x="1104" y="695"/>
                      <a:pt x="1104" y="695"/>
                    </a:cubicBezTo>
                    <a:cubicBezTo>
                      <a:pt x="1123" y="686"/>
                      <a:pt x="1123" y="686"/>
                      <a:pt x="1123" y="686"/>
                    </a:cubicBezTo>
                    <a:cubicBezTo>
                      <a:pt x="1117" y="683"/>
                      <a:pt x="1107" y="683"/>
                      <a:pt x="1107" y="683"/>
                    </a:cubicBezTo>
                    <a:cubicBezTo>
                      <a:pt x="1107" y="683"/>
                      <a:pt x="1108" y="654"/>
                      <a:pt x="1131" y="653"/>
                    </a:cubicBezTo>
                    <a:cubicBezTo>
                      <a:pt x="1154" y="652"/>
                      <a:pt x="1185" y="672"/>
                      <a:pt x="1185" y="672"/>
                    </a:cubicBezTo>
                    <a:cubicBezTo>
                      <a:pt x="1208" y="672"/>
                      <a:pt x="1208" y="672"/>
                      <a:pt x="1208" y="672"/>
                    </a:cubicBezTo>
                    <a:cubicBezTo>
                      <a:pt x="1219" y="678"/>
                      <a:pt x="1219" y="678"/>
                      <a:pt x="1219" y="678"/>
                    </a:cubicBezTo>
                    <a:cubicBezTo>
                      <a:pt x="1219" y="678"/>
                      <a:pt x="1211" y="643"/>
                      <a:pt x="1214" y="640"/>
                    </a:cubicBezTo>
                    <a:cubicBezTo>
                      <a:pt x="1217" y="637"/>
                      <a:pt x="1230" y="635"/>
                      <a:pt x="1240" y="635"/>
                    </a:cubicBezTo>
                    <a:cubicBezTo>
                      <a:pt x="1250" y="635"/>
                      <a:pt x="1260" y="647"/>
                      <a:pt x="1264" y="647"/>
                    </a:cubicBezTo>
                    <a:cubicBezTo>
                      <a:pt x="1268" y="647"/>
                      <a:pt x="1296" y="653"/>
                      <a:pt x="1296" y="653"/>
                    </a:cubicBezTo>
                    <a:cubicBezTo>
                      <a:pt x="1308" y="649"/>
                      <a:pt x="1308" y="649"/>
                      <a:pt x="1308" y="649"/>
                    </a:cubicBezTo>
                    <a:cubicBezTo>
                      <a:pt x="1308" y="649"/>
                      <a:pt x="1356" y="649"/>
                      <a:pt x="1364" y="648"/>
                    </a:cubicBezTo>
                    <a:cubicBezTo>
                      <a:pt x="1372" y="647"/>
                      <a:pt x="1402" y="651"/>
                      <a:pt x="1402" y="651"/>
                    </a:cubicBezTo>
                    <a:cubicBezTo>
                      <a:pt x="1434" y="650"/>
                      <a:pt x="1434" y="650"/>
                      <a:pt x="1434" y="650"/>
                    </a:cubicBezTo>
                    <a:cubicBezTo>
                      <a:pt x="1442" y="658"/>
                      <a:pt x="1442" y="658"/>
                      <a:pt x="1442" y="658"/>
                    </a:cubicBezTo>
                    <a:cubicBezTo>
                      <a:pt x="1454" y="658"/>
                      <a:pt x="1454" y="658"/>
                      <a:pt x="1454" y="658"/>
                    </a:cubicBezTo>
                    <a:cubicBezTo>
                      <a:pt x="1471" y="676"/>
                      <a:pt x="1471" y="676"/>
                      <a:pt x="1471" y="676"/>
                    </a:cubicBezTo>
                    <a:cubicBezTo>
                      <a:pt x="1499" y="676"/>
                      <a:pt x="1499" y="676"/>
                      <a:pt x="1499" y="676"/>
                    </a:cubicBezTo>
                    <a:cubicBezTo>
                      <a:pt x="1513" y="681"/>
                      <a:pt x="1513" y="681"/>
                      <a:pt x="1513" y="681"/>
                    </a:cubicBezTo>
                    <a:cubicBezTo>
                      <a:pt x="1512" y="680"/>
                      <a:pt x="1512" y="680"/>
                      <a:pt x="1512" y="680"/>
                    </a:cubicBezTo>
                    <a:cubicBezTo>
                      <a:pt x="1507" y="675"/>
                      <a:pt x="1503" y="664"/>
                      <a:pt x="1503" y="659"/>
                    </a:cubicBezTo>
                    <a:cubicBezTo>
                      <a:pt x="1503" y="654"/>
                      <a:pt x="1517" y="656"/>
                      <a:pt x="1517" y="656"/>
                    </a:cubicBezTo>
                    <a:cubicBezTo>
                      <a:pt x="1517" y="656"/>
                      <a:pt x="1506" y="644"/>
                      <a:pt x="1506" y="641"/>
                    </a:cubicBezTo>
                    <a:cubicBezTo>
                      <a:pt x="1506" y="638"/>
                      <a:pt x="1522" y="641"/>
                      <a:pt x="1522" y="634"/>
                    </a:cubicBezTo>
                    <a:cubicBezTo>
                      <a:pt x="1522" y="627"/>
                      <a:pt x="1492" y="596"/>
                      <a:pt x="1484" y="587"/>
                    </a:cubicBezTo>
                    <a:cubicBezTo>
                      <a:pt x="1476" y="578"/>
                      <a:pt x="1476" y="552"/>
                      <a:pt x="1476" y="552"/>
                    </a:cubicBezTo>
                    <a:cubicBezTo>
                      <a:pt x="1476" y="552"/>
                      <a:pt x="1458" y="555"/>
                      <a:pt x="1451" y="546"/>
                    </a:cubicBezTo>
                    <a:cubicBezTo>
                      <a:pt x="1444" y="537"/>
                      <a:pt x="1475" y="530"/>
                      <a:pt x="1481" y="529"/>
                    </a:cubicBezTo>
                    <a:cubicBezTo>
                      <a:pt x="1487" y="528"/>
                      <a:pt x="1511" y="518"/>
                      <a:pt x="1516" y="518"/>
                    </a:cubicBezTo>
                    <a:cubicBezTo>
                      <a:pt x="1521" y="518"/>
                      <a:pt x="1530" y="532"/>
                      <a:pt x="1530" y="532"/>
                    </a:cubicBezTo>
                    <a:cubicBezTo>
                      <a:pt x="1543" y="525"/>
                      <a:pt x="1543" y="525"/>
                      <a:pt x="1543" y="525"/>
                    </a:cubicBezTo>
                    <a:cubicBezTo>
                      <a:pt x="1543" y="525"/>
                      <a:pt x="1550" y="539"/>
                      <a:pt x="1559" y="528"/>
                    </a:cubicBezTo>
                    <a:cubicBezTo>
                      <a:pt x="1568" y="517"/>
                      <a:pt x="1545" y="515"/>
                      <a:pt x="1541" y="513"/>
                    </a:cubicBezTo>
                    <a:cubicBezTo>
                      <a:pt x="1537" y="511"/>
                      <a:pt x="1541" y="459"/>
                      <a:pt x="1541" y="447"/>
                    </a:cubicBezTo>
                    <a:cubicBezTo>
                      <a:pt x="1541" y="435"/>
                      <a:pt x="1540" y="420"/>
                      <a:pt x="1546" y="420"/>
                    </a:cubicBezTo>
                    <a:cubicBezTo>
                      <a:pt x="1552" y="420"/>
                      <a:pt x="1577" y="432"/>
                      <a:pt x="1585" y="434"/>
                    </a:cubicBezTo>
                    <a:cubicBezTo>
                      <a:pt x="1593" y="436"/>
                      <a:pt x="1614" y="434"/>
                      <a:pt x="1614" y="434"/>
                    </a:cubicBezTo>
                    <a:cubicBezTo>
                      <a:pt x="1623" y="442"/>
                      <a:pt x="1623" y="442"/>
                      <a:pt x="1623" y="442"/>
                    </a:cubicBezTo>
                    <a:cubicBezTo>
                      <a:pt x="1634" y="430"/>
                      <a:pt x="1634" y="430"/>
                      <a:pt x="1634" y="430"/>
                    </a:cubicBezTo>
                    <a:cubicBezTo>
                      <a:pt x="1634" y="430"/>
                      <a:pt x="1642" y="431"/>
                      <a:pt x="1649" y="426"/>
                    </a:cubicBezTo>
                    <a:cubicBezTo>
                      <a:pt x="1656" y="421"/>
                      <a:pt x="1650" y="410"/>
                      <a:pt x="1641" y="397"/>
                    </a:cubicBezTo>
                    <a:cubicBezTo>
                      <a:pt x="1632" y="384"/>
                      <a:pt x="1622" y="375"/>
                      <a:pt x="1627" y="361"/>
                    </a:cubicBezTo>
                    <a:cubicBezTo>
                      <a:pt x="1632" y="347"/>
                      <a:pt x="1661" y="357"/>
                      <a:pt x="1667" y="348"/>
                    </a:cubicBezTo>
                    <a:cubicBezTo>
                      <a:pt x="1673" y="339"/>
                      <a:pt x="1654" y="336"/>
                      <a:pt x="1655" y="327"/>
                    </a:cubicBezTo>
                    <a:close/>
                    <a:moveTo>
                      <a:pt x="1385" y="465"/>
                    </a:moveTo>
                    <a:cubicBezTo>
                      <a:pt x="1380" y="470"/>
                      <a:pt x="1363" y="466"/>
                      <a:pt x="1363" y="466"/>
                    </a:cubicBezTo>
                    <a:cubicBezTo>
                      <a:pt x="1363" y="466"/>
                      <a:pt x="1361" y="472"/>
                      <a:pt x="1356" y="473"/>
                    </a:cubicBezTo>
                    <a:cubicBezTo>
                      <a:pt x="1351" y="474"/>
                      <a:pt x="1340" y="464"/>
                      <a:pt x="1340" y="464"/>
                    </a:cubicBezTo>
                    <a:cubicBezTo>
                      <a:pt x="1320" y="467"/>
                      <a:pt x="1320" y="467"/>
                      <a:pt x="1320" y="467"/>
                    </a:cubicBezTo>
                    <a:cubicBezTo>
                      <a:pt x="1299" y="463"/>
                      <a:pt x="1299" y="463"/>
                      <a:pt x="1299" y="463"/>
                    </a:cubicBezTo>
                    <a:cubicBezTo>
                      <a:pt x="1287" y="464"/>
                      <a:pt x="1287" y="464"/>
                      <a:pt x="1287" y="464"/>
                    </a:cubicBezTo>
                    <a:cubicBezTo>
                      <a:pt x="1270" y="459"/>
                      <a:pt x="1270" y="459"/>
                      <a:pt x="1270" y="459"/>
                    </a:cubicBezTo>
                    <a:cubicBezTo>
                      <a:pt x="1270" y="459"/>
                      <a:pt x="1259" y="460"/>
                      <a:pt x="1246" y="460"/>
                    </a:cubicBezTo>
                    <a:cubicBezTo>
                      <a:pt x="1233" y="460"/>
                      <a:pt x="1236" y="454"/>
                      <a:pt x="1236" y="454"/>
                    </a:cubicBezTo>
                    <a:cubicBezTo>
                      <a:pt x="1236" y="454"/>
                      <a:pt x="1228" y="462"/>
                      <a:pt x="1222" y="464"/>
                    </a:cubicBezTo>
                    <a:cubicBezTo>
                      <a:pt x="1216" y="466"/>
                      <a:pt x="1215" y="476"/>
                      <a:pt x="1209" y="484"/>
                    </a:cubicBezTo>
                    <a:cubicBezTo>
                      <a:pt x="1203" y="492"/>
                      <a:pt x="1195" y="489"/>
                      <a:pt x="1195" y="489"/>
                    </a:cubicBezTo>
                    <a:cubicBezTo>
                      <a:pt x="1199" y="507"/>
                      <a:pt x="1199" y="507"/>
                      <a:pt x="1199" y="507"/>
                    </a:cubicBezTo>
                    <a:cubicBezTo>
                      <a:pt x="1191" y="514"/>
                      <a:pt x="1191" y="514"/>
                      <a:pt x="1191" y="514"/>
                    </a:cubicBezTo>
                    <a:cubicBezTo>
                      <a:pt x="1201" y="525"/>
                      <a:pt x="1201" y="525"/>
                      <a:pt x="1201" y="525"/>
                    </a:cubicBezTo>
                    <a:cubicBezTo>
                      <a:pt x="1200" y="542"/>
                      <a:pt x="1200" y="542"/>
                      <a:pt x="1200" y="542"/>
                    </a:cubicBezTo>
                    <a:cubicBezTo>
                      <a:pt x="1196" y="541"/>
                      <a:pt x="1167" y="507"/>
                      <a:pt x="1167" y="507"/>
                    </a:cubicBezTo>
                    <a:cubicBezTo>
                      <a:pt x="1167" y="507"/>
                      <a:pt x="1163" y="492"/>
                      <a:pt x="1163" y="481"/>
                    </a:cubicBezTo>
                    <a:cubicBezTo>
                      <a:pt x="1163" y="470"/>
                      <a:pt x="1181" y="467"/>
                      <a:pt x="1185" y="466"/>
                    </a:cubicBezTo>
                    <a:cubicBezTo>
                      <a:pt x="1189" y="465"/>
                      <a:pt x="1187" y="454"/>
                      <a:pt x="1193" y="448"/>
                    </a:cubicBezTo>
                    <a:cubicBezTo>
                      <a:pt x="1199" y="442"/>
                      <a:pt x="1224" y="448"/>
                      <a:pt x="1228" y="448"/>
                    </a:cubicBezTo>
                    <a:cubicBezTo>
                      <a:pt x="1232" y="448"/>
                      <a:pt x="1240" y="442"/>
                      <a:pt x="1253" y="443"/>
                    </a:cubicBezTo>
                    <a:cubicBezTo>
                      <a:pt x="1266" y="444"/>
                      <a:pt x="1274" y="451"/>
                      <a:pt x="1281" y="452"/>
                    </a:cubicBezTo>
                    <a:cubicBezTo>
                      <a:pt x="1288" y="453"/>
                      <a:pt x="1293" y="456"/>
                      <a:pt x="1306" y="458"/>
                    </a:cubicBezTo>
                    <a:cubicBezTo>
                      <a:pt x="1319" y="460"/>
                      <a:pt x="1315" y="449"/>
                      <a:pt x="1328" y="449"/>
                    </a:cubicBezTo>
                    <a:cubicBezTo>
                      <a:pt x="1341" y="449"/>
                      <a:pt x="1360" y="454"/>
                      <a:pt x="1360" y="454"/>
                    </a:cubicBezTo>
                    <a:cubicBezTo>
                      <a:pt x="1360" y="454"/>
                      <a:pt x="1370" y="445"/>
                      <a:pt x="1384" y="443"/>
                    </a:cubicBezTo>
                    <a:cubicBezTo>
                      <a:pt x="1398" y="441"/>
                      <a:pt x="1390" y="460"/>
                      <a:pt x="1385" y="46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3" name="MCShape 163">
                <a:extLst>
                  <a:ext uri="{FF2B5EF4-FFF2-40B4-BE49-F238E27FC236}">
                    <a16:creationId xmlns:a16="http://schemas.microsoft.com/office/drawing/2014/main" id="{4936B978-1A29-4351-9149-512987C3C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2056" y="4547236"/>
                <a:ext cx="298520" cy="527438"/>
              </a:xfrm>
              <a:custGeom>
                <a:avLst/>
                <a:gdLst>
                  <a:gd name="T0" fmla="*/ 507 w 508"/>
                  <a:gd name="T1" fmla="*/ 210 h 891"/>
                  <a:gd name="T2" fmla="*/ 499 w 508"/>
                  <a:gd name="T3" fmla="*/ 170 h 891"/>
                  <a:gd name="T4" fmla="*/ 502 w 508"/>
                  <a:gd name="T5" fmla="*/ 155 h 891"/>
                  <a:gd name="T6" fmla="*/ 503 w 508"/>
                  <a:gd name="T7" fmla="*/ 104 h 891"/>
                  <a:gd name="T8" fmla="*/ 505 w 508"/>
                  <a:gd name="T9" fmla="*/ 13 h 891"/>
                  <a:gd name="T10" fmla="*/ 497 w 508"/>
                  <a:gd name="T11" fmla="*/ 0 h 891"/>
                  <a:gd name="T12" fmla="*/ 425 w 508"/>
                  <a:gd name="T13" fmla="*/ 38 h 891"/>
                  <a:gd name="T14" fmla="*/ 393 w 508"/>
                  <a:gd name="T15" fmla="*/ 45 h 891"/>
                  <a:gd name="T16" fmla="*/ 354 w 508"/>
                  <a:gd name="T17" fmla="*/ 66 h 891"/>
                  <a:gd name="T18" fmla="*/ 325 w 508"/>
                  <a:gd name="T19" fmla="*/ 61 h 891"/>
                  <a:gd name="T20" fmla="*/ 279 w 508"/>
                  <a:gd name="T21" fmla="*/ 51 h 891"/>
                  <a:gd name="T22" fmla="*/ 237 w 508"/>
                  <a:gd name="T23" fmla="*/ 62 h 891"/>
                  <a:gd name="T24" fmla="*/ 224 w 508"/>
                  <a:gd name="T25" fmla="*/ 89 h 891"/>
                  <a:gd name="T26" fmla="*/ 228 w 508"/>
                  <a:gd name="T27" fmla="*/ 144 h 891"/>
                  <a:gd name="T28" fmla="*/ 235 w 508"/>
                  <a:gd name="T29" fmla="*/ 166 h 891"/>
                  <a:gd name="T30" fmla="*/ 281 w 508"/>
                  <a:gd name="T31" fmla="*/ 231 h 891"/>
                  <a:gd name="T32" fmla="*/ 268 w 508"/>
                  <a:gd name="T33" fmla="*/ 300 h 891"/>
                  <a:gd name="T34" fmla="*/ 246 w 508"/>
                  <a:gd name="T35" fmla="*/ 333 h 891"/>
                  <a:gd name="T36" fmla="*/ 234 w 508"/>
                  <a:gd name="T37" fmla="*/ 340 h 891"/>
                  <a:gd name="T38" fmla="*/ 202 w 508"/>
                  <a:gd name="T39" fmla="*/ 297 h 891"/>
                  <a:gd name="T40" fmla="*/ 208 w 508"/>
                  <a:gd name="T41" fmla="*/ 279 h 891"/>
                  <a:gd name="T42" fmla="*/ 210 w 508"/>
                  <a:gd name="T43" fmla="*/ 263 h 891"/>
                  <a:gd name="T44" fmla="*/ 208 w 508"/>
                  <a:gd name="T45" fmla="*/ 234 h 891"/>
                  <a:gd name="T46" fmla="*/ 189 w 508"/>
                  <a:gd name="T47" fmla="*/ 218 h 891"/>
                  <a:gd name="T48" fmla="*/ 148 w 508"/>
                  <a:gd name="T49" fmla="*/ 189 h 891"/>
                  <a:gd name="T50" fmla="*/ 43 w 508"/>
                  <a:gd name="T51" fmla="*/ 227 h 891"/>
                  <a:gd name="T52" fmla="*/ 5 w 508"/>
                  <a:gd name="T53" fmla="*/ 243 h 891"/>
                  <a:gd name="T54" fmla="*/ 17 w 508"/>
                  <a:gd name="T55" fmla="*/ 297 h 891"/>
                  <a:gd name="T56" fmla="*/ 64 w 508"/>
                  <a:gd name="T57" fmla="*/ 309 h 891"/>
                  <a:gd name="T58" fmla="*/ 89 w 508"/>
                  <a:gd name="T59" fmla="*/ 322 h 891"/>
                  <a:gd name="T60" fmla="*/ 120 w 508"/>
                  <a:gd name="T61" fmla="*/ 331 h 891"/>
                  <a:gd name="T62" fmla="*/ 129 w 508"/>
                  <a:gd name="T63" fmla="*/ 357 h 891"/>
                  <a:gd name="T64" fmla="*/ 131 w 508"/>
                  <a:gd name="T65" fmla="*/ 375 h 891"/>
                  <a:gd name="T66" fmla="*/ 129 w 508"/>
                  <a:gd name="T67" fmla="*/ 395 h 891"/>
                  <a:gd name="T68" fmla="*/ 131 w 508"/>
                  <a:gd name="T69" fmla="*/ 434 h 891"/>
                  <a:gd name="T70" fmla="*/ 117 w 508"/>
                  <a:gd name="T71" fmla="*/ 450 h 891"/>
                  <a:gd name="T72" fmla="*/ 117 w 508"/>
                  <a:gd name="T73" fmla="*/ 482 h 891"/>
                  <a:gd name="T74" fmla="*/ 125 w 508"/>
                  <a:gd name="T75" fmla="*/ 518 h 891"/>
                  <a:gd name="T76" fmla="*/ 105 w 508"/>
                  <a:gd name="T77" fmla="*/ 542 h 891"/>
                  <a:gd name="T78" fmla="*/ 96 w 508"/>
                  <a:gd name="T79" fmla="*/ 570 h 891"/>
                  <a:gd name="T80" fmla="*/ 95 w 508"/>
                  <a:gd name="T81" fmla="*/ 586 h 891"/>
                  <a:gd name="T82" fmla="*/ 57 w 508"/>
                  <a:gd name="T83" fmla="*/ 702 h 891"/>
                  <a:gd name="T84" fmla="*/ 78 w 508"/>
                  <a:gd name="T85" fmla="*/ 809 h 891"/>
                  <a:gd name="T86" fmla="*/ 76 w 508"/>
                  <a:gd name="T87" fmla="*/ 830 h 891"/>
                  <a:gd name="T88" fmla="*/ 83 w 508"/>
                  <a:gd name="T89" fmla="*/ 861 h 891"/>
                  <a:gd name="T90" fmla="*/ 98 w 508"/>
                  <a:gd name="T91" fmla="*/ 877 h 891"/>
                  <a:gd name="T92" fmla="*/ 115 w 508"/>
                  <a:gd name="T93" fmla="*/ 871 h 891"/>
                  <a:gd name="T94" fmla="*/ 109 w 508"/>
                  <a:gd name="T95" fmla="*/ 819 h 891"/>
                  <a:gd name="T96" fmla="*/ 242 w 508"/>
                  <a:gd name="T97" fmla="*/ 735 h 891"/>
                  <a:gd name="T98" fmla="*/ 230 w 508"/>
                  <a:gd name="T99" fmla="*/ 713 h 891"/>
                  <a:gd name="T100" fmla="*/ 241 w 508"/>
                  <a:gd name="T101" fmla="*/ 650 h 891"/>
                  <a:gd name="T102" fmla="*/ 246 w 508"/>
                  <a:gd name="T103" fmla="*/ 626 h 891"/>
                  <a:gd name="T104" fmla="*/ 238 w 508"/>
                  <a:gd name="T105" fmla="*/ 612 h 891"/>
                  <a:gd name="T106" fmla="*/ 225 w 508"/>
                  <a:gd name="T107" fmla="*/ 555 h 891"/>
                  <a:gd name="T108" fmla="*/ 222 w 508"/>
                  <a:gd name="T109" fmla="*/ 503 h 891"/>
                  <a:gd name="T110" fmla="*/ 267 w 508"/>
                  <a:gd name="T111" fmla="*/ 455 h 891"/>
                  <a:gd name="T112" fmla="*/ 312 w 508"/>
                  <a:gd name="T113" fmla="*/ 419 h 891"/>
                  <a:gd name="T114" fmla="*/ 417 w 508"/>
                  <a:gd name="T115" fmla="*/ 348 h 891"/>
                  <a:gd name="T116" fmla="*/ 458 w 508"/>
                  <a:gd name="T117" fmla="*/ 314 h 891"/>
                  <a:gd name="T118" fmla="*/ 498 w 508"/>
                  <a:gd name="T119" fmla="*/ 263 h 891"/>
                  <a:gd name="T120" fmla="*/ 508 w 508"/>
                  <a:gd name="T121" fmla="*/ 229 h 89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08"/>
                  <a:gd name="T184" fmla="*/ 0 h 891"/>
                  <a:gd name="T185" fmla="*/ 508 w 508"/>
                  <a:gd name="T186" fmla="*/ 891 h 89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08" h="891">
                    <a:moveTo>
                      <a:pt x="508" y="229"/>
                    </a:moveTo>
                    <a:cubicBezTo>
                      <a:pt x="508" y="221"/>
                      <a:pt x="507" y="210"/>
                      <a:pt x="507" y="210"/>
                    </a:cubicBezTo>
                    <a:cubicBezTo>
                      <a:pt x="499" y="211"/>
                      <a:pt x="499" y="211"/>
                      <a:pt x="499" y="211"/>
                    </a:cubicBezTo>
                    <a:cubicBezTo>
                      <a:pt x="499" y="170"/>
                      <a:pt x="499" y="170"/>
                      <a:pt x="499" y="170"/>
                    </a:cubicBezTo>
                    <a:cubicBezTo>
                      <a:pt x="491" y="162"/>
                      <a:pt x="491" y="162"/>
                      <a:pt x="491" y="162"/>
                    </a:cubicBezTo>
                    <a:cubicBezTo>
                      <a:pt x="502" y="155"/>
                      <a:pt x="502" y="155"/>
                      <a:pt x="502" y="155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503" y="104"/>
                      <a:pt x="503" y="104"/>
                      <a:pt x="503" y="104"/>
                    </a:cubicBezTo>
                    <a:cubicBezTo>
                      <a:pt x="493" y="78"/>
                      <a:pt x="493" y="78"/>
                      <a:pt x="493" y="78"/>
                    </a:cubicBezTo>
                    <a:cubicBezTo>
                      <a:pt x="493" y="78"/>
                      <a:pt x="505" y="21"/>
                      <a:pt x="505" y="13"/>
                    </a:cubicBezTo>
                    <a:cubicBezTo>
                      <a:pt x="505" y="5"/>
                      <a:pt x="497" y="0"/>
                      <a:pt x="497" y="0"/>
                    </a:cubicBezTo>
                    <a:cubicBezTo>
                      <a:pt x="497" y="0"/>
                      <a:pt x="497" y="0"/>
                      <a:pt x="497" y="0"/>
                    </a:cubicBezTo>
                    <a:cubicBezTo>
                      <a:pt x="444" y="37"/>
                      <a:pt x="444" y="37"/>
                      <a:pt x="444" y="37"/>
                    </a:cubicBezTo>
                    <a:cubicBezTo>
                      <a:pt x="425" y="38"/>
                      <a:pt x="425" y="38"/>
                      <a:pt x="425" y="38"/>
                    </a:cubicBezTo>
                    <a:cubicBezTo>
                      <a:pt x="425" y="38"/>
                      <a:pt x="404" y="51"/>
                      <a:pt x="400" y="52"/>
                    </a:cubicBezTo>
                    <a:cubicBezTo>
                      <a:pt x="396" y="53"/>
                      <a:pt x="393" y="45"/>
                      <a:pt x="393" y="45"/>
                    </a:cubicBezTo>
                    <a:cubicBezTo>
                      <a:pt x="377" y="45"/>
                      <a:pt x="377" y="45"/>
                      <a:pt x="377" y="45"/>
                    </a:cubicBezTo>
                    <a:cubicBezTo>
                      <a:pt x="377" y="45"/>
                      <a:pt x="361" y="63"/>
                      <a:pt x="354" y="66"/>
                    </a:cubicBezTo>
                    <a:cubicBezTo>
                      <a:pt x="347" y="69"/>
                      <a:pt x="343" y="67"/>
                      <a:pt x="343" y="67"/>
                    </a:cubicBezTo>
                    <a:cubicBezTo>
                      <a:pt x="343" y="67"/>
                      <a:pt x="329" y="59"/>
                      <a:pt x="325" y="61"/>
                    </a:cubicBezTo>
                    <a:cubicBezTo>
                      <a:pt x="321" y="63"/>
                      <a:pt x="316" y="72"/>
                      <a:pt x="311" y="72"/>
                    </a:cubicBezTo>
                    <a:cubicBezTo>
                      <a:pt x="306" y="72"/>
                      <a:pt x="287" y="51"/>
                      <a:pt x="279" y="51"/>
                    </a:cubicBezTo>
                    <a:cubicBezTo>
                      <a:pt x="271" y="51"/>
                      <a:pt x="267" y="61"/>
                      <a:pt x="267" y="61"/>
                    </a:cubicBezTo>
                    <a:cubicBezTo>
                      <a:pt x="267" y="61"/>
                      <a:pt x="250" y="62"/>
                      <a:pt x="237" y="62"/>
                    </a:cubicBezTo>
                    <a:cubicBezTo>
                      <a:pt x="236" y="66"/>
                      <a:pt x="236" y="70"/>
                      <a:pt x="236" y="72"/>
                    </a:cubicBezTo>
                    <a:cubicBezTo>
                      <a:pt x="236" y="75"/>
                      <a:pt x="233" y="81"/>
                      <a:pt x="224" y="89"/>
                    </a:cubicBezTo>
                    <a:cubicBezTo>
                      <a:pt x="215" y="97"/>
                      <a:pt x="225" y="104"/>
                      <a:pt x="229" y="109"/>
                    </a:cubicBezTo>
                    <a:cubicBezTo>
                      <a:pt x="233" y="114"/>
                      <a:pt x="233" y="132"/>
                      <a:pt x="228" y="144"/>
                    </a:cubicBezTo>
                    <a:cubicBezTo>
                      <a:pt x="225" y="151"/>
                      <a:pt x="225" y="159"/>
                      <a:pt x="226" y="164"/>
                    </a:cubicBezTo>
                    <a:cubicBezTo>
                      <a:pt x="229" y="165"/>
                      <a:pt x="233" y="165"/>
                      <a:pt x="235" y="166"/>
                    </a:cubicBezTo>
                    <a:cubicBezTo>
                      <a:pt x="239" y="169"/>
                      <a:pt x="257" y="196"/>
                      <a:pt x="261" y="204"/>
                    </a:cubicBezTo>
                    <a:cubicBezTo>
                      <a:pt x="265" y="212"/>
                      <a:pt x="275" y="222"/>
                      <a:pt x="281" y="231"/>
                    </a:cubicBezTo>
                    <a:cubicBezTo>
                      <a:pt x="287" y="240"/>
                      <a:pt x="270" y="258"/>
                      <a:pt x="270" y="258"/>
                    </a:cubicBezTo>
                    <a:cubicBezTo>
                      <a:pt x="270" y="258"/>
                      <a:pt x="274" y="293"/>
                      <a:pt x="268" y="300"/>
                    </a:cubicBezTo>
                    <a:cubicBezTo>
                      <a:pt x="262" y="307"/>
                      <a:pt x="244" y="299"/>
                      <a:pt x="238" y="317"/>
                    </a:cubicBezTo>
                    <a:cubicBezTo>
                      <a:pt x="232" y="335"/>
                      <a:pt x="242" y="323"/>
                      <a:pt x="246" y="333"/>
                    </a:cubicBezTo>
                    <a:cubicBezTo>
                      <a:pt x="250" y="343"/>
                      <a:pt x="243" y="360"/>
                      <a:pt x="232" y="358"/>
                    </a:cubicBezTo>
                    <a:cubicBezTo>
                      <a:pt x="221" y="356"/>
                      <a:pt x="235" y="346"/>
                      <a:pt x="234" y="340"/>
                    </a:cubicBezTo>
                    <a:cubicBezTo>
                      <a:pt x="233" y="334"/>
                      <a:pt x="202" y="314"/>
                      <a:pt x="202" y="314"/>
                    </a:cubicBezTo>
                    <a:cubicBezTo>
                      <a:pt x="202" y="297"/>
                      <a:pt x="202" y="297"/>
                      <a:pt x="202" y="297"/>
                    </a:cubicBezTo>
                    <a:cubicBezTo>
                      <a:pt x="202" y="297"/>
                      <a:pt x="197" y="297"/>
                      <a:pt x="195" y="294"/>
                    </a:cubicBezTo>
                    <a:cubicBezTo>
                      <a:pt x="193" y="291"/>
                      <a:pt x="208" y="279"/>
                      <a:pt x="208" y="279"/>
                    </a:cubicBezTo>
                    <a:cubicBezTo>
                      <a:pt x="200" y="266"/>
                      <a:pt x="200" y="266"/>
                      <a:pt x="200" y="266"/>
                    </a:cubicBezTo>
                    <a:cubicBezTo>
                      <a:pt x="210" y="263"/>
                      <a:pt x="210" y="263"/>
                      <a:pt x="210" y="263"/>
                    </a:cubicBezTo>
                    <a:cubicBezTo>
                      <a:pt x="213" y="242"/>
                      <a:pt x="213" y="242"/>
                      <a:pt x="213" y="242"/>
                    </a:cubicBezTo>
                    <a:cubicBezTo>
                      <a:pt x="213" y="242"/>
                      <a:pt x="207" y="243"/>
                      <a:pt x="208" y="234"/>
                    </a:cubicBezTo>
                    <a:cubicBezTo>
                      <a:pt x="209" y="225"/>
                      <a:pt x="205" y="214"/>
                      <a:pt x="205" y="214"/>
                    </a:cubicBezTo>
                    <a:cubicBezTo>
                      <a:pt x="199" y="211"/>
                      <a:pt x="189" y="218"/>
                      <a:pt x="189" y="218"/>
                    </a:cubicBezTo>
                    <a:cubicBezTo>
                      <a:pt x="169" y="221"/>
                      <a:pt x="169" y="221"/>
                      <a:pt x="169" y="221"/>
                    </a:cubicBezTo>
                    <a:cubicBezTo>
                      <a:pt x="148" y="189"/>
                      <a:pt x="148" y="189"/>
                      <a:pt x="148" y="189"/>
                    </a:cubicBezTo>
                    <a:cubicBezTo>
                      <a:pt x="148" y="189"/>
                      <a:pt x="104" y="209"/>
                      <a:pt x="95" y="214"/>
                    </a:cubicBezTo>
                    <a:cubicBezTo>
                      <a:pt x="85" y="219"/>
                      <a:pt x="43" y="227"/>
                      <a:pt x="43" y="227"/>
                    </a:cubicBezTo>
                    <a:cubicBezTo>
                      <a:pt x="31" y="238"/>
                      <a:pt x="31" y="238"/>
                      <a:pt x="31" y="238"/>
                    </a:cubicBezTo>
                    <a:cubicBezTo>
                      <a:pt x="31" y="238"/>
                      <a:pt x="11" y="239"/>
                      <a:pt x="5" y="243"/>
                    </a:cubicBezTo>
                    <a:cubicBezTo>
                      <a:pt x="0" y="247"/>
                      <a:pt x="15" y="261"/>
                      <a:pt x="15" y="261"/>
                    </a:cubicBezTo>
                    <a:cubicBezTo>
                      <a:pt x="17" y="297"/>
                      <a:pt x="17" y="297"/>
                      <a:pt x="17" y="297"/>
                    </a:cubicBezTo>
                    <a:cubicBezTo>
                      <a:pt x="56" y="297"/>
                      <a:pt x="56" y="297"/>
                      <a:pt x="56" y="297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79" y="306"/>
                      <a:pt x="79" y="306"/>
                      <a:pt x="79" y="306"/>
                    </a:cubicBezTo>
                    <a:cubicBezTo>
                      <a:pt x="89" y="322"/>
                      <a:pt x="89" y="322"/>
                      <a:pt x="89" y="322"/>
                    </a:cubicBezTo>
                    <a:cubicBezTo>
                      <a:pt x="89" y="322"/>
                      <a:pt x="99" y="319"/>
                      <a:pt x="107" y="319"/>
                    </a:cubicBezTo>
                    <a:cubicBezTo>
                      <a:pt x="115" y="319"/>
                      <a:pt x="120" y="331"/>
                      <a:pt x="120" y="331"/>
                    </a:cubicBezTo>
                    <a:cubicBezTo>
                      <a:pt x="120" y="331"/>
                      <a:pt x="135" y="331"/>
                      <a:pt x="139" y="339"/>
                    </a:cubicBezTo>
                    <a:cubicBezTo>
                      <a:pt x="143" y="347"/>
                      <a:pt x="129" y="357"/>
                      <a:pt x="129" y="357"/>
                    </a:cubicBezTo>
                    <a:cubicBezTo>
                      <a:pt x="137" y="366"/>
                      <a:pt x="137" y="366"/>
                      <a:pt x="137" y="366"/>
                    </a:cubicBezTo>
                    <a:cubicBezTo>
                      <a:pt x="131" y="375"/>
                      <a:pt x="131" y="375"/>
                      <a:pt x="131" y="375"/>
                    </a:cubicBezTo>
                    <a:cubicBezTo>
                      <a:pt x="137" y="383"/>
                      <a:pt x="137" y="383"/>
                      <a:pt x="137" y="383"/>
                    </a:cubicBezTo>
                    <a:cubicBezTo>
                      <a:pt x="137" y="383"/>
                      <a:pt x="132" y="390"/>
                      <a:pt x="129" y="395"/>
                    </a:cubicBezTo>
                    <a:cubicBezTo>
                      <a:pt x="127" y="401"/>
                      <a:pt x="135" y="407"/>
                      <a:pt x="137" y="421"/>
                    </a:cubicBezTo>
                    <a:cubicBezTo>
                      <a:pt x="140" y="434"/>
                      <a:pt x="131" y="434"/>
                      <a:pt x="131" y="434"/>
                    </a:cubicBezTo>
                    <a:cubicBezTo>
                      <a:pt x="131" y="443"/>
                      <a:pt x="131" y="443"/>
                      <a:pt x="131" y="443"/>
                    </a:cubicBezTo>
                    <a:cubicBezTo>
                      <a:pt x="117" y="450"/>
                      <a:pt x="117" y="450"/>
                      <a:pt x="117" y="450"/>
                    </a:cubicBezTo>
                    <a:cubicBezTo>
                      <a:pt x="131" y="466"/>
                      <a:pt x="131" y="466"/>
                      <a:pt x="131" y="466"/>
                    </a:cubicBezTo>
                    <a:cubicBezTo>
                      <a:pt x="131" y="466"/>
                      <a:pt x="119" y="477"/>
                      <a:pt x="117" y="482"/>
                    </a:cubicBezTo>
                    <a:cubicBezTo>
                      <a:pt x="116" y="487"/>
                      <a:pt x="133" y="498"/>
                      <a:pt x="135" y="505"/>
                    </a:cubicBezTo>
                    <a:cubicBezTo>
                      <a:pt x="136" y="511"/>
                      <a:pt x="125" y="518"/>
                      <a:pt x="125" y="518"/>
                    </a:cubicBezTo>
                    <a:cubicBezTo>
                      <a:pt x="125" y="518"/>
                      <a:pt x="123" y="525"/>
                      <a:pt x="121" y="533"/>
                    </a:cubicBezTo>
                    <a:cubicBezTo>
                      <a:pt x="120" y="541"/>
                      <a:pt x="105" y="542"/>
                      <a:pt x="105" y="542"/>
                    </a:cubicBezTo>
                    <a:cubicBezTo>
                      <a:pt x="104" y="565"/>
                      <a:pt x="104" y="565"/>
                      <a:pt x="104" y="565"/>
                    </a:cubicBezTo>
                    <a:cubicBezTo>
                      <a:pt x="96" y="570"/>
                      <a:pt x="96" y="570"/>
                      <a:pt x="96" y="570"/>
                    </a:cubicBezTo>
                    <a:cubicBezTo>
                      <a:pt x="105" y="583"/>
                      <a:pt x="105" y="583"/>
                      <a:pt x="105" y="583"/>
                    </a:cubicBezTo>
                    <a:cubicBezTo>
                      <a:pt x="95" y="586"/>
                      <a:pt x="95" y="586"/>
                      <a:pt x="95" y="586"/>
                    </a:cubicBezTo>
                    <a:cubicBezTo>
                      <a:pt x="48" y="642"/>
                      <a:pt x="48" y="642"/>
                      <a:pt x="48" y="642"/>
                    </a:cubicBezTo>
                    <a:cubicBezTo>
                      <a:pt x="48" y="642"/>
                      <a:pt x="55" y="693"/>
                      <a:pt x="57" y="702"/>
                    </a:cubicBezTo>
                    <a:cubicBezTo>
                      <a:pt x="59" y="711"/>
                      <a:pt x="80" y="743"/>
                      <a:pt x="79" y="752"/>
                    </a:cubicBezTo>
                    <a:cubicBezTo>
                      <a:pt x="78" y="761"/>
                      <a:pt x="78" y="809"/>
                      <a:pt x="78" y="809"/>
                    </a:cubicBezTo>
                    <a:cubicBezTo>
                      <a:pt x="60" y="833"/>
                      <a:pt x="60" y="833"/>
                      <a:pt x="60" y="833"/>
                    </a:cubicBezTo>
                    <a:cubicBezTo>
                      <a:pt x="76" y="830"/>
                      <a:pt x="76" y="830"/>
                      <a:pt x="76" y="830"/>
                    </a:cubicBezTo>
                    <a:cubicBezTo>
                      <a:pt x="76" y="830"/>
                      <a:pt x="71" y="847"/>
                      <a:pt x="73" y="854"/>
                    </a:cubicBezTo>
                    <a:cubicBezTo>
                      <a:pt x="76" y="861"/>
                      <a:pt x="83" y="861"/>
                      <a:pt x="83" y="861"/>
                    </a:cubicBezTo>
                    <a:cubicBezTo>
                      <a:pt x="87" y="877"/>
                      <a:pt x="87" y="877"/>
                      <a:pt x="87" y="877"/>
                    </a:cubicBezTo>
                    <a:cubicBezTo>
                      <a:pt x="91" y="876"/>
                      <a:pt x="95" y="875"/>
                      <a:pt x="98" y="877"/>
                    </a:cubicBezTo>
                    <a:cubicBezTo>
                      <a:pt x="102" y="879"/>
                      <a:pt x="107" y="885"/>
                      <a:pt x="111" y="891"/>
                    </a:cubicBezTo>
                    <a:cubicBezTo>
                      <a:pt x="113" y="883"/>
                      <a:pt x="115" y="876"/>
                      <a:pt x="115" y="871"/>
                    </a:cubicBezTo>
                    <a:cubicBezTo>
                      <a:pt x="116" y="856"/>
                      <a:pt x="107" y="845"/>
                      <a:pt x="107" y="845"/>
                    </a:cubicBezTo>
                    <a:cubicBezTo>
                      <a:pt x="107" y="845"/>
                      <a:pt x="88" y="839"/>
                      <a:pt x="109" y="819"/>
                    </a:cubicBezTo>
                    <a:cubicBezTo>
                      <a:pt x="130" y="799"/>
                      <a:pt x="165" y="785"/>
                      <a:pt x="186" y="773"/>
                    </a:cubicBezTo>
                    <a:cubicBezTo>
                      <a:pt x="207" y="761"/>
                      <a:pt x="242" y="744"/>
                      <a:pt x="242" y="735"/>
                    </a:cubicBezTo>
                    <a:cubicBezTo>
                      <a:pt x="242" y="726"/>
                      <a:pt x="242" y="718"/>
                      <a:pt x="242" y="718"/>
                    </a:cubicBezTo>
                    <a:cubicBezTo>
                      <a:pt x="242" y="718"/>
                      <a:pt x="231" y="727"/>
                      <a:pt x="230" y="713"/>
                    </a:cubicBezTo>
                    <a:cubicBezTo>
                      <a:pt x="229" y="699"/>
                      <a:pt x="249" y="684"/>
                      <a:pt x="247" y="674"/>
                    </a:cubicBezTo>
                    <a:cubicBezTo>
                      <a:pt x="245" y="664"/>
                      <a:pt x="241" y="650"/>
                      <a:pt x="241" y="650"/>
                    </a:cubicBezTo>
                    <a:cubicBezTo>
                      <a:pt x="248" y="631"/>
                      <a:pt x="248" y="631"/>
                      <a:pt x="248" y="631"/>
                    </a:cubicBezTo>
                    <a:cubicBezTo>
                      <a:pt x="246" y="626"/>
                      <a:pt x="246" y="626"/>
                      <a:pt x="246" y="626"/>
                    </a:cubicBezTo>
                    <a:cubicBezTo>
                      <a:pt x="235" y="639"/>
                      <a:pt x="235" y="639"/>
                      <a:pt x="235" y="639"/>
                    </a:cubicBezTo>
                    <a:cubicBezTo>
                      <a:pt x="238" y="612"/>
                      <a:pt x="238" y="612"/>
                      <a:pt x="238" y="612"/>
                    </a:cubicBezTo>
                    <a:cubicBezTo>
                      <a:pt x="238" y="612"/>
                      <a:pt x="223" y="597"/>
                      <a:pt x="222" y="587"/>
                    </a:cubicBezTo>
                    <a:cubicBezTo>
                      <a:pt x="221" y="577"/>
                      <a:pt x="230" y="567"/>
                      <a:pt x="225" y="555"/>
                    </a:cubicBezTo>
                    <a:cubicBezTo>
                      <a:pt x="220" y="543"/>
                      <a:pt x="208" y="554"/>
                      <a:pt x="208" y="541"/>
                    </a:cubicBezTo>
                    <a:cubicBezTo>
                      <a:pt x="208" y="528"/>
                      <a:pt x="219" y="507"/>
                      <a:pt x="222" y="503"/>
                    </a:cubicBezTo>
                    <a:cubicBezTo>
                      <a:pt x="225" y="499"/>
                      <a:pt x="249" y="493"/>
                      <a:pt x="252" y="484"/>
                    </a:cubicBezTo>
                    <a:cubicBezTo>
                      <a:pt x="255" y="475"/>
                      <a:pt x="260" y="460"/>
                      <a:pt x="267" y="455"/>
                    </a:cubicBezTo>
                    <a:cubicBezTo>
                      <a:pt x="274" y="450"/>
                      <a:pt x="279" y="455"/>
                      <a:pt x="287" y="449"/>
                    </a:cubicBezTo>
                    <a:cubicBezTo>
                      <a:pt x="295" y="443"/>
                      <a:pt x="310" y="435"/>
                      <a:pt x="312" y="419"/>
                    </a:cubicBezTo>
                    <a:cubicBezTo>
                      <a:pt x="314" y="403"/>
                      <a:pt x="331" y="385"/>
                      <a:pt x="348" y="377"/>
                    </a:cubicBezTo>
                    <a:cubicBezTo>
                      <a:pt x="365" y="369"/>
                      <a:pt x="409" y="355"/>
                      <a:pt x="417" y="348"/>
                    </a:cubicBezTo>
                    <a:cubicBezTo>
                      <a:pt x="425" y="341"/>
                      <a:pt x="458" y="324"/>
                      <a:pt x="458" y="324"/>
                    </a:cubicBezTo>
                    <a:cubicBezTo>
                      <a:pt x="458" y="314"/>
                      <a:pt x="458" y="314"/>
                      <a:pt x="458" y="314"/>
                    </a:cubicBezTo>
                    <a:cubicBezTo>
                      <a:pt x="458" y="314"/>
                      <a:pt x="476" y="295"/>
                      <a:pt x="476" y="290"/>
                    </a:cubicBezTo>
                    <a:cubicBezTo>
                      <a:pt x="476" y="285"/>
                      <a:pt x="498" y="263"/>
                      <a:pt x="498" y="263"/>
                    </a:cubicBezTo>
                    <a:cubicBezTo>
                      <a:pt x="496" y="254"/>
                      <a:pt x="496" y="254"/>
                      <a:pt x="496" y="254"/>
                    </a:cubicBezTo>
                    <a:cubicBezTo>
                      <a:pt x="496" y="254"/>
                      <a:pt x="508" y="237"/>
                      <a:pt x="508" y="22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4" name="MCShape 164">
                <a:extLst>
                  <a:ext uri="{FF2B5EF4-FFF2-40B4-BE49-F238E27FC236}">
                    <a16:creationId xmlns:a16="http://schemas.microsoft.com/office/drawing/2014/main" id="{48720503-2C9E-4D6C-B611-FAFB77CFE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4753" y="4514754"/>
                <a:ext cx="97445" cy="245932"/>
              </a:xfrm>
              <a:custGeom>
                <a:avLst/>
                <a:gdLst>
                  <a:gd name="T0" fmla="*/ 156 w 162"/>
                  <a:gd name="T1" fmla="*/ 287 h 416"/>
                  <a:gd name="T2" fmla="*/ 136 w 162"/>
                  <a:gd name="T3" fmla="*/ 260 h 416"/>
                  <a:gd name="T4" fmla="*/ 110 w 162"/>
                  <a:gd name="T5" fmla="*/ 222 h 416"/>
                  <a:gd name="T6" fmla="*/ 101 w 162"/>
                  <a:gd name="T7" fmla="*/ 220 h 416"/>
                  <a:gd name="T8" fmla="*/ 105 w 162"/>
                  <a:gd name="T9" fmla="*/ 229 h 416"/>
                  <a:gd name="T10" fmla="*/ 114 w 162"/>
                  <a:gd name="T11" fmla="*/ 237 h 416"/>
                  <a:gd name="T12" fmla="*/ 113 w 162"/>
                  <a:gd name="T13" fmla="*/ 264 h 416"/>
                  <a:gd name="T14" fmla="*/ 105 w 162"/>
                  <a:gd name="T15" fmla="*/ 253 h 416"/>
                  <a:gd name="T16" fmla="*/ 90 w 162"/>
                  <a:gd name="T17" fmla="*/ 257 h 416"/>
                  <a:gd name="T18" fmla="*/ 86 w 162"/>
                  <a:gd name="T19" fmla="*/ 234 h 416"/>
                  <a:gd name="T20" fmla="*/ 81 w 162"/>
                  <a:gd name="T21" fmla="*/ 220 h 416"/>
                  <a:gd name="T22" fmla="*/ 81 w 162"/>
                  <a:gd name="T23" fmla="*/ 195 h 416"/>
                  <a:gd name="T24" fmla="*/ 64 w 162"/>
                  <a:gd name="T25" fmla="*/ 171 h 416"/>
                  <a:gd name="T26" fmla="*/ 59 w 162"/>
                  <a:gd name="T27" fmla="*/ 154 h 416"/>
                  <a:gd name="T28" fmla="*/ 77 w 162"/>
                  <a:gd name="T29" fmla="*/ 126 h 416"/>
                  <a:gd name="T30" fmla="*/ 84 w 162"/>
                  <a:gd name="T31" fmla="*/ 108 h 416"/>
                  <a:gd name="T32" fmla="*/ 81 w 162"/>
                  <a:gd name="T33" fmla="*/ 90 h 416"/>
                  <a:gd name="T34" fmla="*/ 78 w 162"/>
                  <a:gd name="T35" fmla="*/ 51 h 416"/>
                  <a:gd name="T36" fmla="*/ 64 w 162"/>
                  <a:gd name="T37" fmla="*/ 37 h 416"/>
                  <a:gd name="T38" fmla="*/ 60 w 162"/>
                  <a:gd name="T39" fmla="*/ 10 h 416"/>
                  <a:gd name="T40" fmla="*/ 41 w 162"/>
                  <a:gd name="T41" fmla="*/ 10 h 416"/>
                  <a:gd name="T42" fmla="*/ 35 w 162"/>
                  <a:gd name="T43" fmla="*/ 0 h 416"/>
                  <a:gd name="T44" fmla="*/ 20 w 162"/>
                  <a:gd name="T45" fmla="*/ 1 h 416"/>
                  <a:gd name="T46" fmla="*/ 20 w 162"/>
                  <a:gd name="T47" fmla="*/ 9 h 416"/>
                  <a:gd name="T48" fmla="*/ 35 w 162"/>
                  <a:gd name="T49" fmla="*/ 16 h 416"/>
                  <a:gd name="T50" fmla="*/ 37 w 162"/>
                  <a:gd name="T51" fmla="*/ 42 h 416"/>
                  <a:gd name="T52" fmla="*/ 46 w 162"/>
                  <a:gd name="T53" fmla="*/ 41 h 416"/>
                  <a:gd name="T54" fmla="*/ 46 w 162"/>
                  <a:gd name="T55" fmla="*/ 54 h 416"/>
                  <a:gd name="T56" fmla="*/ 52 w 162"/>
                  <a:gd name="T57" fmla="*/ 64 h 416"/>
                  <a:gd name="T58" fmla="*/ 30 w 162"/>
                  <a:gd name="T59" fmla="*/ 75 h 416"/>
                  <a:gd name="T60" fmla="*/ 30 w 162"/>
                  <a:gd name="T61" fmla="*/ 86 h 416"/>
                  <a:gd name="T62" fmla="*/ 37 w 162"/>
                  <a:gd name="T63" fmla="*/ 92 h 416"/>
                  <a:gd name="T64" fmla="*/ 33 w 162"/>
                  <a:gd name="T65" fmla="*/ 105 h 416"/>
                  <a:gd name="T66" fmla="*/ 34 w 162"/>
                  <a:gd name="T67" fmla="*/ 153 h 416"/>
                  <a:gd name="T68" fmla="*/ 42 w 162"/>
                  <a:gd name="T69" fmla="*/ 157 h 416"/>
                  <a:gd name="T70" fmla="*/ 14 w 162"/>
                  <a:gd name="T71" fmla="*/ 175 h 416"/>
                  <a:gd name="T72" fmla="*/ 16 w 162"/>
                  <a:gd name="T73" fmla="*/ 200 h 416"/>
                  <a:gd name="T74" fmla="*/ 1 w 162"/>
                  <a:gd name="T75" fmla="*/ 226 h 416"/>
                  <a:gd name="T76" fmla="*/ 23 w 162"/>
                  <a:gd name="T77" fmla="*/ 245 h 416"/>
                  <a:gd name="T78" fmla="*/ 44 w 162"/>
                  <a:gd name="T79" fmla="*/ 277 h 416"/>
                  <a:gd name="T80" fmla="*/ 64 w 162"/>
                  <a:gd name="T81" fmla="*/ 274 h 416"/>
                  <a:gd name="T82" fmla="*/ 80 w 162"/>
                  <a:gd name="T83" fmla="*/ 270 h 416"/>
                  <a:gd name="T84" fmla="*/ 83 w 162"/>
                  <a:gd name="T85" fmla="*/ 290 h 416"/>
                  <a:gd name="T86" fmla="*/ 88 w 162"/>
                  <a:gd name="T87" fmla="*/ 298 h 416"/>
                  <a:gd name="T88" fmla="*/ 85 w 162"/>
                  <a:gd name="T89" fmla="*/ 319 h 416"/>
                  <a:gd name="T90" fmla="*/ 75 w 162"/>
                  <a:gd name="T91" fmla="*/ 322 h 416"/>
                  <a:gd name="T92" fmla="*/ 83 w 162"/>
                  <a:gd name="T93" fmla="*/ 335 h 416"/>
                  <a:gd name="T94" fmla="*/ 70 w 162"/>
                  <a:gd name="T95" fmla="*/ 350 h 416"/>
                  <a:gd name="T96" fmla="*/ 77 w 162"/>
                  <a:gd name="T97" fmla="*/ 353 h 416"/>
                  <a:gd name="T98" fmla="*/ 77 w 162"/>
                  <a:gd name="T99" fmla="*/ 370 h 416"/>
                  <a:gd name="T100" fmla="*/ 109 w 162"/>
                  <a:gd name="T101" fmla="*/ 396 h 416"/>
                  <a:gd name="T102" fmla="*/ 107 w 162"/>
                  <a:gd name="T103" fmla="*/ 414 h 416"/>
                  <a:gd name="T104" fmla="*/ 121 w 162"/>
                  <a:gd name="T105" fmla="*/ 389 h 416"/>
                  <a:gd name="T106" fmla="*/ 113 w 162"/>
                  <a:gd name="T107" fmla="*/ 373 h 416"/>
                  <a:gd name="T108" fmla="*/ 143 w 162"/>
                  <a:gd name="T109" fmla="*/ 356 h 416"/>
                  <a:gd name="T110" fmla="*/ 145 w 162"/>
                  <a:gd name="T111" fmla="*/ 314 h 416"/>
                  <a:gd name="T112" fmla="*/ 156 w 162"/>
                  <a:gd name="T113" fmla="*/ 287 h 41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62"/>
                  <a:gd name="T172" fmla="*/ 0 h 416"/>
                  <a:gd name="T173" fmla="*/ 162 w 162"/>
                  <a:gd name="T174" fmla="*/ 416 h 41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62" h="416">
                    <a:moveTo>
                      <a:pt x="156" y="287"/>
                    </a:moveTo>
                    <a:cubicBezTo>
                      <a:pt x="150" y="278"/>
                      <a:pt x="140" y="268"/>
                      <a:pt x="136" y="260"/>
                    </a:cubicBezTo>
                    <a:cubicBezTo>
                      <a:pt x="132" y="252"/>
                      <a:pt x="114" y="225"/>
                      <a:pt x="110" y="222"/>
                    </a:cubicBezTo>
                    <a:cubicBezTo>
                      <a:pt x="108" y="221"/>
                      <a:pt x="104" y="221"/>
                      <a:pt x="101" y="220"/>
                    </a:cubicBezTo>
                    <a:cubicBezTo>
                      <a:pt x="101" y="225"/>
                      <a:pt x="103" y="228"/>
                      <a:pt x="105" y="229"/>
                    </a:cubicBezTo>
                    <a:cubicBezTo>
                      <a:pt x="110" y="231"/>
                      <a:pt x="114" y="237"/>
                      <a:pt x="114" y="237"/>
                    </a:cubicBezTo>
                    <a:cubicBezTo>
                      <a:pt x="114" y="237"/>
                      <a:pt x="119" y="262"/>
                      <a:pt x="113" y="264"/>
                    </a:cubicBezTo>
                    <a:cubicBezTo>
                      <a:pt x="107" y="266"/>
                      <a:pt x="105" y="253"/>
                      <a:pt x="105" y="253"/>
                    </a:cubicBezTo>
                    <a:cubicBezTo>
                      <a:pt x="105" y="253"/>
                      <a:pt x="93" y="259"/>
                      <a:pt x="90" y="257"/>
                    </a:cubicBezTo>
                    <a:cubicBezTo>
                      <a:pt x="87" y="255"/>
                      <a:pt x="87" y="241"/>
                      <a:pt x="86" y="234"/>
                    </a:cubicBezTo>
                    <a:cubicBezTo>
                      <a:pt x="85" y="227"/>
                      <a:pt x="83" y="224"/>
                      <a:pt x="81" y="220"/>
                    </a:cubicBezTo>
                    <a:cubicBezTo>
                      <a:pt x="79" y="216"/>
                      <a:pt x="81" y="203"/>
                      <a:pt x="81" y="195"/>
                    </a:cubicBezTo>
                    <a:cubicBezTo>
                      <a:pt x="81" y="187"/>
                      <a:pt x="76" y="181"/>
                      <a:pt x="64" y="171"/>
                    </a:cubicBezTo>
                    <a:cubicBezTo>
                      <a:pt x="52" y="161"/>
                      <a:pt x="61" y="163"/>
                      <a:pt x="59" y="154"/>
                    </a:cubicBezTo>
                    <a:cubicBezTo>
                      <a:pt x="57" y="145"/>
                      <a:pt x="67" y="137"/>
                      <a:pt x="77" y="126"/>
                    </a:cubicBezTo>
                    <a:cubicBezTo>
                      <a:pt x="87" y="115"/>
                      <a:pt x="83" y="113"/>
                      <a:pt x="84" y="108"/>
                    </a:cubicBezTo>
                    <a:cubicBezTo>
                      <a:pt x="85" y="103"/>
                      <a:pt x="81" y="98"/>
                      <a:pt x="81" y="90"/>
                    </a:cubicBezTo>
                    <a:cubicBezTo>
                      <a:pt x="81" y="82"/>
                      <a:pt x="79" y="67"/>
                      <a:pt x="78" y="51"/>
                    </a:cubicBezTo>
                    <a:cubicBezTo>
                      <a:pt x="77" y="35"/>
                      <a:pt x="75" y="44"/>
                      <a:pt x="64" y="37"/>
                    </a:cubicBezTo>
                    <a:cubicBezTo>
                      <a:pt x="53" y="30"/>
                      <a:pt x="61" y="21"/>
                      <a:pt x="60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20" y="9"/>
                      <a:pt x="34" y="9"/>
                      <a:pt x="35" y="16"/>
                    </a:cubicBezTo>
                    <a:cubicBezTo>
                      <a:pt x="36" y="23"/>
                      <a:pt x="34" y="42"/>
                      <a:pt x="37" y="42"/>
                    </a:cubicBezTo>
                    <a:cubicBezTo>
                      <a:pt x="40" y="42"/>
                      <a:pt x="46" y="41"/>
                      <a:pt x="46" y="41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46" y="54"/>
                      <a:pt x="58" y="57"/>
                      <a:pt x="52" y="64"/>
                    </a:cubicBezTo>
                    <a:cubicBezTo>
                      <a:pt x="46" y="71"/>
                      <a:pt x="30" y="75"/>
                      <a:pt x="30" y="75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3" y="105"/>
                      <a:pt x="33" y="105"/>
                      <a:pt x="33" y="105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3"/>
                      <a:pt x="45" y="150"/>
                      <a:pt x="42" y="157"/>
                    </a:cubicBezTo>
                    <a:cubicBezTo>
                      <a:pt x="39" y="164"/>
                      <a:pt x="14" y="175"/>
                      <a:pt x="14" y="175"/>
                    </a:cubicBezTo>
                    <a:cubicBezTo>
                      <a:pt x="16" y="200"/>
                      <a:pt x="16" y="200"/>
                      <a:pt x="16" y="200"/>
                    </a:cubicBezTo>
                    <a:cubicBezTo>
                      <a:pt x="16" y="200"/>
                      <a:pt x="0" y="223"/>
                      <a:pt x="1" y="226"/>
                    </a:cubicBezTo>
                    <a:cubicBezTo>
                      <a:pt x="2" y="229"/>
                      <a:pt x="23" y="245"/>
                      <a:pt x="23" y="245"/>
                    </a:cubicBezTo>
                    <a:cubicBezTo>
                      <a:pt x="44" y="277"/>
                      <a:pt x="44" y="277"/>
                      <a:pt x="44" y="277"/>
                    </a:cubicBezTo>
                    <a:cubicBezTo>
                      <a:pt x="64" y="274"/>
                      <a:pt x="64" y="274"/>
                      <a:pt x="64" y="274"/>
                    </a:cubicBezTo>
                    <a:cubicBezTo>
                      <a:pt x="64" y="274"/>
                      <a:pt x="74" y="267"/>
                      <a:pt x="80" y="270"/>
                    </a:cubicBezTo>
                    <a:cubicBezTo>
                      <a:pt x="80" y="270"/>
                      <a:pt x="84" y="281"/>
                      <a:pt x="83" y="290"/>
                    </a:cubicBezTo>
                    <a:cubicBezTo>
                      <a:pt x="82" y="299"/>
                      <a:pt x="88" y="298"/>
                      <a:pt x="88" y="298"/>
                    </a:cubicBezTo>
                    <a:cubicBezTo>
                      <a:pt x="85" y="319"/>
                      <a:pt x="85" y="319"/>
                      <a:pt x="85" y="319"/>
                    </a:cubicBezTo>
                    <a:cubicBezTo>
                      <a:pt x="75" y="322"/>
                      <a:pt x="75" y="322"/>
                      <a:pt x="75" y="322"/>
                    </a:cubicBezTo>
                    <a:cubicBezTo>
                      <a:pt x="83" y="335"/>
                      <a:pt x="83" y="335"/>
                      <a:pt x="83" y="335"/>
                    </a:cubicBezTo>
                    <a:cubicBezTo>
                      <a:pt x="83" y="335"/>
                      <a:pt x="68" y="347"/>
                      <a:pt x="70" y="350"/>
                    </a:cubicBezTo>
                    <a:cubicBezTo>
                      <a:pt x="72" y="353"/>
                      <a:pt x="77" y="353"/>
                      <a:pt x="77" y="353"/>
                    </a:cubicBezTo>
                    <a:cubicBezTo>
                      <a:pt x="77" y="370"/>
                      <a:pt x="77" y="370"/>
                      <a:pt x="77" y="370"/>
                    </a:cubicBezTo>
                    <a:cubicBezTo>
                      <a:pt x="77" y="370"/>
                      <a:pt x="108" y="390"/>
                      <a:pt x="109" y="396"/>
                    </a:cubicBezTo>
                    <a:cubicBezTo>
                      <a:pt x="110" y="402"/>
                      <a:pt x="96" y="412"/>
                      <a:pt x="107" y="414"/>
                    </a:cubicBezTo>
                    <a:cubicBezTo>
                      <a:pt x="118" y="416"/>
                      <a:pt x="125" y="399"/>
                      <a:pt x="121" y="389"/>
                    </a:cubicBezTo>
                    <a:cubicBezTo>
                      <a:pt x="117" y="379"/>
                      <a:pt x="107" y="391"/>
                      <a:pt x="113" y="373"/>
                    </a:cubicBezTo>
                    <a:cubicBezTo>
                      <a:pt x="119" y="355"/>
                      <a:pt x="137" y="363"/>
                      <a:pt x="143" y="356"/>
                    </a:cubicBezTo>
                    <a:cubicBezTo>
                      <a:pt x="149" y="349"/>
                      <a:pt x="145" y="314"/>
                      <a:pt x="145" y="314"/>
                    </a:cubicBezTo>
                    <a:cubicBezTo>
                      <a:pt x="145" y="314"/>
                      <a:pt x="162" y="296"/>
                      <a:pt x="156" y="28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5" name="MCShape 165">
                <a:extLst>
                  <a:ext uri="{FF2B5EF4-FFF2-40B4-BE49-F238E27FC236}">
                    <a16:creationId xmlns:a16="http://schemas.microsoft.com/office/drawing/2014/main" id="{80F6A8BD-E3BD-430B-B384-3EDC86719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779" y="4474539"/>
                <a:ext cx="331002" cy="315534"/>
              </a:xfrm>
              <a:custGeom>
                <a:avLst/>
                <a:gdLst>
                  <a:gd name="T0" fmla="*/ 551 w 563"/>
                  <a:gd name="T1" fmla="*/ 109 h 536"/>
                  <a:gd name="T2" fmla="*/ 540 w 563"/>
                  <a:gd name="T3" fmla="*/ 84 h 536"/>
                  <a:gd name="T4" fmla="*/ 525 w 563"/>
                  <a:gd name="T5" fmla="*/ 69 h 536"/>
                  <a:gd name="T6" fmla="*/ 502 w 563"/>
                  <a:gd name="T7" fmla="*/ 60 h 536"/>
                  <a:gd name="T8" fmla="*/ 485 w 563"/>
                  <a:gd name="T9" fmla="*/ 51 h 536"/>
                  <a:gd name="T10" fmla="*/ 461 w 563"/>
                  <a:gd name="T11" fmla="*/ 38 h 536"/>
                  <a:gd name="T12" fmla="*/ 436 w 563"/>
                  <a:gd name="T13" fmla="*/ 26 h 536"/>
                  <a:gd name="T14" fmla="*/ 419 w 563"/>
                  <a:gd name="T15" fmla="*/ 25 h 536"/>
                  <a:gd name="T16" fmla="*/ 402 w 563"/>
                  <a:gd name="T17" fmla="*/ 0 h 536"/>
                  <a:gd name="T18" fmla="*/ 333 w 563"/>
                  <a:gd name="T19" fmla="*/ 15 h 536"/>
                  <a:gd name="T20" fmla="*/ 306 w 563"/>
                  <a:gd name="T21" fmla="*/ 57 h 536"/>
                  <a:gd name="T22" fmla="*/ 320 w 563"/>
                  <a:gd name="T23" fmla="*/ 87 h 536"/>
                  <a:gd name="T24" fmla="*/ 304 w 563"/>
                  <a:gd name="T25" fmla="*/ 189 h 536"/>
                  <a:gd name="T26" fmla="*/ 351 w 563"/>
                  <a:gd name="T27" fmla="*/ 230 h 536"/>
                  <a:gd name="T28" fmla="*/ 364 w 563"/>
                  <a:gd name="T29" fmla="*/ 214 h 536"/>
                  <a:gd name="T30" fmla="*/ 367 w 563"/>
                  <a:gd name="T31" fmla="*/ 282 h 536"/>
                  <a:gd name="T32" fmla="*/ 344 w 563"/>
                  <a:gd name="T33" fmla="*/ 281 h 536"/>
                  <a:gd name="T34" fmla="*/ 324 w 563"/>
                  <a:gd name="T35" fmla="*/ 251 h 536"/>
                  <a:gd name="T36" fmla="*/ 305 w 563"/>
                  <a:gd name="T37" fmla="*/ 228 h 536"/>
                  <a:gd name="T38" fmla="*/ 282 w 563"/>
                  <a:gd name="T39" fmla="*/ 216 h 536"/>
                  <a:gd name="T40" fmla="*/ 267 w 563"/>
                  <a:gd name="T41" fmla="*/ 203 h 536"/>
                  <a:gd name="T42" fmla="*/ 246 w 563"/>
                  <a:gd name="T43" fmla="*/ 179 h 536"/>
                  <a:gd name="T44" fmla="*/ 165 w 563"/>
                  <a:gd name="T45" fmla="*/ 188 h 536"/>
                  <a:gd name="T46" fmla="*/ 128 w 563"/>
                  <a:gd name="T47" fmla="*/ 168 h 536"/>
                  <a:gd name="T48" fmla="*/ 117 w 563"/>
                  <a:gd name="T49" fmla="*/ 151 h 536"/>
                  <a:gd name="T50" fmla="*/ 101 w 563"/>
                  <a:gd name="T51" fmla="*/ 144 h 536"/>
                  <a:gd name="T52" fmla="*/ 107 w 563"/>
                  <a:gd name="T53" fmla="*/ 178 h 536"/>
                  <a:gd name="T54" fmla="*/ 98 w 563"/>
                  <a:gd name="T55" fmla="*/ 218 h 536"/>
                  <a:gd name="T56" fmla="*/ 93 w 563"/>
                  <a:gd name="T57" fmla="*/ 232 h 536"/>
                  <a:gd name="T58" fmla="*/ 84 w 563"/>
                  <a:gd name="T59" fmla="*/ 262 h 536"/>
                  <a:gd name="T60" fmla="*/ 0 w 563"/>
                  <a:gd name="T61" fmla="*/ 427 h 536"/>
                  <a:gd name="T62" fmla="*/ 6 w 563"/>
                  <a:gd name="T63" fmla="*/ 449 h 536"/>
                  <a:gd name="T64" fmla="*/ 79 w 563"/>
                  <a:gd name="T65" fmla="*/ 511 h 536"/>
                  <a:gd name="T66" fmla="*/ 108 w 563"/>
                  <a:gd name="T67" fmla="*/ 498 h 536"/>
                  <a:gd name="T68" fmla="*/ 138 w 563"/>
                  <a:gd name="T69" fmla="*/ 504 h 536"/>
                  <a:gd name="T70" fmla="*/ 177 w 563"/>
                  <a:gd name="T71" fmla="*/ 517 h 536"/>
                  <a:gd name="T72" fmla="*/ 202 w 563"/>
                  <a:gd name="T73" fmla="*/ 521 h 536"/>
                  <a:gd name="T74" fmla="*/ 267 w 563"/>
                  <a:gd name="T75" fmla="*/ 491 h 536"/>
                  <a:gd name="T76" fmla="*/ 323 w 563"/>
                  <a:gd name="T77" fmla="*/ 449 h 536"/>
                  <a:gd name="T78" fmla="*/ 356 w 563"/>
                  <a:gd name="T79" fmla="*/ 405 h 536"/>
                  <a:gd name="T80" fmla="*/ 395 w 563"/>
                  <a:gd name="T81" fmla="*/ 385 h 536"/>
                  <a:gd name="T82" fmla="*/ 411 w 563"/>
                  <a:gd name="T83" fmla="*/ 362 h 536"/>
                  <a:gd name="T84" fmla="*/ 475 w 563"/>
                  <a:gd name="T85" fmla="*/ 338 h 536"/>
                  <a:gd name="T86" fmla="*/ 506 w 563"/>
                  <a:gd name="T87" fmla="*/ 294 h 536"/>
                  <a:gd name="T88" fmla="*/ 519 w 563"/>
                  <a:gd name="T89" fmla="*/ 243 h 536"/>
                  <a:gd name="T90" fmla="*/ 539 w 563"/>
                  <a:gd name="T91" fmla="*/ 221 h 536"/>
                  <a:gd name="T92" fmla="*/ 542 w 563"/>
                  <a:gd name="T93" fmla="*/ 160 h 536"/>
                  <a:gd name="T94" fmla="*/ 535 w 563"/>
                  <a:gd name="T95" fmla="*/ 143 h 536"/>
                  <a:gd name="T96" fmla="*/ 551 w 563"/>
                  <a:gd name="T97" fmla="*/ 122 h 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3"/>
                  <a:gd name="T148" fmla="*/ 0 h 536"/>
                  <a:gd name="T149" fmla="*/ 563 w 563"/>
                  <a:gd name="T150" fmla="*/ 536 h 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3" h="536">
                    <a:moveTo>
                      <a:pt x="551" y="122"/>
                    </a:moveTo>
                    <a:cubicBezTo>
                      <a:pt x="551" y="109"/>
                      <a:pt x="551" y="109"/>
                      <a:pt x="551" y="109"/>
                    </a:cubicBezTo>
                    <a:cubicBezTo>
                      <a:pt x="551" y="109"/>
                      <a:pt x="545" y="110"/>
                      <a:pt x="542" y="110"/>
                    </a:cubicBezTo>
                    <a:cubicBezTo>
                      <a:pt x="539" y="110"/>
                      <a:pt x="541" y="91"/>
                      <a:pt x="540" y="84"/>
                    </a:cubicBezTo>
                    <a:cubicBezTo>
                      <a:pt x="539" y="77"/>
                      <a:pt x="525" y="77"/>
                      <a:pt x="525" y="77"/>
                    </a:cubicBezTo>
                    <a:cubicBezTo>
                      <a:pt x="525" y="69"/>
                      <a:pt x="525" y="69"/>
                      <a:pt x="525" y="69"/>
                    </a:cubicBezTo>
                    <a:cubicBezTo>
                      <a:pt x="514" y="59"/>
                      <a:pt x="514" y="59"/>
                      <a:pt x="514" y="59"/>
                    </a:cubicBezTo>
                    <a:cubicBezTo>
                      <a:pt x="502" y="60"/>
                      <a:pt x="502" y="60"/>
                      <a:pt x="502" y="60"/>
                    </a:cubicBezTo>
                    <a:cubicBezTo>
                      <a:pt x="500" y="49"/>
                      <a:pt x="500" y="49"/>
                      <a:pt x="500" y="49"/>
                    </a:cubicBezTo>
                    <a:cubicBezTo>
                      <a:pt x="500" y="49"/>
                      <a:pt x="490" y="55"/>
                      <a:pt x="485" y="51"/>
                    </a:cubicBezTo>
                    <a:cubicBezTo>
                      <a:pt x="480" y="47"/>
                      <a:pt x="473" y="38"/>
                      <a:pt x="473" y="38"/>
                    </a:cubicBezTo>
                    <a:cubicBezTo>
                      <a:pt x="473" y="38"/>
                      <a:pt x="464" y="41"/>
                      <a:pt x="461" y="38"/>
                    </a:cubicBezTo>
                    <a:cubicBezTo>
                      <a:pt x="458" y="35"/>
                      <a:pt x="456" y="23"/>
                      <a:pt x="456" y="23"/>
                    </a:cubicBezTo>
                    <a:cubicBezTo>
                      <a:pt x="456" y="23"/>
                      <a:pt x="444" y="27"/>
                      <a:pt x="436" y="26"/>
                    </a:cubicBezTo>
                    <a:cubicBezTo>
                      <a:pt x="434" y="31"/>
                      <a:pt x="431" y="36"/>
                      <a:pt x="428" y="38"/>
                    </a:cubicBezTo>
                    <a:cubicBezTo>
                      <a:pt x="420" y="42"/>
                      <a:pt x="419" y="25"/>
                      <a:pt x="419" y="25"/>
                    </a:cubicBezTo>
                    <a:cubicBezTo>
                      <a:pt x="419" y="25"/>
                      <a:pt x="411" y="20"/>
                      <a:pt x="400" y="16"/>
                    </a:cubicBezTo>
                    <a:cubicBezTo>
                      <a:pt x="393" y="13"/>
                      <a:pt x="398" y="6"/>
                      <a:pt x="402" y="0"/>
                    </a:cubicBezTo>
                    <a:cubicBezTo>
                      <a:pt x="394" y="4"/>
                      <a:pt x="387" y="6"/>
                      <a:pt x="383" y="7"/>
                    </a:cubicBezTo>
                    <a:cubicBezTo>
                      <a:pt x="370" y="10"/>
                      <a:pt x="333" y="15"/>
                      <a:pt x="333" y="15"/>
                    </a:cubicBezTo>
                    <a:cubicBezTo>
                      <a:pt x="333" y="15"/>
                      <a:pt x="333" y="28"/>
                      <a:pt x="333" y="35"/>
                    </a:cubicBezTo>
                    <a:cubicBezTo>
                      <a:pt x="333" y="42"/>
                      <a:pt x="306" y="57"/>
                      <a:pt x="306" y="57"/>
                    </a:cubicBezTo>
                    <a:cubicBezTo>
                      <a:pt x="306" y="57"/>
                      <a:pt x="312" y="64"/>
                      <a:pt x="315" y="66"/>
                    </a:cubicBezTo>
                    <a:cubicBezTo>
                      <a:pt x="318" y="68"/>
                      <a:pt x="320" y="87"/>
                      <a:pt x="320" y="87"/>
                    </a:cubicBezTo>
                    <a:cubicBezTo>
                      <a:pt x="320" y="87"/>
                      <a:pt x="324" y="121"/>
                      <a:pt x="324" y="135"/>
                    </a:cubicBezTo>
                    <a:cubicBezTo>
                      <a:pt x="324" y="149"/>
                      <a:pt x="302" y="171"/>
                      <a:pt x="304" y="189"/>
                    </a:cubicBezTo>
                    <a:cubicBezTo>
                      <a:pt x="306" y="207"/>
                      <a:pt x="317" y="202"/>
                      <a:pt x="323" y="209"/>
                    </a:cubicBezTo>
                    <a:cubicBezTo>
                      <a:pt x="329" y="216"/>
                      <a:pt x="341" y="230"/>
                      <a:pt x="351" y="230"/>
                    </a:cubicBezTo>
                    <a:cubicBezTo>
                      <a:pt x="361" y="230"/>
                      <a:pt x="358" y="217"/>
                      <a:pt x="358" y="217"/>
                    </a:cubicBezTo>
                    <a:cubicBezTo>
                      <a:pt x="364" y="214"/>
                      <a:pt x="364" y="214"/>
                      <a:pt x="364" y="214"/>
                    </a:cubicBezTo>
                    <a:cubicBezTo>
                      <a:pt x="372" y="214"/>
                      <a:pt x="372" y="214"/>
                      <a:pt x="372" y="214"/>
                    </a:cubicBezTo>
                    <a:cubicBezTo>
                      <a:pt x="372" y="214"/>
                      <a:pt x="373" y="279"/>
                      <a:pt x="367" y="282"/>
                    </a:cubicBezTo>
                    <a:cubicBezTo>
                      <a:pt x="361" y="285"/>
                      <a:pt x="359" y="271"/>
                      <a:pt x="359" y="271"/>
                    </a:cubicBezTo>
                    <a:cubicBezTo>
                      <a:pt x="344" y="281"/>
                      <a:pt x="344" y="281"/>
                      <a:pt x="344" y="281"/>
                    </a:cubicBezTo>
                    <a:cubicBezTo>
                      <a:pt x="332" y="281"/>
                      <a:pt x="332" y="281"/>
                      <a:pt x="332" y="281"/>
                    </a:cubicBezTo>
                    <a:cubicBezTo>
                      <a:pt x="332" y="281"/>
                      <a:pt x="329" y="258"/>
                      <a:pt x="324" y="251"/>
                    </a:cubicBezTo>
                    <a:cubicBezTo>
                      <a:pt x="319" y="244"/>
                      <a:pt x="313" y="247"/>
                      <a:pt x="313" y="247"/>
                    </a:cubicBezTo>
                    <a:cubicBezTo>
                      <a:pt x="313" y="247"/>
                      <a:pt x="311" y="236"/>
                      <a:pt x="305" y="228"/>
                    </a:cubicBezTo>
                    <a:cubicBezTo>
                      <a:pt x="299" y="220"/>
                      <a:pt x="294" y="228"/>
                      <a:pt x="290" y="228"/>
                    </a:cubicBezTo>
                    <a:cubicBezTo>
                      <a:pt x="286" y="228"/>
                      <a:pt x="287" y="220"/>
                      <a:pt x="282" y="216"/>
                    </a:cubicBezTo>
                    <a:cubicBezTo>
                      <a:pt x="277" y="212"/>
                      <a:pt x="275" y="218"/>
                      <a:pt x="267" y="217"/>
                    </a:cubicBezTo>
                    <a:cubicBezTo>
                      <a:pt x="259" y="216"/>
                      <a:pt x="267" y="207"/>
                      <a:pt x="267" y="203"/>
                    </a:cubicBezTo>
                    <a:cubicBezTo>
                      <a:pt x="267" y="199"/>
                      <a:pt x="257" y="199"/>
                      <a:pt x="253" y="194"/>
                    </a:cubicBezTo>
                    <a:cubicBezTo>
                      <a:pt x="249" y="189"/>
                      <a:pt x="258" y="184"/>
                      <a:pt x="246" y="179"/>
                    </a:cubicBezTo>
                    <a:cubicBezTo>
                      <a:pt x="234" y="174"/>
                      <a:pt x="237" y="200"/>
                      <a:pt x="232" y="204"/>
                    </a:cubicBezTo>
                    <a:cubicBezTo>
                      <a:pt x="227" y="208"/>
                      <a:pt x="175" y="195"/>
                      <a:pt x="165" y="188"/>
                    </a:cubicBezTo>
                    <a:cubicBezTo>
                      <a:pt x="155" y="181"/>
                      <a:pt x="159" y="162"/>
                      <a:pt x="159" y="162"/>
                    </a:cubicBezTo>
                    <a:cubicBezTo>
                      <a:pt x="128" y="168"/>
                      <a:pt x="128" y="168"/>
                      <a:pt x="128" y="168"/>
                    </a:cubicBezTo>
                    <a:cubicBezTo>
                      <a:pt x="128" y="168"/>
                      <a:pt x="142" y="178"/>
                      <a:pt x="125" y="177"/>
                    </a:cubicBezTo>
                    <a:cubicBezTo>
                      <a:pt x="108" y="176"/>
                      <a:pt x="117" y="151"/>
                      <a:pt x="117" y="151"/>
                    </a:cubicBezTo>
                    <a:cubicBezTo>
                      <a:pt x="106" y="153"/>
                      <a:pt x="106" y="153"/>
                      <a:pt x="106" y="153"/>
                    </a:cubicBezTo>
                    <a:cubicBezTo>
                      <a:pt x="101" y="144"/>
                      <a:pt x="101" y="144"/>
                      <a:pt x="101" y="144"/>
                    </a:cubicBezTo>
                    <a:cubicBezTo>
                      <a:pt x="96" y="154"/>
                      <a:pt x="96" y="154"/>
                      <a:pt x="96" y="154"/>
                    </a:cubicBezTo>
                    <a:cubicBezTo>
                      <a:pt x="96" y="154"/>
                      <a:pt x="110" y="175"/>
                      <a:pt x="107" y="178"/>
                    </a:cubicBezTo>
                    <a:cubicBezTo>
                      <a:pt x="104" y="181"/>
                      <a:pt x="96" y="183"/>
                      <a:pt x="96" y="183"/>
                    </a:cubicBezTo>
                    <a:cubicBezTo>
                      <a:pt x="98" y="218"/>
                      <a:pt x="98" y="218"/>
                      <a:pt x="98" y="218"/>
                    </a:cubicBezTo>
                    <a:cubicBezTo>
                      <a:pt x="106" y="229"/>
                      <a:pt x="106" y="229"/>
                      <a:pt x="106" y="229"/>
                    </a:cubicBezTo>
                    <a:cubicBezTo>
                      <a:pt x="93" y="232"/>
                      <a:pt x="93" y="232"/>
                      <a:pt x="93" y="232"/>
                    </a:cubicBezTo>
                    <a:cubicBezTo>
                      <a:pt x="93" y="232"/>
                      <a:pt x="99" y="248"/>
                      <a:pt x="97" y="255"/>
                    </a:cubicBezTo>
                    <a:cubicBezTo>
                      <a:pt x="95" y="262"/>
                      <a:pt x="84" y="262"/>
                      <a:pt x="84" y="262"/>
                    </a:cubicBezTo>
                    <a:cubicBezTo>
                      <a:pt x="1" y="260"/>
                      <a:pt x="1" y="260"/>
                      <a:pt x="1" y="260"/>
                    </a:cubicBezTo>
                    <a:cubicBezTo>
                      <a:pt x="0" y="427"/>
                      <a:pt x="0" y="427"/>
                      <a:pt x="0" y="427"/>
                    </a:cubicBezTo>
                    <a:cubicBezTo>
                      <a:pt x="6" y="437"/>
                      <a:pt x="6" y="437"/>
                      <a:pt x="6" y="437"/>
                    </a:cubicBezTo>
                    <a:cubicBezTo>
                      <a:pt x="6" y="449"/>
                      <a:pt x="6" y="449"/>
                      <a:pt x="6" y="449"/>
                    </a:cubicBezTo>
                    <a:cubicBezTo>
                      <a:pt x="64" y="507"/>
                      <a:pt x="64" y="507"/>
                      <a:pt x="64" y="507"/>
                    </a:cubicBezTo>
                    <a:cubicBezTo>
                      <a:pt x="79" y="511"/>
                      <a:pt x="79" y="511"/>
                      <a:pt x="79" y="511"/>
                    </a:cubicBezTo>
                    <a:cubicBezTo>
                      <a:pt x="92" y="503"/>
                      <a:pt x="92" y="503"/>
                      <a:pt x="92" y="503"/>
                    </a:cubicBezTo>
                    <a:cubicBezTo>
                      <a:pt x="92" y="503"/>
                      <a:pt x="99" y="498"/>
                      <a:pt x="108" y="498"/>
                    </a:cubicBezTo>
                    <a:cubicBezTo>
                      <a:pt x="117" y="498"/>
                      <a:pt x="118" y="506"/>
                      <a:pt x="118" y="506"/>
                    </a:cubicBezTo>
                    <a:cubicBezTo>
                      <a:pt x="138" y="504"/>
                      <a:pt x="138" y="504"/>
                      <a:pt x="138" y="504"/>
                    </a:cubicBezTo>
                    <a:cubicBezTo>
                      <a:pt x="151" y="517"/>
                      <a:pt x="151" y="517"/>
                      <a:pt x="151" y="517"/>
                    </a:cubicBezTo>
                    <a:cubicBezTo>
                      <a:pt x="151" y="517"/>
                      <a:pt x="175" y="513"/>
                      <a:pt x="177" y="517"/>
                    </a:cubicBezTo>
                    <a:cubicBezTo>
                      <a:pt x="179" y="521"/>
                      <a:pt x="185" y="527"/>
                      <a:pt x="189" y="527"/>
                    </a:cubicBezTo>
                    <a:cubicBezTo>
                      <a:pt x="193" y="527"/>
                      <a:pt x="195" y="515"/>
                      <a:pt x="202" y="521"/>
                    </a:cubicBezTo>
                    <a:cubicBezTo>
                      <a:pt x="209" y="527"/>
                      <a:pt x="210" y="536"/>
                      <a:pt x="228" y="527"/>
                    </a:cubicBezTo>
                    <a:cubicBezTo>
                      <a:pt x="246" y="518"/>
                      <a:pt x="267" y="491"/>
                      <a:pt x="267" y="491"/>
                    </a:cubicBezTo>
                    <a:cubicBezTo>
                      <a:pt x="267" y="491"/>
                      <a:pt x="269" y="475"/>
                      <a:pt x="276" y="468"/>
                    </a:cubicBezTo>
                    <a:cubicBezTo>
                      <a:pt x="283" y="461"/>
                      <a:pt x="322" y="450"/>
                      <a:pt x="323" y="449"/>
                    </a:cubicBezTo>
                    <a:cubicBezTo>
                      <a:pt x="324" y="448"/>
                      <a:pt x="321" y="425"/>
                      <a:pt x="321" y="425"/>
                    </a:cubicBezTo>
                    <a:cubicBezTo>
                      <a:pt x="321" y="425"/>
                      <a:pt x="339" y="411"/>
                      <a:pt x="356" y="405"/>
                    </a:cubicBezTo>
                    <a:cubicBezTo>
                      <a:pt x="369" y="400"/>
                      <a:pt x="387" y="400"/>
                      <a:pt x="396" y="401"/>
                    </a:cubicBezTo>
                    <a:cubicBezTo>
                      <a:pt x="395" y="385"/>
                      <a:pt x="395" y="385"/>
                      <a:pt x="395" y="385"/>
                    </a:cubicBezTo>
                    <a:cubicBezTo>
                      <a:pt x="395" y="385"/>
                      <a:pt x="380" y="371"/>
                      <a:pt x="385" y="367"/>
                    </a:cubicBezTo>
                    <a:cubicBezTo>
                      <a:pt x="391" y="363"/>
                      <a:pt x="411" y="362"/>
                      <a:pt x="411" y="362"/>
                    </a:cubicBezTo>
                    <a:cubicBezTo>
                      <a:pt x="423" y="351"/>
                      <a:pt x="423" y="351"/>
                      <a:pt x="423" y="351"/>
                    </a:cubicBezTo>
                    <a:cubicBezTo>
                      <a:pt x="423" y="351"/>
                      <a:pt x="465" y="343"/>
                      <a:pt x="475" y="338"/>
                    </a:cubicBezTo>
                    <a:cubicBezTo>
                      <a:pt x="484" y="333"/>
                      <a:pt x="528" y="313"/>
                      <a:pt x="528" y="313"/>
                    </a:cubicBezTo>
                    <a:cubicBezTo>
                      <a:pt x="528" y="313"/>
                      <a:pt x="507" y="297"/>
                      <a:pt x="506" y="294"/>
                    </a:cubicBezTo>
                    <a:cubicBezTo>
                      <a:pt x="505" y="291"/>
                      <a:pt x="521" y="268"/>
                      <a:pt x="521" y="268"/>
                    </a:cubicBezTo>
                    <a:cubicBezTo>
                      <a:pt x="519" y="243"/>
                      <a:pt x="519" y="243"/>
                      <a:pt x="519" y="243"/>
                    </a:cubicBezTo>
                    <a:cubicBezTo>
                      <a:pt x="519" y="243"/>
                      <a:pt x="544" y="232"/>
                      <a:pt x="547" y="225"/>
                    </a:cubicBezTo>
                    <a:cubicBezTo>
                      <a:pt x="550" y="218"/>
                      <a:pt x="539" y="221"/>
                      <a:pt x="539" y="221"/>
                    </a:cubicBezTo>
                    <a:cubicBezTo>
                      <a:pt x="538" y="173"/>
                      <a:pt x="538" y="173"/>
                      <a:pt x="538" y="173"/>
                    </a:cubicBezTo>
                    <a:cubicBezTo>
                      <a:pt x="542" y="160"/>
                      <a:pt x="542" y="160"/>
                      <a:pt x="542" y="160"/>
                    </a:cubicBezTo>
                    <a:cubicBezTo>
                      <a:pt x="535" y="154"/>
                      <a:pt x="535" y="154"/>
                      <a:pt x="535" y="154"/>
                    </a:cubicBezTo>
                    <a:cubicBezTo>
                      <a:pt x="535" y="143"/>
                      <a:pt x="535" y="143"/>
                      <a:pt x="535" y="143"/>
                    </a:cubicBezTo>
                    <a:cubicBezTo>
                      <a:pt x="535" y="143"/>
                      <a:pt x="551" y="139"/>
                      <a:pt x="557" y="132"/>
                    </a:cubicBezTo>
                    <a:cubicBezTo>
                      <a:pt x="563" y="125"/>
                      <a:pt x="551" y="122"/>
                      <a:pt x="551" y="12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6" name="MCShape 166">
                <a:extLst>
                  <a:ext uri="{FF2B5EF4-FFF2-40B4-BE49-F238E27FC236}">
                    <a16:creationId xmlns:a16="http://schemas.microsoft.com/office/drawing/2014/main" id="{63CB3C0C-5727-433C-B2D5-1887DF1B8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8646" y="4042999"/>
                <a:ext cx="532078" cy="600135"/>
              </a:xfrm>
              <a:custGeom>
                <a:avLst/>
                <a:gdLst>
                  <a:gd name="T0" fmla="*/ 838 w 902"/>
                  <a:gd name="T1" fmla="*/ 264 h 1016"/>
                  <a:gd name="T2" fmla="*/ 853 w 902"/>
                  <a:gd name="T3" fmla="*/ 230 h 1016"/>
                  <a:gd name="T4" fmla="*/ 890 w 902"/>
                  <a:gd name="T5" fmla="*/ 163 h 1016"/>
                  <a:gd name="T6" fmla="*/ 873 w 902"/>
                  <a:gd name="T7" fmla="*/ 127 h 1016"/>
                  <a:gd name="T8" fmla="*/ 869 w 902"/>
                  <a:gd name="T9" fmla="*/ 98 h 1016"/>
                  <a:gd name="T10" fmla="*/ 820 w 902"/>
                  <a:gd name="T11" fmla="*/ 39 h 1016"/>
                  <a:gd name="T12" fmla="*/ 765 w 902"/>
                  <a:gd name="T13" fmla="*/ 61 h 1016"/>
                  <a:gd name="T14" fmla="*/ 713 w 902"/>
                  <a:gd name="T15" fmla="*/ 13 h 1016"/>
                  <a:gd name="T16" fmla="*/ 659 w 902"/>
                  <a:gd name="T17" fmla="*/ 10 h 1016"/>
                  <a:gd name="T18" fmla="*/ 611 w 902"/>
                  <a:gd name="T19" fmla="*/ 23 h 1016"/>
                  <a:gd name="T20" fmla="*/ 560 w 902"/>
                  <a:gd name="T21" fmla="*/ 32 h 1016"/>
                  <a:gd name="T22" fmla="*/ 509 w 902"/>
                  <a:gd name="T23" fmla="*/ 30 h 1016"/>
                  <a:gd name="T24" fmla="*/ 462 w 902"/>
                  <a:gd name="T25" fmla="*/ 63 h 1016"/>
                  <a:gd name="T26" fmla="*/ 394 w 902"/>
                  <a:gd name="T27" fmla="*/ 53 h 1016"/>
                  <a:gd name="T28" fmla="*/ 346 w 902"/>
                  <a:gd name="T29" fmla="*/ 15 h 1016"/>
                  <a:gd name="T30" fmla="*/ 302 w 902"/>
                  <a:gd name="T31" fmla="*/ 72 h 1016"/>
                  <a:gd name="T32" fmla="*/ 301 w 902"/>
                  <a:gd name="T33" fmla="*/ 103 h 1016"/>
                  <a:gd name="T34" fmla="*/ 276 w 902"/>
                  <a:gd name="T35" fmla="*/ 217 h 1016"/>
                  <a:gd name="T36" fmla="*/ 262 w 902"/>
                  <a:gd name="T37" fmla="*/ 289 h 1016"/>
                  <a:gd name="T38" fmla="*/ 213 w 902"/>
                  <a:gd name="T39" fmla="*/ 359 h 1016"/>
                  <a:gd name="T40" fmla="*/ 187 w 902"/>
                  <a:gd name="T41" fmla="*/ 477 h 1016"/>
                  <a:gd name="T42" fmla="*/ 129 w 902"/>
                  <a:gd name="T43" fmla="*/ 540 h 1016"/>
                  <a:gd name="T44" fmla="*/ 83 w 902"/>
                  <a:gd name="T45" fmla="*/ 533 h 1016"/>
                  <a:gd name="T46" fmla="*/ 43 w 902"/>
                  <a:gd name="T47" fmla="*/ 537 h 1016"/>
                  <a:gd name="T48" fmla="*/ 9 w 902"/>
                  <a:gd name="T49" fmla="*/ 565 h 1016"/>
                  <a:gd name="T50" fmla="*/ 12 w 902"/>
                  <a:gd name="T51" fmla="*/ 617 h 1016"/>
                  <a:gd name="T52" fmla="*/ 57 w 902"/>
                  <a:gd name="T53" fmla="*/ 607 h 1016"/>
                  <a:gd name="T54" fmla="*/ 98 w 902"/>
                  <a:gd name="T55" fmla="*/ 611 h 1016"/>
                  <a:gd name="T56" fmla="*/ 153 w 902"/>
                  <a:gd name="T57" fmla="*/ 609 h 1016"/>
                  <a:gd name="T58" fmla="*/ 200 w 902"/>
                  <a:gd name="T59" fmla="*/ 608 h 1016"/>
                  <a:gd name="T60" fmla="*/ 223 w 902"/>
                  <a:gd name="T61" fmla="*/ 664 h 1016"/>
                  <a:gd name="T62" fmla="*/ 240 w 902"/>
                  <a:gd name="T63" fmla="*/ 709 h 1016"/>
                  <a:gd name="T64" fmla="*/ 270 w 902"/>
                  <a:gd name="T65" fmla="*/ 726 h 1016"/>
                  <a:gd name="T66" fmla="*/ 296 w 902"/>
                  <a:gd name="T67" fmla="*/ 724 h 1016"/>
                  <a:gd name="T68" fmla="*/ 337 w 902"/>
                  <a:gd name="T69" fmla="*/ 720 h 1016"/>
                  <a:gd name="T70" fmla="*/ 343 w 902"/>
                  <a:gd name="T71" fmla="*/ 672 h 1016"/>
                  <a:gd name="T72" fmla="*/ 391 w 902"/>
                  <a:gd name="T73" fmla="*/ 678 h 1016"/>
                  <a:gd name="T74" fmla="*/ 452 w 902"/>
                  <a:gd name="T75" fmla="*/ 703 h 1016"/>
                  <a:gd name="T76" fmla="*/ 461 w 902"/>
                  <a:gd name="T77" fmla="*/ 747 h 1016"/>
                  <a:gd name="T78" fmla="*/ 451 w 902"/>
                  <a:gd name="T79" fmla="*/ 799 h 1016"/>
                  <a:gd name="T80" fmla="*/ 471 w 902"/>
                  <a:gd name="T81" fmla="*/ 869 h 1016"/>
                  <a:gd name="T82" fmla="*/ 485 w 902"/>
                  <a:gd name="T83" fmla="*/ 886 h 1016"/>
                  <a:gd name="T84" fmla="*/ 526 w 902"/>
                  <a:gd name="T85" fmla="*/ 880 h 1016"/>
                  <a:gd name="T86" fmla="*/ 556 w 902"/>
                  <a:gd name="T87" fmla="*/ 875 h 1016"/>
                  <a:gd name="T88" fmla="*/ 580 w 902"/>
                  <a:gd name="T89" fmla="*/ 908 h 1016"/>
                  <a:gd name="T90" fmla="*/ 620 w 902"/>
                  <a:gd name="T91" fmla="*/ 919 h 1016"/>
                  <a:gd name="T92" fmla="*/ 708 w 902"/>
                  <a:gd name="T93" fmla="*/ 925 h 1016"/>
                  <a:gd name="T94" fmla="*/ 737 w 902"/>
                  <a:gd name="T95" fmla="*/ 947 h 1016"/>
                  <a:gd name="T96" fmla="*/ 768 w 902"/>
                  <a:gd name="T97" fmla="*/ 978 h 1016"/>
                  <a:gd name="T98" fmla="*/ 799 w 902"/>
                  <a:gd name="T99" fmla="*/ 1012 h 1016"/>
                  <a:gd name="T100" fmla="*/ 827 w 902"/>
                  <a:gd name="T101" fmla="*/ 945 h 1016"/>
                  <a:gd name="T102" fmla="*/ 806 w 902"/>
                  <a:gd name="T103" fmla="*/ 961 h 1016"/>
                  <a:gd name="T104" fmla="*/ 779 w 902"/>
                  <a:gd name="T105" fmla="*/ 866 h 1016"/>
                  <a:gd name="T106" fmla="*/ 761 w 902"/>
                  <a:gd name="T107" fmla="*/ 788 h 1016"/>
                  <a:gd name="T108" fmla="*/ 838 w 902"/>
                  <a:gd name="T109" fmla="*/ 738 h 1016"/>
                  <a:gd name="T110" fmla="*/ 850 w 902"/>
                  <a:gd name="T111" fmla="*/ 710 h 1016"/>
                  <a:gd name="T112" fmla="*/ 828 w 902"/>
                  <a:gd name="T113" fmla="*/ 658 h 1016"/>
                  <a:gd name="T114" fmla="*/ 810 w 902"/>
                  <a:gd name="T115" fmla="*/ 589 h 1016"/>
                  <a:gd name="T116" fmla="*/ 802 w 902"/>
                  <a:gd name="T117" fmla="*/ 502 h 1016"/>
                  <a:gd name="T118" fmla="*/ 816 w 902"/>
                  <a:gd name="T119" fmla="*/ 471 h 1016"/>
                  <a:gd name="T120" fmla="*/ 795 w 902"/>
                  <a:gd name="T121" fmla="*/ 434 h 1016"/>
                  <a:gd name="T122" fmla="*/ 799 w 902"/>
                  <a:gd name="T123" fmla="*/ 384 h 101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02"/>
                  <a:gd name="T187" fmla="*/ 0 h 1016"/>
                  <a:gd name="T188" fmla="*/ 902 w 902"/>
                  <a:gd name="T189" fmla="*/ 1016 h 101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02" h="1016">
                    <a:moveTo>
                      <a:pt x="828" y="315"/>
                    </a:moveTo>
                    <a:cubicBezTo>
                      <a:pt x="828" y="295"/>
                      <a:pt x="828" y="295"/>
                      <a:pt x="828" y="295"/>
                    </a:cubicBezTo>
                    <a:cubicBezTo>
                      <a:pt x="838" y="264"/>
                      <a:pt x="838" y="264"/>
                      <a:pt x="838" y="264"/>
                    </a:cubicBezTo>
                    <a:cubicBezTo>
                      <a:pt x="840" y="247"/>
                      <a:pt x="840" y="247"/>
                      <a:pt x="840" y="247"/>
                    </a:cubicBezTo>
                    <a:cubicBezTo>
                      <a:pt x="853" y="239"/>
                      <a:pt x="853" y="239"/>
                      <a:pt x="853" y="239"/>
                    </a:cubicBezTo>
                    <a:cubicBezTo>
                      <a:pt x="853" y="230"/>
                      <a:pt x="853" y="230"/>
                      <a:pt x="853" y="230"/>
                    </a:cubicBezTo>
                    <a:cubicBezTo>
                      <a:pt x="869" y="222"/>
                      <a:pt x="869" y="222"/>
                      <a:pt x="869" y="222"/>
                    </a:cubicBezTo>
                    <a:cubicBezTo>
                      <a:pt x="869" y="222"/>
                      <a:pt x="902" y="182"/>
                      <a:pt x="902" y="174"/>
                    </a:cubicBezTo>
                    <a:cubicBezTo>
                      <a:pt x="902" y="166"/>
                      <a:pt x="890" y="163"/>
                      <a:pt x="890" y="163"/>
                    </a:cubicBezTo>
                    <a:cubicBezTo>
                      <a:pt x="890" y="163"/>
                      <a:pt x="879" y="164"/>
                      <a:pt x="876" y="158"/>
                    </a:cubicBezTo>
                    <a:cubicBezTo>
                      <a:pt x="873" y="153"/>
                      <a:pt x="882" y="142"/>
                      <a:pt x="883" y="137"/>
                    </a:cubicBezTo>
                    <a:cubicBezTo>
                      <a:pt x="884" y="131"/>
                      <a:pt x="873" y="127"/>
                      <a:pt x="873" y="127"/>
                    </a:cubicBezTo>
                    <a:cubicBezTo>
                      <a:pt x="886" y="113"/>
                      <a:pt x="886" y="113"/>
                      <a:pt x="886" y="113"/>
                    </a:cubicBezTo>
                    <a:cubicBezTo>
                      <a:pt x="880" y="100"/>
                      <a:pt x="880" y="100"/>
                      <a:pt x="880" y="100"/>
                    </a:cubicBezTo>
                    <a:cubicBezTo>
                      <a:pt x="869" y="98"/>
                      <a:pt x="869" y="98"/>
                      <a:pt x="869" y="98"/>
                    </a:cubicBezTo>
                    <a:cubicBezTo>
                      <a:pt x="866" y="84"/>
                      <a:pt x="866" y="84"/>
                      <a:pt x="866" y="84"/>
                    </a:cubicBezTo>
                    <a:cubicBezTo>
                      <a:pt x="866" y="84"/>
                      <a:pt x="847" y="80"/>
                      <a:pt x="839" y="68"/>
                    </a:cubicBezTo>
                    <a:cubicBezTo>
                      <a:pt x="831" y="56"/>
                      <a:pt x="827" y="39"/>
                      <a:pt x="820" y="39"/>
                    </a:cubicBezTo>
                    <a:cubicBezTo>
                      <a:pt x="813" y="39"/>
                      <a:pt x="814" y="57"/>
                      <a:pt x="803" y="57"/>
                    </a:cubicBezTo>
                    <a:cubicBezTo>
                      <a:pt x="792" y="57"/>
                      <a:pt x="791" y="45"/>
                      <a:pt x="782" y="45"/>
                    </a:cubicBezTo>
                    <a:cubicBezTo>
                      <a:pt x="773" y="45"/>
                      <a:pt x="765" y="61"/>
                      <a:pt x="765" y="61"/>
                    </a:cubicBezTo>
                    <a:cubicBezTo>
                      <a:pt x="734" y="46"/>
                      <a:pt x="734" y="46"/>
                      <a:pt x="734" y="46"/>
                    </a:cubicBezTo>
                    <a:cubicBezTo>
                      <a:pt x="734" y="32"/>
                      <a:pt x="734" y="32"/>
                      <a:pt x="734" y="32"/>
                    </a:cubicBezTo>
                    <a:cubicBezTo>
                      <a:pt x="713" y="13"/>
                      <a:pt x="713" y="13"/>
                      <a:pt x="713" y="13"/>
                    </a:cubicBezTo>
                    <a:cubicBezTo>
                      <a:pt x="709" y="5"/>
                      <a:pt x="709" y="5"/>
                      <a:pt x="709" y="5"/>
                    </a:cubicBezTo>
                    <a:cubicBezTo>
                      <a:pt x="709" y="5"/>
                      <a:pt x="705" y="16"/>
                      <a:pt x="685" y="21"/>
                    </a:cubicBezTo>
                    <a:cubicBezTo>
                      <a:pt x="665" y="26"/>
                      <a:pt x="659" y="10"/>
                      <a:pt x="659" y="10"/>
                    </a:cubicBezTo>
                    <a:cubicBezTo>
                      <a:pt x="638" y="13"/>
                      <a:pt x="638" y="13"/>
                      <a:pt x="638" y="13"/>
                    </a:cubicBezTo>
                    <a:cubicBezTo>
                      <a:pt x="638" y="13"/>
                      <a:pt x="630" y="0"/>
                      <a:pt x="623" y="1"/>
                    </a:cubicBezTo>
                    <a:cubicBezTo>
                      <a:pt x="616" y="2"/>
                      <a:pt x="611" y="23"/>
                      <a:pt x="611" y="23"/>
                    </a:cubicBezTo>
                    <a:cubicBezTo>
                      <a:pt x="611" y="23"/>
                      <a:pt x="593" y="28"/>
                      <a:pt x="589" y="28"/>
                    </a:cubicBezTo>
                    <a:cubicBezTo>
                      <a:pt x="585" y="28"/>
                      <a:pt x="576" y="18"/>
                      <a:pt x="576" y="18"/>
                    </a:cubicBezTo>
                    <a:cubicBezTo>
                      <a:pt x="560" y="32"/>
                      <a:pt x="560" y="32"/>
                      <a:pt x="560" y="32"/>
                    </a:cubicBezTo>
                    <a:cubicBezTo>
                      <a:pt x="548" y="32"/>
                      <a:pt x="548" y="32"/>
                      <a:pt x="548" y="32"/>
                    </a:cubicBezTo>
                    <a:cubicBezTo>
                      <a:pt x="548" y="32"/>
                      <a:pt x="535" y="41"/>
                      <a:pt x="529" y="46"/>
                    </a:cubicBezTo>
                    <a:cubicBezTo>
                      <a:pt x="523" y="51"/>
                      <a:pt x="509" y="30"/>
                      <a:pt x="509" y="30"/>
                    </a:cubicBezTo>
                    <a:cubicBezTo>
                      <a:pt x="509" y="30"/>
                      <a:pt x="502" y="43"/>
                      <a:pt x="495" y="46"/>
                    </a:cubicBezTo>
                    <a:cubicBezTo>
                      <a:pt x="488" y="49"/>
                      <a:pt x="493" y="63"/>
                      <a:pt x="484" y="70"/>
                    </a:cubicBezTo>
                    <a:cubicBezTo>
                      <a:pt x="475" y="77"/>
                      <a:pt x="462" y="63"/>
                      <a:pt x="462" y="63"/>
                    </a:cubicBezTo>
                    <a:cubicBezTo>
                      <a:pt x="462" y="63"/>
                      <a:pt x="444" y="63"/>
                      <a:pt x="434" y="64"/>
                    </a:cubicBezTo>
                    <a:cubicBezTo>
                      <a:pt x="424" y="65"/>
                      <a:pt x="418" y="53"/>
                      <a:pt x="418" y="53"/>
                    </a:cubicBezTo>
                    <a:cubicBezTo>
                      <a:pt x="418" y="53"/>
                      <a:pt x="409" y="53"/>
                      <a:pt x="394" y="53"/>
                    </a:cubicBezTo>
                    <a:cubicBezTo>
                      <a:pt x="379" y="53"/>
                      <a:pt x="391" y="38"/>
                      <a:pt x="388" y="34"/>
                    </a:cubicBezTo>
                    <a:cubicBezTo>
                      <a:pt x="385" y="30"/>
                      <a:pt x="372" y="32"/>
                      <a:pt x="372" y="32"/>
                    </a:cubicBezTo>
                    <a:cubicBezTo>
                      <a:pt x="372" y="32"/>
                      <a:pt x="375" y="17"/>
                      <a:pt x="346" y="15"/>
                    </a:cubicBezTo>
                    <a:cubicBezTo>
                      <a:pt x="317" y="13"/>
                      <a:pt x="327" y="32"/>
                      <a:pt x="317" y="46"/>
                    </a:cubicBezTo>
                    <a:cubicBezTo>
                      <a:pt x="307" y="60"/>
                      <a:pt x="308" y="49"/>
                      <a:pt x="300" y="59"/>
                    </a:cubicBezTo>
                    <a:cubicBezTo>
                      <a:pt x="292" y="69"/>
                      <a:pt x="302" y="72"/>
                      <a:pt x="302" y="72"/>
                    </a:cubicBezTo>
                    <a:cubicBezTo>
                      <a:pt x="302" y="82"/>
                      <a:pt x="302" y="82"/>
                      <a:pt x="302" y="82"/>
                    </a:cubicBezTo>
                    <a:cubicBezTo>
                      <a:pt x="292" y="96"/>
                      <a:pt x="292" y="96"/>
                      <a:pt x="292" y="96"/>
                    </a:cubicBezTo>
                    <a:cubicBezTo>
                      <a:pt x="301" y="103"/>
                      <a:pt x="301" y="103"/>
                      <a:pt x="301" y="103"/>
                    </a:cubicBezTo>
                    <a:cubicBezTo>
                      <a:pt x="301" y="103"/>
                      <a:pt x="301" y="114"/>
                      <a:pt x="301" y="122"/>
                    </a:cubicBezTo>
                    <a:cubicBezTo>
                      <a:pt x="301" y="130"/>
                      <a:pt x="286" y="159"/>
                      <a:pt x="277" y="169"/>
                    </a:cubicBezTo>
                    <a:cubicBezTo>
                      <a:pt x="268" y="179"/>
                      <a:pt x="275" y="206"/>
                      <a:pt x="276" y="217"/>
                    </a:cubicBezTo>
                    <a:cubicBezTo>
                      <a:pt x="277" y="228"/>
                      <a:pt x="267" y="236"/>
                      <a:pt x="265" y="244"/>
                    </a:cubicBezTo>
                    <a:cubicBezTo>
                      <a:pt x="263" y="252"/>
                      <a:pt x="272" y="259"/>
                      <a:pt x="272" y="270"/>
                    </a:cubicBezTo>
                    <a:cubicBezTo>
                      <a:pt x="272" y="281"/>
                      <a:pt x="262" y="289"/>
                      <a:pt x="262" y="289"/>
                    </a:cubicBezTo>
                    <a:cubicBezTo>
                      <a:pt x="259" y="321"/>
                      <a:pt x="259" y="321"/>
                      <a:pt x="259" y="321"/>
                    </a:cubicBezTo>
                    <a:cubicBezTo>
                      <a:pt x="259" y="321"/>
                      <a:pt x="253" y="336"/>
                      <a:pt x="243" y="343"/>
                    </a:cubicBezTo>
                    <a:cubicBezTo>
                      <a:pt x="233" y="350"/>
                      <a:pt x="220" y="356"/>
                      <a:pt x="213" y="359"/>
                    </a:cubicBezTo>
                    <a:cubicBezTo>
                      <a:pt x="206" y="362"/>
                      <a:pt x="206" y="385"/>
                      <a:pt x="205" y="394"/>
                    </a:cubicBezTo>
                    <a:cubicBezTo>
                      <a:pt x="204" y="403"/>
                      <a:pt x="186" y="410"/>
                      <a:pt x="186" y="410"/>
                    </a:cubicBezTo>
                    <a:cubicBezTo>
                      <a:pt x="187" y="477"/>
                      <a:pt x="187" y="477"/>
                      <a:pt x="187" y="477"/>
                    </a:cubicBezTo>
                    <a:cubicBezTo>
                      <a:pt x="170" y="507"/>
                      <a:pt x="170" y="507"/>
                      <a:pt x="170" y="507"/>
                    </a:cubicBezTo>
                    <a:cubicBezTo>
                      <a:pt x="170" y="507"/>
                      <a:pt x="160" y="510"/>
                      <a:pt x="154" y="510"/>
                    </a:cubicBezTo>
                    <a:cubicBezTo>
                      <a:pt x="148" y="510"/>
                      <a:pt x="136" y="531"/>
                      <a:pt x="129" y="540"/>
                    </a:cubicBezTo>
                    <a:cubicBezTo>
                      <a:pt x="122" y="549"/>
                      <a:pt x="119" y="554"/>
                      <a:pt x="104" y="554"/>
                    </a:cubicBezTo>
                    <a:cubicBezTo>
                      <a:pt x="89" y="554"/>
                      <a:pt x="107" y="531"/>
                      <a:pt x="100" y="524"/>
                    </a:cubicBezTo>
                    <a:cubicBezTo>
                      <a:pt x="93" y="517"/>
                      <a:pt x="83" y="533"/>
                      <a:pt x="83" y="533"/>
                    </a:cubicBezTo>
                    <a:cubicBezTo>
                      <a:pt x="70" y="532"/>
                      <a:pt x="70" y="532"/>
                      <a:pt x="70" y="532"/>
                    </a:cubicBezTo>
                    <a:cubicBezTo>
                      <a:pt x="70" y="532"/>
                      <a:pt x="71" y="548"/>
                      <a:pt x="59" y="553"/>
                    </a:cubicBezTo>
                    <a:cubicBezTo>
                      <a:pt x="47" y="558"/>
                      <a:pt x="43" y="537"/>
                      <a:pt x="43" y="537"/>
                    </a:cubicBezTo>
                    <a:cubicBezTo>
                      <a:pt x="36" y="540"/>
                      <a:pt x="36" y="540"/>
                      <a:pt x="36" y="540"/>
                    </a:cubicBezTo>
                    <a:cubicBezTo>
                      <a:pt x="33" y="548"/>
                      <a:pt x="33" y="548"/>
                      <a:pt x="33" y="548"/>
                    </a:cubicBezTo>
                    <a:cubicBezTo>
                      <a:pt x="9" y="565"/>
                      <a:pt x="9" y="565"/>
                      <a:pt x="9" y="565"/>
                    </a:cubicBezTo>
                    <a:cubicBezTo>
                      <a:pt x="9" y="565"/>
                      <a:pt x="21" y="591"/>
                      <a:pt x="13" y="595"/>
                    </a:cubicBezTo>
                    <a:cubicBezTo>
                      <a:pt x="10" y="597"/>
                      <a:pt x="5" y="599"/>
                      <a:pt x="0" y="602"/>
                    </a:cubicBezTo>
                    <a:cubicBezTo>
                      <a:pt x="4" y="605"/>
                      <a:pt x="11" y="612"/>
                      <a:pt x="12" y="617"/>
                    </a:cubicBezTo>
                    <a:cubicBezTo>
                      <a:pt x="35" y="607"/>
                      <a:pt x="35" y="607"/>
                      <a:pt x="35" y="607"/>
                    </a:cubicBezTo>
                    <a:cubicBezTo>
                      <a:pt x="52" y="609"/>
                      <a:pt x="52" y="609"/>
                      <a:pt x="52" y="609"/>
                    </a:cubicBezTo>
                    <a:cubicBezTo>
                      <a:pt x="57" y="607"/>
                      <a:pt x="57" y="607"/>
                      <a:pt x="57" y="607"/>
                    </a:cubicBezTo>
                    <a:cubicBezTo>
                      <a:pt x="65" y="609"/>
                      <a:pt x="65" y="609"/>
                      <a:pt x="65" y="609"/>
                    </a:cubicBezTo>
                    <a:cubicBezTo>
                      <a:pt x="80" y="605"/>
                      <a:pt x="80" y="605"/>
                      <a:pt x="80" y="605"/>
                    </a:cubicBezTo>
                    <a:cubicBezTo>
                      <a:pt x="80" y="605"/>
                      <a:pt x="91" y="612"/>
                      <a:pt x="98" y="611"/>
                    </a:cubicBezTo>
                    <a:cubicBezTo>
                      <a:pt x="105" y="610"/>
                      <a:pt x="123" y="607"/>
                      <a:pt x="123" y="607"/>
                    </a:cubicBezTo>
                    <a:cubicBezTo>
                      <a:pt x="123" y="607"/>
                      <a:pt x="136" y="609"/>
                      <a:pt x="141" y="609"/>
                    </a:cubicBezTo>
                    <a:cubicBezTo>
                      <a:pt x="146" y="609"/>
                      <a:pt x="153" y="609"/>
                      <a:pt x="153" y="609"/>
                    </a:cubicBezTo>
                    <a:cubicBezTo>
                      <a:pt x="163" y="606"/>
                      <a:pt x="163" y="606"/>
                      <a:pt x="163" y="606"/>
                    </a:cubicBezTo>
                    <a:cubicBezTo>
                      <a:pt x="177" y="607"/>
                      <a:pt x="177" y="607"/>
                      <a:pt x="177" y="607"/>
                    </a:cubicBezTo>
                    <a:cubicBezTo>
                      <a:pt x="177" y="607"/>
                      <a:pt x="195" y="599"/>
                      <a:pt x="200" y="608"/>
                    </a:cubicBezTo>
                    <a:cubicBezTo>
                      <a:pt x="205" y="617"/>
                      <a:pt x="211" y="621"/>
                      <a:pt x="211" y="621"/>
                    </a:cubicBezTo>
                    <a:cubicBezTo>
                      <a:pt x="212" y="651"/>
                      <a:pt x="212" y="651"/>
                      <a:pt x="212" y="651"/>
                    </a:cubicBezTo>
                    <a:cubicBezTo>
                      <a:pt x="212" y="651"/>
                      <a:pt x="222" y="658"/>
                      <a:pt x="223" y="664"/>
                    </a:cubicBezTo>
                    <a:cubicBezTo>
                      <a:pt x="224" y="670"/>
                      <a:pt x="222" y="686"/>
                      <a:pt x="222" y="686"/>
                    </a:cubicBezTo>
                    <a:cubicBezTo>
                      <a:pt x="222" y="686"/>
                      <a:pt x="228" y="689"/>
                      <a:pt x="233" y="695"/>
                    </a:cubicBezTo>
                    <a:cubicBezTo>
                      <a:pt x="238" y="701"/>
                      <a:pt x="240" y="709"/>
                      <a:pt x="240" y="709"/>
                    </a:cubicBezTo>
                    <a:cubicBezTo>
                      <a:pt x="246" y="717"/>
                      <a:pt x="246" y="717"/>
                      <a:pt x="246" y="717"/>
                    </a:cubicBezTo>
                    <a:cubicBezTo>
                      <a:pt x="249" y="727"/>
                      <a:pt x="249" y="727"/>
                      <a:pt x="249" y="727"/>
                    </a:cubicBezTo>
                    <a:cubicBezTo>
                      <a:pt x="270" y="726"/>
                      <a:pt x="270" y="726"/>
                      <a:pt x="270" y="726"/>
                    </a:cubicBezTo>
                    <a:cubicBezTo>
                      <a:pt x="277" y="731"/>
                      <a:pt x="277" y="731"/>
                      <a:pt x="277" y="731"/>
                    </a:cubicBez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96" y="724"/>
                      <a:pt x="296" y="724"/>
                      <a:pt x="296" y="724"/>
                    </a:cubicBezTo>
                    <a:cubicBezTo>
                      <a:pt x="303" y="718"/>
                      <a:pt x="303" y="718"/>
                      <a:pt x="303" y="718"/>
                    </a:cubicBezTo>
                    <a:cubicBezTo>
                      <a:pt x="307" y="723"/>
                      <a:pt x="307" y="723"/>
                      <a:pt x="307" y="723"/>
                    </a:cubicBezTo>
                    <a:cubicBezTo>
                      <a:pt x="337" y="720"/>
                      <a:pt x="337" y="720"/>
                      <a:pt x="337" y="720"/>
                    </a:cubicBezTo>
                    <a:cubicBezTo>
                      <a:pt x="337" y="720"/>
                      <a:pt x="336" y="706"/>
                      <a:pt x="339" y="702"/>
                    </a:cubicBezTo>
                    <a:cubicBezTo>
                      <a:pt x="342" y="698"/>
                      <a:pt x="349" y="698"/>
                      <a:pt x="349" y="693"/>
                    </a:cubicBezTo>
                    <a:cubicBezTo>
                      <a:pt x="349" y="688"/>
                      <a:pt x="338" y="676"/>
                      <a:pt x="343" y="672"/>
                    </a:cubicBezTo>
                    <a:cubicBezTo>
                      <a:pt x="348" y="668"/>
                      <a:pt x="377" y="671"/>
                      <a:pt x="377" y="671"/>
                    </a:cubicBezTo>
                    <a:cubicBezTo>
                      <a:pt x="377" y="671"/>
                      <a:pt x="377" y="663"/>
                      <a:pt x="386" y="666"/>
                    </a:cubicBezTo>
                    <a:cubicBezTo>
                      <a:pt x="395" y="669"/>
                      <a:pt x="391" y="678"/>
                      <a:pt x="391" y="678"/>
                    </a:cubicBezTo>
                    <a:cubicBezTo>
                      <a:pt x="392" y="686"/>
                      <a:pt x="392" y="686"/>
                      <a:pt x="392" y="686"/>
                    </a:cubicBezTo>
                    <a:cubicBezTo>
                      <a:pt x="452" y="685"/>
                      <a:pt x="452" y="685"/>
                      <a:pt x="452" y="685"/>
                    </a:cubicBezTo>
                    <a:cubicBezTo>
                      <a:pt x="452" y="703"/>
                      <a:pt x="452" y="703"/>
                      <a:pt x="452" y="703"/>
                    </a:cubicBezTo>
                    <a:cubicBezTo>
                      <a:pt x="445" y="713"/>
                      <a:pt x="445" y="713"/>
                      <a:pt x="445" y="713"/>
                    </a:cubicBezTo>
                    <a:cubicBezTo>
                      <a:pt x="448" y="727"/>
                      <a:pt x="448" y="727"/>
                      <a:pt x="448" y="727"/>
                    </a:cubicBezTo>
                    <a:cubicBezTo>
                      <a:pt x="448" y="727"/>
                      <a:pt x="461" y="740"/>
                      <a:pt x="461" y="747"/>
                    </a:cubicBezTo>
                    <a:cubicBezTo>
                      <a:pt x="461" y="754"/>
                      <a:pt x="453" y="763"/>
                      <a:pt x="453" y="763"/>
                    </a:cubicBezTo>
                    <a:cubicBezTo>
                      <a:pt x="456" y="779"/>
                      <a:pt x="456" y="779"/>
                      <a:pt x="456" y="779"/>
                    </a:cubicBezTo>
                    <a:cubicBezTo>
                      <a:pt x="456" y="779"/>
                      <a:pt x="451" y="791"/>
                      <a:pt x="451" y="799"/>
                    </a:cubicBezTo>
                    <a:cubicBezTo>
                      <a:pt x="451" y="807"/>
                      <a:pt x="457" y="815"/>
                      <a:pt x="464" y="822"/>
                    </a:cubicBezTo>
                    <a:cubicBezTo>
                      <a:pt x="471" y="829"/>
                      <a:pt x="475" y="847"/>
                      <a:pt x="475" y="847"/>
                    </a:cubicBezTo>
                    <a:cubicBezTo>
                      <a:pt x="475" y="847"/>
                      <a:pt x="474" y="862"/>
                      <a:pt x="471" y="869"/>
                    </a:cubicBezTo>
                    <a:cubicBezTo>
                      <a:pt x="468" y="876"/>
                      <a:pt x="465" y="888"/>
                      <a:pt x="468" y="892"/>
                    </a:cubicBezTo>
                    <a:cubicBezTo>
                      <a:pt x="471" y="896"/>
                      <a:pt x="479" y="898"/>
                      <a:pt x="479" y="898"/>
                    </a:cubicBezTo>
                    <a:cubicBezTo>
                      <a:pt x="485" y="886"/>
                      <a:pt x="485" y="886"/>
                      <a:pt x="485" y="886"/>
                    </a:cubicBezTo>
                    <a:cubicBezTo>
                      <a:pt x="503" y="890"/>
                      <a:pt x="503" y="890"/>
                      <a:pt x="503" y="890"/>
                    </a:cubicBezTo>
                    <a:cubicBezTo>
                      <a:pt x="519" y="885"/>
                      <a:pt x="519" y="885"/>
                      <a:pt x="519" y="885"/>
                    </a:cubicBezTo>
                    <a:cubicBezTo>
                      <a:pt x="519" y="885"/>
                      <a:pt x="519" y="880"/>
                      <a:pt x="526" y="880"/>
                    </a:cubicBezTo>
                    <a:cubicBezTo>
                      <a:pt x="533" y="880"/>
                      <a:pt x="537" y="887"/>
                      <a:pt x="537" y="887"/>
                    </a:cubicBezTo>
                    <a:cubicBezTo>
                      <a:pt x="551" y="885"/>
                      <a:pt x="551" y="885"/>
                      <a:pt x="551" y="885"/>
                    </a:cubicBezTo>
                    <a:cubicBezTo>
                      <a:pt x="556" y="875"/>
                      <a:pt x="556" y="875"/>
                      <a:pt x="556" y="875"/>
                    </a:cubicBezTo>
                    <a:cubicBezTo>
                      <a:pt x="561" y="884"/>
                      <a:pt x="561" y="884"/>
                      <a:pt x="561" y="884"/>
                    </a:cubicBezTo>
                    <a:cubicBezTo>
                      <a:pt x="572" y="882"/>
                      <a:pt x="572" y="882"/>
                      <a:pt x="572" y="882"/>
                    </a:cubicBezTo>
                    <a:cubicBezTo>
                      <a:pt x="572" y="882"/>
                      <a:pt x="563" y="907"/>
                      <a:pt x="580" y="908"/>
                    </a:cubicBezTo>
                    <a:cubicBezTo>
                      <a:pt x="597" y="909"/>
                      <a:pt x="583" y="899"/>
                      <a:pt x="583" y="899"/>
                    </a:cubicBezTo>
                    <a:cubicBezTo>
                      <a:pt x="614" y="893"/>
                      <a:pt x="614" y="893"/>
                      <a:pt x="614" y="893"/>
                    </a:cubicBezTo>
                    <a:cubicBezTo>
                      <a:pt x="614" y="893"/>
                      <a:pt x="610" y="912"/>
                      <a:pt x="620" y="919"/>
                    </a:cubicBezTo>
                    <a:cubicBezTo>
                      <a:pt x="630" y="926"/>
                      <a:pt x="682" y="939"/>
                      <a:pt x="687" y="935"/>
                    </a:cubicBezTo>
                    <a:cubicBezTo>
                      <a:pt x="692" y="931"/>
                      <a:pt x="689" y="905"/>
                      <a:pt x="701" y="910"/>
                    </a:cubicBezTo>
                    <a:cubicBezTo>
                      <a:pt x="713" y="915"/>
                      <a:pt x="704" y="920"/>
                      <a:pt x="708" y="925"/>
                    </a:cubicBezTo>
                    <a:cubicBezTo>
                      <a:pt x="712" y="930"/>
                      <a:pt x="722" y="930"/>
                      <a:pt x="722" y="934"/>
                    </a:cubicBezTo>
                    <a:cubicBezTo>
                      <a:pt x="722" y="938"/>
                      <a:pt x="714" y="947"/>
                      <a:pt x="722" y="948"/>
                    </a:cubicBezTo>
                    <a:cubicBezTo>
                      <a:pt x="730" y="949"/>
                      <a:pt x="732" y="943"/>
                      <a:pt x="737" y="947"/>
                    </a:cubicBezTo>
                    <a:cubicBezTo>
                      <a:pt x="742" y="951"/>
                      <a:pt x="741" y="959"/>
                      <a:pt x="745" y="959"/>
                    </a:cubicBezTo>
                    <a:cubicBezTo>
                      <a:pt x="749" y="959"/>
                      <a:pt x="754" y="951"/>
                      <a:pt x="760" y="959"/>
                    </a:cubicBezTo>
                    <a:cubicBezTo>
                      <a:pt x="766" y="967"/>
                      <a:pt x="768" y="978"/>
                      <a:pt x="768" y="978"/>
                    </a:cubicBezTo>
                    <a:cubicBezTo>
                      <a:pt x="768" y="978"/>
                      <a:pt x="774" y="975"/>
                      <a:pt x="779" y="982"/>
                    </a:cubicBezTo>
                    <a:cubicBezTo>
                      <a:pt x="784" y="989"/>
                      <a:pt x="787" y="1012"/>
                      <a:pt x="787" y="1012"/>
                    </a:cubicBezTo>
                    <a:cubicBezTo>
                      <a:pt x="799" y="1012"/>
                      <a:pt x="799" y="1012"/>
                      <a:pt x="799" y="1012"/>
                    </a:cubicBezTo>
                    <a:cubicBezTo>
                      <a:pt x="814" y="1002"/>
                      <a:pt x="814" y="1002"/>
                      <a:pt x="814" y="1002"/>
                    </a:cubicBezTo>
                    <a:cubicBezTo>
                      <a:pt x="814" y="1002"/>
                      <a:pt x="816" y="1016"/>
                      <a:pt x="822" y="1013"/>
                    </a:cubicBezTo>
                    <a:cubicBezTo>
                      <a:pt x="828" y="1010"/>
                      <a:pt x="827" y="945"/>
                      <a:pt x="827" y="945"/>
                    </a:cubicBezTo>
                    <a:cubicBezTo>
                      <a:pt x="819" y="945"/>
                      <a:pt x="819" y="945"/>
                      <a:pt x="819" y="945"/>
                    </a:cubicBezTo>
                    <a:cubicBezTo>
                      <a:pt x="813" y="948"/>
                      <a:pt x="813" y="948"/>
                      <a:pt x="813" y="948"/>
                    </a:cubicBezTo>
                    <a:cubicBezTo>
                      <a:pt x="813" y="948"/>
                      <a:pt x="816" y="961"/>
                      <a:pt x="806" y="961"/>
                    </a:cubicBezTo>
                    <a:cubicBezTo>
                      <a:pt x="796" y="961"/>
                      <a:pt x="784" y="947"/>
                      <a:pt x="778" y="940"/>
                    </a:cubicBezTo>
                    <a:cubicBezTo>
                      <a:pt x="772" y="933"/>
                      <a:pt x="761" y="938"/>
                      <a:pt x="759" y="920"/>
                    </a:cubicBezTo>
                    <a:cubicBezTo>
                      <a:pt x="757" y="902"/>
                      <a:pt x="779" y="880"/>
                      <a:pt x="779" y="866"/>
                    </a:cubicBezTo>
                    <a:cubicBezTo>
                      <a:pt x="779" y="852"/>
                      <a:pt x="775" y="818"/>
                      <a:pt x="775" y="818"/>
                    </a:cubicBezTo>
                    <a:cubicBezTo>
                      <a:pt x="775" y="818"/>
                      <a:pt x="773" y="799"/>
                      <a:pt x="770" y="797"/>
                    </a:cubicBezTo>
                    <a:cubicBezTo>
                      <a:pt x="767" y="795"/>
                      <a:pt x="761" y="788"/>
                      <a:pt x="761" y="788"/>
                    </a:cubicBezTo>
                    <a:cubicBezTo>
                      <a:pt x="761" y="788"/>
                      <a:pt x="788" y="773"/>
                      <a:pt x="788" y="766"/>
                    </a:cubicBezTo>
                    <a:cubicBezTo>
                      <a:pt x="788" y="759"/>
                      <a:pt x="788" y="746"/>
                      <a:pt x="788" y="746"/>
                    </a:cubicBezTo>
                    <a:cubicBezTo>
                      <a:pt x="788" y="746"/>
                      <a:pt x="825" y="741"/>
                      <a:pt x="838" y="738"/>
                    </a:cubicBezTo>
                    <a:cubicBezTo>
                      <a:pt x="842" y="737"/>
                      <a:pt x="849" y="735"/>
                      <a:pt x="857" y="731"/>
                    </a:cubicBezTo>
                    <a:cubicBezTo>
                      <a:pt x="860" y="728"/>
                      <a:pt x="862" y="726"/>
                      <a:pt x="862" y="726"/>
                    </a:cubicBezTo>
                    <a:cubicBezTo>
                      <a:pt x="862" y="726"/>
                      <a:pt x="855" y="714"/>
                      <a:pt x="850" y="710"/>
                    </a:cubicBezTo>
                    <a:cubicBezTo>
                      <a:pt x="846" y="706"/>
                      <a:pt x="849" y="688"/>
                      <a:pt x="849" y="681"/>
                    </a:cubicBezTo>
                    <a:cubicBezTo>
                      <a:pt x="849" y="674"/>
                      <a:pt x="837" y="678"/>
                      <a:pt x="834" y="677"/>
                    </a:cubicBezTo>
                    <a:cubicBezTo>
                      <a:pt x="831" y="676"/>
                      <a:pt x="828" y="666"/>
                      <a:pt x="828" y="658"/>
                    </a:cubicBezTo>
                    <a:cubicBezTo>
                      <a:pt x="828" y="650"/>
                      <a:pt x="819" y="649"/>
                      <a:pt x="812" y="642"/>
                    </a:cubicBezTo>
                    <a:cubicBezTo>
                      <a:pt x="805" y="635"/>
                      <a:pt x="803" y="618"/>
                      <a:pt x="804" y="612"/>
                    </a:cubicBezTo>
                    <a:cubicBezTo>
                      <a:pt x="805" y="606"/>
                      <a:pt x="810" y="596"/>
                      <a:pt x="810" y="589"/>
                    </a:cubicBezTo>
                    <a:cubicBezTo>
                      <a:pt x="810" y="582"/>
                      <a:pt x="800" y="582"/>
                      <a:pt x="796" y="572"/>
                    </a:cubicBezTo>
                    <a:cubicBezTo>
                      <a:pt x="792" y="562"/>
                      <a:pt x="796" y="550"/>
                      <a:pt x="797" y="538"/>
                    </a:cubicBezTo>
                    <a:cubicBezTo>
                      <a:pt x="798" y="526"/>
                      <a:pt x="799" y="515"/>
                      <a:pt x="802" y="502"/>
                    </a:cubicBezTo>
                    <a:cubicBezTo>
                      <a:pt x="804" y="494"/>
                      <a:pt x="810" y="495"/>
                      <a:pt x="814" y="498"/>
                    </a:cubicBezTo>
                    <a:cubicBezTo>
                      <a:pt x="814" y="496"/>
                      <a:pt x="814" y="494"/>
                      <a:pt x="814" y="494"/>
                    </a:cubicBezTo>
                    <a:cubicBezTo>
                      <a:pt x="814" y="494"/>
                      <a:pt x="816" y="480"/>
                      <a:pt x="816" y="471"/>
                    </a:cubicBezTo>
                    <a:cubicBezTo>
                      <a:pt x="816" y="462"/>
                      <a:pt x="801" y="454"/>
                      <a:pt x="801" y="454"/>
                    </a:cubicBezTo>
                    <a:cubicBezTo>
                      <a:pt x="795" y="434"/>
                      <a:pt x="795" y="434"/>
                      <a:pt x="795" y="434"/>
                    </a:cubicBezTo>
                    <a:cubicBezTo>
                      <a:pt x="795" y="434"/>
                      <a:pt x="795" y="434"/>
                      <a:pt x="795" y="434"/>
                    </a:cubicBezTo>
                    <a:cubicBezTo>
                      <a:pt x="791" y="433"/>
                      <a:pt x="787" y="432"/>
                      <a:pt x="786" y="428"/>
                    </a:cubicBezTo>
                    <a:cubicBezTo>
                      <a:pt x="782" y="420"/>
                      <a:pt x="804" y="410"/>
                      <a:pt x="806" y="406"/>
                    </a:cubicBezTo>
                    <a:cubicBezTo>
                      <a:pt x="807" y="403"/>
                      <a:pt x="797" y="392"/>
                      <a:pt x="799" y="384"/>
                    </a:cubicBezTo>
                    <a:cubicBezTo>
                      <a:pt x="800" y="376"/>
                      <a:pt x="824" y="365"/>
                      <a:pt x="824" y="365"/>
                    </a:cubicBezTo>
                    <a:lnTo>
                      <a:pt x="828" y="315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7" name="MCShape 167">
                <a:extLst>
                  <a:ext uri="{FF2B5EF4-FFF2-40B4-BE49-F238E27FC236}">
                    <a16:creationId xmlns:a16="http://schemas.microsoft.com/office/drawing/2014/main" id="{162914EA-201F-44DA-899E-31ECF2D17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8854" y="4292024"/>
                <a:ext cx="51043" cy="64963"/>
              </a:xfrm>
              <a:custGeom>
                <a:avLst/>
                <a:gdLst>
                  <a:gd name="T0" fmla="*/ 21 w 87"/>
                  <a:gd name="T1" fmla="*/ 49 h 112"/>
                  <a:gd name="T2" fmla="*/ 19 w 87"/>
                  <a:gd name="T3" fmla="*/ 72 h 112"/>
                  <a:gd name="T4" fmla="*/ 25 w 87"/>
                  <a:gd name="T5" fmla="*/ 112 h 112"/>
                  <a:gd name="T6" fmla="*/ 45 w 87"/>
                  <a:gd name="T7" fmla="*/ 103 h 112"/>
                  <a:gd name="T8" fmla="*/ 61 w 87"/>
                  <a:gd name="T9" fmla="*/ 68 h 112"/>
                  <a:gd name="T10" fmla="*/ 80 w 87"/>
                  <a:gd name="T11" fmla="*/ 56 h 112"/>
                  <a:gd name="T12" fmla="*/ 78 w 87"/>
                  <a:gd name="T13" fmla="*/ 47 h 112"/>
                  <a:gd name="T14" fmla="*/ 86 w 87"/>
                  <a:gd name="T15" fmla="*/ 44 h 112"/>
                  <a:gd name="T16" fmla="*/ 87 w 87"/>
                  <a:gd name="T17" fmla="*/ 33 h 112"/>
                  <a:gd name="T18" fmla="*/ 65 w 87"/>
                  <a:gd name="T19" fmla="*/ 23 h 112"/>
                  <a:gd name="T20" fmla="*/ 71 w 87"/>
                  <a:gd name="T21" fmla="*/ 0 h 112"/>
                  <a:gd name="T22" fmla="*/ 77 w 87"/>
                  <a:gd name="T23" fmla="*/ 0 h 112"/>
                  <a:gd name="T24" fmla="*/ 74 w 87"/>
                  <a:gd name="T25" fmla="*/ 0 h 112"/>
                  <a:gd name="T26" fmla="*/ 44 w 87"/>
                  <a:gd name="T27" fmla="*/ 0 h 112"/>
                  <a:gd name="T28" fmla="*/ 39 w 87"/>
                  <a:gd name="T29" fmla="*/ 17 h 112"/>
                  <a:gd name="T30" fmla="*/ 22 w 87"/>
                  <a:gd name="T31" fmla="*/ 24 h 112"/>
                  <a:gd name="T32" fmla="*/ 9 w 87"/>
                  <a:gd name="T33" fmla="*/ 11 h 112"/>
                  <a:gd name="T34" fmla="*/ 0 w 87"/>
                  <a:gd name="T35" fmla="*/ 12 h 112"/>
                  <a:gd name="T36" fmla="*/ 6 w 87"/>
                  <a:gd name="T37" fmla="*/ 32 h 112"/>
                  <a:gd name="T38" fmla="*/ 21 w 87"/>
                  <a:gd name="T39" fmla="*/ 49 h 11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7"/>
                  <a:gd name="T61" fmla="*/ 0 h 112"/>
                  <a:gd name="T62" fmla="*/ 87 w 87"/>
                  <a:gd name="T63" fmla="*/ 112 h 11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7" h="112">
                    <a:moveTo>
                      <a:pt x="21" y="49"/>
                    </a:moveTo>
                    <a:cubicBezTo>
                      <a:pt x="21" y="58"/>
                      <a:pt x="19" y="72"/>
                      <a:pt x="19" y="72"/>
                    </a:cubicBezTo>
                    <a:cubicBezTo>
                      <a:pt x="19" y="72"/>
                      <a:pt x="19" y="99"/>
                      <a:pt x="25" y="112"/>
                    </a:cubicBezTo>
                    <a:cubicBezTo>
                      <a:pt x="29" y="112"/>
                      <a:pt x="35" y="110"/>
                      <a:pt x="45" y="103"/>
                    </a:cubicBezTo>
                    <a:cubicBezTo>
                      <a:pt x="61" y="91"/>
                      <a:pt x="54" y="81"/>
                      <a:pt x="61" y="68"/>
                    </a:cubicBezTo>
                    <a:cubicBezTo>
                      <a:pt x="68" y="55"/>
                      <a:pt x="80" y="56"/>
                      <a:pt x="80" y="56"/>
                    </a:cubicBezTo>
                    <a:cubicBezTo>
                      <a:pt x="78" y="47"/>
                      <a:pt x="78" y="47"/>
                      <a:pt x="78" y="47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7" y="33"/>
                      <a:pt x="63" y="32"/>
                      <a:pt x="65" y="23"/>
                    </a:cubicBezTo>
                    <a:cubicBezTo>
                      <a:pt x="67" y="14"/>
                      <a:pt x="71" y="0"/>
                      <a:pt x="71" y="0"/>
                    </a:cubicBezTo>
                    <a:cubicBezTo>
                      <a:pt x="71" y="0"/>
                      <a:pt x="74" y="0"/>
                      <a:pt x="77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17"/>
                      <a:pt x="26" y="24"/>
                      <a:pt x="22" y="24"/>
                    </a:cubicBezTo>
                    <a:cubicBezTo>
                      <a:pt x="18" y="24"/>
                      <a:pt x="9" y="11"/>
                      <a:pt x="9" y="11"/>
                    </a:cubicBezTo>
                    <a:cubicBezTo>
                      <a:pt x="9" y="11"/>
                      <a:pt x="5" y="12"/>
                      <a:pt x="0" y="1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21" y="40"/>
                      <a:pt x="21" y="4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8" name="MCShape 168">
                <a:extLst>
                  <a:ext uri="{FF2B5EF4-FFF2-40B4-BE49-F238E27FC236}">
                    <a16:creationId xmlns:a16="http://schemas.microsoft.com/office/drawing/2014/main" id="{D31145E4-DC69-469C-AD01-DE6F820F7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74322" y="4248715"/>
                <a:ext cx="300067" cy="340282"/>
              </a:xfrm>
              <a:custGeom>
                <a:avLst/>
                <a:gdLst>
                  <a:gd name="T0" fmla="*/ 477 w 510"/>
                  <a:gd name="T1" fmla="*/ 478 h 579"/>
                  <a:gd name="T2" fmla="*/ 458 w 510"/>
                  <a:gd name="T3" fmla="*/ 405 h 579"/>
                  <a:gd name="T4" fmla="*/ 456 w 510"/>
                  <a:gd name="T5" fmla="*/ 360 h 579"/>
                  <a:gd name="T6" fmla="*/ 436 w 510"/>
                  <a:gd name="T7" fmla="*/ 290 h 579"/>
                  <a:gd name="T8" fmla="*/ 455 w 510"/>
                  <a:gd name="T9" fmla="*/ 198 h 579"/>
                  <a:gd name="T10" fmla="*/ 391 w 510"/>
                  <a:gd name="T11" fmla="*/ 118 h 579"/>
                  <a:gd name="T12" fmla="*/ 216 w 510"/>
                  <a:gd name="T13" fmla="*/ 1 h 579"/>
                  <a:gd name="T14" fmla="*/ 206 w 510"/>
                  <a:gd name="T15" fmla="*/ 1 h 579"/>
                  <a:gd name="T16" fmla="*/ 194 w 510"/>
                  <a:gd name="T17" fmla="*/ 31 h 579"/>
                  <a:gd name="T18" fmla="*/ 206 w 510"/>
                  <a:gd name="T19" fmla="*/ 59 h 579"/>
                  <a:gd name="T20" fmla="*/ 162 w 510"/>
                  <a:gd name="T21" fmla="*/ 71 h 579"/>
                  <a:gd name="T22" fmla="*/ 161 w 510"/>
                  <a:gd name="T23" fmla="*/ 99 h 579"/>
                  <a:gd name="T24" fmla="*/ 150 w 510"/>
                  <a:gd name="T25" fmla="*/ 73 h 579"/>
                  <a:gd name="T26" fmla="*/ 123 w 510"/>
                  <a:gd name="T27" fmla="*/ 66 h 579"/>
                  <a:gd name="T28" fmla="*/ 104 w 510"/>
                  <a:gd name="T29" fmla="*/ 80 h 579"/>
                  <a:gd name="T30" fmla="*/ 112 w 510"/>
                  <a:gd name="T31" fmla="*/ 2 h 579"/>
                  <a:gd name="T32" fmla="*/ 51 w 510"/>
                  <a:gd name="T33" fmla="*/ 0 h 579"/>
                  <a:gd name="T34" fmla="*/ 60 w 510"/>
                  <a:gd name="T35" fmla="*/ 31 h 579"/>
                  <a:gd name="T36" fmla="*/ 64 w 510"/>
                  <a:gd name="T37" fmla="*/ 64 h 579"/>
                  <a:gd name="T38" fmla="*/ 38 w 510"/>
                  <a:gd name="T39" fmla="*/ 97 h 579"/>
                  <a:gd name="T40" fmla="*/ 59 w 510"/>
                  <a:gd name="T41" fmla="*/ 118 h 579"/>
                  <a:gd name="T42" fmla="*/ 53 w 510"/>
                  <a:gd name="T43" fmla="*/ 130 h 579"/>
                  <a:gd name="T44" fmla="*/ 18 w 510"/>
                  <a:gd name="T45" fmla="*/ 177 h 579"/>
                  <a:gd name="T46" fmla="*/ 0 w 510"/>
                  <a:gd name="T47" fmla="*/ 194 h 579"/>
                  <a:gd name="T48" fmla="*/ 8 w 510"/>
                  <a:gd name="T49" fmla="*/ 226 h 579"/>
                  <a:gd name="T50" fmla="*/ 9 w 510"/>
                  <a:gd name="T51" fmla="*/ 279 h 579"/>
                  <a:gd name="T52" fmla="*/ 51 w 510"/>
                  <a:gd name="T53" fmla="*/ 322 h 579"/>
                  <a:gd name="T54" fmla="*/ 56 w 510"/>
                  <a:gd name="T55" fmla="*/ 370 h 579"/>
                  <a:gd name="T56" fmla="*/ 69 w 510"/>
                  <a:gd name="T57" fmla="*/ 409 h 579"/>
                  <a:gd name="T58" fmla="*/ 94 w 510"/>
                  <a:gd name="T59" fmla="*/ 421 h 579"/>
                  <a:gd name="T60" fmla="*/ 118 w 510"/>
                  <a:gd name="T61" fmla="*/ 434 h 579"/>
                  <a:gd name="T62" fmla="*/ 135 w 510"/>
                  <a:gd name="T63" fmla="*/ 443 h 579"/>
                  <a:gd name="T64" fmla="*/ 158 w 510"/>
                  <a:gd name="T65" fmla="*/ 452 h 579"/>
                  <a:gd name="T66" fmla="*/ 179 w 510"/>
                  <a:gd name="T67" fmla="*/ 461 h 579"/>
                  <a:gd name="T68" fmla="*/ 212 w 510"/>
                  <a:gd name="T69" fmla="*/ 453 h 579"/>
                  <a:gd name="T70" fmla="*/ 232 w 510"/>
                  <a:gd name="T71" fmla="*/ 514 h 579"/>
                  <a:gd name="T72" fmla="*/ 231 w 510"/>
                  <a:gd name="T73" fmla="*/ 539 h 579"/>
                  <a:gd name="T74" fmla="*/ 249 w 510"/>
                  <a:gd name="T75" fmla="*/ 569 h 579"/>
                  <a:gd name="T76" fmla="*/ 292 w 510"/>
                  <a:gd name="T77" fmla="*/ 558 h 579"/>
                  <a:gd name="T78" fmla="*/ 338 w 510"/>
                  <a:gd name="T79" fmla="*/ 568 h 579"/>
                  <a:gd name="T80" fmla="*/ 367 w 510"/>
                  <a:gd name="T81" fmla="*/ 573 h 579"/>
                  <a:gd name="T82" fmla="*/ 406 w 510"/>
                  <a:gd name="T83" fmla="*/ 552 h 579"/>
                  <a:gd name="T84" fmla="*/ 438 w 510"/>
                  <a:gd name="T85" fmla="*/ 545 h 579"/>
                  <a:gd name="T86" fmla="*/ 510 w 510"/>
                  <a:gd name="T87" fmla="*/ 507 h 579"/>
                  <a:gd name="T88" fmla="*/ 481 w 510"/>
                  <a:gd name="T89" fmla="*/ 237 h 579"/>
                  <a:gd name="T90" fmla="*/ 481 w 510"/>
                  <a:gd name="T91" fmla="*/ 237 h 579"/>
                  <a:gd name="T92" fmla="*/ 478 w 510"/>
                  <a:gd name="T93" fmla="*/ 294 h 579"/>
                  <a:gd name="T94" fmla="*/ 458 w 510"/>
                  <a:gd name="T95" fmla="*/ 251 h 57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10"/>
                  <a:gd name="T145" fmla="*/ 0 h 579"/>
                  <a:gd name="T146" fmla="*/ 510 w 510"/>
                  <a:gd name="T147" fmla="*/ 579 h 57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10" h="579">
                    <a:moveTo>
                      <a:pt x="507" y="496"/>
                    </a:moveTo>
                    <a:cubicBezTo>
                      <a:pt x="507" y="496"/>
                      <a:pt x="479" y="489"/>
                      <a:pt x="477" y="478"/>
                    </a:cubicBezTo>
                    <a:cubicBezTo>
                      <a:pt x="475" y="467"/>
                      <a:pt x="473" y="436"/>
                      <a:pt x="473" y="436"/>
                    </a:cubicBezTo>
                    <a:cubicBezTo>
                      <a:pt x="458" y="405"/>
                      <a:pt x="458" y="405"/>
                      <a:pt x="458" y="405"/>
                    </a:cubicBezTo>
                    <a:cubicBezTo>
                      <a:pt x="467" y="374"/>
                      <a:pt x="467" y="374"/>
                      <a:pt x="467" y="374"/>
                    </a:cubicBezTo>
                    <a:cubicBezTo>
                      <a:pt x="456" y="360"/>
                      <a:pt x="456" y="360"/>
                      <a:pt x="456" y="360"/>
                    </a:cubicBezTo>
                    <a:cubicBezTo>
                      <a:pt x="456" y="360"/>
                      <a:pt x="476" y="325"/>
                      <a:pt x="471" y="317"/>
                    </a:cubicBezTo>
                    <a:cubicBezTo>
                      <a:pt x="466" y="309"/>
                      <a:pt x="439" y="302"/>
                      <a:pt x="436" y="290"/>
                    </a:cubicBezTo>
                    <a:cubicBezTo>
                      <a:pt x="433" y="278"/>
                      <a:pt x="450" y="239"/>
                      <a:pt x="451" y="232"/>
                    </a:cubicBezTo>
                    <a:cubicBezTo>
                      <a:pt x="452" y="226"/>
                      <a:pt x="454" y="203"/>
                      <a:pt x="455" y="198"/>
                    </a:cubicBezTo>
                    <a:cubicBezTo>
                      <a:pt x="380" y="128"/>
                      <a:pt x="380" y="128"/>
                      <a:pt x="380" y="128"/>
                    </a:cubicBezTo>
                    <a:cubicBezTo>
                      <a:pt x="380" y="128"/>
                      <a:pt x="388" y="122"/>
                      <a:pt x="391" y="118"/>
                    </a:cubicBezTo>
                    <a:cubicBezTo>
                      <a:pt x="394" y="114"/>
                      <a:pt x="382" y="105"/>
                      <a:pt x="382" y="105"/>
                    </a:cubicBezTo>
                    <a:cubicBezTo>
                      <a:pt x="216" y="1"/>
                      <a:pt x="216" y="1"/>
                      <a:pt x="216" y="1"/>
                    </a:cubicBezTo>
                    <a:cubicBezTo>
                      <a:pt x="206" y="1"/>
                      <a:pt x="206" y="1"/>
                      <a:pt x="206" y="1"/>
                    </a:cubicBezTo>
                    <a:cubicBezTo>
                      <a:pt x="206" y="1"/>
                      <a:pt x="206" y="1"/>
                      <a:pt x="206" y="1"/>
                    </a:cubicBezTo>
                    <a:cubicBezTo>
                      <a:pt x="206" y="10"/>
                      <a:pt x="209" y="24"/>
                      <a:pt x="209" y="24"/>
                    </a:cubicBezTo>
                    <a:cubicBezTo>
                      <a:pt x="194" y="31"/>
                      <a:pt x="194" y="31"/>
                      <a:pt x="194" y="31"/>
                    </a:cubicBezTo>
                    <a:cubicBezTo>
                      <a:pt x="194" y="31"/>
                      <a:pt x="181" y="40"/>
                      <a:pt x="176" y="55"/>
                    </a:cubicBezTo>
                    <a:cubicBezTo>
                      <a:pt x="171" y="70"/>
                      <a:pt x="206" y="59"/>
                      <a:pt x="206" y="59"/>
                    </a:cubicBezTo>
                    <a:cubicBezTo>
                      <a:pt x="206" y="59"/>
                      <a:pt x="187" y="75"/>
                      <a:pt x="181" y="78"/>
                    </a:cubicBezTo>
                    <a:cubicBezTo>
                      <a:pt x="175" y="81"/>
                      <a:pt x="171" y="72"/>
                      <a:pt x="162" y="71"/>
                    </a:cubicBezTo>
                    <a:cubicBezTo>
                      <a:pt x="153" y="70"/>
                      <a:pt x="154" y="89"/>
                      <a:pt x="154" y="89"/>
                    </a:cubicBezTo>
                    <a:cubicBezTo>
                      <a:pt x="161" y="99"/>
                      <a:pt x="161" y="99"/>
                      <a:pt x="161" y="99"/>
                    </a:cubicBezTo>
                    <a:cubicBezTo>
                      <a:pt x="161" y="99"/>
                      <a:pt x="158" y="100"/>
                      <a:pt x="148" y="99"/>
                    </a:cubicBezTo>
                    <a:cubicBezTo>
                      <a:pt x="138" y="98"/>
                      <a:pt x="150" y="73"/>
                      <a:pt x="150" y="73"/>
                    </a:cubicBezTo>
                    <a:cubicBezTo>
                      <a:pt x="138" y="78"/>
                      <a:pt x="138" y="78"/>
                      <a:pt x="138" y="78"/>
                    </a:cubicBezTo>
                    <a:cubicBezTo>
                      <a:pt x="138" y="78"/>
                      <a:pt x="130" y="66"/>
                      <a:pt x="123" y="66"/>
                    </a:cubicBezTo>
                    <a:cubicBezTo>
                      <a:pt x="113" y="66"/>
                      <a:pt x="114" y="92"/>
                      <a:pt x="109" y="92"/>
                    </a:cubicBezTo>
                    <a:cubicBezTo>
                      <a:pt x="104" y="92"/>
                      <a:pt x="104" y="80"/>
                      <a:pt x="104" y="80"/>
                    </a:cubicBezTo>
                    <a:cubicBezTo>
                      <a:pt x="104" y="80"/>
                      <a:pt x="99" y="54"/>
                      <a:pt x="101" y="40"/>
                    </a:cubicBezTo>
                    <a:cubicBezTo>
                      <a:pt x="103" y="26"/>
                      <a:pt x="111" y="8"/>
                      <a:pt x="112" y="2"/>
                    </a:cubicBezTo>
                    <a:cubicBezTo>
                      <a:pt x="112" y="1"/>
                      <a:pt x="112" y="1"/>
                      <a:pt x="11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6" y="13"/>
                      <a:pt x="56" y="23"/>
                      <a:pt x="60" y="31"/>
                    </a:cubicBezTo>
                    <a:cubicBezTo>
                      <a:pt x="64" y="39"/>
                      <a:pt x="58" y="44"/>
                      <a:pt x="58" y="44"/>
                    </a:cubicBezTo>
                    <a:cubicBezTo>
                      <a:pt x="58" y="44"/>
                      <a:pt x="64" y="52"/>
                      <a:pt x="64" y="64"/>
                    </a:cubicBezTo>
                    <a:cubicBezTo>
                      <a:pt x="64" y="76"/>
                      <a:pt x="44" y="74"/>
                      <a:pt x="44" y="74"/>
                    </a:cubicBezTo>
                    <a:cubicBezTo>
                      <a:pt x="44" y="74"/>
                      <a:pt x="40" y="88"/>
                      <a:pt x="38" y="97"/>
                    </a:cubicBezTo>
                    <a:cubicBezTo>
                      <a:pt x="36" y="106"/>
                      <a:pt x="60" y="107"/>
                      <a:pt x="60" y="107"/>
                    </a:cubicBezTo>
                    <a:cubicBezTo>
                      <a:pt x="59" y="118"/>
                      <a:pt x="59" y="118"/>
                      <a:pt x="59" y="118"/>
                    </a:cubicBezTo>
                    <a:cubicBezTo>
                      <a:pt x="51" y="121"/>
                      <a:pt x="51" y="121"/>
                      <a:pt x="51" y="121"/>
                    </a:cubicBezTo>
                    <a:cubicBezTo>
                      <a:pt x="53" y="130"/>
                      <a:pt x="53" y="130"/>
                      <a:pt x="53" y="130"/>
                    </a:cubicBezTo>
                    <a:cubicBezTo>
                      <a:pt x="53" y="130"/>
                      <a:pt x="41" y="129"/>
                      <a:pt x="34" y="142"/>
                    </a:cubicBezTo>
                    <a:cubicBezTo>
                      <a:pt x="27" y="155"/>
                      <a:pt x="34" y="165"/>
                      <a:pt x="18" y="177"/>
                    </a:cubicBezTo>
                    <a:cubicBezTo>
                      <a:pt x="11" y="182"/>
                      <a:pt x="6" y="184"/>
                      <a:pt x="2" y="185"/>
                    </a:cubicBezTo>
                    <a:cubicBezTo>
                      <a:pt x="0" y="194"/>
                      <a:pt x="0" y="194"/>
                      <a:pt x="0" y="194"/>
                    </a:cubicBezTo>
                    <a:cubicBezTo>
                      <a:pt x="0" y="194"/>
                      <a:pt x="6" y="205"/>
                      <a:pt x="9" y="209"/>
                    </a:cubicBezTo>
                    <a:cubicBezTo>
                      <a:pt x="12" y="213"/>
                      <a:pt x="8" y="226"/>
                      <a:pt x="8" y="226"/>
                    </a:cubicBezTo>
                    <a:cubicBezTo>
                      <a:pt x="8" y="226"/>
                      <a:pt x="19" y="256"/>
                      <a:pt x="15" y="261"/>
                    </a:cubicBezTo>
                    <a:cubicBezTo>
                      <a:pt x="11" y="266"/>
                      <a:pt x="8" y="269"/>
                      <a:pt x="9" y="279"/>
                    </a:cubicBezTo>
                    <a:cubicBezTo>
                      <a:pt x="10" y="289"/>
                      <a:pt x="18" y="294"/>
                      <a:pt x="24" y="296"/>
                    </a:cubicBezTo>
                    <a:cubicBezTo>
                      <a:pt x="30" y="298"/>
                      <a:pt x="47" y="316"/>
                      <a:pt x="51" y="322"/>
                    </a:cubicBezTo>
                    <a:cubicBezTo>
                      <a:pt x="55" y="328"/>
                      <a:pt x="51" y="337"/>
                      <a:pt x="49" y="345"/>
                    </a:cubicBezTo>
                    <a:cubicBezTo>
                      <a:pt x="47" y="353"/>
                      <a:pt x="56" y="370"/>
                      <a:pt x="56" y="370"/>
                    </a:cubicBezTo>
                    <a:cubicBezTo>
                      <a:pt x="74" y="394"/>
                      <a:pt x="74" y="394"/>
                      <a:pt x="74" y="394"/>
                    </a:cubicBezTo>
                    <a:cubicBezTo>
                      <a:pt x="74" y="394"/>
                      <a:pt x="72" y="401"/>
                      <a:pt x="69" y="409"/>
                    </a:cubicBezTo>
                    <a:cubicBezTo>
                      <a:pt x="77" y="410"/>
                      <a:pt x="89" y="406"/>
                      <a:pt x="89" y="406"/>
                    </a:cubicBezTo>
                    <a:cubicBezTo>
                      <a:pt x="89" y="406"/>
                      <a:pt x="91" y="418"/>
                      <a:pt x="94" y="421"/>
                    </a:cubicBezTo>
                    <a:cubicBezTo>
                      <a:pt x="97" y="424"/>
                      <a:pt x="106" y="421"/>
                      <a:pt x="106" y="421"/>
                    </a:cubicBezTo>
                    <a:cubicBezTo>
                      <a:pt x="106" y="421"/>
                      <a:pt x="113" y="430"/>
                      <a:pt x="118" y="434"/>
                    </a:cubicBezTo>
                    <a:cubicBezTo>
                      <a:pt x="123" y="438"/>
                      <a:pt x="133" y="432"/>
                      <a:pt x="133" y="432"/>
                    </a:cubicBezTo>
                    <a:cubicBezTo>
                      <a:pt x="135" y="443"/>
                      <a:pt x="135" y="443"/>
                      <a:pt x="135" y="443"/>
                    </a:cubicBezTo>
                    <a:cubicBezTo>
                      <a:pt x="147" y="442"/>
                      <a:pt x="147" y="442"/>
                      <a:pt x="147" y="442"/>
                    </a:cubicBezTo>
                    <a:cubicBezTo>
                      <a:pt x="158" y="452"/>
                      <a:pt x="158" y="452"/>
                      <a:pt x="158" y="452"/>
                    </a:cubicBezTo>
                    <a:cubicBezTo>
                      <a:pt x="173" y="451"/>
                      <a:pt x="173" y="451"/>
                      <a:pt x="173" y="451"/>
                    </a:cubicBezTo>
                    <a:cubicBezTo>
                      <a:pt x="179" y="461"/>
                      <a:pt x="179" y="461"/>
                      <a:pt x="179" y="461"/>
                    </a:cubicBezTo>
                    <a:cubicBezTo>
                      <a:pt x="198" y="461"/>
                      <a:pt x="198" y="461"/>
                      <a:pt x="198" y="461"/>
                    </a:cubicBezTo>
                    <a:cubicBezTo>
                      <a:pt x="198" y="461"/>
                      <a:pt x="202" y="448"/>
                      <a:pt x="212" y="453"/>
                    </a:cubicBezTo>
                    <a:cubicBezTo>
                      <a:pt x="222" y="458"/>
                      <a:pt x="230" y="479"/>
                      <a:pt x="230" y="479"/>
                    </a:cubicBezTo>
                    <a:cubicBezTo>
                      <a:pt x="232" y="514"/>
                      <a:pt x="232" y="514"/>
                      <a:pt x="232" y="514"/>
                    </a:cubicBezTo>
                    <a:cubicBezTo>
                      <a:pt x="232" y="514"/>
                      <a:pt x="237" y="515"/>
                      <a:pt x="237" y="522"/>
                    </a:cubicBezTo>
                    <a:cubicBezTo>
                      <a:pt x="237" y="529"/>
                      <a:pt x="234" y="531"/>
                      <a:pt x="231" y="539"/>
                    </a:cubicBezTo>
                    <a:cubicBezTo>
                      <a:pt x="228" y="547"/>
                      <a:pt x="250" y="557"/>
                      <a:pt x="250" y="557"/>
                    </a:cubicBezTo>
                    <a:cubicBezTo>
                      <a:pt x="249" y="569"/>
                      <a:pt x="249" y="569"/>
                      <a:pt x="249" y="569"/>
                    </a:cubicBezTo>
                    <a:cubicBezTo>
                      <a:pt x="262" y="569"/>
                      <a:pt x="280" y="568"/>
                      <a:pt x="280" y="568"/>
                    </a:cubicBezTo>
                    <a:cubicBezTo>
                      <a:pt x="280" y="568"/>
                      <a:pt x="284" y="558"/>
                      <a:pt x="292" y="558"/>
                    </a:cubicBezTo>
                    <a:cubicBezTo>
                      <a:pt x="300" y="558"/>
                      <a:pt x="319" y="579"/>
                      <a:pt x="324" y="579"/>
                    </a:cubicBezTo>
                    <a:cubicBezTo>
                      <a:pt x="329" y="579"/>
                      <a:pt x="334" y="570"/>
                      <a:pt x="338" y="568"/>
                    </a:cubicBezTo>
                    <a:cubicBezTo>
                      <a:pt x="342" y="566"/>
                      <a:pt x="356" y="574"/>
                      <a:pt x="356" y="574"/>
                    </a:cubicBezTo>
                    <a:cubicBezTo>
                      <a:pt x="356" y="574"/>
                      <a:pt x="360" y="576"/>
                      <a:pt x="367" y="573"/>
                    </a:cubicBezTo>
                    <a:cubicBezTo>
                      <a:pt x="374" y="570"/>
                      <a:pt x="390" y="552"/>
                      <a:pt x="390" y="552"/>
                    </a:cubicBezTo>
                    <a:cubicBezTo>
                      <a:pt x="406" y="552"/>
                      <a:pt x="406" y="552"/>
                      <a:pt x="406" y="552"/>
                    </a:cubicBezTo>
                    <a:cubicBezTo>
                      <a:pt x="406" y="552"/>
                      <a:pt x="409" y="560"/>
                      <a:pt x="413" y="559"/>
                    </a:cubicBezTo>
                    <a:cubicBezTo>
                      <a:pt x="417" y="558"/>
                      <a:pt x="438" y="545"/>
                      <a:pt x="438" y="545"/>
                    </a:cubicBezTo>
                    <a:cubicBezTo>
                      <a:pt x="457" y="544"/>
                      <a:pt x="457" y="544"/>
                      <a:pt x="457" y="544"/>
                    </a:cubicBezTo>
                    <a:cubicBezTo>
                      <a:pt x="510" y="507"/>
                      <a:pt x="510" y="507"/>
                      <a:pt x="510" y="507"/>
                    </a:cubicBezTo>
                    <a:lnTo>
                      <a:pt x="507" y="496"/>
                    </a:lnTo>
                    <a:close/>
                    <a:moveTo>
                      <a:pt x="481" y="237"/>
                    </a:moveTo>
                    <a:cubicBezTo>
                      <a:pt x="497" y="235"/>
                      <a:pt x="483" y="196"/>
                      <a:pt x="476" y="204"/>
                    </a:cubicBezTo>
                    <a:cubicBezTo>
                      <a:pt x="468" y="212"/>
                      <a:pt x="468" y="239"/>
                      <a:pt x="481" y="237"/>
                    </a:cubicBezTo>
                    <a:close/>
                    <a:moveTo>
                      <a:pt x="452" y="278"/>
                    </a:moveTo>
                    <a:cubicBezTo>
                      <a:pt x="452" y="278"/>
                      <a:pt x="468" y="296"/>
                      <a:pt x="478" y="294"/>
                    </a:cubicBezTo>
                    <a:cubicBezTo>
                      <a:pt x="487" y="292"/>
                      <a:pt x="470" y="272"/>
                      <a:pt x="470" y="272"/>
                    </a:cubicBezTo>
                    <a:cubicBezTo>
                      <a:pt x="470" y="272"/>
                      <a:pt x="474" y="251"/>
                      <a:pt x="458" y="251"/>
                    </a:cubicBezTo>
                    <a:cubicBezTo>
                      <a:pt x="442" y="251"/>
                      <a:pt x="452" y="278"/>
                      <a:pt x="452" y="27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79" name="MCShape 169">
                <a:extLst>
                  <a:ext uri="{FF2B5EF4-FFF2-40B4-BE49-F238E27FC236}">
                    <a16:creationId xmlns:a16="http://schemas.microsoft.com/office/drawing/2014/main" id="{A3EFE4C3-B32E-490B-A538-DBA7DE3A96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75869" y="4081667"/>
                <a:ext cx="156220" cy="185609"/>
              </a:xfrm>
              <a:custGeom>
                <a:avLst/>
                <a:gdLst>
                  <a:gd name="T0" fmla="*/ 204 w 266"/>
                  <a:gd name="T1" fmla="*/ 283 h 314"/>
                  <a:gd name="T2" fmla="*/ 214 w 266"/>
                  <a:gd name="T3" fmla="*/ 283 h 314"/>
                  <a:gd name="T4" fmla="*/ 215 w 266"/>
                  <a:gd name="T5" fmla="*/ 282 h 314"/>
                  <a:gd name="T6" fmla="*/ 204 w 266"/>
                  <a:gd name="T7" fmla="*/ 283 h 314"/>
                  <a:gd name="T8" fmla="*/ 262 w 266"/>
                  <a:gd name="T9" fmla="*/ 127 h 314"/>
                  <a:gd name="T10" fmla="*/ 246 w 266"/>
                  <a:gd name="T11" fmla="*/ 97 h 314"/>
                  <a:gd name="T12" fmla="*/ 255 w 266"/>
                  <a:gd name="T13" fmla="*/ 87 h 314"/>
                  <a:gd name="T14" fmla="*/ 234 w 266"/>
                  <a:gd name="T15" fmla="*/ 62 h 314"/>
                  <a:gd name="T16" fmla="*/ 235 w 266"/>
                  <a:gd name="T17" fmla="*/ 57 h 314"/>
                  <a:gd name="T18" fmla="*/ 226 w 266"/>
                  <a:gd name="T19" fmla="*/ 42 h 314"/>
                  <a:gd name="T20" fmla="*/ 228 w 266"/>
                  <a:gd name="T21" fmla="*/ 27 h 314"/>
                  <a:gd name="T22" fmla="*/ 215 w 266"/>
                  <a:gd name="T23" fmla="*/ 22 h 314"/>
                  <a:gd name="T24" fmla="*/ 208 w 266"/>
                  <a:gd name="T25" fmla="*/ 0 h 314"/>
                  <a:gd name="T26" fmla="*/ 200 w 266"/>
                  <a:gd name="T27" fmla="*/ 0 h 314"/>
                  <a:gd name="T28" fmla="*/ 178 w 266"/>
                  <a:gd name="T29" fmla="*/ 25 h 314"/>
                  <a:gd name="T30" fmla="*/ 161 w 266"/>
                  <a:gd name="T31" fmla="*/ 17 h 314"/>
                  <a:gd name="T32" fmla="*/ 149 w 266"/>
                  <a:gd name="T33" fmla="*/ 25 h 314"/>
                  <a:gd name="T34" fmla="*/ 133 w 266"/>
                  <a:gd name="T35" fmla="*/ 24 h 314"/>
                  <a:gd name="T36" fmla="*/ 120 w 266"/>
                  <a:gd name="T37" fmla="*/ 39 h 314"/>
                  <a:gd name="T38" fmla="*/ 106 w 266"/>
                  <a:gd name="T39" fmla="*/ 21 h 314"/>
                  <a:gd name="T40" fmla="*/ 99 w 266"/>
                  <a:gd name="T41" fmla="*/ 22 h 314"/>
                  <a:gd name="T42" fmla="*/ 92 w 266"/>
                  <a:gd name="T43" fmla="*/ 29 h 314"/>
                  <a:gd name="T44" fmla="*/ 72 w 266"/>
                  <a:gd name="T45" fmla="*/ 21 h 314"/>
                  <a:gd name="T46" fmla="*/ 56 w 266"/>
                  <a:gd name="T47" fmla="*/ 34 h 314"/>
                  <a:gd name="T48" fmla="*/ 62 w 266"/>
                  <a:gd name="T49" fmla="*/ 47 h 314"/>
                  <a:gd name="T50" fmla="*/ 49 w 266"/>
                  <a:gd name="T51" fmla="*/ 61 h 314"/>
                  <a:gd name="T52" fmla="*/ 59 w 266"/>
                  <a:gd name="T53" fmla="*/ 71 h 314"/>
                  <a:gd name="T54" fmla="*/ 52 w 266"/>
                  <a:gd name="T55" fmla="*/ 92 h 314"/>
                  <a:gd name="T56" fmla="*/ 66 w 266"/>
                  <a:gd name="T57" fmla="*/ 97 h 314"/>
                  <a:gd name="T58" fmla="*/ 78 w 266"/>
                  <a:gd name="T59" fmla="*/ 108 h 314"/>
                  <a:gd name="T60" fmla="*/ 45 w 266"/>
                  <a:gd name="T61" fmla="*/ 156 h 314"/>
                  <a:gd name="T62" fmla="*/ 29 w 266"/>
                  <a:gd name="T63" fmla="*/ 164 h 314"/>
                  <a:gd name="T64" fmla="*/ 29 w 266"/>
                  <a:gd name="T65" fmla="*/ 173 h 314"/>
                  <a:gd name="T66" fmla="*/ 16 w 266"/>
                  <a:gd name="T67" fmla="*/ 181 h 314"/>
                  <a:gd name="T68" fmla="*/ 14 w 266"/>
                  <a:gd name="T69" fmla="*/ 198 h 314"/>
                  <a:gd name="T70" fmla="*/ 4 w 266"/>
                  <a:gd name="T71" fmla="*/ 229 h 314"/>
                  <a:gd name="T72" fmla="*/ 4 w 266"/>
                  <a:gd name="T73" fmla="*/ 249 h 314"/>
                  <a:gd name="T74" fmla="*/ 0 w 266"/>
                  <a:gd name="T75" fmla="*/ 299 h 314"/>
                  <a:gd name="T76" fmla="*/ 10 w 266"/>
                  <a:gd name="T77" fmla="*/ 299 h 314"/>
                  <a:gd name="T78" fmla="*/ 22 w 266"/>
                  <a:gd name="T79" fmla="*/ 307 h 314"/>
                  <a:gd name="T80" fmla="*/ 33 w 266"/>
                  <a:gd name="T81" fmla="*/ 283 h 314"/>
                  <a:gd name="T82" fmla="*/ 49 w 266"/>
                  <a:gd name="T83" fmla="*/ 282 h 314"/>
                  <a:gd name="T84" fmla="*/ 110 w 266"/>
                  <a:gd name="T85" fmla="*/ 282 h 314"/>
                  <a:gd name="T86" fmla="*/ 102 w 266"/>
                  <a:gd name="T87" fmla="*/ 265 h 314"/>
                  <a:gd name="T88" fmla="*/ 111 w 266"/>
                  <a:gd name="T89" fmla="*/ 246 h 314"/>
                  <a:gd name="T90" fmla="*/ 118 w 266"/>
                  <a:gd name="T91" fmla="*/ 223 h 314"/>
                  <a:gd name="T92" fmla="*/ 160 w 266"/>
                  <a:gd name="T93" fmla="*/ 216 h 314"/>
                  <a:gd name="T94" fmla="*/ 176 w 266"/>
                  <a:gd name="T95" fmla="*/ 202 h 314"/>
                  <a:gd name="T96" fmla="*/ 182 w 266"/>
                  <a:gd name="T97" fmla="*/ 219 h 314"/>
                  <a:gd name="T98" fmla="*/ 200 w 266"/>
                  <a:gd name="T99" fmla="*/ 215 h 314"/>
                  <a:gd name="T100" fmla="*/ 207 w 266"/>
                  <a:gd name="T101" fmla="*/ 217 h 314"/>
                  <a:gd name="T102" fmla="*/ 207 w 266"/>
                  <a:gd name="T103" fmla="*/ 219 h 314"/>
                  <a:gd name="T104" fmla="*/ 218 w 266"/>
                  <a:gd name="T105" fmla="*/ 201 h 314"/>
                  <a:gd name="T106" fmla="*/ 219 w 266"/>
                  <a:gd name="T107" fmla="*/ 190 h 314"/>
                  <a:gd name="T108" fmla="*/ 231 w 266"/>
                  <a:gd name="T109" fmla="*/ 179 h 314"/>
                  <a:gd name="T110" fmla="*/ 234 w 266"/>
                  <a:gd name="T111" fmla="*/ 164 h 314"/>
                  <a:gd name="T112" fmla="*/ 247 w 266"/>
                  <a:gd name="T113" fmla="*/ 160 h 314"/>
                  <a:gd name="T114" fmla="*/ 251 w 266"/>
                  <a:gd name="T115" fmla="*/ 145 h 314"/>
                  <a:gd name="T116" fmla="*/ 262 w 266"/>
                  <a:gd name="T117" fmla="*/ 127 h 3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66"/>
                  <a:gd name="T178" fmla="*/ 0 h 314"/>
                  <a:gd name="T179" fmla="*/ 266 w 266"/>
                  <a:gd name="T180" fmla="*/ 314 h 3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66" h="314">
                    <a:moveTo>
                      <a:pt x="204" y="283"/>
                    </a:moveTo>
                    <a:cubicBezTo>
                      <a:pt x="214" y="283"/>
                      <a:pt x="214" y="283"/>
                      <a:pt x="214" y="283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09" y="282"/>
                      <a:pt x="204" y="282"/>
                      <a:pt x="204" y="283"/>
                    </a:cubicBezTo>
                    <a:close/>
                    <a:moveTo>
                      <a:pt x="262" y="127"/>
                    </a:moveTo>
                    <a:cubicBezTo>
                      <a:pt x="258" y="121"/>
                      <a:pt x="245" y="102"/>
                      <a:pt x="246" y="97"/>
                    </a:cubicBezTo>
                    <a:cubicBezTo>
                      <a:pt x="247" y="92"/>
                      <a:pt x="255" y="87"/>
                      <a:pt x="255" y="87"/>
                    </a:cubicBezTo>
                    <a:cubicBezTo>
                      <a:pt x="234" y="62"/>
                      <a:pt x="234" y="62"/>
                      <a:pt x="234" y="62"/>
                    </a:cubicBezTo>
                    <a:cubicBezTo>
                      <a:pt x="235" y="57"/>
                      <a:pt x="235" y="57"/>
                      <a:pt x="235" y="57"/>
                    </a:cubicBezTo>
                    <a:cubicBezTo>
                      <a:pt x="235" y="57"/>
                      <a:pt x="224" y="48"/>
                      <a:pt x="226" y="42"/>
                    </a:cubicBezTo>
                    <a:cubicBezTo>
                      <a:pt x="228" y="36"/>
                      <a:pt x="228" y="27"/>
                      <a:pt x="228" y="27"/>
                    </a:cubicBezTo>
                    <a:cubicBezTo>
                      <a:pt x="228" y="27"/>
                      <a:pt x="215" y="35"/>
                      <a:pt x="215" y="22"/>
                    </a:cubicBezTo>
                    <a:cubicBezTo>
                      <a:pt x="215" y="9"/>
                      <a:pt x="208" y="0"/>
                      <a:pt x="208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1" y="27"/>
                      <a:pt x="178" y="25"/>
                    </a:cubicBezTo>
                    <a:cubicBezTo>
                      <a:pt x="165" y="23"/>
                      <a:pt x="166" y="17"/>
                      <a:pt x="161" y="17"/>
                    </a:cubicBezTo>
                    <a:cubicBezTo>
                      <a:pt x="156" y="17"/>
                      <a:pt x="149" y="25"/>
                      <a:pt x="149" y="25"/>
                    </a:cubicBezTo>
                    <a:cubicBezTo>
                      <a:pt x="133" y="24"/>
                      <a:pt x="133" y="24"/>
                      <a:pt x="133" y="24"/>
                    </a:cubicBezTo>
                    <a:cubicBezTo>
                      <a:pt x="120" y="39"/>
                      <a:pt x="120" y="39"/>
                      <a:pt x="120" y="39"/>
                    </a:cubicBezTo>
                    <a:cubicBezTo>
                      <a:pt x="106" y="21"/>
                      <a:pt x="106" y="21"/>
                      <a:pt x="106" y="21"/>
                    </a:cubicBezTo>
                    <a:cubicBezTo>
                      <a:pt x="99" y="22"/>
                      <a:pt x="99" y="22"/>
                      <a:pt x="99" y="22"/>
                    </a:cubicBezTo>
                    <a:cubicBezTo>
                      <a:pt x="99" y="22"/>
                      <a:pt x="98" y="30"/>
                      <a:pt x="92" y="29"/>
                    </a:cubicBezTo>
                    <a:cubicBezTo>
                      <a:pt x="86" y="28"/>
                      <a:pt x="77" y="21"/>
                      <a:pt x="72" y="21"/>
                    </a:cubicBezTo>
                    <a:cubicBezTo>
                      <a:pt x="67" y="21"/>
                      <a:pt x="56" y="34"/>
                      <a:pt x="56" y="34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60" y="65"/>
                      <a:pt x="59" y="71"/>
                    </a:cubicBezTo>
                    <a:cubicBezTo>
                      <a:pt x="58" y="76"/>
                      <a:pt x="49" y="87"/>
                      <a:pt x="52" y="92"/>
                    </a:cubicBezTo>
                    <a:cubicBezTo>
                      <a:pt x="55" y="98"/>
                      <a:pt x="66" y="97"/>
                      <a:pt x="66" y="97"/>
                    </a:cubicBezTo>
                    <a:cubicBezTo>
                      <a:pt x="66" y="97"/>
                      <a:pt x="78" y="100"/>
                      <a:pt x="78" y="108"/>
                    </a:cubicBezTo>
                    <a:cubicBezTo>
                      <a:pt x="78" y="116"/>
                      <a:pt x="45" y="156"/>
                      <a:pt x="45" y="156"/>
                    </a:cubicBezTo>
                    <a:cubicBezTo>
                      <a:pt x="29" y="164"/>
                      <a:pt x="29" y="164"/>
                      <a:pt x="29" y="164"/>
                    </a:cubicBezTo>
                    <a:cubicBezTo>
                      <a:pt x="29" y="173"/>
                      <a:pt x="29" y="173"/>
                      <a:pt x="29" y="173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4" y="198"/>
                      <a:pt x="14" y="198"/>
                      <a:pt x="14" y="198"/>
                    </a:cubicBezTo>
                    <a:cubicBezTo>
                      <a:pt x="4" y="229"/>
                      <a:pt x="4" y="229"/>
                      <a:pt x="4" y="229"/>
                    </a:cubicBezTo>
                    <a:cubicBezTo>
                      <a:pt x="4" y="249"/>
                      <a:pt x="4" y="249"/>
                      <a:pt x="4" y="249"/>
                    </a:cubicBezTo>
                    <a:cubicBezTo>
                      <a:pt x="0" y="299"/>
                      <a:pt x="0" y="299"/>
                      <a:pt x="0" y="299"/>
                    </a:cubicBezTo>
                    <a:cubicBezTo>
                      <a:pt x="10" y="299"/>
                      <a:pt x="10" y="299"/>
                      <a:pt x="10" y="299"/>
                    </a:cubicBezTo>
                    <a:cubicBezTo>
                      <a:pt x="10" y="299"/>
                      <a:pt x="16" y="314"/>
                      <a:pt x="22" y="307"/>
                    </a:cubicBezTo>
                    <a:cubicBezTo>
                      <a:pt x="29" y="299"/>
                      <a:pt x="33" y="283"/>
                      <a:pt x="33" y="283"/>
                    </a:cubicBezTo>
                    <a:cubicBezTo>
                      <a:pt x="49" y="282"/>
                      <a:pt x="49" y="282"/>
                      <a:pt x="49" y="282"/>
                    </a:cubicBezTo>
                    <a:cubicBezTo>
                      <a:pt x="110" y="282"/>
                      <a:pt x="110" y="282"/>
                      <a:pt x="110" y="282"/>
                    </a:cubicBezTo>
                    <a:cubicBezTo>
                      <a:pt x="110" y="277"/>
                      <a:pt x="104" y="271"/>
                      <a:pt x="102" y="265"/>
                    </a:cubicBezTo>
                    <a:cubicBezTo>
                      <a:pt x="100" y="258"/>
                      <a:pt x="107" y="250"/>
                      <a:pt x="111" y="246"/>
                    </a:cubicBezTo>
                    <a:cubicBezTo>
                      <a:pt x="115" y="242"/>
                      <a:pt x="109" y="230"/>
                      <a:pt x="118" y="223"/>
                    </a:cubicBezTo>
                    <a:cubicBezTo>
                      <a:pt x="127" y="216"/>
                      <a:pt x="157" y="218"/>
                      <a:pt x="160" y="216"/>
                    </a:cubicBezTo>
                    <a:cubicBezTo>
                      <a:pt x="163" y="214"/>
                      <a:pt x="170" y="202"/>
                      <a:pt x="176" y="202"/>
                    </a:cubicBezTo>
                    <a:cubicBezTo>
                      <a:pt x="182" y="202"/>
                      <a:pt x="182" y="219"/>
                      <a:pt x="182" y="219"/>
                    </a:cubicBezTo>
                    <a:cubicBezTo>
                      <a:pt x="182" y="219"/>
                      <a:pt x="189" y="212"/>
                      <a:pt x="200" y="215"/>
                    </a:cubicBezTo>
                    <a:cubicBezTo>
                      <a:pt x="202" y="215"/>
                      <a:pt x="204" y="216"/>
                      <a:pt x="207" y="217"/>
                    </a:cubicBezTo>
                    <a:cubicBezTo>
                      <a:pt x="207" y="218"/>
                      <a:pt x="207" y="218"/>
                      <a:pt x="207" y="219"/>
                    </a:cubicBezTo>
                    <a:cubicBezTo>
                      <a:pt x="207" y="208"/>
                      <a:pt x="218" y="201"/>
                      <a:pt x="218" y="201"/>
                    </a:cubicBezTo>
                    <a:cubicBezTo>
                      <a:pt x="219" y="190"/>
                      <a:pt x="219" y="190"/>
                      <a:pt x="219" y="190"/>
                    </a:cubicBezTo>
                    <a:cubicBezTo>
                      <a:pt x="231" y="179"/>
                      <a:pt x="231" y="179"/>
                      <a:pt x="231" y="179"/>
                    </a:cubicBezTo>
                    <a:cubicBezTo>
                      <a:pt x="231" y="179"/>
                      <a:pt x="227" y="170"/>
                      <a:pt x="234" y="164"/>
                    </a:cubicBezTo>
                    <a:cubicBezTo>
                      <a:pt x="241" y="158"/>
                      <a:pt x="247" y="160"/>
                      <a:pt x="247" y="160"/>
                    </a:cubicBezTo>
                    <a:cubicBezTo>
                      <a:pt x="251" y="145"/>
                      <a:pt x="251" y="145"/>
                      <a:pt x="251" y="145"/>
                    </a:cubicBezTo>
                    <a:cubicBezTo>
                      <a:pt x="251" y="145"/>
                      <a:pt x="266" y="133"/>
                      <a:pt x="262" y="127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0" name="MCShape 170">
                <a:extLst>
                  <a:ext uri="{FF2B5EF4-FFF2-40B4-BE49-F238E27FC236}">
                    <a16:creationId xmlns:a16="http://schemas.microsoft.com/office/drawing/2014/main" id="{5DC1B12E-8E18-4DDB-9FD9-58949961B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6515" y="4064653"/>
                <a:ext cx="222730" cy="300067"/>
              </a:xfrm>
              <a:custGeom>
                <a:avLst/>
                <a:gdLst>
                  <a:gd name="T0" fmla="*/ 337 w 378"/>
                  <a:gd name="T1" fmla="*/ 100 h 509"/>
                  <a:gd name="T2" fmla="*/ 358 w 378"/>
                  <a:gd name="T3" fmla="*/ 79 h 509"/>
                  <a:gd name="T4" fmla="*/ 378 w 378"/>
                  <a:gd name="T5" fmla="*/ 43 h 509"/>
                  <a:gd name="T6" fmla="*/ 362 w 378"/>
                  <a:gd name="T7" fmla="*/ 37 h 509"/>
                  <a:gd name="T8" fmla="*/ 358 w 378"/>
                  <a:gd name="T9" fmla="*/ 41 h 509"/>
                  <a:gd name="T10" fmla="*/ 340 w 378"/>
                  <a:gd name="T11" fmla="*/ 40 h 509"/>
                  <a:gd name="T12" fmla="*/ 324 w 378"/>
                  <a:gd name="T13" fmla="*/ 23 h 509"/>
                  <a:gd name="T14" fmla="*/ 312 w 378"/>
                  <a:gd name="T15" fmla="*/ 32 h 509"/>
                  <a:gd name="T16" fmla="*/ 283 w 378"/>
                  <a:gd name="T17" fmla="*/ 46 h 509"/>
                  <a:gd name="T18" fmla="*/ 278 w 378"/>
                  <a:gd name="T19" fmla="*/ 56 h 509"/>
                  <a:gd name="T20" fmla="*/ 265 w 378"/>
                  <a:gd name="T21" fmla="*/ 70 h 509"/>
                  <a:gd name="T22" fmla="*/ 234 w 378"/>
                  <a:gd name="T23" fmla="*/ 61 h 509"/>
                  <a:gd name="T24" fmla="*/ 194 w 378"/>
                  <a:gd name="T25" fmla="*/ 57 h 509"/>
                  <a:gd name="T26" fmla="*/ 143 w 378"/>
                  <a:gd name="T27" fmla="*/ 17 h 509"/>
                  <a:gd name="T28" fmla="*/ 96 w 378"/>
                  <a:gd name="T29" fmla="*/ 15 h 509"/>
                  <a:gd name="T30" fmla="*/ 90 w 378"/>
                  <a:gd name="T31" fmla="*/ 0 h 509"/>
                  <a:gd name="T32" fmla="*/ 77 w 378"/>
                  <a:gd name="T33" fmla="*/ 8 h 509"/>
                  <a:gd name="T34" fmla="*/ 17 w 378"/>
                  <a:gd name="T35" fmla="*/ 9 h 509"/>
                  <a:gd name="T36" fmla="*/ 3 w 378"/>
                  <a:gd name="T37" fmla="*/ 29 h 509"/>
                  <a:gd name="T38" fmla="*/ 10 w 378"/>
                  <a:gd name="T39" fmla="*/ 51 h 509"/>
                  <a:gd name="T40" fmla="*/ 23 w 378"/>
                  <a:gd name="T41" fmla="*/ 56 h 509"/>
                  <a:gd name="T42" fmla="*/ 21 w 378"/>
                  <a:gd name="T43" fmla="*/ 71 h 509"/>
                  <a:gd name="T44" fmla="*/ 30 w 378"/>
                  <a:gd name="T45" fmla="*/ 86 h 509"/>
                  <a:gd name="T46" fmla="*/ 29 w 378"/>
                  <a:gd name="T47" fmla="*/ 91 h 509"/>
                  <a:gd name="T48" fmla="*/ 50 w 378"/>
                  <a:gd name="T49" fmla="*/ 116 h 509"/>
                  <a:gd name="T50" fmla="*/ 41 w 378"/>
                  <a:gd name="T51" fmla="*/ 126 h 509"/>
                  <a:gd name="T52" fmla="*/ 57 w 378"/>
                  <a:gd name="T53" fmla="*/ 156 h 509"/>
                  <a:gd name="T54" fmla="*/ 46 w 378"/>
                  <a:gd name="T55" fmla="*/ 174 h 509"/>
                  <a:gd name="T56" fmla="*/ 42 w 378"/>
                  <a:gd name="T57" fmla="*/ 189 h 509"/>
                  <a:gd name="T58" fmla="*/ 29 w 378"/>
                  <a:gd name="T59" fmla="*/ 193 h 509"/>
                  <a:gd name="T60" fmla="*/ 26 w 378"/>
                  <a:gd name="T61" fmla="*/ 208 h 509"/>
                  <a:gd name="T62" fmla="*/ 14 w 378"/>
                  <a:gd name="T63" fmla="*/ 219 h 509"/>
                  <a:gd name="T64" fmla="*/ 13 w 378"/>
                  <a:gd name="T65" fmla="*/ 230 h 509"/>
                  <a:gd name="T66" fmla="*/ 2 w 378"/>
                  <a:gd name="T67" fmla="*/ 248 h 509"/>
                  <a:gd name="T68" fmla="*/ 18 w 378"/>
                  <a:gd name="T69" fmla="*/ 270 h 509"/>
                  <a:gd name="T70" fmla="*/ 25 w 378"/>
                  <a:gd name="T71" fmla="*/ 262 h 509"/>
                  <a:gd name="T72" fmla="*/ 39 w 378"/>
                  <a:gd name="T73" fmla="*/ 261 h 509"/>
                  <a:gd name="T74" fmla="*/ 42 w 378"/>
                  <a:gd name="T75" fmla="*/ 273 h 509"/>
                  <a:gd name="T76" fmla="*/ 33 w 378"/>
                  <a:gd name="T77" fmla="*/ 275 h 509"/>
                  <a:gd name="T78" fmla="*/ 23 w 378"/>
                  <a:gd name="T79" fmla="*/ 283 h 509"/>
                  <a:gd name="T80" fmla="*/ 9 w 378"/>
                  <a:gd name="T81" fmla="*/ 283 h 509"/>
                  <a:gd name="T82" fmla="*/ 13 w 378"/>
                  <a:gd name="T83" fmla="*/ 302 h 509"/>
                  <a:gd name="T84" fmla="*/ 9 w 378"/>
                  <a:gd name="T85" fmla="*/ 312 h 509"/>
                  <a:gd name="T86" fmla="*/ 175 w 378"/>
                  <a:gd name="T87" fmla="*/ 416 h 509"/>
                  <a:gd name="T88" fmla="*/ 184 w 378"/>
                  <a:gd name="T89" fmla="*/ 429 h 509"/>
                  <a:gd name="T90" fmla="*/ 173 w 378"/>
                  <a:gd name="T91" fmla="*/ 439 h 509"/>
                  <a:gd name="T92" fmla="*/ 248 w 378"/>
                  <a:gd name="T93" fmla="*/ 509 h 509"/>
                  <a:gd name="T94" fmla="*/ 248 w 378"/>
                  <a:gd name="T95" fmla="*/ 508 h 509"/>
                  <a:gd name="T96" fmla="*/ 261 w 378"/>
                  <a:gd name="T97" fmla="*/ 505 h 509"/>
                  <a:gd name="T98" fmla="*/ 281 w 378"/>
                  <a:gd name="T99" fmla="*/ 463 h 509"/>
                  <a:gd name="T100" fmla="*/ 279 w 378"/>
                  <a:gd name="T101" fmla="*/ 441 h 509"/>
                  <a:gd name="T102" fmla="*/ 299 w 378"/>
                  <a:gd name="T103" fmla="*/ 424 h 509"/>
                  <a:gd name="T104" fmla="*/ 301 w 378"/>
                  <a:gd name="T105" fmla="*/ 398 h 509"/>
                  <a:gd name="T106" fmla="*/ 324 w 378"/>
                  <a:gd name="T107" fmla="*/ 388 h 509"/>
                  <a:gd name="T108" fmla="*/ 328 w 378"/>
                  <a:gd name="T109" fmla="*/ 361 h 509"/>
                  <a:gd name="T110" fmla="*/ 360 w 378"/>
                  <a:gd name="T111" fmla="*/ 351 h 509"/>
                  <a:gd name="T112" fmla="*/ 364 w 378"/>
                  <a:gd name="T113" fmla="*/ 343 h 509"/>
                  <a:gd name="T114" fmla="*/ 336 w 378"/>
                  <a:gd name="T115" fmla="*/ 303 h 509"/>
                  <a:gd name="T116" fmla="*/ 337 w 378"/>
                  <a:gd name="T117" fmla="*/ 100 h 50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78"/>
                  <a:gd name="T178" fmla="*/ 0 h 509"/>
                  <a:gd name="T179" fmla="*/ 378 w 378"/>
                  <a:gd name="T180" fmla="*/ 509 h 50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78" h="509">
                    <a:moveTo>
                      <a:pt x="337" y="100"/>
                    </a:moveTo>
                    <a:cubicBezTo>
                      <a:pt x="337" y="100"/>
                      <a:pt x="351" y="87"/>
                      <a:pt x="358" y="79"/>
                    </a:cubicBezTo>
                    <a:cubicBezTo>
                      <a:pt x="365" y="71"/>
                      <a:pt x="378" y="43"/>
                      <a:pt x="378" y="43"/>
                    </a:cubicBezTo>
                    <a:cubicBezTo>
                      <a:pt x="362" y="37"/>
                      <a:pt x="362" y="37"/>
                      <a:pt x="362" y="37"/>
                    </a:cubicBezTo>
                    <a:cubicBezTo>
                      <a:pt x="358" y="41"/>
                      <a:pt x="358" y="41"/>
                      <a:pt x="358" y="41"/>
                    </a:cubicBezTo>
                    <a:cubicBezTo>
                      <a:pt x="340" y="40"/>
                      <a:pt x="340" y="40"/>
                      <a:pt x="340" y="40"/>
                    </a:cubicBezTo>
                    <a:cubicBezTo>
                      <a:pt x="324" y="23"/>
                      <a:pt x="324" y="23"/>
                      <a:pt x="324" y="23"/>
                    </a:cubicBezTo>
                    <a:cubicBezTo>
                      <a:pt x="312" y="32"/>
                      <a:pt x="312" y="32"/>
                      <a:pt x="312" y="32"/>
                    </a:cubicBezTo>
                    <a:cubicBezTo>
                      <a:pt x="312" y="32"/>
                      <a:pt x="290" y="40"/>
                      <a:pt x="283" y="46"/>
                    </a:cubicBezTo>
                    <a:cubicBezTo>
                      <a:pt x="276" y="52"/>
                      <a:pt x="278" y="56"/>
                      <a:pt x="278" y="56"/>
                    </a:cubicBezTo>
                    <a:cubicBezTo>
                      <a:pt x="265" y="70"/>
                      <a:pt x="265" y="70"/>
                      <a:pt x="265" y="70"/>
                    </a:cubicBezTo>
                    <a:cubicBezTo>
                      <a:pt x="265" y="70"/>
                      <a:pt x="247" y="63"/>
                      <a:pt x="234" y="61"/>
                    </a:cubicBezTo>
                    <a:cubicBezTo>
                      <a:pt x="221" y="59"/>
                      <a:pt x="194" y="57"/>
                      <a:pt x="194" y="57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10" y="38"/>
                      <a:pt x="10" y="51"/>
                    </a:cubicBezTo>
                    <a:cubicBezTo>
                      <a:pt x="10" y="64"/>
                      <a:pt x="23" y="56"/>
                      <a:pt x="23" y="56"/>
                    </a:cubicBezTo>
                    <a:cubicBezTo>
                      <a:pt x="23" y="56"/>
                      <a:pt x="23" y="65"/>
                      <a:pt x="21" y="71"/>
                    </a:cubicBezTo>
                    <a:cubicBezTo>
                      <a:pt x="19" y="77"/>
                      <a:pt x="30" y="86"/>
                      <a:pt x="30" y="86"/>
                    </a:cubicBezTo>
                    <a:cubicBezTo>
                      <a:pt x="29" y="91"/>
                      <a:pt x="29" y="91"/>
                      <a:pt x="29" y="91"/>
                    </a:cubicBezTo>
                    <a:cubicBezTo>
                      <a:pt x="50" y="116"/>
                      <a:pt x="50" y="116"/>
                      <a:pt x="50" y="116"/>
                    </a:cubicBezTo>
                    <a:cubicBezTo>
                      <a:pt x="50" y="116"/>
                      <a:pt x="42" y="121"/>
                      <a:pt x="41" y="126"/>
                    </a:cubicBezTo>
                    <a:cubicBezTo>
                      <a:pt x="40" y="131"/>
                      <a:pt x="53" y="150"/>
                      <a:pt x="57" y="156"/>
                    </a:cubicBezTo>
                    <a:cubicBezTo>
                      <a:pt x="61" y="162"/>
                      <a:pt x="46" y="174"/>
                      <a:pt x="46" y="174"/>
                    </a:cubicBezTo>
                    <a:cubicBezTo>
                      <a:pt x="42" y="189"/>
                      <a:pt x="42" y="189"/>
                      <a:pt x="42" y="189"/>
                    </a:cubicBezTo>
                    <a:cubicBezTo>
                      <a:pt x="42" y="189"/>
                      <a:pt x="36" y="187"/>
                      <a:pt x="29" y="193"/>
                    </a:cubicBezTo>
                    <a:cubicBezTo>
                      <a:pt x="22" y="199"/>
                      <a:pt x="26" y="208"/>
                      <a:pt x="26" y="208"/>
                    </a:cubicBezTo>
                    <a:cubicBezTo>
                      <a:pt x="14" y="219"/>
                      <a:pt x="14" y="219"/>
                      <a:pt x="14" y="219"/>
                    </a:cubicBezTo>
                    <a:cubicBezTo>
                      <a:pt x="13" y="230"/>
                      <a:pt x="13" y="230"/>
                      <a:pt x="13" y="230"/>
                    </a:cubicBezTo>
                    <a:cubicBezTo>
                      <a:pt x="13" y="230"/>
                      <a:pt x="2" y="237"/>
                      <a:pt x="2" y="248"/>
                    </a:cubicBezTo>
                    <a:cubicBezTo>
                      <a:pt x="2" y="259"/>
                      <a:pt x="11" y="269"/>
                      <a:pt x="18" y="270"/>
                    </a:cubicBezTo>
                    <a:cubicBezTo>
                      <a:pt x="25" y="271"/>
                      <a:pt x="25" y="262"/>
                      <a:pt x="25" y="262"/>
                    </a:cubicBezTo>
                    <a:cubicBezTo>
                      <a:pt x="39" y="261"/>
                      <a:pt x="39" y="261"/>
                      <a:pt x="39" y="261"/>
                    </a:cubicBezTo>
                    <a:cubicBezTo>
                      <a:pt x="42" y="273"/>
                      <a:pt x="42" y="273"/>
                      <a:pt x="42" y="273"/>
                    </a:cubicBezTo>
                    <a:cubicBezTo>
                      <a:pt x="33" y="275"/>
                      <a:pt x="33" y="275"/>
                      <a:pt x="33" y="275"/>
                    </a:cubicBezTo>
                    <a:cubicBezTo>
                      <a:pt x="23" y="283"/>
                      <a:pt x="23" y="283"/>
                      <a:pt x="23" y="283"/>
                    </a:cubicBezTo>
                    <a:cubicBezTo>
                      <a:pt x="23" y="283"/>
                      <a:pt x="18" y="273"/>
                      <a:pt x="9" y="283"/>
                    </a:cubicBezTo>
                    <a:cubicBezTo>
                      <a:pt x="0" y="293"/>
                      <a:pt x="13" y="302"/>
                      <a:pt x="13" y="302"/>
                    </a:cubicBezTo>
                    <a:cubicBezTo>
                      <a:pt x="9" y="312"/>
                      <a:pt x="9" y="312"/>
                      <a:pt x="9" y="312"/>
                    </a:cubicBezTo>
                    <a:cubicBezTo>
                      <a:pt x="175" y="416"/>
                      <a:pt x="175" y="416"/>
                      <a:pt x="175" y="416"/>
                    </a:cubicBezTo>
                    <a:cubicBezTo>
                      <a:pt x="175" y="416"/>
                      <a:pt x="187" y="425"/>
                      <a:pt x="184" y="429"/>
                    </a:cubicBezTo>
                    <a:cubicBezTo>
                      <a:pt x="181" y="433"/>
                      <a:pt x="173" y="439"/>
                      <a:pt x="173" y="439"/>
                    </a:cubicBezTo>
                    <a:cubicBezTo>
                      <a:pt x="248" y="509"/>
                      <a:pt x="248" y="509"/>
                      <a:pt x="248" y="509"/>
                    </a:cubicBezTo>
                    <a:cubicBezTo>
                      <a:pt x="248" y="508"/>
                      <a:pt x="248" y="508"/>
                      <a:pt x="248" y="508"/>
                    </a:cubicBezTo>
                    <a:cubicBezTo>
                      <a:pt x="261" y="505"/>
                      <a:pt x="261" y="505"/>
                      <a:pt x="261" y="505"/>
                    </a:cubicBezTo>
                    <a:cubicBezTo>
                      <a:pt x="281" y="463"/>
                      <a:pt x="281" y="463"/>
                      <a:pt x="281" y="463"/>
                    </a:cubicBezTo>
                    <a:cubicBezTo>
                      <a:pt x="281" y="463"/>
                      <a:pt x="279" y="448"/>
                      <a:pt x="279" y="441"/>
                    </a:cubicBezTo>
                    <a:cubicBezTo>
                      <a:pt x="279" y="434"/>
                      <a:pt x="300" y="434"/>
                      <a:pt x="299" y="424"/>
                    </a:cubicBezTo>
                    <a:cubicBezTo>
                      <a:pt x="298" y="414"/>
                      <a:pt x="293" y="401"/>
                      <a:pt x="301" y="398"/>
                    </a:cubicBezTo>
                    <a:cubicBezTo>
                      <a:pt x="309" y="395"/>
                      <a:pt x="324" y="388"/>
                      <a:pt x="324" y="388"/>
                    </a:cubicBezTo>
                    <a:cubicBezTo>
                      <a:pt x="328" y="361"/>
                      <a:pt x="328" y="361"/>
                      <a:pt x="328" y="361"/>
                    </a:cubicBezTo>
                    <a:cubicBezTo>
                      <a:pt x="328" y="361"/>
                      <a:pt x="352" y="366"/>
                      <a:pt x="360" y="351"/>
                    </a:cubicBezTo>
                    <a:cubicBezTo>
                      <a:pt x="361" y="349"/>
                      <a:pt x="362" y="346"/>
                      <a:pt x="364" y="343"/>
                    </a:cubicBezTo>
                    <a:cubicBezTo>
                      <a:pt x="336" y="303"/>
                      <a:pt x="336" y="303"/>
                      <a:pt x="336" y="303"/>
                    </a:cubicBezTo>
                    <a:lnTo>
                      <a:pt x="337" y="100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1" name="MCShape 171">
                <a:extLst>
                  <a:ext uri="{FF2B5EF4-FFF2-40B4-BE49-F238E27FC236}">
                    <a16:creationId xmlns:a16="http://schemas.microsoft.com/office/drawing/2014/main" id="{AEACFB57-D812-40D5-B372-435426F254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2251" y="3741385"/>
                <a:ext cx="131472" cy="133019"/>
              </a:xfrm>
              <a:custGeom>
                <a:avLst/>
                <a:gdLst>
                  <a:gd name="T0" fmla="*/ 128 w 220"/>
                  <a:gd name="T1" fmla="*/ 204 h 223"/>
                  <a:gd name="T2" fmla="*/ 128 w 220"/>
                  <a:gd name="T3" fmla="*/ 204 h 223"/>
                  <a:gd name="T4" fmla="*/ 128 w 220"/>
                  <a:gd name="T5" fmla="*/ 204 h 223"/>
                  <a:gd name="T6" fmla="*/ 128 w 220"/>
                  <a:gd name="T7" fmla="*/ 204 h 223"/>
                  <a:gd name="T8" fmla="*/ 218 w 220"/>
                  <a:gd name="T9" fmla="*/ 15 h 223"/>
                  <a:gd name="T10" fmla="*/ 211 w 220"/>
                  <a:gd name="T11" fmla="*/ 1 h 223"/>
                  <a:gd name="T12" fmla="*/ 192 w 220"/>
                  <a:gd name="T13" fmla="*/ 2 h 223"/>
                  <a:gd name="T14" fmla="*/ 181 w 220"/>
                  <a:gd name="T15" fmla="*/ 2 h 223"/>
                  <a:gd name="T16" fmla="*/ 168 w 220"/>
                  <a:gd name="T17" fmla="*/ 12 h 223"/>
                  <a:gd name="T18" fmla="*/ 143 w 220"/>
                  <a:gd name="T19" fmla="*/ 1 h 223"/>
                  <a:gd name="T20" fmla="*/ 133 w 220"/>
                  <a:gd name="T21" fmla="*/ 20 h 223"/>
                  <a:gd name="T22" fmla="*/ 120 w 220"/>
                  <a:gd name="T23" fmla="*/ 21 h 223"/>
                  <a:gd name="T24" fmla="*/ 119 w 220"/>
                  <a:gd name="T25" fmla="*/ 31 h 223"/>
                  <a:gd name="T26" fmla="*/ 92 w 220"/>
                  <a:gd name="T27" fmla="*/ 54 h 223"/>
                  <a:gd name="T28" fmla="*/ 78 w 220"/>
                  <a:gd name="T29" fmla="*/ 45 h 223"/>
                  <a:gd name="T30" fmla="*/ 65 w 220"/>
                  <a:gd name="T31" fmla="*/ 59 h 223"/>
                  <a:gd name="T32" fmla="*/ 45 w 220"/>
                  <a:gd name="T33" fmla="*/ 58 h 223"/>
                  <a:gd name="T34" fmla="*/ 44 w 220"/>
                  <a:gd name="T35" fmla="*/ 85 h 223"/>
                  <a:gd name="T36" fmla="*/ 35 w 220"/>
                  <a:gd name="T37" fmla="*/ 87 h 223"/>
                  <a:gd name="T38" fmla="*/ 33 w 220"/>
                  <a:gd name="T39" fmla="*/ 98 h 223"/>
                  <a:gd name="T40" fmla="*/ 19 w 220"/>
                  <a:gd name="T41" fmla="*/ 102 h 223"/>
                  <a:gd name="T42" fmla="*/ 0 w 220"/>
                  <a:gd name="T43" fmla="*/ 102 h 223"/>
                  <a:gd name="T44" fmla="*/ 32 w 220"/>
                  <a:gd name="T45" fmla="*/ 136 h 223"/>
                  <a:gd name="T46" fmla="*/ 50 w 220"/>
                  <a:gd name="T47" fmla="*/ 175 h 223"/>
                  <a:gd name="T48" fmla="*/ 80 w 220"/>
                  <a:gd name="T49" fmla="*/ 199 h 223"/>
                  <a:gd name="T50" fmla="*/ 92 w 220"/>
                  <a:gd name="T51" fmla="*/ 198 h 223"/>
                  <a:gd name="T52" fmla="*/ 92 w 220"/>
                  <a:gd name="T53" fmla="*/ 197 h 223"/>
                  <a:gd name="T54" fmla="*/ 81 w 220"/>
                  <a:gd name="T55" fmla="*/ 187 h 223"/>
                  <a:gd name="T56" fmla="*/ 95 w 220"/>
                  <a:gd name="T57" fmla="*/ 181 h 223"/>
                  <a:gd name="T58" fmla="*/ 90 w 220"/>
                  <a:gd name="T59" fmla="*/ 175 h 223"/>
                  <a:gd name="T60" fmla="*/ 79 w 220"/>
                  <a:gd name="T61" fmla="*/ 177 h 223"/>
                  <a:gd name="T62" fmla="*/ 79 w 220"/>
                  <a:gd name="T63" fmla="*/ 149 h 223"/>
                  <a:gd name="T64" fmla="*/ 123 w 220"/>
                  <a:gd name="T65" fmla="*/ 185 h 223"/>
                  <a:gd name="T66" fmla="*/ 128 w 220"/>
                  <a:gd name="T67" fmla="*/ 204 h 223"/>
                  <a:gd name="T68" fmla="*/ 132 w 220"/>
                  <a:gd name="T69" fmla="*/ 204 h 223"/>
                  <a:gd name="T70" fmla="*/ 150 w 220"/>
                  <a:gd name="T71" fmla="*/ 211 h 223"/>
                  <a:gd name="T72" fmla="*/ 162 w 220"/>
                  <a:gd name="T73" fmla="*/ 223 h 223"/>
                  <a:gd name="T74" fmla="*/ 183 w 220"/>
                  <a:gd name="T75" fmla="*/ 220 h 223"/>
                  <a:gd name="T76" fmla="*/ 170 w 220"/>
                  <a:gd name="T77" fmla="*/ 192 h 223"/>
                  <a:gd name="T78" fmla="*/ 182 w 220"/>
                  <a:gd name="T79" fmla="*/ 172 h 223"/>
                  <a:gd name="T80" fmla="*/ 177 w 220"/>
                  <a:gd name="T81" fmla="*/ 151 h 223"/>
                  <a:gd name="T82" fmla="*/ 181 w 220"/>
                  <a:gd name="T83" fmla="*/ 119 h 223"/>
                  <a:gd name="T84" fmla="*/ 191 w 220"/>
                  <a:gd name="T85" fmla="*/ 131 h 223"/>
                  <a:gd name="T86" fmla="*/ 194 w 220"/>
                  <a:gd name="T87" fmla="*/ 74 h 223"/>
                  <a:gd name="T88" fmla="*/ 209 w 220"/>
                  <a:gd name="T89" fmla="*/ 44 h 223"/>
                  <a:gd name="T90" fmla="*/ 218 w 220"/>
                  <a:gd name="T91" fmla="*/ 15 h 22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0"/>
                  <a:gd name="T139" fmla="*/ 0 h 223"/>
                  <a:gd name="T140" fmla="*/ 220 w 220"/>
                  <a:gd name="T141" fmla="*/ 223 h 22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0" h="223">
                    <a:moveTo>
                      <a:pt x="128" y="204"/>
                    </a:moveTo>
                    <a:cubicBezTo>
                      <a:pt x="128" y="204"/>
                      <a:pt x="128" y="204"/>
                      <a:pt x="128" y="204"/>
                    </a:cubicBezTo>
                    <a:cubicBezTo>
                      <a:pt x="128" y="204"/>
                      <a:pt x="128" y="204"/>
                      <a:pt x="128" y="204"/>
                    </a:cubicBezTo>
                    <a:cubicBezTo>
                      <a:pt x="128" y="204"/>
                      <a:pt x="128" y="204"/>
                      <a:pt x="128" y="204"/>
                    </a:cubicBezTo>
                    <a:close/>
                    <a:moveTo>
                      <a:pt x="218" y="15"/>
                    </a:moveTo>
                    <a:cubicBezTo>
                      <a:pt x="216" y="10"/>
                      <a:pt x="210" y="5"/>
                      <a:pt x="211" y="1"/>
                    </a:cubicBezTo>
                    <a:cubicBezTo>
                      <a:pt x="192" y="2"/>
                      <a:pt x="192" y="2"/>
                      <a:pt x="192" y="2"/>
                    </a:cubicBezTo>
                    <a:cubicBezTo>
                      <a:pt x="192" y="2"/>
                      <a:pt x="185" y="2"/>
                      <a:pt x="181" y="2"/>
                    </a:cubicBezTo>
                    <a:cubicBezTo>
                      <a:pt x="177" y="2"/>
                      <a:pt x="178" y="11"/>
                      <a:pt x="168" y="12"/>
                    </a:cubicBezTo>
                    <a:cubicBezTo>
                      <a:pt x="158" y="13"/>
                      <a:pt x="152" y="2"/>
                      <a:pt x="143" y="1"/>
                    </a:cubicBezTo>
                    <a:cubicBezTo>
                      <a:pt x="134" y="0"/>
                      <a:pt x="133" y="20"/>
                      <a:pt x="133" y="20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19" y="31"/>
                      <a:pt x="119" y="31"/>
                      <a:pt x="119" y="31"/>
                    </a:cubicBezTo>
                    <a:cubicBezTo>
                      <a:pt x="119" y="31"/>
                      <a:pt x="107" y="54"/>
                      <a:pt x="92" y="54"/>
                    </a:cubicBezTo>
                    <a:cubicBezTo>
                      <a:pt x="77" y="54"/>
                      <a:pt x="86" y="46"/>
                      <a:pt x="78" y="45"/>
                    </a:cubicBezTo>
                    <a:cubicBezTo>
                      <a:pt x="70" y="44"/>
                      <a:pt x="65" y="59"/>
                      <a:pt x="65" y="59"/>
                    </a:cubicBezTo>
                    <a:cubicBezTo>
                      <a:pt x="65" y="59"/>
                      <a:pt x="60" y="58"/>
                      <a:pt x="45" y="58"/>
                    </a:cubicBezTo>
                    <a:cubicBezTo>
                      <a:pt x="30" y="58"/>
                      <a:pt x="44" y="85"/>
                      <a:pt x="44" y="85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5" y="87"/>
                      <a:pt x="39" y="96"/>
                      <a:pt x="33" y="98"/>
                    </a:cubicBezTo>
                    <a:cubicBezTo>
                      <a:pt x="27" y="100"/>
                      <a:pt x="19" y="102"/>
                      <a:pt x="19" y="102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32" y="136"/>
                      <a:pt x="32" y="136"/>
                      <a:pt x="32" y="136"/>
                    </a:cubicBezTo>
                    <a:cubicBezTo>
                      <a:pt x="32" y="136"/>
                      <a:pt x="40" y="167"/>
                      <a:pt x="50" y="175"/>
                    </a:cubicBezTo>
                    <a:cubicBezTo>
                      <a:pt x="59" y="182"/>
                      <a:pt x="77" y="196"/>
                      <a:pt x="80" y="199"/>
                    </a:cubicBezTo>
                    <a:cubicBezTo>
                      <a:pt x="83" y="198"/>
                      <a:pt x="89" y="197"/>
                      <a:pt x="92" y="198"/>
                    </a:cubicBezTo>
                    <a:cubicBezTo>
                      <a:pt x="92" y="197"/>
                      <a:pt x="92" y="197"/>
                      <a:pt x="92" y="197"/>
                    </a:cubicBezTo>
                    <a:cubicBezTo>
                      <a:pt x="89" y="195"/>
                      <a:pt x="78" y="191"/>
                      <a:pt x="81" y="187"/>
                    </a:cubicBezTo>
                    <a:cubicBezTo>
                      <a:pt x="84" y="183"/>
                      <a:pt x="99" y="188"/>
                      <a:pt x="95" y="181"/>
                    </a:cubicBezTo>
                    <a:cubicBezTo>
                      <a:pt x="91" y="175"/>
                      <a:pt x="90" y="175"/>
                      <a:pt x="90" y="175"/>
                    </a:cubicBezTo>
                    <a:cubicBezTo>
                      <a:pt x="90" y="175"/>
                      <a:pt x="79" y="179"/>
                      <a:pt x="79" y="177"/>
                    </a:cubicBezTo>
                    <a:cubicBezTo>
                      <a:pt x="78" y="175"/>
                      <a:pt x="72" y="147"/>
                      <a:pt x="79" y="149"/>
                    </a:cubicBezTo>
                    <a:cubicBezTo>
                      <a:pt x="86" y="151"/>
                      <a:pt x="119" y="177"/>
                      <a:pt x="123" y="185"/>
                    </a:cubicBezTo>
                    <a:cubicBezTo>
                      <a:pt x="126" y="189"/>
                      <a:pt x="127" y="197"/>
                      <a:pt x="128" y="204"/>
                    </a:cubicBezTo>
                    <a:cubicBezTo>
                      <a:pt x="129" y="204"/>
                      <a:pt x="131" y="204"/>
                      <a:pt x="132" y="204"/>
                    </a:cubicBezTo>
                    <a:cubicBezTo>
                      <a:pt x="145" y="205"/>
                      <a:pt x="150" y="211"/>
                      <a:pt x="150" y="211"/>
                    </a:cubicBezTo>
                    <a:cubicBezTo>
                      <a:pt x="150" y="211"/>
                      <a:pt x="150" y="223"/>
                      <a:pt x="162" y="223"/>
                    </a:cubicBezTo>
                    <a:cubicBezTo>
                      <a:pt x="168" y="223"/>
                      <a:pt x="176" y="222"/>
                      <a:pt x="183" y="220"/>
                    </a:cubicBezTo>
                    <a:cubicBezTo>
                      <a:pt x="180" y="218"/>
                      <a:pt x="170" y="205"/>
                      <a:pt x="170" y="192"/>
                    </a:cubicBezTo>
                    <a:cubicBezTo>
                      <a:pt x="170" y="177"/>
                      <a:pt x="182" y="181"/>
                      <a:pt x="182" y="172"/>
                    </a:cubicBezTo>
                    <a:cubicBezTo>
                      <a:pt x="182" y="163"/>
                      <a:pt x="177" y="151"/>
                      <a:pt x="177" y="151"/>
                    </a:cubicBezTo>
                    <a:cubicBezTo>
                      <a:pt x="181" y="119"/>
                      <a:pt x="181" y="119"/>
                      <a:pt x="181" y="119"/>
                    </a:cubicBezTo>
                    <a:cubicBezTo>
                      <a:pt x="191" y="131"/>
                      <a:pt x="191" y="131"/>
                      <a:pt x="191" y="131"/>
                    </a:cubicBezTo>
                    <a:cubicBezTo>
                      <a:pt x="194" y="74"/>
                      <a:pt x="194" y="74"/>
                      <a:pt x="194" y="74"/>
                    </a:cubicBezTo>
                    <a:cubicBezTo>
                      <a:pt x="194" y="74"/>
                      <a:pt x="200" y="53"/>
                      <a:pt x="209" y="44"/>
                    </a:cubicBezTo>
                    <a:cubicBezTo>
                      <a:pt x="218" y="35"/>
                      <a:pt x="220" y="20"/>
                      <a:pt x="218" y="1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2" name="MCShape 172">
                <a:extLst>
                  <a:ext uri="{FF2B5EF4-FFF2-40B4-BE49-F238E27FC236}">
                    <a16:creationId xmlns:a16="http://schemas.microsoft.com/office/drawing/2014/main" id="{9BF027A6-6847-476D-8D1D-763BAB19A9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7826" y="3858937"/>
                <a:ext cx="97445" cy="89711"/>
              </a:xfrm>
              <a:custGeom>
                <a:avLst/>
                <a:gdLst>
                  <a:gd name="T0" fmla="*/ 146 w 162"/>
                  <a:gd name="T1" fmla="*/ 133 h 152"/>
                  <a:gd name="T2" fmla="*/ 159 w 162"/>
                  <a:gd name="T3" fmla="*/ 122 h 152"/>
                  <a:gd name="T4" fmla="*/ 145 w 162"/>
                  <a:gd name="T5" fmla="*/ 115 h 152"/>
                  <a:gd name="T6" fmla="*/ 145 w 162"/>
                  <a:gd name="T7" fmla="*/ 93 h 152"/>
                  <a:gd name="T8" fmla="*/ 162 w 162"/>
                  <a:gd name="T9" fmla="*/ 87 h 152"/>
                  <a:gd name="T10" fmla="*/ 140 w 162"/>
                  <a:gd name="T11" fmla="*/ 66 h 152"/>
                  <a:gd name="T12" fmla="*/ 124 w 162"/>
                  <a:gd name="T13" fmla="*/ 39 h 152"/>
                  <a:gd name="T14" fmla="*/ 122 w 162"/>
                  <a:gd name="T15" fmla="*/ 24 h 152"/>
                  <a:gd name="T16" fmla="*/ 122 w 162"/>
                  <a:gd name="T17" fmla="*/ 23 h 152"/>
                  <a:gd name="T18" fmla="*/ 122 w 162"/>
                  <a:gd name="T19" fmla="*/ 23 h 152"/>
                  <a:gd name="T20" fmla="*/ 101 w 162"/>
                  <a:gd name="T21" fmla="*/ 26 h 152"/>
                  <a:gd name="T22" fmla="*/ 89 w 162"/>
                  <a:gd name="T23" fmla="*/ 14 h 152"/>
                  <a:gd name="T24" fmla="*/ 71 w 162"/>
                  <a:gd name="T25" fmla="*/ 7 h 152"/>
                  <a:gd name="T26" fmla="*/ 59 w 162"/>
                  <a:gd name="T27" fmla="*/ 12 h 152"/>
                  <a:gd name="T28" fmla="*/ 33 w 162"/>
                  <a:gd name="T29" fmla="*/ 1 h 152"/>
                  <a:gd name="T30" fmla="*/ 19 w 162"/>
                  <a:gd name="T31" fmla="*/ 2 h 152"/>
                  <a:gd name="T32" fmla="*/ 19 w 162"/>
                  <a:gd name="T33" fmla="*/ 2 h 152"/>
                  <a:gd name="T34" fmla="*/ 10 w 162"/>
                  <a:gd name="T35" fmla="*/ 19 h 152"/>
                  <a:gd name="T36" fmla="*/ 20 w 162"/>
                  <a:gd name="T37" fmla="*/ 32 h 152"/>
                  <a:gd name="T38" fmla="*/ 9 w 162"/>
                  <a:gd name="T39" fmla="*/ 60 h 152"/>
                  <a:gd name="T40" fmla="*/ 33 w 162"/>
                  <a:gd name="T41" fmla="*/ 72 h 152"/>
                  <a:gd name="T42" fmla="*/ 53 w 162"/>
                  <a:gd name="T43" fmla="*/ 85 h 152"/>
                  <a:gd name="T44" fmla="*/ 51 w 162"/>
                  <a:gd name="T45" fmla="*/ 67 h 152"/>
                  <a:gd name="T46" fmla="*/ 33 w 162"/>
                  <a:gd name="T47" fmla="*/ 49 h 152"/>
                  <a:gd name="T48" fmla="*/ 67 w 162"/>
                  <a:gd name="T49" fmla="*/ 70 h 152"/>
                  <a:gd name="T50" fmla="*/ 68 w 162"/>
                  <a:gd name="T51" fmla="*/ 89 h 152"/>
                  <a:gd name="T52" fmla="*/ 95 w 162"/>
                  <a:gd name="T53" fmla="*/ 94 h 152"/>
                  <a:gd name="T54" fmla="*/ 108 w 162"/>
                  <a:gd name="T55" fmla="*/ 121 h 152"/>
                  <a:gd name="T56" fmla="*/ 108 w 162"/>
                  <a:gd name="T57" fmla="*/ 138 h 152"/>
                  <a:gd name="T58" fmla="*/ 131 w 162"/>
                  <a:gd name="T59" fmla="*/ 150 h 152"/>
                  <a:gd name="T60" fmla="*/ 122 w 162"/>
                  <a:gd name="T61" fmla="*/ 133 h 152"/>
                  <a:gd name="T62" fmla="*/ 141 w 162"/>
                  <a:gd name="T63" fmla="*/ 152 h 152"/>
                  <a:gd name="T64" fmla="*/ 145 w 162"/>
                  <a:gd name="T65" fmla="*/ 147 h 152"/>
                  <a:gd name="T66" fmla="*/ 146 w 162"/>
                  <a:gd name="T67" fmla="*/ 133 h 15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62"/>
                  <a:gd name="T103" fmla="*/ 0 h 152"/>
                  <a:gd name="T104" fmla="*/ 162 w 162"/>
                  <a:gd name="T105" fmla="*/ 152 h 15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62" h="152">
                    <a:moveTo>
                      <a:pt x="146" y="133"/>
                    </a:moveTo>
                    <a:cubicBezTo>
                      <a:pt x="146" y="133"/>
                      <a:pt x="159" y="127"/>
                      <a:pt x="159" y="122"/>
                    </a:cubicBezTo>
                    <a:cubicBezTo>
                      <a:pt x="159" y="117"/>
                      <a:pt x="145" y="115"/>
                      <a:pt x="145" y="115"/>
                    </a:cubicBezTo>
                    <a:cubicBezTo>
                      <a:pt x="145" y="115"/>
                      <a:pt x="135" y="96"/>
                      <a:pt x="145" y="93"/>
                    </a:cubicBezTo>
                    <a:cubicBezTo>
                      <a:pt x="151" y="91"/>
                      <a:pt x="158" y="88"/>
                      <a:pt x="162" y="87"/>
                    </a:cubicBezTo>
                    <a:cubicBezTo>
                      <a:pt x="154" y="82"/>
                      <a:pt x="143" y="75"/>
                      <a:pt x="140" y="66"/>
                    </a:cubicBezTo>
                    <a:cubicBezTo>
                      <a:pt x="136" y="53"/>
                      <a:pt x="124" y="39"/>
                      <a:pt x="124" y="39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2" y="24"/>
                      <a:pt x="122" y="24"/>
                      <a:pt x="122" y="23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15" y="25"/>
                      <a:pt x="107" y="26"/>
                      <a:pt x="101" y="26"/>
                    </a:cubicBezTo>
                    <a:cubicBezTo>
                      <a:pt x="89" y="26"/>
                      <a:pt x="89" y="14"/>
                      <a:pt x="89" y="14"/>
                    </a:cubicBezTo>
                    <a:cubicBezTo>
                      <a:pt x="89" y="14"/>
                      <a:pt x="84" y="8"/>
                      <a:pt x="71" y="7"/>
                    </a:cubicBezTo>
                    <a:cubicBezTo>
                      <a:pt x="58" y="6"/>
                      <a:pt x="59" y="12"/>
                      <a:pt x="59" y="12"/>
                    </a:cubicBezTo>
                    <a:cubicBezTo>
                      <a:pt x="59" y="12"/>
                      <a:pt x="39" y="3"/>
                      <a:pt x="33" y="1"/>
                    </a:cubicBezTo>
                    <a:cubicBezTo>
                      <a:pt x="29" y="0"/>
                      <a:pt x="23" y="1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26" y="28"/>
                      <a:pt x="20" y="32"/>
                    </a:cubicBezTo>
                    <a:cubicBezTo>
                      <a:pt x="14" y="36"/>
                      <a:pt x="0" y="46"/>
                      <a:pt x="9" y="60"/>
                    </a:cubicBezTo>
                    <a:cubicBezTo>
                      <a:pt x="18" y="74"/>
                      <a:pt x="33" y="72"/>
                      <a:pt x="33" y="72"/>
                    </a:cubicBezTo>
                    <a:cubicBezTo>
                      <a:pt x="33" y="72"/>
                      <a:pt x="50" y="92"/>
                      <a:pt x="53" y="85"/>
                    </a:cubicBezTo>
                    <a:cubicBezTo>
                      <a:pt x="56" y="78"/>
                      <a:pt x="51" y="67"/>
                      <a:pt x="51" y="67"/>
                    </a:cubicBezTo>
                    <a:cubicBezTo>
                      <a:pt x="51" y="67"/>
                      <a:pt x="24" y="49"/>
                      <a:pt x="33" y="49"/>
                    </a:cubicBezTo>
                    <a:cubicBezTo>
                      <a:pt x="42" y="49"/>
                      <a:pt x="67" y="70"/>
                      <a:pt x="67" y="70"/>
                    </a:cubicBezTo>
                    <a:cubicBezTo>
                      <a:pt x="67" y="70"/>
                      <a:pt x="64" y="89"/>
                      <a:pt x="68" y="89"/>
                    </a:cubicBezTo>
                    <a:cubicBezTo>
                      <a:pt x="72" y="89"/>
                      <a:pt x="95" y="94"/>
                      <a:pt x="95" y="94"/>
                    </a:cubicBezTo>
                    <a:cubicBezTo>
                      <a:pt x="108" y="121"/>
                      <a:pt x="108" y="121"/>
                      <a:pt x="108" y="121"/>
                    </a:cubicBezTo>
                    <a:cubicBezTo>
                      <a:pt x="108" y="121"/>
                      <a:pt x="99" y="129"/>
                      <a:pt x="108" y="138"/>
                    </a:cubicBezTo>
                    <a:cubicBezTo>
                      <a:pt x="117" y="147"/>
                      <a:pt x="131" y="150"/>
                      <a:pt x="131" y="150"/>
                    </a:cubicBezTo>
                    <a:cubicBezTo>
                      <a:pt x="122" y="133"/>
                      <a:pt x="122" y="133"/>
                      <a:pt x="122" y="133"/>
                    </a:cubicBezTo>
                    <a:cubicBezTo>
                      <a:pt x="141" y="152"/>
                      <a:pt x="141" y="152"/>
                      <a:pt x="141" y="152"/>
                    </a:cubicBezTo>
                    <a:cubicBezTo>
                      <a:pt x="145" y="147"/>
                      <a:pt x="145" y="147"/>
                      <a:pt x="145" y="147"/>
                    </a:cubicBezTo>
                    <a:lnTo>
                      <a:pt x="146" y="13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3" name="MCShape 173">
                <a:extLst>
                  <a:ext uri="{FF2B5EF4-FFF2-40B4-BE49-F238E27FC236}">
                    <a16:creationId xmlns:a16="http://schemas.microsoft.com/office/drawing/2014/main" id="{3645CAC2-D68D-471C-811E-B9B0B7E65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7133" y="2831903"/>
                <a:ext cx="47950" cy="52589"/>
              </a:xfrm>
              <a:custGeom>
                <a:avLst/>
                <a:gdLst>
                  <a:gd name="T0" fmla="*/ 79 w 80"/>
                  <a:gd name="T1" fmla="*/ 27 h 90"/>
                  <a:gd name="T2" fmla="*/ 73 w 80"/>
                  <a:gd name="T3" fmla="*/ 31 h 90"/>
                  <a:gd name="T4" fmla="*/ 65 w 80"/>
                  <a:gd name="T5" fmla="*/ 17 h 90"/>
                  <a:gd name="T6" fmla="*/ 56 w 80"/>
                  <a:gd name="T7" fmla="*/ 10 h 90"/>
                  <a:gd name="T8" fmla="*/ 46 w 80"/>
                  <a:gd name="T9" fmla="*/ 0 h 90"/>
                  <a:gd name="T10" fmla="*/ 29 w 80"/>
                  <a:gd name="T11" fmla="*/ 0 h 90"/>
                  <a:gd name="T12" fmla="*/ 29 w 80"/>
                  <a:gd name="T13" fmla="*/ 15 h 90"/>
                  <a:gd name="T14" fmla="*/ 18 w 80"/>
                  <a:gd name="T15" fmla="*/ 14 h 90"/>
                  <a:gd name="T16" fmla="*/ 9 w 80"/>
                  <a:gd name="T17" fmla="*/ 29 h 90"/>
                  <a:gd name="T18" fmla="*/ 4 w 80"/>
                  <a:gd name="T19" fmla="*/ 29 h 90"/>
                  <a:gd name="T20" fmla="*/ 3 w 80"/>
                  <a:gd name="T21" fmla="*/ 39 h 90"/>
                  <a:gd name="T22" fmla="*/ 17 w 80"/>
                  <a:gd name="T23" fmla="*/ 48 h 90"/>
                  <a:gd name="T24" fmla="*/ 4 w 80"/>
                  <a:gd name="T25" fmla="*/ 64 h 90"/>
                  <a:gd name="T26" fmla="*/ 6 w 80"/>
                  <a:gd name="T27" fmla="*/ 65 h 90"/>
                  <a:gd name="T28" fmla="*/ 24 w 80"/>
                  <a:gd name="T29" fmla="*/ 62 h 90"/>
                  <a:gd name="T30" fmla="*/ 24 w 80"/>
                  <a:gd name="T31" fmla="*/ 74 h 90"/>
                  <a:gd name="T32" fmla="*/ 41 w 80"/>
                  <a:gd name="T33" fmla="*/ 90 h 90"/>
                  <a:gd name="T34" fmla="*/ 48 w 80"/>
                  <a:gd name="T35" fmla="*/ 81 h 90"/>
                  <a:gd name="T36" fmla="*/ 46 w 80"/>
                  <a:gd name="T37" fmla="*/ 71 h 90"/>
                  <a:gd name="T38" fmla="*/ 40 w 80"/>
                  <a:gd name="T39" fmla="*/ 74 h 90"/>
                  <a:gd name="T40" fmla="*/ 31 w 80"/>
                  <a:gd name="T41" fmla="*/ 68 h 90"/>
                  <a:gd name="T42" fmla="*/ 46 w 80"/>
                  <a:gd name="T43" fmla="*/ 68 h 90"/>
                  <a:gd name="T44" fmla="*/ 52 w 80"/>
                  <a:gd name="T45" fmla="*/ 63 h 90"/>
                  <a:gd name="T46" fmla="*/ 54 w 80"/>
                  <a:gd name="T47" fmla="*/ 49 h 90"/>
                  <a:gd name="T48" fmla="*/ 72 w 80"/>
                  <a:gd name="T49" fmla="*/ 59 h 90"/>
                  <a:gd name="T50" fmla="*/ 78 w 80"/>
                  <a:gd name="T51" fmla="*/ 53 h 90"/>
                  <a:gd name="T52" fmla="*/ 80 w 80"/>
                  <a:gd name="T53" fmla="*/ 56 h 90"/>
                  <a:gd name="T54" fmla="*/ 79 w 80"/>
                  <a:gd name="T55" fmla="*/ 27 h 9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0"/>
                  <a:gd name="T85" fmla="*/ 0 h 90"/>
                  <a:gd name="T86" fmla="*/ 80 w 80"/>
                  <a:gd name="T87" fmla="*/ 90 h 9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0" h="90">
                    <a:moveTo>
                      <a:pt x="79" y="27"/>
                    </a:moveTo>
                    <a:cubicBezTo>
                      <a:pt x="73" y="31"/>
                      <a:pt x="73" y="31"/>
                      <a:pt x="73" y="31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9" y="2"/>
                      <a:pt x="29" y="0"/>
                      <a:pt x="29" y="0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21" y="10"/>
                      <a:pt x="18" y="14"/>
                    </a:cubicBezTo>
                    <a:cubicBezTo>
                      <a:pt x="15" y="18"/>
                      <a:pt x="9" y="29"/>
                      <a:pt x="9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9"/>
                      <a:pt x="0" y="36"/>
                      <a:pt x="3" y="39"/>
                    </a:cubicBezTo>
                    <a:cubicBezTo>
                      <a:pt x="6" y="42"/>
                      <a:pt x="17" y="48"/>
                      <a:pt x="17" y="48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5" y="65"/>
                      <a:pt x="6" y="65"/>
                      <a:pt x="6" y="65"/>
                    </a:cubicBezTo>
                    <a:cubicBezTo>
                      <a:pt x="13" y="67"/>
                      <a:pt x="24" y="62"/>
                      <a:pt x="24" y="6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40" y="74"/>
                      <a:pt x="40" y="74"/>
                      <a:pt x="40" y="74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80" y="56"/>
                      <a:pt x="80" y="56"/>
                      <a:pt x="80" y="56"/>
                    </a:cubicBezTo>
                    <a:lnTo>
                      <a:pt x="79" y="27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4" name="MCShape 174">
                <a:extLst>
                  <a:ext uri="{FF2B5EF4-FFF2-40B4-BE49-F238E27FC236}">
                    <a16:creationId xmlns:a16="http://schemas.microsoft.com/office/drawing/2014/main" id="{241363C9-B7C1-48D8-9462-F0BDF15C22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6414" y="2748379"/>
                <a:ext cx="108271" cy="136113"/>
              </a:xfrm>
              <a:custGeom>
                <a:avLst/>
                <a:gdLst>
                  <a:gd name="T0" fmla="*/ 167 w 185"/>
                  <a:gd name="T1" fmla="*/ 152 h 233"/>
                  <a:gd name="T2" fmla="*/ 160 w 185"/>
                  <a:gd name="T3" fmla="*/ 140 h 233"/>
                  <a:gd name="T4" fmla="*/ 166 w 185"/>
                  <a:gd name="T5" fmla="*/ 120 h 233"/>
                  <a:gd name="T6" fmla="*/ 161 w 185"/>
                  <a:gd name="T7" fmla="*/ 102 h 233"/>
                  <a:gd name="T8" fmla="*/ 171 w 185"/>
                  <a:gd name="T9" fmla="*/ 88 h 233"/>
                  <a:gd name="T10" fmla="*/ 139 w 185"/>
                  <a:gd name="T11" fmla="*/ 91 h 233"/>
                  <a:gd name="T12" fmla="*/ 117 w 185"/>
                  <a:gd name="T13" fmla="*/ 82 h 233"/>
                  <a:gd name="T14" fmla="*/ 115 w 185"/>
                  <a:gd name="T15" fmla="*/ 56 h 233"/>
                  <a:gd name="T16" fmla="*/ 91 w 185"/>
                  <a:gd name="T17" fmla="*/ 48 h 233"/>
                  <a:gd name="T18" fmla="*/ 77 w 185"/>
                  <a:gd name="T19" fmla="*/ 27 h 233"/>
                  <a:gd name="T20" fmla="*/ 48 w 185"/>
                  <a:gd name="T21" fmla="*/ 6 h 233"/>
                  <a:gd name="T22" fmla="*/ 18 w 185"/>
                  <a:gd name="T23" fmla="*/ 17 h 233"/>
                  <a:gd name="T24" fmla="*/ 0 w 185"/>
                  <a:gd name="T25" fmla="*/ 21 h 233"/>
                  <a:gd name="T26" fmla="*/ 6 w 185"/>
                  <a:gd name="T27" fmla="*/ 40 h 233"/>
                  <a:gd name="T28" fmla="*/ 8 w 185"/>
                  <a:gd name="T29" fmla="*/ 53 h 233"/>
                  <a:gd name="T30" fmla="*/ 12 w 185"/>
                  <a:gd name="T31" fmla="*/ 65 h 233"/>
                  <a:gd name="T32" fmla="*/ 5 w 185"/>
                  <a:gd name="T33" fmla="*/ 72 h 233"/>
                  <a:gd name="T34" fmla="*/ 27 w 185"/>
                  <a:gd name="T35" fmla="*/ 76 h 233"/>
                  <a:gd name="T36" fmla="*/ 15 w 185"/>
                  <a:gd name="T37" fmla="*/ 106 h 233"/>
                  <a:gd name="T38" fmla="*/ 37 w 185"/>
                  <a:gd name="T39" fmla="*/ 118 h 233"/>
                  <a:gd name="T40" fmla="*/ 35 w 185"/>
                  <a:gd name="T41" fmla="*/ 140 h 233"/>
                  <a:gd name="T42" fmla="*/ 41 w 185"/>
                  <a:gd name="T43" fmla="*/ 153 h 233"/>
                  <a:gd name="T44" fmla="*/ 58 w 185"/>
                  <a:gd name="T45" fmla="*/ 174 h 233"/>
                  <a:gd name="T46" fmla="*/ 65 w 185"/>
                  <a:gd name="T47" fmla="*/ 199 h 233"/>
                  <a:gd name="T48" fmla="*/ 71 w 185"/>
                  <a:gd name="T49" fmla="*/ 211 h 233"/>
                  <a:gd name="T50" fmla="*/ 84 w 185"/>
                  <a:gd name="T51" fmla="*/ 221 h 233"/>
                  <a:gd name="T52" fmla="*/ 95 w 185"/>
                  <a:gd name="T53" fmla="*/ 229 h 233"/>
                  <a:gd name="T54" fmla="*/ 112 w 185"/>
                  <a:gd name="T55" fmla="*/ 221 h 233"/>
                  <a:gd name="T56" fmla="*/ 128 w 185"/>
                  <a:gd name="T57" fmla="*/ 213 h 233"/>
                  <a:gd name="T58" fmla="*/ 158 w 185"/>
                  <a:gd name="T59" fmla="*/ 207 h 233"/>
                  <a:gd name="T60" fmla="*/ 165 w 185"/>
                  <a:gd name="T61" fmla="*/ 192 h 233"/>
                  <a:gd name="T62" fmla="*/ 177 w 185"/>
                  <a:gd name="T63" fmla="*/ 180 h 233"/>
                  <a:gd name="T64" fmla="*/ 180 w 185"/>
                  <a:gd name="T65" fmla="*/ 159 h 233"/>
                  <a:gd name="T66" fmla="*/ 27 w 185"/>
                  <a:gd name="T67" fmla="*/ 144 h 233"/>
                  <a:gd name="T68" fmla="*/ 24 w 185"/>
                  <a:gd name="T69" fmla="*/ 144 h 233"/>
                  <a:gd name="T70" fmla="*/ 24 w 185"/>
                  <a:gd name="T71" fmla="*/ 144 h 23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85"/>
                  <a:gd name="T109" fmla="*/ 0 h 233"/>
                  <a:gd name="T110" fmla="*/ 185 w 185"/>
                  <a:gd name="T111" fmla="*/ 233 h 23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85" h="233">
                    <a:moveTo>
                      <a:pt x="180" y="159"/>
                    </a:moveTo>
                    <a:cubicBezTo>
                      <a:pt x="167" y="152"/>
                      <a:pt x="167" y="152"/>
                      <a:pt x="167" y="152"/>
                    </a:cubicBezTo>
                    <a:cubicBezTo>
                      <a:pt x="169" y="145"/>
                      <a:pt x="169" y="145"/>
                      <a:pt x="169" y="145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57" y="128"/>
                      <a:pt x="157" y="128"/>
                      <a:pt x="157" y="128"/>
                    </a:cubicBezTo>
                    <a:cubicBezTo>
                      <a:pt x="166" y="120"/>
                      <a:pt x="166" y="120"/>
                      <a:pt x="166" y="120"/>
                    </a:cubicBezTo>
                    <a:cubicBezTo>
                      <a:pt x="168" y="106"/>
                      <a:pt x="168" y="106"/>
                      <a:pt x="168" y="106"/>
                    </a:cubicBezTo>
                    <a:cubicBezTo>
                      <a:pt x="161" y="102"/>
                      <a:pt x="161" y="102"/>
                      <a:pt x="161" y="102"/>
                    </a:cubicBezTo>
                    <a:cubicBezTo>
                      <a:pt x="168" y="94"/>
                      <a:pt x="168" y="94"/>
                      <a:pt x="168" y="94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55" y="84"/>
                      <a:pt x="155" y="84"/>
                      <a:pt x="155" y="84"/>
                    </a:cubicBezTo>
                    <a:cubicBezTo>
                      <a:pt x="139" y="91"/>
                      <a:pt x="139" y="91"/>
                      <a:pt x="139" y="91"/>
                    </a:cubicBezTo>
                    <a:cubicBezTo>
                      <a:pt x="133" y="84"/>
                      <a:pt x="133" y="84"/>
                      <a:pt x="133" y="84"/>
                    </a:cubicBezTo>
                    <a:cubicBezTo>
                      <a:pt x="117" y="82"/>
                      <a:pt x="117" y="82"/>
                      <a:pt x="117" y="82"/>
                    </a:cubicBezTo>
                    <a:cubicBezTo>
                      <a:pt x="112" y="71"/>
                      <a:pt x="112" y="71"/>
                      <a:pt x="112" y="71"/>
                    </a:cubicBezTo>
                    <a:cubicBezTo>
                      <a:pt x="112" y="71"/>
                      <a:pt x="117" y="62"/>
                      <a:pt x="115" y="56"/>
                    </a:cubicBezTo>
                    <a:cubicBezTo>
                      <a:pt x="113" y="50"/>
                      <a:pt x="101" y="49"/>
                      <a:pt x="99" y="54"/>
                    </a:cubicBezTo>
                    <a:cubicBezTo>
                      <a:pt x="97" y="59"/>
                      <a:pt x="91" y="48"/>
                      <a:pt x="91" y="48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62" y="13"/>
                      <a:pt x="62" y="13"/>
                      <a:pt x="62" y="13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33" y="0"/>
                      <a:pt x="30" y="6"/>
                    </a:cubicBezTo>
                    <a:cubicBezTo>
                      <a:pt x="27" y="12"/>
                      <a:pt x="18" y="17"/>
                      <a:pt x="18" y="17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3"/>
                      <a:pt x="24" y="56"/>
                      <a:pt x="25" y="59"/>
                    </a:cubicBezTo>
                    <a:cubicBezTo>
                      <a:pt x="26" y="62"/>
                      <a:pt x="12" y="65"/>
                      <a:pt x="12" y="65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8" y="77"/>
                      <a:pt x="8" y="77"/>
                      <a:pt x="8" y="77"/>
                    </a:cubicBezTo>
                    <a:cubicBezTo>
                      <a:pt x="8" y="77"/>
                      <a:pt x="27" y="71"/>
                      <a:pt x="27" y="76"/>
                    </a:cubicBezTo>
                    <a:cubicBezTo>
                      <a:pt x="27" y="81"/>
                      <a:pt x="15" y="95"/>
                      <a:pt x="15" y="95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6"/>
                      <a:pt x="19" y="103"/>
                      <a:pt x="26" y="105"/>
                    </a:cubicBezTo>
                    <a:cubicBezTo>
                      <a:pt x="33" y="107"/>
                      <a:pt x="37" y="118"/>
                      <a:pt x="37" y="118"/>
                    </a:cubicBezTo>
                    <a:cubicBezTo>
                      <a:pt x="23" y="120"/>
                      <a:pt x="23" y="120"/>
                      <a:pt x="23" y="120"/>
                    </a:cubicBezTo>
                    <a:cubicBezTo>
                      <a:pt x="23" y="120"/>
                      <a:pt x="37" y="133"/>
                      <a:pt x="35" y="140"/>
                    </a:cubicBezTo>
                    <a:cubicBezTo>
                      <a:pt x="34" y="142"/>
                      <a:pt x="33" y="143"/>
                      <a:pt x="31" y="143"/>
                    </a:cubicBezTo>
                    <a:cubicBezTo>
                      <a:pt x="41" y="153"/>
                      <a:pt x="41" y="153"/>
                      <a:pt x="41" y="153"/>
                    </a:cubicBezTo>
                    <a:cubicBezTo>
                      <a:pt x="50" y="160"/>
                      <a:pt x="50" y="160"/>
                      <a:pt x="50" y="160"/>
                    </a:cubicBezTo>
                    <a:cubicBezTo>
                      <a:pt x="58" y="174"/>
                      <a:pt x="58" y="174"/>
                      <a:pt x="58" y="174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99"/>
                      <a:pt x="65" y="199"/>
                      <a:pt x="65" y="199"/>
                    </a:cubicBezTo>
                    <a:cubicBezTo>
                      <a:pt x="63" y="196"/>
                      <a:pt x="63" y="196"/>
                      <a:pt x="63" y="196"/>
                    </a:cubicBezTo>
                    <a:cubicBezTo>
                      <a:pt x="71" y="211"/>
                      <a:pt x="71" y="211"/>
                      <a:pt x="71" y="211"/>
                    </a:cubicBezTo>
                    <a:cubicBezTo>
                      <a:pt x="80" y="211"/>
                      <a:pt x="80" y="211"/>
                      <a:pt x="80" y="211"/>
                    </a:cubicBezTo>
                    <a:cubicBezTo>
                      <a:pt x="84" y="221"/>
                      <a:pt x="84" y="221"/>
                      <a:pt x="84" y="221"/>
                    </a:cubicBezTo>
                    <a:cubicBezTo>
                      <a:pt x="84" y="233"/>
                      <a:pt x="84" y="233"/>
                      <a:pt x="84" y="233"/>
                    </a:cubicBezTo>
                    <a:cubicBezTo>
                      <a:pt x="95" y="229"/>
                      <a:pt x="95" y="229"/>
                      <a:pt x="95" y="229"/>
                    </a:cubicBezTo>
                    <a:cubicBezTo>
                      <a:pt x="100" y="221"/>
                      <a:pt x="100" y="221"/>
                      <a:pt x="100" y="221"/>
                    </a:cubicBezTo>
                    <a:cubicBezTo>
                      <a:pt x="100" y="221"/>
                      <a:pt x="105" y="221"/>
                      <a:pt x="112" y="221"/>
                    </a:cubicBezTo>
                    <a:cubicBezTo>
                      <a:pt x="119" y="221"/>
                      <a:pt x="115" y="213"/>
                      <a:pt x="115" y="213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58" y="207"/>
                      <a:pt x="158" y="207"/>
                      <a:pt x="158" y="207"/>
                    </a:cubicBezTo>
                    <a:cubicBezTo>
                      <a:pt x="158" y="207"/>
                      <a:pt x="166" y="206"/>
                      <a:pt x="167" y="203"/>
                    </a:cubicBezTo>
                    <a:cubicBezTo>
                      <a:pt x="168" y="200"/>
                      <a:pt x="165" y="192"/>
                      <a:pt x="165" y="192"/>
                    </a:cubicBezTo>
                    <a:cubicBezTo>
                      <a:pt x="165" y="192"/>
                      <a:pt x="162" y="185"/>
                      <a:pt x="164" y="181"/>
                    </a:cubicBezTo>
                    <a:cubicBezTo>
                      <a:pt x="166" y="177"/>
                      <a:pt x="177" y="180"/>
                      <a:pt x="177" y="180"/>
                    </a:cubicBezTo>
                    <a:cubicBezTo>
                      <a:pt x="177" y="180"/>
                      <a:pt x="181" y="173"/>
                      <a:pt x="183" y="169"/>
                    </a:cubicBezTo>
                    <a:cubicBezTo>
                      <a:pt x="185" y="165"/>
                      <a:pt x="180" y="159"/>
                      <a:pt x="180" y="159"/>
                    </a:cubicBezTo>
                    <a:close/>
                    <a:moveTo>
                      <a:pt x="24" y="144"/>
                    </a:moveTo>
                    <a:cubicBezTo>
                      <a:pt x="25" y="144"/>
                      <a:pt x="26" y="144"/>
                      <a:pt x="27" y="144"/>
                    </a:cubicBezTo>
                    <a:cubicBezTo>
                      <a:pt x="26" y="144"/>
                      <a:pt x="25" y="144"/>
                      <a:pt x="24" y="144"/>
                    </a:cubicBezTo>
                    <a:close/>
                    <a:moveTo>
                      <a:pt x="24" y="144"/>
                    </a:moveTo>
                    <a:cubicBezTo>
                      <a:pt x="22" y="144"/>
                      <a:pt x="19" y="144"/>
                      <a:pt x="18" y="143"/>
                    </a:cubicBezTo>
                    <a:cubicBezTo>
                      <a:pt x="19" y="144"/>
                      <a:pt x="22" y="144"/>
                      <a:pt x="24" y="144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6" name="MCShape 176">
                <a:extLst>
                  <a:ext uri="{FF2B5EF4-FFF2-40B4-BE49-F238E27FC236}">
                    <a16:creationId xmlns:a16="http://schemas.microsoft.com/office/drawing/2014/main" id="{F61CD5A8-50CB-4E85-9D1B-638E4717A1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536" y="2646294"/>
                <a:ext cx="1537458" cy="770276"/>
              </a:xfrm>
              <a:custGeom>
                <a:avLst/>
                <a:gdLst>
                  <a:gd name="T0" fmla="*/ 2480 w 2609"/>
                  <a:gd name="T1" fmla="*/ 201 h 1304"/>
                  <a:gd name="T2" fmla="*/ 2188 w 2609"/>
                  <a:gd name="T3" fmla="*/ 278 h 1304"/>
                  <a:gd name="T4" fmla="*/ 2132 w 2609"/>
                  <a:gd name="T5" fmla="*/ 324 h 1304"/>
                  <a:gd name="T6" fmla="*/ 2049 w 2609"/>
                  <a:gd name="T7" fmla="*/ 357 h 1304"/>
                  <a:gd name="T8" fmla="*/ 1824 w 2609"/>
                  <a:gd name="T9" fmla="*/ 413 h 1304"/>
                  <a:gd name="T10" fmla="*/ 1906 w 2609"/>
                  <a:gd name="T11" fmla="*/ 294 h 1304"/>
                  <a:gd name="T12" fmla="*/ 1888 w 2609"/>
                  <a:gd name="T13" fmla="*/ 211 h 1304"/>
                  <a:gd name="T14" fmla="*/ 1909 w 2609"/>
                  <a:gd name="T15" fmla="*/ 159 h 1304"/>
                  <a:gd name="T16" fmla="*/ 1821 w 2609"/>
                  <a:gd name="T17" fmla="*/ 151 h 1304"/>
                  <a:gd name="T18" fmla="*/ 1700 w 2609"/>
                  <a:gd name="T19" fmla="*/ 142 h 1304"/>
                  <a:gd name="T20" fmla="*/ 1667 w 2609"/>
                  <a:gd name="T21" fmla="*/ 101 h 1304"/>
                  <a:gd name="T22" fmla="*/ 1627 w 2609"/>
                  <a:gd name="T23" fmla="*/ 67 h 1304"/>
                  <a:gd name="T24" fmla="*/ 1510 w 2609"/>
                  <a:gd name="T25" fmla="*/ 35 h 1304"/>
                  <a:gd name="T26" fmla="*/ 292 w 2609"/>
                  <a:gd name="T27" fmla="*/ 130 h 1304"/>
                  <a:gd name="T28" fmla="*/ 255 w 2609"/>
                  <a:gd name="T29" fmla="*/ 78 h 1304"/>
                  <a:gd name="T30" fmla="*/ 250 w 2609"/>
                  <a:gd name="T31" fmla="*/ 177 h 1304"/>
                  <a:gd name="T32" fmla="*/ 66 w 2609"/>
                  <a:gd name="T33" fmla="*/ 387 h 1304"/>
                  <a:gd name="T34" fmla="*/ 29 w 2609"/>
                  <a:gd name="T35" fmla="*/ 605 h 1304"/>
                  <a:gd name="T36" fmla="*/ 20 w 2609"/>
                  <a:gd name="T37" fmla="*/ 688 h 1304"/>
                  <a:gd name="T38" fmla="*/ 108 w 2609"/>
                  <a:gd name="T39" fmla="*/ 822 h 1304"/>
                  <a:gd name="T40" fmla="*/ 380 w 2609"/>
                  <a:gd name="T41" fmla="*/ 973 h 1304"/>
                  <a:gd name="T42" fmla="*/ 625 w 2609"/>
                  <a:gd name="T43" fmla="*/ 975 h 1304"/>
                  <a:gd name="T44" fmla="*/ 756 w 2609"/>
                  <a:gd name="T45" fmla="*/ 1047 h 1304"/>
                  <a:gd name="T46" fmla="*/ 851 w 2609"/>
                  <a:gd name="T47" fmla="*/ 1169 h 1304"/>
                  <a:gd name="T48" fmla="*/ 914 w 2609"/>
                  <a:gd name="T49" fmla="*/ 1254 h 1304"/>
                  <a:gd name="T50" fmla="*/ 950 w 2609"/>
                  <a:gd name="T51" fmla="*/ 1180 h 1304"/>
                  <a:gd name="T52" fmla="*/ 999 w 2609"/>
                  <a:gd name="T53" fmla="*/ 1128 h 1304"/>
                  <a:gd name="T54" fmla="*/ 1143 w 2609"/>
                  <a:gd name="T55" fmla="*/ 1040 h 1304"/>
                  <a:gd name="T56" fmla="*/ 1288 w 2609"/>
                  <a:gd name="T57" fmla="*/ 1079 h 1304"/>
                  <a:gd name="T58" fmla="*/ 1354 w 2609"/>
                  <a:gd name="T59" fmla="*/ 1087 h 1304"/>
                  <a:gd name="T60" fmla="*/ 1365 w 2609"/>
                  <a:gd name="T61" fmla="*/ 1024 h 1304"/>
                  <a:gd name="T62" fmla="*/ 1487 w 2609"/>
                  <a:gd name="T63" fmla="*/ 1024 h 1304"/>
                  <a:gd name="T64" fmla="*/ 1616 w 2609"/>
                  <a:gd name="T65" fmla="*/ 1079 h 1304"/>
                  <a:gd name="T66" fmla="*/ 1634 w 2609"/>
                  <a:gd name="T67" fmla="*/ 1212 h 1304"/>
                  <a:gd name="T68" fmla="*/ 1681 w 2609"/>
                  <a:gd name="T69" fmla="*/ 1304 h 1304"/>
                  <a:gd name="T70" fmla="*/ 1730 w 2609"/>
                  <a:gd name="T71" fmla="*/ 1112 h 1304"/>
                  <a:gd name="T72" fmla="*/ 1780 w 2609"/>
                  <a:gd name="T73" fmla="*/ 919 h 1304"/>
                  <a:gd name="T74" fmla="*/ 1864 w 2609"/>
                  <a:gd name="T75" fmla="*/ 859 h 1304"/>
                  <a:gd name="T76" fmla="*/ 2013 w 2609"/>
                  <a:gd name="T77" fmla="*/ 773 h 1304"/>
                  <a:gd name="T78" fmla="*/ 2015 w 2609"/>
                  <a:gd name="T79" fmla="*/ 726 h 1304"/>
                  <a:gd name="T80" fmla="*/ 2016 w 2609"/>
                  <a:gd name="T81" fmla="*/ 647 h 1304"/>
                  <a:gd name="T82" fmla="*/ 2025 w 2609"/>
                  <a:gd name="T83" fmla="*/ 586 h 1304"/>
                  <a:gd name="T84" fmla="*/ 2077 w 2609"/>
                  <a:gd name="T85" fmla="*/ 596 h 1304"/>
                  <a:gd name="T86" fmla="*/ 2136 w 2609"/>
                  <a:gd name="T87" fmla="*/ 513 h 1304"/>
                  <a:gd name="T88" fmla="*/ 2240 w 2609"/>
                  <a:gd name="T89" fmla="*/ 475 h 1304"/>
                  <a:gd name="T90" fmla="*/ 2355 w 2609"/>
                  <a:gd name="T91" fmla="*/ 411 h 1304"/>
                  <a:gd name="T92" fmla="*/ 2409 w 2609"/>
                  <a:gd name="T93" fmla="*/ 388 h 1304"/>
                  <a:gd name="T94" fmla="*/ 2423 w 2609"/>
                  <a:gd name="T95" fmla="*/ 324 h 1304"/>
                  <a:gd name="T96" fmla="*/ 2556 w 2609"/>
                  <a:gd name="T97" fmla="*/ 260 h 1304"/>
                  <a:gd name="T98" fmla="*/ 2582 w 2609"/>
                  <a:gd name="T99" fmla="*/ 202 h 1304"/>
                  <a:gd name="T100" fmla="*/ 1784 w 2609"/>
                  <a:gd name="T101" fmla="*/ 255 h 1304"/>
                  <a:gd name="T102" fmla="*/ 1734 w 2609"/>
                  <a:gd name="T103" fmla="*/ 342 h 1304"/>
                  <a:gd name="T104" fmla="*/ 1687 w 2609"/>
                  <a:gd name="T105" fmla="*/ 307 h 1304"/>
                  <a:gd name="T106" fmla="*/ 1772 w 2609"/>
                  <a:gd name="T107" fmla="*/ 194 h 1304"/>
                  <a:gd name="T108" fmla="*/ 1862 w 2609"/>
                  <a:gd name="T109" fmla="*/ 199 h 13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609"/>
                  <a:gd name="T166" fmla="*/ 0 h 1304"/>
                  <a:gd name="T167" fmla="*/ 2609 w 2609"/>
                  <a:gd name="T168" fmla="*/ 1304 h 13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609" h="1304">
                    <a:moveTo>
                      <a:pt x="2570" y="119"/>
                    </a:moveTo>
                    <a:cubicBezTo>
                      <a:pt x="2558" y="119"/>
                      <a:pt x="2567" y="110"/>
                      <a:pt x="2554" y="110"/>
                    </a:cubicBezTo>
                    <a:cubicBezTo>
                      <a:pt x="2541" y="110"/>
                      <a:pt x="2530" y="131"/>
                      <a:pt x="2530" y="131"/>
                    </a:cubicBezTo>
                    <a:cubicBezTo>
                      <a:pt x="2503" y="150"/>
                      <a:pt x="2503" y="150"/>
                      <a:pt x="2503" y="150"/>
                    </a:cubicBezTo>
                    <a:cubicBezTo>
                      <a:pt x="2503" y="164"/>
                      <a:pt x="2503" y="164"/>
                      <a:pt x="2503" y="164"/>
                    </a:cubicBezTo>
                    <a:cubicBezTo>
                      <a:pt x="2503" y="164"/>
                      <a:pt x="2495" y="172"/>
                      <a:pt x="2489" y="172"/>
                    </a:cubicBezTo>
                    <a:cubicBezTo>
                      <a:pt x="2483" y="172"/>
                      <a:pt x="2480" y="194"/>
                      <a:pt x="2480" y="201"/>
                    </a:cubicBezTo>
                    <a:cubicBezTo>
                      <a:pt x="2480" y="208"/>
                      <a:pt x="2473" y="201"/>
                      <a:pt x="2463" y="201"/>
                    </a:cubicBezTo>
                    <a:cubicBezTo>
                      <a:pt x="2454" y="201"/>
                      <a:pt x="2443" y="222"/>
                      <a:pt x="2443" y="222"/>
                    </a:cubicBezTo>
                    <a:cubicBezTo>
                      <a:pt x="2443" y="222"/>
                      <a:pt x="2435" y="223"/>
                      <a:pt x="2423" y="223"/>
                    </a:cubicBezTo>
                    <a:cubicBezTo>
                      <a:pt x="2411" y="223"/>
                      <a:pt x="2411" y="238"/>
                      <a:pt x="2411" y="238"/>
                    </a:cubicBezTo>
                    <a:cubicBezTo>
                      <a:pt x="2411" y="238"/>
                      <a:pt x="2280" y="238"/>
                      <a:pt x="2263" y="238"/>
                    </a:cubicBezTo>
                    <a:cubicBezTo>
                      <a:pt x="2246" y="238"/>
                      <a:pt x="2212" y="276"/>
                      <a:pt x="2204" y="276"/>
                    </a:cubicBezTo>
                    <a:cubicBezTo>
                      <a:pt x="2196" y="276"/>
                      <a:pt x="2194" y="278"/>
                      <a:pt x="2188" y="278"/>
                    </a:cubicBezTo>
                    <a:cubicBezTo>
                      <a:pt x="2187" y="278"/>
                      <a:pt x="2185" y="279"/>
                      <a:pt x="2183" y="280"/>
                    </a:cubicBezTo>
                    <a:cubicBezTo>
                      <a:pt x="2188" y="285"/>
                      <a:pt x="2189" y="291"/>
                      <a:pt x="2189" y="291"/>
                    </a:cubicBezTo>
                    <a:cubicBezTo>
                      <a:pt x="2189" y="291"/>
                      <a:pt x="2188" y="299"/>
                      <a:pt x="2181" y="305"/>
                    </a:cubicBezTo>
                    <a:cubicBezTo>
                      <a:pt x="2174" y="311"/>
                      <a:pt x="2174" y="321"/>
                      <a:pt x="2174" y="321"/>
                    </a:cubicBezTo>
                    <a:cubicBezTo>
                      <a:pt x="2162" y="320"/>
                      <a:pt x="2162" y="320"/>
                      <a:pt x="2162" y="320"/>
                    </a:cubicBezTo>
                    <a:cubicBezTo>
                      <a:pt x="2162" y="320"/>
                      <a:pt x="2162" y="324"/>
                      <a:pt x="2150" y="329"/>
                    </a:cubicBezTo>
                    <a:cubicBezTo>
                      <a:pt x="2138" y="334"/>
                      <a:pt x="2132" y="324"/>
                      <a:pt x="2132" y="324"/>
                    </a:cubicBezTo>
                    <a:cubicBezTo>
                      <a:pt x="2132" y="324"/>
                      <a:pt x="2127" y="332"/>
                      <a:pt x="2114" y="333"/>
                    </a:cubicBezTo>
                    <a:cubicBezTo>
                      <a:pt x="2101" y="334"/>
                      <a:pt x="2097" y="324"/>
                      <a:pt x="2088" y="323"/>
                    </a:cubicBezTo>
                    <a:cubicBezTo>
                      <a:pt x="2079" y="322"/>
                      <a:pt x="2072" y="330"/>
                      <a:pt x="2051" y="335"/>
                    </a:cubicBezTo>
                    <a:cubicBezTo>
                      <a:pt x="2050" y="335"/>
                      <a:pt x="2048" y="336"/>
                      <a:pt x="2047" y="336"/>
                    </a:cubicBezTo>
                    <a:cubicBezTo>
                      <a:pt x="2048" y="340"/>
                      <a:pt x="2048" y="344"/>
                      <a:pt x="2046" y="350"/>
                    </a:cubicBezTo>
                    <a:cubicBezTo>
                      <a:pt x="2045" y="352"/>
                      <a:pt x="2043" y="354"/>
                      <a:pt x="2040" y="357"/>
                    </a:cubicBezTo>
                    <a:cubicBezTo>
                      <a:pt x="2049" y="357"/>
                      <a:pt x="2049" y="357"/>
                      <a:pt x="2049" y="357"/>
                    </a:cubicBezTo>
                    <a:cubicBezTo>
                      <a:pt x="2049" y="357"/>
                      <a:pt x="1969" y="398"/>
                      <a:pt x="1961" y="401"/>
                    </a:cubicBezTo>
                    <a:cubicBezTo>
                      <a:pt x="1953" y="404"/>
                      <a:pt x="1945" y="407"/>
                      <a:pt x="1925" y="412"/>
                    </a:cubicBezTo>
                    <a:cubicBezTo>
                      <a:pt x="1905" y="417"/>
                      <a:pt x="1897" y="423"/>
                      <a:pt x="1890" y="426"/>
                    </a:cubicBezTo>
                    <a:cubicBezTo>
                      <a:pt x="1883" y="429"/>
                      <a:pt x="1871" y="427"/>
                      <a:pt x="1871" y="427"/>
                    </a:cubicBezTo>
                    <a:cubicBezTo>
                      <a:pt x="1871" y="427"/>
                      <a:pt x="1871" y="432"/>
                      <a:pt x="1859" y="433"/>
                    </a:cubicBezTo>
                    <a:cubicBezTo>
                      <a:pt x="1847" y="434"/>
                      <a:pt x="1846" y="423"/>
                      <a:pt x="1846" y="423"/>
                    </a:cubicBezTo>
                    <a:cubicBezTo>
                      <a:pt x="1846" y="423"/>
                      <a:pt x="1824" y="420"/>
                      <a:pt x="1824" y="413"/>
                    </a:cubicBezTo>
                    <a:cubicBezTo>
                      <a:pt x="1824" y="413"/>
                      <a:pt x="1837" y="407"/>
                      <a:pt x="1848" y="402"/>
                    </a:cubicBezTo>
                    <a:cubicBezTo>
                      <a:pt x="1847" y="401"/>
                      <a:pt x="1847" y="400"/>
                      <a:pt x="1846" y="400"/>
                    </a:cubicBezTo>
                    <a:cubicBezTo>
                      <a:pt x="1836" y="390"/>
                      <a:pt x="1881" y="368"/>
                      <a:pt x="1889" y="368"/>
                    </a:cubicBezTo>
                    <a:cubicBezTo>
                      <a:pt x="1897" y="368"/>
                      <a:pt x="1895" y="347"/>
                      <a:pt x="1895" y="347"/>
                    </a:cubicBezTo>
                    <a:cubicBezTo>
                      <a:pt x="1895" y="347"/>
                      <a:pt x="1898" y="343"/>
                      <a:pt x="1902" y="338"/>
                    </a:cubicBezTo>
                    <a:cubicBezTo>
                      <a:pt x="1902" y="337"/>
                      <a:pt x="1901" y="337"/>
                      <a:pt x="1901" y="337"/>
                    </a:cubicBezTo>
                    <a:cubicBezTo>
                      <a:pt x="1895" y="331"/>
                      <a:pt x="1908" y="302"/>
                      <a:pt x="1906" y="294"/>
                    </a:cubicBezTo>
                    <a:cubicBezTo>
                      <a:pt x="1904" y="286"/>
                      <a:pt x="1890" y="293"/>
                      <a:pt x="1884" y="298"/>
                    </a:cubicBezTo>
                    <a:cubicBezTo>
                      <a:pt x="1878" y="303"/>
                      <a:pt x="1850" y="321"/>
                      <a:pt x="1848" y="308"/>
                    </a:cubicBezTo>
                    <a:cubicBezTo>
                      <a:pt x="1847" y="302"/>
                      <a:pt x="1871" y="288"/>
                      <a:pt x="1874" y="283"/>
                    </a:cubicBezTo>
                    <a:cubicBezTo>
                      <a:pt x="1877" y="278"/>
                      <a:pt x="1888" y="275"/>
                      <a:pt x="1897" y="269"/>
                    </a:cubicBezTo>
                    <a:cubicBezTo>
                      <a:pt x="1906" y="263"/>
                      <a:pt x="1898" y="240"/>
                      <a:pt x="1898" y="240"/>
                    </a:cubicBezTo>
                    <a:cubicBezTo>
                      <a:pt x="1898" y="240"/>
                      <a:pt x="1901" y="245"/>
                      <a:pt x="1909" y="228"/>
                    </a:cubicBezTo>
                    <a:cubicBezTo>
                      <a:pt x="1917" y="211"/>
                      <a:pt x="1897" y="218"/>
                      <a:pt x="1888" y="211"/>
                    </a:cubicBezTo>
                    <a:cubicBezTo>
                      <a:pt x="1879" y="204"/>
                      <a:pt x="1879" y="198"/>
                      <a:pt x="1879" y="198"/>
                    </a:cubicBezTo>
                    <a:cubicBezTo>
                      <a:pt x="1879" y="198"/>
                      <a:pt x="1876" y="205"/>
                      <a:pt x="1871" y="200"/>
                    </a:cubicBezTo>
                    <a:cubicBezTo>
                      <a:pt x="1866" y="195"/>
                      <a:pt x="1872" y="185"/>
                      <a:pt x="1872" y="185"/>
                    </a:cubicBezTo>
                    <a:cubicBezTo>
                      <a:pt x="1896" y="189"/>
                      <a:pt x="1896" y="189"/>
                      <a:pt x="1896" y="189"/>
                    </a:cubicBezTo>
                    <a:cubicBezTo>
                      <a:pt x="1896" y="189"/>
                      <a:pt x="1900" y="186"/>
                      <a:pt x="1897" y="178"/>
                    </a:cubicBezTo>
                    <a:cubicBezTo>
                      <a:pt x="1896" y="174"/>
                      <a:pt x="1900" y="174"/>
                      <a:pt x="1905" y="174"/>
                    </a:cubicBezTo>
                    <a:cubicBezTo>
                      <a:pt x="1909" y="159"/>
                      <a:pt x="1909" y="159"/>
                      <a:pt x="1909" y="159"/>
                    </a:cubicBezTo>
                    <a:cubicBezTo>
                      <a:pt x="1896" y="159"/>
                      <a:pt x="1896" y="159"/>
                      <a:pt x="1896" y="159"/>
                    </a:cubicBezTo>
                    <a:cubicBezTo>
                      <a:pt x="1894" y="167"/>
                      <a:pt x="1894" y="167"/>
                      <a:pt x="1894" y="167"/>
                    </a:cubicBezTo>
                    <a:cubicBezTo>
                      <a:pt x="1878" y="161"/>
                      <a:pt x="1878" y="161"/>
                      <a:pt x="1878" y="161"/>
                    </a:cubicBezTo>
                    <a:cubicBezTo>
                      <a:pt x="1877" y="147"/>
                      <a:pt x="1877" y="147"/>
                      <a:pt x="1877" y="147"/>
                    </a:cubicBezTo>
                    <a:cubicBezTo>
                      <a:pt x="1868" y="149"/>
                      <a:pt x="1868" y="149"/>
                      <a:pt x="1868" y="149"/>
                    </a:cubicBezTo>
                    <a:cubicBezTo>
                      <a:pt x="1857" y="154"/>
                      <a:pt x="1857" y="154"/>
                      <a:pt x="1857" y="154"/>
                    </a:cubicBezTo>
                    <a:cubicBezTo>
                      <a:pt x="1821" y="151"/>
                      <a:pt x="1821" y="151"/>
                      <a:pt x="1821" y="151"/>
                    </a:cubicBezTo>
                    <a:cubicBezTo>
                      <a:pt x="1821" y="151"/>
                      <a:pt x="1808" y="162"/>
                      <a:pt x="1787" y="160"/>
                    </a:cubicBezTo>
                    <a:cubicBezTo>
                      <a:pt x="1766" y="158"/>
                      <a:pt x="1771" y="144"/>
                      <a:pt x="1767" y="139"/>
                    </a:cubicBezTo>
                    <a:cubicBezTo>
                      <a:pt x="1763" y="134"/>
                      <a:pt x="1743" y="145"/>
                      <a:pt x="1740" y="136"/>
                    </a:cubicBezTo>
                    <a:cubicBezTo>
                      <a:pt x="1777" y="115"/>
                      <a:pt x="1777" y="115"/>
                      <a:pt x="1777" y="115"/>
                    </a:cubicBezTo>
                    <a:cubicBezTo>
                      <a:pt x="1777" y="115"/>
                      <a:pt x="1772" y="110"/>
                      <a:pt x="1765" y="110"/>
                    </a:cubicBezTo>
                    <a:cubicBezTo>
                      <a:pt x="1758" y="110"/>
                      <a:pt x="1744" y="122"/>
                      <a:pt x="1740" y="123"/>
                    </a:cubicBezTo>
                    <a:cubicBezTo>
                      <a:pt x="1736" y="124"/>
                      <a:pt x="1714" y="137"/>
                      <a:pt x="1700" y="142"/>
                    </a:cubicBezTo>
                    <a:cubicBezTo>
                      <a:pt x="1686" y="147"/>
                      <a:pt x="1670" y="144"/>
                      <a:pt x="1670" y="144"/>
                    </a:cubicBezTo>
                    <a:cubicBezTo>
                      <a:pt x="1664" y="153"/>
                      <a:pt x="1664" y="153"/>
                      <a:pt x="1664" y="153"/>
                    </a:cubicBezTo>
                    <a:cubicBezTo>
                      <a:pt x="1664" y="153"/>
                      <a:pt x="1640" y="155"/>
                      <a:pt x="1631" y="154"/>
                    </a:cubicBezTo>
                    <a:cubicBezTo>
                      <a:pt x="1622" y="153"/>
                      <a:pt x="1646" y="136"/>
                      <a:pt x="1646" y="136"/>
                    </a:cubicBezTo>
                    <a:cubicBezTo>
                      <a:pt x="1646" y="136"/>
                      <a:pt x="1636" y="140"/>
                      <a:pt x="1617" y="141"/>
                    </a:cubicBezTo>
                    <a:cubicBezTo>
                      <a:pt x="1598" y="142"/>
                      <a:pt x="1596" y="154"/>
                      <a:pt x="1579" y="148"/>
                    </a:cubicBezTo>
                    <a:cubicBezTo>
                      <a:pt x="1562" y="142"/>
                      <a:pt x="1655" y="109"/>
                      <a:pt x="1667" y="101"/>
                    </a:cubicBezTo>
                    <a:cubicBezTo>
                      <a:pt x="1679" y="93"/>
                      <a:pt x="1694" y="90"/>
                      <a:pt x="1713" y="86"/>
                    </a:cubicBezTo>
                    <a:cubicBezTo>
                      <a:pt x="1718" y="85"/>
                      <a:pt x="1722" y="83"/>
                      <a:pt x="1726" y="80"/>
                    </a:cubicBezTo>
                    <a:cubicBezTo>
                      <a:pt x="1698" y="80"/>
                      <a:pt x="1701" y="74"/>
                      <a:pt x="1701" y="74"/>
                    </a:cubicBezTo>
                    <a:cubicBezTo>
                      <a:pt x="1671" y="75"/>
                      <a:pt x="1671" y="75"/>
                      <a:pt x="1671" y="75"/>
                    </a:cubicBezTo>
                    <a:cubicBezTo>
                      <a:pt x="1671" y="65"/>
                      <a:pt x="1671" y="65"/>
                      <a:pt x="1671" y="65"/>
                    </a:cubicBezTo>
                    <a:cubicBezTo>
                      <a:pt x="1671" y="65"/>
                      <a:pt x="1655" y="76"/>
                      <a:pt x="1649" y="82"/>
                    </a:cubicBezTo>
                    <a:cubicBezTo>
                      <a:pt x="1643" y="88"/>
                      <a:pt x="1630" y="64"/>
                      <a:pt x="1627" y="67"/>
                    </a:cubicBezTo>
                    <a:cubicBezTo>
                      <a:pt x="1624" y="70"/>
                      <a:pt x="1617" y="67"/>
                      <a:pt x="1611" y="67"/>
                    </a:cubicBezTo>
                    <a:cubicBezTo>
                      <a:pt x="1605" y="67"/>
                      <a:pt x="1602" y="47"/>
                      <a:pt x="1589" y="47"/>
                    </a:cubicBezTo>
                    <a:cubicBezTo>
                      <a:pt x="1576" y="47"/>
                      <a:pt x="1578" y="59"/>
                      <a:pt x="1570" y="59"/>
                    </a:cubicBezTo>
                    <a:cubicBezTo>
                      <a:pt x="1562" y="59"/>
                      <a:pt x="1555" y="49"/>
                      <a:pt x="1555" y="49"/>
                    </a:cubicBezTo>
                    <a:cubicBezTo>
                      <a:pt x="1555" y="49"/>
                      <a:pt x="1536" y="48"/>
                      <a:pt x="1528" y="40"/>
                    </a:cubicBezTo>
                    <a:cubicBezTo>
                      <a:pt x="1519" y="31"/>
                      <a:pt x="1544" y="21"/>
                      <a:pt x="1534" y="11"/>
                    </a:cubicBezTo>
                    <a:cubicBezTo>
                      <a:pt x="1524" y="0"/>
                      <a:pt x="1510" y="35"/>
                      <a:pt x="1510" y="35"/>
                    </a:cubicBezTo>
                    <a:cubicBezTo>
                      <a:pt x="368" y="35"/>
                      <a:pt x="368" y="35"/>
                      <a:pt x="368" y="35"/>
                    </a:cubicBezTo>
                    <a:cubicBezTo>
                      <a:pt x="367" y="42"/>
                      <a:pt x="365" y="48"/>
                      <a:pt x="364" y="50"/>
                    </a:cubicBezTo>
                    <a:cubicBezTo>
                      <a:pt x="360" y="56"/>
                      <a:pt x="359" y="80"/>
                      <a:pt x="359" y="80"/>
                    </a:cubicBezTo>
                    <a:cubicBezTo>
                      <a:pt x="337" y="92"/>
                      <a:pt x="337" y="92"/>
                      <a:pt x="337" y="92"/>
                    </a:cubicBezTo>
                    <a:cubicBezTo>
                      <a:pt x="335" y="104"/>
                      <a:pt x="335" y="104"/>
                      <a:pt x="335" y="104"/>
                    </a:cubicBezTo>
                    <a:cubicBezTo>
                      <a:pt x="324" y="119"/>
                      <a:pt x="324" y="119"/>
                      <a:pt x="324" y="119"/>
                    </a:cubicBezTo>
                    <a:cubicBezTo>
                      <a:pt x="292" y="130"/>
                      <a:pt x="292" y="130"/>
                      <a:pt x="292" y="130"/>
                    </a:cubicBezTo>
                    <a:cubicBezTo>
                      <a:pt x="315" y="117"/>
                      <a:pt x="315" y="117"/>
                      <a:pt x="315" y="117"/>
                    </a:cubicBezTo>
                    <a:cubicBezTo>
                      <a:pt x="300" y="115"/>
                      <a:pt x="300" y="115"/>
                      <a:pt x="300" y="115"/>
                    </a:cubicBezTo>
                    <a:cubicBezTo>
                      <a:pt x="300" y="115"/>
                      <a:pt x="314" y="95"/>
                      <a:pt x="318" y="92"/>
                    </a:cubicBezTo>
                    <a:cubicBezTo>
                      <a:pt x="322" y="89"/>
                      <a:pt x="342" y="75"/>
                      <a:pt x="332" y="75"/>
                    </a:cubicBezTo>
                    <a:cubicBezTo>
                      <a:pt x="322" y="75"/>
                      <a:pt x="313" y="77"/>
                      <a:pt x="303" y="76"/>
                    </a:cubicBezTo>
                    <a:cubicBezTo>
                      <a:pt x="293" y="75"/>
                      <a:pt x="284" y="57"/>
                      <a:pt x="275" y="61"/>
                    </a:cubicBezTo>
                    <a:cubicBezTo>
                      <a:pt x="266" y="65"/>
                      <a:pt x="257" y="57"/>
                      <a:pt x="255" y="78"/>
                    </a:cubicBezTo>
                    <a:cubicBezTo>
                      <a:pt x="253" y="99"/>
                      <a:pt x="255" y="111"/>
                      <a:pt x="252" y="113"/>
                    </a:cubicBezTo>
                    <a:cubicBezTo>
                      <a:pt x="249" y="115"/>
                      <a:pt x="239" y="130"/>
                      <a:pt x="239" y="130"/>
                    </a:cubicBezTo>
                    <a:cubicBezTo>
                      <a:pt x="257" y="134"/>
                      <a:pt x="257" y="134"/>
                      <a:pt x="257" y="134"/>
                    </a:cubicBezTo>
                    <a:cubicBezTo>
                      <a:pt x="238" y="137"/>
                      <a:pt x="238" y="137"/>
                      <a:pt x="238" y="137"/>
                    </a:cubicBezTo>
                    <a:cubicBezTo>
                      <a:pt x="241" y="148"/>
                      <a:pt x="241" y="148"/>
                      <a:pt x="241" y="148"/>
                    </a:cubicBezTo>
                    <a:cubicBezTo>
                      <a:pt x="230" y="165"/>
                      <a:pt x="230" y="165"/>
                      <a:pt x="230" y="165"/>
                    </a:cubicBezTo>
                    <a:cubicBezTo>
                      <a:pt x="230" y="165"/>
                      <a:pt x="251" y="173"/>
                      <a:pt x="250" y="177"/>
                    </a:cubicBezTo>
                    <a:cubicBezTo>
                      <a:pt x="249" y="181"/>
                      <a:pt x="218" y="175"/>
                      <a:pt x="218" y="175"/>
                    </a:cubicBezTo>
                    <a:cubicBezTo>
                      <a:pt x="218" y="175"/>
                      <a:pt x="179" y="235"/>
                      <a:pt x="169" y="247"/>
                    </a:cubicBezTo>
                    <a:cubicBezTo>
                      <a:pt x="159" y="259"/>
                      <a:pt x="112" y="315"/>
                      <a:pt x="112" y="315"/>
                    </a:cubicBezTo>
                    <a:cubicBezTo>
                      <a:pt x="114" y="330"/>
                      <a:pt x="114" y="330"/>
                      <a:pt x="114" y="330"/>
                    </a:cubicBezTo>
                    <a:cubicBezTo>
                      <a:pt x="114" y="330"/>
                      <a:pt x="101" y="332"/>
                      <a:pt x="90" y="344"/>
                    </a:cubicBezTo>
                    <a:cubicBezTo>
                      <a:pt x="79" y="356"/>
                      <a:pt x="79" y="374"/>
                      <a:pt x="79" y="374"/>
                    </a:cubicBezTo>
                    <a:cubicBezTo>
                      <a:pt x="66" y="387"/>
                      <a:pt x="66" y="387"/>
                      <a:pt x="66" y="387"/>
                    </a:cubicBezTo>
                    <a:cubicBezTo>
                      <a:pt x="63" y="421"/>
                      <a:pt x="63" y="421"/>
                      <a:pt x="63" y="421"/>
                    </a:cubicBezTo>
                    <a:cubicBezTo>
                      <a:pt x="63" y="421"/>
                      <a:pt x="39" y="453"/>
                      <a:pt x="33" y="459"/>
                    </a:cubicBezTo>
                    <a:cubicBezTo>
                      <a:pt x="27" y="465"/>
                      <a:pt x="6" y="477"/>
                      <a:pt x="8" y="488"/>
                    </a:cubicBezTo>
                    <a:cubicBezTo>
                      <a:pt x="10" y="499"/>
                      <a:pt x="26" y="506"/>
                      <a:pt x="23" y="516"/>
                    </a:cubicBezTo>
                    <a:cubicBezTo>
                      <a:pt x="20" y="526"/>
                      <a:pt x="0" y="550"/>
                      <a:pt x="0" y="562"/>
                    </a:cubicBezTo>
                    <a:cubicBezTo>
                      <a:pt x="0" y="574"/>
                      <a:pt x="13" y="615"/>
                      <a:pt x="13" y="615"/>
                    </a:cubicBezTo>
                    <a:cubicBezTo>
                      <a:pt x="29" y="605"/>
                      <a:pt x="29" y="605"/>
                      <a:pt x="29" y="605"/>
                    </a:cubicBezTo>
                    <a:cubicBezTo>
                      <a:pt x="74" y="609"/>
                      <a:pt x="74" y="609"/>
                      <a:pt x="74" y="609"/>
                    </a:cubicBezTo>
                    <a:cubicBezTo>
                      <a:pt x="74" y="609"/>
                      <a:pt x="36" y="609"/>
                      <a:pt x="33" y="615"/>
                    </a:cubicBezTo>
                    <a:cubicBezTo>
                      <a:pt x="30" y="621"/>
                      <a:pt x="31" y="635"/>
                      <a:pt x="31" y="635"/>
                    </a:cubicBezTo>
                    <a:cubicBezTo>
                      <a:pt x="31" y="635"/>
                      <a:pt x="20" y="620"/>
                      <a:pt x="16" y="626"/>
                    </a:cubicBezTo>
                    <a:cubicBezTo>
                      <a:pt x="12" y="632"/>
                      <a:pt x="2" y="651"/>
                      <a:pt x="7" y="659"/>
                    </a:cubicBezTo>
                    <a:cubicBezTo>
                      <a:pt x="12" y="667"/>
                      <a:pt x="25" y="667"/>
                      <a:pt x="25" y="667"/>
                    </a:cubicBezTo>
                    <a:cubicBezTo>
                      <a:pt x="25" y="667"/>
                      <a:pt x="23" y="688"/>
                      <a:pt x="20" y="688"/>
                    </a:cubicBezTo>
                    <a:cubicBezTo>
                      <a:pt x="17" y="688"/>
                      <a:pt x="7" y="700"/>
                      <a:pt x="7" y="709"/>
                    </a:cubicBezTo>
                    <a:cubicBezTo>
                      <a:pt x="7" y="718"/>
                      <a:pt x="20" y="733"/>
                      <a:pt x="20" y="733"/>
                    </a:cubicBezTo>
                    <a:cubicBezTo>
                      <a:pt x="20" y="733"/>
                      <a:pt x="40" y="763"/>
                      <a:pt x="39" y="770"/>
                    </a:cubicBezTo>
                    <a:cubicBezTo>
                      <a:pt x="38" y="777"/>
                      <a:pt x="16" y="799"/>
                      <a:pt x="28" y="803"/>
                    </a:cubicBezTo>
                    <a:cubicBezTo>
                      <a:pt x="40" y="807"/>
                      <a:pt x="65" y="807"/>
                      <a:pt x="65" y="807"/>
                    </a:cubicBezTo>
                    <a:cubicBezTo>
                      <a:pt x="65" y="807"/>
                      <a:pt x="67" y="828"/>
                      <a:pt x="79" y="828"/>
                    </a:cubicBezTo>
                    <a:cubicBezTo>
                      <a:pt x="91" y="828"/>
                      <a:pt x="108" y="822"/>
                      <a:pt x="108" y="822"/>
                    </a:cubicBezTo>
                    <a:cubicBezTo>
                      <a:pt x="111" y="841"/>
                      <a:pt x="111" y="841"/>
                      <a:pt x="111" y="841"/>
                    </a:cubicBezTo>
                    <a:cubicBezTo>
                      <a:pt x="111" y="841"/>
                      <a:pt x="143" y="852"/>
                      <a:pt x="143" y="867"/>
                    </a:cubicBezTo>
                    <a:cubicBezTo>
                      <a:pt x="143" y="875"/>
                      <a:pt x="140" y="889"/>
                      <a:pt x="138" y="901"/>
                    </a:cubicBezTo>
                    <a:cubicBezTo>
                      <a:pt x="141" y="903"/>
                      <a:pt x="141" y="903"/>
                      <a:pt x="141" y="903"/>
                    </a:cubicBezTo>
                    <a:cubicBezTo>
                      <a:pt x="240" y="899"/>
                      <a:pt x="240" y="899"/>
                      <a:pt x="240" y="899"/>
                    </a:cubicBezTo>
                    <a:cubicBezTo>
                      <a:pt x="230" y="909"/>
                      <a:pt x="240" y="909"/>
                      <a:pt x="240" y="909"/>
                    </a:cubicBezTo>
                    <a:cubicBezTo>
                      <a:pt x="380" y="973"/>
                      <a:pt x="380" y="973"/>
                      <a:pt x="380" y="973"/>
                    </a:cubicBezTo>
                    <a:cubicBezTo>
                      <a:pt x="512" y="971"/>
                      <a:pt x="512" y="971"/>
                      <a:pt x="512" y="971"/>
                    </a:cubicBezTo>
                    <a:cubicBezTo>
                      <a:pt x="512" y="971"/>
                      <a:pt x="512" y="971"/>
                      <a:pt x="516" y="968"/>
                    </a:cubicBezTo>
                    <a:cubicBezTo>
                      <a:pt x="519" y="964"/>
                      <a:pt x="517" y="960"/>
                      <a:pt x="517" y="954"/>
                    </a:cubicBezTo>
                    <a:cubicBezTo>
                      <a:pt x="517" y="948"/>
                      <a:pt x="524" y="944"/>
                      <a:pt x="524" y="944"/>
                    </a:cubicBezTo>
                    <a:cubicBezTo>
                      <a:pt x="597" y="944"/>
                      <a:pt x="597" y="944"/>
                      <a:pt x="597" y="944"/>
                    </a:cubicBezTo>
                    <a:cubicBezTo>
                      <a:pt x="612" y="959"/>
                      <a:pt x="607" y="967"/>
                      <a:pt x="607" y="967"/>
                    </a:cubicBezTo>
                    <a:cubicBezTo>
                      <a:pt x="625" y="975"/>
                      <a:pt x="625" y="975"/>
                      <a:pt x="625" y="975"/>
                    </a:cubicBezTo>
                    <a:cubicBezTo>
                      <a:pt x="631" y="996"/>
                      <a:pt x="631" y="996"/>
                      <a:pt x="631" y="996"/>
                    </a:cubicBezTo>
                    <a:cubicBezTo>
                      <a:pt x="631" y="996"/>
                      <a:pt x="642" y="997"/>
                      <a:pt x="653" y="1008"/>
                    </a:cubicBezTo>
                    <a:cubicBezTo>
                      <a:pt x="663" y="1018"/>
                      <a:pt x="653" y="1060"/>
                      <a:pt x="653" y="1060"/>
                    </a:cubicBezTo>
                    <a:cubicBezTo>
                      <a:pt x="653" y="1060"/>
                      <a:pt x="684" y="1094"/>
                      <a:pt x="703" y="1094"/>
                    </a:cubicBezTo>
                    <a:cubicBezTo>
                      <a:pt x="722" y="1094"/>
                      <a:pt x="735" y="1060"/>
                      <a:pt x="739" y="1056"/>
                    </a:cubicBezTo>
                    <a:cubicBezTo>
                      <a:pt x="743" y="1052"/>
                      <a:pt x="755" y="1053"/>
                      <a:pt x="755" y="1053"/>
                    </a:cubicBezTo>
                    <a:cubicBezTo>
                      <a:pt x="756" y="1047"/>
                      <a:pt x="756" y="1047"/>
                      <a:pt x="756" y="1047"/>
                    </a:cubicBezTo>
                    <a:cubicBezTo>
                      <a:pt x="766" y="1052"/>
                      <a:pt x="766" y="1052"/>
                      <a:pt x="766" y="1052"/>
                    </a:cubicBezTo>
                    <a:cubicBezTo>
                      <a:pt x="795" y="1053"/>
                      <a:pt x="795" y="1053"/>
                      <a:pt x="795" y="1053"/>
                    </a:cubicBezTo>
                    <a:cubicBezTo>
                      <a:pt x="795" y="1053"/>
                      <a:pt x="815" y="1084"/>
                      <a:pt x="823" y="1092"/>
                    </a:cubicBezTo>
                    <a:cubicBezTo>
                      <a:pt x="831" y="1100"/>
                      <a:pt x="823" y="1115"/>
                      <a:pt x="823" y="1124"/>
                    </a:cubicBezTo>
                    <a:cubicBezTo>
                      <a:pt x="823" y="1133"/>
                      <a:pt x="834" y="1140"/>
                      <a:pt x="834" y="1140"/>
                    </a:cubicBezTo>
                    <a:cubicBezTo>
                      <a:pt x="834" y="1140"/>
                      <a:pt x="835" y="1146"/>
                      <a:pt x="835" y="1153"/>
                    </a:cubicBezTo>
                    <a:cubicBezTo>
                      <a:pt x="835" y="1161"/>
                      <a:pt x="844" y="1162"/>
                      <a:pt x="851" y="1169"/>
                    </a:cubicBezTo>
                    <a:cubicBezTo>
                      <a:pt x="858" y="1176"/>
                      <a:pt x="848" y="1179"/>
                      <a:pt x="848" y="1179"/>
                    </a:cubicBezTo>
                    <a:cubicBezTo>
                      <a:pt x="848" y="1206"/>
                      <a:pt x="848" y="1206"/>
                      <a:pt x="848" y="1206"/>
                    </a:cubicBezTo>
                    <a:cubicBezTo>
                      <a:pt x="856" y="1212"/>
                      <a:pt x="856" y="1212"/>
                      <a:pt x="856" y="1212"/>
                    </a:cubicBezTo>
                    <a:cubicBezTo>
                      <a:pt x="856" y="1212"/>
                      <a:pt x="854" y="1220"/>
                      <a:pt x="854" y="1231"/>
                    </a:cubicBezTo>
                    <a:cubicBezTo>
                      <a:pt x="854" y="1242"/>
                      <a:pt x="884" y="1243"/>
                      <a:pt x="884" y="1243"/>
                    </a:cubicBezTo>
                    <a:cubicBezTo>
                      <a:pt x="890" y="1254"/>
                      <a:pt x="890" y="1254"/>
                      <a:pt x="890" y="1254"/>
                    </a:cubicBezTo>
                    <a:cubicBezTo>
                      <a:pt x="890" y="1254"/>
                      <a:pt x="909" y="1254"/>
                      <a:pt x="914" y="1254"/>
                    </a:cubicBezTo>
                    <a:cubicBezTo>
                      <a:pt x="919" y="1254"/>
                      <a:pt x="917" y="1264"/>
                      <a:pt x="928" y="1264"/>
                    </a:cubicBezTo>
                    <a:cubicBezTo>
                      <a:pt x="933" y="1264"/>
                      <a:pt x="937" y="1263"/>
                      <a:pt x="940" y="1262"/>
                    </a:cubicBezTo>
                    <a:cubicBezTo>
                      <a:pt x="930" y="1213"/>
                      <a:pt x="930" y="1213"/>
                      <a:pt x="930" y="1213"/>
                    </a:cubicBezTo>
                    <a:cubicBezTo>
                      <a:pt x="942" y="1202"/>
                      <a:pt x="942" y="1202"/>
                      <a:pt x="942" y="1202"/>
                    </a:cubicBezTo>
                    <a:cubicBezTo>
                      <a:pt x="929" y="1193"/>
                      <a:pt x="929" y="1193"/>
                      <a:pt x="929" y="1193"/>
                    </a:cubicBezTo>
                    <a:cubicBezTo>
                      <a:pt x="929" y="1180"/>
                      <a:pt x="929" y="1180"/>
                      <a:pt x="929" y="1180"/>
                    </a:cubicBezTo>
                    <a:cubicBezTo>
                      <a:pt x="929" y="1180"/>
                      <a:pt x="947" y="1192"/>
                      <a:pt x="950" y="1180"/>
                    </a:cubicBezTo>
                    <a:cubicBezTo>
                      <a:pt x="953" y="1168"/>
                      <a:pt x="950" y="1159"/>
                      <a:pt x="950" y="1159"/>
                    </a:cubicBezTo>
                    <a:cubicBezTo>
                      <a:pt x="966" y="1157"/>
                      <a:pt x="966" y="1157"/>
                      <a:pt x="966" y="1157"/>
                    </a:cubicBezTo>
                    <a:cubicBezTo>
                      <a:pt x="971" y="1139"/>
                      <a:pt x="971" y="1139"/>
                      <a:pt x="971" y="1139"/>
                    </a:cubicBezTo>
                    <a:cubicBezTo>
                      <a:pt x="981" y="1144"/>
                      <a:pt x="981" y="1144"/>
                      <a:pt x="981" y="1144"/>
                    </a:cubicBezTo>
                    <a:cubicBezTo>
                      <a:pt x="994" y="1137"/>
                      <a:pt x="994" y="1137"/>
                      <a:pt x="994" y="1137"/>
                    </a:cubicBezTo>
                    <a:cubicBezTo>
                      <a:pt x="989" y="1121"/>
                      <a:pt x="989" y="1121"/>
                      <a:pt x="989" y="1121"/>
                    </a:cubicBezTo>
                    <a:cubicBezTo>
                      <a:pt x="999" y="1128"/>
                      <a:pt x="999" y="1128"/>
                      <a:pt x="999" y="1128"/>
                    </a:cubicBezTo>
                    <a:cubicBezTo>
                      <a:pt x="999" y="1128"/>
                      <a:pt x="1003" y="1106"/>
                      <a:pt x="1009" y="1110"/>
                    </a:cubicBezTo>
                    <a:cubicBezTo>
                      <a:pt x="1015" y="1114"/>
                      <a:pt x="1016" y="1125"/>
                      <a:pt x="1022" y="1122"/>
                    </a:cubicBezTo>
                    <a:cubicBezTo>
                      <a:pt x="1028" y="1119"/>
                      <a:pt x="1056" y="1111"/>
                      <a:pt x="1064" y="1103"/>
                    </a:cubicBezTo>
                    <a:cubicBezTo>
                      <a:pt x="1072" y="1095"/>
                      <a:pt x="1086" y="1076"/>
                      <a:pt x="1086" y="1076"/>
                    </a:cubicBezTo>
                    <a:cubicBezTo>
                      <a:pt x="1086" y="1076"/>
                      <a:pt x="1078" y="1053"/>
                      <a:pt x="1088" y="1052"/>
                    </a:cubicBezTo>
                    <a:cubicBezTo>
                      <a:pt x="1098" y="1051"/>
                      <a:pt x="1109" y="1075"/>
                      <a:pt x="1121" y="1068"/>
                    </a:cubicBezTo>
                    <a:cubicBezTo>
                      <a:pt x="1133" y="1061"/>
                      <a:pt x="1137" y="1033"/>
                      <a:pt x="1143" y="1040"/>
                    </a:cubicBezTo>
                    <a:cubicBezTo>
                      <a:pt x="1149" y="1047"/>
                      <a:pt x="1152" y="1053"/>
                      <a:pt x="1157" y="1053"/>
                    </a:cubicBezTo>
                    <a:cubicBezTo>
                      <a:pt x="1162" y="1053"/>
                      <a:pt x="1173" y="1037"/>
                      <a:pt x="1173" y="1037"/>
                    </a:cubicBezTo>
                    <a:cubicBezTo>
                      <a:pt x="1173" y="1037"/>
                      <a:pt x="1192" y="1068"/>
                      <a:pt x="1206" y="1066"/>
                    </a:cubicBezTo>
                    <a:cubicBezTo>
                      <a:pt x="1220" y="1064"/>
                      <a:pt x="1222" y="1033"/>
                      <a:pt x="1238" y="1049"/>
                    </a:cubicBezTo>
                    <a:cubicBezTo>
                      <a:pt x="1254" y="1065"/>
                      <a:pt x="1246" y="1083"/>
                      <a:pt x="1256" y="1083"/>
                    </a:cubicBezTo>
                    <a:cubicBezTo>
                      <a:pt x="1266" y="1083"/>
                      <a:pt x="1282" y="1090"/>
                      <a:pt x="1282" y="1090"/>
                    </a:cubicBezTo>
                    <a:cubicBezTo>
                      <a:pt x="1282" y="1090"/>
                      <a:pt x="1281" y="1074"/>
                      <a:pt x="1288" y="1079"/>
                    </a:cubicBezTo>
                    <a:cubicBezTo>
                      <a:pt x="1295" y="1084"/>
                      <a:pt x="1303" y="1103"/>
                      <a:pt x="1308" y="1091"/>
                    </a:cubicBezTo>
                    <a:cubicBezTo>
                      <a:pt x="1313" y="1079"/>
                      <a:pt x="1306" y="1064"/>
                      <a:pt x="1306" y="1064"/>
                    </a:cubicBezTo>
                    <a:cubicBezTo>
                      <a:pt x="1320" y="1069"/>
                      <a:pt x="1320" y="1069"/>
                      <a:pt x="1320" y="1069"/>
                    </a:cubicBezTo>
                    <a:cubicBezTo>
                      <a:pt x="1325" y="1080"/>
                      <a:pt x="1325" y="1080"/>
                      <a:pt x="1325" y="1080"/>
                    </a:cubicBezTo>
                    <a:cubicBezTo>
                      <a:pt x="1335" y="1083"/>
                      <a:pt x="1335" y="1083"/>
                      <a:pt x="1335" y="1083"/>
                    </a:cubicBezTo>
                    <a:cubicBezTo>
                      <a:pt x="1335" y="1092"/>
                      <a:pt x="1335" y="1092"/>
                      <a:pt x="1335" y="1092"/>
                    </a:cubicBezTo>
                    <a:cubicBezTo>
                      <a:pt x="1335" y="1092"/>
                      <a:pt x="1359" y="1099"/>
                      <a:pt x="1354" y="1087"/>
                    </a:cubicBezTo>
                    <a:cubicBezTo>
                      <a:pt x="1349" y="1075"/>
                      <a:pt x="1335" y="1070"/>
                      <a:pt x="1335" y="1070"/>
                    </a:cubicBezTo>
                    <a:cubicBezTo>
                      <a:pt x="1329" y="1060"/>
                      <a:pt x="1329" y="1060"/>
                      <a:pt x="1329" y="1060"/>
                    </a:cubicBezTo>
                    <a:cubicBezTo>
                      <a:pt x="1329" y="1060"/>
                      <a:pt x="1349" y="1057"/>
                      <a:pt x="1347" y="1049"/>
                    </a:cubicBezTo>
                    <a:cubicBezTo>
                      <a:pt x="1345" y="1041"/>
                      <a:pt x="1343" y="1039"/>
                      <a:pt x="1334" y="1040"/>
                    </a:cubicBezTo>
                    <a:cubicBezTo>
                      <a:pt x="1325" y="1041"/>
                      <a:pt x="1298" y="1044"/>
                      <a:pt x="1307" y="1030"/>
                    </a:cubicBezTo>
                    <a:cubicBezTo>
                      <a:pt x="1316" y="1016"/>
                      <a:pt x="1325" y="1027"/>
                      <a:pt x="1336" y="1030"/>
                    </a:cubicBezTo>
                    <a:cubicBezTo>
                      <a:pt x="1347" y="1033"/>
                      <a:pt x="1355" y="1031"/>
                      <a:pt x="1365" y="1024"/>
                    </a:cubicBezTo>
                    <a:cubicBezTo>
                      <a:pt x="1375" y="1017"/>
                      <a:pt x="1386" y="1017"/>
                      <a:pt x="1386" y="1017"/>
                    </a:cubicBezTo>
                    <a:cubicBezTo>
                      <a:pt x="1387" y="1021"/>
                      <a:pt x="1387" y="1021"/>
                      <a:pt x="1387" y="1021"/>
                    </a:cubicBezTo>
                    <a:cubicBezTo>
                      <a:pt x="1387" y="1021"/>
                      <a:pt x="1417" y="1021"/>
                      <a:pt x="1417" y="1014"/>
                    </a:cubicBezTo>
                    <a:cubicBezTo>
                      <a:pt x="1417" y="1007"/>
                      <a:pt x="1423" y="992"/>
                      <a:pt x="1426" y="997"/>
                    </a:cubicBezTo>
                    <a:cubicBezTo>
                      <a:pt x="1429" y="1002"/>
                      <a:pt x="1429" y="1024"/>
                      <a:pt x="1429" y="1024"/>
                    </a:cubicBezTo>
                    <a:cubicBezTo>
                      <a:pt x="1429" y="1024"/>
                      <a:pt x="1462" y="1012"/>
                      <a:pt x="1471" y="1013"/>
                    </a:cubicBezTo>
                    <a:cubicBezTo>
                      <a:pt x="1480" y="1014"/>
                      <a:pt x="1487" y="1024"/>
                      <a:pt x="1487" y="1024"/>
                    </a:cubicBezTo>
                    <a:cubicBezTo>
                      <a:pt x="1487" y="1024"/>
                      <a:pt x="1484" y="1008"/>
                      <a:pt x="1494" y="1012"/>
                    </a:cubicBezTo>
                    <a:cubicBezTo>
                      <a:pt x="1504" y="1016"/>
                      <a:pt x="1504" y="1030"/>
                      <a:pt x="1504" y="1030"/>
                    </a:cubicBezTo>
                    <a:cubicBezTo>
                      <a:pt x="1524" y="1025"/>
                      <a:pt x="1524" y="1025"/>
                      <a:pt x="1524" y="1025"/>
                    </a:cubicBezTo>
                    <a:cubicBezTo>
                      <a:pt x="1520" y="1033"/>
                      <a:pt x="1520" y="1033"/>
                      <a:pt x="1520" y="1033"/>
                    </a:cubicBezTo>
                    <a:cubicBezTo>
                      <a:pt x="1520" y="1033"/>
                      <a:pt x="1521" y="1065"/>
                      <a:pt x="1539" y="1061"/>
                    </a:cubicBezTo>
                    <a:cubicBezTo>
                      <a:pt x="1557" y="1057"/>
                      <a:pt x="1570" y="1031"/>
                      <a:pt x="1588" y="1035"/>
                    </a:cubicBezTo>
                    <a:cubicBezTo>
                      <a:pt x="1606" y="1039"/>
                      <a:pt x="1607" y="1073"/>
                      <a:pt x="1616" y="1079"/>
                    </a:cubicBezTo>
                    <a:cubicBezTo>
                      <a:pt x="1625" y="1085"/>
                      <a:pt x="1643" y="1085"/>
                      <a:pt x="1643" y="1085"/>
                    </a:cubicBezTo>
                    <a:cubicBezTo>
                      <a:pt x="1640" y="1111"/>
                      <a:pt x="1640" y="1111"/>
                      <a:pt x="1640" y="1111"/>
                    </a:cubicBezTo>
                    <a:cubicBezTo>
                      <a:pt x="1640" y="1111"/>
                      <a:pt x="1621" y="1139"/>
                      <a:pt x="1623" y="1147"/>
                    </a:cubicBezTo>
                    <a:cubicBezTo>
                      <a:pt x="1625" y="1155"/>
                      <a:pt x="1635" y="1156"/>
                      <a:pt x="1635" y="1156"/>
                    </a:cubicBezTo>
                    <a:cubicBezTo>
                      <a:pt x="1640" y="1166"/>
                      <a:pt x="1640" y="1166"/>
                      <a:pt x="1640" y="1166"/>
                    </a:cubicBezTo>
                    <a:cubicBezTo>
                      <a:pt x="1621" y="1179"/>
                      <a:pt x="1621" y="1179"/>
                      <a:pt x="1621" y="1179"/>
                    </a:cubicBezTo>
                    <a:cubicBezTo>
                      <a:pt x="1634" y="1212"/>
                      <a:pt x="1634" y="1212"/>
                      <a:pt x="1634" y="1212"/>
                    </a:cubicBezTo>
                    <a:cubicBezTo>
                      <a:pt x="1634" y="1212"/>
                      <a:pt x="1649" y="1193"/>
                      <a:pt x="1650" y="1199"/>
                    </a:cubicBezTo>
                    <a:cubicBezTo>
                      <a:pt x="1651" y="1205"/>
                      <a:pt x="1639" y="1230"/>
                      <a:pt x="1639" y="1230"/>
                    </a:cubicBezTo>
                    <a:cubicBezTo>
                      <a:pt x="1649" y="1227"/>
                      <a:pt x="1649" y="1227"/>
                      <a:pt x="1649" y="1227"/>
                    </a:cubicBezTo>
                    <a:cubicBezTo>
                      <a:pt x="1652" y="1259"/>
                      <a:pt x="1652" y="1259"/>
                      <a:pt x="1652" y="1259"/>
                    </a:cubicBezTo>
                    <a:cubicBezTo>
                      <a:pt x="1652" y="1259"/>
                      <a:pt x="1669" y="1259"/>
                      <a:pt x="1669" y="1265"/>
                    </a:cubicBezTo>
                    <a:cubicBezTo>
                      <a:pt x="1669" y="1271"/>
                      <a:pt x="1666" y="1287"/>
                      <a:pt x="1666" y="1287"/>
                    </a:cubicBezTo>
                    <a:cubicBezTo>
                      <a:pt x="1681" y="1304"/>
                      <a:pt x="1681" y="1304"/>
                      <a:pt x="1681" y="1304"/>
                    </a:cubicBezTo>
                    <a:cubicBezTo>
                      <a:pt x="1681" y="1304"/>
                      <a:pt x="1705" y="1298"/>
                      <a:pt x="1707" y="1291"/>
                    </a:cubicBezTo>
                    <a:cubicBezTo>
                      <a:pt x="1709" y="1284"/>
                      <a:pt x="1711" y="1271"/>
                      <a:pt x="1711" y="1271"/>
                    </a:cubicBezTo>
                    <a:cubicBezTo>
                      <a:pt x="1723" y="1271"/>
                      <a:pt x="1723" y="1271"/>
                      <a:pt x="1723" y="1271"/>
                    </a:cubicBezTo>
                    <a:cubicBezTo>
                      <a:pt x="1723" y="1271"/>
                      <a:pt x="1722" y="1250"/>
                      <a:pt x="1729" y="1240"/>
                    </a:cubicBezTo>
                    <a:cubicBezTo>
                      <a:pt x="1736" y="1230"/>
                      <a:pt x="1740" y="1213"/>
                      <a:pt x="1737" y="1203"/>
                    </a:cubicBezTo>
                    <a:cubicBezTo>
                      <a:pt x="1734" y="1193"/>
                      <a:pt x="1724" y="1160"/>
                      <a:pt x="1724" y="1151"/>
                    </a:cubicBezTo>
                    <a:cubicBezTo>
                      <a:pt x="1724" y="1142"/>
                      <a:pt x="1730" y="1128"/>
                      <a:pt x="1730" y="1112"/>
                    </a:cubicBezTo>
                    <a:cubicBezTo>
                      <a:pt x="1730" y="1096"/>
                      <a:pt x="1710" y="1070"/>
                      <a:pt x="1714" y="1056"/>
                    </a:cubicBezTo>
                    <a:cubicBezTo>
                      <a:pt x="1718" y="1042"/>
                      <a:pt x="1710" y="1002"/>
                      <a:pt x="1722" y="987"/>
                    </a:cubicBezTo>
                    <a:cubicBezTo>
                      <a:pt x="1734" y="972"/>
                      <a:pt x="1742" y="948"/>
                      <a:pt x="1742" y="948"/>
                    </a:cubicBezTo>
                    <a:cubicBezTo>
                      <a:pt x="1752" y="942"/>
                      <a:pt x="1752" y="942"/>
                      <a:pt x="1752" y="942"/>
                    </a:cubicBezTo>
                    <a:cubicBezTo>
                      <a:pt x="1765" y="929"/>
                      <a:pt x="1765" y="929"/>
                      <a:pt x="1765" y="929"/>
                    </a:cubicBezTo>
                    <a:cubicBezTo>
                      <a:pt x="1771" y="913"/>
                      <a:pt x="1771" y="913"/>
                      <a:pt x="1771" y="913"/>
                    </a:cubicBezTo>
                    <a:cubicBezTo>
                      <a:pt x="1780" y="919"/>
                      <a:pt x="1780" y="919"/>
                      <a:pt x="1780" y="919"/>
                    </a:cubicBezTo>
                    <a:cubicBezTo>
                      <a:pt x="1783" y="905"/>
                      <a:pt x="1783" y="905"/>
                      <a:pt x="1783" y="905"/>
                    </a:cubicBezTo>
                    <a:cubicBezTo>
                      <a:pt x="1783" y="905"/>
                      <a:pt x="1813" y="909"/>
                      <a:pt x="1818" y="903"/>
                    </a:cubicBezTo>
                    <a:cubicBezTo>
                      <a:pt x="1823" y="897"/>
                      <a:pt x="1819" y="886"/>
                      <a:pt x="1819" y="886"/>
                    </a:cubicBezTo>
                    <a:cubicBezTo>
                      <a:pt x="1832" y="887"/>
                      <a:pt x="1832" y="887"/>
                      <a:pt x="1832" y="887"/>
                    </a:cubicBezTo>
                    <a:cubicBezTo>
                      <a:pt x="1836" y="881"/>
                      <a:pt x="1836" y="881"/>
                      <a:pt x="1836" y="881"/>
                    </a:cubicBezTo>
                    <a:cubicBezTo>
                      <a:pt x="1847" y="880"/>
                      <a:pt x="1847" y="880"/>
                      <a:pt x="1847" y="880"/>
                    </a:cubicBezTo>
                    <a:cubicBezTo>
                      <a:pt x="1864" y="859"/>
                      <a:pt x="1864" y="859"/>
                      <a:pt x="1864" y="859"/>
                    </a:cubicBezTo>
                    <a:cubicBezTo>
                      <a:pt x="1864" y="859"/>
                      <a:pt x="1868" y="839"/>
                      <a:pt x="1887" y="834"/>
                    </a:cubicBezTo>
                    <a:cubicBezTo>
                      <a:pt x="1906" y="829"/>
                      <a:pt x="1917" y="840"/>
                      <a:pt x="1926" y="831"/>
                    </a:cubicBezTo>
                    <a:cubicBezTo>
                      <a:pt x="1935" y="822"/>
                      <a:pt x="1941" y="805"/>
                      <a:pt x="1941" y="805"/>
                    </a:cubicBezTo>
                    <a:cubicBezTo>
                      <a:pt x="1951" y="807"/>
                      <a:pt x="1951" y="807"/>
                      <a:pt x="1951" y="807"/>
                    </a:cubicBezTo>
                    <a:cubicBezTo>
                      <a:pt x="1956" y="792"/>
                      <a:pt x="1956" y="792"/>
                      <a:pt x="1956" y="792"/>
                    </a:cubicBezTo>
                    <a:cubicBezTo>
                      <a:pt x="2010" y="789"/>
                      <a:pt x="2010" y="789"/>
                      <a:pt x="2010" y="789"/>
                    </a:cubicBezTo>
                    <a:cubicBezTo>
                      <a:pt x="2013" y="773"/>
                      <a:pt x="2013" y="773"/>
                      <a:pt x="2013" y="773"/>
                    </a:cubicBezTo>
                    <a:cubicBezTo>
                      <a:pt x="1988" y="775"/>
                      <a:pt x="1988" y="775"/>
                      <a:pt x="1988" y="775"/>
                    </a:cubicBezTo>
                    <a:cubicBezTo>
                      <a:pt x="1988" y="775"/>
                      <a:pt x="2002" y="770"/>
                      <a:pt x="2001" y="763"/>
                    </a:cubicBezTo>
                    <a:cubicBezTo>
                      <a:pt x="2000" y="756"/>
                      <a:pt x="1990" y="749"/>
                      <a:pt x="1990" y="749"/>
                    </a:cubicBezTo>
                    <a:cubicBezTo>
                      <a:pt x="2013" y="745"/>
                      <a:pt x="2013" y="745"/>
                      <a:pt x="2013" y="745"/>
                    </a:cubicBezTo>
                    <a:cubicBezTo>
                      <a:pt x="2029" y="751"/>
                      <a:pt x="2029" y="751"/>
                      <a:pt x="2029" y="751"/>
                    </a:cubicBezTo>
                    <a:cubicBezTo>
                      <a:pt x="2052" y="727"/>
                      <a:pt x="2052" y="727"/>
                      <a:pt x="2052" y="727"/>
                    </a:cubicBezTo>
                    <a:cubicBezTo>
                      <a:pt x="2015" y="726"/>
                      <a:pt x="2015" y="726"/>
                      <a:pt x="2015" y="726"/>
                    </a:cubicBezTo>
                    <a:cubicBezTo>
                      <a:pt x="2013" y="709"/>
                      <a:pt x="2013" y="709"/>
                      <a:pt x="2013" y="709"/>
                    </a:cubicBezTo>
                    <a:cubicBezTo>
                      <a:pt x="2022" y="718"/>
                      <a:pt x="2022" y="718"/>
                      <a:pt x="2022" y="718"/>
                    </a:cubicBezTo>
                    <a:cubicBezTo>
                      <a:pt x="2052" y="707"/>
                      <a:pt x="2052" y="707"/>
                      <a:pt x="2052" y="707"/>
                    </a:cubicBezTo>
                    <a:cubicBezTo>
                      <a:pt x="2055" y="668"/>
                      <a:pt x="2055" y="668"/>
                      <a:pt x="2055" y="668"/>
                    </a:cubicBezTo>
                    <a:cubicBezTo>
                      <a:pt x="2036" y="676"/>
                      <a:pt x="2036" y="676"/>
                      <a:pt x="2036" y="676"/>
                    </a:cubicBezTo>
                    <a:cubicBezTo>
                      <a:pt x="2032" y="658"/>
                      <a:pt x="2032" y="658"/>
                      <a:pt x="2032" y="658"/>
                    </a:cubicBezTo>
                    <a:cubicBezTo>
                      <a:pt x="2016" y="647"/>
                      <a:pt x="2016" y="647"/>
                      <a:pt x="2016" y="647"/>
                    </a:cubicBezTo>
                    <a:cubicBezTo>
                      <a:pt x="2045" y="662"/>
                      <a:pt x="2045" y="662"/>
                      <a:pt x="2045" y="662"/>
                    </a:cubicBezTo>
                    <a:cubicBezTo>
                      <a:pt x="2052" y="656"/>
                      <a:pt x="2052" y="656"/>
                      <a:pt x="2052" y="656"/>
                    </a:cubicBezTo>
                    <a:cubicBezTo>
                      <a:pt x="2039" y="646"/>
                      <a:pt x="2039" y="646"/>
                      <a:pt x="2039" y="646"/>
                    </a:cubicBezTo>
                    <a:cubicBezTo>
                      <a:pt x="2057" y="646"/>
                      <a:pt x="2057" y="646"/>
                      <a:pt x="2057" y="646"/>
                    </a:cubicBezTo>
                    <a:cubicBezTo>
                      <a:pt x="2057" y="646"/>
                      <a:pt x="2035" y="617"/>
                      <a:pt x="2035" y="610"/>
                    </a:cubicBezTo>
                    <a:cubicBezTo>
                      <a:pt x="2035" y="603"/>
                      <a:pt x="2040" y="600"/>
                      <a:pt x="2040" y="600"/>
                    </a:cubicBezTo>
                    <a:cubicBezTo>
                      <a:pt x="2040" y="600"/>
                      <a:pt x="2023" y="589"/>
                      <a:pt x="2025" y="586"/>
                    </a:cubicBezTo>
                    <a:cubicBezTo>
                      <a:pt x="2027" y="583"/>
                      <a:pt x="2046" y="571"/>
                      <a:pt x="2046" y="571"/>
                    </a:cubicBezTo>
                    <a:cubicBezTo>
                      <a:pt x="2041" y="589"/>
                      <a:pt x="2041" y="589"/>
                      <a:pt x="2041" y="589"/>
                    </a:cubicBezTo>
                    <a:cubicBezTo>
                      <a:pt x="2062" y="606"/>
                      <a:pt x="2062" y="606"/>
                      <a:pt x="2062" y="606"/>
                    </a:cubicBezTo>
                    <a:cubicBezTo>
                      <a:pt x="2062" y="606"/>
                      <a:pt x="2070" y="582"/>
                      <a:pt x="2070" y="569"/>
                    </a:cubicBezTo>
                    <a:cubicBezTo>
                      <a:pt x="2070" y="556"/>
                      <a:pt x="2108" y="525"/>
                      <a:pt x="2107" y="533"/>
                    </a:cubicBezTo>
                    <a:cubicBezTo>
                      <a:pt x="2106" y="541"/>
                      <a:pt x="2083" y="574"/>
                      <a:pt x="2083" y="574"/>
                    </a:cubicBezTo>
                    <a:cubicBezTo>
                      <a:pt x="2077" y="596"/>
                      <a:pt x="2077" y="596"/>
                      <a:pt x="2077" y="596"/>
                    </a:cubicBezTo>
                    <a:cubicBezTo>
                      <a:pt x="2090" y="597"/>
                      <a:pt x="2090" y="597"/>
                      <a:pt x="2090" y="597"/>
                    </a:cubicBezTo>
                    <a:cubicBezTo>
                      <a:pt x="2090" y="597"/>
                      <a:pt x="2087" y="619"/>
                      <a:pt x="2082" y="623"/>
                    </a:cubicBezTo>
                    <a:cubicBezTo>
                      <a:pt x="2077" y="627"/>
                      <a:pt x="2059" y="661"/>
                      <a:pt x="2066" y="661"/>
                    </a:cubicBezTo>
                    <a:cubicBezTo>
                      <a:pt x="2073" y="661"/>
                      <a:pt x="2083" y="637"/>
                      <a:pt x="2089" y="632"/>
                    </a:cubicBezTo>
                    <a:cubicBezTo>
                      <a:pt x="2095" y="627"/>
                      <a:pt x="2125" y="611"/>
                      <a:pt x="2127" y="598"/>
                    </a:cubicBezTo>
                    <a:cubicBezTo>
                      <a:pt x="2129" y="585"/>
                      <a:pt x="2125" y="564"/>
                      <a:pt x="2125" y="553"/>
                    </a:cubicBezTo>
                    <a:cubicBezTo>
                      <a:pt x="2125" y="542"/>
                      <a:pt x="2129" y="516"/>
                      <a:pt x="2136" y="513"/>
                    </a:cubicBezTo>
                    <a:cubicBezTo>
                      <a:pt x="2143" y="510"/>
                      <a:pt x="2138" y="515"/>
                      <a:pt x="2135" y="528"/>
                    </a:cubicBezTo>
                    <a:cubicBezTo>
                      <a:pt x="2132" y="541"/>
                      <a:pt x="2144" y="545"/>
                      <a:pt x="2144" y="545"/>
                    </a:cubicBezTo>
                    <a:cubicBezTo>
                      <a:pt x="2144" y="545"/>
                      <a:pt x="2138" y="570"/>
                      <a:pt x="2141" y="570"/>
                    </a:cubicBezTo>
                    <a:cubicBezTo>
                      <a:pt x="2144" y="570"/>
                      <a:pt x="2175" y="531"/>
                      <a:pt x="2185" y="521"/>
                    </a:cubicBezTo>
                    <a:cubicBezTo>
                      <a:pt x="2195" y="511"/>
                      <a:pt x="2217" y="495"/>
                      <a:pt x="2214" y="491"/>
                    </a:cubicBezTo>
                    <a:cubicBezTo>
                      <a:pt x="2211" y="487"/>
                      <a:pt x="2202" y="490"/>
                      <a:pt x="2202" y="480"/>
                    </a:cubicBezTo>
                    <a:cubicBezTo>
                      <a:pt x="2202" y="470"/>
                      <a:pt x="2220" y="475"/>
                      <a:pt x="2240" y="475"/>
                    </a:cubicBezTo>
                    <a:cubicBezTo>
                      <a:pt x="2260" y="475"/>
                      <a:pt x="2306" y="453"/>
                      <a:pt x="2306" y="453"/>
                    </a:cubicBezTo>
                    <a:cubicBezTo>
                      <a:pt x="2293" y="447"/>
                      <a:pt x="2293" y="447"/>
                      <a:pt x="2293" y="447"/>
                    </a:cubicBezTo>
                    <a:cubicBezTo>
                      <a:pt x="2293" y="447"/>
                      <a:pt x="2269" y="458"/>
                      <a:pt x="2257" y="459"/>
                    </a:cubicBezTo>
                    <a:cubicBezTo>
                      <a:pt x="2245" y="460"/>
                      <a:pt x="2225" y="468"/>
                      <a:pt x="2228" y="455"/>
                    </a:cubicBezTo>
                    <a:cubicBezTo>
                      <a:pt x="2231" y="442"/>
                      <a:pt x="2266" y="439"/>
                      <a:pt x="2266" y="439"/>
                    </a:cubicBezTo>
                    <a:cubicBezTo>
                      <a:pt x="2326" y="438"/>
                      <a:pt x="2326" y="438"/>
                      <a:pt x="2326" y="438"/>
                    </a:cubicBezTo>
                    <a:cubicBezTo>
                      <a:pt x="2355" y="411"/>
                      <a:pt x="2355" y="411"/>
                      <a:pt x="2355" y="411"/>
                    </a:cubicBezTo>
                    <a:cubicBezTo>
                      <a:pt x="2361" y="421"/>
                      <a:pt x="2361" y="421"/>
                      <a:pt x="2361" y="421"/>
                    </a:cubicBezTo>
                    <a:cubicBezTo>
                      <a:pt x="2379" y="412"/>
                      <a:pt x="2379" y="412"/>
                      <a:pt x="2379" y="412"/>
                    </a:cubicBezTo>
                    <a:cubicBezTo>
                      <a:pt x="2377" y="435"/>
                      <a:pt x="2377" y="435"/>
                      <a:pt x="2377" y="435"/>
                    </a:cubicBezTo>
                    <a:cubicBezTo>
                      <a:pt x="2397" y="422"/>
                      <a:pt x="2397" y="422"/>
                      <a:pt x="2397" y="422"/>
                    </a:cubicBezTo>
                    <a:cubicBezTo>
                      <a:pt x="2413" y="418"/>
                      <a:pt x="2413" y="418"/>
                      <a:pt x="2413" y="418"/>
                    </a:cubicBezTo>
                    <a:cubicBezTo>
                      <a:pt x="2418" y="396"/>
                      <a:pt x="2418" y="396"/>
                      <a:pt x="2418" y="396"/>
                    </a:cubicBezTo>
                    <a:cubicBezTo>
                      <a:pt x="2409" y="388"/>
                      <a:pt x="2409" y="388"/>
                      <a:pt x="2409" y="388"/>
                    </a:cubicBezTo>
                    <a:cubicBezTo>
                      <a:pt x="2407" y="407"/>
                      <a:pt x="2407" y="407"/>
                      <a:pt x="2407" y="407"/>
                    </a:cubicBezTo>
                    <a:cubicBezTo>
                      <a:pt x="2391" y="410"/>
                      <a:pt x="2391" y="410"/>
                      <a:pt x="2391" y="410"/>
                    </a:cubicBezTo>
                    <a:cubicBezTo>
                      <a:pt x="2391" y="391"/>
                      <a:pt x="2391" y="391"/>
                      <a:pt x="2391" y="391"/>
                    </a:cubicBezTo>
                    <a:cubicBezTo>
                      <a:pt x="2378" y="377"/>
                      <a:pt x="2378" y="377"/>
                      <a:pt x="2378" y="377"/>
                    </a:cubicBezTo>
                    <a:cubicBezTo>
                      <a:pt x="2394" y="369"/>
                      <a:pt x="2394" y="369"/>
                      <a:pt x="2394" y="369"/>
                    </a:cubicBezTo>
                    <a:cubicBezTo>
                      <a:pt x="2398" y="346"/>
                      <a:pt x="2398" y="346"/>
                      <a:pt x="2398" y="346"/>
                    </a:cubicBezTo>
                    <a:cubicBezTo>
                      <a:pt x="2398" y="346"/>
                      <a:pt x="2413" y="329"/>
                      <a:pt x="2423" y="324"/>
                    </a:cubicBezTo>
                    <a:cubicBezTo>
                      <a:pt x="2433" y="319"/>
                      <a:pt x="2438" y="301"/>
                      <a:pt x="2438" y="301"/>
                    </a:cubicBezTo>
                    <a:cubicBezTo>
                      <a:pt x="2457" y="306"/>
                      <a:pt x="2457" y="306"/>
                      <a:pt x="2457" y="306"/>
                    </a:cubicBezTo>
                    <a:cubicBezTo>
                      <a:pt x="2467" y="291"/>
                      <a:pt x="2467" y="291"/>
                      <a:pt x="2467" y="291"/>
                    </a:cubicBezTo>
                    <a:cubicBezTo>
                      <a:pt x="2467" y="291"/>
                      <a:pt x="2470" y="302"/>
                      <a:pt x="2479" y="296"/>
                    </a:cubicBezTo>
                    <a:cubicBezTo>
                      <a:pt x="2488" y="290"/>
                      <a:pt x="2515" y="266"/>
                      <a:pt x="2515" y="266"/>
                    </a:cubicBezTo>
                    <a:cubicBezTo>
                      <a:pt x="2516" y="284"/>
                      <a:pt x="2516" y="284"/>
                      <a:pt x="2516" y="284"/>
                    </a:cubicBezTo>
                    <a:cubicBezTo>
                      <a:pt x="2516" y="284"/>
                      <a:pt x="2547" y="265"/>
                      <a:pt x="2556" y="260"/>
                    </a:cubicBezTo>
                    <a:cubicBezTo>
                      <a:pt x="2565" y="255"/>
                      <a:pt x="2597" y="254"/>
                      <a:pt x="2597" y="254"/>
                    </a:cubicBezTo>
                    <a:cubicBezTo>
                      <a:pt x="2597" y="232"/>
                      <a:pt x="2597" y="232"/>
                      <a:pt x="2597" y="232"/>
                    </a:cubicBezTo>
                    <a:cubicBezTo>
                      <a:pt x="2597" y="232"/>
                      <a:pt x="2598" y="232"/>
                      <a:pt x="2598" y="233"/>
                    </a:cubicBezTo>
                    <a:cubicBezTo>
                      <a:pt x="2597" y="229"/>
                      <a:pt x="2597" y="229"/>
                      <a:pt x="2597" y="229"/>
                    </a:cubicBezTo>
                    <a:cubicBezTo>
                      <a:pt x="2597" y="229"/>
                      <a:pt x="2589" y="232"/>
                      <a:pt x="2584" y="227"/>
                    </a:cubicBezTo>
                    <a:cubicBezTo>
                      <a:pt x="2579" y="222"/>
                      <a:pt x="2593" y="209"/>
                      <a:pt x="2593" y="209"/>
                    </a:cubicBezTo>
                    <a:cubicBezTo>
                      <a:pt x="2593" y="209"/>
                      <a:pt x="2585" y="205"/>
                      <a:pt x="2582" y="202"/>
                    </a:cubicBezTo>
                    <a:cubicBezTo>
                      <a:pt x="2579" y="199"/>
                      <a:pt x="2609" y="142"/>
                      <a:pt x="2609" y="125"/>
                    </a:cubicBezTo>
                    <a:cubicBezTo>
                      <a:pt x="2609" y="108"/>
                      <a:pt x="2582" y="119"/>
                      <a:pt x="2570" y="119"/>
                    </a:cubicBezTo>
                    <a:close/>
                    <a:moveTo>
                      <a:pt x="1811" y="252"/>
                    </a:moveTo>
                    <a:cubicBezTo>
                      <a:pt x="1797" y="252"/>
                      <a:pt x="1817" y="235"/>
                      <a:pt x="1810" y="232"/>
                    </a:cubicBezTo>
                    <a:cubicBezTo>
                      <a:pt x="1803" y="229"/>
                      <a:pt x="1793" y="242"/>
                      <a:pt x="1793" y="242"/>
                    </a:cubicBezTo>
                    <a:cubicBezTo>
                      <a:pt x="1788" y="244"/>
                      <a:pt x="1788" y="244"/>
                      <a:pt x="1788" y="244"/>
                    </a:cubicBezTo>
                    <a:cubicBezTo>
                      <a:pt x="1784" y="255"/>
                      <a:pt x="1784" y="255"/>
                      <a:pt x="1784" y="255"/>
                    </a:cubicBezTo>
                    <a:cubicBezTo>
                      <a:pt x="1773" y="251"/>
                      <a:pt x="1773" y="251"/>
                      <a:pt x="1773" y="251"/>
                    </a:cubicBezTo>
                    <a:cubicBezTo>
                      <a:pt x="1773" y="251"/>
                      <a:pt x="1773" y="262"/>
                      <a:pt x="1770" y="269"/>
                    </a:cubicBezTo>
                    <a:cubicBezTo>
                      <a:pt x="1767" y="276"/>
                      <a:pt x="1757" y="279"/>
                      <a:pt x="1752" y="284"/>
                    </a:cubicBezTo>
                    <a:cubicBezTo>
                      <a:pt x="1747" y="289"/>
                      <a:pt x="1753" y="297"/>
                      <a:pt x="1753" y="297"/>
                    </a:cubicBezTo>
                    <a:cubicBezTo>
                      <a:pt x="1753" y="297"/>
                      <a:pt x="1749" y="297"/>
                      <a:pt x="1736" y="311"/>
                    </a:cubicBezTo>
                    <a:cubicBezTo>
                      <a:pt x="1723" y="325"/>
                      <a:pt x="1741" y="325"/>
                      <a:pt x="1741" y="333"/>
                    </a:cubicBezTo>
                    <a:cubicBezTo>
                      <a:pt x="1741" y="341"/>
                      <a:pt x="1734" y="342"/>
                      <a:pt x="1734" y="342"/>
                    </a:cubicBezTo>
                    <a:cubicBezTo>
                      <a:pt x="1734" y="342"/>
                      <a:pt x="1742" y="346"/>
                      <a:pt x="1719" y="378"/>
                    </a:cubicBezTo>
                    <a:cubicBezTo>
                      <a:pt x="1696" y="410"/>
                      <a:pt x="1651" y="420"/>
                      <a:pt x="1651" y="420"/>
                    </a:cubicBezTo>
                    <a:cubicBezTo>
                      <a:pt x="1654" y="400"/>
                      <a:pt x="1654" y="400"/>
                      <a:pt x="1654" y="400"/>
                    </a:cubicBezTo>
                    <a:cubicBezTo>
                      <a:pt x="1654" y="400"/>
                      <a:pt x="1650" y="393"/>
                      <a:pt x="1648" y="389"/>
                    </a:cubicBezTo>
                    <a:cubicBezTo>
                      <a:pt x="1646" y="385"/>
                      <a:pt x="1663" y="365"/>
                      <a:pt x="1665" y="358"/>
                    </a:cubicBezTo>
                    <a:cubicBezTo>
                      <a:pt x="1667" y="351"/>
                      <a:pt x="1661" y="350"/>
                      <a:pt x="1663" y="338"/>
                    </a:cubicBezTo>
                    <a:cubicBezTo>
                      <a:pt x="1665" y="326"/>
                      <a:pt x="1687" y="307"/>
                      <a:pt x="1687" y="307"/>
                    </a:cubicBezTo>
                    <a:cubicBezTo>
                      <a:pt x="1687" y="298"/>
                      <a:pt x="1687" y="298"/>
                      <a:pt x="1687" y="298"/>
                    </a:cubicBezTo>
                    <a:cubicBezTo>
                      <a:pt x="1687" y="298"/>
                      <a:pt x="1708" y="283"/>
                      <a:pt x="1711" y="277"/>
                    </a:cubicBezTo>
                    <a:cubicBezTo>
                      <a:pt x="1714" y="271"/>
                      <a:pt x="1746" y="240"/>
                      <a:pt x="1746" y="240"/>
                    </a:cubicBezTo>
                    <a:cubicBezTo>
                      <a:pt x="1725" y="246"/>
                      <a:pt x="1725" y="246"/>
                      <a:pt x="1725" y="246"/>
                    </a:cubicBezTo>
                    <a:cubicBezTo>
                      <a:pt x="1725" y="246"/>
                      <a:pt x="1702" y="265"/>
                      <a:pt x="1698" y="260"/>
                    </a:cubicBezTo>
                    <a:cubicBezTo>
                      <a:pt x="1694" y="255"/>
                      <a:pt x="1734" y="231"/>
                      <a:pt x="1739" y="223"/>
                    </a:cubicBezTo>
                    <a:cubicBezTo>
                      <a:pt x="1744" y="215"/>
                      <a:pt x="1772" y="194"/>
                      <a:pt x="1772" y="194"/>
                    </a:cubicBezTo>
                    <a:cubicBezTo>
                      <a:pt x="1777" y="200"/>
                      <a:pt x="1777" y="200"/>
                      <a:pt x="1777" y="200"/>
                    </a:cubicBezTo>
                    <a:cubicBezTo>
                      <a:pt x="1787" y="194"/>
                      <a:pt x="1787" y="194"/>
                      <a:pt x="1787" y="194"/>
                    </a:cubicBezTo>
                    <a:cubicBezTo>
                      <a:pt x="1787" y="194"/>
                      <a:pt x="1782" y="203"/>
                      <a:pt x="1792" y="202"/>
                    </a:cubicBezTo>
                    <a:cubicBezTo>
                      <a:pt x="1802" y="201"/>
                      <a:pt x="1799" y="187"/>
                      <a:pt x="1799" y="187"/>
                    </a:cubicBezTo>
                    <a:cubicBezTo>
                      <a:pt x="1815" y="192"/>
                      <a:pt x="1815" y="192"/>
                      <a:pt x="1815" y="192"/>
                    </a:cubicBezTo>
                    <a:cubicBezTo>
                      <a:pt x="1815" y="192"/>
                      <a:pt x="1837" y="181"/>
                      <a:pt x="1847" y="184"/>
                    </a:cubicBezTo>
                    <a:cubicBezTo>
                      <a:pt x="1857" y="187"/>
                      <a:pt x="1862" y="199"/>
                      <a:pt x="1862" y="199"/>
                    </a:cubicBezTo>
                    <a:cubicBezTo>
                      <a:pt x="1845" y="205"/>
                      <a:pt x="1845" y="205"/>
                      <a:pt x="1845" y="205"/>
                    </a:cubicBezTo>
                    <a:cubicBezTo>
                      <a:pt x="1847" y="222"/>
                      <a:pt x="1847" y="222"/>
                      <a:pt x="1847" y="222"/>
                    </a:cubicBezTo>
                    <a:cubicBezTo>
                      <a:pt x="1847" y="222"/>
                      <a:pt x="1835" y="220"/>
                      <a:pt x="1828" y="220"/>
                    </a:cubicBezTo>
                    <a:cubicBezTo>
                      <a:pt x="1821" y="220"/>
                      <a:pt x="1824" y="237"/>
                      <a:pt x="1824" y="237"/>
                    </a:cubicBezTo>
                    <a:cubicBezTo>
                      <a:pt x="1824" y="237"/>
                      <a:pt x="1825" y="252"/>
                      <a:pt x="1811" y="252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7" name="MCShape 177">
                <a:extLst>
                  <a:ext uri="{FF2B5EF4-FFF2-40B4-BE49-F238E27FC236}">
                    <a16:creationId xmlns:a16="http://schemas.microsoft.com/office/drawing/2014/main" id="{3DCD0DFE-8F92-4C6F-80ED-9A2ED9F9E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1497" y="2434392"/>
                <a:ext cx="18560" cy="17014"/>
              </a:xfrm>
              <a:custGeom>
                <a:avLst/>
                <a:gdLst>
                  <a:gd name="T0" fmla="*/ 25 w 39"/>
                  <a:gd name="T1" fmla="*/ 0 h 35"/>
                  <a:gd name="T2" fmla="*/ 1 w 39"/>
                  <a:gd name="T3" fmla="*/ 14 h 35"/>
                  <a:gd name="T4" fmla="*/ 11 w 39"/>
                  <a:gd name="T5" fmla="*/ 31 h 35"/>
                  <a:gd name="T6" fmla="*/ 39 w 39"/>
                  <a:gd name="T7" fmla="*/ 17 h 35"/>
                  <a:gd name="T8" fmla="*/ 25 w 39"/>
                  <a:gd name="T9" fmla="*/ 0 h 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35"/>
                  <a:gd name="T17" fmla="*/ 39 w 39"/>
                  <a:gd name="T18" fmla="*/ 35 h 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35">
                    <a:moveTo>
                      <a:pt x="25" y="0"/>
                    </a:moveTo>
                    <a:cubicBezTo>
                      <a:pt x="25" y="0"/>
                      <a:pt x="0" y="7"/>
                      <a:pt x="1" y="14"/>
                    </a:cubicBezTo>
                    <a:cubicBezTo>
                      <a:pt x="2" y="21"/>
                      <a:pt x="11" y="31"/>
                      <a:pt x="11" y="31"/>
                    </a:cubicBezTo>
                    <a:cubicBezTo>
                      <a:pt x="22" y="35"/>
                      <a:pt x="39" y="27"/>
                      <a:pt x="39" y="17"/>
                    </a:cubicBezTo>
                    <a:cubicBezTo>
                      <a:pt x="39" y="7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8" name="MCShape 178">
                <a:extLst>
                  <a:ext uri="{FF2B5EF4-FFF2-40B4-BE49-F238E27FC236}">
                    <a16:creationId xmlns:a16="http://schemas.microsoft.com/office/drawing/2014/main" id="{5DDD4BFC-6550-42EF-97AF-ECC553D0C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760" y="2513275"/>
                <a:ext cx="46402" cy="21654"/>
              </a:xfrm>
              <a:custGeom>
                <a:avLst/>
                <a:gdLst>
                  <a:gd name="T0" fmla="*/ 78 w 91"/>
                  <a:gd name="T1" fmla="*/ 0 h 41"/>
                  <a:gd name="T2" fmla="*/ 37 w 91"/>
                  <a:gd name="T3" fmla="*/ 11 h 41"/>
                  <a:gd name="T4" fmla="*/ 1 w 91"/>
                  <a:gd name="T5" fmla="*/ 32 h 41"/>
                  <a:gd name="T6" fmla="*/ 36 w 91"/>
                  <a:gd name="T7" fmla="*/ 29 h 41"/>
                  <a:gd name="T8" fmla="*/ 82 w 91"/>
                  <a:gd name="T9" fmla="*/ 26 h 41"/>
                  <a:gd name="T10" fmla="*/ 78 w 91"/>
                  <a:gd name="T11" fmla="*/ 0 h 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1"/>
                  <a:gd name="T19" fmla="*/ 0 h 41"/>
                  <a:gd name="T20" fmla="*/ 91 w 91"/>
                  <a:gd name="T21" fmla="*/ 41 h 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1" h="41">
                    <a:moveTo>
                      <a:pt x="78" y="0"/>
                    </a:moveTo>
                    <a:cubicBezTo>
                      <a:pt x="66" y="0"/>
                      <a:pt x="37" y="11"/>
                      <a:pt x="37" y="11"/>
                    </a:cubicBezTo>
                    <a:cubicBezTo>
                      <a:pt x="37" y="11"/>
                      <a:pt x="0" y="25"/>
                      <a:pt x="1" y="32"/>
                    </a:cubicBezTo>
                    <a:cubicBezTo>
                      <a:pt x="3" y="41"/>
                      <a:pt x="17" y="35"/>
                      <a:pt x="36" y="29"/>
                    </a:cubicBezTo>
                    <a:cubicBezTo>
                      <a:pt x="55" y="22"/>
                      <a:pt x="75" y="32"/>
                      <a:pt x="82" y="26"/>
                    </a:cubicBezTo>
                    <a:cubicBezTo>
                      <a:pt x="89" y="20"/>
                      <a:pt x="91" y="0"/>
                      <a:pt x="78" y="0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89" name="MCShape 179">
                <a:extLst>
                  <a:ext uri="{FF2B5EF4-FFF2-40B4-BE49-F238E27FC236}">
                    <a16:creationId xmlns:a16="http://schemas.microsoft.com/office/drawing/2014/main" id="{CEF8A9C7-E247-4589-818B-E15DCC837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517" y="2539570"/>
                <a:ext cx="27841" cy="17014"/>
              </a:xfrm>
              <a:custGeom>
                <a:avLst/>
                <a:gdLst>
                  <a:gd name="T0" fmla="*/ 0 w 127"/>
                  <a:gd name="T1" fmla="*/ 73 h 73"/>
                  <a:gd name="T2" fmla="*/ 66 w 127"/>
                  <a:gd name="T3" fmla="*/ 71 h 73"/>
                  <a:gd name="T4" fmla="*/ 127 w 127"/>
                  <a:gd name="T5" fmla="*/ 26 h 73"/>
                  <a:gd name="T6" fmla="*/ 106 w 127"/>
                  <a:gd name="T7" fmla="*/ 0 h 73"/>
                  <a:gd name="T8" fmla="*/ 0 w 127"/>
                  <a:gd name="T9" fmla="*/ 73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7"/>
                  <a:gd name="T16" fmla="*/ 0 h 73"/>
                  <a:gd name="T17" fmla="*/ 127 w 127"/>
                  <a:gd name="T18" fmla="*/ 73 h 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7" h="73">
                    <a:moveTo>
                      <a:pt x="0" y="73"/>
                    </a:moveTo>
                    <a:lnTo>
                      <a:pt x="66" y="71"/>
                    </a:lnTo>
                    <a:lnTo>
                      <a:pt x="127" y="26"/>
                    </a:lnTo>
                    <a:lnTo>
                      <a:pt x="106" y="0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0" name="MCShape 180">
                <a:extLst>
                  <a:ext uri="{FF2B5EF4-FFF2-40B4-BE49-F238E27FC236}">
                    <a16:creationId xmlns:a16="http://schemas.microsoft.com/office/drawing/2014/main" id="{324EB66A-F0CB-45D7-88E6-C8970AA64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0778" y="2463779"/>
                <a:ext cx="21654" cy="20108"/>
              </a:xfrm>
              <a:custGeom>
                <a:avLst/>
                <a:gdLst>
                  <a:gd name="T0" fmla="*/ 3 w 44"/>
                  <a:gd name="T1" fmla="*/ 25 h 39"/>
                  <a:gd name="T2" fmla="*/ 29 w 44"/>
                  <a:gd name="T3" fmla="*/ 17 h 39"/>
                  <a:gd name="T4" fmla="*/ 44 w 44"/>
                  <a:gd name="T5" fmla="*/ 13 h 39"/>
                  <a:gd name="T6" fmla="*/ 43 w 44"/>
                  <a:gd name="T7" fmla="*/ 3 h 39"/>
                  <a:gd name="T8" fmla="*/ 25 w 44"/>
                  <a:gd name="T9" fmla="*/ 0 h 39"/>
                  <a:gd name="T10" fmla="*/ 3 w 44"/>
                  <a:gd name="T11" fmla="*/ 25 h 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4"/>
                  <a:gd name="T19" fmla="*/ 0 h 39"/>
                  <a:gd name="T20" fmla="*/ 44 w 44"/>
                  <a:gd name="T21" fmla="*/ 39 h 3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4" h="39">
                    <a:moveTo>
                      <a:pt x="3" y="25"/>
                    </a:moveTo>
                    <a:cubicBezTo>
                      <a:pt x="9" y="39"/>
                      <a:pt x="29" y="17"/>
                      <a:pt x="29" y="17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0" y="18"/>
                      <a:pt x="3" y="25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1" name="MCShape 181">
                <a:extLst>
                  <a:ext uri="{FF2B5EF4-FFF2-40B4-BE49-F238E27FC236}">
                    <a16:creationId xmlns:a16="http://schemas.microsoft.com/office/drawing/2014/main" id="{2422D001-4A60-4ACB-9588-806FFB25F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402" y="2423564"/>
                <a:ext cx="34028" cy="21654"/>
              </a:xfrm>
              <a:custGeom>
                <a:avLst/>
                <a:gdLst>
                  <a:gd name="T0" fmla="*/ 37 w 66"/>
                  <a:gd name="T1" fmla="*/ 9 h 41"/>
                  <a:gd name="T2" fmla="*/ 7 w 66"/>
                  <a:gd name="T3" fmla="*/ 30 h 41"/>
                  <a:gd name="T4" fmla="*/ 43 w 66"/>
                  <a:gd name="T5" fmla="*/ 29 h 41"/>
                  <a:gd name="T6" fmla="*/ 50 w 66"/>
                  <a:gd name="T7" fmla="*/ 20 h 41"/>
                  <a:gd name="T8" fmla="*/ 63 w 66"/>
                  <a:gd name="T9" fmla="*/ 18 h 41"/>
                  <a:gd name="T10" fmla="*/ 37 w 66"/>
                  <a:gd name="T11" fmla="*/ 9 h 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6"/>
                  <a:gd name="T19" fmla="*/ 0 h 41"/>
                  <a:gd name="T20" fmla="*/ 66 w 66"/>
                  <a:gd name="T21" fmla="*/ 41 h 4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6" h="41">
                    <a:moveTo>
                      <a:pt x="37" y="9"/>
                    </a:moveTo>
                    <a:cubicBezTo>
                      <a:pt x="24" y="18"/>
                      <a:pt x="0" y="23"/>
                      <a:pt x="7" y="30"/>
                    </a:cubicBezTo>
                    <a:cubicBezTo>
                      <a:pt x="18" y="41"/>
                      <a:pt x="43" y="29"/>
                      <a:pt x="43" y="29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0" y="20"/>
                      <a:pt x="66" y="24"/>
                      <a:pt x="63" y="18"/>
                    </a:cubicBezTo>
                    <a:cubicBezTo>
                      <a:pt x="61" y="12"/>
                      <a:pt x="51" y="0"/>
                      <a:pt x="37" y="9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2" name="MCShape 182">
                <a:extLst>
                  <a:ext uri="{FF2B5EF4-FFF2-40B4-BE49-F238E27FC236}">
                    <a16:creationId xmlns:a16="http://schemas.microsoft.com/office/drawing/2014/main" id="{04B5E976-D569-4626-87A0-D2567FC5D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3267" y="2442125"/>
                <a:ext cx="61870" cy="23202"/>
              </a:xfrm>
              <a:custGeom>
                <a:avLst/>
                <a:gdLst>
                  <a:gd name="T0" fmla="*/ 99 w 122"/>
                  <a:gd name="T1" fmla="*/ 1 h 47"/>
                  <a:gd name="T2" fmla="*/ 83 w 122"/>
                  <a:gd name="T3" fmla="*/ 7 h 47"/>
                  <a:gd name="T4" fmla="*/ 70 w 122"/>
                  <a:gd name="T5" fmla="*/ 1 h 47"/>
                  <a:gd name="T6" fmla="*/ 66 w 122"/>
                  <a:gd name="T7" fmla="*/ 17 h 47"/>
                  <a:gd name="T8" fmla="*/ 50 w 122"/>
                  <a:gd name="T9" fmla="*/ 29 h 47"/>
                  <a:gd name="T10" fmla="*/ 50 w 122"/>
                  <a:gd name="T11" fmla="*/ 12 h 47"/>
                  <a:gd name="T12" fmla="*/ 22 w 122"/>
                  <a:gd name="T13" fmla="*/ 20 h 47"/>
                  <a:gd name="T14" fmla="*/ 2 w 122"/>
                  <a:gd name="T15" fmla="*/ 38 h 47"/>
                  <a:gd name="T16" fmla="*/ 22 w 122"/>
                  <a:gd name="T17" fmla="*/ 47 h 47"/>
                  <a:gd name="T18" fmla="*/ 63 w 122"/>
                  <a:gd name="T19" fmla="*/ 42 h 47"/>
                  <a:gd name="T20" fmla="*/ 72 w 122"/>
                  <a:gd name="T21" fmla="*/ 30 h 47"/>
                  <a:gd name="T22" fmla="*/ 90 w 122"/>
                  <a:gd name="T23" fmla="*/ 27 h 47"/>
                  <a:gd name="T24" fmla="*/ 91 w 122"/>
                  <a:gd name="T25" fmla="*/ 21 h 47"/>
                  <a:gd name="T26" fmla="*/ 116 w 122"/>
                  <a:gd name="T27" fmla="*/ 20 h 47"/>
                  <a:gd name="T28" fmla="*/ 122 w 122"/>
                  <a:gd name="T29" fmla="*/ 4 h 47"/>
                  <a:gd name="T30" fmla="*/ 111 w 122"/>
                  <a:gd name="T31" fmla="*/ 6 h 47"/>
                  <a:gd name="T32" fmla="*/ 99 w 122"/>
                  <a:gd name="T33" fmla="*/ 1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22"/>
                  <a:gd name="T52" fmla="*/ 0 h 47"/>
                  <a:gd name="T53" fmla="*/ 122 w 122"/>
                  <a:gd name="T54" fmla="*/ 47 h 4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22" h="47">
                    <a:moveTo>
                      <a:pt x="99" y="1"/>
                    </a:moveTo>
                    <a:cubicBezTo>
                      <a:pt x="96" y="2"/>
                      <a:pt x="83" y="7"/>
                      <a:pt x="83" y="7"/>
                    </a:cubicBezTo>
                    <a:cubicBezTo>
                      <a:pt x="83" y="7"/>
                      <a:pt x="75" y="0"/>
                      <a:pt x="70" y="1"/>
                    </a:cubicBezTo>
                    <a:cubicBezTo>
                      <a:pt x="65" y="2"/>
                      <a:pt x="66" y="17"/>
                      <a:pt x="66" y="17"/>
                    </a:cubicBezTo>
                    <a:cubicBezTo>
                      <a:pt x="50" y="29"/>
                      <a:pt x="50" y="29"/>
                      <a:pt x="50" y="29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0" y="12"/>
                      <a:pt x="36" y="7"/>
                      <a:pt x="22" y="20"/>
                    </a:cubicBezTo>
                    <a:cubicBezTo>
                      <a:pt x="22" y="20"/>
                      <a:pt x="5" y="31"/>
                      <a:pt x="2" y="38"/>
                    </a:cubicBezTo>
                    <a:cubicBezTo>
                      <a:pt x="0" y="46"/>
                      <a:pt x="22" y="47"/>
                      <a:pt x="22" y="47"/>
                    </a:cubicBezTo>
                    <a:cubicBezTo>
                      <a:pt x="22" y="47"/>
                      <a:pt x="52" y="47"/>
                      <a:pt x="63" y="42"/>
                    </a:cubicBezTo>
                    <a:cubicBezTo>
                      <a:pt x="75" y="37"/>
                      <a:pt x="72" y="30"/>
                      <a:pt x="72" y="30"/>
                    </a:cubicBezTo>
                    <a:cubicBezTo>
                      <a:pt x="90" y="27"/>
                      <a:pt x="90" y="27"/>
                      <a:pt x="90" y="27"/>
                    </a:cubicBezTo>
                    <a:cubicBezTo>
                      <a:pt x="91" y="21"/>
                      <a:pt x="91" y="21"/>
                      <a:pt x="91" y="21"/>
                    </a:cubicBezTo>
                    <a:cubicBezTo>
                      <a:pt x="116" y="20"/>
                      <a:pt x="116" y="20"/>
                      <a:pt x="116" y="20"/>
                    </a:cubicBezTo>
                    <a:cubicBezTo>
                      <a:pt x="122" y="4"/>
                      <a:pt x="122" y="4"/>
                      <a:pt x="122" y="4"/>
                    </a:cubicBezTo>
                    <a:cubicBezTo>
                      <a:pt x="111" y="6"/>
                      <a:pt x="111" y="6"/>
                      <a:pt x="111" y="6"/>
                    </a:cubicBezTo>
                    <a:cubicBezTo>
                      <a:pt x="111" y="6"/>
                      <a:pt x="103" y="0"/>
                      <a:pt x="99" y="1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3" name="MCShape 183">
                <a:extLst>
                  <a:ext uri="{FF2B5EF4-FFF2-40B4-BE49-F238E27FC236}">
                    <a16:creationId xmlns:a16="http://schemas.microsoft.com/office/drawing/2014/main" id="{6D46C23C-3267-40B7-8ECB-69DA94909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512" y="2491620"/>
                <a:ext cx="21654" cy="26295"/>
              </a:xfrm>
              <a:custGeom>
                <a:avLst/>
                <a:gdLst>
                  <a:gd name="T0" fmla="*/ 35 w 41"/>
                  <a:gd name="T1" fmla="*/ 28 h 50"/>
                  <a:gd name="T2" fmla="*/ 16 w 41"/>
                  <a:gd name="T3" fmla="*/ 10 h 50"/>
                  <a:gd name="T4" fmla="*/ 0 w 41"/>
                  <a:gd name="T5" fmla="*/ 50 h 50"/>
                  <a:gd name="T6" fmla="*/ 18 w 41"/>
                  <a:gd name="T7" fmla="*/ 39 h 50"/>
                  <a:gd name="T8" fmla="*/ 35 w 41"/>
                  <a:gd name="T9" fmla="*/ 28 h 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1"/>
                  <a:gd name="T16" fmla="*/ 0 h 50"/>
                  <a:gd name="T17" fmla="*/ 41 w 41"/>
                  <a:gd name="T18" fmla="*/ 50 h 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1" h="50">
                    <a:moveTo>
                      <a:pt x="35" y="28"/>
                    </a:moveTo>
                    <a:cubicBezTo>
                      <a:pt x="41" y="15"/>
                      <a:pt x="26" y="0"/>
                      <a:pt x="16" y="10"/>
                    </a:cubicBezTo>
                    <a:cubicBezTo>
                      <a:pt x="6" y="20"/>
                      <a:pt x="0" y="50"/>
                      <a:pt x="0" y="50"/>
                    </a:cubicBezTo>
                    <a:cubicBezTo>
                      <a:pt x="0" y="50"/>
                      <a:pt x="13" y="39"/>
                      <a:pt x="18" y="39"/>
                    </a:cubicBezTo>
                    <a:cubicBezTo>
                      <a:pt x="23" y="39"/>
                      <a:pt x="29" y="41"/>
                      <a:pt x="35" y="28"/>
                    </a:cubicBez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4" name="MCShape 184">
                <a:extLst>
                  <a:ext uri="{FF2B5EF4-FFF2-40B4-BE49-F238E27FC236}">
                    <a16:creationId xmlns:a16="http://schemas.microsoft.com/office/drawing/2014/main" id="{F828BCCF-B401-476B-8807-602DBF100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185" y="2533382"/>
                <a:ext cx="20108" cy="6187"/>
              </a:xfrm>
              <a:custGeom>
                <a:avLst/>
                <a:gdLst>
                  <a:gd name="T0" fmla="*/ 83 w 88"/>
                  <a:gd name="T1" fmla="*/ 33 h 35"/>
                  <a:gd name="T2" fmla="*/ 88 w 88"/>
                  <a:gd name="T3" fmla="*/ 0 h 35"/>
                  <a:gd name="T4" fmla="*/ 0 w 88"/>
                  <a:gd name="T5" fmla="*/ 35 h 35"/>
                  <a:gd name="T6" fmla="*/ 83 w 88"/>
                  <a:gd name="T7" fmla="*/ 33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8"/>
                  <a:gd name="T13" fmla="*/ 0 h 35"/>
                  <a:gd name="T14" fmla="*/ 88 w 88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8" h="35">
                    <a:moveTo>
                      <a:pt x="83" y="33"/>
                    </a:moveTo>
                    <a:lnTo>
                      <a:pt x="88" y="0"/>
                    </a:lnTo>
                    <a:lnTo>
                      <a:pt x="0" y="35"/>
                    </a:lnTo>
                    <a:lnTo>
                      <a:pt x="83" y="33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5" name="Freeform 387">
                <a:extLst>
                  <a:ext uri="{FF2B5EF4-FFF2-40B4-BE49-F238E27FC236}">
                    <a16:creationId xmlns:a16="http://schemas.microsoft.com/office/drawing/2014/main" id="{E1592787-18D1-4938-8753-1B8C7039E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973" y="3423869"/>
                <a:ext cx="26105" cy="45684"/>
              </a:xfrm>
              <a:custGeom>
                <a:avLst/>
                <a:gdLst>
                  <a:gd name="T0" fmla="*/ 12 w 16"/>
                  <a:gd name="T1" fmla="*/ 28 h 28"/>
                  <a:gd name="T2" fmla="*/ 12 w 16"/>
                  <a:gd name="T3" fmla="*/ 28 h 28"/>
                  <a:gd name="T4" fmla="*/ 12 w 16"/>
                  <a:gd name="T5" fmla="*/ 26 h 28"/>
                  <a:gd name="T6" fmla="*/ 10 w 16"/>
                  <a:gd name="T7" fmla="*/ 22 h 28"/>
                  <a:gd name="T8" fmla="*/ 10 w 16"/>
                  <a:gd name="T9" fmla="*/ 22 h 28"/>
                  <a:gd name="T10" fmla="*/ 6 w 16"/>
                  <a:gd name="T11" fmla="*/ 16 h 28"/>
                  <a:gd name="T12" fmla="*/ 6 w 16"/>
                  <a:gd name="T13" fmla="*/ 16 h 28"/>
                  <a:gd name="T14" fmla="*/ 0 w 16"/>
                  <a:gd name="T15" fmla="*/ 12 h 28"/>
                  <a:gd name="T16" fmla="*/ 0 w 16"/>
                  <a:gd name="T17" fmla="*/ 12 h 28"/>
                  <a:gd name="T18" fmla="*/ 2 w 16"/>
                  <a:gd name="T19" fmla="*/ 10 h 28"/>
                  <a:gd name="T20" fmla="*/ 2 w 16"/>
                  <a:gd name="T21" fmla="*/ 10 h 28"/>
                  <a:gd name="T22" fmla="*/ 6 w 16"/>
                  <a:gd name="T23" fmla="*/ 4 h 28"/>
                  <a:gd name="T24" fmla="*/ 6 w 16"/>
                  <a:gd name="T25" fmla="*/ 4 h 28"/>
                  <a:gd name="T26" fmla="*/ 4 w 16"/>
                  <a:gd name="T27" fmla="*/ 0 h 28"/>
                  <a:gd name="T28" fmla="*/ 4 w 16"/>
                  <a:gd name="T29" fmla="*/ 0 h 28"/>
                  <a:gd name="T30" fmla="*/ 6 w 16"/>
                  <a:gd name="T31" fmla="*/ 2 h 28"/>
                  <a:gd name="T32" fmla="*/ 6 w 16"/>
                  <a:gd name="T33" fmla="*/ 2 h 28"/>
                  <a:gd name="T34" fmla="*/ 8 w 16"/>
                  <a:gd name="T35" fmla="*/ 2 h 28"/>
                  <a:gd name="T36" fmla="*/ 8 w 16"/>
                  <a:gd name="T37" fmla="*/ 2 h 28"/>
                  <a:gd name="T38" fmla="*/ 8 w 16"/>
                  <a:gd name="T39" fmla="*/ 2 h 28"/>
                  <a:gd name="T40" fmla="*/ 12 w 16"/>
                  <a:gd name="T41" fmla="*/ 8 h 28"/>
                  <a:gd name="T42" fmla="*/ 12 w 16"/>
                  <a:gd name="T43" fmla="*/ 8 h 28"/>
                  <a:gd name="T44" fmla="*/ 12 w 16"/>
                  <a:gd name="T45" fmla="*/ 10 h 28"/>
                  <a:gd name="T46" fmla="*/ 12 w 16"/>
                  <a:gd name="T47" fmla="*/ 14 h 28"/>
                  <a:gd name="T48" fmla="*/ 12 w 16"/>
                  <a:gd name="T49" fmla="*/ 14 h 28"/>
                  <a:gd name="T50" fmla="*/ 14 w 16"/>
                  <a:gd name="T51" fmla="*/ 18 h 28"/>
                  <a:gd name="T52" fmla="*/ 14 w 16"/>
                  <a:gd name="T53" fmla="*/ 18 h 28"/>
                  <a:gd name="T54" fmla="*/ 14 w 16"/>
                  <a:gd name="T55" fmla="*/ 18 h 28"/>
                  <a:gd name="T56" fmla="*/ 16 w 16"/>
                  <a:gd name="T57" fmla="*/ 22 h 28"/>
                  <a:gd name="T58" fmla="*/ 16 w 16"/>
                  <a:gd name="T59" fmla="*/ 26 h 28"/>
                  <a:gd name="T60" fmla="*/ 16 w 16"/>
                  <a:gd name="T61" fmla="*/ 26 h 28"/>
                  <a:gd name="T62" fmla="*/ 16 w 16"/>
                  <a:gd name="T63" fmla="*/ 28 h 28"/>
                  <a:gd name="T64" fmla="*/ 14 w 16"/>
                  <a:gd name="T65" fmla="*/ 28 h 28"/>
                  <a:gd name="T66" fmla="*/ 14 w 16"/>
                  <a:gd name="T67" fmla="*/ 28 h 28"/>
                  <a:gd name="T68" fmla="*/ 12 w 16"/>
                  <a:gd name="T69" fmla="*/ 28 h 28"/>
                  <a:gd name="T70" fmla="*/ 12 w 16"/>
                  <a:gd name="T7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" h="28"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6" y="22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646464"/>
                  </a:solidFill>
                </a:endParaRPr>
              </a:p>
            </p:txBody>
          </p:sp>
          <p:sp>
            <p:nvSpPr>
              <p:cNvPr id="1396" name="Freeform 386">
                <a:extLst>
                  <a:ext uri="{FF2B5EF4-FFF2-40B4-BE49-F238E27FC236}">
                    <a16:creationId xmlns:a16="http://schemas.microsoft.com/office/drawing/2014/main" id="{5F405327-817B-4A96-95B7-19F7566F67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0988" y="4037345"/>
                <a:ext cx="35895" cy="52211"/>
              </a:xfrm>
              <a:custGeom>
                <a:avLst/>
                <a:gdLst>
                  <a:gd name="T0" fmla="*/ 8 w 22"/>
                  <a:gd name="T1" fmla="*/ 32 h 32"/>
                  <a:gd name="T2" fmla="*/ 10 w 22"/>
                  <a:gd name="T3" fmla="*/ 30 h 32"/>
                  <a:gd name="T4" fmla="*/ 10 w 22"/>
                  <a:gd name="T5" fmla="*/ 20 h 32"/>
                  <a:gd name="T6" fmla="*/ 12 w 22"/>
                  <a:gd name="T7" fmla="*/ 20 h 32"/>
                  <a:gd name="T8" fmla="*/ 18 w 22"/>
                  <a:gd name="T9" fmla="*/ 24 h 32"/>
                  <a:gd name="T10" fmla="*/ 20 w 22"/>
                  <a:gd name="T11" fmla="*/ 26 h 32"/>
                  <a:gd name="T12" fmla="*/ 22 w 22"/>
                  <a:gd name="T13" fmla="*/ 20 h 32"/>
                  <a:gd name="T14" fmla="*/ 20 w 22"/>
                  <a:gd name="T15" fmla="*/ 16 h 32"/>
                  <a:gd name="T16" fmla="*/ 16 w 22"/>
                  <a:gd name="T17" fmla="*/ 14 h 32"/>
                  <a:gd name="T18" fmla="*/ 16 w 22"/>
                  <a:gd name="T19" fmla="*/ 0 h 32"/>
                  <a:gd name="T20" fmla="*/ 18 w 22"/>
                  <a:gd name="T21" fmla="*/ 0 h 32"/>
                  <a:gd name="T22" fmla="*/ 18 w 22"/>
                  <a:gd name="T23" fmla="*/ 0 h 32"/>
                  <a:gd name="T24" fmla="*/ 16 w 22"/>
                  <a:gd name="T25" fmla="*/ 0 h 32"/>
                  <a:gd name="T26" fmla="*/ 16 w 22"/>
                  <a:gd name="T27" fmla="*/ 0 h 32"/>
                  <a:gd name="T28" fmla="*/ 14 w 22"/>
                  <a:gd name="T29" fmla="*/ 0 h 32"/>
                  <a:gd name="T30" fmla="*/ 12 w 22"/>
                  <a:gd name="T31" fmla="*/ 0 h 32"/>
                  <a:gd name="T32" fmla="*/ 10 w 22"/>
                  <a:gd name="T33" fmla="*/ 6 h 32"/>
                  <a:gd name="T34" fmla="*/ 10 w 22"/>
                  <a:gd name="T35" fmla="*/ 12 h 32"/>
                  <a:gd name="T36" fmla="*/ 10 w 22"/>
                  <a:gd name="T37" fmla="*/ 12 h 32"/>
                  <a:gd name="T38" fmla="*/ 0 w 22"/>
                  <a:gd name="T39" fmla="*/ 24 h 32"/>
                  <a:gd name="T40" fmla="*/ 0 w 22"/>
                  <a:gd name="T41" fmla="*/ 24 h 32"/>
                  <a:gd name="T42" fmla="*/ 0 w 22"/>
                  <a:gd name="T43" fmla="*/ 24 h 32"/>
                  <a:gd name="T44" fmla="*/ 8 w 22"/>
                  <a:gd name="T4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2">
                    <a:moveTo>
                      <a:pt x="8" y="32"/>
                    </a:moveTo>
                    <a:lnTo>
                      <a:pt x="10" y="3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8" y="24"/>
                    </a:lnTo>
                    <a:lnTo>
                      <a:pt x="20" y="26"/>
                    </a:lnTo>
                    <a:lnTo>
                      <a:pt x="22" y="20"/>
                    </a:lnTo>
                    <a:lnTo>
                      <a:pt x="20" y="16"/>
                    </a:lnTo>
                    <a:lnTo>
                      <a:pt x="16" y="14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32"/>
                    </a:lnTo>
                    <a:close/>
                  </a:path>
                </a:pathLst>
              </a:custGeom>
              <a:solidFill>
                <a:srgbClr val="999999"/>
              </a:solidFill>
              <a:ln w="3175">
                <a:solidFill>
                  <a:schemeClr val="accent1">
                    <a:lumMod val="40000"/>
                    <a:lumOff val="6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646464"/>
                  </a:solidFill>
                </a:endParaRPr>
              </a:p>
            </p:txBody>
          </p:sp>
        </p:grpSp>
        <p:sp>
          <p:nvSpPr>
            <p:cNvPr id="3" name="Овал 2">
              <a:extLst>
                <a:ext uri="{FF2B5EF4-FFF2-40B4-BE49-F238E27FC236}">
                  <a16:creationId xmlns:a16="http://schemas.microsoft.com/office/drawing/2014/main" id="{0618D9C8-B82B-48B2-99C5-4C58B6CF9D3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08454" y="1813450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397" name="Овал 1396">
              <a:extLst>
                <a:ext uri="{FF2B5EF4-FFF2-40B4-BE49-F238E27FC236}">
                  <a16:creationId xmlns:a16="http://schemas.microsoft.com/office/drawing/2014/main" id="{769FE58B-B468-4796-9C69-D4242AB4F0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69203" y="2336202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398" name="Овал 1397">
              <a:extLst>
                <a:ext uri="{FF2B5EF4-FFF2-40B4-BE49-F238E27FC236}">
                  <a16:creationId xmlns:a16="http://schemas.microsoft.com/office/drawing/2014/main" id="{2D0B280C-FDEF-4145-8ED9-939AF11B5E1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43058" y="1565110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399" name="Овал 1398">
              <a:extLst>
                <a:ext uri="{FF2B5EF4-FFF2-40B4-BE49-F238E27FC236}">
                  <a16:creationId xmlns:a16="http://schemas.microsoft.com/office/drawing/2014/main" id="{81267D9E-435A-48CD-8F6D-E5D766FD2D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43812" y="2265172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400" name="Овал 1399">
              <a:extLst>
                <a:ext uri="{FF2B5EF4-FFF2-40B4-BE49-F238E27FC236}">
                  <a16:creationId xmlns:a16="http://schemas.microsoft.com/office/drawing/2014/main" id="{4307C9F0-32AB-4F53-9705-C7F10D4AB0B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18076" y="2383170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403" name="Овал 1402">
              <a:extLst>
                <a:ext uri="{FF2B5EF4-FFF2-40B4-BE49-F238E27FC236}">
                  <a16:creationId xmlns:a16="http://schemas.microsoft.com/office/drawing/2014/main" id="{04099DA6-2CB6-4871-BE76-A63FC8AE75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71053" y="1873333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404" name="Овал 1403">
              <a:extLst>
                <a:ext uri="{FF2B5EF4-FFF2-40B4-BE49-F238E27FC236}">
                  <a16:creationId xmlns:a16="http://schemas.microsoft.com/office/drawing/2014/main" id="{B3D3315B-5A4B-424B-ACEC-08E79CF6E93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17664" y="2051105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405" name="Овал 1404">
              <a:extLst>
                <a:ext uri="{FF2B5EF4-FFF2-40B4-BE49-F238E27FC236}">
                  <a16:creationId xmlns:a16="http://schemas.microsoft.com/office/drawing/2014/main" id="{6318404E-A9C4-4652-87E0-A6804CC497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49298" y="2376523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406" name="TextBox 1405">
              <a:extLst>
                <a:ext uri="{FF2B5EF4-FFF2-40B4-BE49-F238E27FC236}">
                  <a16:creationId xmlns:a16="http://schemas.microsoft.com/office/drawing/2014/main" id="{C4334CC4-E684-4967-A375-384C6730D463}"/>
                </a:ext>
              </a:extLst>
            </p:cNvPr>
            <p:cNvSpPr txBox="1"/>
            <p:nvPr/>
          </p:nvSpPr>
          <p:spPr>
            <a:xfrm>
              <a:off x="4682342" y="1723571"/>
              <a:ext cx="69619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Санкт-Петербург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07" name="TextBox 1406">
              <a:extLst>
                <a:ext uri="{FF2B5EF4-FFF2-40B4-BE49-F238E27FC236}">
                  <a16:creationId xmlns:a16="http://schemas.microsoft.com/office/drawing/2014/main" id="{B8D8679E-E48B-4EA9-81C5-8A715EF067A6}"/>
                </a:ext>
              </a:extLst>
            </p:cNvPr>
            <p:cNvSpPr txBox="1"/>
            <p:nvPr/>
          </p:nvSpPr>
          <p:spPr>
            <a:xfrm>
              <a:off x="4670213" y="1890539"/>
              <a:ext cx="420980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Усть-Луг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08" name="TextBox 1407">
              <a:extLst>
                <a:ext uri="{FF2B5EF4-FFF2-40B4-BE49-F238E27FC236}">
                  <a16:creationId xmlns:a16="http://schemas.microsoft.com/office/drawing/2014/main" id="{B6DDBDBF-CA5E-44F6-AB1B-B279864D99E6}"/>
                </a:ext>
              </a:extLst>
            </p:cNvPr>
            <p:cNvSpPr txBox="1"/>
            <p:nvPr/>
          </p:nvSpPr>
          <p:spPr>
            <a:xfrm>
              <a:off x="4612936" y="2414615"/>
              <a:ext cx="29915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Туапсе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09" name="TextBox 1408">
              <a:extLst>
                <a:ext uri="{FF2B5EF4-FFF2-40B4-BE49-F238E27FC236}">
                  <a16:creationId xmlns:a16="http://schemas.microsoft.com/office/drawing/2014/main" id="{C1BD7FBA-1992-49EB-B455-C08E289E26A4}"/>
                </a:ext>
              </a:extLst>
            </p:cNvPr>
            <p:cNvSpPr txBox="1"/>
            <p:nvPr/>
          </p:nvSpPr>
          <p:spPr>
            <a:xfrm>
              <a:off x="4493070" y="2281005"/>
              <a:ext cx="34197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Таганрог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10" name="TextBox 1409">
              <a:extLst>
                <a:ext uri="{FF2B5EF4-FFF2-40B4-BE49-F238E27FC236}">
                  <a16:creationId xmlns:a16="http://schemas.microsoft.com/office/drawing/2014/main" id="{72853295-AB0F-4839-928A-E887744B374C}"/>
                </a:ext>
              </a:extLst>
            </p:cNvPr>
            <p:cNvSpPr txBox="1"/>
            <p:nvPr/>
          </p:nvSpPr>
          <p:spPr>
            <a:xfrm>
              <a:off x="7036997" y="2227112"/>
              <a:ext cx="44825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аходк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11" name="TextBox 1410">
              <a:extLst>
                <a:ext uri="{FF2B5EF4-FFF2-40B4-BE49-F238E27FC236}">
                  <a16:creationId xmlns:a16="http://schemas.microsoft.com/office/drawing/2014/main" id="{60A8C8C5-CCA4-483A-BB04-24521FD0F640}"/>
                </a:ext>
              </a:extLst>
            </p:cNvPr>
            <p:cNvSpPr txBox="1"/>
            <p:nvPr/>
          </p:nvSpPr>
          <p:spPr>
            <a:xfrm>
              <a:off x="4713542" y="1511556"/>
              <a:ext cx="44825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Мурманск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12" name="TextBox 1411">
              <a:extLst>
                <a:ext uri="{FF2B5EF4-FFF2-40B4-BE49-F238E27FC236}">
                  <a16:creationId xmlns:a16="http://schemas.microsoft.com/office/drawing/2014/main" id="{CD25F194-1FF9-44AC-BE66-C7FE77E0D72A}"/>
                </a:ext>
              </a:extLst>
            </p:cNvPr>
            <p:cNvSpPr txBox="1"/>
            <p:nvPr/>
          </p:nvSpPr>
          <p:spPr>
            <a:xfrm>
              <a:off x="4938166" y="2213326"/>
              <a:ext cx="627552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овороссийск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413" name="TextBox 1412">
              <a:extLst>
                <a:ext uri="{FF2B5EF4-FFF2-40B4-BE49-F238E27FC236}">
                  <a16:creationId xmlns:a16="http://schemas.microsoft.com/office/drawing/2014/main" id="{363663AD-AB70-4AC6-B57B-B8EBF31FB42C}"/>
                </a:ext>
              </a:extLst>
            </p:cNvPr>
            <p:cNvSpPr txBox="1"/>
            <p:nvPr/>
          </p:nvSpPr>
          <p:spPr>
            <a:xfrm>
              <a:off x="3931965" y="2122257"/>
              <a:ext cx="44825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Гамбург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197" name="Овал 196">
              <a:extLst>
                <a:ext uri="{FF2B5EF4-FFF2-40B4-BE49-F238E27FC236}">
                  <a16:creationId xmlns:a16="http://schemas.microsoft.com/office/drawing/2014/main" id="{6AE51F49-A8E9-4407-B03D-ABB19440D1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7472" y="2711130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DA424DFD-4555-414E-BC40-B3AF2E57C9B6}"/>
                </a:ext>
              </a:extLst>
            </p:cNvPr>
            <p:cNvSpPr txBox="1"/>
            <p:nvPr/>
          </p:nvSpPr>
          <p:spPr>
            <a:xfrm>
              <a:off x="522424" y="2559938"/>
              <a:ext cx="55984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Лос-Анджелес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01" name="Овал 200">
              <a:extLst>
                <a:ext uri="{FF2B5EF4-FFF2-40B4-BE49-F238E27FC236}">
                  <a16:creationId xmlns:a16="http://schemas.microsoft.com/office/drawing/2014/main" id="{7E7F5E86-E9E9-4773-89C9-7C53AFE3B0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76297" y="281028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2DE1D252-75A4-406D-BDFF-40418465CC6F}"/>
                </a:ext>
              </a:extLst>
            </p:cNvPr>
            <p:cNvSpPr txBox="1"/>
            <p:nvPr/>
          </p:nvSpPr>
          <p:spPr>
            <a:xfrm>
              <a:off x="1106841" y="2767027"/>
              <a:ext cx="26341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Мобил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03" name="Овал 202">
              <a:extLst>
                <a:ext uri="{FF2B5EF4-FFF2-40B4-BE49-F238E27FC236}">
                  <a16:creationId xmlns:a16="http://schemas.microsoft.com/office/drawing/2014/main" id="{66533826-B74A-4023-89B5-0B05DA5F6C6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13913" y="261117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946CBFE2-DF18-4291-9D0C-D30E280D97C5}"/>
                </a:ext>
              </a:extLst>
            </p:cNvPr>
            <p:cNvSpPr txBox="1"/>
            <p:nvPr/>
          </p:nvSpPr>
          <p:spPr>
            <a:xfrm>
              <a:off x="1241943" y="2458376"/>
              <a:ext cx="52649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Порт-Элизабет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05" name="Овал 204">
              <a:extLst>
                <a:ext uri="{FF2B5EF4-FFF2-40B4-BE49-F238E27FC236}">
                  <a16:creationId xmlns:a16="http://schemas.microsoft.com/office/drawing/2014/main" id="{567DA475-562C-494C-99F5-7E52627E4AE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917" y="320458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9FD563DE-75B6-4EC1-9C6F-DB6B77AE0D2C}"/>
                </a:ext>
              </a:extLst>
            </p:cNvPr>
            <p:cNvSpPr txBox="1"/>
            <p:nvPr/>
          </p:nvSpPr>
          <p:spPr>
            <a:xfrm>
              <a:off x="239444" y="3055291"/>
              <a:ext cx="63656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Ласаро Карденас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07" name="Овал 206">
              <a:extLst>
                <a:ext uri="{FF2B5EF4-FFF2-40B4-BE49-F238E27FC236}">
                  <a16:creationId xmlns:a16="http://schemas.microsoft.com/office/drawing/2014/main" id="{A5F60817-71E0-45E9-8EF7-DF8B1D897E5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23908" y="314291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264EF059-E224-478D-9FDB-3A7148D1B4B4}"/>
                </a:ext>
              </a:extLst>
            </p:cNvPr>
            <p:cNvSpPr txBox="1"/>
            <p:nvPr/>
          </p:nvSpPr>
          <p:spPr>
            <a:xfrm>
              <a:off x="1064949" y="2994059"/>
              <a:ext cx="319148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Юкатан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289B2C66-BA6B-4362-9C01-D7DF7EDD3E0E}"/>
                </a:ext>
              </a:extLst>
            </p:cNvPr>
            <p:cNvSpPr txBox="1"/>
            <p:nvPr/>
          </p:nvSpPr>
          <p:spPr>
            <a:xfrm>
              <a:off x="805907" y="3346293"/>
              <a:ext cx="324300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етцаль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10" name="Овал 209">
              <a:extLst>
                <a:ext uri="{FF2B5EF4-FFF2-40B4-BE49-F238E27FC236}">
                  <a16:creationId xmlns:a16="http://schemas.microsoft.com/office/drawing/2014/main" id="{C9DE8E03-033F-49A5-A94E-DEEA6F3324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150718" y="336446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11" name="Овал 210">
              <a:extLst>
                <a:ext uri="{FF2B5EF4-FFF2-40B4-BE49-F238E27FC236}">
                  <a16:creationId xmlns:a16="http://schemas.microsoft.com/office/drawing/2014/main" id="{8C04074B-0EBB-4192-A3F2-4BBA74BB31D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68157" y="3512656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90FB03AB-829B-43C5-8564-458D2D20EDD0}"/>
                </a:ext>
              </a:extLst>
            </p:cNvPr>
            <p:cNvSpPr txBox="1"/>
            <p:nvPr/>
          </p:nvSpPr>
          <p:spPr>
            <a:xfrm>
              <a:off x="1318992" y="3369887"/>
              <a:ext cx="248542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Моин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13" name="Овал 212">
              <a:extLst>
                <a:ext uri="{FF2B5EF4-FFF2-40B4-BE49-F238E27FC236}">
                  <a16:creationId xmlns:a16="http://schemas.microsoft.com/office/drawing/2014/main" id="{5FE28160-6FC0-4047-AD7A-9D27095C02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39157" y="348862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A04211A2-A6C8-4049-8277-996F97DC03E6}"/>
                </a:ext>
              </a:extLst>
            </p:cNvPr>
            <p:cNvSpPr txBox="1"/>
            <p:nvPr/>
          </p:nvSpPr>
          <p:spPr>
            <a:xfrm>
              <a:off x="1711397" y="3432368"/>
              <a:ext cx="409018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артахен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15" name="Овал 214">
              <a:extLst>
                <a:ext uri="{FF2B5EF4-FFF2-40B4-BE49-F238E27FC236}">
                  <a16:creationId xmlns:a16="http://schemas.microsoft.com/office/drawing/2014/main" id="{E05BE6CD-4472-407B-90D5-A0671950DB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35052" y="371456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BC020593-D4E8-461A-B915-5E5F0AE8C648}"/>
                </a:ext>
              </a:extLst>
            </p:cNvPr>
            <p:cNvSpPr txBox="1"/>
            <p:nvPr/>
          </p:nvSpPr>
          <p:spPr>
            <a:xfrm>
              <a:off x="1604310" y="3662452"/>
              <a:ext cx="52313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Буэнавентур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17" name="Овал 216">
              <a:extLst>
                <a:ext uri="{FF2B5EF4-FFF2-40B4-BE49-F238E27FC236}">
                  <a16:creationId xmlns:a16="http://schemas.microsoft.com/office/drawing/2014/main" id="{93DA749B-6EAD-4A8C-AD3F-14EA736905B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621920" y="3982585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56368508-C7D2-41E1-AA0C-5B750211B5F2}"/>
                </a:ext>
              </a:extLst>
            </p:cNvPr>
            <p:cNvSpPr txBox="1"/>
            <p:nvPr/>
          </p:nvSpPr>
          <p:spPr>
            <a:xfrm>
              <a:off x="1881149" y="4050248"/>
              <a:ext cx="92706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Сан-Гонсалу-ду-Амаранте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2E4CF53F-A424-481A-8954-6DDB5D22DA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53698" y="426178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BA126441-E845-494D-9689-F3C7B01646E3}"/>
                </a:ext>
              </a:extLst>
            </p:cNvPr>
            <p:cNvSpPr txBox="1"/>
            <p:nvPr/>
          </p:nvSpPr>
          <p:spPr>
            <a:xfrm>
              <a:off x="1625452" y="4255976"/>
              <a:ext cx="29744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альяо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21" name="Овал 220">
              <a:extLst>
                <a:ext uri="{FF2B5EF4-FFF2-40B4-BE49-F238E27FC236}">
                  <a16:creationId xmlns:a16="http://schemas.microsoft.com/office/drawing/2014/main" id="{EBB622F8-9DF8-4AA0-A24C-02A6A3A6120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27226" y="4706470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EBE72DB0-48A6-487E-AA0A-9C5790319FDC}"/>
                </a:ext>
              </a:extLst>
            </p:cNvPr>
            <p:cNvSpPr txBox="1"/>
            <p:nvPr/>
          </p:nvSpPr>
          <p:spPr>
            <a:xfrm>
              <a:off x="2284115" y="4557489"/>
              <a:ext cx="29744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Итажаи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23" name="Овал 222">
              <a:extLst>
                <a:ext uri="{FF2B5EF4-FFF2-40B4-BE49-F238E27FC236}">
                  <a16:creationId xmlns:a16="http://schemas.microsoft.com/office/drawing/2014/main" id="{40E38E3A-F961-4B75-8741-8B05075C22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95586" y="5070505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24" name="TextBox 223">
              <a:extLst>
                <a:ext uri="{FF2B5EF4-FFF2-40B4-BE49-F238E27FC236}">
                  <a16:creationId xmlns:a16="http://schemas.microsoft.com/office/drawing/2014/main" id="{42D1E306-CD45-4322-8520-D0B1F92DA32C}"/>
                </a:ext>
              </a:extLst>
            </p:cNvPr>
            <p:cNvSpPr txBox="1"/>
            <p:nvPr/>
          </p:nvSpPr>
          <p:spPr>
            <a:xfrm>
              <a:off x="1928865" y="4913974"/>
              <a:ext cx="530258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Буэнос-Айрес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25" name="Овал 224">
              <a:extLst>
                <a:ext uri="{FF2B5EF4-FFF2-40B4-BE49-F238E27FC236}">
                  <a16:creationId xmlns:a16="http://schemas.microsoft.com/office/drawing/2014/main" id="{875BB1FC-7C0C-4474-9A21-0A18BCC0B4A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19392" y="192050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26" name="TextBox 225">
              <a:extLst>
                <a:ext uri="{FF2B5EF4-FFF2-40B4-BE49-F238E27FC236}">
                  <a16:creationId xmlns:a16="http://schemas.microsoft.com/office/drawing/2014/main" id="{C1E927EF-21FF-4981-BF61-5F775B2570DA}"/>
                </a:ext>
              </a:extLst>
            </p:cNvPr>
            <p:cNvSpPr txBox="1"/>
            <p:nvPr/>
          </p:nvSpPr>
          <p:spPr>
            <a:xfrm>
              <a:off x="3805533" y="1874786"/>
              <a:ext cx="295413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Орхус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6013BBC7-4906-429F-B82A-FB0E6505007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48735" y="198596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28" name="TextBox 227">
              <a:extLst>
                <a:ext uri="{FF2B5EF4-FFF2-40B4-BE49-F238E27FC236}">
                  <a16:creationId xmlns:a16="http://schemas.microsoft.com/office/drawing/2014/main" id="{F8D97CD8-C1CD-4A1A-BAB7-8710FA0F4273}"/>
                </a:ext>
              </a:extLst>
            </p:cNvPr>
            <p:cNvSpPr txBox="1"/>
            <p:nvPr/>
          </p:nvSpPr>
          <p:spPr>
            <a:xfrm>
              <a:off x="4215389" y="1967733"/>
              <a:ext cx="448256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алуннборг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29" name="Овал 228">
              <a:extLst>
                <a:ext uri="{FF2B5EF4-FFF2-40B4-BE49-F238E27FC236}">
                  <a16:creationId xmlns:a16="http://schemas.microsoft.com/office/drawing/2014/main" id="{43611F92-FB12-4AF9-8DC3-E9CBE998BC7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02310" y="190849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4DB8AA5F-FF8B-4F19-A3F0-96353A75B1BC}"/>
                </a:ext>
              </a:extLst>
            </p:cNvPr>
            <p:cNvSpPr txBox="1"/>
            <p:nvPr/>
          </p:nvSpPr>
          <p:spPr>
            <a:xfrm>
              <a:off x="4066834" y="1757975"/>
              <a:ext cx="354820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Гётеборг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31" name="Овал 230">
              <a:extLst>
                <a:ext uri="{FF2B5EF4-FFF2-40B4-BE49-F238E27FC236}">
                  <a16:creationId xmlns:a16="http://schemas.microsoft.com/office/drawing/2014/main" id="{D6050CCC-06D8-4E08-975A-B9B204F42DB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83720" y="2426362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0C6AA175-6F2B-47C5-8BFE-E1AB761F260A}"/>
                </a:ext>
              </a:extLst>
            </p:cNvPr>
            <p:cNvSpPr txBox="1"/>
            <p:nvPr/>
          </p:nvSpPr>
          <p:spPr>
            <a:xfrm>
              <a:off x="5055844" y="2380368"/>
              <a:ext cx="29915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Поти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F5E5659B-ADA8-43F7-B760-8B3507AB7B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73453" y="2305806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id="{7C77FAAA-1B38-4F5F-BE1A-174F5757E457}"/>
                </a:ext>
              </a:extLst>
            </p:cNvPr>
            <p:cNvSpPr txBox="1"/>
            <p:nvPr/>
          </p:nvSpPr>
          <p:spPr>
            <a:xfrm>
              <a:off x="3735687" y="2292761"/>
              <a:ext cx="43297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Вадо-Лигуре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35" name="Овал 234">
              <a:extLst>
                <a:ext uri="{FF2B5EF4-FFF2-40B4-BE49-F238E27FC236}">
                  <a16:creationId xmlns:a16="http://schemas.microsoft.com/office/drawing/2014/main" id="{70ED3C33-D326-40ED-81C5-FD75F5CA107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62938" y="2479086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6" name="Овал 235">
              <a:extLst>
                <a:ext uri="{FF2B5EF4-FFF2-40B4-BE49-F238E27FC236}">
                  <a16:creationId xmlns:a16="http://schemas.microsoft.com/office/drawing/2014/main" id="{D562868B-203A-4839-9ACE-CB73433E92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28342" y="2541692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7" name="Овал 236">
              <a:extLst>
                <a:ext uri="{FF2B5EF4-FFF2-40B4-BE49-F238E27FC236}">
                  <a16:creationId xmlns:a16="http://schemas.microsoft.com/office/drawing/2014/main" id="{03EA98DF-8B43-4561-8EA8-8326CFB3B6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76533" y="2598839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E6226A02-BAC6-456B-8B37-1C5CF3864DFB}"/>
                </a:ext>
              </a:extLst>
            </p:cNvPr>
            <p:cNvSpPr txBox="1"/>
            <p:nvPr/>
          </p:nvSpPr>
          <p:spPr>
            <a:xfrm>
              <a:off x="3928749" y="2453026"/>
              <a:ext cx="43297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Барселон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881C91EE-7928-4731-A2D4-9E281EE2C455}"/>
                </a:ext>
              </a:extLst>
            </p:cNvPr>
            <p:cNvSpPr txBox="1"/>
            <p:nvPr/>
          </p:nvSpPr>
          <p:spPr>
            <a:xfrm>
              <a:off x="3898957" y="2549771"/>
              <a:ext cx="43297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астельон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DEFEF557-EE8B-4D25-BE1D-608C6FCEAA2B}"/>
                </a:ext>
              </a:extLst>
            </p:cNvPr>
            <p:cNvSpPr txBox="1"/>
            <p:nvPr/>
          </p:nvSpPr>
          <p:spPr>
            <a:xfrm>
              <a:off x="3843236" y="2648921"/>
              <a:ext cx="432974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Валенсия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1" name="Овал 240">
              <a:extLst>
                <a:ext uri="{FF2B5EF4-FFF2-40B4-BE49-F238E27FC236}">
                  <a16:creationId xmlns:a16="http://schemas.microsoft.com/office/drawing/2014/main" id="{FC8E4CDF-6A09-4846-8BA8-BA2CD8C8F2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54814" y="238681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E16E94EA-9715-42DC-BF9C-9572E93237D6}"/>
                </a:ext>
              </a:extLst>
            </p:cNvPr>
            <p:cNvSpPr txBox="1"/>
            <p:nvPr/>
          </p:nvSpPr>
          <p:spPr>
            <a:xfrm>
              <a:off x="3418292" y="2362674"/>
              <a:ext cx="22734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Хихон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3" name="Овал 242">
              <a:extLst>
                <a:ext uri="{FF2B5EF4-FFF2-40B4-BE49-F238E27FC236}">
                  <a16:creationId xmlns:a16="http://schemas.microsoft.com/office/drawing/2014/main" id="{A46F156D-DE24-4AFD-905F-B084996933A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19669" y="3000681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1D7757E7-0316-4C45-A975-F5D0D25AAC10}"/>
                </a:ext>
              </a:extLst>
            </p:cNvPr>
            <p:cNvSpPr txBox="1"/>
            <p:nvPr/>
          </p:nvSpPr>
          <p:spPr>
            <a:xfrm>
              <a:off x="5158514" y="2892363"/>
              <a:ext cx="32015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Бахрейн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5" name="Овал 244">
              <a:extLst>
                <a:ext uri="{FF2B5EF4-FFF2-40B4-BE49-F238E27FC236}">
                  <a16:creationId xmlns:a16="http://schemas.microsoft.com/office/drawing/2014/main" id="{DFC6AF63-A5A2-41F8-99C5-64E050EECE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56655" y="318287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88544CA7-D13A-4F05-9E59-20605B67207E}"/>
                </a:ext>
              </a:extLst>
            </p:cNvPr>
            <p:cNvSpPr txBox="1"/>
            <p:nvPr/>
          </p:nvSpPr>
          <p:spPr>
            <a:xfrm>
              <a:off x="3420530" y="3111416"/>
              <a:ext cx="357949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уадибу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7" name="Овал 246">
              <a:extLst>
                <a:ext uri="{FF2B5EF4-FFF2-40B4-BE49-F238E27FC236}">
                  <a16:creationId xmlns:a16="http://schemas.microsoft.com/office/drawing/2014/main" id="{7CEADE42-601D-43D5-AF19-FAD96046BD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349650" y="3262649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5B41EE2A-5074-4E46-9D8E-D96288EB39EF}"/>
                </a:ext>
              </a:extLst>
            </p:cNvPr>
            <p:cNvSpPr txBox="1"/>
            <p:nvPr/>
          </p:nvSpPr>
          <p:spPr>
            <a:xfrm>
              <a:off x="3416532" y="3259117"/>
              <a:ext cx="357949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уакшот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49" name="Овал 248">
              <a:extLst>
                <a:ext uri="{FF2B5EF4-FFF2-40B4-BE49-F238E27FC236}">
                  <a16:creationId xmlns:a16="http://schemas.microsoft.com/office/drawing/2014/main" id="{3688CCC8-B6FC-4B01-BFDA-3CDCC7F0FB9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20765" y="364904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9B771E8A-D105-4667-BC90-0DF12BF6B46D}"/>
                </a:ext>
              </a:extLst>
            </p:cNvPr>
            <p:cNvSpPr txBox="1"/>
            <p:nvPr/>
          </p:nvSpPr>
          <p:spPr>
            <a:xfrm>
              <a:off x="3373682" y="3541051"/>
              <a:ext cx="357949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Монровия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51" name="Овал 250">
              <a:extLst>
                <a:ext uri="{FF2B5EF4-FFF2-40B4-BE49-F238E27FC236}">
                  <a16:creationId xmlns:a16="http://schemas.microsoft.com/office/drawing/2014/main" id="{A6908F56-B10D-4716-8A36-D31F5C29C2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61684" y="3688386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1DB20EA-4062-40A6-92DC-1FD60575ED00}"/>
                </a:ext>
              </a:extLst>
            </p:cNvPr>
            <p:cNvSpPr txBox="1"/>
            <p:nvPr/>
          </p:nvSpPr>
          <p:spPr>
            <a:xfrm>
              <a:off x="3297445" y="3752077"/>
              <a:ext cx="411168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Сан-Педро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53" name="Овал 252">
              <a:extLst>
                <a:ext uri="{FF2B5EF4-FFF2-40B4-BE49-F238E27FC236}">
                  <a16:creationId xmlns:a16="http://schemas.microsoft.com/office/drawing/2014/main" id="{314880CC-02C6-4FA3-95BB-B66D9FCD88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34390" y="367980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DEA5E85A-C8A6-4468-9B38-BBBE69C4C2AC}"/>
                </a:ext>
              </a:extLst>
            </p:cNvPr>
            <p:cNvSpPr txBox="1"/>
            <p:nvPr/>
          </p:nvSpPr>
          <p:spPr>
            <a:xfrm>
              <a:off x="3740826" y="3741013"/>
              <a:ext cx="28704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Котону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55" name="Овал 254">
              <a:extLst>
                <a:ext uri="{FF2B5EF4-FFF2-40B4-BE49-F238E27FC236}">
                  <a16:creationId xmlns:a16="http://schemas.microsoft.com/office/drawing/2014/main" id="{B588BD8B-F191-4BCB-9A4D-C73C312B1E2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69657" y="3655185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18348729-D8C1-400E-858B-39819ADC71C7}"/>
                </a:ext>
              </a:extLst>
            </p:cNvPr>
            <p:cNvSpPr txBox="1"/>
            <p:nvPr/>
          </p:nvSpPr>
          <p:spPr>
            <a:xfrm>
              <a:off x="3834593" y="3547944"/>
              <a:ext cx="28704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Лагос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57" name="Овал 256">
              <a:extLst>
                <a:ext uri="{FF2B5EF4-FFF2-40B4-BE49-F238E27FC236}">
                  <a16:creationId xmlns:a16="http://schemas.microsoft.com/office/drawing/2014/main" id="{530C016C-1F53-4031-8F23-4C0B98749B0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53443" y="3699927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62CE9FA4-4BB8-406E-BFB6-73B3741C3181}"/>
                </a:ext>
              </a:extLst>
            </p:cNvPr>
            <p:cNvSpPr txBox="1"/>
            <p:nvPr/>
          </p:nvSpPr>
          <p:spPr>
            <a:xfrm>
              <a:off x="4120557" y="3677574"/>
              <a:ext cx="28704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Онне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59" name="Овал 258">
              <a:extLst>
                <a:ext uri="{FF2B5EF4-FFF2-40B4-BE49-F238E27FC236}">
                  <a16:creationId xmlns:a16="http://schemas.microsoft.com/office/drawing/2014/main" id="{19EC98AC-9B82-4FE5-94CC-1B9D7D413EF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22592" y="4106908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A357FF12-0E76-4B42-A4BE-01EA5A79C3F2}"/>
                </a:ext>
              </a:extLst>
            </p:cNvPr>
            <p:cNvSpPr txBox="1"/>
            <p:nvPr/>
          </p:nvSpPr>
          <p:spPr>
            <a:xfrm>
              <a:off x="4295810" y="4064576"/>
              <a:ext cx="287041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Луанда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61" name="Овал 260">
              <a:extLst>
                <a:ext uri="{FF2B5EF4-FFF2-40B4-BE49-F238E27FC236}">
                  <a16:creationId xmlns:a16="http://schemas.microsoft.com/office/drawing/2014/main" id="{CA43D4B2-4346-4546-A448-ADE166A604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94973" y="4369413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DFBE1D7B-2010-4088-BCF5-284034E75867}"/>
                </a:ext>
              </a:extLst>
            </p:cNvPr>
            <p:cNvSpPr txBox="1"/>
            <p:nvPr/>
          </p:nvSpPr>
          <p:spPr>
            <a:xfrm>
              <a:off x="4262841" y="4354025"/>
              <a:ext cx="314417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Намибе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63" name="Овал 262">
              <a:extLst>
                <a:ext uri="{FF2B5EF4-FFF2-40B4-BE49-F238E27FC236}">
                  <a16:creationId xmlns:a16="http://schemas.microsoft.com/office/drawing/2014/main" id="{251E9DD5-22CF-4872-8B1B-40C141A9709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19686" y="3119085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7DCBE889-75AC-49D6-AC18-7AD596FDF638}"/>
                </a:ext>
              </a:extLst>
            </p:cNvPr>
            <p:cNvSpPr txBox="1"/>
            <p:nvPr/>
          </p:nvSpPr>
          <p:spPr>
            <a:xfrm>
              <a:off x="5797265" y="3008684"/>
              <a:ext cx="32015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Пипавав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  <p:sp>
          <p:nvSpPr>
            <p:cNvPr id="265" name="Овал 264">
              <a:extLst>
                <a:ext uri="{FF2B5EF4-FFF2-40B4-BE49-F238E27FC236}">
                  <a16:creationId xmlns:a16="http://schemas.microsoft.com/office/drawing/2014/main" id="{D81BA978-E500-4B2B-8E19-25A1C30D6D6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97801" y="3273964"/>
              <a:ext cx="63794" cy="63794"/>
            </a:xfrm>
            <a:prstGeom prst="ellipse">
              <a:avLst/>
            </a:prstGeom>
            <a:solidFill>
              <a:srgbClr val="FFD200"/>
            </a:solidFill>
            <a:ln w="3175" cap="flat" cmpd="sng" algn="ctr">
              <a:solidFill>
                <a:srgbClr val="FFD2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200" b="1" dirty="0">
                <a:latin typeface="+mj-lt"/>
              </a:endParaRP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E4DDA82B-F7C1-4E30-8BF7-B5F1F091EB3B}"/>
                </a:ext>
              </a:extLst>
            </p:cNvPr>
            <p:cNvSpPr txBox="1"/>
            <p:nvPr/>
          </p:nvSpPr>
          <p:spPr>
            <a:xfrm>
              <a:off x="6000033" y="3163761"/>
              <a:ext cx="320155" cy="101963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3916" fontAlgn="ctr">
                <a:spcAft>
                  <a:spcPts val="300"/>
                </a:spcAft>
                <a:buClr>
                  <a:srgbClr val="646464"/>
                </a:buClr>
                <a:buSzPct val="100000"/>
                <a:defRPr/>
              </a:pPr>
              <a:r>
                <a:rPr lang="ru-RU" sz="600" b="1" dirty="0">
                  <a:solidFill>
                    <a:srgbClr val="646464"/>
                  </a:solidFill>
                  <a:latin typeface="EYInterstate Light"/>
                </a:rPr>
                <a:t>Мумбаи</a:t>
              </a:r>
              <a:endParaRPr lang="en-US" sz="600" b="1" dirty="0">
                <a:solidFill>
                  <a:srgbClr val="646464"/>
                </a:solidFill>
                <a:latin typeface="EYInterstate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1926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KZqqHNlNDPwV7A9tQ1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EiSnIVscZMrhuI0rFE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EiSnIVscZMrhuI0rFE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EY_Handout">
  <a:themeElements>
    <a:clrScheme name="EY_Handout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Custom 2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3175" cap="flat" cmpd="sng" algn="ctr">
          <a:solidFill>
            <a:schemeClr val="bg1">
              <a:lumMod val="65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b="1" dirty="0" smtClean="0"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EYInterstate Light" pitchFamily="2" charset="0"/>
          </a:defRPr>
        </a:defPPr>
      </a:lstStyle>
    </a:lnDef>
    <a:txDef>
      <a:spPr>
        <a:noFill/>
      </a:spPr>
      <a:bodyPr wrap="square" lIns="0" rIns="0" rtlCol="0">
        <a:noAutofit/>
      </a:bodyPr>
      <a:lstStyle>
        <a:defPPr marL="171450" indent="-171450" fontAlgn="ctr">
          <a:spcAft>
            <a:spcPts val="300"/>
          </a:spcAft>
          <a:buClr>
            <a:schemeClr val="tx1"/>
          </a:buClr>
          <a:buSzPct val="100000"/>
          <a:buFont typeface="Arial" panose="020B0604020202020204" pitchFamily="34" charset="0"/>
          <a:buChar char="•"/>
          <a:defRPr sz="1200" dirty="0" smtClean="0">
            <a:latin typeface="+mn-lt"/>
          </a:defRPr>
        </a:defPPr>
      </a:lstStyle>
    </a:txDef>
  </a:objectDefaults>
  <a:extraClrSchemeLst>
    <a:extraClrScheme>
      <a:clrScheme name="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2</TotalTime>
  <Words>287</Words>
  <Application>Microsoft Office PowerPoint</Application>
  <PresentationFormat>Widescreen</PresentationFormat>
  <Paragraphs>7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EYInterstate</vt:lpstr>
      <vt:lpstr>EYInterstate Light</vt:lpstr>
      <vt:lpstr>YS Text</vt:lpstr>
      <vt:lpstr>4_EY_Handout</vt:lpstr>
      <vt:lpstr>think-cell Slide</vt:lpstr>
      <vt:lpstr>Текущая ситуация в работе морских портов и пограничных переходов России и сопредельных государств</vt:lpstr>
      <vt:lpstr>Клиенты EY, осуществляющие стивидорную деятельность в крупнейших мировых порта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рты</dc:title>
  <dc:creator>Karim A Ismail</dc:creator>
  <cp:lastModifiedBy>Vadim A Kisliuk</cp:lastModifiedBy>
  <cp:revision>55</cp:revision>
  <dcterms:created xsi:type="dcterms:W3CDTF">2022-03-21T08:36:09Z</dcterms:created>
  <dcterms:modified xsi:type="dcterms:W3CDTF">2022-03-28T16:55:02Z</dcterms:modified>
</cp:coreProperties>
</file>